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4.xml" ContentType="application/vnd.openxmlformats-officedocument.theme+xml"/>
  <Override PartName="/ppt/tags/tag14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47.xml" ContentType="application/vnd.openxmlformats-officedocument.presentationml.tags+xml"/>
  <Override PartName="/ppt/notesSlides/notesSlide2.xml" ContentType="application/vnd.openxmlformats-officedocument.presentationml.notesSlide+xml"/>
  <Override PartName="/ppt/tags/tag148.xml" ContentType="application/vnd.openxmlformats-officedocument.presentationml.tags+xml"/>
  <Override PartName="/ppt/notesSlides/notesSlide3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89" r:id="rId4"/>
    <p:sldMasterId id="2147483902" r:id="rId5"/>
    <p:sldMasterId id="2147483928" r:id="rId6"/>
  </p:sldMasterIdLst>
  <p:notesMasterIdLst>
    <p:notesMasterId r:id="rId14"/>
  </p:notesMasterIdLst>
  <p:sldIdLst>
    <p:sldId id="2147483617" r:id="rId7"/>
    <p:sldId id="2147483642" r:id="rId8"/>
    <p:sldId id="2147483643" r:id="rId9"/>
    <p:sldId id="2147483646" r:id="rId10"/>
    <p:sldId id="258" r:id="rId11"/>
    <p:sldId id="256" r:id="rId12"/>
    <p:sldId id="25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ydrogen" id="{BAC2B15F-EE12-4197-855F-78898746B1C8}">
          <p14:sldIdLst>
            <p14:sldId id="2147483617"/>
            <p14:sldId id="2147483642"/>
            <p14:sldId id="2147483643"/>
            <p14:sldId id="2147483646"/>
            <p14:sldId id="258"/>
            <p14:sldId id="256"/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989"/>
    <a:srgbClr val="083796"/>
    <a:srgbClr val="009CDC"/>
    <a:srgbClr val="1CF6E1"/>
    <a:srgbClr val="B3C0BD"/>
    <a:srgbClr val="F2F2F2"/>
    <a:srgbClr val="000000"/>
    <a:srgbClr val="D6DCE5"/>
    <a:srgbClr val="CCF005"/>
    <a:srgbClr val="B4D2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87688" autoAdjust="0"/>
  </p:normalViewPr>
  <p:slideViewPr>
    <p:cSldViewPr snapToGrid="0">
      <p:cViewPr varScale="1">
        <p:scale>
          <a:sx n="68" d="100"/>
          <a:sy n="68" d="100"/>
        </p:scale>
        <p:origin x="724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AF63DD-64EE-D642-B1E0-BCA96B30B5E9}" type="doc">
      <dgm:prSet loTypeId="urn:microsoft.com/office/officeart/2005/8/layout/list1" loCatId="" qsTypeId="urn:microsoft.com/office/officeart/2005/8/quickstyle/simple1" qsCatId="simple" csTypeId="urn:microsoft.com/office/officeart/2005/8/colors/accent6_5" csCatId="accent6" phldr="1"/>
      <dgm:spPr/>
      <dgm:t>
        <a:bodyPr/>
        <a:lstStyle/>
        <a:p>
          <a:endParaRPr lang="en-GB"/>
        </a:p>
      </dgm:t>
    </dgm:pt>
    <dgm:pt modelId="{31451FDD-DB13-FF4E-A846-03EB4AF2F8B0}" type="pres">
      <dgm:prSet presAssocID="{FAAF63DD-64EE-D642-B1E0-BCA96B30B5E9}" presName="linear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3B0E8D2A-4F4E-5947-ABEE-F4CBCEBC04A2}" type="presOf" srcId="{FAAF63DD-64EE-D642-B1E0-BCA96B30B5E9}" destId="{31451FDD-DB13-FF4E-A846-03EB4AF2F8B0}" srcOrd="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33C5F1-E33A-4C17-8527-452D0CB98B79}" type="datetimeFigureOut">
              <a:rPr lang="en-US" smtClean="0"/>
              <a:t>11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28F5BA-2803-4FB2-8154-7820C140F55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65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321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5132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4692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349" y="4598040"/>
            <a:ext cx="5251873" cy="163826"/>
          </a:xfrm>
        </p:spPr>
        <p:txBody>
          <a:bodyPr/>
          <a:lstStyle/>
          <a:p>
            <a:r>
              <a:rPr lang="pt-BR"/>
              <a:t>Updated 20.06.2023</a:t>
            </a:r>
          </a:p>
          <a:p>
            <a:r>
              <a:rPr lang="pt-BR"/>
              <a:t>v2.7.8d3 – FA 990</a:t>
            </a:r>
          </a:p>
          <a:p>
            <a:endParaRPr lang="pt-BR"/>
          </a:p>
          <a:p>
            <a:pPr>
              <a:spcBef>
                <a:spcPts val="288"/>
              </a:spcBef>
              <a:spcAft>
                <a:spcPts val="288"/>
              </a:spcAft>
            </a:pPr>
            <a:r>
              <a:rPr lang="en-US">
                <a:solidFill>
                  <a:srgbClr val="000000"/>
                </a:solidFill>
              </a:rPr>
              <a:t>Link to new spreadsheet:</a:t>
            </a:r>
          </a:p>
          <a:p>
            <a:pPr>
              <a:spcBef>
                <a:spcPts val="288"/>
              </a:spcBef>
              <a:spcAft>
                <a:spcPts val="288"/>
              </a:spcAft>
            </a:pPr>
            <a:r>
              <a:rPr lang="en-US">
                <a:solidFill>
                  <a:srgbClr val="000000"/>
                </a:solidFill>
              </a:rPr>
              <a:t>https://mckinsey.box.com/s/w4oxes4838yifb8ke3bd5jtdtap60n72</a:t>
            </a:r>
          </a:p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8772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8772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 November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772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8772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6302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7.png"/><Relationship Id="rId4" Type="http://schemas.openxmlformats.org/officeDocument/2006/relationships/tags" Target="../tags/tag31.xml"/><Relationship Id="rId9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7.png"/><Relationship Id="rId4" Type="http://schemas.openxmlformats.org/officeDocument/2006/relationships/tags" Target="../tags/tag37.xml"/><Relationship Id="rId9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7.png"/><Relationship Id="rId4" Type="http://schemas.openxmlformats.org/officeDocument/2006/relationships/tags" Target="../tags/tag43.xml"/><Relationship Id="rId9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8.png"/><Relationship Id="rId5" Type="http://schemas.openxmlformats.org/officeDocument/2006/relationships/tags" Target="../tags/tag50.xml"/><Relationship Id="rId10" Type="http://schemas.openxmlformats.org/officeDocument/2006/relationships/image" Target="../media/image6.emf"/><Relationship Id="rId4" Type="http://schemas.openxmlformats.org/officeDocument/2006/relationships/tags" Target="../tags/tag49.xml"/><Relationship Id="rId9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7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image" Target="../media/image6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6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6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7.png"/><Relationship Id="rId4" Type="http://schemas.openxmlformats.org/officeDocument/2006/relationships/tags" Target="../tags/tag64.xml"/><Relationship Id="rId9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7.png"/><Relationship Id="rId5" Type="http://schemas.openxmlformats.org/officeDocument/2006/relationships/tags" Target="../tags/tag71.xml"/><Relationship Id="rId10" Type="http://schemas.openxmlformats.org/officeDocument/2006/relationships/image" Target="../media/image4.emf"/><Relationship Id="rId4" Type="http://schemas.openxmlformats.org/officeDocument/2006/relationships/tags" Target="../tags/tag70.xml"/><Relationship Id="rId9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7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6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7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6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7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4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7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6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1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7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image" Target="../media/image4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8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image" Target="../media/image4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image" Target="../media/image8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4.emf"/><Relationship Id="rId5" Type="http://schemas.openxmlformats.org/officeDocument/2006/relationships/tags" Target="../tags/tag12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25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8.png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image" Target="../media/image6.emf"/><Relationship Id="rId5" Type="http://schemas.openxmlformats.org/officeDocument/2006/relationships/tags" Target="../tags/tag134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3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8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4.emf"/><Relationship Id="rId5" Type="http://schemas.openxmlformats.org/officeDocument/2006/relationships/tags" Target="../tags/tag142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41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5D131-96CB-F5AB-0265-C8E505080F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16847A-AB38-A21A-F581-6DB7DEF36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CF48E-76C1-2842-232C-BCABFC3DCB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4E4615-A360-D251-AF2D-5D1F9D9A1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E54368-B7D9-11EA-55C6-577CBC243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2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6F921-EEF2-1E06-988A-094379324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5F7FE4D-A1CF-FC33-FE41-017E13A736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F256F7-FF1B-D568-DB7B-306AD15166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AC6C06-09AF-1FDA-AEDE-CE11928684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0EC835-DF93-7434-777A-14EA4602D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AE7E14-1015-F5EB-7E07-E0EA7040F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5983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28C485-8CDA-0955-86BD-63A386D94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13C524-5BA6-4AAB-C666-8A5A6ECD25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FCC9BA-B786-F350-D1C9-185C56F106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FA0FD4-5D41-371E-6D5F-FF27A349C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3BE2DF-0AC8-028A-ECB0-698C7D78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044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D6F382-9017-49A8-42B3-618990BD87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8EBC50-225F-D0BE-1C1B-76614ABAD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76014-0D5E-046B-51B2-7750B58AFF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822F13-FB09-94B3-7652-434FFFF793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EFEE6-6DA9-60E2-0954-55A0C2C8C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280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270DBC4C-5D27-7471-62BF-BD13C8B719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FF533F-D984-3EDD-672F-A74A737D4A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9F358D-B6AD-8BF1-844A-1D00FC01D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2778E-D74F-CF73-E13A-39033D207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843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C9AF-A2E5-5059-8FB6-2A65A6703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D8852-A8C5-D418-6374-B943455928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7B7472-F5CA-EBC9-F031-770DD7680E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4BEB6-2A8B-2346-C2FA-4A44A65CC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9D67A2-005F-2B87-690D-C017B84E2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59955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FE984-A2E6-A2B0-FACB-ED9AAEF9C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1EB75-CEF2-9820-4630-9594D6C8B3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63FB74-922B-7C53-9E3E-785FE8F54F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5E4AD-A60B-E901-BBB7-09603AC50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2E9026-E6D4-EB5A-9861-8A1E5C656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0869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08E073-AD48-BAA9-FD06-35FF2D445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86C9A9-2A97-BC69-35F4-16CBCA6870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07A2B3-3ABC-ECB0-1EF9-7059FDA1D2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53ACF8-B797-2C35-AA63-066E0736C8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9F579E-E66D-52AE-CC91-1B63B0610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A59CE2-CE4E-C295-CBC2-02C6B474B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7819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5EA65-F57E-C40C-3092-BFA2571FD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17D57E-CB75-693B-0A72-E8F0446D3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1457CA-2C5D-22BC-D6D3-A977EA0A2E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AC27E6-0BCA-500F-6EE0-6C6669E5B0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CD4481-D44D-91CD-B7F8-1166943334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0CED66-0D0D-1368-56A3-8C97B27940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072527-952E-758F-5B01-71C5D5510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6CF1E8-2668-3E94-3047-D96EC6259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148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E5127-9304-C434-2EF1-87E79BD62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E3D49-F420-708A-18FB-AFCC95D61F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2EA5A3-F9BA-CD11-8A84-7575629761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01E3A-3110-DACF-526B-8D80C459B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20955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3E6347-A22E-08CA-BB18-2641F75D02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AB5FE5-A458-E53F-F239-35EA644E1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C5C641-871C-4CEF-F9A2-12E94FFE5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621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F4064-0F10-C46B-7B7A-125D33886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7F267D-E074-62BF-9ADD-43411BD7AC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8F9142-053C-A534-1BEE-9536A41E41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2A0137-14AB-5BE9-DBEE-172A0E7C6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FBD7DB-8729-2C70-2A24-A9B814404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125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A6610-F50C-260E-3232-3655DAD4C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D1E6E3-5E42-ED6B-1552-044B1F0CA6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F0EC55-FBF1-15AE-67B5-F9D3EE6E44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149A8B-4DB1-5B9F-577A-2C1F888F86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684C45-08B1-0B54-E15B-A6A49999E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31D260-355F-EBCE-B75F-8665F48BC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12477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B61E4-7E23-7478-E91E-BE84C5B05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5D6534-A6CF-DD29-79DD-217CCBBE0C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6C54C8-0131-AD21-E988-00F80EEBA5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7DAEEB-FE57-2E83-018E-74BFF2D214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582EEA-2D28-621A-91DF-87FD00FDE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242774-73E7-AFD3-FEF4-DC8927876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008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4CF2F-84FA-CE02-A3A9-EBACF83FC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0C978-21C2-036F-4C0B-AAD8DE9F09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E815AB-BF83-69C7-D151-69D41930F9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D64CB2-A60E-8625-5797-B8B407239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D856F-D0DA-CF9E-A614-E3DAB1A41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5321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D9B872E-0C04-95DC-FA07-688D614C7A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86CAD4-9797-B78E-611A-DDC26CBF9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2FB93D-7BC7-1E0F-05E6-9341217020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3EA05-2264-4B91-8FBF-CD276257A774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5E3CC3-4F6A-36E9-81A8-DA5D3EE8A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B03D3-B6E8-7743-2425-649C710FA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BA961F-971E-4A27-ABAA-6E8B4B1F7728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2944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678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0651FA-2F8D-446F-97F3-968E80C525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6468383-581F-4D27-B880-E6C69664C33F}"/>
              </a:ext>
            </a:extLst>
          </p:cNvPr>
          <p:cNvSpPr>
            <a:spLocks/>
          </p:cNvSpPr>
          <p:nvPr userDrawn="1"/>
        </p:nvSpPr>
        <p:spPr>
          <a:xfrm flipH="1">
            <a:off x="7414769" y="0"/>
            <a:ext cx="1627631" cy="6858000"/>
          </a:xfrm>
          <a:custGeom>
            <a:avLst/>
            <a:gdLst>
              <a:gd name="connsiteX0" fmla="*/ 1627631 w 3962399"/>
              <a:gd name="connsiteY0" fmla="*/ 0 h 6858000"/>
              <a:gd name="connsiteX1" fmla="*/ 3962399 w 3962399"/>
              <a:gd name="connsiteY1" fmla="*/ 0 h 6858000"/>
              <a:gd name="connsiteX2" fmla="*/ 3962399 w 3962399"/>
              <a:gd name="connsiteY2" fmla="*/ 6858000 h 6858000"/>
              <a:gd name="connsiteX3" fmla="*/ 1627626 w 3962399"/>
              <a:gd name="connsiteY3" fmla="*/ 6858000 h 6858000"/>
              <a:gd name="connsiteX4" fmla="*/ 0 w 3962399"/>
              <a:gd name="connsiteY4" fmla="*/ 6044186 h 6858000"/>
              <a:gd name="connsiteX5" fmla="*/ 0 w 3962399"/>
              <a:gd name="connsiteY5" fmla="*/ 813816 h 6858000"/>
              <a:gd name="connsiteX0" fmla="*/ 3962399 w 4053839"/>
              <a:gd name="connsiteY0" fmla="*/ 6858000 h 6949440"/>
              <a:gd name="connsiteX1" fmla="*/ 1627626 w 4053839"/>
              <a:gd name="connsiteY1" fmla="*/ 6858000 h 6949440"/>
              <a:gd name="connsiteX2" fmla="*/ 0 w 4053839"/>
              <a:gd name="connsiteY2" fmla="*/ 6044186 h 6949440"/>
              <a:gd name="connsiteX3" fmla="*/ 0 w 4053839"/>
              <a:gd name="connsiteY3" fmla="*/ 813816 h 6949440"/>
              <a:gd name="connsiteX4" fmla="*/ 1627631 w 4053839"/>
              <a:gd name="connsiteY4" fmla="*/ 0 h 6949440"/>
              <a:gd name="connsiteX5" fmla="*/ 3962399 w 4053839"/>
              <a:gd name="connsiteY5" fmla="*/ 0 h 6949440"/>
              <a:gd name="connsiteX6" fmla="*/ 4053839 w 4053839"/>
              <a:gd name="connsiteY6" fmla="*/ 6949440 h 6949440"/>
              <a:gd name="connsiteX0" fmla="*/ 3962399 w 3962399"/>
              <a:gd name="connsiteY0" fmla="*/ 6858000 h 6858000"/>
              <a:gd name="connsiteX1" fmla="*/ 1627626 w 3962399"/>
              <a:gd name="connsiteY1" fmla="*/ 6858000 h 6858000"/>
              <a:gd name="connsiteX2" fmla="*/ 0 w 3962399"/>
              <a:gd name="connsiteY2" fmla="*/ 6044186 h 6858000"/>
              <a:gd name="connsiteX3" fmla="*/ 0 w 3962399"/>
              <a:gd name="connsiteY3" fmla="*/ 813816 h 6858000"/>
              <a:gd name="connsiteX4" fmla="*/ 1627631 w 3962399"/>
              <a:gd name="connsiteY4" fmla="*/ 0 h 6858000"/>
              <a:gd name="connsiteX5" fmla="*/ 3962399 w 3962399"/>
              <a:gd name="connsiteY5" fmla="*/ 0 h 6858000"/>
              <a:gd name="connsiteX0" fmla="*/ 1627626 w 3962399"/>
              <a:gd name="connsiteY0" fmla="*/ 6858000 h 6858000"/>
              <a:gd name="connsiteX1" fmla="*/ 0 w 3962399"/>
              <a:gd name="connsiteY1" fmla="*/ 6044186 h 6858000"/>
              <a:gd name="connsiteX2" fmla="*/ 0 w 3962399"/>
              <a:gd name="connsiteY2" fmla="*/ 813816 h 6858000"/>
              <a:gd name="connsiteX3" fmla="*/ 1627631 w 3962399"/>
              <a:gd name="connsiteY3" fmla="*/ 0 h 6858000"/>
              <a:gd name="connsiteX4" fmla="*/ 3962399 w 3962399"/>
              <a:gd name="connsiteY4" fmla="*/ 0 h 6858000"/>
              <a:gd name="connsiteX0" fmla="*/ 1627626 w 1627631"/>
              <a:gd name="connsiteY0" fmla="*/ 6858000 h 6858000"/>
              <a:gd name="connsiteX1" fmla="*/ 0 w 1627631"/>
              <a:gd name="connsiteY1" fmla="*/ 6044186 h 6858000"/>
              <a:gd name="connsiteX2" fmla="*/ 0 w 1627631"/>
              <a:gd name="connsiteY2" fmla="*/ 813816 h 6858000"/>
              <a:gd name="connsiteX3" fmla="*/ 1627631 w 1627631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7631" h="6858000">
                <a:moveTo>
                  <a:pt x="1627626" y="6858000"/>
                </a:moveTo>
                <a:lnTo>
                  <a:pt x="0" y="6044186"/>
                </a:lnTo>
                <a:lnTo>
                  <a:pt x="0" y="813816"/>
                </a:lnTo>
                <a:lnTo>
                  <a:pt x="1627631" y="0"/>
                </a:lnTo>
              </a:path>
            </a:pathLst>
          </a:custGeom>
          <a:noFill/>
          <a:ln w="9525" cap="sq">
            <a:solidFill>
              <a:srgbClr val="0738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lt1"/>
              </a:buClr>
            </a:pPr>
            <a:endParaRPr lang="en-US" sz="1600" b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F7032A0-147A-43C7-9B22-1A2FA744B679}"/>
              </a:ext>
            </a:extLst>
          </p:cNvPr>
          <p:cNvSpPr/>
          <p:nvPr userDrawn="1"/>
        </p:nvSpPr>
        <p:spPr>
          <a:xfrm flipH="1">
            <a:off x="5866482" y="0"/>
            <a:ext cx="2508553" cy="6858000"/>
          </a:xfrm>
          <a:custGeom>
            <a:avLst/>
            <a:gdLst>
              <a:gd name="connsiteX0" fmla="*/ 2508553 w 3295033"/>
              <a:gd name="connsiteY0" fmla="*/ 0 h 6858000"/>
              <a:gd name="connsiteX1" fmla="*/ 3295033 w 3295033"/>
              <a:gd name="connsiteY1" fmla="*/ 0 h 6858000"/>
              <a:gd name="connsiteX2" fmla="*/ 3295033 w 3295033"/>
              <a:gd name="connsiteY2" fmla="*/ 6858000 h 6858000"/>
              <a:gd name="connsiteX3" fmla="*/ 2508548 w 3295033"/>
              <a:gd name="connsiteY3" fmla="*/ 6858000 h 6858000"/>
              <a:gd name="connsiteX4" fmla="*/ 0 w 3295033"/>
              <a:gd name="connsiteY4" fmla="*/ 5603725 h 6858000"/>
              <a:gd name="connsiteX5" fmla="*/ 0 w 3295033"/>
              <a:gd name="connsiteY5" fmla="*/ 1254277 h 6858000"/>
              <a:gd name="connsiteX0" fmla="*/ 3295033 w 3386473"/>
              <a:gd name="connsiteY0" fmla="*/ 6858000 h 6949440"/>
              <a:gd name="connsiteX1" fmla="*/ 2508548 w 3386473"/>
              <a:gd name="connsiteY1" fmla="*/ 6858000 h 6949440"/>
              <a:gd name="connsiteX2" fmla="*/ 0 w 3386473"/>
              <a:gd name="connsiteY2" fmla="*/ 5603725 h 6949440"/>
              <a:gd name="connsiteX3" fmla="*/ 0 w 3386473"/>
              <a:gd name="connsiteY3" fmla="*/ 1254277 h 6949440"/>
              <a:gd name="connsiteX4" fmla="*/ 2508553 w 3386473"/>
              <a:gd name="connsiteY4" fmla="*/ 0 h 6949440"/>
              <a:gd name="connsiteX5" fmla="*/ 3295033 w 3386473"/>
              <a:gd name="connsiteY5" fmla="*/ 0 h 6949440"/>
              <a:gd name="connsiteX6" fmla="*/ 3386473 w 3386473"/>
              <a:gd name="connsiteY6" fmla="*/ 6949440 h 6949440"/>
              <a:gd name="connsiteX0" fmla="*/ 3295033 w 3295033"/>
              <a:gd name="connsiteY0" fmla="*/ 6858000 h 6858000"/>
              <a:gd name="connsiteX1" fmla="*/ 2508548 w 3295033"/>
              <a:gd name="connsiteY1" fmla="*/ 6858000 h 6858000"/>
              <a:gd name="connsiteX2" fmla="*/ 0 w 3295033"/>
              <a:gd name="connsiteY2" fmla="*/ 5603725 h 6858000"/>
              <a:gd name="connsiteX3" fmla="*/ 0 w 3295033"/>
              <a:gd name="connsiteY3" fmla="*/ 1254277 h 6858000"/>
              <a:gd name="connsiteX4" fmla="*/ 2508553 w 3295033"/>
              <a:gd name="connsiteY4" fmla="*/ 0 h 6858000"/>
              <a:gd name="connsiteX5" fmla="*/ 3295033 w 3295033"/>
              <a:gd name="connsiteY5" fmla="*/ 0 h 6858000"/>
              <a:gd name="connsiteX0" fmla="*/ 3295033 w 3295033"/>
              <a:gd name="connsiteY0" fmla="*/ 6858000 h 6858000"/>
              <a:gd name="connsiteX1" fmla="*/ 2508548 w 3295033"/>
              <a:gd name="connsiteY1" fmla="*/ 6858000 h 6858000"/>
              <a:gd name="connsiteX2" fmla="*/ 0 w 3295033"/>
              <a:gd name="connsiteY2" fmla="*/ 5603725 h 6858000"/>
              <a:gd name="connsiteX3" fmla="*/ 0 w 3295033"/>
              <a:gd name="connsiteY3" fmla="*/ 1254277 h 6858000"/>
              <a:gd name="connsiteX4" fmla="*/ 2508553 w 3295033"/>
              <a:gd name="connsiteY4" fmla="*/ 0 h 6858000"/>
              <a:gd name="connsiteX0" fmla="*/ 2508548 w 2508553"/>
              <a:gd name="connsiteY0" fmla="*/ 6858000 h 6858000"/>
              <a:gd name="connsiteX1" fmla="*/ 0 w 2508553"/>
              <a:gd name="connsiteY1" fmla="*/ 5603725 h 6858000"/>
              <a:gd name="connsiteX2" fmla="*/ 0 w 2508553"/>
              <a:gd name="connsiteY2" fmla="*/ 1254277 h 6858000"/>
              <a:gd name="connsiteX3" fmla="*/ 2508553 w 2508553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08553" h="6858000">
                <a:moveTo>
                  <a:pt x="2508548" y="6858000"/>
                </a:moveTo>
                <a:lnTo>
                  <a:pt x="0" y="5603725"/>
                </a:lnTo>
                <a:lnTo>
                  <a:pt x="0" y="1254277"/>
                </a:lnTo>
                <a:lnTo>
                  <a:pt x="2508553" y="0"/>
                </a:lnTo>
              </a:path>
            </a:pathLst>
          </a:custGeom>
          <a:noFill/>
          <a:ln w="9525" cap="sq">
            <a:solidFill>
              <a:srgbClr val="0738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lt1"/>
              </a:buClr>
            </a:pPr>
            <a:endParaRPr lang="en-US" sz="16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BE7F45D-956B-4437-97E7-4BC0608BB9C0}"/>
              </a:ext>
            </a:extLst>
          </p:cNvPr>
          <p:cNvSpPr/>
          <p:nvPr userDrawn="1"/>
        </p:nvSpPr>
        <p:spPr>
          <a:xfrm flipH="1">
            <a:off x="5080002" y="380903"/>
            <a:ext cx="2627669" cy="6096197"/>
          </a:xfrm>
          <a:custGeom>
            <a:avLst/>
            <a:gdLst>
              <a:gd name="connsiteX0" fmla="*/ 2627669 w 2627669"/>
              <a:gd name="connsiteY0" fmla="*/ 0 h 6096197"/>
              <a:gd name="connsiteX1" fmla="*/ 2627669 w 2627669"/>
              <a:gd name="connsiteY1" fmla="*/ 6096197 h 6096197"/>
              <a:gd name="connsiteX2" fmla="*/ 0 w 2627669"/>
              <a:gd name="connsiteY2" fmla="*/ 4782361 h 6096197"/>
              <a:gd name="connsiteX3" fmla="*/ 0 w 2627669"/>
              <a:gd name="connsiteY3" fmla="*/ 1313835 h 6096197"/>
              <a:gd name="connsiteX0" fmla="*/ 2627669 w 2719109"/>
              <a:gd name="connsiteY0" fmla="*/ 6096197 h 6187637"/>
              <a:gd name="connsiteX1" fmla="*/ 0 w 2719109"/>
              <a:gd name="connsiteY1" fmla="*/ 4782361 h 6187637"/>
              <a:gd name="connsiteX2" fmla="*/ 0 w 2719109"/>
              <a:gd name="connsiteY2" fmla="*/ 1313835 h 6187637"/>
              <a:gd name="connsiteX3" fmla="*/ 2627669 w 2719109"/>
              <a:gd name="connsiteY3" fmla="*/ 0 h 6187637"/>
              <a:gd name="connsiteX4" fmla="*/ 2719109 w 2719109"/>
              <a:gd name="connsiteY4" fmla="*/ 6187637 h 6187637"/>
              <a:gd name="connsiteX0" fmla="*/ 2627669 w 2627669"/>
              <a:gd name="connsiteY0" fmla="*/ 6096197 h 6096197"/>
              <a:gd name="connsiteX1" fmla="*/ 0 w 2627669"/>
              <a:gd name="connsiteY1" fmla="*/ 4782361 h 6096197"/>
              <a:gd name="connsiteX2" fmla="*/ 0 w 2627669"/>
              <a:gd name="connsiteY2" fmla="*/ 1313835 h 6096197"/>
              <a:gd name="connsiteX3" fmla="*/ 2627669 w 2627669"/>
              <a:gd name="connsiteY3" fmla="*/ 0 h 6096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7669" h="6096197">
                <a:moveTo>
                  <a:pt x="2627669" y="6096197"/>
                </a:moveTo>
                <a:lnTo>
                  <a:pt x="0" y="4782361"/>
                </a:lnTo>
                <a:lnTo>
                  <a:pt x="0" y="1313835"/>
                </a:lnTo>
                <a:lnTo>
                  <a:pt x="2627669" y="0"/>
                </a:lnTo>
              </a:path>
            </a:pathLst>
          </a:custGeom>
          <a:noFill/>
          <a:ln w="9525" cap="sq">
            <a:solidFill>
              <a:srgbClr val="0738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6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5485259" y="5538868"/>
            <a:ext cx="6121400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 lang="en-US" sz="140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5486400" y="4702159"/>
            <a:ext cx="6121400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 lang="en-US" sz="200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486400" y="3226896"/>
            <a:ext cx="6121400" cy="135421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44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538B12D2-B8E6-4837-8E98-FB8F182CD3E4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933137" y="226121"/>
            <a:ext cx="1302749" cy="402528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2CFFA5-781C-4934-AE0C-621C3F905E07}"/>
              </a:ext>
            </a:extLst>
          </p:cNvPr>
          <p:cNvPicPr>
            <a:picLocks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77" y="204787"/>
            <a:ext cx="1029724" cy="40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6620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0930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09486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4806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82010AE2-7B8C-42DF-B396-33D5E7434CD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1F4AC393-C7A7-5C0F-5779-D827AC672553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59651" y="6465595"/>
            <a:ext cx="574627" cy="224627"/>
          </a:xfrm>
          <a:prstGeom prst="rect">
            <a:avLst/>
          </a:prstGeom>
        </p:spPr>
      </p:pic>
      <p:sp>
        <p:nvSpPr>
          <p:cNvPr id="8" name="Freeform 5">
            <a:extLst>
              <a:ext uri="{FF2B5EF4-FFF2-40B4-BE49-F238E27FC236}">
                <a16:creationId xmlns:a16="http://schemas.microsoft.com/office/drawing/2014/main" id="{2765E277-F34A-BACD-B26B-9D5856C15B2B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1234634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3006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92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anchor="t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FBBF79AB-13CF-4EBE-BF26-E22195952EC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A8D7A4B-6915-4214-B1EF-1E8CE1AAF9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A9EAFDEC-ECB7-4882-B2FC-741D89FED6FF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D871310-E793-40DF-8DF4-AEF95192A339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14" name="Freeform 5">
            <a:extLst>
              <a:ext uri="{FF2B5EF4-FFF2-40B4-BE49-F238E27FC236}">
                <a16:creationId xmlns:a16="http://schemas.microsoft.com/office/drawing/2014/main" id="{616D37DA-9E05-4E06-B686-9A4A12BBDFA8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8905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913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D2AE8873-6704-4BFA-8DF3-9340B895AD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92C5F752-9B34-4A07-BAE3-94452B55F6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85002A89-E9D5-4FA8-9E4C-418B56A3303E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5B8CDA2-C219-4B93-83F1-F531D3080998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14" name="Freeform 5">
            <a:extLst>
              <a:ext uri="{FF2B5EF4-FFF2-40B4-BE49-F238E27FC236}">
                <a16:creationId xmlns:a16="http://schemas.microsoft.com/office/drawing/2014/main" id="{BAAC7B34-7ADA-46DA-B0B0-B637213FDC91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375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90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2EF99560-D915-0C35-DB37-B79E151458F3}"/>
              </a:ext>
            </a:extLst>
          </p:cNvPr>
          <p:cNvSpPr>
            <a:spLocks/>
          </p:cNvSpPr>
          <p:nvPr userDrawn="1"/>
        </p:nvSpPr>
        <p:spPr>
          <a:xfrm>
            <a:off x="6077446" y="0"/>
            <a:ext cx="6114553" cy="6858000"/>
          </a:xfrm>
          <a:prstGeom prst="rect">
            <a:avLst/>
          </a:prstGeom>
          <a:solidFill>
            <a:srgbClr val="052B35">
              <a:alpha val="75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09486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48068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AE4CFC0-0990-4650-A4AA-BDCCFC2EA5C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267CF1C2-44A1-C379-A449-C07533CA233C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2ADE84-3437-F489-C580-C580303DCC14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291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36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2EF99560-D915-0C35-DB37-B79E151458F3}"/>
              </a:ext>
            </a:extLst>
          </p:cNvPr>
          <p:cNvSpPr>
            <a:spLocks/>
          </p:cNvSpPr>
          <p:nvPr userDrawn="1"/>
        </p:nvSpPr>
        <p:spPr>
          <a:xfrm>
            <a:off x="6092952" y="0"/>
            <a:ext cx="6099048" cy="6858000"/>
          </a:xfrm>
          <a:prstGeom prst="rect">
            <a:avLst/>
          </a:prstGeom>
          <a:solidFill>
            <a:srgbClr val="052B35">
              <a:alpha val="83000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09486"/>
            <a:ext cx="5065776" cy="384721"/>
          </a:xfrm>
        </p:spPr>
        <p:txBody>
          <a:bodyPr vert="horz">
            <a:spAutoFit/>
          </a:bodyPr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48068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AE4CFC0-0990-4650-A4AA-BDCCFC2EA5C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676CBE3D-4694-F0EF-7F08-0D23BF8ACB0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CDC04DE8-A443-F447-4E08-8B397444766E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DE1F8E-E8B1-3FC4-1E80-F3987D67BCE0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901D4AC4-A767-A752-975C-A100C495CE26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665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8DC54-00F8-DE39-9333-E910A2BD3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solidFill>
                  <a:srgbClr val="0837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78D6BA-C979-1E45-2DB9-BAD283670D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9C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6EBC6C-DC72-B6A7-4C23-2F53C7C0DB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5C2A0-6172-7392-844C-0C0DDF5B1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C3DF5F-CFDE-411E-6760-376BC909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5023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xagon 10">
            <a:extLst>
              <a:ext uri="{FF2B5EF4-FFF2-40B4-BE49-F238E27FC236}">
                <a16:creationId xmlns:a16="http://schemas.microsoft.com/office/drawing/2014/main" id="{082A2DCC-A4FB-4A2E-91FF-EAB097863E52}"/>
              </a:ext>
            </a:extLst>
          </p:cNvPr>
          <p:cNvSpPr/>
          <p:nvPr userDrawn="1"/>
        </p:nvSpPr>
        <p:spPr>
          <a:xfrm>
            <a:off x="5653405" y="3426817"/>
            <a:ext cx="1042363" cy="898588"/>
          </a:xfrm>
          <a:prstGeom prst="hexagon">
            <a:avLst/>
          </a:prstGeom>
          <a:solidFill>
            <a:srgbClr val="084454"/>
          </a:solidFill>
          <a:ln w="9525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88B7C114-A72C-43B8-ABA8-712ABDF654EF}"/>
              </a:ext>
            </a:extLst>
          </p:cNvPr>
          <p:cNvSpPr/>
          <p:nvPr userDrawn="1"/>
        </p:nvSpPr>
        <p:spPr>
          <a:xfrm>
            <a:off x="5653405" y="4395823"/>
            <a:ext cx="1042363" cy="898588"/>
          </a:xfrm>
          <a:prstGeom prst="hexagon">
            <a:avLst/>
          </a:prstGeom>
          <a:solidFill>
            <a:srgbClr val="073845"/>
          </a:solidFill>
          <a:ln w="9525" cap="sq">
            <a:solidFill>
              <a:srgbClr val="0738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2DA7635C-78E1-41C0-9490-AEEB31E10A4A}"/>
              </a:ext>
            </a:extLst>
          </p:cNvPr>
          <p:cNvSpPr/>
          <p:nvPr userDrawn="1"/>
        </p:nvSpPr>
        <p:spPr>
          <a:xfrm>
            <a:off x="5653405" y="5364828"/>
            <a:ext cx="1042363" cy="898588"/>
          </a:xfrm>
          <a:prstGeom prst="hexagon">
            <a:avLst/>
          </a:prstGeom>
          <a:solidFill>
            <a:srgbClr val="084454"/>
          </a:solidFill>
          <a:ln w="9525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latin typeface="+mn-lt"/>
              <a:ea typeface="+mn-ea"/>
              <a:cs typeface="+mn-cs"/>
            </a:endParaRP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3B6AD91F-3D50-412B-A7E0-121115450AE2}"/>
              </a:ext>
            </a:extLst>
          </p:cNvPr>
          <p:cNvSpPr/>
          <p:nvPr userDrawn="1"/>
        </p:nvSpPr>
        <p:spPr>
          <a:xfrm>
            <a:off x="4785406" y="3911321"/>
            <a:ext cx="1042363" cy="898588"/>
          </a:xfrm>
          <a:prstGeom prst="hexagon">
            <a:avLst/>
          </a:prstGeom>
          <a:solidFill>
            <a:srgbClr val="073845"/>
          </a:solidFill>
          <a:ln w="9525" cap="sq">
            <a:solidFill>
              <a:srgbClr val="07384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DD470279-21E1-4B5A-8FF5-E2E9A0F2550B}"/>
              </a:ext>
            </a:extLst>
          </p:cNvPr>
          <p:cNvSpPr/>
          <p:nvPr userDrawn="1"/>
        </p:nvSpPr>
        <p:spPr>
          <a:xfrm>
            <a:off x="4785406" y="4880326"/>
            <a:ext cx="1042363" cy="898588"/>
          </a:xfrm>
          <a:prstGeom prst="hexagon">
            <a:avLst/>
          </a:prstGeom>
          <a:solidFill>
            <a:srgbClr val="084454"/>
          </a:solidFill>
          <a:ln w="9525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latin typeface="+mn-lt"/>
              <a:ea typeface="+mn-ea"/>
              <a:cs typeface="+mn-cs"/>
            </a:endParaRPr>
          </a:p>
        </p:txBody>
      </p:sp>
      <p:sp>
        <p:nvSpPr>
          <p:cNvPr id="16" name="Hexagon 29">
            <a:extLst>
              <a:ext uri="{FF2B5EF4-FFF2-40B4-BE49-F238E27FC236}">
                <a16:creationId xmlns:a16="http://schemas.microsoft.com/office/drawing/2014/main" id="{DD3941C2-6CF4-4A33-A228-1751321A9868}"/>
              </a:ext>
            </a:extLst>
          </p:cNvPr>
          <p:cNvSpPr/>
          <p:nvPr userDrawn="1"/>
        </p:nvSpPr>
        <p:spPr>
          <a:xfrm>
            <a:off x="4785406" y="5849331"/>
            <a:ext cx="1042363" cy="449294"/>
          </a:xfrm>
          <a:custGeom>
            <a:avLst/>
            <a:gdLst>
              <a:gd name="connsiteX0" fmla="*/ 0 w 1042363"/>
              <a:gd name="connsiteY0" fmla="*/ 449294 h 898588"/>
              <a:gd name="connsiteX1" fmla="*/ 224647 w 1042363"/>
              <a:gd name="connsiteY1" fmla="*/ 0 h 898588"/>
              <a:gd name="connsiteX2" fmla="*/ 817716 w 1042363"/>
              <a:gd name="connsiteY2" fmla="*/ 0 h 898588"/>
              <a:gd name="connsiteX3" fmla="*/ 1042363 w 1042363"/>
              <a:gd name="connsiteY3" fmla="*/ 449294 h 898588"/>
              <a:gd name="connsiteX4" fmla="*/ 817716 w 1042363"/>
              <a:gd name="connsiteY4" fmla="*/ 898588 h 898588"/>
              <a:gd name="connsiteX5" fmla="*/ 224647 w 1042363"/>
              <a:gd name="connsiteY5" fmla="*/ 898588 h 898588"/>
              <a:gd name="connsiteX6" fmla="*/ 0 w 1042363"/>
              <a:gd name="connsiteY6" fmla="*/ 449294 h 898588"/>
              <a:gd name="connsiteX0" fmla="*/ 817716 w 1042363"/>
              <a:gd name="connsiteY0" fmla="*/ 898588 h 990028"/>
              <a:gd name="connsiteX1" fmla="*/ 224647 w 1042363"/>
              <a:gd name="connsiteY1" fmla="*/ 898588 h 990028"/>
              <a:gd name="connsiteX2" fmla="*/ 0 w 1042363"/>
              <a:gd name="connsiteY2" fmla="*/ 449294 h 990028"/>
              <a:gd name="connsiteX3" fmla="*/ 224647 w 1042363"/>
              <a:gd name="connsiteY3" fmla="*/ 0 h 990028"/>
              <a:gd name="connsiteX4" fmla="*/ 817716 w 1042363"/>
              <a:gd name="connsiteY4" fmla="*/ 0 h 990028"/>
              <a:gd name="connsiteX5" fmla="*/ 1042363 w 1042363"/>
              <a:gd name="connsiteY5" fmla="*/ 449294 h 990028"/>
              <a:gd name="connsiteX6" fmla="*/ 909156 w 1042363"/>
              <a:gd name="connsiteY6" fmla="*/ 990028 h 990028"/>
              <a:gd name="connsiteX0" fmla="*/ 817716 w 1042363"/>
              <a:gd name="connsiteY0" fmla="*/ 898588 h 898588"/>
              <a:gd name="connsiteX1" fmla="*/ 224647 w 1042363"/>
              <a:gd name="connsiteY1" fmla="*/ 898588 h 898588"/>
              <a:gd name="connsiteX2" fmla="*/ 0 w 1042363"/>
              <a:gd name="connsiteY2" fmla="*/ 449294 h 898588"/>
              <a:gd name="connsiteX3" fmla="*/ 224647 w 1042363"/>
              <a:gd name="connsiteY3" fmla="*/ 0 h 898588"/>
              <a:gd name="connsiteX4" fmla="*/ 817716 w 1042363"/>
              <a:gd name="connsiteY4" fmla="*/ 0 h 898588"/>
              <a:gd name="connsiteX5" fmla="*/ 1042363 w 1042363"/>
              <a:gd name="connsiteY5" fmla="*/ 449294 h 898588"/>
              <a:gd name="connsiteX0" fmla="*/ 224647 w 1042363"/>
              <a:gd name="connsiteY0" fmla="*/ 898588 h 898588"/>
              <a:gd name="connsiteX1" fmla="*/ 0 w 1042363"/>
              <a:gd name="connsiteY1" fmla="*/ 449294 h 898588"/>
              <a:gd name="connsiteX2" fmla="*/ 224647 w 1042363"/>
              <a:gd name="connsiteY2" fmla="*/ 0 h 898588"/>
              <a:gd name="connsiteX3" fmla="*/ 817716 w 1042363"/>
              <a:gd name="connsiteY3" fmla="*/ 0 h 898588"/>
              <a:gd name="connsiteX4" fmla="*/ 1042363 w 1042363"/>
              <a:gd name="connsiteY4" fmla="*/ 449294 h 898588"/>
              <a:gd name="connsiteX0" fmla="*/ 0 w 1042363"/>
              <a:gd name="connsiteY0" fmla="*/ 449294 h 449294"/>
              <a:gd name="connsiteX1" fmla="*/ 224647 w 1042363"/>
              <a:gd name="connsiteY1" fmla="*/ 0 h 449294"/>
              <a:gd name="connsiteX2" fmla="*/ 817716 w 1042363"/>
              <a:gd name="connsiteY2" fmla="*/ 0 h 449294"/>
              <a:gd name="connsiteX3" fmla="*/ 1042363 w 1042363"/>
              <a:gd name="connsiteY3" fmla="*/ 449294 h 44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2363" h="449294">
                <a:moveTo>
                  <a:pt x="0" y="449294"/>
                </a:moveTo>
                <a:lnTo>
                  <a:pt x="224647" y="0"/>
                </a:lnTo>
                <a:lnTo>
                  <a:pt x="817716" y="0"/>
                </a:lnTo>
                <a:lnTo>
                  <a:pt x="1042363" y="449294"/>
                </a:lnTo>
              </a:path>
            </a:pathLst>
          </a:custGeom>
          <a:noFill/>
          <a:ln w="9525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Hexagon 35">
            <a:extLst>
              <a:ext uri="{FF2B5EF4-FFF2-40B4-BE49-F238E27FC236}">
                <a16:creationId xmlns:a16="http://schemas.microsoft.com/office/drawing/2014/main" id="{13A9DD8A-BB52-401B-A634-FEDBCF2B7676}"/>
              </a:ext>
            </a:extLst>
          </p:cNvPr>
          <p:cNvSpPr/>
          <p:nvPr userDrawn="1"/>
        </p:nvSpPr>
        <p:spPr>
          <a:xfrm>
            <a:off x="4142054" y="5364829"/>
            <a:ext cx="817716" cy="898588"/>
          </a:xfrm>
          <a:custGeom>
            <a:avLst/>
            <a:gdLst>
              <a:gd name="connsiteX0" fmla="*/ 0 w 1042363"/>
              <a:gd name="connsiteY0" fmla="*/ 449294 h 898588"/>
              <a:gd name="connsiteX1" fmla="*/ 224647 w 1042363"/>
              <a:gd name="connsiteY1" fmla="*/ 0 h 898588"/>
              <a:gd name="connsiteX2" fmla="*/ 817716 w 1042363"/>
              <a:gd name="connsiteY2" fmla="*/ 0 h 898588"/>
              <a:gd name="connsiteX3" fmla="*/ 1042363 w 1042363"/>
              <a:gd name="connsiteY3" fmla="*/ 449294 h 898588"/>
              <a:gd name="connsiteX4" fmla="*/ 817716 w 1042363"/>
              <a:gd name="connsiteY4" fmla="*/ 898588 h 898588"/>
              <a:gd name="connsiteX5" fmla="*/ 224647 w 1042363"/>
              <a:gd name="connsiteY5" fmla="*/ 898588 h 898588"/>
              <a:gd name="connsiteX6" fmla="*/ 0 w 1042363"/>
              <a:gd name="connsiteY6" fmla="*/ 449294 h 898588"/>
              <a:gd name="connsiteX0" fmla="*/ 224647 w 1042363"/>
              <a:gd name="connsiteY0" fmla="*/ 0 h 898588"/>
              <a:gd name="connsiteX1" fmla="*/ 817716 w 1042363"/>
              <a:gd name="connsiteY1" fmla="*/ 0 h 898588"/>
              <a:gd name="connsiteX2" fmla="*/ 1042363 w 1042363"/>
              <a:gd name="connsiteY2" fmla="*/ 449294 h 898588"/>
              <a:gd name="connsiteX3" fmla="*/ 817716 w 1042363"/>
              <a:gd name="connsiteY3" fmla="*/ 898588 h 898588"/>
              <a:gd name="connsiteX4" fmla="*/ 224647 w 1042363"/>
              <a:gd name="connsiteY4" fmla="*/ 898588 h 898588"/>
              <a:gd name="connsiteX5" fmla="*/ 0 w 1042363"/>
              <a:gd name="connsiteY5" fmla="*/ 449294 h 898588"/>
              <a:gd name="connsiteX6" fmla="*/ 316087 w 1042363"/>
              <a:gd name="connsiteY6" fmla="*/ 91440 h 898588"/>
              <a:gd name="connsiteX0" fmla="*/ 224647 w 1042363"/>
              <a:gd name="connsiteY0" fmla="*/ 0 h 898588"/>
              <a:gd name="connsiteX1" fmla="*/ 817716 w 1042363"/>
              <a:gd name="connsiteY1" fmla="*/ 0 h 898588"/>
              <a:gd name="connsiteX2" fmla="*/ 1042363 w 1042363"/>
              <a:gd name="connsiteY2" fmla="*/ 449294 h 898588"/>
              <a:gd name="connsiteX3" fmla="*/ 817716 w 1042363"/>
              <a:gd name="connsiteY3" fmla="*/ 898588 h 898588"/>
              <a:gd name="connsiteX4" fmla="*/ 224647 w 1042363"/>
              <a:gd name="connsiteY4" fmla="*/ 898588 h 898588"/>
              <a:gd name="connsiteX5" fmla="*/ 0 w 1042363"/>
              <a:gd name="connsiteY5" fmla="*/ 449294 h 898588"/>
              <a:gd name="connsiteX0" fmla="*/ 817716 w 1042363"/>
              <a:gd name="connsiteY0" fmla="*/ 0 h 898588"/>
              <a:gd name="connsiteX1" fmla="*/ 1042363 w 1042363"/>
              <a:gd name="connsiteY1" fmla="*/ 449294 h 898588"/>
              <a:gd name="connsiteX2" fmla="*/ 817716 w 1042363"/>
              <a:gd name="connsiteY2" fmla="*/ 898588 h 898588"/>
              <a:gd name="connsiteX3" fmla="*/ 224647 w 1042363"/>
              <a:gd name="connsiteY3" fmla="*/ 898588 h 898588"/>
              <a:gd name="connsiteX4" fmla="*/ 0 w 1042363"/>
              <a:gd name="connsiteY4" fmla="*/ 449294 h 898588"/>
              <a:gd name="connsiteX0" fmla="*/ 593069 w 817716"/>
              <a:gd name="connsiteY0" fmla="*/ 0 h 898588"/>
              <a:gd name="connsiteX1" fmla="*/ 817716 w 817716"/>
              <a:gd name="connsiteY1" fmla="*/ 449294 h 898588"/>
              <a:gd name="connsiteX2" fmla="*/ 593069 w 817716"/>
              <a:gd name="connsiteY2" fmla="*/ 898588 h 898588"/>
              <a:gd name="connsiteX3" fmla="*/ 0 w 817716"/>
              <a:gd name="connsiteY3" fmla="*/ 898588 h 89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7716" h="898588">
                <a:moveTo>
                  <a:pt x="593069" y="0"/>
                </a:moveTo>
                <a:lnTo>
                  <a:pt x="817716" y="449294"/>
                </a:lnTo>
                <a:lnTo>
                  <a:pt x="593069" y="898588"/>
                </a:lnTo>
                <a:lnTo>
                  <a:pt x="0" y="898588"/>
                </a:lnTo>
              </a:path>
            </a:pathLst>
          </a:custGeom>
          <a:noFill/>
          <a:ln w="9525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</a:pPr>
            <a:endParaRPr lang="en-US" sz="1600">
              <a:latin typeface="+mn-lt"/>
              <a:ea typeface="+mn-ea"/>
              <a:cs typeface="+mn-cs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B74ADE2-1587-4E76-AD07-B3B689916F06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0" y="590217"/>
            <a:ext cx="5828334" cy="5673197"/>
          </a:xfrm>
          <a:custGeom>
            <a:avLst/>
            <a:gdLst>
              <a:gd name="connsiteX0" fmla="*/ 665722 w 5828334"/>
              <a:gd name="connsiteY0" fmla="*/ 0 h 5673197"/>
              <a:gd name="connsiteX1" fmla="*/ 4410034 w 5828334"/>
              <a:gd name="connsiteY1" fmla="*/ 0 h 5673197"/>
              <a:gd name="connsiteX2" fmla="*/ 5828334 w 5828334"/>
              <a:gd name="connsiteY2" fmla="*/ 2836599 h 5673197"/>
              <a:gd name="connsiteX3" fmla="*/ 4410034 w 5828334"/>
              <a:gd name="connsiteY3" fmla="*/ 5673197 h 5673197"/>
              <a:gd name="connsiteX4" fmla="*/ 665722 w 5828334"/>
              <a:gd name="connsiteY4" fmla="*/ 5673197 h 5673197"/>
              <a:gd name="connsiteX5" fmla="*/ 0 w 5828334"/>
              <a:gd name="connsiteY5" fmla="*/ 4341754 h 5673197"/>
              <a:gd name="connsiteX6" fmla="*/ 0 w 5828334"/>
              <a:gd name="connsiteY6" fmla="*/ 1331444 h 567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28334" h="5673197">
                <a:moveTo>
                  <a:pt x="665722" y="0"/>
                </a:moveTo>
                <a:lnTo>
                  <a:pt x="4410034" y="0"/>
                </a:lnTo>
                <a:lnTo>
                  <a:pt x="5828334" y="2836599"/>
                </a:lnTo>
                <a:lnTo>
                  <a:pt x="4410034" y="5673197"/>
                </a:lnTo>
                <a:lnTo>
                  <a:pt x="665722" y="5673197"/>
                </a:lnTo>
                <a:lnTo>
                  <a:pt x="0" y="4341754"/>
                </a:lnTo>
                <a:lnTo>
                  <a:pt x="0" y="133144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570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6019800" y="3903359"/>
            <a:ext cx="5617464" cy="1354217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B33263B2-C4AB-47AA-9CE5-212417A312E1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46125" y="800100"/>
            <a:ext cx="1083630" cy="1384995"/>
          </a:xfrm>
        </p:spPr>
        <p:txBody>
          <a:bodyPr wrap="none"/>
          <a:lstStyle>
            <a:lvl1pPr rtl="0">
              <a:defRPr sz="9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674C30EC-EBC7-40CF-9E2D-55C46CE4393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3E1052DC-4258-4F8B-8CD4-A9AAAEC398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44108ED1-75BE-422B-ACAA-06590B5881F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B961F93-7FA0-4D2F-921C-7395AAE559EE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23" name="Freeform 5">
            <a:extLst>
              <a:ext uri="{FF2B5EF4-FFF2-40B4-BE49-F238E27FC236}">
                <a16:creationId xmlns:a16="http://schemas.microsoft.com/office/drawing/2014/main" id="{DAF52108-B706-4FB5-BAA1-7611AEBA5444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0772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84C8835-BFD2-4304-AFB6-12A94328B7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30766" y="1"/>
            <a:ext cx="5161235" cy="6858000"/>
          </a:xfrm>
          <a:custGeom>
            <a:avLst/>
            <a:gdLst>
              <a:gd name="connsiteX0" fmla="*/ 2956033 w 5161235"/>
              <a:gd name="connsiteY0" fmla="*/ 0 h 6858000"/>
              <a:gd name="connsiteX1" fmla="*/ 5161235 w 5161235"/>
              <a:gd name="connsiteY1" fmla="*/ 1102601 h 6858000"/>
              <a:gd name="connsiteX2" fmla="*/ 5161235 w 5161235"/>
              <a:gd name="connsiteY2" fmla="*/ 5755399 h 6858000"/>
              <a:gd name="connsiteX3" fmla="*/ 2956033 w 5161235"/>
              <a:gd name="connsiteY3" fmla="*/ 6858000 h 6858000"/>
              <a:gd name="connsiteX4" fmla="*/ 0 w 5161235"/>
              <a:gd name="connsiteY4" fmla="*/ 5379983 h 6858000"/>
              <a:gd name="connsiteX5" fmla="*/ 0 w 5161235"/>
              <a:gd name="connsiteY5" fmla="*/ 147801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1235" h="6858000">
                <a:moveTo>
                  <a:pt x="2956033" y="0"/>
                </a:moveTo>
                <a:lnTo>
                  <a:pt x="5161235" y="1102601"/>
                </a:lnTo>
                <a:lnTo>
                  <a:pt x="5161235" y="5755399"/>
                </a:lnTo>
                <a:lnTo>
                  <a:pt x="2956033" y="6858000"/>
                </a:lnTo>
                <a:lnTo>
                  <a:pt x="0" y="5379983"/>
                </a:lnTo>
                <a:lnTo>
                  <a:pt x="0" y="1478017"/>
                </a:lnTo>
                <a:close/>
              </a:path>
            </a:pathLst>
          </a:custGeom>
          <a:solidFill>
            <a:srgbClr val="0B5A6F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219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5" y="3811707"/>
            <a:ext cx="6093715" cy="534442"/>
          </a:xfrm>
          <a:prstGeom prst="rect">
            <a:avLst/>
          </a:prstGeom>
        </p:spPr>
        <p:txBody>
          <a:bodyPr vert="horz">
            <a:noAutofit/>
          </a:bodyPr>
          <a:lstStyle>
            <a:lvl1pPr rtl="0"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54735" y="4551330"/>
            <a:ext cx="6093715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52AC1E4-0FBB-43A0-87A6-F23268C81B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F4AFA49E-CD11-444B-994B-1BBEAC87873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AF3F5310-4B3C-47EF-8C23-3AD5C452D12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546247-A152-46D5-AA9F-36DDC4D74CDC}"/>
              </a:ext>
            </a:extLst>
          </p:cNvPr>
          <p:cNvSpPr txBox="1"/>
          <p:nvPr userDrawn="1"/>
        </p:nvSpPr>
        <p:spPr bwMode="gray">
          <a:xfrm>
            <a:off x="554734" y="557570"/>
            <a:ext cx="983779" cy="746215"/>
          </a:xfrm>
          <a:custGeom>
            <a:avLst/>
            <a:gdLst/>
            <a:ahLst/>
            <a:cxnLst/>
            <a:rect l="l" t="t" r="r" b="b"/>
            <a:pathLst>
              <a:path w="82921" h="62899">
                <a:moveTo>
                  <a:pt x="76475" y="195"/>
                </a:moveTo>
                <a:cubicBezTo>
                  <a:pt x="77777" y="388"/>
                  <a:pt x="78981" y="1158"/>
                  <a:pt x="80088" y="2506"/>
                </a:cubicBezTo>
                <a:cubicBezTo>
                  <a:pt x="81586" y="4367"/>
                  <a:pt x="82335" y="5907"/>
                  <a:pt x="82335" y="7127"/>
                </a:cubicBezTo>
                <a:lnTo>
                  <a:pt x="81944" y="8474"/>
                </a:lnTo>
                <a:cubicBezTo>
                  <a:pt x="74977" y="12826"/>
                  <a:pt x="70484" y="16349"/>
                  <a:pt x="68466" y="19044"/>
                </a:cubicBezTo>
                <a:cubicBezTo>
                  <a:pt x="66447" y="21739"/>
                  <a:pt x="65438" y="24710"/>
                  <a:pt x="65438" y="27958"/>
                </a:cubicBezTo>
                <a:cubicBezTo>
                  <a:pt x="65438" y="29906"/>
                  <a:pt x="65829" y="31367"/>
                  <a:pt x="66610" y="32342"/>
                </a:cubicBezTo>
                <a:cubicBezTo>
                  <a:pt x="67717" y="33705"/>
                  <a:pt x="70256" y="35394"/>
                  <a:pt x="74228" y="37407"/>
                </a:cubicBezTo>
                <a:cubicBezTo>
                  <a:pt x="80023" y="40402"/>
                  <a:pt x="82921" y="44472"/>
                  <a:pt x="82921" y="49616"/>
                </a:cubicBezTo>
                <a:cubicBezTo>
                  <a:pt x="82921" y="53002"/>
                  <a:pt x="81456" y="56062"/>
                  <a:pt x="78526" y="58797"/>
                </a:cubicBezTo>
                <a:cubicBezTo>
                  <a:pt x="75596" y="61531"/>
                  <a:pt x="72014" y="62899"/>
                  <a:pt x="67782" y="62899"/>
                </a:cubicBezTo>
                <a:cubicBezTo>
                  <a:pt x="62573" y="62899"/>
                  <a:pt x="57869" y="60578"/>
                  <a:pt x="53669" y="55937"/>
                </a:cubicBezTo>
                <a:cubicBezTo>
                  <a:pt x="49469" y="51295"/>
                  <a:pt x="47369" y="45567"/>
                  <a:pt x="47369" y="38752"/>
                </a:cubicBezTo>
                <a:cubicBezTo>
                  <a:pt x="47369" y="33169"/>
                  <a:pt x="48574" y="27684"/>
                  <a:pt x="50983" y="22297"/>
                </a:cubicBezTo>
                <a:cubicBezTo>
                  <a:pt x="53392" y="16909"/>
                  <a:pt x="56908" y="12349"/>
                  <a:pt x="61531" y="8617"/>
                </a:cubicBezTo>
                <a:cubicBezTo>
                  <a:pt x="66154" y="4885"/>
                  <a:pt x="71135" y="2078"/>
                  <a:pt x="76475" y="195"/>
                </a:cubicBezTo>
                <a:close/>
                <a:moveTo>
                  <a:pt x="30277" y="0"/>
                </a:moveTo>
                <a:cubicBezTo>
                  <a:pt x="31059" y="260"/>
                  <a:pt x="31677" y="779"/>
                  <a:pt x="32133" y="1558"/>
                </a:cubicBezTo>
                <a:cubicBezTo>
                  <a:pt x="33566" y="4092"/>
                  <a:pt x="34282" y="5975"/>
                  <a:pt x="34282" y="7208"/>
                </a:cubicBezTo>
                <a:lnTo>
                  <a:pt x="34087" y="7988"/>
                </a:lnTo>
                <a:cubicBezTo>
                  <a:pt x="33435" y="8442"/>
                  <a:pt x="31938" y="9449"/>
                  <a:pt x="29594" y="11008"/>
                </a:cubicBezTo>
                <a:cubicBezTo>
                  <a:pt x="25557" y="13605"/>
                  <a:pt x="22757" y="16008"/>
                  <a:pt x="21194" y="18215"/>
                </a:cubicBezTo>
                <a:cubicBezTo>
                  <a:pt x="18980" y="21202"/>
                  <a:pt x="17874" y="24125"/>
                  <a:pt x="17874" y="26983"/>
                </a:cubicBezTo>
                <a:cubicBezTo>
                  <a:pt x="17874" y="31073"/>
                  <a:pt x="20413" y="34223"/>
                  <a:pt x="25492" y="36430"/>
                </a:cubicBezTo>
                <a:cubicBezTo>
                  <a:pt x="28878" y="37928"/>
                  <a:pt x="31254" y="39491"/>
                  <a:pt x="32622" y="41119"/>
                </a:cubicBezTo>
                <a:cubicBezTo>
                  <a:pt x="34510" y="43332"/>
                  <a:pt x="35454" y="45807"/>
                  <a:pt x="35454" y="48541"/>
                </a:cubicBezTo>
                <a:cubicBezTo>
                  <a:pt x="35454" y="52318"/>
                  <a:pt x="34021" y="55622"/>
                  <a:pt x="31156" y="58455"/>
                </a:cubicBezTo>
                <a:cubicBezTo>
                  <a:pt x="28292" y="61287"/>
                  <a:pt x="24906" y="62703"/>
                  <a:pt x="20999" y="62703"/>
                </a:cubicBezTo>
                <a:cubicBezTo>
                  <a:pt x="15660" y="62703"/>
                  <a:pt x="10825" y="60298"/>
                  <a:pt x="6495" y="55487"/>
                </a:cubicBezTo>
                <a:cubicBezTo>
                  <a:pt x="2165" y="50677"/>
                  <a:pt x="0" y="44565"/>
                  <a:pt x="0" y="37154"/>
                </a:cubicBezTo>
                <a:cubicBezTo>
                  <a:pt x="0" y="27987"/>
                  <a:pt x="3061" y="19796"/>
                  <a:pt x="9181" y="12580"/>
                </a:cubicBezTo>
                <a:cubicBezTo>
                  <a:pt x="15302" y="5363"/>
                  <a:pt x="22334" y="1170"/>
                  <a:pt x="3027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endParaRPr lang="en-US" sz="1600">
              <a:latin typeface="+mn-lt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0EE6DCD-6F81-4633-ADD7-5DA4C68FB41A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19" name="Freeform 5">
            <a:extLst>
              <a:ext uri="{FF2B5EF4-FFF2-40B4-BE49-F238E27FC236}">
                <a16:creationId xmlns:a16="http://schemas.microsoft.com/office/drawing/2014/main" id="{645A873A-6360-4428-A31B-1B8DAF9CC712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350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22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32EE96D5-AD3D-4517-88D8-000B4C6520C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5256336-0C9C-4334-9C41-6C1841ECD04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65EC6CFA-C232-4C24-865A-ABA4AD5216E5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rapezoid 14">
            <a:extLst>
              <a:ext uri="{FF2B5EF4-FFF2-40B4-BE49-F238E27FC236}">
                <a16:creationId xmlns:a16="http://schemas.microsoft.com/office/drawing/2014/main" id="{3C24F7F9-7515-419E-B021-57FDA5B36056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EDF9F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51EE86-D608-4985-AD1E-C266B898E409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18" name="Freeform 5">
            <a:extLst>
              <a:ext uri="{FF2B5EF4-FFF2-40B4-BE49-F238E27FC236}">
                <a16:creationId xmlns:a16="http://schemas.microsoft.com/office/drawing/2014/main" id="{C9EC7215-47E3-4596-A43F-18A553BA600C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767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258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BE9A975-D85C-4A71-A012-D7543ED7D64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6" name="Trapezoid 15">
            <a:extLst>
              <a:ext uri="{FF2B5EF4-FFF2-40B4-BE49-F238E27FC236}">
                <a16:creationId xmlns:a16="http://schemas.microsoft.com/office/drawing/2014/main" id="{9A53983E-ACE3-4433-900F-F1BACD77E84E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EDF9F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4A81997-02EB-403D-B9EB-D1C72EECB93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449E9DA7-A793-49DA-BCEB-A40B439FD7FB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4E7BEF5-F977-44CE-B333-B74376213E93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23" name="Freeform 5">
            <a:extLst>
              <a:ext uri="{FF2B5EF4-FFF2-40B4-BE49-F238E27FC236}">
                <a16:creationId xmlns:a16="http://schemas.microsoft.com/office/drawing/2014/main" id="{98D32D36-2FF5-4E6F-9A49-D7D73FFDE7BC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7616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243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09486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48068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C948A5F-DBF5-4410-B266-BD5B021F4DF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Trapezoid 14">
            <a:extLst>
              <a:ext uri="{FF2B5EF4-FFF2-40B4-BE49-F238E27FC236}">
                <a16:creationId xmlns:a16="http://schemas.microsoft.com/office/drawing/2014/main" id="{58E4AF1D-5F86-4573-812A-329380C8024F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EDF9F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852737F9-368D-4A13-A4FB-3CEDE5259C9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ECAE2C0C-7A5D-42A3-883C-5C39D6DE45B9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2AB7D9E-E50E-4E78-9198-110EEAC238C4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23" name="Freeform 5">
            <a:extLst>
              <a:ext uri="{FF2B5EF4-FFF2-40B4-BE49-F238E27FC236}">
                <a16:creationId xmlns:a16="http://schemas.microsoft.com/office/drawing/2014/main" id="{2C9875F0-8C95-4F21-8C29-12DE8BBD9E39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7562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587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09486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48068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D35AD40B-3217-45FE-B897-E58F48E369B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Trapezoid 14">
            <a:extLst>
              <a:ext uri="{FF2B5EF4-FFF2-40B4-BE49-F238E27FC236}">
                <a16:creationId xmlns:a16="http://schemas.microsoft.com/office/drawing/2014/main" id="{44BAD8D6-64E7-46FE-884C-1EF48E52A0ED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EDF9F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D52424E-8C89-4A3D-A92D-3DE5DBD8445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D3FC37A-FB76-4D87-9E9F-9C9FD026C432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D57BDB-B78F-4458-A567-1A5F4056BF24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23" name="Freeform 5">
            <a:extLst>
              <a:ext uri="{FF2B5EF4-FFF2-40B4-BE49-F238E27FC236}">
                <a16:creationId xmlns:a16="http://schemas.microsoft.com/office/drawing/2014/main" id="{B698B18A-3BE6-4E12-BCC9-487AE2803647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12714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164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09486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48068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3601C917-226C-4961-AA00-B984D4DBB74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2825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Trapezoid 14">
            <a:extLst>
              <a:ext uri="{FF2B5EF4-FFF2-40B4-BE49-F238E27FC236}">
                <a16:creationId xmlns:a16="http://schemas.microsoft.com/office/drawing/2014/main" id="{C45A7942-DDD8-4452-9DBF-8DCE03C76B99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EDF9F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89CCA4C2-439E-43AB-AC2C-00ADF785DE9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5D5A7AC-41B5-4D0F-80F7-15B5E820DE53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08445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6CBA1B5-3B00-4BA0-A460-18B1A1B91E28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  <p:sp>
        <p:nvSpPr>
          <p:cNvPr id="24" name="Freeform 5">
            <a:extLst>
              <a:ext uri="{FF2B5EF4-FFF2-40B4-BE49-F238E27FC236}">
                <a16:creationId xmlns:a16="http://schemas.microsoft.com/office/drawing/2014/main" id="{12F46AAF-AEEC-4BEF-B22E-BD116B266BEC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7866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verse Contra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60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4267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id="{97BFB846-07FC-441D-8084-6998C6E3BED1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08445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0452D736-4885-4350-96EE-462E0FD6823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CB2E8F32-EA8F-4A31-9A3D-ED1725CD8D5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D0D0D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582A1623-9BED-4EB6-A35E-7E3FBE41B4D2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257B188-E461-4519-8822-7333E1F4A6B5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138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verse Contrast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0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878795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4267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id="{97BFB846-07FC-441D-8084-6998C6E3BED1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08445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0452D736-4885-4350-96EE-462E0FD6823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CB2E8F32-EA8F-4A31-9A3D-ED1725CD8D5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D0D0D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582A1623-9BED-4EB6-A35E-7E3FBE41B4D2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257B188-E461-4519-8822-7333E1F4A6B5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3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verse Contras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631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42676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345B938-623E-4357-84C9-40CC36E561E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8B65A603-3C6F-443E-9404-D4272874A809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4" y="3659644"/>
            <a:ext cx="34655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8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Trapezoid 18">
            <a:extLst>
              <a:ext uri="{FF2B5EF4-FFF2-40B4-BE49-F238E27FC236}">
                <a16:creationId xmlns:a16="http://schemas.microsoft.com/office/drawing/2014/main" id="{84D3E397-CE4A-4FDF-9643-52EAD6E4482A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08445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EF14BFE8-B9A3-4092-AD52-F99700D73DC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Hexagon 23">
            <a:extLst>
              <a:ext uri="{FF2B5EF4-FFF2-40B4-BE49-F238E27FC236}">
                <a16:creationId xmlns:a16="http://schemas.microsoft.com/office/drawing/2014/main" id="{512D3DE9-24CD-4794-AC2B-8A9BB8C2DAC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D0D0D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Freeform 5">
            <a:extLst>
              <a:ext uri="{FF2B5EF4-FFF2-40B4-BE49-F238E27FC236}">
                <a16:creationId xmlns:a16="http://schemas.microsoft.com/office/drawing/2014/main" id="{F035BC9A-6613-42AE-8CEC-C9339FDE8D39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1BC4DD-4936-41CF-B4D3-AA99C7C2AA7E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577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62CDF-B9D9-82CD-0430-3833D5E88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9DBE53-EE0A-6B37-D88D-5647900825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BEAAB8-DD9E-8A40-8795-011DFF9A9A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0BB322-F817-AEE1-D9D9-77D1F44A99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2410A4-B6EB-BB69-A988-BA617D46D5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836652-93D4-02E6-BB5F-E228B16BF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46666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verse Contras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02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42676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ent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45C7BD42-A8FD-43D0-8453-AEB3E1C97A6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56DD08CB-38DF-4ECE-891E-86CABE6B0E3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s-MX" sz="18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A39E35CF-D1D0-471F-B986-0D7B183DD8DD}"/>
              </a:ext>
            </a:extLst>
          </p:cNvPr>
          <p:cNvSpPr>
            <a:spLocks/>
          </p:cNvSpPr>
          <p:nvPr userDrawn="1"/>
        </p:nvSpPr>
        <p:spPr>
          <a:xfrm rot="16200000" flipV="1">
            <a:off x="-2712706" y="3352800"/>
            <a:ext cx="5577813" cy="152400"/>
          </a:xfrm>
          <a:prstGeom prst="trapezoid">
            <a:avLst/>
          </a:prstGeom>
          <a:solidFill>
            <a:srgbClr val="08445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EF2A6916-968F-4000-962C-490CDD60E61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10130" y="6520565"/>
            <a:ext cx="141064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noAutofit/>
          </a:bodyPr>
          <a:lstStyle/>
          <a:p>
            <a:pPr algn="ct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ct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6CF52016-F852-4813-9595-B47D5A591B8C}"/>
              </a:ext>
            </a:extLst>
          </p:cNvPr>
          <p:cNvSpPr/>
          <p:nvPr userDrawn="1"/>
        </p:nvSpPr>
        <p:spPr>
          <a:xfrm rot="5400000">
            <a:off x="11299003" y="6433212"/>
            <a:ext cx="363318" cy="313204"/>
          </a:xfrm>
          <a:prstGeom prst="hexagon">
            <a:avLst/>
          </a:prstGeom>
          <a:noFill/>
          <a:ln w="6350" cap="sq">
            <a:solidFill>
              <a:srgbClr val="D0D0D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0F59ADA5-0A26-4A66-8DBF-6FC4AFE20C72}"/>
              </a:ext>
            </a:extLst>
          </p:cNvPr>
          <p:cNvSpPr>
            <a:spLocks noEditPoints="1"/>
          </p:cNvSpPr>
          <p:nvPr userDrawn="1"/>
        </p:nvSpPr>
        <p:spPr bwMode="black">
          <a:xfrm>
            <a:off x="10528233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rgbClr val="051C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0A4D210-ABAF-4988-A9DE-3A0787BC6185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3250" y="6465595"/>
            <a:ext cx="574627" cy="22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389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AEB333-B7B8-6509-E807-0BCDD33B5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1AF9CF-644B-0F34-56AD-7EF6615E81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638259-53A1-E207-BE92-50135C8AD8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F79DCF-941B-356A-A60E-C8A5769DCF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1E63F3-6FBF-D0FB-D38B-9FDB40586E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FEE1AFB-03AD-05E4-8294-8C63B424BC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783118-8BE0-01B6-9C70-A767E59626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4CB02A-A493-0636-A3BF-42300C1C8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198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58580-15DD-9532-73C9-1DF604600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AB4BCE-8728-633B-EC34-E8F7E73F19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196208-61B6-CEB6-FE19-E0FBDAB13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31EA75-78F7-FA7F-3570-97F3ED37B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511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3667BC-7C51-6625-3409-5EFD5EB1D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8018CC-5B6D-893F-8AF9-4D6B1104E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DA5EE-BC37-FEB6-F823-B591C8587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246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3667BC-7C51-6625-3409-5EFD5EB1D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8018CC-5B6D-893F-8AF9-4D6B1104E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3DA5EE-BC37-FEB6-F823-B591C8587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8018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593ED9-11C9-83A2-93A4-91B2D5E09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F4203-3C59-36C5-0D72-07191C6138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8F9EB5-F129-2D1A-6A6E-10168FB109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AE0370-BEE4-D830-1C54-E542FE5B31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D47BDB-D2F0-46B1-B70E-E485CAA94F12}" type="datetimeFigureOut">
              <a:rPr lang="en-GB" smtClean="0"/>
              <a:t>19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BA386D-AA92-8097-08DD-03A243BA0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62BD27-4357-F66F-C9F5-D09614240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67FC62-D5D2-4742-AB30-A937CB3443E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1974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3.x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map of the earth with lights&#10;&#10;Description automatically generated">
            <a:extLst>
              <a:ext uri="{FF2B5EF4-FFF2-40B4-BE49-F238E27FC236}">
                <a16:creationId xmlns:a16="http://schemas.microsoft.com/office/drawing/2014/main" id="{5572087F-E5A6-DA9D-D0CC-867C5F2FF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" t="16863" r="-284" b="72534"/>
          <a:stretch/>
        </p:blipFill>
        <p:spPr>
          <a:xfrm>
            <a:off x="1261" y="-12715"/>
            <a:ext cx="12240663" cy="72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901" r:id="rId8"/>
    <p:sldLayoutId id="2147483897" r:id="rId9"/>
    <p:sldLayoutId id="2147483898" r:id="rId10"/>
    <p:sldLayoutId id="2147483899" r:id="rId11"/>
    <p:sldLayoutId id="214748390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map of the earth with lights&#10;&#10;Description automatically generated">
            <a:extLst>
              <a:ext uri="{FF2B5EF4-FFF2-40B4-BE49-F238E27FC236}">
                <a16:creationId xmlns:a16="http://schemas.microsoft.com/office/drawing/2014/main" id="{B5ED4960-4CBD-07F1-C4E1-BAFD1C91D26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560"/>
            <a:ext cx="12192000" cy="6832879"/>
          </a:xfrm>
          <a:prstGeom prst="rect">
            <a:avLst/>
          </a:prstGeom>
        </p:spPr>
      </p:pic>
      <p:sp>
        <p:nvSpPr>
          <p:cNvPr id="8" name="Rectangle 18">
            <a:extLst>
              <a:ext uri="{FF2B5EF4-FFF2-40B4-BE49-F238E27FC236}">
                <a16:creationId xmlns:a16="http://schemas.microsoft.com/office/drawing/2014/main" id="{58388688-0F6C-0964-78B5-8F1631A0590C}"/>
              </a:ext>
            </a:extLst>
          </p:cNvPr>
          <p:cNvSpPr/>
          <p:nvPr userDrawn="1"/>
        </p:nvSpPr>
        <p:spPr>
          <a:xfrm>
            <a:off x="5125452" y="1377684"/>
            <a:ext cx="7066547" cy="5480315"/>
          </a:xfrm>
          <a:prstGeom prst="rect">
            <a:avLst/>
          </a:prstGeom>
          <a:gradFill flip="none" rotWithShape="1">
            <a:gsLst>
              <a:gs pos="54900">
                <a:srgbClr val="054EA7"/>
              </a:gs>
              <a:gs pos="0">
                <a:srgbClr val="0A2588"/>
              </a:gs>
              <a:gs pos="100000">
                <a:srgbClr val="0070C0"/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CF005"/>
              </a:solidFill>
              <a:effectLst/>
              <a:uLnTx/>
              <a:uFillTx/>
              <a:latin typeface="Arial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191A5E-EA25-31A4-ABF7-F83DD8690B3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4149"/>
            <a:ext cx="12220263" cy="138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520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89747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Garamond" panose="02020404030301010803" pitchFamily="18" charset="0"/>
            </a:endParaRP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3419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4642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  <a:br>
              <a:rPr lang="en-US">
                <a:latin typeface="+mn-lt"/>
                <a:ea typeface="+mn-ea"/>
                <a:cs typeface="+mn-cs"/>
              </a:rPr>
            </a:br>
            <a:r>
              <a:rPr lang="en-US" sz="1400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73080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600A29FD-FCD7-4FA4-989F-A28FF57A9839}"/>
              </a:ext>
            </a:extLst>
          </p:cNvPr>
          <p:cNvGrpSpPr/>
          <p:nvPr userDrawn="1"/>
        </p:nvGrpSpPr>
        <p:grpSpPr>
          <a:xfrm>
            <a:off x="10783601" y="4381500"/>
            <a:ext cx="853663" cy="1717282"/>
            <a:chOff x="10554770" y="4322824"/>
            <a:chExt cx="853663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B51DFE93-A5AD-4A00-967B-EF332767E0A0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350286E1-8BC1-45C7-89DF-81AC78DDE71B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074E9249-ECCC-43F5-9DA4-6FE736DB4DD1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C945F27E-9B85-464F-BFE6-753FE3FC8401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96A55695-4365-4638-91B3-380DCAEF6771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1737D02F-3AE7-47B3-A718-4B595F610B85}"/>
                </a:ext>
              </a:extLst>
            </p:cNvPr>
            <p:cNvSpPr txBox="1"/>
            <p:nvPr/>
          </p:nvSpPr>
          <p:spPr>
            <a:xfrm>
              <a:off x="1088091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E74E5149-7530-43F8-8527-0BAD43BA0051}"/>
                </a:ext>
              </a:extLst>
            </p:cNvPr>
            <p:cNvSpPr txBox="1"/>
            <p:nvPr/>
          </p:nvSpPr>
          <p:spPr>
            <a:xfrm>
              <a:off x="1088091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E6283D97-D14A-4E2E-8135-BFDE06D9A105}"/>
                </a:ext>
              </a:extLst>
            </p:cNvPr>
            <p:cNvSpPr txBox="1"/>
            <p:nvPr/>
          </p:nvSpPr>
          <p:spPr>
            <a:xfrm>
              <a:off x="1088091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80CA5B5A-36B0-4231-9503-4A09B531F9A7}"/>
                </a:ext>
              </a:extLst>
            </p:cNvPr>
            <p:cNvSpPr txBox="1"/>
            <p:nvPr/>
          </p:nvSpPr>
          <p:spPr>
            <a:xfrm>
              <a:off x="1088091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1B20556F-A51D-4C17-AC3E-6FE2BE1DC0FA}"/>
                </a:ext>
              </a:extLst>
            </p:cNvPr>
            <p:cNvSpPr txBox="1"/>
            <p:nvPr/>
          </p:nvSpPr>
          <p:spPr>
            <a:xfrm>
              <a:off x="1088091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851760D6-A547-48B3-AF87-3AC7E2309970}"/>
              </a:ext>
            </a:extLst>
          </p:cNvPr>
          <p:cNvGrpSpPr/>
          <p:nvPr userDrawn="1"/>
        </p:nvGrpSpPr>
        <p:grpSpPr>
          <a:xfrm>
            <a:off x="10386104" y="3250748"/>
            <a:ext cx="1251160" cy="958286"/>
            <a:chOff x="10162879" y="3243772"/>
            <a:chExt cx="1251160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1FD07C14-A140-4186-807C-A5D395AE5FAA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DAC8956F-C818-4A57-B2F0-10BA12A25522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578EAF60-6F45-49AC-B60B-2383BFE4B523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647696EF-9E2C-4087-8881-93FDC600EE8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 rtl="0"/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B6DA05DF-179A-463B-8C38-4C069B7FDEE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 rtl="0"/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9DB992A8-10F9-49D0-9320-EA01308154B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pPr rtl="0"/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E8C1BE7D-0CB6-4C21-A7E4-DCA5DA918EBE}"/>
              </a:ext>
            </a:extLst>
          </p:cNvPr>
          <p:cNvGrpSpPr/>
          <p:nvPr userDrawn="1"/>
        </p:nvGrpSpPr>
        <p:grpSpPr>
          <a:xfrm>
            <a:off x="10757115" y="1346423"/>
            <a:ext cx="880149" cy="1731859"/>
            <a:chOff x="7716535" y="2630582"/>
            <a:chExt cx="880149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60D65FAE-5F78-4C74-9AD3-5C4EBF754192}"/>
                </a:ext>
              </a:extLst>
            </p:cNvPr>
            <p:cNvSpPr txBox="1"/>
            <p:nvPr/>
          </p:nvSpPr>
          <p:spPr>
            <a:xfrm>
              <a:off x="8069167" y="26379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68D16C88-1A38-41C7-B751-CE9168F6B621}"/>
                </a:ext>
              </a:extLst>
            </p:cNvPr>
            <p:cNvSpPr txBox="1"/>
            <p:nvPr/>
          </p:nvSpPr>
          <p:spPr>
            <a:xfrm>
              <a:off x="8069167" y="301340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60CA5086-6B77-4478-A779-B24D4AC517A4}"/>
                </a:ext>
              </a:extLst>
            </p:cNvPr>
            <p:cNvSpPr txBox="1"/>
            <p:nvPr/>
          </p:nvSpPr>
          <p:spPr>
            <a:xfrm>
              <a:off x="8069167" y="338885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DA3F445E-664B-4C7D-928C-92E8C270C32D}"/>
                </a:ext>
              </a:extLst>
            </p:cNvPr>
            <p:cNvSpPr txBox="1"/>
            <p:nvPr/>
          </p:nvSpPr>
          <p:spPr>
            <a:xfrm>
              <a:off x="8069167" y="3764318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C0365A02-F1F6-48EE-9908-27C91593E6FD}"/>
                </a:ext>
              </a:extLst>
            </p:cNvPr>
            <p:cNvSpPr txBox="1"/>
            <p:nvPr/>
          </p:nvSpPr>
          <p:spPr>
            <a:xfrm>
              <a:off x="8069167" y="4139779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EF7E102A-DD9E-44FA-B132-B7DF7C6D5E7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D549DDED-D4E7-42A6-87D2-1D69D2791DF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D2E56FFF-0014-420A-AB34-30C9AEBAF2E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E91FC84E-F8A6-490A-A4A8-2B83D5892F8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0DED7E3A-87FE-4EBE-AD3A-EB9C1C76E77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74C9F0C9-2C31-492E-B9E4-C7E11EDC450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4BF28F80-2A7F-4FB9-8391-CE67611435DF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73A56A4D-1F3B-4F3E-A207-7C512CB5AF7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6E31651-A7BE-40C5-AA73-A1FC64892B4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66474D0D-E12B-49B3-BA50-2F17890C7EF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8968AAD0-C854-420A-8ABA-02BA095D5F3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3CE51030-CCE8-4E18-85D6-EAA79BBE2FC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F6AA8F7A-43AD-4528-BEC9-140C6C1EEA1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CEB8E17A-A56D-4B16-97D7-BA04ECA983B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C4B238BB-93CA-4D4A-BB13-25961FA1578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Tekstvak 5">
            <a:extLst>
              <a:ext uri="{FF2B5EF4-FFF2-40B4-BE49-F238E27FC236}">
                <a16:creationId xmlns:a16="http://schemas.microsoft.com/office/drawing/2014/main" id="{B5B29EB9-3354-4B5B-1C3E-DA56E6864AA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7604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 gebruik</a:t>
            </a:r>
          </a:p>
        </p:txBody>
      </p:sp>
    </p:spTree>
    <p:extLst>
      <p:ext uri="{BB962C8B-B14F-4D97-AF65-F5344CB8AC3E}">
        <p14:creationId xmlns:p14="http://schemas.microsoft.com/office/powerpoint/2010/main" val="107996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2" r:id="rId14"/>
    <p:sldLayoutId id="2147483943" r:id="rId15"/>
    <p:sldLayoutId id="2147483944" r:id="rId16"/>
    <p:sldLayoutId id="2147483945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12.png"/><Relationship Id="rId3" Type="http://schemas.openxmlformats.org/officeDocument/2006/relationships/notesSlide" Target="../notesSlides/notesSlide1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5.svg"/><Relationship Id="rId1" Type="http://schemas.openxmlformats.org/officeDocument/2006/relationships/tags" Target="../tags/tag146.xml"/><Relationship Id="rId6" Type="http://schemas.openxmlformats.org/officeDocument/2006/relationships/diagramData" Target="../diagrams/data1.xml"/><Relationship Id="rId11" Type="http://schemas.openxmlformats.org/officeDocument/2006/relationships/image" Target="../media/image10.png"/><Relationship Id="rId5" Type="http://schemas.openxmlformats.org/officeDocument/2006/relationships/image" Target="../media/image9.emf"/><Relationship Id="rId15" Type="http://schemas.openxmlformats.org/officeDocument/2006/relationships/image" Target="../media/image14.png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9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1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7.png"/><Relationship Id="rId26" Type="http://schemas.openxmlformats.org/officeDocument/2006/relationships/image" Target="../media/image34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0.jpe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5" Type="http://schemas.openxmlformats.org/officeDocument/2006/relationships/image" Target="../media/image33.jpeg"/><Relationship Id="rId2" Type="http://schemas.openxmlformats.org/officeDocument/2006/relationships/slideLayout" Target="../slideLayouts/slideLayout1.xml"/><Relationship Id="rId16" Type="http://schemas.openxmlformats.org/officeDocument/2006/relationships/hyperlink" Target="https://www.publicdomainpictures.net/en/view-image.php?image=119657&amp;picture=austria-flag" TargetMode="External"/><Relationship Id="rId20" Type="http://schemas.openxmlformats.org/officeDocument/2006/relationships/image" Target="../media/image29.png"/><Relationship Id="rId1" Type="http://schemas.openxmlformats.org/officeDocument/2006/relationships/tags" Target="../tags/tag14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2.emf"/><Relationship Id="rId5" Type="http://schemas.openxmlformats.org/officeDocument/2006/relationships/image" Target="../media/image9.emf"/><Relationship Id="rId15" Type="http://schemas.openxmlformats.org/officeDocument/2006/relationships/image" Target="../media/image25.jpeg"/><Relationship Id="rId23" Type="http://schemas.openxmlformats.org/officeDocument/2006/relationships/image" Target="../media/image31.emf"/><Relationship Id="rId10" Type="http://schemas.openxmlformats.org/officeDocument/2006/relationships/image" Target="../media/image20.png"/><Relationship Id="rId19" Type="http://schemas.openxmlformats.org/officeDocument/2006/relationships/image" Target="../media/image28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hyperlink" Target="http://www.public-domain-image.com/free-images/flags-of-the-world/flag-of-morocco/attachment/flag-of-morocco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8.xml"/><Relationship Id="rId6" Type="http://schemas.openxmlformats.org/officeDocument/2006/relationships/image" Target="../media/image3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9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9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42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>
            <a:extLst>
              <a:ext uri="{FF2B5EF4-FFF2-40B4-BE49-F238E27FC236}">
                <a16:creationId xmlns:a16="http://schemas.microsoft.com/office/drawing/2014/main" id="{7D07C006-B83A-8CE6-D8AD-A612345AB40F}"/>
              </a:ext>
            </a:extLst>
          </p:cNvPr>
          <p:cNvSpPr/>
          <p:nvPr/>
        </p:nvSpPr>
        <p:spPr>
          <a:xfrm>
            <a:off x="1289981" y="2425849"/>
            <a:ext cx="9840481" cy="4122980"/>
          </a:xfrm>
          <a:prstGeom prst="rect">
            <a:avLst/>
          </a:prstGeom>
          <a:gradFill flip="none" rotWithShape="1">
            <a:gsLst>
              <a:gs pos="54900">
                <a:srgbClr val="054EA7"/>
              </a:gs>
              <a:gs pos="0">
                <a:srgbClr val="0A2588"/>
              </a:gs>
              <a:gs pos="100000">
                <a:srgbClr val="0070C0"/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B4D0D5D-594B-C34A-983B-C726EB275A2B}"/>
              </a:ext>
            </a:extLst>
          </p:cNvPr>
          <p:cNvSpPr txBox="1"/>
          <p:nvPr/>
        </p:nvSpPr>
        <p:spPr>
          <a:xfrm>
            <a:off x="779959" y="5197822"/>
            <a:ext cx="1020045" cy="956441"/>
          </a:xfrm>
          <a:prstGeom prst="roundRect">
            <a:avLst>
              <a:gd name="adj" fmla="val 50000"/>
            </a:avLst>
          </a:prstGeom>
          <a:solidFill>
            <a:srgbClr val="009CDC"/>
          </a:solidFill>
          <a:ln w="9525" cap="rnd">
            <a:solidFill>
              <a:schemeClr val="bg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8A54EC7-BC89-F341-9D80-352F6D76544C}"/>
              </a:ext>
            </a:extLst>
          </p:cNvPr>
          <p:cNvSpPr txBox="1"/>
          <p:nvPr/>
        </p:nvSpPr>
        <p:spPr>
          <a:xfrm>
            <a:off x="781035" y="3924025"/>
            <a:ext cx="1020045" cy="956441"/>
          </a:xfrm>
          <a:prstGeom prst="roundRect">
            <a:avLst>
              <a:gd name="adj" fmla="val 50000"/>
            </a:avLst>
          </a:prstGeom>
          <a:solidFill>
            <a:srgbClr val="009CDC"/>
          </a:solidFill>
          <a:ln w="9525" cap="rnd">
            <a:solidFill>
              <a:schemeClr val="bg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99D96B2-5E3D-9349-A1CA-FC3128EA4C6F}"/>
              </a:ext>
            </a:extLst>
          </p:cNvPr>
          <p:cNvSpPr txBox="1"/>
          <p:nvPr/>
        </p:nvSpPr>
        <p:spPr>
          <a:xfrm>
            <a:off x="769802" y="2668133"/>
            <a:ext cx="1020045" cy="956441"/>
          </a:xfrm>
          <a:prstGeom prst="roundRect">
            <a:avLst>
              <a:gd name="adj" fmla="val 50000"/>
            </a:avLst>
          </a:prstGeom>
          <a:solidFill>
            <a:srgbClr val="009CDC"/>
          </a:solidFill>
          <a:ln w="9525" cap="rnd">
            <a:solidFill>
              <a:schemeClr val="bg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2ABF7F-8605-C486-BB92-89016C513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2ABF7F-8605-C486-BB92-89016C513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184968-6FB5-EE41-B02A-4DF8A8EDE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18" y="840200"/>
            <a:ext cx="10933112" cy="49859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/>
          <a:lstStyle/>
          <a:p>
            <a:r>
              <a:rPr lang="en-US" sz="3600" b="1" dirty="0">
                <a:solidFill>
                  <a:srgbClr val="0837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TF objectives and value proposi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FAE032-3443-3E4A-9F00-F16BB068A54F}"/>
              </a:ext>
            </a:extLst>
          </p:cNvPr>
          <p:cNvSpPr txBox="1"/>
          <p:nvPr/>
        </p:nvSpPr>
        <p:spPr>
          <a:xfrm>
            <a:off x="1210033" y="1573897"/>
            <a:ext cx="9975898" cy="616853"/>
          </a:xfrm>
          <a:prstGeom prst="roundRect">
            <a:avLst>
              <a:gd name="adj" fmla="val 50000"/>
            </a:avLst>
          </a:prstGeom>
          <a:solidFill>
            <a:srgbClr val="009CDC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Trebuchet MS" panose="020B0603020202020204" pitchFamily="34" charset="0"/>
              </a:rPr>
              <a:t>Unique platform for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96C6C21-522B-5841-967B-B41E49B2AA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9699293"/>
              </p:ext>
            </p:extLst>
          </p:nvPr>
        </p:nvGraphicFramePr>
        <p:xfrm>
          <a:off x="2378815" y="2425849"/>
          <a:ext cx="9496934" cy="4352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6" name="Graphic 15" descr="Statistics outline">
            <a:extLst>
              <a:ext uri="{FF2B5EF4-FFF2-40B4-BE49-F238E27FC236}">
                <a16:creationId xmlns:a16="http://schemas.microsoft.com/office/drawing/2014/main" id="{1F5243FC-4738-054F-8988-9204F5FD0222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6195" y="5332256"/>
            <a:ext cx="687572" cy="687572"/>
          </a:xfrm>
          <a:prstGeom prst="rect">
            <a:avLst/>
          </a:prstGeom>
        </p:spPr>
      </p:pic>
      <p:pic>
        <p:nvPicPr>
          <p:cNvPr id="22" name="Graphic 21" descr="Meeting with solid fill">
            <a:extLst>
              <a:ext uri="{FF2B5EF4-FFF2-40B4-BE49-F238E27FC236}">
                <a16:creationId xmlns:a16="http://schemas.microsoft.com/office/drawing/2014/main" id="{7EA1C40B-B7F6-344B-BF2C-D7270552E37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29987" y="2777311"/>
            <a:ext cx="700616" cy="700616"/>
          </a:xfrm>
          <a:prstGeom prst="rect">
            <a:avLst/>
          </a:prstGeom>
        </p:spPr>
      </p:pic>
      <p:pic>
        <p:nvPicPr>
          <p:cNvPr id="25" name="Graphic 24" descr="Puzzle pieces with solid fill">
            <a:extLst>
              <a:ext uri="{FF2B5EF4-FFF2-40B4-BE49-F238E27FC236}">
                <a16:creationId xmlns:a16="http://schemas.microsoft.com/office/drawing/2014/main" id="{0E602D81-057C-214D-9043-B48B9CCD723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68983" y="4045206"/>
            <a:ext cx="682736" cy="682736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99CFFA9-3CB4-023B-6703-0026DC379258}"/>
              </a:ext>
            </a:extLst>
          </p:cNvPr>
          <p:cNvSpPr/>
          <p:nvPr/>
        </p:nvSpPr>
        <p:spPr>
          <a:xfrm>
            <a:off x="2204879" y="2649226"/>
            <a:ext cx="8313905" cy="920521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-level Ministerial dialogue on cross-border trade in H2 and derivatives, bringing together key prospective exporting and importing countri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697D66-0765-8DF2-818A-C33FA48A6DC8}"/>
              </a:ext>
            </a:extLst>
          </p:cNvPr>
          <p:cNvSpPr/>
          <p:nvPr/>
        </p:nvSpPr>
        <p:spPr>
          <a:xfrm>
            <a:off x="2255557" y="5233742"/>
            <a:ext cx="8313905" cy="920521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king stock of key insights from the relevant analyses on the topic carried out by international organizations and initiativ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1725BE5-3E84-8111-C12E-572BBF5DAFDA}"/>
              </a:ext>
            </a:extLst>
          </p:cNvPr>
          <p:cNvSpPr/>
          <p:nvPr/>
        </p:nvSpPr>
        <p:spPr>
          <a:xfrm>
            <a:off x="2255557" y="3959945"/>
            <a:ext cx="8313905" cy="920521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ancing public-private cooperation and dialogue between Ministers and CEOs of leading companies to align better priority actions to tackle key barriers to and enablers for cross-border trade</a:t>
            </a:r>
          </a:p>
        </p:txBody>
      </p:sp>
    </p:spTree>
    <p:extLst>
      <p:ext uri="{BB962C8B-B14F-4D97-AF65-F5344CB8AC3E}">
        <p14:creationId xmlns:p14="http://schemas.microsoft.com/office/powerpoint/2010/main" val="259312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20CA4179-FFCB-39D7-C405-3E54F3F743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CA4179-FFCB-39D7-C405-3E54F3F74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Group 46">
            <a:extLst>
              <a:ext uri="{FF2B5EF4-FFF2-40B4-BE49-F238E27FC236}">
                <a16:creationId xmlns:a16="http://schemas.microsoft.com/office/drawing/2014/main" id="{E5685B3B-951A-42B0-29B5-D4F999F5A82D}"/>
              </a:ext>
            </a:extLst>
          </p:cNvPr>
          <p:cNvGrpSpPr/>
          <p:nvPr/>
        </p:nvGrpSpPr>
        <p:grpSpPr>
          <a:xfrm>
            <a:off x="31653" y="4225201"/>
            <a:ext cx="12128694" cy="2511982"/>
            <a:chOff x="31653" y="4225201"/>
            <a:chExt cx="12128694" cy="2511982"/>
          </a:xfrm>
        </p:grpSpPr>
        <p:sp>
          <p:nvSpPr>
            <p:cNvPr id="49" name="Arrow: Notched Right 48">
              <a:extLst>
                <a:ext uri="{FF2B5EF4-FFF2-40B4-BE49-F238E27FC236}">
                  <a16:creationId xmlns:a16="http://schemas.microsoft.com/office/drawing/2014/main" id="{6311A213-D5EE-AA8C-22C5-AA7DA4A19FB4}"/>
                </a:ext>
              </a:extLst>
            </p:cNvPr>
            <p:cNvSpPr/>
            <p:nvPr/>
          </p:nvSpPr>
          <p:spPr>
            <a:xfrm>
              <a:off x="31653" y="5237797"/>
              <a:ext cx="12128694" cy="510553"/>
            </a:xfrm>
            <a:prstGeom prst="notchedRightArrow">
              <a:avLst/>
            </a:prstGeom>
            <a:solidFill>
              <a:srgbClr val="083796"/>
            </a:solidFill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5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B629206-5CC0-E985-756D-22E0AE72C8C3}"/>
                </a:ext>
              </a:extLst>
            </p:cNvPr>
            <p:cNvSpPr/>
            <p:nvPr/>
          </p:nvSpPr>
          <p:spPr>
            <a:xfrm>
              <a:off x="1782296" y="4330200"/>
              <a:ext cx="1942537" cy="1045723"/>
            </a:xfrm>
            <a:custGeom>
              <a:avLst/>
              <a:gdLst>
                <a:gd name="connsiteX0" fmla="*/ 0 w 1745572"/>
                <a:gd name="connsiteY0" fmla="*/ 0 h 1045723"/>
                <a:gd name="connsiteX1" fmla="*/ 1745572 w 1745572"/>
                <a:gd name="connsiteY1" fmla="*/ 0 h 1045723"/>
                <a:gd name="connsiteX2" fmla="*/ 1745572 w 1745572"/>
                <a:gd name="connsiteY2" fmla="*/ 1045723 h 1045723"/>
                <a:gd name="connsiteX3" fmla="*/ 0 w 1745572"/>
                <a:gd name="connsiteY3" fmla="*/ 1045723 h 1045723"/>
                <a:gd name="connsiteX4" fmla="*/ 0 w 1745572"/>
                <a:gd name="connsiteY4" fmla="*/ 0 h 104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572" h="1045723">
                  <a:moveTo>
                    <a:pt x="0" y="0"/>
                  </a:moveTo>
                  <a:lnTo>
                    <a:pt x="1745572" y="0"/>
                  </a:lnTo>
                  <a:lnTo>
                    <a:pt x="1745572" y="1045723"/>
                  </a:lnTo>
                  <a:lnTo>
                    <a:pt x="0" y="10457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rgbClr val="0A2588"/>
                  </a:solidFill>
                  <a:latin typeface="+mj-lt"/>
                  <a:ea typeface="+mn-ea"/>
                  <a:cs typeface="+mn-cs"/>
                </a:rPr>
                <a:t>Oct 2023: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  <a:latin typeface="+mn-lt"/>
                </a:rPr>
                <a:t>1st working group meeting of IHTF</a:t>
              </a:r>
              <a:endParaRPr lang="en-GB" sz="1400" kern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6C9C4E5-45C0-D9EF-75ED-64D8775A4857}"/>
                </a:ext>
              </a:extLst>
            </p:cNvPr>
            <p:cNvSpPr/>
            <p:nvPr/>
          </p:nvSpPr>
          <p:spPr>
            <a:xfrm>
              <a:off x="776721" y="5362358"/>
              <a:ext cx="261430" cy="261430"/>
            </a:xfrm>
            <a:prstGeom prst="ellipse">
              <a:avLst/>
            </a:prstGeom>
            <a:solidFill>
              <a:srgbClr val="1CF6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8633F6AF-FE57-F50B-220D-6038F88DBC69}"/>
                </a:ext>
              </a:extLst>
            </p:cNvPr>
            <p:cNvSpPr/>
            <p:nvPr/>
          </p:nvSpPr>
          <p:spPr>
            <a:xfrm>
              <a:off x="2609573" y="5362358"/>
              <a:ext cx="261430" cy="261430"/>
            </a:xfrm>
            <a:prstGeom prst="ellipse">
              <a:avLst/>
            </a:prstGeom>
            <a:solidFill>
              <a:srgbClr val="1CF6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50000"/>
                <a:hueOff val="-123366"/>
                <a:satOff val="-25045"/>
                <a:lumOff val="20966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837FBD0-61E4-6B90-CF97-9FAC69A2BD6D}"/>
                </a:ext>
              </a:extLst>
            </p:cNvPr>
            <p:cNvSpPr/>
            <p:nvPr/>
          </p:nvSpPr>
          <p:spPr>
            <a:xfrm>
              <a:off x="3377396" y="5691460"/>
              <a:ext cx="2327367" cy="1045723"/>
            </a:xfrm>
            <a:custGeom>
              <a:avLst/>
              <a:gdLst>
                <a:gd name="connsiteX0" fmla="*/ 0 w 1745572"/>
                <a:gd name="connsiteY0" fmla="*/ 0 h 1045723"/>
                <a:gd name="connsiteX1" fmla="*/ 1745572 w 1745572"/>
                <a:gd name="connsiteY1" fmla="*/ 0 h 1045723"/>
                <a:gd name="connsiteX2" fmla="*/ 1745572 w 1745572"/>
                <a:gd name="connsiteY2" fmla="*/ 1045723 h 1045723"/>
                <a:gd name="connsiteX3" fmla="*/ 0 w 1745572"/>
                <a:gd name="connsiteY3" fmla="*/ 1045723 h 1045723"/>
                <a:gd name="connsiteX4" fmla="*/ 0 w 1745572"/>
                <a:gd name="connsiteY4" fmla="*/ 0 h 104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572" h="1045723">
                  <a:moveTo>
                    <a:pt x="0" y="0"/>
                  </a:moveTo>
                  <a:lnTo>
                    <a:pt x="1745572" y="0"/>
                  </a:lnTo>
                  <a:lnTo>
                    <a:pt x="1745572" y="1045723"/>
                  </a:lnTo>
                  <a:lnTo>
                    <a:pt x="0" y="10457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 dirty="0">
                  <a:solidFill>
                    <a:srgbClr val="0A2588"/>
                  </a:solidFill>
                  <a:latin typeface="+mj-lt"/>
                </a:rPr>
                <a:t>Dec 2023, COP28, Dubai, VAE: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 dirty="0">
                  <a:solidFill>
                    <a:srgbClr val="0A2588"/>
                  </a:solidFill>
                  <a:latin typeface="+mn-lt"/>
                </a:rPr>
                <a:t> </a:t>
              </a:r>
              <a:r>
                <a:rPr lang="en-GB" sz="1400" kern="1200" dirty="0">
                  <a:latin typeface="+mn-lt"/>
                </a:rPr>
                <a:t>1st Ministerial-CEO roundtable &amp; Public Private Action Pact launch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3CA049B-FF50-BABA-6888-46462CBF4F1E}"/>
                </a:ext>
              </a:extLst>
            </p:cNvPr>
            <p:cNvSpPr/>
            <p:nvPr/>
          </p:nvSpPr>
          <p:spPr>
            <a:xfrm>
              <a:off x="4442424" y="5362358"/>
              <a:ext cx="261430" cy="261430"/>
            </a:xfrm>
            <a:prstGeom prst="ellipse">
              <a:avLst/>
            </a:prstGeom>
            <a:solidFill>
              <a:srgbClr val="1CF6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50000"/>
                <a:hueOff val="-246733"/>
                <a:satOff val="-50091"/>
                <a:lumOff val="4193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E943CE6-9761-2388-715A-FF9F80F56155}"/>
                </a:ext>
              </a:extLst>
            </p:cNvPr>
            <p:cNvSpPr/>
            <p:nvPr/>
          </p:nvSpPr>
          <p:spPr>
            <a:xfrm>
              <a:off x="5248889" y="4225201"/>
              <a:ext cx="2327367" cy="1045723"/>
            </a:xfrm>
            <a:custGeom>
              <a:avLst/>
              <a:gdLst>
                <a:gd name="connsiteX0" fmla="*/ 0 w 1745572"/>
                <a:gd name="connsiteY0" fmla="*/ 0 h 1045723"/>
                <a:gd name="connsiteX1" fmla="*/ 1745572 w 1745572"/>
                <a:gd name="connsiteY1" fmla="*/ 0 h 1045723"/>
                <a:gd name="connsiteX2" fmla="*/ 1745572 w 1745572"/>
                <a:gd name="connsiteY2" fmla="*/ 1045723 h 1045723"/>
                <a:gd name="connsiteX3" fmla="*/ 0 w 1745572"/>
                <a:gd name="connsiteY3" fmla="*/ 1045723 h 1045723"/>
                <a:gd name="connsiteX4" fmla="*/ 0 w 1745572"/>
                <a:gd name="connsiteY4" fmla="*/ 0 h 104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572" h="1045723">
                  <a:moveTo>
                    <a:pt x="0" y="0"/>
                  </a:moveTo>
                  <a:lnTo>
                    <a:pt x="1745572" y="0"/>
                  </a:lnTo>
                  <a:lnTo>
                    <a:pt x="1745572" y="1045723"/>
                  </a:lnTo>
                  <a:lnTo>
                    <a:pt x="0" y="10457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 dirty="0">
                  <a:solidFill>
                    <a:srgbClr val="0A2588"/>
                  </a:solidFill>
                  <a:latin typeface="+mj-lt"/>
                </a:rPr>
                <a:t>May 2024, </a:t>
              </a:r>
              <a:r>
                <a:rPr lang="en-GB" sz="1400" b="1" kern="1200" dirty="0">
                  <a:solidFill>
                    <a:srgbClr val="0A2588"/>
                  </a:solidFill>
                  <a:latin typeface="+mj-lt"/>
                  <a:ea typeface="+mn-ea"/>
                  <a:cs typeface="+mn-cs"/>
                </a:rPr>
                <a:t>World Hydrogen Summit, Rotterdam, NL</a:t>
              </a:r>
              <a:r>
                <a:rPr lang="en-GB" sz="1400" b="1" kern="1200" dirty="0">
                  <a:solidFill>
                    <a:srgbClr val="0A2588"/>
                  </a:solidFill>
                  <a:latin typeface="+mj-lt"/>
                </a:rPr>
                <a:t>: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kern="1200" dirty="0">
                  <a:latin typeface="+mj-lt"/>
                </a:rPr>
                <a:t>Launch 2nd Ministerial-CEO roundtable on </a:t>
              </a:r>
              <a:r>
                <a:rPr lang="en-GB" sz="1400" kern="1200" dirty="0">
                  <a:latin typeface="+mn-lt"/>
                </a:rPr>
                <a:t>priority corridors</a:t>
              </a: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8D3297F-4CE9-BBE3-1409-3030FC58E0FA}"/>
                </a:ext>
              </a:extLst>
            </p:cNvPr>
            <p:cNvSpPr/>
            <p:nvPr/>
          </p:nvSpPr>
          <p:spPr>
            <a:xfrm>
              <a:off x="6275275" y="5362358"/>
              <a:ext cx="261430" cy="261430"/>
            </a:xfrm>
            <a:prstGeom prst="ellipse">
              <a:avLst/>
            </a:prstGeom>
            <a:solidFill>
              <a:srgbClr val="1CF6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50000"/>
                <a:hueOff val="-370099"/>
                <a:satOff val="-75136"/>
                <a:lumOff val="62899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65E25897-1CB4-B868-80CF-66D7A25550B6}"/>
                </a:ext>
              </a:extLst>
            </p:cNvPr>
            <p:cNvSpPr/>
            <p:nvPr/>
          </p:nvSpPr>
          <p:spPr>
            <a:xfrm>
              <a:off x="7306768" y="5685258"/>
              <a:ext cx="1942537" cy="1045723"/>
            </a:xfrm>
            <a:custGeom>
              <a:avLst/>
              <a:gdLst>
                <a:gd name="connsiteX0" fmla="*/ 0 w 1745572"/>
                <a:gd name="connsiteY0" fmla="*/ 0 h 1045723"/>
                <a:gd name="connsiteX1" fmla="*/ 1745572 w 1745572"/>
                <a:gd name="connsiteY1" fmla="*/ 0 h 1045723"/>
                <a:gd name="connsiteX2" fmla="*/ 1745572 w 1745572"/>
                <a:gd name="connsiteY2" fmla="*/ 1045723 h 1045723"/>
                <a:gd name="connsiteX3" fmla="*/ 0 w 1745572"/>
                <a:gd name="connsiteY3" fmla="*/ 1045723 h 1045723"/>
                <a:gd name="connsiteX4" fmla="*/ 0 w 1745572"/>
                <a:gd name="connsiteY4" fmla="*/ 0 h 104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572" h="1045723">
                  <a:moveTo>
                    <a:pt x="0" y="0"/>
                  </a:moveTo>
                  <a:lnTo>
                    <a:pt x="1745572" y="0"/>
                  </a:lnTo>
                  <a:lnTo>
                    <a:pt x="1745572" y="1045723"/>
                  </a:lnTo>
                  <a:lnTo>
                    <a:pt x="0" y="10457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 dirty="0">
                  <a:solidFill>
                    <a:srgbClr val="0A2588"/>
                  </a:solidFill>
                  <a:latin typeface="+mj-lt"/>
                </a:rPr>
                <a:t>Oct 2024, G20/CEM: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kern="1200" dirty="0">
                  <a:solidFill>
                    <a:schemeClr val="tx1"/>
                  </a:solidFill>
                  <a:latin typeface="+mj-lt"/>
                </a:rPr>
                <a:t>high-level side event on the “big three”</a:t>
              </a: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51B599B-0F86-8ADB-FF67-5C0AD874C526}"/>
                </a:ext>
              </a:extLst>
            </p:cNvPr>
            <p:cNvSpPr/>
            <p:nvPr/>
          </p:nvSpPr>
          <p:spPr>
            <a:xfrm>
              <a:off x="9243173" y="4255166"/>
              <a:ext cx="1745572" cy="1045723"/>
            </a:xfrm>
            <a:custGeom>
              <a:avLst/>
              <a:gdLst>
                <a:gd name="connsiteX0" fmla="*/ 0 w 1745572"/>
                <a:gd name="connsiteY0" fmla="*/ 0 h 1045723"/>
                <a:gd name="connsiteX1" fmla="*/ 1745572 w 1745572"/>
                <a:gd name="connsiteY1" fmla="*/ 0 h 1045723"/>
                <a:gd name="connsiteX2" fmla="*/ 1745572 w 1745572"/>
                <a:gd name="connsiteY2" fmla="*/ 1045723 h 1045723"/>
                <a:gd name="connsiteX3" fmla="*/ 0 w 1745572"/>
                <a:gd name="connsiteY3" fmla="*/ 1045723 h 1045723"/>
                <a:gd name="connsiteX4" fmla="*/ 0 w 1745572"/>
                <a:gd name="connsiteY4" fmla="*/ 0 h 104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572" h="1045723">
                  <a:moveTo>
                    <a:pt x="0" y="0"/>
                  </a:moveTo>
                  <a:lnTo>
                    <a:pt x="1745572" y="0"/>
                  </a:lnTo>
                  <a:lnTo>
                    <a:pt x="1745572" y="1045723"/>
                  </a:lnTo>
                  <a:lnTo>
                    <a:pt x="0" y="10457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568" tIns="99568" rIns="99568" bIns="99568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400" b="1" kern="1200" dirty="0">
                  <a:solidFill>
                    <a:srgbClr val="0A2588"/>
                  </a:solidFill>
                  <a:latin typeface="Arial"/>
                  <a:ea typeface="+mn-ea"/>
                  <a:cs typeface="+mn-cs"/>
                </a:rPr>
                <a:t>Nov 2025, COP30, Belem, BR:</a:t>
              </a: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400" kern="1200" dirty="0">
                  <a:solidFill>
                    <a:srgbClr val="333333">
                      <a:hueOff val="0"/>
                      <a:satOff val="0"/>
                      <a:lumOff val="0"/>
                      <a:alphaOff val="0"/>
                    </a:srgbClr>
                  </a:solidFill>
                  <a:latin typeface="Arial"/>
                  <a:ea typeface="+mn-ea"/>
                  <a:cs typeface="+mn-cs"/>
                </a:rPr>
                <a:t>TBC: 4</a:t>
              </a:r>
              <a:r>
                <a:rPr lang="en-GB" sz="1400" kern="1200" dirty="0">
                  <a:solidFill>
                    <a:schemeClr val="tx1"/>
                  </a:solidFill>
                  <a:latin typeface="+mj-lt"/>
                </a:rPr>
                <a:t>th Ministerial-CEO roundtable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1400" kern="1200" dirty="0"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Rectangle 18">
            <a:extLst>
              <a:ext uri="{FF2B5EF4-FFF2-40B4-BE49-F238E27FC236}">
                <a16:creationId xmlns:a16="http://schemas.microsoft.com/office/drawing/2014/main" id="{197C7294-DCD4-AAEE-B646-519961B7A90E}"/>
              </a:ext>
            </a:extLst>
          </p:cNvPr>
          <p:cNvSpPr/>
          <p:nvPr/>
        </p:nvSpPr>
        <p:spPr>
          <a:xfrm>
            <a:off x="1" y="1562100"/>
            <a:ext cx="12191999" cy="2390139"/>
          </a:xfrm>
          <a:prstGeom prst="rect">
            <a:avLst/>
          </a:prstGeom>
          <a:gradFill flip="none" rotWithShape="1">
            <a:gsLst>
              <a:gs pos="54900">
                <a:srgbClr val="054EA7"/>
              </a:gs>
              <a:gs pos="0">
                <a:srgbClr val="0A2588"/>
              </a:gs>
              <a:gs pos="100000">
                <a:srgbClr val="0070C0"/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8E5BFC4-17DC-FB61-420F-4BB4D3B44F4F}"/>
              </a:ext>
            </a:extLst>
          </p:cNvPr>
          <p:cNvGrpSpPr/>
          <p:nvPr/>
        </p:nvGrpSpPr>
        <p:grpSpPr>
          <a:xfrm>
            <a:off x="623620" y="1744199"/>
            <a:ext cx="1256382" cy="2096120"/>
            <a:chOff x="623620" y="1744199"/>
            <a:chExt cx="1256382" cy="209612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1B84F24-12AE-E7E6-C1F0-0D8EBA9FC975}"/>
                </a:ext>
              </a:extLst>
            </p:cNvPr>
            <p:cNvSpPr txBox="1"/>
            <p:nvPr/>
          </p:nvSpPr>
          <p:spPr>
            <a:xfrm>
              <a:off x="663539" y="3532542"/>
              <a:ext cx="1216463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Co-chairs rotate </a:t>
              </a:r>
              <a:b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 an annual basis</a:t>
              </a:r>
            </a:p>
          </p:txBody>
        </p:sp>
        <p:pic>
          <p:nvPicPr>
            <p:cNvPr id="14" name="flag_netherlands">
              <a:extLst>
                <a:ext uri="{FF2B5EF4-FFF2-40B4-BE49-F238E27FC236}">
                  <a16:creationId xmlns:a16="http://schemas.microsoft.com/office/drawing/2014/main" id="{92BF3A25-7080-3808-3767-F37803A291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/>
            <a:srcRect l="16688" r="16688"/>
            <a:stretch/>
          </p:blipFill>
          <p:spPr bwMode="auto">
            <a:xfrm>
              <a:off x="623620" y="2495616"/>
              <a:ext cx="543962" cy="543962"/>
            </a:xfrm>
            <a:prstGeom prst="ellipse">
              <a:avLst/>
            </a:prstGeom>
            <a:grpFill/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</p:pic>
        <p:sp>
          <p:nvSpPr>
            <p:cNvPr id="16" name="ee4pHeader1">
              <a:extLst>
                <a:ext uri="{FF2B5EF4-FFF2-40B4-BE49-F238E27FC236}">
                  <a16:creationId xmlns:a16="http://schemas.microsoft.com/office/drawing/2014/main" id="{37F9D38D-4F5F-6A54-749C-F31E9E81754C}"/>
                </a:ext>
              </a:extLst>
            </p:cNvPr>
            <p:cNvSpPr txBox="1"/>
            <p:nvPr/>
          </p:nvSpPr>
          <p:spPr>
            <a:xfrm>
              <a:off x="727922" y="1744199"/>
              <a:ext cx="1087698" cy="276999"/>
            </a:xfrm>
            <a:prstGeom prst="rect">
              <a:avLst/>
            </a:prstGeom>
            <a:noFill/>
            <a:ln cap="rnd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3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-Chairs*</a:t>
              </a: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B2FC1F4-18D3-5EF3-F96F-FC9AE032466C}"/>
              </a:ext>
            </a:extLst>
          </p:cNvPr>
          <p:cNvCxnSpPr>
            <a:cxnSpLocks/>
          </p:cNvCxnSpPr>
          <p:nvPr/>
        </p:nvCxnSpPr>
        <p:spPr>
          <a:xfrm>
            <a:off x="2336744" y="1747060"/>
            <a:ext cx="0" cy="1920240"/>
          </a:xfrm>
          <a:prstGeom prst="line">
            <a:avLst/>
          </a:prstGeom>
          <a:ln w="15875" cap="rnd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D138BBE-328B-4ACF-3A73-34816D760C38}"/>
              </a:ext>
            </a:extLst>
          </p:cNvPr>
          <p:cNvGrpSpPr/>
          <p:nvPr/>
        </p:nvGrpSpPr>
        <p:grpSpPr>
          <a:xfrm>
            <a:off x="2753565" y="1744199"/>
            <a:ext cx="3172604" cy="2019176"/>
            <a:chOff x="2736945" y="1744199"/>
            <a:chExt cx="3172604" cy="201917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FD4F27C-6C5B-0007-E797-B3643BAEC256}"/>
                </a:ext>
              </a:extLst>
            </p:cNvPr>
            <p:cNvSpPr txBox="1"/>
            <p:nvPr/>
          </p:nvSpPr>
          <p:spPr>
            <a:xfrm>
              <a:off x="3195441" y="3536164"/>
              <a:ext cx="2714108" cy="15388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**Other countries in process of  joining the IHTF</a:t>
              </a:r>
            </a:p>
          </p:txBody>
        </p:sp>
        <p:sp>
          <p:nvSpPr>
            <p:cNvPr id="17" name="ee4pHeader1">
              <a:extLst>
                <a:ext uri="{FF2B5EF4-FFF2-40B4-BE49-F238E27FC236}">
                  <a16:creationId xmlns:a16="http://schemas.microsoft.com/office/drawing/2014/main" id="{41E982E7-7389-2D00-A344-4BCD52D3721A}"/>
                </a:ext>
              </a:extLst>
            </p:cNvPr>
            <p:cNvSpPr txBox="1"/>
            <p:nvPr/>
          </p:nvSpPr>
          <p:spPr>
            <a:xfrm>
              <a:off x="3111552" y="1744199"/>
              <a:ext cx="2046644" cy="276999"/>
            </a:xfrm>
            <a:prstGeom prst="rect">
              <a:avLst/>
            </a:prstGeom>
            <a:noFill/>
            <a:ln cap="rnd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marL="0" marR="0" lvl="3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untry members**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EE225FB-BFCC-B9F6-48CA-31CCB3AE8C10}"/>
                </a:ext>
              </a:extLst>
            </p:cNvPr>
            <p:cNvGrpSpPr/>
            <p:nvPr/>
          </p:nvGrpSpPr>
          <p:grpSpPr>
            <a:xfrm>
              <a:off x="2736945" y="2251535"/>
              <a:ext cx="2795858" cy="1511840"/>
              <a:chOff x="2687464" y="2251535"/>
              <a:chExt cx="2795858" cy="1511840"/>
            </a:xfrm>
          </p:grpSpPr>
          <p:pic>
            <p:nvPicPr>
              <p:cNvPr id="6" name="flag_unitedkingdom">
                <a:extLst>
                  <a:ext uri="{FF2B5EF4-FFF2-40B4-BE49-F238E27FC236}">
                    <a16:creationId xmlns:a16="http://schemas.microsoft.com/office/drawing/2014/main" id="{6177ECFC-F27E-3E10-1B1D-DF5C334532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/>
              <a:srcRect l="21282" r="21467"/>
              <a:stretch/>
            </p:blipFill>
            <p:spPr bwMode="auto">
              <a:xfrm>
                <a:off x="3935126" y="306089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7" name="flag_netherlands">
                <a:extLst>
                  <a:ext uri="{FF2B5EF4-FFF2-40B4-BE49-F238E27FC236}">
                    <a16:creationId xmlns:a16="http://schemas.microsoft.com/office/drawing/2014/main" id="{6F021F4B-5976-9009-B560-17E2B0CC50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/>
              <a:srcRect l="16688" r="16688"/>
              <a:stretch/>
            </p:blipFill>
            <p:spPr bwMode="auto">
              <a:xfrm>
                <a:off x="2687464" y="306089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8" name="flag_UAE">
                <a:extLst>
                  <a:ext uri="{FF2B5EF4-FFF2-40B4-BE49-F238E27FC236}">
                    <a16:creationId xmlns:a16="http://schemas.microsoft.com/office/drawing/2014/main" id="{A339866C-1447-F005-BFD6-FA24CACECB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/>
              <a:srcRect l="18018" r="31982"/>
              <a:stretch/>
            </p:blipFill>
            <p:spPr bwMode="auto">
              <a:xfrm>
                <a:off x="3311295" y="306089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9" name="flag_uruguay">
                <a:extLst>
                  <a:ext uri="{FF2B5EF4-FFF2-40B4-BE49-F238E27FC236}">
                    <a16:creationId xmlns:a16="http://schemas.microsoft.com/office/drawing/2014/main" id="{364537DB-3AB1-729A-5DD7-3564FC545A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/>
              <a:srcRect l="16646" r="16646"/>
              <a:stretch/>
            </p:blipFill>
            <p:spPr bwMode="auto">
              <a:xfrm>
                <a:off x="5182789" y="306089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10" name="flag_usa">
                <a:extLst>
                  <a:ext uri="{FF2B5EF4-FFF2-40B4-BE49-F238E27FC236}">
                    <a16:creationId xmlns:a16="http://schemas.microsoft.com/office/drawing/2014/main" id="{6AEF9CAA-29EE-A1DE-4B92-71E37086388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/>
              <a:srcRect l="13232" r="34144"/>
              <a:stretch/>
            </p:blipFill>
            <p:spPr bwMode="auto">
              <a:xfrm>
                <a:off x="4558957" y="306089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11" name="flag_europeanunion">
                <a:extLst>
                  <a:ext uri="{FF2B5EF4-FFF2-40B4-BE49-F238E27FC236}">
                    <a16:creationId xmlns:a16="http://schemas.microsoft.com/office/drawing/2014/main" id="{D526F86D-1130-CBBF-586B-88D1987E46D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/>
              <a:srcRect l="16688" r="16688"/>
              <a:stretch/>
            </p:blipFill>
            <p:spPr bwMode="auto">
              <a:xfrm>
                <a:off x="2687464" y="3462842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19" name="flag_australia">
                <a:extLst>
                  <a:ext uri="{FF2B5EF4-FFF2-40B4-BE49-F238E27FC236}">
                    <a16:creationId xmlns:a16="http://schemas.microsoft.com/office/drawing/2014/main" id="{F6973988-3CFF-7AF1-5A02-28A5DD4FA9D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13419" t="-1" r="32905" b="10938"/>
              <a:stretch/>
            </p:blipFill>
            <p:spPr>
              <a:xfrm>
                <a:off x="2687464" y="2251535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1" name="flag_canada">
                <a:extLst>
                  <a:ext uri="{FF2B5EF4-FFF2-40B4-BE49-F238E27FC236}">
                    <a16:creationId xmlns:a16="http://schemas.microsoft.com/office/drawing/2014/main" id="{6B4B22A0-2B72-427A-E258-190F99A1A7F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6666" t="2849" r="16666" b="3088"/>
              <a:stretch/>
            </p:blipFill>
            <p:spPr>
              <a:xfrm>
                <a:off x="4558957" y="2251535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2" name="flag_chile">
                <a:extLst>
                  <a:ext uri="{FF2B5EF4-FFF2-40B4-BE49-F238E27FC236}">
                    <a16:creationId xmlns:a16="http://schemas.microsoft.com/office/drawing/2014/main" id="{03AE65A3-3B45-D2A8-958B-B609B3E166E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/>
              <a:srcRect l="16688" r="16688"/>
              <a:stretch/>
            </p:blipFill>
            <p:spPr bwMode="auto">
              <a:xfrm>
                <a:off x="5182789" y="2251535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3" name="flag_brazil">
                <a:extLst>
                  <a:ext uri="{FF2B5EF4-FFF2-40B4-BE49-F238E27FC236}">
                    <a16:creationId xmlns:a16="http://schemas.microsoft.com/office/drawing/2014/main" id="{9DF371A2-DB28-2CF8-A132-42E756F048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6"/>
                  </a:ext>
                </a:extLst>
              </a:blip>
              <a:srcRect l="15182" r="15182"/>
              <a:stretch/>
            </p:blipFill>
            <p:spPr bwMode="auto">
              <a:xfrm>
                <a:off x="3311295" y="2251535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4" name="flag_japan">
                <a:extLst>
                  <a:ext uri="{FF2B5EF4-FFF2-40B4-BE49-F238E27FC236}">
                    <a16:creationId xmlns:a16="http://schemas.microsoft.com/office/drawing/2014/main" id="{A80B9563-CC2C-3308-2864-ACFA9AEC89E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7"/>
              <a:srcRect l="16688" r="16688"/>
              <a:stretch/>
            </p:blipFill>
            <p:spPr bwMode="auto">
              <a:xfrm>
                <a:off x="3311295" y="2656213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5" name="flag_saudiarabia">
                <a:extLst>
                  <a:ext uri="{FF2B5EF4-FFF2-40B4-BE49-F238E27FC236}">
                    <a16:creationId xmlns:a16="http://schemas.microsoft.com/office/drawing/2014/main" id="{5516DEFB-69CC-423D-143B-BC42FF515D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/>
              <a:srcRect l="16666" r="16666"/>
              <a:stretch/>
            </p:blipFill>
            <p:spPr bwMode="auto">
              <a:xfrm>
                <a:off x="4558957" y="2656213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6" name="flag_germany">
                <a:extLst>
                  <a:ext uri="{FF2B5EF4-FFF2-40B4-BE49-F238E27FC236}">
                    <a16:creationId xmlns:a16="http://schemas.microsoft.com/office/drawing/2014/main" id="{10912B19-9A63-2F8E-BD00-AE779DC70C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9"/>
              <a:srcRect l="16666" r="16666"/>
              <a:stretch/>
            </p:blipFill>
            <p:spPr bwMode="auto">
              <a:xfrm>
                <a:off x="2687464" y="2656213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7" name="flag_southkorea">
                <a:extLst>
                  <a:ext uri="{FF2B5EF4-FFF2-40B4-BE49-F238E27FC236}">
                    <a16:creationId xmlns:a16="http://schemas.microsoft.com/office/drawing/2014/main" id="{24228EB0-9AC3-C715-01F0-04F51F70B0E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/>
              <a:srcRect l="16688" r="16688"/>
              <a:stretch/>
            </p:blipFill>
            <p:spPr bwMode="auto">
              <a:xfrm>
                <a:off x="5182789" y="2656213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  <p:pic>
            <p:nvPicPr>
              <p:cNvPr id="28" name="flag_UAE">
                <a:extLst>
                  <a:ext uri="{FF2B5EF4-FFF2-40B4-BE49-F238E27FC236}">
                    <a16:creationId xmlns:a16="http://schemas.microsoft.com/office/drawing/2014/main" id="{CE7BAD7C-09B1-9151-5B8A-F09591960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22"/>
                  </a:ext>
                </a:extLst>
              </a:blip>
              <a:srcRect l="16958" r="16958"/>
              <a:stretch/>
            </p:blipFill>
            <p:spPr bwMode="auto">
              <a:xfrm>
                <a:off x="3935126" y="2656213"/>
                <a:ext cx="300533" cy="300533"/>
              </a:xfrm>
              <a:prstGeom prst="ellipse">
                <a:avLst/>
              </a:prstGeom>
              <a:grpFill/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pic>
        </p:grp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852BFAB-B624-7B19-7165-9BF93ECA55E1}"/>
              </a:ext>
            </a:extLst>
          </p:cNvPr>
          <p:cNvCxnSpPr>
            <a:cxnSpLocks/>
          </p:cNvCxnSpPr>
          <p:nvPr/>
        </p:nvCxnSpPr>
        <p:spPr>
          <a:xfrm>
            <a:off x="6127788" y="1747060"/>
            <a:ext cx="0" cy="1920240"/>
          </a:xfrm>
          <a:prstGeom prst="line">
            <a:avLst/>
          </a:prstGeom>
          <a:ln w="15875" cap="rnd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e4pHeader1">
            <a:extLst>
              <a:ext uri="{FF2B5EF4-FFF2-40B4-BE49-F238E27FC236}">
                <a16:creationId xmlns:a16="http://schemas.microsoft.com/office/drawing/2014/main" id="{C1F1DA72-A9BD-9E6C-27EF-24180EC2039F}"/>
              </a:ext>
            </a:extLst>
          </p:cNvPr>
          <p:cNvSpPr txBox="1"/>
          <p:nvPr/>
        </p:nvSpPr>
        <p:spPr>
          <a:xfrm>
            <a:off x="6383065" y="1744199"/>
            <a:ext cx="2280598" cy="276999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3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chnical coordinator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DFDBAC7-2F0D-306C-FFF1-0BC1E8AB193F}"/>
              </a:ext>
            </a:extLst>
          </p:cNvPr>
          <p:cNvCxnSpPr>
            <a:cxnSpLocks/>
          </p:cNvCxnSpPr>
          <p:nvPr/>
        </p:nvCxnSpPr>
        <p:spPr>
          <a:xfrm>
            <a:off x="9080484" y="1747060"/>
            <a:ext cx="0" cy="1920240"/>
          </a:xfrm>
          <a:prstGeom prst="line">
            <a:avLst/>
          </a:prstGeom>
          <a:ln w="15875" cap="rnd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ee4pHeader1">
            <a:extLst>
              <a:ext uri="{FF2B5EF4-FFF2-40B4-BE49-F238E27FC236}">
                <a16:creationId xmlns:a16="http://schemas.microsoft.com/office/drawing/2014/main" id="{35EAABF0-B1F3-5882-6B7D-3F5774273B73}"/>
              </a:ext>
            </a:extLst>
          </p:cNvPr>
          <p:cNvSpPr txBox="1"/>
          <p:nvPr/>
        </p:nvSpPr>
        <p:spPr>
          <a:xfrm>
            <a:off x="9497303" y="1744199"/>
            <a:ext cx="2280598" cy="495567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3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vate sector</a:t>
            </a:r>
          </a:p>
          <a:p>
            <a:pPr marL="0" marR="0" lvl="3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gagement coordinator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62C0EC6-6524-DFCB-AF2D-3B339FCB9C32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b="34798"/>
          <a:stretch/>
        </p:blipFill>
        <p:spPr>
          <a:xfrm>
            <a:off x="6485278" y="2513347"/>
            <a:ext cx="2290902" cy="58857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7FFE405-8C64-1066-706F-C91868F8058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568540" y="2688141"/>
            <a:ext cx="1994810" cy="238987"/>
          </a:xfrm>
          <a:prstGeom prst="rect">
            <a:avLst/>
          </a:prstGeom>
        </p:spPr>
      </p:pic>
      <p:pic>
        <p:nvPicPr>
          <p:cNvPr id="62" name="Picture 61" descr="A map of the earth with lights&#10;&#10;Description automatically generated">
            <a:extLst>
              <a:ext uri="{FF2B5EF4-FFF2-40B4-BE49-F238E27FC236}">
                <a16:creationId xmlns:a16="http://schemas.microsoft.com/office/drawing/2014/main" id="{FFF4287C-E096-5222-BBC7-92B476B11DFE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" t="16863" r="-284" b="72534"/>
          <a:stretch/>
        </p:blipFill>
        <p:spPr>
          <a:xfrm>
            <a:off x="0" y="-12715"/>
            <a:ext cx="12192000" cy="724497"/>
          </a:xfrm>
          <a:prstGeom prst="rect">
            <a:avLst/>
          </a:prstGeom>
        </p:spPr>
      </p:pic>
      <p:sp>
        <p:nvSpPr>
          <p:cNvPr id="1029" name="Title 1">
            <a:extLst>
              <a:ext uri="{FF2B5EF4-FFF2-40B4-BE49-F238E27FC236}">
                <a16:creationId xmlns:a16="http://schemas.microsoft.com/office/drawing/2014/main" id="{FE104EAC-E906-7447-9B95-9BCA07288B62}"/>
              </a:ext>
            </a:extLst>
          </p:cNvPr>
          <p:cNvSpPr txBox="1">
            <a:spLocks/>
          </p:cNvSpPr>
          <p:nvPr/>
        </p:nvSpPr>
        <p:spPr>
          <a:xfrm>
            <a:off x="566230" y="917939"/>
            <a:ext cx="10933112" cy="498598"/>
          </a:xfrm>
          <a:prstGeom prst="rect">
            <a:avLst/>
          </a:prstGeom>
        </p:spPr>
        <p:txBody>
          <a:bodyPr vert="horz" anchor="b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rgbClr val="0837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TF at a glance: roles and key milestones</a:t>
            </a:r>
          </a:p>
        </p:txBody>
      </p:sp>
      <p:pic>
        <p:nvPicPr>
          <p:cNvPr id="2" name="flag_brazil">
            <a:extLst>
              <a:ext uri="{FF2B5EF4-FFF2-40B4-BE49-F238E27FC236}">
                <a16:creationId xmlns:a16="http://schemas.microsoft.com/office/drawing/2014/main" id="{53A381CA-F530-32F7-CC5A-057EE6961D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/>
          <a:srcRect l="16666" t="2324" r="16666" b="2438"/>
          <a:stretch/>
        </p:blipFill>
        <p:spPr bwMode="auto">
          <a:xfrm>
            <a:off x="1303752" y="2470125"/>
            <a:ext cx="543957" cy="543957"/>
          </a:xfrm>
          <a:prstGeom prst="ellipse">
            <a:avLst/>
          </a:prstGeom>
          <a:grp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" name="flag_UAE">
            <a:extLst>
              <a:ext uri="{FF2B5EF4-FFF2-40B4-BE49-F238E27FC236}">
                <a16:creationId xmlns:a16="http://schemas.microsoft.com/office/drawing/2014/main" id="{3E5A4EF7-3E08-0928-ED1B-8CC31B7B63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/>
          <a:srcRect l="18019" r="31981"/>
          <a:stretch/>
        </p:blipFill>
        <p:spPr bwMode="auto">
          <a:xfrm>
            <a:off x="3989871" y="2250606"/>
            <a:ext cx="317402" cy="317402"/>
          </a:xfrm>
          <a:prstGeom prst="ellipse">
            <a:avLst/>
          </a:prstGeom>
          <a:grp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5" name="Freeform: Shape 49">
            <a:extLst>
              <a:ext uri="{FF2B5EF4-FFF2-40B4-BE49-F238E27FC236}">
                <a16:creationId xmlns:a16="http://schemas.microsoft.com/office/drawing/2014/main" id="{006CB1DC-C833-2DC4-FD1D-86932BB35410}"/>
              </a:ext>
            </a:extLst>
          </p:cNvPr>
          <p:cNvSpPr/>
          <p:nvPr/>
        </p:nvSpPr>
        <p:spPr>
          <a:xfrm>
            <a:off x="-19049" y="5658620"/>
            <a:ext cx="1942537" cy="1045723"/>
          </a:xfrm>
          <a:custGeom>
            <a:avLst/>
            <a:gdLst>
              <a:gd name="connsiteX0" fmla="*/ 0 w 1745572"/>
              <a:gd name="connsiteY0" fmla="*/ 0 h 1045723"/>
              <a:gd name="connsiteX1" fmla="*/ 1745572 w 1745572"/>
              <a:gd name="connsiteY1" fmla="*/ 0 h 1045723"/>
              <a:gd name="connsiteX2" fmla="*/ 1745572 w 1745572"/>
              <a:gd name="connsiteY2" fmla="*/ 1045723 h 1045723"/>
              <a:gd name="connsiteX3" fmla="*/ 0 w 1745572"/>
              <a:gd name="connsiteY3" fmla="*/ 1045723 h 1045723"/>
              <a:gd name="connsiteX4" fmla="*/ 0 w 1745572"/>
              <a:gd name="connsiteY4" fmla="*/ 0 h 1045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5572" h="1045723">
                <a:moveTo>
                  <a:pt x="0" y="0"/>
                </a:moveTo>
                <a:lnTo>
                  <a:pt x="1745572" y="0"/>
                </a:lnTo>
                <a:lnTo>
                  <a:pt x="1745572" y="1045723"/>
                </a:lnTo>
                <a:lnTo>
                  <a:pt x="0" y="104572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99568" rIns="99568" bIns="99568" numCol="1" spcCol="1270" anchor="t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b="1" kern="1200" dirty="0">
                <a:solidFill>
                  <a:srgbClr val="0A2588"/>
                </a:solidFill>
                <a:latin typeface="+mj-lt"/>
                <a:ea typeface="+mn-ea"/>
                <a:cs typeface="+mn-cs"/>
              </a:rPr>
              <a:t>July 2023:</a:t>
            </a:r>
          </a:p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  <a:latin typeface="+mn-lt"/>
              </a:rPr>
              <a:t>Launch of IHTF at CEM14 in India by NL and UAE as launching co-chairs</a:t>
            </a:r>
            <a:endParaRPr lang="en-GB" sz="1400" kern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9" name="Oval 56">
            <a:extLst>
              <a:ext uri="{FF2B5EF4-FFF2-40B4-BE49-F238E27FC236}">
                <a16:creationId xmlns:a16="http://schemas.microsoft.com/office/drawing/2014/main" id="{FC55301D-EE05-40FA-570C-C72563315848}"/>
              </a:ext>
            </a:extLst>
          </p:cNvPr>
          <p:cNvSpPr/>
          <p:nvPr/>
        </p:nvSpPr>
        <p:spPr>
          <a:xfrm>
            <a:off x="8152393" y="5374023"/>
            <a:ext cx="261430" cy="261430"/>
          </a:xfrm>
          <a:prstGeom prst="ellipse">
            <a:avLst/>
          </a:prstGeom>
          <a:solidFill>
            <a:srgbClr val="1CF6E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shade val="50000"/>
              <a:hueOff val="-370099"/>
              <a:satOff val="-75136"/>
              <a:lumOff val="62899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" name="Oval 56">
            <a:extLst>
              <a:ext uri="{FF2B5EF4-FFF2-40B4-BE49-F238E27FC236}">
                <a16:creationId xmlns:a16="http://schemas.microsoft.com/office/drawing/2014/main" id="{8EAA5C94-C55C-3AFC-409D-3D305A07626B}"/>
              </a:ext>
            </a:extLst>
          </p:cNvPr>
          <p:cNvSpPr/>
          <p:nvPr/>
        </p:nvSpPr>
        <p:spPr>
          <a:xfrm>
            <a:off x="9985244" y="5363981"/>
            <a:ext cx="261430" cy="261430"/>
          </a:xfrm>
          <a:prstGeom prst="ellipse">
            <a:avLst/>
          </a:prstGeom>
          <a:solidFill>
            <a:srgbClr val="35998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shade val="50000"/>
              <a:hueOff val="-370099"/>
              <a:satOff val="-75136"/>
              <a:lumOff val="62899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>
              <a:solidFill>
                <a:srgbClr val="359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684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A7F550-223C-F0EB-EC0F-CE55E5FE6439}"/>
              </a:ext>
            </a:extLst>
          </p:cNvPr>
          <p:cNvSpPr/>
          <p:nvPr/>
        </p:nvSpPr>
        <p:spPr>
          <a:xfrm>
            <a:off x="2346061" y="4294391"/>
            <a:ext cx="9843210" cy="2626715"/>
          </a:xfrm>
          <a:prstGeom prst="rect">
            <a:avLst/>
          </a:prstGeom>
          <a:solidFill>
            <a:srgbClr val="009CDC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" name="Rectangle 18">
            <a:extLst>
              <a:ext uri="{FF2B5EF4-FFF2-40B4-BE49-F238E27FC236}">
                <a16:creationId xmlns:a16="http://schemas.microsoft.com/office/drawing/2014/main" id="{ACF6186F-A54A-286D-DF6D-CDFE3CD71E47}"/>
              </a:ext>
            </a:extLst>
          </p:cNvPr>
          <p:cNvSpPr/>
          <p:nvPr/>
        </p:nvSpPr>
        <p:spPr>
          <a:xfrm>
            <a:off x="2348790" y="1904253"/>
            <a:ext cx="9840481" cy="2390139"/>
          </a:xfrm>
          <a:prstGeom prst="rect">
            <a:avLst/>
          </a:prstGeom>
          <a:gradFill flip="none" rotWithShape="1">
            <a:gsLst>
              <a:gs pos="54900">
                <a:srgbClr val="054EA7"/>
              </a:gs>
              <a:gs pos="0">
                <a:srgbClr val="0A2588"/>
              </a:gs>
              <a:gs pos="100000">
                <a:srgbClr val="0070C0"/>
              </a:gs>
            </a:gsLst>
            <a:lin ang="135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8" name="think-cell data - do not delete" hidden="1">
            <a:extLst>
              <a:ext uri="{FF2B5EF4-FFF2-40B4-BE49-F238E27FC236}">
                <a16:creationId xmlns:a16="http://schemas.microsoft.com/office/drawing/2014/main" id="{20CA4179-FFCB-39D7-C405-3E54F3F743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CA4179-FFCB-39D7-C405-3E54F3F74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Oval 46">
            <a:extLst>
              <a:ext uri="{FF2B5EF4-FFF2-40B4-BE49-F238E27FC236}">
                <a16:creationId xmlns:a16="http://schemas.microsoft.com/office/drawing/2014/main" id="{B1EE3B25-7272-3835-C29A-C131755C0A97}"/>
              </a:ext>
            </a:extLst>
          </p:cNvPr>
          <p:cNvSpPr/>
          <p:nvPr/>
        </p:nvSpPr>
        <p:spPr>
          <a:xfrm>
            <a:off x="2577411" y="2832201"/>
            <a:ext cx="385200" cy="384957"/>
          </a:xfrm>
          <a:prstGeom prst="ellipse">
            <a:avLst/>
          </a:prstGeom>
          <a:solidFill>
            <a:srgbClr val="009CDC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4CFE6396-E369-5213-9E3B-8812FAA21449}"/>
              </a:ext>
            </a:extLst>
          </p:cNvPr>
          <p:cNvSpPr/>
          <p:nvPr/>
        </p:nvSpPr>
        <p:spPr>
          <a:xfrm>
            <a:off x="2577411" y="2147726"/>
            <a:ext cx="385200" cy="384957"/>
          </a:xfrm>
          <a:prstGeom prst="ellipse">
            <a:avLst/>
          </a:prstGeom>
          <a:solidFill>
            <a:srgbClr val="009CDC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5B85717-0C58-49B7-1CD8-A18A5E02A8FB}"/>
              </a:ext>
            </a:extLst>
          </p:cNvPr>
          <p:cNvSpPr/>
          <p:nvPr/>
        </p:nvSpPr>
        <p:spPr>
          <a:xfrm>
            <a:off x="2582661" y="3579823"/>
            <a:ext cx="385200" cy="384957"/>
          </a:xfrm>
          <a:prstGeom prst="ellipse">
            <a:avLst/>
          </a:prstGeom>
          <a:solidFill>
            <a:srgbClr val="009CDC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76ED955B-7A77-30FF-A8E2-38FD585945EF}"/>
              </a:ext>
            </a:extLst>
          </p:cNvPr>
          <p:cNvSpPr/>
          <p:nvPr/>
        </p:nvSpPr>
        <p:spPr>
          <a:xfrm>
            <a:off x="9827266" y="2096686"/>
            <a:ext cx="1852863" cy="494026"/>
          </a:xfrm>
          <a:prstGeom prst="roundRect">
            <a:avLst/>
          </a:prstGeom>
          <a:solidFill>
            <a:srgbClr val="009CD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638AF70-46FC-6642-8794-21B423A2A617}"/>
              </a:ext>
            </a:extLst>
          </p:cNvPr>
          <p:cNvSpPr/>
          <p:nvPr/>
        </p:nvSpPr>
        <p:spPr>
          <a:xfrm>
            <a:off x="9827265" y="2813020"/>
            <a:ext cx="1852863" cy="494026"/>
          </a:xfrm>
          <a:prstGeom prst="roundRect">
            <a:avLst/>
          </a:prstGeom>
          <a:solidFill>
            <a:srgbClr val="009CD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idence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5D4E1C48-D5CE-EEF0-03FF-2DD02F6C9B06}"/>
              </a:ext>
            </a:extLst>
          </p:cNvPr>
          <p:cNvSpPr/>
          <p:nvPr/>
        </p:nvSpPr>
        <p:spPr>
          <a:xfrm>
            <a:off x="9837773" y="3525888"/>
            <a:ext cx="1852863" cy="494026"/>
          </a:xfrm>
          <a:prstGeom prst="roundRect">
            <a:avLst/>
          </a:prstGeom>
          <a:solidFill>
            <a:srgbClr val="009CD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loy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C0E7719-7336-5233-F316-46CF24B558C9}"/>
              </a:ext>
            </a:extLst>
          </p:cNvPr>
          <p:cNvCxnSpPr>
            <a:cxnSpLocks/>
          </p:cNvCxnSpPr>
          <p:nvPr/>
        </p:nvCxnSpPr>
        <p:spPr>
          <a:xfrm>
            <a:off x="0" y="1904253"/>
            <a:ext cx="12192000" cy="0"/>
          </a:xfrm>
          <a:prstGeom prst="line">
            <a:avLst/>
          </a:prstGeom>
          <a:ln>
            <a:solidFill>
              <a:srgbClr val="08379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5" name="Picture 54">
            <a:extLst>
              <a:ext uri="{FF2B5EF4-FFF2-40B4-BE49-F238E27FC236}">
                <a16:creationId xmlns:a16="http://schemas.microsoft.com/office/drawing/2014/main" id="{28007C9F-B0BF-4256-2BC2-878C3379E49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10" y="2844900"/>
            <a:ext cx="1674000" cy="41742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F1DCA553-5762-9286-9B52-06ACC8D917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3170" b="11476"/>
          <a:stretch/>
        </p:blipFill>
        <p:spPr>
          <a:xfrm>
            <a:off x="-85727" y="4998020"/>
            <a:ext cx="2352675" cy="1104901"/>
          </a:xfrm>
          <a:prstGeom prst="rect">
            <a:avLst/>
          </a:prstGeom>
        </p:spPr>
      </p:pic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43A8EB7-DDCC-ADCA-0A4A-7E86C185E3B4}"/>
              </a:ext>
            </a:extLst>
          </p:cNvPr>
          <p:cNvCxnSpPr>
            <a:cxnSpLocks/>
          </p:cNvCxnSpPr>
          <p:nvPr/>
        </p:nvCxnSpPr>
        <p:spPr>
          <a:xfrm flipV="1">
            <a:off x="0" y="4291320"/>
            <a:ext cx="12189271" cy="8"/>
          </a:xfrm>
          <a:prstGeom prst="line">
            <a:avLst/>
          </a:prstGeom>
          <a:ln>
            <a:solidFill>
              <a:srgbClr val="009CDC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515127DC-BA0B-C943-30E6-404C1B8676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84921" y="5019830"/>
            <a:ext cx="2358566" cy="132669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0CA0172-A564-85C7-8493-372F8F559174}"/>
              </a:ext>
            </a:extLst>
          </p:cNvPr>
          <p:cNvSpPr txBox="1">
            <a:spLocks/>
          </p:cNvSpPr>
          <p:nvPr/>
        </p:nvSpPr>
        <p:spPr>
          <a:xfrm>
            <a:off x="195851" y="1003841"/>
            <a:ext cx="11747636" cy="50180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45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600" dirty="0">
                <a:solidFill>
                  <a:srgbClr val="0A2588"/>
                </a:solidFill>
              </a:rPr>
              <a:t>IHTF high level roundtables: main outcomes &amp; conclusion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71BD923-9C15-F991-A93B-F57C65A670A0}"/>
              </a:ext>
            </a:extLst>
          </p:cNvPr>
          <p:cNvSpPr/>
          <p:nvPr/>
        </p:nvSpPr>
        <p:spPr>
          <a:xfrm>
            <a:off x="3059985" y="2096686"/>
            <a:ext cx="6293850" cy="49402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laration of Intent on mutual recognition o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tification schemes for hydrogen and its derivativ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3904809-2B2E-3998-642F-A3F0AA3F206B}"/>
              </a:ext>
            </a:extLst>
          </p:cNvPr>
          <p:cNvSpPr/>
          <p:nvPr/>
        </p:nvSpPr>
        <p:spPr>
          <a:xfrm>
            <a:off x="3085188" y="3525888"/>
            <a:ext cx="6293850" cy="49402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-Private Action Statement on unlocking trade corridors 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74B9BFB-356B-E6DE-824A-7BD26A11EF16}"/>
              </a:ext>
            </a:extLst>
          </p:cNvPr>
          <p:cNvSpPr/>
          <p:nvPr/>
        </p:nvSpPr>
        <p:spPr>
          <a:xfrm>
            <a:off x="3059985" y="2813020"/>
            <a:ext cx="6293850" cy="49402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O Methodology for GHG emissio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ment for Hydrogen on an LCA basis</a:t>
            </a:r>
          </a:p>
        </p:txBody>
      </p:sp>
      <p:sp>
        <p:nvSpPr>
          <p:cNvPr id="14" name="Oval 46">
            <a:extLst>
              <a:ext uri="{FF2B5EF4-FFF2-40B4-BE49-F238E27FC236}">
                <a16:creationId xmlns:a16="http://schemas.microsoft.com/office/drawing/2014/main" id="{88211242-8D01-0D3F-721D-AD9E56936B0C}"/>
              </a:ext>
            </a:extLst>
          </p:cNvPr>
          <p:cNvSpPr/>
          <p:nvPr/>
        </p:nvSpPr>
        <p:spPr>
          <a:xfrm>
            <a:off x="2577411" y="5127841"/>
            <a:ext cx="385200" cy="384957"/>
          </a:xfrm>
          <a:prstGeom prst="ellipse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5" name="Oval 48">
            <a:extLst>
              <a:ext uri="{FF2B5EF4-FFF2-40B4-BE49-F238E27FC236}">
                <a16:creationId xmlns:a16="http://schemas.microsoft.com/office/drawing/2014/main" id="{0A56931A-C858-6912-C051-80F842EEFEA0}"/>
              </a:ext>
            </a:extLst>
          </p:cNvPr>
          <p:cNvSpPr/>
          <p:nvPr/>
        </p:nvSpPr>
        <p:spPr>
          <a:xfrm>
            <a:off x="2577411" y="4486309"/>
            <a:ext cx="385200" cy="384957"/>
          </a:xfrm>
          <a:prstGeom prst="ellipse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6" name="Oval 49">
            <a:extLst>
              <a:ext uri="{FF2B5EF4-FFF2-40B4-BE49-F238E27FC236}">
                <a16:creationId xmlns:a16="http://schemas.microsoft.com/office/drawing/2014/main" id="{E1300D09-68AA-CBA3-76FA-2407F992BF6A}"/>
              </a:ext>
            </a:extLst>
          </p:cNvPr>
          <p:cNvSpPr/>
          <p:nvPr/>
        </p:nvSpPr>
        <p:spPr>
          <a:xfrm>
            <a:off x="2582661" y="6018614"/>
            <a:ext cx="385200" cy="384957"/>
          </a:xfrm>
          <a:prstGeom prst="ellipse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7" name="Rectangle: Rounded Corners 8">
            <a:extLst>
              <a:ext uri="{FF2B5EF4-FFF2-40B4-BE49-F238E27FC236}">
                <a16:creationId xmlns:a16="http://schemas.microsoft.com/office/drawing/2014/main" id="{ACD33540-8A7F-F521-7B76-2C756049B818}"/>
              </a:ext>
            </a:extLst>
          </p:cNvPr>
          <p:cNvSpPr/>
          <p:nvPr/>
        </p:nvSpPr>
        <p:spPr>
          <a:xfrm>
            <a:off x="3045287" y="4411368"/>
            <a:ext cx="6293850" cy="494026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Hydrogen trade can maximize value for climate, society and economy. We need to act fast to unlock these benefits</a:t>
            </a:r>
          </a:p>
        </p:txBody>
      </p:sp>
      <p:sp>
        <p:nvSpPr>
          <p:cNvPr id="18" name="Rectangle: Rounded Corners 11">
            <a:extLst>
              <a:ext uri="{FF2B5EF4-FFF2-40B4-BE49-F238E27FC236}">
                <a16:creationId xmlns:a16="http://schemas.microsoft.com/office/drawing/2014/main" id="{841345EA-EB48-DFE3-CFE1-99233968D269}"/>
              </a:ext>
            </a:extLst>
          </p:cNvPr>
          <p:cNvSpPr/>
          <p:nvPr/>
        </p:nvSpPr>
        <p:spPr>
          <a:xfrm>
            <a:off x="3030589" y="5704129"/>
            <a:ext cx="6293850" cy="1100001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key enabling conditions have been identified: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term commitment from demand cent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Urgent establishment and interoperability of standards and certif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9CDC"/>
                </a:solidFill>
                <a:latin typeface="Arial"/>
              </a:rPr>
              <a:t>3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city building and knowledge sha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09CDC"/>
                </a:solidFill>
                <a:latin typeface="Arial"/>
              </a:rPr>
              <a:t>4.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locking finance, specially for emerging economies</a:t>
            </a:r>
          </a:p>
        </p:txBody>
      </p:sp>
      <p:sp>
        <p:nvSpPr>
          <p:cNvPr id="19" name="Rectangle: Rounded Corners 12">
            <a:extLst>
              <a:ext uri="{FF2B5EF4-FFF2-40B4-BE49-F238E27FC236}">
                <a16:creationId xmlns:a16="http://schemas.microsoft.com/office/drawing/2014/main" id="{D7F3839E-F8CE-759D-43A2-37AE017BE3B2}"/>
              </a:ext>
            </a:extLst>
          </p:cNvPr>
          <p:cNvSpPr/>
          <p:nvPr/>
        </p:nvSpPr>
        <p:spPr>
          <a:xfrm>
            <a:off x="3045287" y="5014713"/>
            <a:ext cx="6293850" cy="607015"/>
          </a:xfrm>
          <a:prstGeom prst="roundRect">
            <a:avLst/>
          </a:prstGeom>
          <a:solidFill>
            <a:schemeClr val="bg1"/>
          </a:solidFill>
          <a:ln w="9525" cap="rnd" cmpd="sng" algn="ctr">
            <a:solidFill>
              <a:srgbClr val="009CD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9CD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ies and companies are already deploying ambitious strategies and projects. There have even been already several shipments of low-emission hydrogen derivatives taken place</a:t>
            </a:r>
          </a:p>
        </p:txBody>
      </p:sp>
    </p:spTree>
    <p:extLst>
      <p:ext uri="{BB962C8B-B14F-4D97-AF65-F5344CB8AC3E}">
        <p14:creationId xmlns:p14="http://schemas.microsoft.com/office/powerpoint/2010/main" val="3889455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of the earth with lights&#10;&#10;Description automatically generated">
            <a:extLst>
              <a:ext uri="{FF2B5EF4-FFF2-40B4-BE49-F238E27FC236}">
                <a16:creationId xmlns:a16="http://schemas.microsoft.com/office/drawing/2014/main" id="{B3623D35-5F27-DAA4-AFC9-C80A211FEE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1" t="11622" r="4124" b="161"/>
          <a:stretch/>
        </p:blipFill>
        <p:spPr>
          <a:xfrm>
            <a:off x="-1" y="0"/>
            <a:ext cx="12192001" cy="684543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819AC25-927D-53CF-32D7-66818E31D24B}"/>
              </a:ext>
            </a:extLst>
          </p:cNvPr>
          <p:cNvSpPr/>
          <p:nvPr/>
        </p:nvSpPr>
        <p:spPr>
          <a:xfrm>
            <a:off x="868679" y="588059"/>
            <a:ext cx="10811449" cy="5871410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F15B312-2A71-6E7E-E705-9C8195154ECF}"/>
              </a:ext>
            </a:extLst>
          </p:cNvPr>
          <p:cNvSpPr txBox="1">
            <a:spLocks/>
          </p:cNvSpPr>
          <p:nvPr/>
        </p:nvSpPr>
        <p:spPr>
          <a:xfrm>
            <a:off x="1258888" y="907876"/>
            <a:ext cx="9858291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45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600" dirty="0">
                <a:solidFill>
                  <a:srgbClr val="0A2588"/>
                </a:solidFill>
              </a:rPr>
              <a:t>Way forward</a:t>
            </a:r>
          </a:p>
        </p:txBody>
      </p:sp>
      <p:sp>
        <p:nvSpPr>
          <p:cNvPr id="11" name="TextBox 4">
            <a:extLst>
              <a:ext uri="{FF2B5EF4-FFF2-40B4-BE49-F238E27FC236}">
                <a16:creationId xmlns:a16="http://schemas.microsoft.com/office/drawing/2014/main" id="{02EA6690-20F4-AF06-21B3-98CE8592541E}"/>
              </a:ext>
            </a:extLst>
          </p:cNvPr>
          <p:cNvSpPr txBox="1"/>
          <p:nvPr/>
        </p:nvSpPr>
        <p:spPr>
          <a:xfrm>
            <a:off x="1408786" y="1753338"/>
            <a:ext cx="9422124" cy="368576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71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83796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ation Roadmaps </a:t>
            </a:r>
            <a:r>
              <a:rPr lang="en-US" sz="14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merging corridors to be presented at COP30. </a:t>
            </a:r>
          </a:p>
          <a:p>
            <a:pPr marL="784350" lvl="2" indent="-285750">
              <a:buClr>
                <a:srgbClr val="083796"/>
              </a:buClr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 of actionable commitments to accelerate investments in the H2 supply chain and global H2 trade that can serve as a basis for setting voluntary targets in the framework of COP</a:t>
            </a:r>
          </a:p>
          <a:p>
            <a:pPr marL="784350" lvl="2" indent="-285750">
              <a:buClr>
                <a:srgbClr val="083796"/>
              </a:buClr>
              <a:buFont typeface="Wingdings" panose="05000000000000000000" pitchFamily="2" charset="2"/>
              <a:buChar char="Ø"/>
              <a:defRPr/>
            </a:pPr>
            <a:r>
              <a:rPr lang="en-US" sz="14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world examples will be used to extract best practices and to address barriers in light of accelerating the international hydrogen trade. </a:t>
            </a:r>
          </a:p>
          <a:p>
            <a:pPr marL="3271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83796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erial-CEO roundtable at COP30 </a:t>
            </a:r>
            <a:r>
              <a:rPr lang="en-US" sz="1400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iscuss activation roadmaps and key enablers for the development of international low-emissions supply chains and trade corridors of H2 and derivativ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B5B9656-4C4A-8A79-AB18-3D14076B9E3D}"/>
              </a:ext>
            </a:extLst>
          </p:cNvPr>
          <p:cNvCxnSpPr>
            <a:cxnSpLocks/>
          </p:cNvCxnSpPr>
          <p:nvPr/>
        </p:nvCxnSpPr>
        <p:spPr>
          <a:xfrm>
            <a:off x="868679" y="1519243"/>
            <a:ext cx="10811449" cy="0"/>
          </a:xfrm>
          <a:prstGeom prst="line">
            <a:avLst/>
          </a:prstGeom>
          <a:ln>
            <a:solidFill>
              <a:srgbClr val="08379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059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FA6B67F8-3651-450F-8CED-0FCA30F633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FA6B67F8-3651-450F-8CED-0FCA30F63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1AA0BB11-A3F1-6F38-F7E5-E7C313BEFFA5}"/>
              </a:ext>
            </a:extLst>
          </p:cNvPr>
          <p:cNvGrpSpPr/>
          <p:nvPr/>
        </p:nvGrpSpPr>
        <p:grpSpPr>
          <a:xfrm>
            <a:off x="-243282" y="689495"/>
            <a:ext cx="9061279" cy="5861865"/>
            <a:chOff x="554736" y="421093"/>
            <a:chExt cx="9917049" cy="6415475"/>
          </a:xfrm>
          <a:solidFill>
            <a:schemeClr val="bg1">
              <a:lumMod val="90000"/>
              <a:lumOff val="10000"/>
            </a:schemeClr>
          </a:solidFill>
        </p:grpSpPr>
        <p:grpSp>
          <p:nvGrpSpPr>
            <p:cNvPr id="2043" name="Group 2042">
              <a:extLst>
                <a:ext uri="{FF2B5EF4-FFF2-40B4-BE49-F238E27FC236}">
                  <a16:creationId xmlns:a16="http://schemas.microsoft.com/office/drawing/2014/main" id="{182A2C46-BC7D-C686-3405-7F80A537955B}"/>
                </a:ext>
              </a:extLst>
            </p:cNvPr>
            <p:cNvGrpSpPr/>
            <p:nvPr/>
          </p:nvGrpSpPr>
          <p:grpSpPr>
            <a:xfrm>
              <a:off x="554736" y="421093"/>
              <a:ext cx="9917049" cy="6415475"/>
              <a:chOff x="-140755" y="-5957134"/>
              <a:chExt cx="9015499" cy="5832250"/>
            </a:xfrm>
            <a:grpFill/>
          </p:grpSpPr>
          <p:sp>
            <p:nvSpPr>
              <p:cNvPr id="19" name="Freeform 253">
                <a:extLst>
                  <a:ext uri="{FF2B5EF4-FFF2-40B4-BE49-F238E27FC236}">
                    <a16:creationId xmlns:a16="http://schemas.microsoft.com/office/drawing/2014/main" id="{3292C4C1-0B4A-745C-857D-D5A9B63E60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01425" y="-2929403"/>
                <a:ext cx="732330" cy="874686"/>
              </a:xfrm>
              <a:custGeom>
                <a:avLst/>
                <a:gdLst>
                  <a:gd name="T0" fmla="*/ 173 w 457"/>
                  <a:gd name="T1" fmla="*/ 467 h 520"/>
                  <a:gd name="T2" fmla="*/ 182 w 457"/>
                  <a:gd name="T3" fmla="*/ 438 h 520"/>
                  <a:gd name="T4" fmla="*/ 187 w 457"/>
                  <a:gd name="T5" fmla="*/ 387 h 520"/>
                  <a:gd name="T6" fmla="*/ 218 w 457"/>
                  <a:gd name="T7" fmla="*/ 365 h 520"/>
                  <a:gd name="T8" fmla="*/ 246 w 457"/>
                  <a:gd name="T9" fmla="*/ 335 h 520"/>
                  <a:gd name="T10" fmla="*/ 284 w 457"/>
                  <a:gd name="T11" fmla="*/ 307 h 520"/>
                  <a:gd name="T12" fmla="*/ 300 w 457"/>
                  <a:gd name="T13" fmla="*/ 279 h 520"/>
                  <a:gd name="T14" fmla="*/ 319 w 457"/>
                  <a:gd name="T15" fmla="*/ 274 h 520"/>
                  <a:gd name="T16" fmla="*/ 325 w 457"/>
                  <a:gd name="T17" fmla="*/ 255 h 520"/>
                  <a:gd name="T18" fmla="*/ 314 w 457"/>
                  <a:gd name="T19" fmla="*/ 222 h 520"/>
                  <a:gd name="T20" fmla="*/ 318 w 457"/>
                  <a:gd name="T21" fmla="*/ 197 h 520"/>
                  <a:gd name="T22" fmla="*/ 335 w 457"/>
                  <a:gd name="T23" fmla="*/ 201 h 520"/>
                  <a:gd name="T24" fmla="*/ 368 w 457"/>
                  <a:gd name="T25" fmla="*/ 220 h 520"/>
                  <a:gd name="T26" fmla="*/ 365 w 457"/>
                  <a:gd name="T27" fmla="*/ 237 h 520"/>
                  <a:gd name="T28" fmla="*/ 372 w 457"/>
                  <a:gd name="T29" fmla="*/ 244 h 520"/>
                  <a:gd name="T30" fmla="*/ 386 w 457"/>
                  <a:gd name="T31" fmla="*/ 272 h 520"/>
                  <a:gd name="T32" fmla="*/ 394 w 457"/>
                  <a:gd name="T33" fmla="*/ 239 h 520"/>
                  <a:gd name="T34" fmla="*/ 420 w 457"/>
                  <a:gd name="T35" fmla="*/ 202 h 520"/>
                  <a:gd name="T36" fmla="*/ 452 w 457"/>
                  <a:gd name="T37" fmla="*/ 183 h 520"/>
                  <a:gd name="T38" fmla="*/ 443 w 457"/>
                  <a:gd name="T39" fmla="*/ 154 h 520"/>
                  <a:gd name="T40" fmla="*/ 410 w 457"/>
                  <a:gd name="T41" fmla="*/ 148 h 520"/>
                  <a:gd name="T42" fmla="*/ 366 w 457"/>
                  <a:gd name="T43" fmla="*/ 175 h 520"/>
                  <a:gd name="T44" fmla="*/ 335 w 457"/>
                  <a:gd name="T45" fmla="*/ 190 h 520"/>
                  <a:gd name="T46" fmla="*/ 312 w 457"/>
                  <a:gd name="T47" fmla="*/ 178 h 520"/>
                  <a:gd name="T48" fmla="*/ 279 w 457"/>
                  <a:gd name="T49" fmla="*/ 194 h 520"/>
                  <a:gd name="T50" fmla="*/ 248 w 457"/>
                  <a:gd name="T51" fmla="*/ 180 h 520"/>
                  <a:gd name="T52" fmla="*/ 208 w 457"/>
                  <a:gd name="T53" fmla="*/ 166 h 520"/>
                  <a:gd name="T54" fmla="*/ 190 w 457"/>
                  <a:gd name="T55" fmla="*/ 145 h 520"/>
                  <a:gd name="T56" fmla="*/ 180 w 457"/>
                  <a:gd name="T57" fmla="*/ 115 h 520"/>
                  <a:gd name="T58" fmla="*/ 169 w 457"/>
                  <a:gd name="T59" fmla="*/ 91 h 520"/>
                  <a:gd name="T60" fmla="*/ 178 w 457"/>
                  <a:gd name="T61" fmla="*/ 56 h 520"/>
                  <a:gd name="T62" fmla="*/ 156 w 457"/>
                  <a:gd name="T63" fmla="*/ 30 h 520"/>
                  <a:gd name="T64" fmla="*/ 89 w 457"/>
                  <a:gd name="T65" fmla="*/ 6 h 520"/>
                  <a:gd name="T66" fmla="*/ 70 w 457"/>
                  <a:gd name="T67" fmla="*/ 25 h 520"/>
                  <a:gd name="T68" fmla="*/ 86 w 457"/>
                  <a:gd name="T69" fmla="*/ 68 h 520"/>
                  <a:gd name="T70" fmla="*/ 100 w 457"/>
                  <a:gd name="T71" fmla="*/ 107 h 520"/>
                  <a:gd name="T72" fmla="*/ 75 w 457"/>
                  <a:gd name="T73" fmla="*/ 148 h 520"/>
                  <a:gd name="T74" fmla="*/ 28 w 457"/>
                  <a:gd name="T75" fmla="*/ 180 h 520"/>
                  <a:gd name="T76" fmla="*/ 44 w 457"/>
                  <a:gd name="T77" fmla="*/ 230 h 520"/>
                  <a:gd name="T78" fmla="*/ 2 w 457"/>
                  <a:gd name="T79" fmla="*/ 239 h 520"/>
                  <a:gd name="T80" fmla="*/ 6 w 457"/>
                  <a:gd name="T81" fmla="*/ 251 h 520"/>
                  <a:gd name="T82" fmla="*/ 28 w 457"/>
                  <a:gd name="T83" fmla="*/ 263 h 520"/>
                  <a:gd name="T84" fmla="*/ 35 w 457"/>
                  <a:gd name="T85" fmla="*/ 291 h 520"/>
                  <a:gd name="T86" fmla="*/ 65 w 457"/>
                  <a:gd name="T87" fmla="*/ 272 h 520"/>
                  <a:gd name="T88" fmla="*/ 72 w 457"/>
                  <a:gd name="T89" fmla="*/ 312 h 520"/>
                  <a:gd name="T90" fmla="*/ 75 w 457"/>
                  <a:gd name="T91" fmla="*/ 333 h 520"/>
                  <a:gd name="T92" fmla="*/ 81 w 457"/>
                  <a:gd name="T93" fmla="*/ 363 h 520"/>
                  <a:gd name="T94" fmla="*/ 91 w 457"/>
                  <a:gd name="T95" fmla="*/ 387 h 520"/>
                  <a:gd name="T96" fmla="*/ 112 w 457"/>
                  <a:gd name="T97" fmla="*/ 436 h 520"/>
                  <a:gd name="T98" fmla="*/ 128 w 457"/>
                  <a:gd name="T99" fmla="*/ 473 h 520"/>
                  <a:gd name="T100" fmla="*/ 147 w 457"/>
                  <a:gd name="T101" fmla="*/ 499 h 520"/>
                  <a:gd name="T102" fmla="*/ 326 w 457"/>
                  <a:gd name="T103" fmla="*/ 277 h 520"/>
                  <a:gd name="T104" fmla="*/ 314 w 457"/>
                  <a:gd name="T105" fmla="*/ 277 h 520"/>
                  <a:gd name="T106" fmla="*/ 323 w 457"/>
                  <a:gd name="T107" fmla="*/ 281 h 520"/>
                  <a:gd name="T108" fmla="*/ 197 w 457"/>
                  <a:gd name="T109" fmla="*/ 377 h 520"/>
                  <a:gd name="T110" fmla="*/ 387 w 457"/>
                  <a:gd name="T111" fmla="*/ 413 h 520"/>
                  <a:gd name="T112" fmla="*/ 384 w 457"/>
                  <a:gd name="T113" fmla="*/ 426 h 520"/>
                  <a:gd name="T114" fmla="*/ 384 w 457"/>
                  <a:gd name="T115" fmla="*/ 443 h 520"/>
                  <a:gd name="T116" fmla="*/ 387 w 457"/>
                  <a:gd name="T117" fmla="*/ 434 h 520"/>
                  <a:gd name="T118" fmla="*/ 72 w 457"/>
                  <a:gd name="T119" fmla="*/ 448 h 520"/>
                  <a:gd name="T120" fmla="*/ 180 w 457"/>
                  <a:gd name="T121" fmla="*/ 464 h 520"/>
                  <a:gd name="T122" fmla="*/ 396 w 457"/>
                  <a:gd name="T123" fmla="*/ 499 h 520"/>
                  <a:gd name="T124" fmla="*/ 398 w 457"/>
                  <a:gd name="T125" fmla="*/ 516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7" h="520">
                    <a:moveTo>
                      <a:pt x="147" y="499"/>
                    </a:moveTo>
                    <a:lnTo>
                      <a:pt x="147" y="497"/>
                    </a:lnTo>
                    <a:lnTo>
                      <a:pt x="149" y="497"/>
                    </a:lnTo>
                    <a:lnTo>
                      <a:pt x="150" y="497"/>
                    </a:lnTo>
                    <a:lnTo>
                      <a:pt x="150" y="495"/>
                    </a:lnTo>
                    <a:lnTo>
                      <a:pt x="152" y="495"/>
                    </a:lnTo>
                    <a:lnTo>
                      <a:pt x="154" y="495"/>
                    </a:lnTo>
                    <a:lnTo>
                      <a:pt x="154" y="493"/>
                    </a:lnTo>
                    <a:lnTo>
                      <a:pt x="156" y="493"/>
                    </a:lnTo>
                    <a:lnTo>
                      <a:pt x="156" y="492"/>
                    </a:lnTo>
                    <a:lnTo>
                      <a:pt x="156" y="490"/>
                    </a:lnTo>
                    <a:lnTo>
                      <a:pt x="156" y="488"/>
                    </a:lnTo>
                    <a:lnTo>
                      <a:pt x="157" y="488"/>
                    </a:lnTo>
                    <a:lnTo>
                      <a:pt x="157" y="487"/>
                    </a:lnTo>
                    <a:lnTo>
                      <a:pt x="157" y="488"/>
                    </a:lnTo>
                    <a:lnTo>
                      <a:pt x="157" y="487"/>
                    </a:lnTo>
                    <a:lnTo>
                      <a:pt x="157" y="488"/>
                    </a:lnTo>
                    <a:lnTo>
                      <a:pt x="157" y="487"/>
                    </a:lnTo>
                    <a:lnTo>
                      <a:pt x="157" y="485"/>
                    </a:lnTo>
                    <a:lnTo>
                      <a:pt x="159" y="485"/>
                    </a:lnTo>
                    <a:lnTo>
                      <a:pt x="159" y="483"/>
                    </a:lnTo>
                    <a:lnTo>
                      <a:pt x="161" y="483"/>
                    </a:lnTo>
                    <a:lnTo>
                      <a:pt x="161" y="481"/>
                    </a:lnTo>
                    <a:lnTo>
                      <a:pt x="163" y="481"/>
                    </a:lnTo>
                    <a:lnTo>
                      <a:pt x="164" y="481"/>
                    </a:lnTo>
                    <a:lnTo>
                      <a:pt x="166" y="481"/>
                    </a:lnTo>
                    <a:lnTo>
                      <a:pt x="166" y="480"/>
                    </a:lnTo>
                    <a:lnTo>
                      <a:pt x="168" y="480"/>
                    </a:lnTo>
                    <a:lnTo>
                      <a:pt x="169" y="480"/>
                    </a:lnTo>
                    <a:lnTo>
                      <a:pt x="171" y="480"/>
                    </a:lnTo>
                    <a:lnTo>
                      <a:pt x="173" y="480"/>
                    </a:lnTo>
                    <a:lnTo>
                      <a:pt x="175" y="480"/>
                    </a:lnTo>
                    <a:lnTo>
                      <a:pt x="175" y="481"/>
                    </a:lnTo>
                    <a:lnTo>
                      <a:pt x="176" y="481"/>
                    </a:lnTo>
                    <a:lnTo>
                      <a:pt x="175" y="481"/>
                    </a:lnTo>
                    <a:lnTo>
                      <a:pt x="175" y="480"/>
                    </a:lnTo>
                    <a:lnTo>
                      <a:pt x="173" y="480"/>
                    </a:lnTo>
                    <a:lnTo>
                      <a:pt x="171" y="480"/>
                    </a:lnTo>
                    <a:lnTo>
                      <a:pt x="169" y="480"/>
                    </a:lnTo>
                    <a:lnTo>
                      <a:pt x="169" y="478"/>
                    </a:lnTo>
                    <a:lnTo>
                      <a:pt x="168" y="478"/>
                    </a:lnTo>
                    <a:lnTo>
                      <a:pt x="168" y="476"/>
                    </a:lnTo>
                    <a:lnTo>
                      <a:pt x="168" y="474"/>
                    </a:lnTo>
                    <a:lnTo>
                      <a:pt x="169" y="474"/>
                    </a:lnTo>
                    <a:lnTo>
                      <a:pt x="169" y="473"/>
                    </a:lnTo>
                    <a:lnTo>
                      <a:pt x="171" y="473"/>
                    </a:lnTo>
                    <a:lnTo>
                      <a:pt x="171" y="471"/>
                    </a:lnTo>
                    <a:lnTo>
                      <a:pt x="171" y="469"/>
                    </a:lnTo>
                    <a:lnTo>
                      <a:pt x="173" y="469"/>
                    </a:lnTo>
                    <a:lnTo>
                      <a:pt x="173" y="467"/>
                    </a:lnTo>
                    <a:lnTo>
                      <a:pt x="173" y="466"/>
                    </a:lnTo>
                    <a:lnTo>
                      <a:pt x="175" y="466"/>
                    </a:lnTo>
                    <a:lnTo>
                      <a:pt x="175" y="464"/>
                    </a:lnTo>
                    <a:lnTo>
                      <a:pt x="173" y="464"/>
                    </a:lnTo>
                    <a:lnTo>
                      <a:pt x="175" y="464"/>
                    </a:lnTo>
                    <a:lnTo>
                      <a:pt x="176" y="464"/>
                    </a:lnTo>
                    <a:lnTo>
                      <a:pt x="178" y="464"/>
                    </a:lnTo>
                    <a:lnTo>
                      <a:pt x="176" y="464"/>
                    </a:lnTo>
                    <a:lnTo>
                      <a:pt x="176" y="462"/>
                    </a:lnTo>
                    <a:lnTo>
                      <a:pt x="178" y="462"/>
                    </a:lnTo>
                    <a:lnTo>
                      <a:pt x="176" y="462"/>
                    </a:lnTo>
                    <a:lnTo>
                      <a:pt x="178" y="462"/>
                    </a:lnTo>
                    <a:lnTo>
                      <a:pt x="178" y="464"/>
                    </a:lnTo>
                    <a:lnTo>
                      <a:pt x="178" y="462"/>
                    </a:lnTo>
                    <a:lnTo>
                      <a:pt x="178" y="464"/>
                    </a:lnTo>
                    <a:lnTo>
                      <a:pt x="178" y="462"/>
                    </a:lnTo>
                    <a:lnTo>
                      <a:pt x="178" y="464"/>
                    </a:lnTo>
                    <a:lnTo>
                      <a:pt x="180" y="464"/>
                    </a:lnTo>
                    <a:lnTo>
                      <a:pt x="180" y="462"/>
                    </a:lnTo>
                    <a:lnTo>
                      <a:pt x="180" y="464"/>
                    </a:lnTo>
                    <a:lnTo>
                      <a:pt x="180" y="462"/>
                    </a:lnTo>
                    <a:lnTo>
                      <a:pt x="180" y="464"/>
                    </a:lnTo>
                    <a:lnTo>
                      <a:pt x="180" y="462"/>
                    </a:lnTo>
                    <a:lnTo>
                      <a:pt x="180" y="464"/>
                    </a:lnTo>
                    <a:lnTo>
                      <a:pt x="180" y="462"/>
                    </a:lnTo>
                    <a:lnTo>
                      <a:pt x="180" y="464"/>
                    </a:lnTo>
                    <a:lnTo>
                      <a:pt x="182" y="464"/>
                    </a:lnTo>
                    <a:lnTo>
                      <a:pt x="183" y="464"/>
                    </a:lnTo>
                    <a:lnTo>
                      <a:pt x="183" y="462"/>
                    </a:lnTo>
                    <a:lnTo>
                      <a:pt x="183" y="460"/>
                    </a:lnTo>
                    <a:lnTo>
                      <a:pt x="183" y="459"/>
                    </a:lnTo>
                    <a:lnTo>
                      <a:pt x="183" y="457"/>
                    </a:lnTo>
                    <a:lnTo>
                      <a:pt x="183" y="455"/>
                    </a:lnTo>
                    <a:lnTo>
                      <a:pt x="183" y="453"/>
                    </a:lnTo>
                    <a:lnTo>
                      <a:pt x="183" y="452"/>
                    </a:lnTo>
                    <a:lnTo>
                      <a:pt x="183" y="450"/>
                    </a:lnTo>
                    <a:lnTo>
                      <a:pt x="183" y="448"/>
                    </a:lnTo>
                    <a:lnTo>
                      <a:pt x="183" y="446"/>
                    </a:lnTo>
                    <a:lnTo>
                      <a:pt x="182" y="446"/>
                    </a:lnTo>
                    <a:lnTo>
                      <a:pt x="183" y="446"/>
                    </a:lnTo>
                    <a:lnTo>
                      <a:pt x="182" y="446"/>
                    </a:lnTo>
                    <a:lnTo>
                      <a:pt x="182" y="445"/>
                    </a:lnTo>
                    <a:lnTo>
                      <a:pt x="182" y="443"/>
                    </a:lnTo>
                    <a:lnTo>
                      <a:pt x="182" y="441"/>
                    </a:lnTo>
                    <a:lnTo>
                      <a:pt x="182" y="443"/>
                    </a:lnTo>
                    <a:lnTo>
                      <a:pt x="182" y="441"/>
                    </a:lnTo>
                    <a:lnTo>
                      <a:pt x="182" y="439"/>
                    </a:lnTo>
                    <a:lnTo>
                      <a:pt x="182" y="438"/>
                    </a:lnTo>
                    <a:lnTo>
                      <a:pt x="183" y="438"/>
                    </a:lnTo>
                    <a:lnTo>
                      <a:pt x="182" y="438"/>
                    </a:lnTo>
                    <a:lnTo>
                      <a:pt x="183" y="438"/>
                    </a:lnTo>
                    <a:lnTo>
                      <a:pt x="183" y="436"/>
                    </a:lnTo>
                    <a:lnTo>
                      <a:pt x="183" y="434"/>
                    </a:lnTo>
                    <a:lnTo>
                      <a:pt x="185" y="434"/>
                    </a:lnTo>
                    <a:lnTo>
                      <a:pt x="185" y="432"/>
                    </a:lnTo>
                    <a:lnTo>
                      <a:pt x="185" y="431"/>
                    </a:lnTo>
                    <a:lnTo>
                      <a:pt x="187" y="431"/>
                    </a:lnTo>
                    <a:lnTo>
                      <a:pt x="187" y="429"/>
                    </a:lnTo>
                    <a:lnTo>
                      <a:pt x="187" y="427"/>
                    </a:lnTo>
                    <a:lnTo>
                      <a:pt x="189" y="427"/>
                    </a:lnTo>
                    <a:lnTo>
                      <a:pt x="189" y="426"/>
                    </a:lnTo>
                    <a:lnTo>
                      <a:pt x="189" y="424"/>
                    </a:lnTo>
                    <a:lnTo>
                      <a:pt x="189" y="422"/>
                    </a:lnTo>
                    <a:lnTo>
                      <a:pt x="189" y="424"/>
                    </a:lnTo>
                    <a:lnTo>
                      <a:pt x="189" y="422"/>
                    </a:lnTo>
                    <a:lnTo>
                      <a:pt x="189" y="420"/>
                    </a:lnTo>
                    <a:lnTo>
                      <a:pt x="190" y="420"/>
                    </a:lnTo>
                    <a:lnTo>
                      <a:pt x="190" y="419"/>
                    </a:lnTo>
                    <a:lnTo>
                      <a:pt x="190" y="417"/>
                    </a:lnTo>
                    <a:lnTo>
                      <a:pt x="190" y="415"/>
                    </a:lnTo>
                    <a:lnTo>
                      <a:pt x="190" y="417"/>
                    </a:lnTo>
                    <a:lnTo>
                      <a:pt x="190" y="415"/>
                    </a:lnTo>
                    <a:lnTo>
                      <a:pt x="190" y="413"/>
                    </a:lnTo>
                    <a:lnTo>
                      <a:pt x="190" y="412"/>
                    </a:lnTo>
                    <a:lnTo>
                      <a:pt x="189" y="412"/>
                    </a:lnTo>
                    <a:lnTo>
                      <a:pt x="189" y="410"/>
                    </a:lnTo>
                    <a:lnTo>
                      <a:pt x="189" y="408"/>
                    </a:lnTo>
                    <a:lnTo>
                      <a:pt x="189" y="406"/>
                    </a:lnTo>
                    <a:lnTo>
                      <a:pt x="189" y="405"/>
                    </a:lnTo>
                    <a:lnTo>
                      <a:pt x="187" y="405"/>
                    </a:lnTo>
                    <a:lnTo>
                      <a:pt x="187" y="403"/>
                    </a:lnTo>
                    <a:lnTo>
                      <a:pt x="187" y="401"/>
                    </a:lnTo>
                    <a:lnTo>
                      <a:pt x="187" y="399"/>
                    </a:lnTo>
                    <a:lnTo>
                      <a:pt x="187" y="401"/>
                    </a:lnTo>
                    <a:lnTo>
                      <a:pt x="187" y="399"/>
                    </a:lnTo>
                    <a:lnTo>
                      <a:pt x="187" y="401"/>
                    </a:lnTo>
                    <a:lnTo>
                      <a:pt x="187" y="399"/>
                    </a:lnTo>
                    <a:lnTo>
                      <a:pt x="189" y="399"/>
                    </a:lnTo>
                    <a:lnTo>
                      <a:pt x="189" y="398"/>
                    </a:lnTo>
                    <a:lnTo>
                      <a:pt x="189" y="396"/>
                    </a:lnTo>
                    <a:lnTo>
                      <a:pt x="189" y="394"/>
                    </a:lnTo>
                    <a:lnTo>
                      <a:pt x="189" y="396"/>
                    </a:lnTo>
                    <a:lnTo>
                      <a:pt x="187" y="396"/>
                    </a:lnTo>
                    <a:lnTo>
                      <a:pt x="187" y="394"/>
                    </a:lnTo>
                    <a:lnTo>
                      <a:pt x="189" y="394"/>
                    </a:lnTo>
                    <a:lnTo>
                      <a:pt x="187" y="394"/>
                    </a:lnTo>
                    <a:lnTo>
                      <a:pt x="187" y="392"/>
                    </a:lnTo>
                    <a:lnTo>
                      <a:pt x="187" y="391"/>
                    </a:lnTo>
                    <a:lnTo>
                      <a:pt x="187" y="389"/>
                    </a:lnTo>
                    <a:lnTo>
                      <a:pt x="187" y="387"/>
                    </a:lnTo>
                    <a:lnTo>
                      <a:pt x="185" y="387"/>
                    </a:lnTo>
                    <a:lnTo>
                      <a:pt x="187" y="385"/>
                    </a:lnTo>
                    <a:lnTo>
                      <a:pt x="187" y="384"/>
                    </a:lnTo>
                    <a:lnTo>
                      <a:pt x="187" y="382"/>
                    </a:lnTo>
                    <a:lnTo>
                      <a:pt x="189" y="382"/>
                    </a:lnTo>
                    <a:lnTo>
                      <a:pt x="189" y="380"/>
                    </a:lnTo>
                    <a:lnTo>
                      <a:pt x="189" y="378"/>
                    </a:lnTo>
                    <a:lnTo>
                      <a:pt x="189" y="377"/>
                    </a:lnTo>
                    <a:lnTo>
                      <a:pt x="190" y="377"/>
                    </a:lnTo>
                    <a:lnTo>
                      <a:pt x="190" y="375"/>
                    </a:lnTo>
                    <a:lnTo>
                      <a:pt x="192" y="375"/>
                    </a:lnTo>
                    <a:lnTo>
                      <a:pt x="194" y="375"/>
                    </a:lnTo>
                    <a:lnTo>
                      <a:pt x="194" y="373"/>
                    </a:lnTo>
                    <a:lnTo>
                      <a:pt x="196" y="373"/>
                    </a:lnTo>
                    <a:lnTo>
                      <a:pt x="197" y="373"/>
                    </a:lnTo>
                    <a:lnTo>
                      <a:pt x="197" y="375"/>
                    </a:lnTo>
                    <a:lnTo>
                      <a:pt x="197" y="373"/>
                    </a:lnTo>
                    <a:lnTo>
                      <a:pt x="197" y="375"/>
                    </a:lnTo>
                    <a:lnTo>
                      <a:pt x="197" y="377"/>
                    </a:lnTo>
                    <a:lnTo>
                      <a:pt x="199" y="377"/>
                    </a:lnTo>
                    <a:lnTo>
                      <a:pt x="199" y="375"/>
                    </a:lnTo>
                    <a:lnTo>
                      <a:pt x="199" y="373"/>
                    </a:lnTo>
                    <a:lnTo>
                      <a:pt x="199" y="375"/>
                    </a:lnTo>
                    <a:lnTo>
                      <a:pt x="201" y="375"/>
                    </a:lnTo>
                    <a:lnTo>
                      <a:pt x="201" y="373"/>
                    </a:lnTo>
                    <a:lnTo>
                      <a:pt x="203" y="373"/>
                    </a:lnTo>
                    <a:lnTo>
                      <a:pt x="203" y="371"/>
                    </a:lnTo>
                    <a:lnTo>
                      <a:pt x="203" y="373"/>
                    </a:lnTo>
                    <a:lnTo>
                      <a:pt x="203" y="371"/>
                    </a:lnTo>
                    <a:lnTo>
                      <a:pt x="204" y="371"/>
                    </a:lnTo>
                    <a:lnTo>
                      <a:pt x="204" y="370"/>
                    </a:lnTo>
                    <a:lnTo>
                      <a:pt x="204" y="368"/>
                    </a:lnTo>
                    <a:lnTo>
                      <a:pt x="204" y="370"/>
                    </a:lnTo>
                    <a:lnTo>
                      <a:pt x="204" y="368"/>
                    </a:lnTo>
                    <a:lnTo>
                      <a:pt x="206" y="368"/>
                    </a:lnTo>
                    <a:lnTo>
                      <a:pt x="206" y="366"/>
                    </a:lnTo>
                    <a:lnTo>
                      <a:pt x="208" y="366"/>
                    </a:lnTo>
                    <a:lnTo>
                      <a:pt x="210" y="366"/>
                    </a:lnTo>
                    <a:lnTo>
                      <a:pt x="211" y="366"/>
                    </a:lnTo>
                    <a:lnTo>
                      <a:pt x="213" y="366"/>
                    </a:lnTo>
                    <a:lnTo>
                      <a:pt x="211" y="366"/>
                    </a:lnTo>
                    <a:lnTo>
                      <a:pt x="213" y="366"/>
                    </a:lnTo>
                    <a:lnTo>
                      <a:pt x="215" y="366"/>
                    </a:lnTo>
                    <a:lnTo>
                      <a:pt x="217" y="366"/>
                    </a:lnTo>
                    <a:lnTo>
                      <a:pt x="217" y="365"/>
                    </a:lnTo>
                    <a:lnTo>
                      <a:pt x="215" y="365"/>
                    </a:lnTo>
                    <a:lnTo>
                      <a:pt x="217" y="365"/>
                    </a:lnTo>
                    <a:lnTo>
                      <a:pt x="217" y="366"/>
                    </a:lnTo>
                    <a:lnTo>
                      <a:pt x="217" y="365"/>
                    </a:lnTo>
                    <a:lnTo>
                      <a:pt x="218" y="365"/>
                    </a:lnTo>
                    <a:lnTo>
                      <a:pt x="218" y="363"/>
                    </a:lnTo>
                    <a:lnTo>
                      <a:pt x="220" y="363"/>
                    </a:lnTo>
                    <a:lnTo>
                      <a:pt x="222" y="363"/>
                    </a:lnTo>
                    <a:lnTo>
                      <a:pt x="220" y="363"/>
                    </a:lnTo>
                    <a:lnTo>
                      <a:pt x="222" y="363"/>
                    </a:lnTo>
                    <a:lnTo>
                      <a:pt x="222" y="361"/>
                    </a:lnTo>
                    <a:lnTo>
                      <a:pt x="222" y="359"/>
                    </a:lnTo>
                    <a:lnTo>
                      <a:pt x="222" y="361"/>
                    </a:lnTo>
                    <a:lnTo>
                      <a:pt x="222" y="359"/>
                    </a:lnTo>
                    <a:lnTo>
                      <a:pt x="222" y="361"/>
                    </a:lnTo>
                    <a:lnTo>
                      <a:pt x="222" y="359"/>
                    </a:lnTo>
                    <a:lnTo>
                      <a:pt x="222" y="358"/>
                    </a:lnTo>
                    <a:lnTo>
                      <a:pt x="222" y="356"/>
                    </a:lnTo>
                    <a:lnTo>
                      <a:pt x="222" y="358"/>
                    </a:lnTo>
                    <a:lnTo>
                      <a:pt x="220" y="358"/>
                    </a:lnTo>
                    <a:lnTo>
                      <a:pt x="220" y="356"/>
                    </a:lnTo>
                    <a:lnTo>
                      <a:pt x="222" y="356"/>
                    </a:lnTo>
                    <a:lnTo>
                      <a:pt x="220" y="356"/>
                    </a:lnTo>
                    <a:lnTo>
                      <a:pt x="222" y="356"/>
                    </a:lnTo>
                    <a:lnTo>
                      <a:pt x="222" y="354"/>
                    </a:lnTo>
                    <a:lnTo>
                      <a:pt x="223" y="354"/>
                    </a:lnTo>
                    <a:lnTo>
                      <a:pt x="223" y="352"/>
                    </a:lnTo>
                    <a:lnTo>
                      <a:pt x="225" y="352"/>
                    </a:lnTo>
                    <a:lnTo>
                      <a:pt x="225" y="351"/>
                    </a:lnTo>
                    <a:lnTo>
                      <a:pt x="227" y="351"/>
                    </a:lnTo>
                    <a:lnTo>
                      <a:pt x="229" y="351"/>
                    </a:lnTo>
                    <a:lnTo>
                      <a:pt x="229" y="349"/>
                    </a:lnTo>
                    <a:lnTo>
                      <a:pt x="230" y="349"/>
                    </a:lnTo>
                    <a:lnTo>
                      <a:pt x="232" y="349"/>
                    </a:lnTo>
                    <a:lnTo>
                      <a:pt x="232" y="347"/>
                    </a:lnTo>
                    <a:lnTo>
                      <a:pt x="234" y="347"/>
                    </a:lnTo>
                    <a:lnTo>
                      <a:pt x="236" y="345"/>
                    </a:lnTo>
                    <a:lnTo>
                      <a:pt x="237" y="345"/>
                    </a:lnTo>
                    <a:lnTo>
                      <a:pt x="237" y="344"/>
                    </a:lnTo>
                    <a:lnTo>
                      <a:pt x="236" y="344"/>
                    </a:lnTo>
                    <a:lnTo>
                      <a:pt x="237" y="344"/>
                    </a:lnTo>
                    <a:lnTo>
                      <a:pt x="236" y="344"/>
                    </a:lnTo>
                    <a:lnTo>
                      <a:pt x="237" y="344"/>
                    </a:lnTo>
                    <a:lnTo>
                      <a:pt x="237" y="342"/>
                    </a:lnTo>
                    <a:lnTo>
                      <a:pt x="239" y="342"/>
                    </a:lnTo>
                    <a:lnTo>
                      <a:pt x="239" y="340"/>
                    </a:lnTo>
                    <a:lnTo>
                      <a:pt x="241" y="340"/>
                    </a:lnTo>
                    <a:lnTo>
                      <a:pt x="241" y="338"/>
                    </a:lnTo>
                    <a:lnTo>
                      <a:pt x="243" y="338"/>
                    </a:lnTo>
                    <a:lnTo>
                      <a:pt x="243" y="337"/>
                    </a:lnTo>
                    <a:lnTo>
                      <a:pt x="244" y="337"/>
                    </a:lnTo>
                    <a:lnTo>
                      <a:pt x="246" y="337"/>
                    </a:lnTo>
                    <a:lnTo>
                      <a:pt x="246" y="335"/>
                    </a:lnTo>
                    <a:lnTo>
                      <a:pt x="246" y="337"/>
                    </a:lnTo>
                    <a:lnTo>
                      <a:pt x="246" y="335"/>
                    </a:lnTo>
                    <a:lnTo>
                      <a:pt x="248" y="335"/>
                    </a:lnTo>
                    <a:lnTo>
                      <a:pt x="250" y="335"/>
                    </a:lnTo>
                    <a:lnTo>
                      <a:pt x="250" y="333"/>
                    </a:lnTo>
                    <a:lnTo>
                      <a:pt x="251" y="333"/>
                    </a:lnTo>
                    <a:lnTo>
                      <a:pt x="251" y="331"/>
                    </a:lnTo>
                    <a:lnTo>
                      <a:pt x="253" y="331"/>
                    </a:lnTo>
                    <a:lnTo>
                      <a:pt x="253" y="330"/>
                    </a:lnTo>
                    <a:lnTo>
                      <a:pt x="255" y="330"/>
                    </a:lnTo>
                    <a:lnTo>
                      <a:pt x="255" y="328"/>
                    </a:lnTo>
                    <a:lnTo>
                      <a:pt x="255" y="326"/>
                    </a:lnTo>
                    <a:lnTo>
                      <a:pt x="257" y="326"/>
                    </a:lnTo>
                    <a:lnTo>
                      <a:pt x="257" y="324"/>
                    </a:lnTo>
                    <a:lnTo>
                      <a:pt x="258" y="324"/>
                    </a:lnTo>
                    <a:lnTo>
                      <a:pt x="258" y="323"/>
                    </a:lnTo>
                    <a:lnTo>
                      <a:pt x="260" y="323"/>
                    </a:lnTo>
                    <a:lnTo>
                      <a:pt x="260" y="321"/>
                    </a:lnTo>
                    <a:lnTo>
                      <a:pt x="258" y="321"/>
                    </a:lnTo>
                    <a:lnTo>
                      <a:pt x="260" y="321"/>
                    </a:lnTo>
                    <a:lnTo>
                      <a:pt x="260" y="319"/>
                    </a:lnTo>
                    <a:lnTo>
                      <a:pt x="262" y="319"/>
                    </a:lnTo>
                    <a:lnTo>
                      <a:pt x="262" y="317"/>
                    </a:lnTo>
                    <a:lnTo>
                      <a:pt x="264" y="317"/>
                    </a:lnTo>
                    <a:lnTo>
                      <a:pt x="265" y="317"/>
                    </a:lnTo>
                    <a:lnTo>
                      <a:pt x="265" y="316"/>
                    </a:lnTo>
                    <a:lnTo>
                      <a:pt x="265" y="317"/>
                    </a:lnTo>
                    <a:lnTo>
                      <a:pt x="264" y="317"/>
                    </a:lnTo>
                    <a:lnTo>
                      <a:pt x="264" y="316"/>
                    </a:lnTo>
                    <a:lnTo>
                      <a:pt x="264" y="317"/>
                    </a:lnTo>
                    <a:lnTo>
                      <a:pt x="264" y="316"/>
                    </a:lnTo>
                    <a:lnTo>
                      <a:pt x="265" y="316"/>
                    </a:lnTo>
                    <a:lnTo>
                      <a:pt x="267" y="316"/>
                    </a:lnTo>
                    <a:lnTo>
                      <a:pt x="267" y="314"/>
                    </a:lnTo>
                    <a:lnTo>
                      <a:pt x="269" y="314"/>
                    </a:lnTo>
                    <a:lnTo>
                      <a:pt x="269" y="312"/>
                    </a:lnTo>
                    <a:lnTo>
                      <a:pt x="271" y="312"/>
                    </a:lnTo>
                    <a:lnTo>
                      <a:pt x="272" y="312"/>
                    </a:lnTo>
                    <a:lnTo>
                      <a:pt x="272" y="310"/>
                    </a:lnTo>
                    <a:lnTo>
                      <a:pt x="274" y="310"/>
                    </a:lnTo>
                    <a:lnTo>
                      <a:pt x="272" y="310"/>
                    </a:lnTo>
                    <a:lnTo>
                      <a:pt x="272" y="312"/>
                    </a:lnTo>
                    <a:lnTo>
                      <a:pt x="272" y="310"/>
                    </a:lnTo>
                    <a:lnTo>
                      <a:pt x="274" y="310"/>
                    </a:lnTo>
                    <a:lnTo>
                      <a:pt x="276" y="310"/>
                    </a:lnTo>
                    <a:lnTo>
                      <a:pt x="276" y="309"/>
                    </a:lnTo>
                    <a:lnTo>
                      <a:pt x="277" y="309"/>
                    </a:lnTo>
                    <a:lnTo>
                      <a:pt x="279" y="309"/>
                    </a:lnTo>
                    <a:lnTo>
                      <a:pt x="281" y="309"/>
                    </a:lnTo>
                    <a:lnTo>
                      <a:pt x="283" y="309"/>
                    </a:lnTo>
                    <a:lnTo>
                      <a:pt x="283" y="307"/>
                    </a:lnTo>
                    <a:lnTo>
                      <a:pt x="284" y="307"/>
                    </a:lnTo>
                    <a:lnTo>
                      <a:pt x="286" y="307"/>
                    </a:lnTo>
                    <a:lnTo>
                      <a:pt x="284" y="307"/>
                    </a:lnTo>
                    <a:lnTo>
                      <a:pt x="284" y="305"/>
                    </a:lnTo>
                    <a:lnTo>
                      <a:pt x="286" y="305"/>
                    </a:lnTo>
                    <a:lnTo>
                      <a:pt x="286" y="304"/>
                    </a:lnTo>
                    <a:lnTo>
                      <a:pt x="288" y="304"/>
                    </a:lnTo>
                    <a:lnTo>
                      <a:pt x="286" y="304"/>
                    </a:lnTo>
                    <a:lnTo>
                      <a:pt x="288" y="304"/>
                    </a:lnTo>
                    <a:lnTo>
                      <a:pt x="288" y="302"/>
                    </a:lnTo>
                    <a:lnTo>
                      <a:pt x="288" y="304"/>
                    </a:lnTo>
                    <a:lnTo>
                      <a:pt x="288" y="302"/>
                    </a:lnTo>
                    <a:lnTo>
                      <a:pt x="290" y="302"/>
                    </a:lnTo>
                    <a:lnTo>
                      <a:pt x="291" y="302"/>
                    </a:lnTo>
                    <a:lnTo>
                      <a:pt x="291" y="300"/>
                    </a:lnTo>
                    <a:lnTo>
                      <a:pt x="291" y="298"/>
                    </a:lnTo>
                    <a:lnTo>
                      <a:pt x="291" y="300"/>
                    </a:lnTo>
                    <a:lnTo>
                      <a:pt x="291" y="298"/>
                    </a:lnTo>
                    <a:lnTo>
                      <a:pt x="291" y="300"/>
                    </a:lnTo>
                    <a:lnTo>
                      <a:pt x="290" y="300"/>
                    </a:lnTo>
                    <a:lnTo>
                      <a:pt x="290" y="298"/>
                    </a:lnTo>
                    <a:lnTo>
                      <a:pt x="291" y="298"/>
                    </a:lnTo>
                    <a:lnTo>
                      <a:pt x="290" y="298"/>
                    </a:lnTo>
                    <a:lnTo>
                      <a:pt x="290" y="297"/>
                    </a:lnTo>
                    <a:lnTo>
                      <a:pt x="290" y="298"/>
                    </a:lnTo>
                    <a:lnTo>
                      <a:pt x="291" y="298"/>
                    </a:lnTo>
                    <a:lnTo>
                      <a:pt x="291" y="297"/>
                    </a:lnTo>
                    <a:lnTo>
                      <a:pt x="293" y="297"/>
                    </a:lnTo>
                    <a:lnTo>
                      <a:pt x="293" y="295"/>
                    </a:lnTo>
                    <a:lnTo>
                      <a:pt x="295" y="295"/>
                    </a:lnTo>
                    <a:lnTo>
                      <a:pt x="293" y="295"/>
                    </a:lnTo>
                    <a:lnTo>
                      <a:pt x="295" y="295"/>
                    </a:lnTo>
                    <a:lnTo>
                      <a:pt x="295" y="293"/>
                    </a:lnTo>
                    <a:lnTo>
                      <a:pt x="293" y="293"/>
                    </a:lnTo>
                    <a:lnTo>
                      <a:pt x="291" y="293"/>
                    </a:lnTo>
                    <a:lnTo>
                      <a:pt x="293" y="293"/>
                    </a:lnTo>
                    <a:lnTo>
                      <a:pt x="293" y="291"/>
                    </a:lnTo>
                    <a:lnTo>
                      <a:pt x="293" y="290"/>
                    </a:lnTo>
                    <a:lnTo>
                      <a:pt x="291" y="288"/>
                    </a:lnTo>
                    <a:lnTo>
                      <a:pt x="291" y="286"/>
                    </a:lnTo>
                    <a:lnTo>
                      <a:pt x="293" y="286"/>
                    </a:lnTo>
                    <a:lnTo>
                      <a:pt x="293" y="284"/>
                    </a:lnTo>
                    <a:lnTo>
                      <a:pt x="293" y="283"/>
                    </a:lnTo>
                    <a:lnTo>
                      <a:pt x="295" y="283"/>
                    </a:lnTo>
                    <a:lnTo>
                      <a:pt x="295" y="281"/>
                    </a:lnTo>
                    <a:lnTo>
                      <a:pt x="297" y="281"/>
                    </a:lnTo>
                    <a:lnTo>
                      <a:pt x="298" y="281"/>
                    </a:lnTo>
                    <a:lnTo>
                      <a:pt x="300" y="281"/>
                    </a:lnTo>
                    <a:lnTo>
                      <a:pt x="300" y="279"/>
                    </a:lnTo>
                    <a:lnTo>
                      <a:pt x="300" y="281"/>
                    </a:lnTo>
                    <a:lnTo>
                      <a:pt x="300" y="279"/>
                    </a:lnTo>
                    <a:lnTo>
                      <a:pt x="302" y="279"/>
                    </a:lnTo>
                    <a:lnTo>
                      <a:pt x="304" y="279"/>
                    </a:lnTo>
                    <a:lnTo>
                      <a:pt x="305" y="279"/>
                    </a:lnTo>
                    <a:lnTo>
                      <a:pt x="305" y="277"/>
                    </a:lnTo>
                    <a:lnTo>
                      <a:pt x="307" y="277"/>
                    </a:lnTo>
                    <a:lnTo>
                      <a:pt x="309" y="277"/>
                    </a:lnTo>
                    <a:lnTo>
                      <a:pt x="309" y="276"/>
                    </a:lnTo>
                    <a:lnTo>
                      <a:pt x="311" y="276"/>
                    </a:lnTo>
                    <a:lnTo>
                      <a:pt x="311" y="274"/>
                    </a:lnTo>
                    <a:lnTo>
                      <a:pt x="311" y="272"/>
                    </a:lnTo>
                    <a:lnTo>
                      <a:pt x="312" y="272"/>
                    </a:lnTo>
                    <a:lnTo>
                      <a:pt x="312" y="270"/>
                    </a:lnTo>
                    <a:lnTo>
                      <a:pt x="312" y="269"/>
                    </a:lnTo>
                    <a:lnTo>
                      <a:pt x="312" y="270"/>
                    </a:lnTo>
                    <a:lnTo>
                      <a:pt x="311" y="270"/>
                    </a:lnTo>
                    <a:lnTo>
                      <a:pt x="311" y="269"/>
                    </a:lnTo>
                    <a:lnTo>
                      <a:pt x="312" y="269"/>
                    </a:lnTo>
                    <a:lnTo>
                      <a:pt x="312" y="270"/>
                    </a:lnTo>
                    <a:lnTo>
                      <a:pt x="314" y="270"/>
                    </a:lnTo>
                    <a:lnTo>
                      <a:pt x="314" y="272"/>
                    </a:lnTo>
                    <a:lnTo>
                      <a:pt x="312" y="272"/>
                    </a:lnTo>
                    <a:lnTo>
                      <a:pt x="312" y="274"/>
                    </a:lnTo>
                    <a:lnTo>
                      <a:pt x="312" y="276"/>
                    </a:lnTo>
                    <a:lnTo>
                      <a:pt x="314" y="276"/>
                    </a:lnTo>
                    <a:lnTo>
                      <a:pt x="314" y="277"/>
                    </a:lnTo>
                    <a:lnTo>
                      <a:pt x="314" y="279"/>
                    </a:lnTo>
                    <a:lnTo>
                      <a:pt x="314" y="281"/>
                    </a:lnTo>
                    <a:lnTo>
                      <a:pt x="314" y="279"/>
                    </a:lnTo>
                    <a:lnTo>
                      <a:pt x="316" y="279"/>
                    </a:lnTo>
                    <a:lnTo>
                      <a:pt x="316" y="277"/>
                    </a:lnTo>
                    <a:lnTo>
                      <a:pt x="314" y="277"/>
                    </a:lnTo>
                    <a:lnTo>
                      <a:pt x="316" y="277"/>
                    </a:lnTo>
                    <a:lnTo>
                      <a:pt x="314" y="277"/>
                    </a:lnTo>
                    <a:lnTo>
                      <a:pt x="316" y="277"/>
                    </a:lnTo>
                    <a:lnTo>
                      <a:pt x="316" y="279"/>
                    </a:lnTo>
                    <a:lnTo>
                      <a:pt x="318" y="279"/>
                    </a:lnTo>
                    <a:lnTo>
                      <a:pt x="316" y="279"/>
                    </a:lnTo>
                    <a:lnTo>
                      <a:pt x="316" y="277"/>
                    </a:lnTo>
                    <a:lnTo>
                      <a:pt x="318" y="277"/>
                    </a:lnTo>
                    <a:lnTo>
                      <a:pt x="316" y="277"/>
                    </a:lnTo>
                    <a:lnTo>
                      <a:pt x="318" y="277"/>
                    </a:lnTo>
                    <a:lnTo>
                      <a:pt x="318" y="276"/>
                    </a:lnTo>
                    <a:lnTo>
                      <a:pt x="318" y="274"/>
                    </a:lnTo>
                    <a:lnTo>
                      <a:pt x="318" y="276"/>
                    </a:lnTo>
                    <a:lnTo>
                      <a:pt x="319" y="276"/>
                    </a:lnTo>
                    <a:lnTo>
                      <a:pt x="319" y="274"/>
                    </a:lnTo>
                    <a:lnTo>
                      <a:pt x="319" y="276"/>
                    </a:lnTo>
                    <a:lnTo>
                      <a:pt x="318" y="276"/>
                    </a:lnTo>
                    <a:lnTo>
                      <a:pt x="319" y="276"/>
                    </a:lnTo>
                    <a:lnTo>
                      <a:pt x="319" y="274"/>
                    </a:lnTo>
                    <a:lnTo>
                      <a:pt x="319" y="272"/>
                    </a:lnTo>
                    <a:lnTo>
                      <a:pt x="319" y="270"/>
                    </a:lnTo>
                    <a:lnTo>
                      <a:pt x="321" y="270"/>
                    </a:lnTo>
                    <a:lnTo>
                      <a:pt x="321" y="272"/>
                    </a:lnTo>
                    <a:lnTo>
                      <a:pt x="323" y="272"/>
                    </a:lnTo>
                    <a:lnTo>
                      <a:pt x="321" y="272"/>
                    </a:lnTo>
                    <a:lnTo>
                      <a:pt x="323" y="272"/>
                    </a:lnTo>
                    <a:lnTo>
                      <a:pt x="321" y="272"/>
                    </a:lnTo>
                    <a:lnTo>
                      <a:pt x="323" y="272"/>
                    </a:lnTo>
                    <a:lnTo>
                      <a:pt x="321" y="272"/>
                    </a:lnTo>
                    <a:lnTo>
                      <a:pt x="321" y="274"/>
                    </a:lnTo>
                    <a:lnTo>
                      <a:pt x="323" y="274"/>
                    </a:lnTo>
                    <a:lnTo>
                      <a:pt x="321" y="274"/>
                    </a:lnTo>
                    <a:lnTo>
                      <a:pt x="321" y="276"/>
                    </a:lnTo>
                    <a:lnTo>
                      <a:pt x="321" y="277"/>
                    </a:lnTo>
                    <a:lnTo>
                      <a:pt x="321" y="279"/>
                    </a:lnTo>
                    <a:lnTo>
                      <a:pt x="323" y="279"/>
                    </a:lnTo>
                    <a:lnTo>
                      <a:pt x="321" y="279"/>
                    </a:lnTo>
                    <a:lnTo>
                      <a:pt x="323" y="279"/>
                    </a:lnTo>
                    <a:lnTo>
                      <a:pt x="323" y="277"/>
                    </a:lnTo>
                    <a:lnTo>
                      <a:pt x="323" y="279"/>
                    </a:lnTo>
                    <a:lnTo>
                      <a:pt x="323" y="277"/>
                    </a:lnTo>
                    <a:lnTo>
                      <a:pt x="323" y="276"/>
                    </a:lnTo>
                    <a:lnTo>
                      <a:pt x="323" y="274"/>
                    </a:lnTo>
                    <a:lnTo>
                      <a:pt x="325" y="274"/>
                    </a:lnTo>
                    <a:lnTo>
                      <a:pt x="326" y="274"/>
                    </a:lnTo>
                    <a:lnTo>
                      <a:pt x="326" y="272"/>
                    </a:lnTo>
                    <a:lnTo>
                      <a:pt x="326" y="270"/>
                    </a:lnTo>
                    <a:lnTo>
                      <a:pt x="328" y="270"/>
                    </a:lnTo>
                    <a:lnTo>
                      <a:pt x="326" y="270"/>
                    </a:lnTo>
                    <a:lnTo>
                      <a:pt x="326" y="269"/>
                    </a:lnTo>
                    <a:lnTo>
                      <a:pt x="326" y="267"/>
                    </a:lnTo>
                    <a:lnTo>
                      <a:pt x="326" y="265"/>
                    </a:lnTo>
                    <a:lnTo>
                      <a:pt x="325" y="265"/>
                    </a:lnTo>
                    <a:lnTo>
                      <a:pt x="326" y="265"/>
                    </a:lnTo>
                    <a:lnTo>
                      <a:pt x="325" y="265"/>
                    </a:lnTo>
                    <a:lnTo>
                      <a:pt x="325" y="263"/>
                    </a:lnTo>
                    <a:lnTo>
                      <a:pt x="325" y="262"/>
                    </a:lnTo>
                    <a:lnTo>
                      <a:pt x="325" y="260"/>
                    </a:lnTo>
                    <a:lnTo>
                      <a:pt x="325" y="262"/>
                    </a:lnTo>
                    <a:lnTo>
                      <a:pt x="325" y="260"/>
                    </a:lnTo>
                    <a:lnTo>
                      <a:pt x="325" y="258"/>
                    </a:lnTo>
                    <a:lnTo>
                      <a:pt x="325" y="256"/>
                    </a:lnTo>
                    <a:lnTo>
                      <a:pt x="323" y="256"/>
                    </a:lnTo>
                    <a:lnTo>
                      <a:pt x="325" y="256"/>
                    </a:lnTo>
                    <a:lnTo>
                      <a:pt x="323" y="256"/>
                    </a:lnTo>
                    <a:lnTo>
                      <a:pt x="325" y="256"/>
                    </a:lnTo>
                    <a:lnTo>
                      <a:pt x="325" y="255"/>
                    </a:lnTo>
                    <a:lnTo>
                      <a:pt x="323" y="255"/>
                    </a:lnTo>
                    <a:lnTo>
                      <a:pt x="325" y="255"/>
                    </a:lnTo>
                    <a:lnTo>
                      <a:pt x="323" y="255"/>
                    </a:lnTo>
                    <a:lnTo>
                      <a:pt x="325" y="255"/>
                    </a:lnTo>
                    <a:lnTo>
                      <a:pt x="325" y="253"/>
                    </a:lnTo>
                    <a:lnTo>
                      <a:pt x="326" y="253"/>
                    </a:lnTo>
                    <a:lnTo>
                      <a:pt x="325" y="253"/>
                    </a:lnTo>
                    <a:lnTo>
                      <a:pt x="325" y="251"/>
                    </a:lnTo>
                    <a:lnTo>
                      <a:pt x="325" y="253"/>
                    </a:lnTo>
                    <a:lnTo>
                      <a:pt x="325" y="251"/>
                    </a:lnTo>
                    <a:lnTo>
                      <a:pt x="323" y="251"/>
                    </a:lnTo>
                    <a:lnTo>
                      <a:pt x="323" y="253"/>
                    </a:lnTo>
                    <a:lnTo>
                      <a:pt x="323" y="251"/>
                    </a:lnTo>
                    <a:lnTo>
                      <a:pt x="321" y="251"/>
                    </a:lnTo>
                    <a:lnTo>
                      <a:pt x="321" y="250"/>
                    </a:lnTo>
                    <a:lnTo>
                      <a:pt x="323" y="250"/>
                    </a:lnTo>
                    <a:lnTo>
                      <a:pt x="321" y="250"/>
                    </a:lnTo>
                    <a:lnTo>
                      <a:pt x="323" y="250"/>
                    </a:lnTo>
                    <a:lnTo>
                      <a:pt x="321" y="250"/>
                    </a:lnTo>
                    <a:lnTo>
                      <a:pt x="323" y="248"/>
                    </a:lnTo>
                    <a:lnTo>
                      <a:pt x="321" y="248"/>
                    </a:lnTo>
                    <a:lnTo>
                      <a:pt x="321" y="246"/>
                    </a:lnTo>
                    <a:lnTo>
                      <a:pt x="319" y="246"/>
                    </a:lnTo>
                    <a:lnTo>
                      <a:pt x="319" y="244"/>
                    </a:lnTo>
                    <a:lnTo>
                      <a:pt x="319" y="243"/>
                    </a:lnTo>
                    <a:lnTo>
                      <a:pt x="319" y="241"/>
                    </a:lnTo>
                    <a:lnTo>
                      <a:pt x="321" y="241"/>
                    </a:lnTo>
                    <a:lnTo>
                      <a:pt x="321" y="239"/>
                    </a:lnTo>
                    <a:lnTo>
                      <a:pt x="323" y="239"/>
                    </a:lnTo>
                    <a:lnTo>
                      <a:pt x="321" y="239"/>
                    </a:lnTo>
                    <a:lnTo>
                      <a:pt x="321" y="237"/>
                    </a:lnTo>
                    <a:lnTo>
                      <a:pt x="321" y="236"/>
                    </a:lnTo>
                    <a:lnTo>
                      <a:pt x="321" y="234"/>
                    </a:lnTo>
                    <a:lnTo>
                      <a:pt x="319" y="234"/>
                    </a:lnTo>
                    <a:lnTo>
                      <a:pt x="318" y="234"/>
                    </a:lnTo>
                    <a:lnTo>
                      <a:pt x="318" y="232"/>
                    </a:lnTo>
                    <a:lnTo>
                      <a:pt x="316" y="232"/>
                    </a:lnTo>
                    <a:lnTo>
                      <a:pt x="314" y="232"/>
                    </a:lnTo>
                    <a:lnTo>
                      <a:pt x="314" y="230"/>
                    </a:lnTo>
                    <a:lnTo>
                      <a:pt x="312" y="230"/>
                    </a:lnTo>
                    <a:lnTo>
                      <a:pt x="312" y="229"/>
                    </a:lnTo>
                    <a:lnTo>
                      <a:pt x="311" y="229"/>
                    </a:lnTo>
                    <a:lnTo>
                      <a:pt x="311" y="227"/>
                    </a:lnTo>
                    <a:lnTo>
                      <a:pt x="311" y="225"/>
                    </a:lnTo>
                    <a:lnTo>
                      <a:pt x="312" y="225"/>
                    </a:lnTo>
                    <a:lnTo>
                      <a:pt x="312" y="223"/>
                    </a:lnTo>
                    <a:lnTo>
                      <a:pt x="312" y="225"/>
                    </a:lnTo>
                    <a:lnTo>
                      <a:pt x="312" y="223"/>
                    </a:lnTo>
                    <a:lnTo>
                      <a:pt x="312" y="222"/>
                    </a:lnTo>
                    <a:lnTo>
                      <a:pt x="312" y="223"/>
                    </a:lnTo>
                    <a:lnTo>
                      <a:pt x="312" y="222"/>
                    </a:lnTo>
                    <a:lnTo>
                      <a:pt x="314" y="222"/>
                    </a:lnTo>
                    <a:lnTo>
                      <a:pt x="314" y="223"/>
                    </a:lnTo>
                    <a:lnTo>
                      <a:pt x="316" y="223"/>
                    </a:lnTo>
                    <a:lnTo>
                      <a:pt x="316" y="222"/>
                    </a:lnTo>
                    <a:lnTo>
                      <a:pt x="316" y="223"/>
                    </a:lnTo>
                    <a:lnTo>
                      <a:pt x="316" y="222"/>
                    </a:lnTo>
                    <a:lnTo>
                      <a:pt x="318" y="222"/>
                    </a:lnTo>
                    <a:lnTo>
                      <a:pt x="316" y="222"/>
                    </a:lnTo>
                    <a:lnTo>
                      <a:pt x="318" y="222"/>
                    </a:lnTo>
                    <a:lnTo>
                      <a:pt x="318" y="220"/>
                    </a:lnTo>
                    <a:lnTo>
                      <a:pt x="318" y="218"/>
                    </a:lnTo>
                    <a:lnTo>
                      <a:pt x="319" y="218"/>
                    </a:lnTo>
                    <a:lnTo>
                      <a:pt x="321" y="218"/>
                    </a:lnTo>
                    <a:lnTo>
                      <a:pt x="323" y="218"/>
                    </a:lnTo>
                    <a:lnTo>
                      <a:pt x="325" y="218"/>
                    </a:lnTo>
                    <a:lnTo>
                      <a:pt x="325" y="216"/>
                    </a:lnTo>
                    <a:lnTo>
                      <a:pt x="326" y="216"/>
                    </a:lnTo>
                    <a:lnTo>
                      <a:pt x="325" y="216"/>
                    </a:lnTo>
                    <a:lnTo>
                      <a:pt x="323" y="216"/>
                    </a:lnTo>
                    <a:lnTo>
                      <a:pt x="323" y="215"/>
                    </a:lnTo>
                    <a:lnTo>
                      <a:pt x="323" y="213"/>
                    </a:lnTo>
                    <a:lnTo>
                      <a:pt x="321" y="213"/>
                    </a:lnTo>
                    <a:lnTo>
                      <a:pt x="319" y="213"/>
                    </a:lnTo>
                    <a:lnTo>
                      <a:pt x="321" y="213"/>
                    </a:lnTo>
                    <a:lnTo>
                      <a:pt x="319" y="213"/>
                    </a:lnTo>
                    <a:lnTo>
                      <a:pt x="318" y="213"/>
                    </a:lnTo>
                    <a:lnTo>
                      <a:pt x="318" y="211"/>
                    </a:lnTo>
                    <a:lnTo>
                      <a:pt x="318" y="209"/>
                    </a:lnTo>
                    <a:lnTo>
                      <a:pt x="316" y="209"/>
                    </a:lnTo>
                    <a:lnTo>
                      <a:pt x="314" y="209"/>
                    </a:lnTo>
                    <a:lnTo>
                      <a:pt x="314" y="208"/>
                    </a:lnTo>
                    <a:lnTo>
                      <a:pt x="312" y="208"/>
                    </a:lnTo>
                    <a:lnTo>
                      <a:pt x="314" y="208"/>
                    </a:lnTo>
                    <a:lnTo>
                      <a:pt x="312" y="208"/>
                    </a:lnTo>
                    <a:lnTo>
                      <a:pt x="312" y="206"/>
                    </a:lnTo>
                    <a:lnTo>
                      <a:pt x="311" y="206"/>
                    </a:lnTo>
                    <a:lnTo>
                      <a:pt x="312" y="206"/>
                    </a:lnTo>
                    <a:lnTo>
                      <a:pt x="311" y="206"/>
                    </a:lnTo>
                    <a:lnTo>
                      <a:pt x="312" y="206"/>
                    </a:lnTo>
                    <a:lnTo>
                      <a:pt x="312" y="204"/>
                    </a:lnTo>
                    <a:lnTo>
                      <a:pt x="312" y="202"/>
                    </a:lnTo>
                    <a:lnTo>
                      <a:pt x="312" y="201"/>
                    </a:lnTo>
                    <a:lnTo>
                      <a:pt x="314" y="201"/>
                    </a:lnTo>
                    <a:lnTo>
                      <a:pt x="316" y="201"/>
                    </a:lnTo>
                    <a:lnTo>
                      <a:pt x="316" y="199"/>
                    </a:lnTo>
                    <a:lnTo>
                      <a:pt x="318" y="199"/>
                    </a:lnTo>
                    <a:lnTo>
                      <a:pt x="318" y="197"/>
                    </a:lnTo>
                    <a:lnTo>
                      <a:pt x="318" y="199"/>
                    </a:lnTo>
                    <a:lnTo>
                      <a:pt x="318" y="197"/>
                    </a:lnTo>
                    <a:lnTo>
                      <a:pt x="318" y="199"/>
                    </a:lnTo>
                    <a:lnTo>
                      <a:pt x="318" y="197"/>
                    </a:lnTo>
                    <a:lnTo>
                      <a:pt x="318" y="199"/>
                    </a:lnTo>
                    <a:lnTo>
                      <a:pt x="318" y="197"/>
                    </a:lnTo>
                    <a:lnTo>
                      <a:pt x="318" y="195"/>
                    </a:lnTo>
                    <a:lnTo>
                      <a:pt x="316" y="195"/>
                    </a:lnTo>
                    <a:lnTo>
                      <a:pt x="316" y="197"/>
                    </a:lnTo>
                    <a:lnTo>
                      <a:pt x="316" y="195"/>
                    </a:lnTo>
                    <a:lnTo>
                      <a:pt x="316" y="194"/>
                    </a:lnTo>
                    <a:lnTo>
                      <a:pt x="318" y="194"/>
                    </a:lnTo>
                    <a:lnTo>
                      <a:pt x="318" y="195"/>
                    </a:lnTo>
                    <a:lnTo>
                      <a:pt x="319" y="195"/>
                    </a:lnTo>
                    <a:lnTo>
                      <a:pt x="319" y="197"/>
                    </a:lnTo>
                    <a:lnTo>
                      <a:pt x="319" y="195"/>
                    </a:lnTo>
                    <a:lnTo>
                      <a:pt x="319" y="197"/>
                    </a:lnTo>
                    <a:lnTo>
                      <a:pt x="321" y="197"/>
                    </a:lnTo>
                    <a:lnTo>
                      <a:pt x="321" y="199"/>
                    </a:lnTo>
                    <a:lnTo>
                      <a:pt x="323" y="199"/>
                    </a:lnTo>
                    <a:lnTo>
                      <a:pt x="323" y="201"/>
                    </a:lnTo>
                    <a:lnTo>
                      <a:pt x="325" y="201"/>
                    </a:lnTo>
                    <a:lnTo>
                      <a:pt x="323" y="201"/>
                    </a:lnTo>
                    <a:lnTo>
                      <a:pt x="323" y="199"/>
                    </a:lnTo>
                    <a:lnTo>
                      <a:pt x="325" y="199"/>
                    </a:lnTo>
                    <a:lnTo>
                      <a:pt x="325" y="201"/>
                    </a:lnTo>
                    <a:lnTo>
                      <a:pt x="326" y="201"/>
                    </a:lnTo>
                    <a:lnTo>
                      <a:pt x="326" y="199"/>
                    </a:lnTo>
                    <a:lnTo>
                      <a:pt x="326" y="201"/>
                    </a:lnTo>
                    <a:lnTo>
                      <a:pt x="326" y="199"/>
                    </a:lnTo>
                    <a:lnTo>
                      <a:pt x="325" y="199"/>
                    </a:lnTo>
                    <a:lnTo>
                      <a:pt x="325" y="197"/>
                    </a:lnTo>
                    <a:lnTo>
                      <a:pt x="325" y="199"/>
                    </a:lnTo>
                    <a:lnTo>
                      <a:pt x="325" y="197"/>
                    </a:lnTo>
                    <a:lnTo>
                      <a:pt x="325" y="195"/>
                    </a:lnTo>
                    <a:lnTo>
                      <a:pt x="325" y="197"/>
                    </a:lnTo>
                    <a:lnTo>
                      <a:pt x="326" y="197"/>
                    </a:lnTo>
                    <a:lnTo>
                      <a:pt x="328" y="197"/>
                    </a:lnTo>
                    <a:lnTo>
                      <a:pt x="326" y="197"/>
                    </a:lnTo>
                    <a:lnTo>
                      <a:pt x="328" y="197"/>
                    </a:lnTo>
                    <a:lnTo>
                      <a:pt x="328" y="199"/>
                    </a:lnTo>
                    <a:lnTo>
                      <a:pt x="328" y="201"/>
                    </a:lnTo>
                    <a:lnTo>
                      <a:pt x="328" y="202"/>
                    </a:lnTo>
                    <a:lnTo>
                      <a:pt x="330" y="202"/>
                    </a:lnTo>
                    <a:lnTo>
                      <a:pt x="330" y="204"/>
                    </a:lnTo>
                    <a:lnTo>
                      <a:pt x="331" y="204"/>
                    </a:lnTo>
                    <a:lnTo>
                      <a:pt x="333" y="204"/>
                    </a:lnTo>
                    <a:lnTo>
                      <a:pt x="335" y="204"/>
                    </a:lnTo>
                    <a:lnTo>
                      <a:pt x="335" y="202"/>
                    </a:lnTo>
                    <a:lnTo>
                      <a:pt x="335" y="204"/>
                    </a:lnTo>
                    <a:lnTo>
                      <a:pt x="335" y="202"/>
                    </a:lnTo>
                    <a:lnTo>
                      <a:pt x="337" y="202"/>
                    </a:lnTo>
                    <a:lnTo>
                      <a:pt x="335" y="202"/>
                    </a:lnTo>
                    <a:lnTo>
                      <a:pt x="335" y="201"/>
                    </a:lnTo>
                    <a:lnTo>
                      <a:pt x="337" y="201"/>
                    </a:lnTo>
                    <a:lnTo>
                      <a:pt x="335" y="201"/>
                    </a:lnTo>
                    <a:lnTo>
                      <a:pt x="337" y="201"/>
                    </a:lnTo>
                    <a:lnTo>
                      <a:pt x="337" y="202"/>
                    </a:lnTo>
                    <a:lnTo>
                      <a:pt x="337" y="201"/>
                    </a:lnTo>
                    <a:lnTo>
                      <a:pt x="337" y="202"/>
                    </a:lnTo>
                    <a:lnTo>
                      <a:pt x="337" y="201"/>
                    </a:lnTo>
                    <a:lnTo>
                      <a:pt x="337" y="202"/>
                    </a:lnTo>
                    <a:lnTo>
                      <a:pt x="338" y="202"/>
                    </a:lnTo>
                    <a:lnTo>
                      <a:pt x="337" y="202"/>
                    </a:lnTo>
                    <a:lnTo>
                      <a:pt x="338" y="202"/>
                    </a:lnTo>
                    <a:lnTo>
                      <a:pt x="338" y="204"/>
                    </a:lnTo>
                    <a:lnTo>
                      <a:pt x="340" y="204"/>
                    </a:lnTo>
                    <a:lnTo>
                      <a:pt x="338" y="204"/>
                    </a:lnTo>
                    <a:lnTo>
                      <a:pt x="338" y="206"/>
                    </a:lnTo>
                    <a:lnTo>
                      <a:pt x="340" y="206"/>
                    </a:lnTo>
                    <a:lnTo>
                      <a:pt x="338" y="206"/>
                    </a:lnTo>
                    <a:lnTo>
                      <a:pt x="338" y="208"/>
                    </a:lnTo>
                    <a:lnTo>
                      <a:pt x="338" y="209"/>
                    </a:lnTo>
                    <a:lnTo>
                      <a:pt x="340" y="209"/>
                    </a:lnTo>
                    <a:lnTo>
                      <a:pt x="340" y="211"/>
                    </a:lnTo>
                    <a:lnTo>
                      <a:pt x="338" y="211"/>
                    </a:lnTo>
                    <a:lnTo>
                      <a:pt x="338" y="213"/>
                    </a:lnTo>
                    <a:lnTo>
                      <a:pt x="338" y="215"/>
                    </a:lnTo>
                    <a:lnTo>
                      <a:pt x="338" y="216"/>
                    </a:lnTo>
                    <a:lnTo>
                      <a:pt x="340" y="216"/>
                    </a:lnTo>
                    <a:lnTo>
                      <a:pt x="342" y="216"/>
                    </a:lnTo>
                    <a:lnTo>
                      <a:pt x="342" y="218"/>
                    </a:lnTo>
                    <a:lnTo>
                      <a:pt x="344" y="218"/>
                    </a:lnTo>
                    <a:lnTo>
                      <a:pt x="345" y="218"/>
                    </a:lnTo>
                    <a:lnTo>
                      <a:pt x="347" y="218"/>
                    </a:lnTo>
                    <a:lnTo>
                      <a:pt x="347" y="220"/>
                    </a:lnTo>
                    <a:lnTo>
                      <a:pt x="347" y="218"/>
                    </a:lnTo>
                    <a:lnTo>
                      <a:pt x="347" y="220"/>
                    </a:lnTo>
                    <a:lnTo>
                      <a:pt x="349" y="220"/>
                    </a:lnTo>
                    <a:lnTo>
                      <a:pt x="349" y="218"/>
                    </a:lnTo>
                    <a:lnTo>
                      <a:pt x="351" y="218"/>
                    </a:lnTo>
                    <a:lnTo>
                      <a:pt x="352" y="218"/>
                    </a:lnTo>
                    <a:lnTo>
                      <a:pt x="354" y="218"/>
                    </a:lnTo>
                    <a:lnTo>
                      <a:pt x="356" y="218"/>
                    </a:lnTo>
                    <a:lnTo>
                      <a:pt x="358" y="218"/>
                    </a:lnTo>
                    <a:lnTo>
                      <a:pt x="359" y="218"/>
                    </a:lnTo>
                    <a:lnTo>
                      <a:pt x="361" y="218"/>
                    </a:lnTo>
                    <a:lnTo>
                      <a:pt x="363" y="218"/>
                    </a:lnTo>
                    <a:lnTo>
                      <a:pt x="365" y="218"/>
                    </a:lnTo>
                    <a:lnTo>
                      <a:pt x="365" y="220"/>
                    </a:lnTo>
                    <a:lnTo>
                      <a:pt x="366" y="220"/>
                    </a:lnTo>
                    <a:lnTo>
                      <a:pt x="366" y="218"/>
                    </a:lnTo>
                    <a:lnTo>
                      <a:pt x="366" y="220"/>
                    </a:lnTo>
                    <a:lnTo>
                      <a:pt x="368" y="220"/>
                    </a:lnTo>
                    <a:lnTo>
                      <a:pt x="368" y="218"/>
                    </a:lnTo>
                    <a:lnTo>
                      <a:pt x="368" y="220"/>
                    </a:lnTo>
                    <a:lnTo>
                      <a:pt x="368" y="218"/>
                    </a:lnTo>
                    <a:lnTo>
                      <a:pt x="370" y="218"/>
                    </a:lnTo>
                    <a:lnTo>
                      <a:pt x="372" y="218"/>
                    </a:lnTo>
                    <a:lnTo>
                      <a:pt x="373" y="218"/>
                    </a:lnTo>
                    <a:lnTo>
                      <a:pt x="375" y="218"/>
                    </a:lnTo>
                    <a:lnTo>
                      <a:pt x="375" y="220"/>
                    </a:lnTo>
                    <a:lnTo>
                      <a:pt x="377" y="220"/>
                    </a:lnTo>
                    <a:lnTo>
                      <a:pt x="375" y="220"/>
                    </a:lnTo>
                    <a:lnTo>
                      <a:pt x="377" y="220"/>
                    </a:lnTo>
                    <a:lnTo>
                      <a:pt x="379" y="220"/>
                    </a:lnTo>
                    <a:lnTo>
                      <a:pt x="379" y="222"/>
                    </a:lnTo>
                    <a:lnTo>
                      <a:pt x="380" y="222"/>
                    </a:lnTo>
                    <a:lnTo>
                      <a:pt x="380" y="223"/>
                    </a:lnTo>
                    <a:lnTo>
                      <a:pt x="379" y="223"/>
                    </a:lnTo>
                    <a:lnTo>
                      <a:pt x="379" y="225"/>
                    </a:lnTo>
                    <a:lnTo>
                      <a:pt x="379" y="223"/>
                    </a:lnTo>
                    <a:lnTo>
                      <a:pt x="377" y="223"/>
                    </a:lnTo>
                    <a:lnTo>
                      <a:pt x="377" y="225"/>
                    </a:lnTo>
                    <a:lnTo>
                      <a:pt x="377" y="227"/>
                    </a:lnTo>
                    <a:lnTo>
                      <a:pt x="377" y="229"/>
                    </a:lnTo>
                    <a:lnTo>
                      <a:pt x="377" y="230"/>
                    </a:lnTo>
                    <a:lnTo>
                      <a:pt x="375" y="230"/>
                    </a:lnTo>
                    <a:lnTo>
                      <a:pt x="375" y="232"/>
                    </a:lnTo>
                    <a:lnTo>
                      <a:pt x="373" y="232"/>
                    </a:lnTo>
                    <a:lnTo>
                      <a:pt x="375" y="232"/>
                    </a:lnTo>
                    <a:lnTo>
                      <a:pt x="373" y="232"/>
                    </a:lnTo>
                    <a:lnTo>
                      <a:pt x="372" y="232"/>
                    </a:lnTo>
                    <a:lnTo>
                      <a:pt x="373" y="232"/>
                    </a:lnTo>
                    <a:lnTo>
                      <a:pt x="373" y="234"/>
                    </a:lnTo>
                    <a:lnTo>
                      <a:pt x="372" y="234"/>
                    </a:lnTo>
                    <a:lnTo>
                      <a:pt x="372" y="232"/>
                    </a:lnTo>
                    <a:lnTo>
                      <a:pt x="372" y="234"/>
                    </a:lnTo>
                    <a:lnTo>
                      <a:pt x="372" y="236"/>
                    </a:lnTo>
                    <a:lnTo>
                      <a:pt x="372" y="237"/>
                    </a:lnTo>
                    <a:lnTo>
                      <a:pt x="372" y="236"/>
                    </a:lnTo>
                    <a:lnTo>
                      <a:pt x="370" y="236"/>
                    </a:lnTo>
                    <a:lnTo>
                      <a:pt x="368" y="236"/>
                    </a:lnTo>
                    <a:lnTo>
                      <a:pt x="368" y="234"/>
                    </a:lnTo>
                    <a:lnTo>
                      <a:pt x="368" y="236"/>
                    </a:lnTo>
                    <a:lnTo>
                      <a:pt x="368" y="237"/>
                    </a:lnTo>
                    <a:lnTo>
                      <a:pt x="368" y="236"/>
                    </a:lnTo>
                    <a:lnTo>
                      <a:pt x="366" y="236"/>
                    </a:lnTo>
                    <a:lnTo>
                      <a:pt x="368" y="236"/>
                    </a:lnTo>
                    <a:lnTo>
                      <a:pt x="366" y="236"/>
                    </a:lnTo>
                    <a:lnTo>
                      <a:pt x="368" y="236"/>
                    </a:lnTo>
                    <a:lnTo>
                      <a:pt x="366" y="236"/>
                    </a:lnTo>
                    <a:lnTo>
                      <a:pt x="366" y="237"/>
                    </a:lnTo>
                    <a:lnTo>
                      <a:pt x="365" y="237"/>
                    </a:lnTo>
                    <a:lnTo>
                      <a:pt x="363" y="237"/>
                    </a:lnTo>
                    <a:lnTo>
                      <a:pt x="363" y="239"/>
                    </a:lnTo>
                    <a:lnTo>
                      <a:pt x="361" y="239"/>
                    </a:lnTo>
                    <a:lnTo>
                      <a:pt x="361" y="241"/>
                    </a:lnTo>
                    <a:lnTo>
                      <a:pt x="361" y="243"/>
                    </a:lnTo>
                    <a:lnTo>
                      <a:pt x="359" y="243"/>
                    </a:lnTo>
                    <a:lnTo>
                      <a:pt x="359" y="244"/>
                    </a:lnTo>
                    <a:lnTo>
                      <a:pt x="361" y="244"/>
                    </a:lnTo>
                    <a:lnTo>
                      <a:pt x="359" y="244"/>
                    </a:lnTo>
                    <a:lnTo>
                      <a:pt x="359" y="246"/>
                    </a:lnTo>
                    <a:lnTo>
                      <a:pt x="361" y="246"/>
                    </a:lnTo>
                    <a:lnTo>
                      <a:pt x="359" y="246"/>
                    </a:lnTo>
                    <a:lnTo>
                      <a:pt x="361" y="246"/>
                    </a:lnTo>
                    <a:lnTo>
                      <a:pt x="361" y="248"/>
                    </a:lnTo>
                    <a:lnTo>
                      <a:pt x="359" y="248"/>
                    </a:lnTo>
                    <a:lnTo>
                      <a:pt x="361" y="248"/>
                    </a:lnTo>
                    <a:lnTo>
                      <a:pt x="361" y="250"/>
                    </a:lnTo>
                    <a:lnTo>
                      <a:pt x="363" y="250"/>
                    </a:lnTo>
                    <a:lnTo>
                      <a:pt x="361" y="250"/>
                    </a:lnTo>
                    <a:lnTo>
                      <a:pt x="361" y="251"/>
                    </a:lnTo>
                    <a:lnTo>
                      <a:pt x="363" y="251"/>
                    </a:lnTo>
                    <a:lnTo>
                      <a:pt x="361" y="251"/>
                    </a:lnTo>
                    <a:lnTo>
                      <a:pt x="363" y="251"/>
                    </a:lnTo>
                    <a:lnTo>
                      <a:pt x="363" y="253"/>
                    </a:lnTo>
                    <a:lnTo>
                      <a:pt x="363" y="255"/>
                    </a:lnTo>
                    <a:lnTo>
                      <a:pt x="363" y="253"/>
                    </a:lnTo>
                    <a:lnTo>
                      <a:pt x="363" y="251"/>
                    </a:lnTo>
                    <a:lnTo>
                      <a:pt x="365" y="251"/>
                    </a:lnTo>
                    <a:lnTo>
                      <a:pt x="365" y="253"/>
                    </a:lnTo>
                    <a:lnTo>
                      <a:pt x="365" y="251"/>
                    </a:lnTo>
                    <a:lnTo>
                      <a:pt x="365" y="253"/>
                    </a:lnTo>
                    <a:lnTo>
                      <a:pt x="365" y="255"/>
                    </a:lnTo>
                    <a:lnTo>
                      <a:pt x="366" y="255"/>
                    </a:lnTo>
                    <a:lnTo>
                      <a:pt x="365" y="255"/>
                    </a:lnTo>
                    <a:lnTo>
                      <a:pt x="366" y="255"/>
                    </a:lnTo>
                    <a:lnTo>
                      <a:pt x="366" y="256"/>
                    </a:lnTo>
                    <a:lnTo>
                      <a:pt x="365" y="256"/>
                    </a:lnTo>
                    <a:lnTo>
                      <a:pt x="366" y="256"/>
                    </a:lnTo>
                    <a:lnTo>
                      <a:pt x="368" y="256"/>
                    </a:lnTo>
                    <a:lnTo>
                      <a:pt x="366" y="256"/>
                    </a:lnTo>
                    <a:lnTo>
                      <a:pt x="368" y="256"/>
                    </a:lnTo>
                    <a:lnTo>
                      <a:pt x="368" y="255"/>
                    </a:lnTo>
                    <a:lnTo>
                      <a:pt x="370" y="255"/>
                    </a:lnTo>
                    <a:lnTo>
                      <a:pt x="370" y="253"/>
                    </a:lnTo>
                    <a:lnTo>
                      <a:pt x="370" y="251"/>
                    </a:lnTo>
                    <a:lnTo>
                      <a:pt x="370" y="250"/>
                    </a:lnTo>
                    <a:lnTo>
                      <a:pt x="370" y="248"/>
                    </a:lnTo>
                    <a:lnTo>
                      <a:pt x="372" y="248"/>
                    </a:lnTo>
                    <a:lnTo>
                      <a:pt x="372" y="246"/>
                    </a:lnTo>
                    <a:lnTo>
                      <a:pt x="372" y="244"/>
                    </a:lnTo>
                    <a:lnTo>
                      <a:pt x="372" y="243"/>
                    </a:lnTo>
                    <a:lnTo>
                      <a:pt x="372" y="244"/>
                    </a:lnTo>
                    <a:lnTo>
                      <a:pt x="373" y="244"/>
                    </a:lnTo>
                    <a:lnTo>
                      <a:pt x="375" y="244"/>
                    </a:lnTo>
                    <a:lnTo>
                      <a:pt x="375" y="243"/>
                    </a:lnTo>
                    <a:lnTo>
                      <a:pt x="375" y="244"/>
                    </a:lnTo>
                    <a:lnTo>
                      <a:pt x="377" y="244"/>
                    </a:lnTo>
                    <a:lnTo>
                      <a:pt x="377" y="246"/>
                    </a:lnTo>
                    <a:lnTo>
                      <a:pt x="377" y="244"/>
                    </a:lnTo>
                    <a:lnTo>
                      <a:pt x="377" y="246"/>
                    </a:lnTo>
                    <a:lnTo>
                      <a:pt x="377" y="248"/>
                    </a:lnTo>
                    <a:lnTo>
                      <a:pt x="379" y="248"/>
                    </a:lnTo>
                    <a:lnTo>
                      <a:pt x="377" y="248"/>
                    </a:lnTo>
                    <a:lnTo>
                      <a:pt x="379" y="248"/>
                    </a:lnTo>
                    <a:lnTo>
                      <a:pt x="377" y="248"/>
                    </a:lnTo>
                    <a:lnTo>
                      <a:pt x="379" y="248"/>
                    </a:lnTo>
                    <a:lnTo>
                      <a:pt x="379" y="250"/>
                    </a:lnTo>
                    <a:lnTo>
                      <a:pt x="379" y="251"/>
                    </a:lnTo>
                    <a:lnTo>
                      <a:pt x="379" y="250"/>
                    </a:lnTo>
                    <a:lnTo>
                      <a:pt x="379" y="251"/>
                    </a:lnTo>
                    <a:lnTo>
                      <a:pt x="379" y="253"/>
                    </a:lnTo>
                    <a:lnTo>
                      <a:pt x="379" y="255"/>
                    </a:lnTo>
                    <a:lnTo>
                      <a:pt x="379" y="256"/>
                    </a:lnTo>
                    <a:lnTo>
                      <a:pt x="379" y="258"/>
                    </a:lnTo>
                    <a:lnTo>
                      <a:pt x="380" y="258"/>
                    </a:lnTo>
                    <a:lnTo>
                      <a:pt x="380" y="260"/>
                    </a:lnTo>
                    <a:lnTo>
                      <a:pt x="380" y="262"/>
                    </a:lnTo>
                    <a:lnTo>
                      <a:pt x="380" y="263"/>
                    </a:lnTo>
                    <a:lnTo>
                      <a:pt x="382" y="263"/>
                    </a:lnTo>
                    <a:lnTo>
                      <a:pt x="380" y="263"/>
                    </a:lnTo>
                    <a:lnTo>
                      <a:pt x="382" y="263"/>
                    </a:lnTo>
                    <a:lnTo>
                      <a:pt x="380" y="263"/>
                    </a:lnTo>
                    <a:lnTo>
                      <a:pt x="382" y="263"/>
                    </a:lnTo>
                    <a:lnTo>
                      <a:pt x="380" y="263"/>
                    </a:lnTo>
                    <a:lnTo>
                      <a:pt x="380" y="265"/>
                    </a:lnTo>
                    <a:lnTo>
                      <a:pt x="380" y="263"/>
                    </a:lnTo>
                    <a:lnTo>
                      <a:pt x="380" y="265"/>
                    </a:lnTo>
                    <a:lnTo>
                      <a:pt x="382" y="265"/>
                    </a:lnTo>
                    <a:lnTo>
                      <a:pt x="380" y="265"/>
                    </a:lnTo>
                    <a:lnTo>
                      <a:pt x="382" y="265"/>
                    </a:lnTo>
                    <a:lnTo>
                      <a:pt x="382" y="267"/>
                    </a:lnTo>
                    <a:lnTo>
                      <a:pt x="382" y="269"/>
                    </a:lnTo>
                    <a:lnTo>
                      <a:pt x="382" y="270"/>
                    </a:lnTo>
                    <a:lnTo>
                      <a:pt x="382" y="272"/>
                    </a:lnTo>
                    <a:lnTo>
                      <a:pt x="384" y="272"/>
                    </a:lnTo>
                    <a:lnTo>
                      <a:pt x="384" y="270"/>
                    </a:lnTo>
                    <a:lnTo>
                      <a:pt x="386" y="270"/>
                    </a:lnTo>
                    <a:lnTo>
                      <a:pt x="386" y="272"/>
                    </a:lnTo>
                    <a:lnTo>
                      <a:pt x="386" y="270"/>
                    </a:lnTo>
                    <a:lnTo>
                      <a:pt x="386" y="272"/>
                    </a:lnTo>
                    <a:lnTo>
                      <a:pt x="387" y="272"/>
                    </a:lnTo>
                    <a:lnTo>
                      <a:pt x="387" y="274"/>
                    </a:lnTo>
                    <a:lnTo>
                      <a:pt x="387" y="272"/>
                    </a:lnTo>
                    <a:lnTo>
                      <a:pt x="389" y="272"/>
                    </a:lnTo>
                    <a:lnTo>
                      <a:pt x="389" y="270"/>
                    </a:lnTo>
                    <a:lnTo>
                      <a:pt x="389" y="269"/>
                    </a:lnTo>
                    <a:lnTo>
                      <a:pt x="391" y="269"/>
                    </a:lnTo>
                    <a:lnTo>
                      <a:pt x="391" y="267"/>
                    </a:lnTo>
                    <a:lnTo>
                      <a:pt x="391" y="265"/>
                    </a:lnTo>
                    <a:lnTo>
                      <a:pt x="391" y="263"/>
                    </a:lnTo>
                    <a:lnTo>
                      <a:pt x="391" y="262"/>
                    </a:lnTo>
                    <a:lnTo>
                      <a:pt x="389" y="262"/>
                    </a:lnTo>
                    <a:lnTo>
                      <a:pt x="389" y="260"/>
                    </a:lnTo>
                    <a:lnTo>
                      <a:pt x="391" y="260"/>
                    </a:lnTo>
                    <a:lnTo>
                      <a:pt x="389" y="260"/>
                    </a:lnTo>
                    <a:lnTo>
                      <a:pt x="389" y="258"/>
                    </a:lnTo>
                    <a:lnTo>
                      <a:pt x="391" y="258"/>
                    </a:lnTo>
                    <a:lnTo>
                      <a:pt x="389" y="258"/>
                    </a:lnTo>
                    <a:lnTo>
                      <a:pt x="391" y="258"/>
                    </a:lnTo>
                    <a:lnTo>
                      <a:pt x="391" y="256"/>
                    </a:lnTo>
                    <a:lnTo>
                      <a:pt x="391" y="258"/>
                    </a:lnTo>
                    <a:lnTo>
                      <a:pt x="391" y="256"/>
                    </a:lnTo>
                    <a:lnTo>
                      <a:pt x="391" y="255"/>
                    </a:lnTo>
                    <a:lnTo>
                      <a:pt x="392" y="255"/>
                    </a:lnTo>
                    <a:lnTo>
                      <a:pt x="392" y="256"/>
                    </a:lnTo>
                    <a:lnTo>
                      <a:pt x="392" y="255"/>
                    </a:lnTo>
                    <a:lnTo>
                      <a:pt x="394" y="255"/>
                    </a:lnTo>
                    <a:lnTo>
                      <a:pt x="394" y="253"/>
                    </a:lnTo>
                    <a:lnTo>
                      <a:pt x="394" y="251"/>
                    </a:lnTo>
                    <a:lnTo>
                      <a:pt x="394" y="250"/>
                    </a:lnTo>
                    <a:lnTo>
                      <a:pt x="394" y="248"/>
                    </a:lnTo>
                    <a:lnTo>
                      <a:pt x="394" y="246"/>
                    </a:lnTo>
                    <a:lnTo>
                      <a:pt x="394" y="244"/>
                    </a:lnTo>
                    <a:lnTo>
                      <a:pt x="394" y="243"/>
                    </a:lnTo>
                    <a:lnTo>
                      <a:pt x="394" y="244"/>
                    </a:lnTo>
                    <a:lnTo>
                      <a:pt x="394" y="243"/>
                    </a:lnTo>
                    <a:lnTo>
                      <a:pt x="394" y="241"/>
                    </a:lnTo>
                    <a:lnTo>
                      <a:pt x="394" y="239"/>
                    </a:lnTo>
                    <a:lnTo>
                      <a:pt x="392" y="239"/>
                    </a:lnTo>
                    <a:lnTo>
                      <a:pt x="394" y="239"/>
                    </a:lnTo>
                    <a:lnTo>
                      <a:pt x="392" y="239"/>
                    </a:lnTo>
                    <a:lnTo>
                      <a:pt x="394" y="239"/>
                    </a:lnTo>
                    <a:lnTo>
                      <a:pt x="392" y="239"/>
                    </a:lnTo>
                    <a:lnTo>
                      <a:pt x="394" y="239"/>
                    </a:lnTo>
                    <a:lnTo>
                      <a:pt x="394" y="237"/>
                    </a:lnTo>
                    <a:lnTo>
                      <a:pt x="392" y="237"/>
                    </a:lnTo>
                    <a:lnTo>
                      <a:pt x="394" y="237"/>
                    </a:lnTo>
                    <a:lnTo>
                      <a:pt x="392" y="237"/>
                    </a:lnTo>
                    <a:lnTo>
                      <a:pt x="394" y="237"/>
                    </a:lnTo>
                    <a:lnTo>
                      <a:pt x="394" y="239"/>
                    </a:lnTo>
                    <a:lnTo>
                      <a:pt x="396" y="239"/>
                    </a:lnTo>
                    <a:lnTo>
                      <a:pt x="398" y="239"/>
                    </a:lnTo>
                    <a:lnTo>
                      <a:pt x="399" y="239"/>
                    </a:lnTo>
                    <a:lnTo>
                      <a:pt x="401" y="239"/>
                    </a:lnTo>
                    <a:lnTo>
                      <a:pt x="403" y="239"/>
                    </a:lnTo>
                    <a:lnTo>
                      <a:pt x="403" y="241"/>
                    </a:lnTo>
                    <a:lnTo>
                      <a:pt x="403" y="239"/>
                    </a:lnTo>
                    <a:lnTo>
                      <a:pt x="405" y="239"/>
                    </a:lnTo>
                    <a:lnTo>
                      <a:pt x="405" y="241"/>
                    </a:lnTo>
                    <a:lnTo>
                      <a:pt x="406" y="241"/>
                    </a:lnTo>
                    <a:lnTo>
                      <a:pt x="405" y="241"/>
                    </a:lnTo>
                    <a:lnTo>
                      <a:pt x="406" y="241"/>
                    </a:lnTo>
                    <a:lnTo>
                      <a:pt x="405" y="241"/>
                    </a:lnTo>
                    <a:lnTo>
                      <a:pt x="406" y="241"/>
                    </a:lnTo>
                    <a:lnTo>
                      <a:pt x="406" y="239"/>
                    </a:lnTo>
                    <a:lnTo>
                      <a:pt x="408" y="237"/>
                    </a:lnTo>
                    <a:lnTo>
                      <a:pt x="406" y="237"/>
                    </a:lnTo>
                    <a:lnTo>
                      <a:pt x="408" y="237"/>
                    </a:lnTo>
                    <a:lnTo>
                      <a:pt x="408" y="236"/>
                    </a:lnTo>
                    <a:lnTo>
                      <a:pt x="408" y="234"/>
                    </a:lnTo>
                    <a:lnTo>
                      <a:pt x="410" y="234"/>
                    </a:lnTo>
                    <a:lnTo>
                      <a:pt x="410" y="232"/>
                    </a:lnTo>
                    <a:lnTo>
                      <a:pt x="410" y="230"/>
                    </a:lnTo>
                    <a:lnTo>
                      <a:pt x="412" y="230"/>
                    </a:lnTo>
                    <a:lnTo>
                      <a:pt x="412" y="229"/>
                    </a:lnTo>
                    <a:lnTo>
                      <a:pt x="412" y="227"/>
                    </a:lnTo>
                    <a:lnTo>
                      <a:pt x="413" y="227"/>
                    </a:lnTo>
                    <a:lnTo>
                      <a:pt x="413" y="225"/>
                    </a:lnTo>
                    <a:lnTo>
                      <a:pt x="413" y="223"/>
                    </a:lnTo>
                    <a:lnTo>
                      <a:pt x="415" y="223"/>
                    </a:lnTo>
                    <a:lnTo>
                      <a:pt x="415" y="222"/>
                    </a:lnTo>
                    <a:lnTo>
                      <a:pt x="415" y="220"/>
                    </a:lnTo>
                    <a:lnTo>
                      <a:pt x="413" y="220"/>
                    </a:lnTo>
                    <a:lnTo>
                      <a:pt x="413" y="218"/>
                    </a:lnTo>
                    <a:lnTo>
                      <a:pt x="413" y="216"/>
                    </a:lnTo>
                    <a:lnTo>
                      <a:pt x="413" y="215"/>
                    </a:lnTo>
                    <a:lnTo>
                      <a:pt x="413" y="213"/>
                    </a:lnTo>
                    <a:lnTo>
                      <a:pt x="415" y="213"/>
                    </a:lnTo>
                    <a:lnTo>
                      <a:pt x="417" y="213"/>
                    </a:lnTo>
                    <a:lnTo>
                      <a:pt x="417" y="211"/>
                    </a:lnTo>
                    <a:lnTo>
                      <a:pt x="419" y="211"/>
                    </a:lnTo>
                    <a:lnTo>
                      <a:pt x="419" y="209"/>
                    </a:lnTo>
                    <a:lnTo>
                      <a:pt x="420" y="209"/>
                    </a:lnTo>
                    <a:lnTo>
                      <a:pt x="420" y="208"/>
                    </a:lnTo>
                    <a:lnTo>
                      <a:pt x="419" y="206"/>
                    </a:lnTo>
                    <a:lnTo>
                      <a:pt x="420" y="206"/>
                    </a:lnTo>
                    <a:lnTo>
                      <a:pt x="420" y="204"/>
                    </a:lnTo>
                    <a:lnTo>
                      <a:pt x="422" y="204"/>
                    </a:lnTo>
                    <a:lnTo>
                      <a:pt x="422" y="202"/>
                    </a:lnTo>
                    <a:lnTo>
                      <a:pt x="420" y="202"/>
                    </a:lnTo>
                    <a:lnTo>
                      <a:pt x="420" y="201"/>
                    </a:lnTo>
                    <a:lnTo>
                      <a:pt x="422" y="201"/>
                    </a:lnTo>
                    <a:lnTo>
                      <a:pt x="420" y="201"/>
                    </a:lnTo>
                    <a:lnTo>
                      <a:pt x="420" y="199"/>
                    </a:lnTo>
                    <a:lnTo>
                      <a:pt x="420" y="197"/>
                    </a:lnTo>
                    <a:lnTo>
                      <a:pt x="422" y="197"/>
                    </a:lnTo>
                    <a:lnTo>
                      <a:pt x="420" y="197"/>
                    </a:lnTo>
                    <a:lnTo>
                      <a:pt x="420" y="195"/>
                    </a:lnTo>
                    <a:lnTo>
                      <a:pt x="422" y="195"/>
                    </a:lnTo>
                    <a:lnTo>
                      <a:pt x="422" y="194"/>
                    </a:lnTo>
                    <a:lnTo>
                      <a:pt x="422" y="192"/>
                    </a:lnTo>
                    <a:lnTo>
                      <a:pt x="424" y="192"/>
                    </a:lnTo>
                    <a:lnTo>
                      <a:pt x="424" y="194"/>
                    </a:lnTo>
                    <a:lnTo>
                      <a:pt x="424" y="192"/>
                    </a:lnTo>
                    <a:lnTo>
                      <a:pt x="426" y="192"/>
                    </a:lnTo>
                    <a:lnTo>
                      <a:pt x="427" y="192"/>
                    </a:lnTo>
                    <a:lnTo>
                      <a:pt x="427" y="190"/>
                    </a:lnTo>
                    <a:lnTo>
                      <a:pt x="429" y="190"/>
                    </a:lnTo>
                    <a:lnTo>
                      <a:pt x="429" y="189"/>
                    </a:lnTo>
                    <a:lnTo>
                      <a:pt x="431" y="189"/>
                    </a:lnTo>
                    <a:lnTo>
                      <a:pt x="431" y="190"/>
                    </a:lnTo>
                    <a:lnTo>
                      <a:pt x="431" y="189"/>
                    </a:lnTo>
                    <a:lnTo>
                      <a:pt x="431" y="187"/>
                    </a:lnTo>
                    <a:lnTo>
                      <a:pt x="431" y="189"/>
                    </a:lnTo>
                    <a:lnTo>
                      <a:pt x="431" y="187"/>
                    </a:lnTo>
                    <a:lnTo>
                      <a:pt x="433" y="187"/>
                    </a:lnTo>
                    <a:lnTo>
                      <a:pt x="434" y="187"/>
                    </a:lnTo>
                    <a:lnTo>
                      <a:pt x="434" y="185"/>
                    </a:lnTo>
                    <a:lnTo>
                      <a:pt x="436" y="183"/>
                    </a:lnTo>
                    <a:lnTo>
                      <a:pt x="438" y="183"/>
                    </a:lnTo>
                    <a:lnTo>
                      <a:pt x="438" y="182"/>
                    </a:lnTo>
                    <a:lnTo>
                      <a:pt x="440" y="182"/>
                    </a:lnTo>
                    <a:lnTo>
                      <a:pt x="440" y="183"/>
                    </a:lnTo>
                    <a:lnTo>
                      <a:pt x="440" y="182"/>
                    </a:lnTo>
                    <a:lnTo>
                      <a:pt x="441" y="182"/>
                    </a:lnTo>
                    <a:lnTo>
                      <a:pt x="443" y="182"/>
                    </a:lnTo>
                    <a:lnTo>
                      <a:pt x="445" y="182"/>
                    </a:lnTo>
                    <a:lnTo>
                      <a:pt x="445" y="180"/>
                    </a:lnTo>
                    <a:lnTo>
                      <a:pt x="445" y="182"/>
                    </a:lnTo>
                    <a:lnTo>
                      <a:pt x="446" y="182"/>
                    </a:lnTo>
                    <a:lnTo>
                      <a:pt x="446" y="180"/>
                    </a:lnTo>
                    <a:lnTo>
                      <a:pt x="446" y="182"/>
                    </a:lnTo>
                    <a:lnTo>
                      <a:pt x="448" y="182"/>
                    </a:lnTo>
                    <a:lnTo>
                      <a:pt x="448" y="183"/>
                    </a:lnTo>
                    <a:lnTo>
                      <a:pt x="450" y="183"/>
                    </a:lnTo>
                    <a:lnTo>
                      <a:pt x="450" y="185"/>
                    </a:lnTo>
                    <a:lnTo>
                      <a:pt x="452" y="185"/>
                    </a:lnTo>
                    <a:lnTo>
                      <a:pt x="453" y="185"/>
                    </a:lnTo>
                    <a:lnTo>
                      <a:pt x="453" y="183"/>
                    </a:lnTo>
                    <a:lnTo>
                      <a:pt x="452" y="183"/>
                    </a:lnTo>
                    <a:lnTo>
                      <a:pt x="452" y="182"/>
                    </a:lnTo>
                    <a:lnTo>
                      <a:pt x="450" y="182"/>
                    </a:lnTo>
                    <a:lnTo>
                      <a:pt x="452" y="182"/>
                    </a:lnTo>
                    <a:lnTo>
                      <a:pt x="450" y="182"/>
                    </a:lnTo>
                    <a:lnTo>
                      <a:pt x="450" y="180"/>
                    </a:lnTo>
                    <a:lnTo>
                      <a:pt x="450" y="178"/>
                    </a:lnTo>
                    <a:lnTo>
                      <a:pt x="450" y="176"/>
                    </a:lnTo>
                    <a:lnTo>
                      <a:pt x="450" y="175"/>
                    </a:lnTo>
                    <a:lnTo>
                      <a:pt x="452" y="175"/>
                    </a:lnTo>
                    <a:lnTo>
                      <a:pt x="453" y="173"/>
                    </a:lnTo>
                    <a:lnTo>
                      <a:pt x="455" y="173"/>
                    </a:lnTo>
                    <a:lnTo>
                      <a:pt x="455" y="171"/>
                    </a:lnTo>
                    <a:lnTo>
                      <a:pt x="457" y="171"/>
                    </a:lnTo>
                    <a:lnTo>
                      <a:pt x="457" y="173"/>
                    </a:lnTo>
                    <a:lnTo>
                      <a:pt x="457" y="171"/>
                    </a:lnTo>
                    <a:lnTo>
                      <a:pt x="457" y="169"/>
                    </a:lnTo>
                    <a:lnTo>
                      <a:pt x="457" y="171"/>
                    </a:lnTo>
                    <a:lnTo>
                      <a:pt x="457" y="169"/>
                    </a:lnTo>
                    <a:lnTo>
                      <a:pt x="457" y="168"/>
                    </a:lnTo>
                    <a:lnTo>
                      <a:pt x="455" y="169"/>
                    </a:lnTo>
                    <a:lnTo>
                      <a:pt x="455" y="168"/>
                    </a:lnTo>
                    <a:lnTo>
                      <a:pt x="455" y="166"/>
                    </a:lnTo>
                    <a:lnTo>
                      <a:pt x="457" y="166"/>
                    </a:lnTo>
                    <a:lnTo>
                      <a:pt x="455" y="166"/>
                    </a:lnTo>
                    <a:lnTo>
                      <a:pt x="455" y="164"/>
                    </a:lnTo>
                    <a:lnTo>
                      <a:pt x="455" y="166"/>
                    </a:lnTo>
                    <a:lnTo>
                      <a:pt x="453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50" y="162"/>
                    </a:lnTo>
                    <a:lnTo>
                      <a:pt x="448" y="162"/>
                    </a:lnTo>
                    <a:lnTo>
                      <a:pt x="448" y="164"/>
                    </a:lnTo>
                    <a:lnTo>
                      <a:pt x="446" y="164"/>
                    </a:lnTo>
                    <a:lnTo>
                      <a:pt x="446" y="162"/>
                    </a:lnTo>
                    <a:lnTo>
                      <a:pt x="445" y="162"/>
                    </a:lnTo>
                    <a:lnTo>
                      <a:pt x="443" y="162"/>
                    </a:lnTo>
                    <a:lnTo>
                      <a:pt x="441" y="162"/>
                    </a:lnTo>
                    <a:lnTo>
                      <a:pt x="441" y="164"/>
                    </a:lnTo>
                    <a:lnTo>
                      <a:pt x="441" y="162"/>
                    </a:lnTo>
                    <a:lnTo>
                      <a:pt x="440" y="162"/>
                    </a:lnTo>
                    <a:lnTo>
                      <a:pt x="441" y="161"/>
                    </a:lnTo>
                    <a:lnTo>
                      <a:pt x="440" y="161"/>
                    </a:lnTo>
                    <a:lnTo>
                      <a:pt x="441" y="161"/>
                    </a:lnTo>
                    <a:lnTo>
                      <a:pt x="441" y="159"/>
                    </a:lnTo>
                    <a:lnTo>
                      <a:pt x="443" y="159"/>
                    </a:lnTo>
                    <a:lnTo>
                      <a:pt x="443" y="157"/>
                    </a:lnTo>
                    <a:lnTo>
                      <a:pt x="445" y="157"/>
                    </a:lnTo>
                    <a:lnTo>
                      <a:pt x="445" y="155"/>
                    </a:lnTo>
                    <a:lnTo>
                      <a:pt x="445" y="154"/>
                    </a:lnTo>
                    <a:lnTo>
                      <a:pt x="443" y="154"/>
                    </a:lnTo>
                    <a:lnTo>
                      <a:pt x="443" y="152"/>
                    </a:lnTo>
                    <a:lnTo>
                      <a:pt x="443" y="150"/>
                    </a:lnTo>
                    <a:lnTo>
                      <a:pt x="443" y="152"/>
                    </a:lnTo>
                    <a:lnTo>
                      <a:pt x="441" y="152"/>
                    </a:lnTo>
                    <a:lnTo>
                      <a:pt x="440" y="152"/>
                    </a:lnTo>
                    <a:lnTo>
                      <a:pt x="440" y="154"/>
                    </a:lnTo>
                    <a:lnTo>
                      <a:pt x="438" y="154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40" y="150"/>
                    </a:lnTo>
                    <a:lnTo>
                      <a:pt x="440" y="148"/>
                    </a:lnTo>
                    <a:lnTo>
                      <a:pt x="441" y="148"/>
                    </a:lnTo>
                    <a:lnTo>
                      <a:pt x="441" y="147"/>
                    </a:lnTo>
                    <a:lnTo>
                      <a:pt x="440" y="147"/>
                    </a:lnTo>
                    <a:lnTo>
                      <a:pt x="440" y="148"/>
                    </a:lnTo>
                    <a:lnTo>
                      <a:pt x="440" y="147"/>
                    </a:lnTo>
                    <a:lnTo>
                      <a:pt x="438" y="147"/>
                    </a:lnTo>
                    <a:lnTo>
                      <a:pt x="438" y="145"/>
                    </a:lnTo>
                    <a:lnTo>
                      <a:pt x="438" y="143"/>
                    </a:lnTo>
                    <a:lnTo>
                      <a:pt x="436" y="143"/>
                    </a:lnTo>
                    <a:lnTo>
                      <a:pt x="436" y="145"/>
                    </a:lnTo>
                    <a:lnTo>
                      <a:pt x="434" y="145"/>
                    </a:lnTo>
                    <a:lnTo>
                      <a:pt x="433" y="145"/>
                    </a:lnTo>
                    <a:lnTo>
                      <a:pt x="431" y="145"/>
                    </a:lnTo>
                    <a:lnTo>
                      <a:pt x="431" y="147"/>
                    </a:lnTo>
                    <a:lnTo>
                      <a:pt x="429" y="147"/>
                    </a:lnTo>
                    <a:lnTo>
                      <a:pt x="429" y="148"/>
                    </a:lnTo>
                    <a:lnTo>
                      <a:pt x="427" y="148"/>
                    </a:lnTo>
                    <a:lnTo>
                      <a:pt x="429" y="148"/>
                    </a:lnTo>
                    <a:lnTo>
                      <a:pt x="427" y="150"/>
                    </a:lnTo>
                    <a:lnTo>
                      <a:pt x="427" y="148"/>
                    </a:lnTo>
                    <a:lnTo>
                      <a:pt x="427" y="150"/>
                    </a:lnTo>
                    <a:lnTo>
                      <a:pt x="426" y="150"/>
                    </a:lnTo>
                    <a:lnTo>
                      <a:pt x="424" y="150"/>
                    </a:lnTo>
                    <a:lnTo>
                      <a:pt x="422" y="150"/>
                    </a:lnTo>
                    <a:lnTo>
                      <a:pt x="420" y="148"/>
                    </a:lnTo>
                    <a:lnTo>
                      <a:pt x="419" y="148"/>
                    </a:lnTo>
                    <a:lnTo>
                      <a:pt x="420" y="148"/>
                    </a:lnTo>
                    <a:lnTo>
                      <a:pt x="419" y="148"/>
                    </a:lnTo>
                    <a:lnTo>
                      <a:pt x="417" y="148"/>
                    </a:lnTo>
                    <a:lnTo>
                      <a:pt x="417" y="147"/>
                    </a:lnTo>
                    <a:lnTo>
                      <a:pt x="415" y="147"/>
                    </a:lnTo>
                    <a:lnTo>
                      <a:pt x="415" y="145"/>
                    </a:lnTo>
                    <a:lnTo>
                      <a:pt x="413" y="145"/>
                    </a:lnTo>
                    <a:lnTo>
                      <a:pt x="413" y="147"/>
                    </a:lnTo>
                    <a:lnTo>
                      <a:pt x="412" y="147"/>
                    </a:lnTo>
                    <a:lnTo>
                      <a:pt x="412" y="148"/>
                    </a:lnTo>
                    <a:lnTo>
                      <a:pt x="412" y="147"/>
                    </a:lnTo>
                    <a:lnTo>
                      <a:pt x="412" y="148"/>
                    </a:lnTo>
                    <a:lnTo>
                      <a:pt x="410" y="148"/>
                    </a:lnTo>
                    <a:lnTo>
                      <a:pt x="408" y="148"/>
                    </a:lnTo>
                    <a:lnTo>
                      <a:pt x="408" y="150"/>
                    </a:lnTo>
                    <a:lnTo>
                      <a:pt x="406" y="150"/>
                    </a:lnTo>
                    <a:lnTo>
                      <a:pt x="406" y="152"/>
                    </a:lnTo>
                    <a:lnTo>
                      <a:pt x="405" y="154"/>
                    </a:lnTo>
                    <a:lnTo>
                      <a:pt x="405" y="155"/>
                    </a:lnTo>
                    <a:lnTo>
                      <a:pt x="403" y="157"/>
                    </a:lnTo>
                    <a:lnTo>
                      <a:pt x="401" y="157"/>
                    </a:lnTo>
                    <a:lnTo>
                      <a:pt x="399" y="157"/>
                    </a:lnTo>
                    <a:lnTo>
                      <a:pt x="398" y="157"/>
                    </a:lnTo>
                    <a:lnTo>
                      <a:pt x="396" y="157"/>
                    </a:lnTo>
                    <a:lnTo>
                      <a:pt x="394" y="157"/>
                    </a:lnTo>
                    <a:lnTo>
                      <a:pt x="394" y="159"/>
                    </a:lnTo>
                    <a:lnTo>
                      <a:pt x="394" y="157"/>
                    </a:lnTo>
                    <a:lnTo>
                      <a:pt x="394" y="159"/>
                    </a:lnTo>
                    <a:lnTo>
                      <a:pt x="392" y="159"/>
                    </a:lnTo>
                    <a:lnTo>
                      <a:pt x="392" y="161"/>
                    </a:lnTo>
                    <a:lnTo>
                      <a:pt x="391" y="161"/>
                    </a:lnTo>
                    <a:lnTo>
                      <a:pt x="391" y="162"/>
                    </a:lnTo>
                    <a:lnTo>
                      <a:pt x="392" y="162"/>
                    </a:lnTo>
                    <a:lnTo>
                      <a:pt x="392" y="164"/>
                    </a:lnTo>
                    <a:lnTo>
                      <a:pt x="391" y="164"/>
                    </a:lnTo>
                    <a:lnTo>
                      <a:pt x="389" y="164"/>
                    </a:lnTo>
                    <a:lnTo>
                      <a:pt x="387" y="164"/>
                    </a:lnTo>
                    <a:lnTo>
                      <a:pt x="387" y="166"/>
                    </a:lnTo>
                    <a:lnTo>
                      <a:pt x="386" y="166"/>
                    </a:lnTo>
                    <a:lnTo>
                      <a:pt x="384" y="166"/>
                    </a:lnTo>
                    <a:lnTo>
                      <a:pt x="384" y="168"/>
                    </a:lnTo>
                    <a:lnTo>
                      <a:pt x="384" y="169"/>
                    </a:lnTo>
                    <a:lnTo>
                      <a:pt x="384" y="171"/>
                    </a:lnTo>
                    <a:lnTo>
                      <a:pt x="382" y="171"/>
                    </a:lnTo>
                    <a:lnTo>
                      <a:pt x="382" y="173"/>
                    </a:lnTo>
                    <a:lnTo>
                      <a:pt x="382" y="171"/>
                    </a:lnTo>
                    <a:lnTo>
                      <a:pt x="380" y="171"/>
                    </a:lnTo>
                    <a:lnTo>
                      <a:pt x="380" y="173"/>
                    </a:lnTo>
                    <a:lnTo>
                      <a:pt x="379" y="173"/>
                    </a:lnTo>
                    <a:lnTo>
                      <a:pt x="377" y="173"/>
                    </a:lnTo>
                    <a:lnTo>
                      <a:pt x="377" y="171"/>
                    </a:lnTo>
                    <a:lnTo>
                      <a:pt x="375" y="171"/>
                    </a:lnTo>
                    <a:lnTo>
                      <a:pt x="375" y="173"/>
                    </a:lnTo>
                    <a:lnTo>
                      <a:pt x="373" y="173"/>
                    </a:lnTo>
                    <a:lnTo>
                      <a:pt x="372" y="173"/>
                    </a:lnTo>
                    <a:lnTo>
                      <a:pt x="372" y="175"/>
                    </a:lnTo>
                    <a:lnTo>
                      <a:pt x="370" y="175"/>
                    </a:lnTo>
                    <a:lnTo>
                      <a:pt x="370" y="173"/>
                    </a:lnTo>
                    <a:lnTo>
                      <a:pt x="368" y="173"/>
                    </a:lnTo>
                    <a:lnTo>
                      <a:pt x="368" y="171"/>
                    </a:lnTo>
                    <a:lnTo>
                      <a:pt x="366" y="171"/>
                    </a:lnTo>
                    <a:lnTo>
                      <a:pt x="366" y="173"/>
                    </a:lnTo>
                    <a:lnTo>
                      <a:pt x="366" y="175"/>
                    </a:lnTo>
                    <a:lnTo>
                      <a:pt x="366" y="176"/>
                    </a:lnTo>
                    <a:lnTo>
                      <a:pt x="366" y="178"/>
                    </a:lnTo>
                    <a:lnTo>
                      <a:pt x="368" y="178"/>
                    </a:lnTo>
                    <a:lnTo>
                      <a:pt x="370" y="178"/>
                    </a:lnTo>
                    <a:lnTo>
                      <a:pt x="372" y="178"/>
                    </a:lnTo>
                    <a:lnTo>
                      <a:pt x="373" y="178"/>
                    </a:lnTo>
                    <a:lnTo>
                      <a:pt x="373" y="180"/>
                    </a:lnTo>
                    <a:lnTo>
                      <a:pt x="373" y="182"/>
                    </a:lnTo>
                    <a:lnTo>
                      <a:pt x="375" y="182"/>
                    </a:lnTo>
                    <a:lnTo>
                      <a:pt x="373" y="182"/>
                    </a:lnTo>
                    <a:lnTo>
                      <a:pt x="373" y="183"/>
                    </a:lnTo>
                    <a:lnTo>
                      <a:pt x="373" y="185"/>
                    </a:lnTo>
                    <a:lnTo>
                      <a:pt x="373" y="187"/>
                    </a:lnTo>
                    <a:lnTo>
                      <a:pt x="375" y="187"/>
                    </a:lnTo>
                    <a:lnTo>
                      <a:pt x="373" y="187"/>
                    </a:lnTo>
                    <a:lnTo>
                      <a:pt x="375" y="187"/>
                    </a:lnTo>
                    <a:lnTo>
                      <a:pt x="375" y="189"/>
                    </a:lnTo>
                    <a:lnTo>
                      <a:pt x="373" y="189"/>
                    </a:lnTo>
                    <a:lnTo>
                      <a:pt x="372" y="189"/>
                    </a:lnTo>
                    <a:lnTo>
                      <a:pt x="370" y="189"/>
                    </a:lnTo>
                    <a:lnTo>
                      <a:pt x="368" y="190"/>
                    </a:lnTo>
                    <a:lnTo>
                      <a:pt x="366" y="190"/>
                    </a:lnTo>
                    <a:lnTo>
                      <a:pt x="365" y="190"/>
                    </a:lnTo>
                    <a:lnTo>
                      <a:pt x="363" y="190"/>
                    </a:lnTo>
                    <a:lnTo>
                      <a:pt x="361" y="190"/>
                    </a:lnTo>
                    <a:lnTo>
                      <a:pt x="359" y="190"/>
                    </a:lnTo>
                    <a:lnTo>
                      <a:pt x="358" y="190"/>
                    </a:lnTo>
                    <a:lnTo>
                      <a:pt x="356" y="190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51" y="190"/>
                    </a:lnTo>
                    <a:lnTo>
                      <a:pt x="349" y="190"/>
                    </a:lnTo>
                    <a:lnTo>
                      <a:pt x="349" y="189"/>
                    </a:lnTo>
                    <a:lnTo>
                      <a:pt x="347" y="189"/>
                    </a:lnTo>
                    <a:lnTo>
                      <a:pt x="347" y="190"/>
                    </a:lnTo>
                    <a:lnTo>
                      <a:pt x="345" y="190"/>
                    </a:lnTo>
                    <a:lnTo>
                      <a:pt x="345" y="189"/>
                    </a:lnTo>
                    <a:lnTo>
                      <a:pt x="345" y="190"/>
                    </a:lnTo>
                    <a:lnTo>
                      <a:pt x="344" y="190"/>
                    </a:lnTo>
                    <a:lnTo>
                      <a:pt x="344" y="192"/>
                    </a:lnTo>
                    <a:lnTo>
                      <a:pt x="342" y="192"/>
                    </a:lnTo>
                    <a:lnTo>
                      <a:pt x="340" y="192"/>
                    </a:lnTo>
                    <a:lnTo>
                      <a:pt x="338" y="192"/>
                    </a:lnTo>
                    <a:lnTo>
                      <a:pt x="337" y="192"/>
                    </a:lnTo>
                    <a:lnTo>
                      <a:pt x="338" y="192"/>
                    </a:lnTo>
                    <a:lnTo>
                      <a:pt x="337" y="192"/>
                    </a:lnTo>
                    <a:lnTo>
                      <a:pt x="335" y="192"/>
                    </a:lnTo>
                    <a:lnTo>
                      <a:pt x="335" y="190"/>
                    </a:lnTo>
                    <a:lnTo>
                      <a:pt x="335" y="192"/>
                    </a:lnTo>
                    <a:lnTo>
                      <a:pt x="335" y="190"/>
                    </a:lnTo>
                    <a:lnTo>
                      <a:pt x="337" y="190"/>
                    </a:lnTo>
                    <a:lnTo>
                      <a:pt x="335" y="190"/>
                    </a:lnTo>
                    <a:lnTo>
                      <a:pt x="333" y="190"/>
                    </a:lnTo>
                    <a:lnTo>
                      <a:pt x="331" y="190"/>
                    </a:lnTo>
                    <a:lnTo>
                      <a:pt x="331" y="189"/>
                    </a:lnTo>
                    <a:lnTo>
                      <a:pt x="331" y="190"/>
                    </a:lnTo>
                    <a:lnTo>
                      <a:pt x="330" y="190"/>
                    </a:lnTo>
                    <a:lnTo>
                      <a:pt x="328" y="190"/>
                    </a:lnTo>
                    <a:lnTo>
                      <a:pt x="328" y="189"/>
                    </a:lnTo>
                    <a:lnTo>
                      <a:pt x="326" y="189"/>
                    </a:lnTo>
                    <a:lnTo>
                      <a:pt x="325" y="189"/>
                    </a:lnTo>
                    <a:lnTo>
                      <a:pt x="325" y="187"/>
                    </a:lnTo>
                    <a:lnTo>
                      <a:pt x="325" y="189"/>
                    </a:lnTo>
                    <a:lnTo>
                      <a:pt x="325" y="187"/>
                    </a:lnTo>
                    <a:lnTo>
                      <a:pt x="325" y="185"/>
                    </a:lnTo>
                    <a:lnTo>
                      <a:pt x="323" y="185"/>
                    </a:lnTo>
                    <a:lnTo>
                      <a:pt x="323" y="183"/>
                    </a:lnTo>
                    <a:lnTo>
                      <a:pt x="325" y="183"/>
                    </a:lnTo>
                    <a:lnTo>
                      <a:pt x="325" y="182"/>
                    </a:lnTo>
                    <a:lnTo>
                      <a:pt x="325" y="180"/>
                    </a:lnTo>
                    <a:lnTo>
                      <a:pt x="323" y="180"/>
                    </a:lnTo>
                    <a:lnTo>
                      <a:pt x="323" y="178"/>
                    </a:lnTo>
                    <a:lnTo>
                      <a:pt x="323" y="176"/>
                    </a:lnTo>
                    <a:lnTo>
                      <a:pt x="323" y="175"/>
                    </a:lnTo>
                    <a:lnTo>
                      <a:pt x="325" y="175"/>
                    </a:lnTo>
                    <a:lnTo>
                      <a:pt x="325" y="173"/>
                    </a:lnTo>
                    <a:lnTo>
                      <a:pt x="325" y="171"/>
                    </a:lnTo>
                    <a:lnTo>
                      <a:pt x="323" y="171"/>
                    </a:lnTo>
                    <a:lnTo>
                      <a:pt x="323" y="169"/>
                    </a:lnTo>
                    <a:lnTo>
                      <a:pt x="323" y="168"/>
                    </a:lnTo>
                    <a:lnTo>
                      <a:pt x="321" y="168"/>
                    </a:lnTo>
                    <a:lnTo>
                      <a:pt x="321" y="169"/>
                    </a:lnTo>
                    <a:lnTo>
                      <a:pt x="321" y="168"/>
                    </a:lnTo>
                    <a:lnTo>
                      <a:pt x="319" y="168"/>
                    </a:lnTo>
                    <a:lnTo>
                      <a:pt x="319" y="169"/>
                    </a:lnTo>
                    <a:lnTo>
                      <a:pt x="318" y="169"/>
                    </a:lnTo>
                    <a:lnTo>
                      <a:pt x="316" y="169"/>
                    </a:lnTo>
                    <a:lnTo>
                      <a:pt x="316" y="171"/>
                    </a:lnTo>
                    <a:lnTo>
                      <a:pt x="316" y="169"/>
                    </a:lnTo>
                    <a:lnTo>
                      <a:pt x="316" y="171"/>
                    </a:lnTo>
                    <a:lnTo>
                      <a:pt x="314" y="171"/>
                    </a:lnTo>
                    <a:lnTo>
                      <a:pt x="312" y="171"/>
                    </a:lnTo>
                    <a:lnTo>
                      <a:pt x="312" y="173"/>
                    </a:lnTo>
                    <a:lnTo>
                      <a:pt x="314" y="173"/>
                    </a:lnTo>
                    <a:lnTo>
                      <a:pt x="312" y="173"/>
                    </a:lnTo>
                    <a:lnTo>
                      <a:pt x="314" y="173"/>
                    </a:lnTo>
                    <a:lnTo>
                      <a:pt x="312" y="175"/>
                    </a:lnTo>
                    <a:lnTo>
                      <a:pt x="312" y="176"/>
                    </a:lnTo>
                    <a:lnTo>
                      <a:pt x="311" y="178"/>
                    </a:lnTo>
                    <a:lnTo>
                      <a:pt x="312" y="178"/>
                    </a:lnTo>
                    <a:lnTo>
                      <a:pt x="311" y="178"/>
                    </a:lnTo>
                    <a:lnTo>
                      <a:pt x="311" y="180"/>
                    </a:lnTo>
                    <a:lnTo>
                      <a:pt x="311" y="182"/>
                    </a:lnTo>
                    <a:lnTo>
                      <a:pt x="311" y="183"/>
                    </a:lnTo>
                    <a:lnTo>
                      <a:pt x="311" y="185"/>
                    </a:lnTo>
                    <a:lnTo>
                      <a:pt x="311" y="187"/>
                    </a:lnTo>
                    <a:lnTo>
                      <a:pt x="312" y="187"/>
                    </a:lnTo>
                    <a:lnTo>
                      <a:pt x="312" y="189"/>
                    </a:lnTo>
                    <a:lnTo>
                      <a:pt x="312" y="190"/>
                    </a:lnTo>
                    <a:lnTo>
                      <a:pt x="312" y="192"/>
                    </a:lnTo>
                    <a:lnTo>
                      <a:pt x="312" y="194"/>
                    </a:lnTo>
                    <a:lnTo>
                      <a:pt x="312" y="195"/>
                    </a:lnTo>
                    <a:lnTo>
                      <a:pt x="312" y="197"/>
                    </a:lnTo>
                    <a:lnTo>
                      <a:pt x="311" y="197"/>
                    </a:lnTo>
                    <a:lnTo>
                      <a:pt x="309" y="197"/>
                    </a:lnTo>
                    <a:lnTo>
                      <a:pt x="309" y="195"/>
                    </a:lnTo>
                    <a:lnTo>
                      <a:pt x="307" y="195"/>
                    </a:lnTo>
                    <a:lnTo>
                      <a:pt x="307" y="197"/>
                    </a:lnTo>
                    <a:lnTo>
                      <a:pt x="307" y="195"/>
                    </a:lnTo>
                    <a:lnTo>
                      <a:pt x="307" y="197"/>
                    </a:lnTo>
                    <a:lnTo>
                      <a:pt x="305" y="197"/>
                    </a:lnTo>
                    <a:lnTo>
                      <a:pt x="304" y="197"/>
                    </a:lnTo>
                    <a:lnTo>
                      <a:pt x="302" y="197"/>
                    </a:lnTo>
                    <a:lnTo>
                      <a:pt x="300" y="197"/>
                    </a:lnTo>
                    <a:lnTo>
                      <a:pt x="300" y="199"/>
                    </a:lnTo>
                    <a:lnTo>
                      <a:pt x="300" y="197"/>
                    </a:lnTo>
                    <a:lnTo>
                      <a:pt x="298" y="197"/>
                    </a:lnTo>
                    <a:lnTo>
                      <a:pt x="297" y="197"/>
                    </a:lnTo>
                    <a:lnTo>
                      <a:pt x="297" y="195"/>
                    </a:lnTo>
                    <a:lnTo>
                      <a:pt x="295" y="195"/>
                    </a:lnTo>
                    <a:lnTo>
                      <a:pt x="295" y="194"/>
                    </a:lnTo>
                    <a:lnTo>
                      <a:pt x="295" y="195"/>
                    </a:lnTo>
                    <a:lnTo>
                      <a:pt x="293" y="195"/>
                    </a:lnTo>
                    <a:lnTo>
                      <a:pt x="293" y="197"/>
                    </a:lnTo>
                    <a:lnTo>
                      <a:pt x="291" y="197"/>
                    </a:lnTo>
                    <a:lnTo>
                      <a:pt x="291" y="195"/>
                    </a:lnTo>
                    <a:lnTo>
                      <a:pt x="291" y="197"/>
                    </a:lnTo>
                    <a:lnTo>
                      <a:pt x="290" y="197"/>
                    </a:lnTo>
                    <a:lnTo>
                      <a:pt x="291" y="197"/>
                    </a:lnTo>
                    <a:lnTo>
                      <a:pt x="290" y="197"/>
                    </a:lnTo>
                    <a:lnTo>
                      <a:pt x="290" y="195"/>
                    </a:lnTo>
                    <a:lnTo>
                      <a:pt x="288" y="195"/>
                    </a:lnTo>
                    <a:lnTo>
                      <a:pt x="286" y="195"/>
                    </a:lnTo>
                    <a:lnTo>
                      <a:pt x="286" y="194"/>
                    </a:lnTo>
                    <a:lnTo>
                      <a:pt x="284" y="194"/>
                    </a:lnTo>
                    <a:lnTo>
                      <a:pt x="283" y="194"/>
                    </a:lnTo>
                    <a:lnTo>
                      <a:pt x="281" y="194"/>
                    </a:lnTo>
                    <a:lnTo>
                      <a:pt x="279" y="194"/>
                    </a:lnTo>
                    <a:lnTo>
                      <a:pt x="279" y="192"/>
                    </a:lnTo>
                    <a:lnTo>
                      <a:pt x="279" y="194"/>
                    </a:lnTo>
                    <a:lnTo>
                      <a:pt x="279" y="192"/>
                    </a:lnTo>
                    <a:lnTo>
                      <a:pt x="279" y="194"/>
                    </a:lnTo>
                    <a:lnTo>
                      <a:pt x="277" y="194"/>
                    </a:lnTo>
                    <a:lnTo>
                      <a:pt x="276" y="194"/>
                    </a:lnTo>
                    <a:lnTo>
                      <a:pt x="277" y="194"/>
                    </a:lnTo>
                    <a:lnTo>
                      <a:pt x="276" y="194"/>
                    </a:lnTo>
                    <a:lnTo>
                      <a:pt x="274" y="194"/>
                    </a:lnTo>
                    <a:lnTo>
                      <a:pt x="274" y="192"/>
                    </a:lnTo>
                    <a:lnTo>
                      <a:pt x="274" y="190"/>
                    </a:lnTo>
                    <a:lnTo>
                      <a:pt x="274" y="189"/>
                    </a:lnTo>
                    <a:lnTo>
                      <a:pt x="272" y="189"/>
                    </a:lnTo>
                    <a:lnTo>
                      <a:pt x="272" y="190"/>
                    </a:lnTo>
                    <a:lnTo>
                      <a:pt x="272" y="189"/>
                    </a:lnTo>
                    <a:lnTo>
                      <a:pt x="272" y="190"/>
                    </a:lnTo>
                    <a:lnTo>
                      <a:pt x="272" y="189"/>
                    </a:lnTo>
                    <a:lnTo>
                      <a:pt x="272" y="190"/>
                    </a:lnTo>
                    <a:lnTo>
                      <a:pt x="271" y="190"/>
                    </a:lnTo>
                    <a:lnTo>
                      <a:pt x="269" y="190"/>
                    </a:lnTo>
                    <a:lnTo>
                      <a:pt x="269" y="192"/>
                    </a:lnTo>
                    <a:lnTo>
                      <a:pt x="267" y="192"/>
                    </a:lnTo>
                    <a:lnTo>
                      <a:pt x="267" y="190"/>
                    </a:lnTo>
                    <a:lnTo>
                      <a:pt x="265" y="190"/>
                    </a:lnTo>
                    <a:lnTo>
                      <a:pt x="267" y="190"/>
                    </a:lnTo>
                    <a:lnTo>
                      <a:pt x="267" y="189"/>
                    </a:lnTo>
                    <a:lnTo>
                      <a:pt x="265" y="189"/>
                    </a:lnTo>
                    <a:lnTo>
                      <a:pt x="265" y="190"/>
                    </a:lnTo>
                    <a:lnTo>
                      <a:pt x="264" y="190"/>
                    </a:lnTo>
                    <a:lnTo>
                      <a:pt x="264" y="189"/>
                    </a:lnTo>
                    <a:lnTo>
                      <a:pt x="264" y="190"/>
                    </a:lnTo>
                    <a:lnTo>
                      <a:pt x="264" y="189"/>
                    </a:lnTo>
                    <a:lnTo>
                      <a:pt x="264" y="190"/>
                    </a:lnTo>
                    <a:lnTo>
                      <a:pt x="264" y="189"/>
                    </a:lnTo>
                    <a:lnTo>
                      <a:pt x="264" y="187"/>
                    </a:lnTo>
                    <a:lnTo>
                      <a:pt x="262" y="187"/>
                    </a:lnTo>
                    <a:lnTo>
                      <a:pt x="260" y="187"/>
                    </a:lnTo>
                    <a:lnTo>
                      <a:pt x="262" y="187"/>
                    </a:lnTo>
                    <a:lnTo>
                      <a:pt x="260" y="187"/>
                    </a:lnTo>
                    <a:lnTo>
                      <a:pt x="258" y="187"/>
                    </a:lnTo>
                    <a:lnTo>
                      <a:pt x="258" y="185"/>
                    </a:lnTo>
                    <a:lnTo>
                      <a:pt x="258" y="183"/>
                    </a:lnTo>
                    <a:lnTo>
                      <a:pt x="258" y="182"/>
                    </a:lnTo>
                    <a:lnTo>
                      <a:pt x="257" y="182"/>
                    </a:lnTo>
                    <a:lnTo>
                      <a:pt x="255" y="182"/>
                    </a:lnTo>
                    <a:lnTo>
                      <a:pt x="255" y="180"/>
                    </a:lnTo>
                    <a:lnTo>
                      <a:pt x="253" y="180"/>
                    </a:lnTo>
                    <a:lnTo>
                      <a:pt x="251" y="180"/>
                    </a:lnTo>
                    <a:lnTo>
                      <a:pt x="251" y="178"/>
                    </a:lnTo>
                    <a:lnTo>
                      <a:pt x="250" y="178"/>
                    </a:lnTo>
                    <a:lnTo>
                      <a:pt x="248" y="178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2"/>
                    </a:lnTo>
                    <a:lnTo>
                      <a:pt x="244" y="180"/>
                    </a:lnTo>
                    <a:lnTo>
                      <a:pt x="243" y="180"/>
                    </a:lnTo>
                    <a:lnTo>
                      <a:pt x="243" y="178"/>
                    </a:lnTo>
                    <a:lnTo>
                      <a:pt x="241" y="178"/>
                    </a:lnTo>
                    <a:lnTo>
                      <a:pt x="239" y="178"/>
                    </a:lnTo>
                    <a:lnTo>
                      <a:pt x="237" y="178"/>
                    </a:lnTo>
                    <a:lnTo>
                      <a:pt x="239" y="178"/>
                    </a:lnTo>
                    <a:lnTo>
                      <a:pt x="237" y="178"/>
                    </a:lnTo>
                    <a:lnTo>
                      <a:pt x="239" y="178"/>
                    </a:lnTo>
                    <a:lnTo>
                      <a:pt x="239" y="180"/>
                    </a:lnTo>
                    <a:lnTo>
                      <a:pt x="237" y="180"/>
                    </a:lnTo>
                    <a:lnTo>
                      <a:pt x="239" y="180"/>
                    </a:lnTo>
                    <a:lnTo>
                      <a:pt x="237" y="180"/>
                    </a:lnTo>
                    <a:lnTo>
                      <a:pt x="239" y="180"/>
                    </a:lnTo>
                    <a:lnTo>
                      <a:pt x="237" y="180"/>
                    </a:lnTo>
                    <a:lnTo>
                      <a:pt x="237" y="182"/>
                    </a:lnTo>
                    <a:lnTo>
                      <a:pt x="236" y="182"/>
                    </a:lnTo>
                    <a:lnTo>
                      <a:pt x="236" y="180"/>
                    </a:lnTo>
                    <a:lnTo>
                      <a:pt x="236" y="178"/>
                    </a:lnTo>
                    <a:lnTo>
                      <a:pt x="234" y="178"/>
                    </a:lnTo>
                    <a:lnTo>
                      <a:pt x="234" y="180"/>
                    </a:lnTo>
                    <a:lnTo>
                      <a:pt x="232" y="180"/>
                    </a:lnTo>
                    <a:lnTo>
                      <a:pt x="232" y="178"/>
                    </a:lnTo>
                    <a:lnTo>
                      <a:pt x="230" y="178"/>
                    </a:lnTo>
                    <a:lnTo>
                      <a:pt x="229" y="178"/>
                    </a:lnTo>
                    <a:lnTo>
                      <a:pt x="229" y="176"/>
                    </a:lnTo>
                    <a:lnTo>
                      <a:pt x="227" y="176"/>
                    </a:lnTo>
                    <a:lnTo>
                      <a:pt x="229" y="176"/>
                    </a:lnTo>
                    <a:lnTo>
                      <a:pt x="227" y="176"/>
                    </a:lnTo>
                    <a:lnTo>
                      <a:pt x="227" y="175"/>
                    </a:lnTo>
                    <a:lnTo>
                      <a:pt x="225" y="175"/>
                    </a:lnTo>
                    <a:lnTo>
                      <a:pt x="223" y="175"/>
                    </a:lnTo>
                    <a:lnTo>
                      <a:pt x="222" y="175"/>
                    </a:lnTo>
                    <a:lnTo>
                      <a:pt x="222" y="173"/>
                    </a:lnTo>
                    <a:lnTo>
                      <a:pt x="220" y="173"/>
                    </a:lnTo>
                    <a:lnTo>
                      <a:pt x="220" y="171"/>
                    </a:lnTo>
                    <a:lnTo>
                      <a:pt x="218" y="171"/>
                    </a:lnTo>
                    <a:lnTo>
                      <a:pt x="217" y="171"/>
                    </a:lnTo>
                    <a:lnTo>
                      <a:pt x="215" y="171"/>
                    </a:lnTo>
                    <a:lnTo>
                      <a:pt x="213" y="171"/>
                    </a:lnTo>
                    <a:lnTo>
                      <a:pt x="213" y="169"/>
                    </a:lnTo>
                    <a:lnTo>
                      <a:pt x="211" y="169"/>
                    </a:lnTo>
                    <a:lnTo>
                      <a:pt x="210" y="169"/>
                    </a:lnTo>
                    <a:lnTo>
                      <a:pt x="210" y="168"/>
                    </a:lnTo>
                    <a:lnTo>
                      <a:pt x="208" y="168"/>
                    </a:lnTo>
                    <a:lnTo>
                      <a:pt x="208" y="166"/>
                    </a:lnTo>
                    <a:lnTo>
                      <a:pt x="206" y="166"/>
                    </a:lnTo>
                    <a:lnTo>
                      <a:pt x="206" y="168"/>
                    </a:lnTo>
                    <a:lnTo>
                      <a:pt x="206" y="166"/>
                    </a:lnTo>
                    <a:lnTo>
                      <a:pt x="206" y="168"/>
                    </a:lnTo>
                    <a:lnTo>
                      <a:pt x="206" y="166"/>
                    </a:lnTo>
                    <a:lnTo>
                      <a:pt x="206" y="168"/>
                    </a:lnTo>
                    <a:lnTo>
                      <a:pt x="206" y="166"/>
                    </a:lnTo>
                    <a:lnTo>
                      <a:pt x="204" y="166"/>
                    </a:lnTo>
                    <a:lnTo>
                      <a:pt x="204" y="164"/>
                    </a:lnTo>
                    <a:lnTo>
                      <a:pt x="204" y="162"/>
                    </a:lnTo>
                    <a:lnTo>
                      <a:pt x="203" y="162"/>
                    </a:lnTo>
                    <a:lnTo>
                      <a:pt x="201" y="162"/>
                    </a:lnTo>
                    <a:lnTo>
                      <a:pt x="201" y="161"/>
                    </a:lnTo>
                    <a:lnTo>
                      <a:pt x="201" y="162"/>
                    </a:lnTo>
                    <a:lnTo>
                      <a:pt x="201" y="161"/>
                    </a:lnTo>
                    <a:lnTo>
                      <a:pt x="199" y="161"/>
                    </a:lnTo>
                    <a:lnTo>
                      <a:pt x="197" y="161"/>
                    </a:lnTo>
                    <a:lnTo>
                      <a:pt x="197" y="159"/>
                    </a:lnTo>
                    <a:lnTo>
                      <a:pt x="196" y="159"/>
                    </a:lnTo>
                    <a:lnTo>
                      <a:pt x="196" y="157"/>
                    </a:lnTo>
                    <a:lnTo>
                      <a:pt x="196" y="159"/>
                    </a:lnTo>
                    <a:lnTo>
                      <a:pt x="196" y="157"/>
                    </a:lnTo>
                    <a:lnTo>
                      <a:pt x="194" y="157"/>
                    </a:lnTo>
                    <a:lnTo>
                      <a:pt x="194" y="159"/>
                    </a:lnTo>
                    <a:lnTo>
                      <a:pt x="192" y="159"/>
                    </a:lnTo>
                    <a:lnTo>
                      <a:pt x="194" y="159"/>
                    </a:lnTo>
                    <a:lnTo>
                      <a:pt x="192" y="159"/>
                    </a:lnTo>
                    <a:lnTo>
                      <a:pt x="192" y="157"/>
                    </a:lnTo>
                    <a:lnTo>
                      <a:pt x="192" y="159"/>
                    </a:lnTo>
                    <a:lnTo>
                      <a:pt x="190" y="159"/>
                    </a:lnTo>
                    <a:lnTo>
                      <a:pt x="190" y="157"/>
                    </a:lnTo>
                    <a:lnTo>
                      <a:pt x="189" y="157"/>
                    </a:lnTo>
                    <a:lnTo>
                      <a:pt x="189" y="155"/>
                    </a:lnTo>
                    <a:lnTo>
                      <a:pt x="187" y="155"/>
                    </a:lnTo>
                    <a:lnTo>
                      <a:pt x="187" y="154"/>
                    </a:lnTo>
                    <a:lnTo>
                      <a:pt x="187" y="155"/>
                    </a:lnTo>
                    <a:lnTo>
                      <a:pt x="187" y="154"/>
                    </a:lnTo>
                    <a:lnTo>
                      <a:pt x="187" y="152"/>
                    </a:lnTo>
                    <a:lnTo>
                      <a:pt x="187" y="150"/>
                    </a:lnTo>
                    <a:lnTo>
                      <a:pt x="189" y="150"/>
                    </a:lnTo>
                    <a:lnTo>
                      <a:pt x="189" y="148"/>
                    </a:lnTo>
                    <a:lnTo>
                      <a:pt x="189" y="150"/>
                    </a:lnTo>
                    <a:lnTo>
                      <a:pt x="189" y="148"/>
                    </a:lnTo>
                    <a:lnTo>
                      <a:pt x="189" y="147"/>
                    </a:lnTo>
                    <a:lnTo>
                      <a:pt x="189" y="148"/>
                    </a:lnTo>
                    <a:lnTo>
                      <a:pt x="190" y="148"/>
                    </a:lnTo>
                    <a:lnTo>
                      <a:pt x="190" y="147"/>
                    </a:lnTo>
                    <a:lnTo>
                      <a:pt x="190" y="145"/>
                    </a:lnTo>
                    <a:lnTo>
                      <a:pt x="189" y="145"/>
                    </a:lnTo>
                    <a:lnTo>
                      <a:pt x="190" y="145"/>
                    </a:lnTo>
                    <a:lnTo>
                      <a:pt x="189" y="145"/>
                    </a:lnTo>
                    <a:lnTo>
                      <a:pt x="189" y="143"/>
                    </a:lnTo>
                    <a:lnTo>
                      <a:pt x="190" y="143"/>
                    </a:lnTo>
                    <a:lnTo>
                      <a:pt x="190" y="141"/>
                    </a:lnTo>
                    <a:lnTo>
                      <a:pt x="190" y="143"/>
                    </a:lnTo>
                    <a:lnTo>
                      <a:pt x="190" y="141"/>
                    </a:lnTo>
                    <a:lnTo>
                      <a:pt x="192" y="141"/>
                    </a:lnTo>
                    <a:lnTo>
                      <a:pt x="192" y="140"/>
                    </a:lnTo>
                    <a:lnTo>
                      <a:pt x="190" y="140"/>
                    </a:lnTo>
                    <a:lnTo>
                      <a:pt x="190" y="138"/>
                    </a:lnTo>
                    <a:lnTo>
                      <a:pt x="192" y="138"/>
                    </a:lnTo>
                    <a:lnTo>
                      <a:pt x="192" y="136"/>
                    </a:lnTo>
                    <a:lnTo>
                      <a:pt x="192" y="138"/>
                    </a:lnTo>
                    <a:lnTo>
                      <a:pt x="192" y="136"/>
                    </a:lnTo>
                    <a:lnTo>
                      <a:pt x="194" y="136"/>
                    </a:lnTo>
                    <a:lnTo>
                      <a:pt x="192" y="136"/>
                    </a:lnTo>
                    <a:lnTo>
                      <a:pt x="194" y="136"/>
                    </a:lnTo>
                    <a:lnTo>
                      <a:pt x="194" y="134"/>
                    </a:lnTo>
                    <a:lnTo>
                      <a:pt x="196" y="134"/>
                    </a:lnTo>
                    <a:lnTo>
                      <a:pt x="196" y="133"/>
                    </a:lnTo>
                    <a:lnTo>
                      <a:pt x="197" y="133"/>
                    </a:lnTo>
                    <a:lnTo>
                      <a:pt x="197" y="131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201" y="131"/>
                    </a:lnTo>
                    <a:lnTo>
                      <a:pt x="201" y="129"/>
                    </a:lnTo>
                    <a:lnTo>
                      <a:pt x="199" y="129"/>
                    </a:lnTo>
                    <a:lnTo>
                      <a:pt x="199" y="128"/>
                    </a:lnTo>
                    <a:lnTo>
                      <a:pt x="197" y="128"/>
                    </a:lnTo>
                    <a:lnTo>
                      <a:pt x="197" y="126"/>
                    </a:lnTo>
                    <a:lnTo>
                      <a:pt x="196" y="126"/>
                    </a:lnTo>
                    <a:lnTo>
                      <a:pt x="194" y="124"/>
                    </a:lnTo>
                    <a:lnTo>
                      <a:pt x="194" y="126"/>
                    </a:lnTo>
                    <a:lnTo>
                      <a:pt x="194" y="124"/>
                    </a:lnTo>
                    <a:lnTo>
                      <a:pt x="192" y="124"/>
                    </a:lnTo>
                    <a:lnTo>
                      <a:pt x="190" y="124"/>
                    </a:lnTo>
                    <a:lnTo>
                      <a:pt x="189" y="124"/>
                    </a:lnTo>
                    <a:lnTo>
                      <a:pt x="189" y="122"/>
                    </a:lnTo>
                    <a:lnTo>
                      <a:pt x="189" y="121"/>
                    </a:lnTo>
                    <a:lnTo>
                      <a:pt x="189" y="119"/>
                    </a:lnTo>
                    <a:lnTo>
                      <a:pt x="187" y="119"/>
                    </a:lnTo>
                    <a:lnTo>
                      <a:pt x="189" y="119"/>
                    </a:lnTo>
                    <a:lnTo>
                      <a:pt x="187" y="119"/>
                    </a:lnTo>
                    <a:lnTo>
                      <a:pt x="185" y="119"/>
                    </a:lnTo>
                    <a:lnTo>
                      <a:pt x="185" y="117"/>
                    </a:lnTo>
                    <a:lnTo>
                      <a:pt x="183" y="117"/>
                    </a:lnTo>
                    <a:lnTo>
                      <a:pt x="183" y="115"/>
                    </a:lnTo>
                    <a:lnTo>
                      <a:pt x="182" y="115"/>
                    </a:lnTo>
                    <a:lnTo>
                      <a:pt x="180" y="115"/>
                    </a:lnTo>
                    <a:lnTo>
                      <a:pt x="180" y="117"/>
                    </a:lnTo>
                    <a:lnTo>
                      <a:pt x="178" y="117"/>
                    </a:lnTo>
                    <a:lnTo>
                      <a:pt x="178" y="115"/>
                    </a:lnTo>
                    <a:lnTo>
                      <a:pt x="176" y="115"/>
                    </a:lnTo>
                    <a:lnTo>
                      <a:pt x="176" y="114"/>
                    </a:lnTo>
                    <a:lnTo>
                      <a:pt x="175" y="114"/>
                    </a:lnTo>
                    <a:lnTo>
                      <a:pt x="175" y="112"/>
                    </a:lnTo>
                    <a:lnTo>
                      <a:pt x="173" y="112"/>
                    </a:lnTo>
                    <a:lnTo>
                      <a:pt x="173" y="110"/>
                    </a:lnTo>
                    <a:lnTo>
                      <a:pt x="173" y="108"/>
                    </a:lnTo>
                    <a:lnTo>
                      <a:pt x="171" y="108"/>
                    </a:lnTo>
                    <a:lnTo>
                      <a:pt x="171" y="107"/>
                    </a:lnTo>
                    <a:lnTo>
                      <a:pt x="169" y="108"/>
                    </a:lnTo>
                    <a:lnTo>
                      <a:pt x="169" y="110"/>
                    </a:lnTo>
                    <a:lnTo>
                      <a:pt x="168" y="110"/>
                    </a:lnTo>
                    <a:lnTo>
                      <a:pt x="168" y="108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6" y="105"/>
                    </a:lnTo>
                    <a:lnTo>
                      <a:pt x="168" y="105"/>
                    </a:lnTo>
                    <a:lnTo>
                      <a:pt x="168" y="103"/>
                    </a:lnTo>
                    <a:lnTo>
                      <a:pt x="166" y="103"/>
                    </a:lnTo>
                    <a:lnTo>
                      <a:pt x="166" y="101"/>
                    </a:lnTo>
                    <a:lnTo>
                      <a:pt x="164" y="101"/>
                    </a:lnTo>
                    <a:lnTo>
                      <a:pt x="164" y="100"/>
                    </a:lnTo>
                    <a:lnTo>
                      <a:pt x="166" y="100"/>
                    </a:lnTo>
                    <a:lnTo>
                      <a:pt x="166" y="98"/>
                    </a:lnTo>
                    <a:lnTo>
                      <a:pt x="166" y="96"/>
                    </a:lnTo>
                    <a:lnTo>
                      <a:pt x="164" y="96"/>
                    </a:lnTo>
                    <a:lnTo>
                      <a:pt x="164" y="94"/>
                    </a:lnTo>
                    <a:lnTo>
                      <a:pt x="163" y="94"/>
                    </a:lnTo>
                    <a:lnTo>
                      <a:pt x="163" y="93"/>
                    </a:lnTo>
                    <a:lnTo>
                      <a:pt x="161" y="93"/>
                    </a:lnTo>
                    <a:lnTo>
                      <a:pt x="161" y="91"/>
                    </a:lnTo>
                    <a:lnTo>
                      <a:pt x="163" y="91"/>
                    </a:lnTo>
                    <a:lnTo>
                      <a:pt x="163" y="89"/>
                    </a:lnTo>
                    <a:lnTo>
                      <a:pt x="161" y="89"/>
                    </a:lnTo>
                    <a:lnTo>
                      <a:pt x="161" y="87"/>
                    </a:lnTo>
                    <a:lnTo>
                      <a:pt x="159" y="87"/>
                    </a:lnTo>
                    <a:lnTo>
                      <a:pt x="161" y="87"/>
                    </a:lnTo>
                    <a:lnTo>
                      <a:pt x="161" y="86"/>
                    </a:lnTo>
                    <a:lnTo>
                      <a:pt x="163" y="86"/>
                    </a:lnTo>
                    <a:lnTo>
                      <a:pt x="164" y="86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6" y="87"/>
                    </a:lnTo>
                    <a:lnTo>
                      <a:pt x="166" y="89"/>
                    </a:lnTo>
                    <a:lnTo>
                      <a:pt x="168" y="89"/>
                    </a:lnTo>
                    <a:lnTo>
                      <a:pt x="169" y="89"/>
                    </a:lnTo>
                    <a:lnTo>
                      <a:pt x="169" y="91"/>
                    </a:lnTo>
                    <a:lnTo>
                      <a:pt x="169" y="89"/>
                    </a:lnTo>
                    <a:lnTo>
                      <a:pt x="171" y="89"/>
                    </a:lnTo>
                    <a:lnTo>
                      <a:pt x="171" y="87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5" y="86"/>
                    </a:lnTo>
                    <a:lnTo>
                      <a:pt x="175" y="87"/>
                    </a:lnTo>
                    <a:lnTo>
                      <a:pt x="176" y="87"/>
                    </a:lnTo>
                    <a:lnTo>
                      <a:pt x="176" y="86"/>
                    </a:lnTo>
                    <a:lnTo>
                      <a:pt x="178" y="86"/>
                    </a:lnTo>
                    <a:lnTo>
                      <a:pt x="178" y="84"/>
                    </a:lnTo>
                    <a:lnTo>
                      <a:pt x="180" y="84"/>
                    </a:lnTo>
                    <a:lnTo>
                      <a:pt x="178" y="82"/>
                    </a:lnTo>
                    <a:lnTo>
                      <a:pt x="178" y="80"/>
                    </a:lnTo>
                    <a:lnTo>
                      <a:pt x="176" y="80"/>
                    </a:lnTo>
                    <a:lnTo>
                      <a:pt x="176" y="79"/>
                    </a:lnTo>
                    <a:lnTo>
                      <a:pt x="175" y="79"/>
                    </a:lnTo>
                    <a:lnTo>
                      <a:pt x="176" y="79"/>
                    </a:lnTo>
                    <a:lnTo>
                      <a:pt x="175" y="77"/>
                    </a:lnTo>
                    <a:lnTo>
                      <a:pt x="176" y="77"/>
                    </a:lnTo>
                    <a:lnTo>
                      <a:pt x="176" y="75"/>
                    </a:lnTo>
                    <a:lnTo>
                      <a:pt x="176" y="73"/>
                    </a:lnTo>
                    <a:lnTo>
                      <a:pt x="175" y="73"/>
                    </a:lnTo>
                    <a:lnTo>
                      <a:pt x="173" y="73"/>
                    </a:lnTo>
                    <a:lnTo>
                      <a:pt x="171" y="73"/>
                    </a:lnTo>
                    <a:lnTo>
                      <a:pt x="169" y="72"/>
                    </a:lnTo>
                    <a:lnTo>
                      <a:pt x="168" y="70"/>
                    </a:lnTo>
                    <a:lnTo>
                      <a:pt x="168" y="68"/>
                    </a:lnTo>
                    <a:lnTo>
                      <a:pt x="169" y="68"/>
                    </a:lnTo>
                    <a:lnTo>
                      <a:pt x="168" y="68"/>
                    </a:lnTo>
                    <a:lnTo>
                      <a:pt x="168" y="67"/>
                    </a:lnTo>
                    <a:lnTo>
                      <a:pt x="169" y="67"/>
                    </a:lnTo>
                    <a:lnTo>
                      <a:pt x="171" y="67"/>
                    </a:lnTo>
                    <a:lnTo>
                      <a:pt x="169" y="67"/>
                    </a:lnTo>
                    <a:lnTo>
                      <a:pt x="169" y="65"/>
                    </a:lnTo>
                    <a:lnTo>
                      <a:pt x="171" y="65"/>
                    </a:lnTo>
                    <a:lnTo>
                      <a:pt x="169" y="65"/>
                    </a:lnTo>
                    <a:lnTo>
                      <a:pt x="169" y="63"/>
                    </a:lnTo>
                    <a:lnTo>
                      <a:pt x="169" y="61"/>
                    </a:lnTo>
                    <a:lnTo>
                      <a:pt x="168" y="61"/>
                    </a:lnTo>
                    <a:lnTo>
                      <a:pt x="168" y="60"/>
                    </a:lnTo>
                    <a:lnTo>
                      <a:pt x="169" y="60"/>
                    </a:lnTo>
                    <a:lnTo>
                      <a:pt x="171" y="60"/>
                    </a:lnTo>
                    <a:lnTo>
                      <a:pt x="173" y="58"/>
                    </a:lnTo>
                    <a:lnTo>
                      <a:pt x="173" y="60"/>
                    </a:lnTo>
                    <a:lnTo>
                      <a:pt x="175" y="60"/>
                    </a:lnTo>
                    <a:lnTo>
                      <a:pt x="176" y="60"/>
                    </a:lnTo>
                    <a:lnTo>
                      <a:pt x="176" y="58"/>
                    </a:lnTo>
                    <a:lnTo>
                      <a:pt x="176" y="56"/>
                    </a:lnTo>
                    <a:lnTo>
                      <a:pt x="178" y="56"/>
                    </a:lnTo>
                    <a:lnTo>
                      <a:pt x="178" y="54"/>
                    </a:lnTo>
                    <a:lnTo>
                      <a:pt x="178" y="53"/>
                    </a:lnTo>
                    <a:lnTo>
                      <a:pt x="178" y="51"/>
                    </a:lnTo>
                    <a:lnTo>
                      <a:pt x="180" y="51"/>
                    </a:lnTo>
                    <a:lnTo>
                      <a:pt x="182" y="51"/>
                    </a:lnTo>
                    <a:lnTo>
                      <a:pt x="182" y="49"/>
                    </a:lnTo>
                    <a:lnTo>
                      <a:pt x="182" y="47"/>
                    </a:lnTo>
                    <a:lnTo>
                      <a:pt x="183" y="47"/>
                    </a:lnTo>
                    <a:lnTo>
                      <a:pt x="183" y="46"/>
                    </a:lnTo>
                    <a:lnTo>
                      <a:pt x="185" y="46"/>
                    </a:lnTo>
                    <a:lnTo>
                      <a:pt x="185" y="47"/>
                    </a:lnTo>
                    <a:lnTo>
                      <a:pt x="185" y="46"/>
                    </a:lnTo>
                    <a:lnTo>
                      <a:pt x="187" y="46"/>
                    </a:lnTo>
                    <a:lnTo>
                      <a:pt x="187" y="44"/>
                    </a:lnTo>
                    <a:lnTo>
                      <a:pt x="187" y="42"/>
                    </a:lnTo>
                    <a:lnTo>
                      <a:pt x="189" y="39"/>
                    </a:lnTo>
                    <a:lnTo>
                      <a:pt x="189" y="37"/>
                    </a:lnTo>
                    <a:lnTo>
                      <a:pt x="189" y="35"/>
                    </a:lnTo>
                    <a:lnTo>
                      <a:pt x="190" y="35"/>
                    </a:lnTo>
                    <a:lnTo>
                      <a:pt x="190" y="33"/>
                    </a:lnTo>
                    <a:lnTo>
                      <a:pt x="190" y="32"/>
                    </a:lnTo>
                    <a:lnTo>
                      <a:pt x="190" y="30"/>
                    </a:lnTo>
                    <a:lnTo>
                      <a:pt x="189" y="30"/>
                    </a:lnTo>
                    <a:lnTo>
                      <a:pt x="189" y="28"/>
                    </a:lnTo>
                    <a:lnTo>
                      <a:pt x="187" y="28"/>
                    </a:lnTo>
                    <a:lnTo>
                      <a:pt x="187" y="26"/>
                    </a:lnTo>
                    <a:lnTo>
                      <a:pt x="185" y="25"/>
                    </a:lnTo>
                    <a:lnTo>
                      <a:pt x="183" y="26"/>
                    </a:lnTo>
                    <a:lnTo>
                      <a:pt x="182" y="26"/>
                    </a:lnTo>
                    <a:lnTo>
                      <a:pt x="182" y="25"/>
                    </a:lnTo>
                    <a:lnTo>
                      <a:pt x="180" y="25"/>
                    </a:lnTo>
                    <a:lnTo>
                      <a:pt x="178" y="25"/>
                    </a:lnTo>
                    <a:lnTo>
                      <a:pt x="176" y="25"/>
                    </a:lnTo>
                    <a:lnTo>
                      <a:pt x="176" y="23"/>
                    </a:lnTo>
                    <a:lnTo>
                      <a:pt x="175" y="23"/>
                    </a:lnTo>
                    <a:lnTo>
                      <a:pt x="173" y="23"/>
                    </a:lnTo>
                    <a:lnTo>
                      <a:pt x="173" y="25"/>
                    </a:lnTo>
                    <a:lnTo>
                      <a:pt x="171" y="25"/>
                    </a:lnTo>
                    <a:lnTo>
                      <a:pt x="169" y="25"/>
                    </a:lnTo>
                    <a:lnTo>
                      <a:pt x="168" y="25"/>
                    </a:lnTo>
                    <a:lnTo>
                      <a:pt x="166" y="25"/>
                    </a:lnTo>
                    <a:lnTo>
                      <a:pt x="164" y="25"/>
                    </a:lnTo>
                    <a:lnTo>
                      <a:pt x="164" y="26"/>
                    </a:lnTo>
                    <a:lnTo>
                      <a:pt x="163" y="26"/>
                    </a:lnTo>
                    <a:lnTo>
                      <a:pt x="161" y="26"/>
                    </a:lnTo>
                    <a:lnTo>
                      <a:pt x="159" y="26"/>
                    </a:lnTo>
                    <a:lnTo>
                      <a:pt x="159" y="28"/>
                    </a:lnTo>
                    <a:lnTo>
                      <a:pt x="157" y="28"/>
                    </a:lnTo>
                    <a:lnTo>
                      <a:pt x="157" y="30"/>
                    </a:lnTo>
                    <a:lnTo>
                      <a:pt x="156" y="30"/>
                    </a:lnTo>
                    <a:lnTo>
                      <a:pt x="154" y="30"/>
                    </a:lnTo>
                    <a:lnTo>
                      <a:pt x="154" y="32"/>
                    </a:lnTo>
                    <a:lnTo>
                      <a:pt x="152" y="32"/>
                    </a:lnTo>
                    <a:lnTo>
                      <a:pt x="150" y="32"/>
                    </a:lnTo>
                    <a:lnTo>
                      <a:pt x="149" y="32"/>
                    </a:lnTo>
                    <a:lnTo>
                      <a:pt x="147" y="32"/>
                    </a:lnTo>
                    <a:lnTo>
                      <a:pt x="145" y="32"/>
                    </a:lnTo>
                    <a:lnTo>
                      <a:pt x="145" y="30"/>
                    </a:lnTo>
                    <a:lnTo>
                      <a:pt x="143" y="30"/>
                    </a:lnTo>
                    <a:lnTo>
                      <a:pt x="143" y="28"/>
                    </a:lnTo>
                    <a:lnTo>
                      <a:pt x="140" y="28"/>
                    </a:lnTo>
                    <a:lnTo>
                      <a:pt x="138" y="26"/>
                    </a:lnTo>
                    <a:lnTo>
                      <a:pt x="136" y="26"/>
                    </a:lnTo>
                    <a:lnTo>
                      <a:pt x="135" y="25"/>
                    </a:lnTo>
                    <a:lnTo>
                      <a:pt x="133" y="23"/>
                    </a:lnTo>
                    <a:lnTo>
                      <a:pt x="135" y="21"/>
                    </a:lnTo>
                    <a:lnTo>
                      <a:pt x="133" y="19"/>
                    </a:lnTo>
                    <a:lnTo>
                      <a:pt x="131" y="18"/>
                    </a:lnTo>
                    <a:lnTo>
                      <a:pt x="129" y="18"/>
                    </a:lnTo>
                    <a:lnTo>
                      <a:pt x="129" y="16"/>
                    </a:lnTo>
                    <a:lnTo>
                      <a:pt x="128" y="14"/>
                    </a:lnTo>
                    <a:lnTo>
                      <a:pt x="126" y="14"/>
                    </a:lnTo>
                    <a:lnTo>
                      <a:pt x="122" y="14"/>
                    </a:lnTo>
                    <a:lnTo>
                      <a:pt x="121" y="13"/>
                    </a:lnTo>
                    <a:lnTo>
                      <a:pt x="117" y="9"/>
                    </a:lnTo>
                    <a:lnTo>
                      <a:pt x="115" y="7"/>
                    </a:lnTo>
                    <a:lnTo>
                      <a:pt x="115" y="6"/>
                    </a:lnTo>
                    <a:lnTo>
                      <a:pt x="114" y="6"/>
                    </a:lnTo>
                    <a:lnTo>
                      <a:pt x="110" y="0"/>
                    </a:lnTo>
                    <a:lnTo>
                      <a:pt x="109" y="0"/>
                    </a:lnTo>
                    <a:lnTo>
                      <a:pt x="109" y="2"/>
                    </a:lnTo>
                    <a:lnTo>
                      <a:pt x="107" y="2"/>
                    </a:lnTo>
                    <a:lnTo>
                      <a:pt x="107" y="4"/>
                    </a:lnTo>
                    <a:lnTo>
                      <a:pt x="105" y="4"/>
                    </a:lnTo>
                    <a:lnTo>
                      <a:pt x="105" y="2"/>
                    </a:lnTo>
                    <a:lnTo>
                      <a:pt x="103" y="2"/>
                    </a:lnTo>
                    <a:lnTo>
                      <a:pt x="103" y="0"/>
                    </a:lnTo>
                    <a:lnTo>
                      <a:pt x="102" y="0"/>
                    </a:lnTo>
                    <a:lnTo>
                      <a:pt x="102" y="2"/>
                    </a:lnTo>
                    <a:lnTo>
                      <a:pt x="100" y="2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98" y="2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5" y="4"/>
                    </a:lnTo>
                    <a:lnTo>
                      <a:pt x="95" y="6"/>
                    </a:lnTo>
                    <a:lnTo>
                      <a:pt x="93" y="6"/>
                    </a:lnTo>
                    <a:lnTo>
                      <a:pt x="91" y="6"/>
                    </a:lnTo>
                    <a:lnTo>
                      <a:pt x="89" y="6"/>
                    </a:lnTo>
                    <a:lnTo>
                      <a:pt x="89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89" y="7"/>
                    </a:lnTo>
                    <a:lnTo>
                      <a:pt x="89" y="6"/>
                    </a:lnTo>
                    <a:lnTo>
                      <a:pt x="89" y="7"/>
                    </a:lnTo>
                    <a:lnTo>
                      <a:pt x="89" y="9"/>
                    </a:lnTo>
                    <a:lnTo>
                      <a:pt x="89" y="7"/>
                    </a:lnTo>
                    <a:lnTo>
                      <a:pt x="88" y="7"/>
                    </a:lnTo>
                    <a:lnTo>
                      <a:pt x="88" y="9"/>
                    </a:lnTo>
                    <a:lnTo>
                      <a:pt x="88" y="7"/>
                    </a:lnTo>
                    <a:lnTo>
                      <a:pt x="88" y="9"/>
                    </a:lnTo>
                    <a:lnTo>
                      <a:pt x="88" y="7"/>
                    </a:lnTo>
                    <a:lnTo>
                      <a:pt x="88" y="9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4" y="7"/>
                    </a:lnTo>
                    <a:lnTo>
                      <a:pt x="82" y="7"/>
                    </a:lnTo>
                    <a:lnTo>
                      <a:pt x="84" y="7"/>
                    </a:lnTo>
                    <a:lnTo>
                      <a:pt x="82" y="7"/>
                    </a:lnTo>
                    <a:lnTo>
                      <a:pt x="81" y="7"/>
                    </a:lnTo>
                    <a:lnTo>
                      <a:pt x="81" y="9"/>
                    </a:lnTo>
                    <a:lnTo>
                      <a:pt x="81" y="7"/>
                    </a:lnTo>
                    <a:lnTo>
                      <a:pt x="79" y="7"/>
                    </a:lnTo>
                    <a:lnTo>
                      <a:pt x="79" y="9"/>
                    </a:lnTo>
                    <a:lnTo>
                      <a:pt x="79" y="7"/>
                    </a:lnTo>
                    <a:lnTo>
                      <a:pt x="77" y="7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9"/>
                    </a:lnTo>
                    <a:lnTo>
                      <a:pt x="77" y="11"/>
                    </a:lnTo>
                    <a:lnTo>
                      <a:pt x="75" y="11"/>
                    </a:lnTo>
                    <a:lnTo>
                      <a:pt x="75" y="13"/>
                    </a:lnTo>
                    <a:lnTo>
                      <a:pt x="74" y="13"/>
                    </a:lnTo>
                    <a:lnTo>
                      <a:pt x="74" y="14"/>
                    </a:lnTo>
                    <a:lnTo>
                      <a:pt x="74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8"/>
                    </a:lnTo>
                    <a:lnTo>
                      <a:pt x="70" y="16"/>
                    </a:lnTo>
                    <a:lnTo>
                      <a:pt x="70" y="18"/>
                    </a:lnTo>
                    <a:lnTo>
                      <a:pt x="68" y="18"/>
                    </a:lnTo>
                    <a:lnTo>
                      <a:pt x="68" y="19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8" y="25"/>
                    </a:lnTo>
                    <a:lnTo>
                      <a:pt x="70" y="25"/>
                    </a:lnTo>
                    <a:lnTo>
                      <a:pt x="72" y="25"/>
                    </a:lnTo>
                    <a:lnTo>
                      <a:pt x="74" y="25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9" y="26"/>
                    </a:lnTo>
                    <a:lnTo>
                      <a:pt x="77" y="26"/>
                    </a:lnTo>
                    <a:lnTo>
                      <a:pt x="79" y="26"/>
                    </a:lnTo>
                    <a:lnTo>
                      <a:pt x="79" y="28"/>
                    </a:lnTo>
                    <a:lnTo>
                      <a:pt x="81" y="28"/>
                    </a:lnTo>
                    <a:lnTo>
                      <a:pt x="81" y="30"/>
                    </a:lnTo>
                    <a:lnTo>
                      <a:pt x="82" y="30"/>
                    </a:lnTo>
                    <a:lnTo>
                      <a:pt x="84" y="30"/>
                    </a:lnTo>
                    <a:lnTo>
                      <a:pt x="84" y="32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8" y="32"/>
                    </a:lnTo>
                    <a:lnTo>
                      <a:pt x="88" y="33"/>
                    </a:lnTo>
                    <a:lnTo>
                      <a:pt x="88" y="35"/>
                    </a:lnTo>
                    <a:lnTo>
                      <a:pt x="86" y="35"/>
                    </a:lnTo>
                    <a:lnTo>
                      <a:pt x="88" y="35"/>
                    </a:lnTo>
                    <a:lnTo>
                      <a:pt x="88" y="37"/>
                    </a:lnTo>
                    <a:lnTo>
                      <a:pt x="89" y="37"/>
                    </a:lnTo>
                    <a:lnTo>
                      <a:pt x="91" y="37"/>
                    </a:lnTo>
                    <a:lnTo>
                      <a:pt x="91" y="39"/>
                    </a:lnTo>
                    <a:lnTo>
                      <a:pt x="93" y="39"/>
                    </a:lnTo>
                    <a:lnTo>
                      <a:pt x="93" y="40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4" y="49"/>
                    </a:lnTo>
                    <a:lnTo>
                      <a:pt x="82" y="47"/>
                    </a:lnTo>
                    <a:lnTo>
                      <a:pt x="82" y="53"/>
                    </a:lnTo>
                    <a:lnTo>
                      <a:pt x="82" y="54"/>
                    </a:lnTo>
                    <a:lnTo>
                      <a:pt x="84" y="56"/>
                    </a:lnTo>
                    <a:lnTo>
                      <a:pt x="84" y="58"/>
                    </a:lnTo>
                    <a:lnTo>
                      <a:pt x="84" y="60"/>
                    </a:lnTo>
                    <a:lnTo>
                      <a:pt x="84" y="61"/>
                    </a:lnTo>
                    <a:lnTo>
                      <a:pt x="86" y="61"/>
                    </a:lnTo>
                    <a:lnTo>
                      <a:pt x="86" y="63"/>
                    </a:lnTo>
                    <a:lnTo>
                      <a:pt x="84" y="63"/>
                    </a:lnTo>
                    <a:lnTo>
                      <a:pt x="86" y="65"/>
                    </a:lnTo>
                    <a:lnTo>
                      <a:pt x="84" y="67"/>
                    </a:lnTo>
                    <a:lnTo>
                      <a:pt x="86" y="67"/>
                    </a:lnTo>
                    <a:lnTo>
                      <a:pt x="86" y="68"/>
                    </a:lnTo>
                    <a:lnTo>
                      <a:pt x="86" y="70"/>
                    </a:lnTo>
                    <a:lnTo>
                      <a:pt x="84" y="72"/>
                    </a:lnTo>
                    <a:lnTo>
                      <a:pt x="86" y="72"/>
                    </a:lnTo>
                    <a:lnTo>
                      <a:pt x="86" y="73"/>
                    </a:lnTo>
                    <a:lnTo>
                      <a:pt x="86" y="75"/>
                    </a:lnTo>
                    <a:lnTo>
                      <a:pt x="86" y="77"/>
                    </a:lnTo>
                    <a:lnTo>
                      <a:pt x="88" y="77"/>
                    </a:lnTo>
                    <a:lnTo>
                      <a:pt x="89" y="79"/>
                    </a:lnTo>
                    <a:lnTo>
                      <a:pt x="91" y="79"/>
                    </a:lnTo>
                    <a:lnTo>
                      <a:pt x="93" y="80"/>
                    </a:lnTo>
                    <a:lnTo>
                      <a:pt x="95" y="80"/>
                    </a:lnTo>
                    <a:lnTo>
                      <a:pt x="96" y="82"/>
                    </a:lnTo>
                    <a:lnTo>
                      <a:pt x="98" y="82"/>
                    </a:lnTo>
                    <a:lnTo>
                      <a:pt x="100" y="84"/>
                    </a:lnTo>
                    <a:lnTo>
                      <a:pt x="102" y="84"/>
                    </a:lnTo>
                    <a:lnTo>
                      <a:pt x="102" y="82"/>
                    </a:lnTo>
                    <a:lnTo>
                      <a:pt x="103" y="82"/>
                    </a:lnTo>
                    <a:lnTo>
                      <a:pt x="102" y="82"/>
                    </a:lnTo>
                    <a:lnTo>
                      <a:pt x="102" y="84"/>
                    </a:lnTo>
                    <a:lnTo>
                      <a:pt x="102" y="86"/>
                    </a:lnTo>
                    <a:lnTo>
                      <a:pt x="102" y="87"/>
                    </a:lnTo>
                    <a:lnTo>
                      <a:pt x="103" y="89"/>
                    </a:lnTo>
                    <a:lnTo>
                      <a:pt x="105" y="89"/>
                    </a:lnTo>
                    <a:lnTo>
                      <a:pt x="107" y="89"/>
                    </a:lnTo>
                    <a:lnTo>
                      <a:pt x="109" y="87"/>
                    </a:lnTo>
                    <a:lnTo>
                      <a:pt x="109" y="89"/>
                    </a:lnTo>
                    <a:lnTo>
                      <a:pt x="110" y="89"/>
                    </a:lnTo>
                    <a:lnTo>
                      <a:pt x="112" y="91"/>
                    </a:lnTo>
                    <a:lnTo>
                      <a:pt x="112" y="93"/>
                    </a:lnTo>
                    <a:lnTo>
                      <a:pt x="114" y="93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4"/>
                    </a:lnTo>
                    <a:lnTo>
                      <a:pt x="110" y="96"/>
                    </a:lnTo>
                    <a:lnTo>
                      <a:pt x="110" y="94"/>
                    </a:lnTo>
                    <a:lnTo>
                      <a:pt x="110" y="96"/>
                    </a:lnTo>
                    <a:lnTo>
                      <a:pt x="109" y="96"/>
                    </a:lnTo>
                    <a:lnTo>
                      <a:pt x="107" y="96"/>
                    </a:lnTo>
                    <a:lnTo>
                      <a:pt x="105" y="96"/>
                    </a:lnTo>
                    <a:lnTo>
                      <a:pt x="105" y="98"/>
                    </a:lnTo>
                    <a:lnTo>
                      <a:pt x="103" y="98"/>
                    </a:lnTo>
                    <a:lnTo>
                      <a:pt x="102" y="98"/>
                    </a:lnTo>
                    <a:lnTo>
                      <a:pt x="102" y="100"/>
                    </a:lnTo>
                    <a:lnTo>
                      <a:pt x="100" y="100"/>
                    </a:lnTo>
                    <a:lnTo>
                      <a:pt x="100" y="101"/>
                    </a:lnTo>
                    <a:lnTo>
                      <a:pt x="100" y="103"/>
                    </a:lnTo>
                    <a:lnTo>
                      <a:pt x="100" y="105"/>
                    </a:lnTo>
                    <a:lnTo>
                      <a:pt x="102" y="105"/>
                    </a:lnTo>
                    <a:lnTo>
                      <a:pt x="102" y="107"/>
                    </a:lnTo>
                    <a:lnTo>
                      <a:pt x="100" y="107"/>
                    </a:lnTo>
                    <a:lnTo>
                      <a:pt x="102" y="107"/>
                    </a:lnTo>
                    <a:lnTo>
                      <a:pt x="100" y="107"/>
                    </a:lnTo>
                    <a:lnTo>
                      <a:pt x="102" y="107"/>
                    </a:lnTo>
                    <a:lnTo>
                      <a:pt x="102" y="108"/>
                    </a:lnTo>
                    <a:lnTo>
                      <a:pt x="100" y="108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100" y="114"/>
                    </a:lnTo>
                    <a:lnTo>
                      <a:pt x="102" y="114"/>
                    </a:lnTo>
                    <a:lnTo>
                      <a:pt x="100" y="114"/>
                    </a:lnTo>
                    <a:lnTo>
                      <a:pt x="102" y="114"/>
                    </a:lnTo>
                    <a:lnTo>
                      <a:pt x="103" y="114"/>
                    </a:lnTo>
                    <a:lnTo>
                      <a:pt x="102" y="114"/>
                    </a:lnTo>
                    <a:lnTo>
                      <a:pt x="102" y="115"/>
                    </a:lnTo>
                    <a:lnTo>
                      <a:pt x="100" y="115"/>
                    </a:lnTo>
                    <a:lnTo>
                      <a:pt x="100" y="117"/>
                    </a:lnTo>
                    <a:lnTo>
                      <a:pt x="98" y="117"/>
                    </a:lnTo>
                    <a:lnTo>
                      <a:pt x="98" y="119"/>
                    </a:lnTo>
                    <a:lnTo>
                      <a:pt x="96" y="119"/>
                    </a:lnTo>
                    <a:lnTo>
                      <a:pt x="96" y="121"/>
                    </a:lnTo>
                    <a:lnTo>
                      <a:pt x="95" y="121"/>
                    </a:lnTo>
                    <a:lnTo>
                      <a:pt x="95" y="122"/>
                    </a:lnTo>
                    <a:lnTo>
                      <a:pt x="93" y="122"/>
                    </a:lnTo>
                    <a:lnTo>
                      <a:pt x="93" y="124"/>
                    </a:lnTo>
                    <a:lnTo>
                      <a:pt x="91" y="124"/>
                    </a:lnTo>
                    <a:lnTo>
                      <a:pt x="91" y="126"/>
                    </a:lnTo>
                    <a:lnTo>
                      <a:pt x="91" y="124"/>
                    </a:lnTo>
                    <a:lnTo>
                      <a:pt x="91" y="126"/>
                    </a:lnTo>
                    <a:lnTo>
                      <a:pt x="89" y="128"/>
                    </a:lnTo>
                    <a:lnTo>
                      <a:pt x="91" y="128"/>
                    </a:lnTo>
                    <a:lnTo>
                      <a:pt x="91" y="129"/>
                    </a:lnTo>
                    <a:lnTo>
                      <a:pt x="91" y="131"/>
                    </a:lnTo>
                    <a:lnTo>
                      <a:pt x="89" y="131"/>
                    </a:lnTo>
                    <a:lnTo>
                      <a:pt x="89" y="133"/>
                    </a:lnTo>
                    <a:lnTo>
                      <a:pt x="88" y="133"/>
                    </a:lnTo>
                    <a:lnTo>
                      <a:pt x="86" y="133"/>
                    </a:lnTo>
                    <a:lnTo>
                      <a:pt x="84" y="133"/>
                    </a:lnTo>
                    <a:lnTo>
                      <a:pt x="84" y="134"/>
                    </a:lnTo>
                    <a:lnTo>
                      <a:pt x="82" y="134"/>
                    </a:lnTo>
                    <a:lnTo>
                      <a:pt x="82" y="136"/>
                    </a:lnTo>
                    <a:lnTo>
                      <a:pt x="81" y="136"/>
                    </a:lnTo>
                    <a:lnTo>
                      <a:pt x="81" y="138"/>
                    </a:lnTo>
                    <a:lnTo>
                      <a:pt x="81" y="140"/>
                    </a:lnTo>
                    <a:lnTo>
                      <a:pt x="81" y="141"/>
                    </a:lnTo>
                    <a:lnTo>
                      <a:pt x="81" y="143"/>
                    </a:lnTo>
                    <a:lnTo>
                      <a:pt x="79" y="143"/>
                    </a:lnTo>
                    <a:lnTo>
                      <a:pt x="79" y="145"/>
                    </a:lnTo>
                    <a:lnTo>
                      <a:pt x="77" y="147"/>
                    </a:lnTo>
                    <a:lnTo>
                      <a:pt x="77" y="148"/>
                    </a:lnTo>
                    <a:lnTo>
                      <a:pt x="75" y="148"/>
                    </a:lnTo>
                    <a:lnTo>
                      <a:pt x="75" y="150"/>
                    </a:lnTo>
                    <a:lnTo>
                      <a:pt x="75" y="152"/>
                    </a:lnTo>
                    <a:lnTo>
                      <a:pt x="74" y="152"/>
                    </a:lnTo>
                    <a:lnTo>
                      <a:pt x="72" y="152"/>
                    </a:lnTo>
                    <a:lnTo>
                      <a:pt x="72" y="154"/>
                    </a:lnTo>
                    <a:lnTo>
                      <a:pt x="70" y="154"/>
                    </a:lnTo>
                    <a:lnTo>
                      <a:pt x="68" y="154"/>
                    </a:lnTo>
                    <a:lnTo>
                      <a:pt x="68" y="155"/>
                    </a:lnTo>
                    <a:lnTo>
                      <a:pt x="67" y="155"/>
                    </a:lnTo>
                    <a:lnTo>
                      <a:pt x="67" y="157"/>
                    </a:lnTo>
                    <a:lnTo>
                      <a:pt x="65" y="157"/>
                    </a:lnTo>
                    <a:lnTo>
                      <a:pt x="65" y="159"/>
                    </a:lnTo>
                    <a:lnTo>
                      <a:pt x="65" y="161"/>
                    </a:lnTo>
                    <a:lnTo>
                      <a:pt x="63" y="161"/>
                    </a:lnTo>
                    <a:lnTo>
                      <a:pt x="63" y="162"/>
                    </a:lnTo>
                    <a:lnTo>
                      <a:pt x="63" y="164"/>
                    </a:lnTo>
                    <a:lnTo>
                      <a:pt x="61" y="164"/>
                    </a:lnTo>
                    <a:lnTo>
                      <a:pt x="61" y="166"/>
                    </a:lnTo>
                    <a:lnTo>
                      <a:pt x="60" y="166"/>
                    </a:lnTo>
                    <a:lnTo>
                      <a:pt x="60" y="168"/>
                    </a:lnTo>
                    <a:lnTo>
                      <a:pt x="60" y="169"/>
                    </a:lnTo>
                    <a:lnTo>
                      <a:pt x="58" y="169"/>
                    </a:lnTo>
                    <a:lnTo>
                      <a:pt x="58" y="171"/>
                    </a:lnTo>
                    <a:lnTo>
                      <a:pt x="56" y="171"/>
                    </a:lnTo>
                    <a:lnTo>
                      <a:pt x="54" y="171"/>
                    </a:lnTo>
                    <a:lnTo>
                      <a:pt x="53" y="171"/>
                    </a:lnTo>
                    <a:lnTo>
                      <a:pt x="51" y="171"/>
                    </a:lnTo>
                    <a:lnTo>
                      <a:pt x="49" y="171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6" y="173"/>
                    </a:lnTo>
                    <a:lnTo>
                      <a:pt x="44" y="173"/>
                    </a:lnTo>
                    <a:lnTo>
                      <a:pt x="44" y="175"/>
                    </a:lnTo>
                    <a:lnTo>
                      <a:pt x="42" y="175"/>
                    </a:lnTo>
                    <a:lnTo>
                      <a:pt x="41" y="175"/>
                    </a:lnTo>
                    <a:lnTo>
                      <a:pt x="41" y="173"/>
                    </a:lnTo>
                    <a:lnTo>
                      <a:pt x="39" y="173"/>
                    </a:lnTo>
                    <a:lnTo>
                      <a:pt x="39" y="171"/>
                    </a:lnTo>
                    <a:lnTo>
                      <a:pt x="39" y="169"/>
                    </a:lnTo>
                    <a:lnTo>
                      <a:pt x="37" y="169"/>
                    </a:lnTo>
                    <a:lnTo>
                      <a:pt x="35" y="169"/>
                    </a:lnTo>
                    <a:lnTo>
                      <a:pt x="34" y="169"/>
                    </a:lnTo>
                    <a:lnTo>
                      <a:pt x="34" y="171"/>
                    </a:lnTo>
                    <a:lnTo>
                      <a:pt x="32" y="171"/>
                    </a:lnTo>
                    <a:lnTo>
                      <a:pt x="32" y="173"/>
                    </a:lnTo>
                    <a:lnTo>
                      <a:pt x="30" y="173"/>
                    </a:lnTo>
                    <a:lnTo>
                      <a:pt x="30" y="175"/>
                    </a:lnTo>
                    <a:lnTo>
                      <a:pt x="30" y="176"/>
                    </a:lnTo>
                    <a:lnTo>
                      <a:pt x="28" y="178"/>
                    </a:lnTo>
                    <a:lnTo>
                      <a:pt x="28" y="180"/>
                    </a:lnTo>
                    <a:lnTo>
                      <a:pt x="27" y="180"/>
                    </a:lnTo>
                    <a:lnTo>
                      <a:pt x="27" y="182"/>
                    </a:lnTo>
                    <a:lnTo>
                      <a:pt x="25" y="182"/>
                    </a:lnTo>
                    <a:lnTo>
                      <a:pt x="23" y="182"/>
                    </a:lnTo>
                    <a:lnTo>
                      <a:pt x="23" y="183"/>
                    </a:lnTo>
                    <a:lnTo>
                      <a:pt x="23" y="185"/>
                    </a:lnTo>
                    <a:lnTo>
                      <a:pt x="21" y="185"/>
                    </a:lnTo>
                    <a:lnTo>
                      <a:pt x="21" y="187"/>
                    </a:lnTo>
                    <a:lnTo>
                      <a:pt x="21" y="189"/>
                    </a:lnTo>
                    <a:lnTo>
                      <a:pt x="21" y="190"/>
                    </a:lnTo>
                    <a:lnTo>
                      <a:pt x="21" y="192"/>
                    </a:lnTo>
                    <a:lnTo>
                      <a:pt x="23" y="192"/>
                    </a:lnTo>
                    <a:lnTo>
                      <a:pt x="25" y="192"/>
                    </a:lnTo>
                    <a:lnTo>
                      <a:pt x="25" y="194"/>
                    </a:lnTo>
                    <a:lnTo>
                      <a:pt x="27" y="194"/>
                    </a:lnTo>
                    <a:lnTo>
                      <a:pt x="28" y="194"/>
                    </a:lnTo>
                    <a:lnTo>
                      <a:pt x="30" y="194"/>
                    </a:lnTo>
                    <a:lnTo>
                      <a:pt x="32" y="194"/>
                    </a:lnTo>
                    <a:lnTo>
                      <a:pt x="32" y="195"/>
                    </a:lnTo>
                    <a:lnTo>
                      <a:pt x="32" y="197"/>
                    </a:lnTo>
                    <a:lnTo>
                      <a:pt x="32" y="199"/>
                    </a:lnTo>
                    <a:lnTo>
                      <a:pt x="32" y="201"/>
                    </a:lnTo>
                    <a:lnTo>
                      <a:pt x="32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6"/>
                    </a:lnTo>
                    <a:lnTo>
                      <a:pt x="32" y="206"/>
                    </a:lnTo>
                    <a:lnTo>
                      <a:pt x="32" y="208"/>
                    </a:lnTo>
                    <a:lnTo>
                      <a:pt x="34" y="208"/>
                    </a:lnTo>
                    <a:lnTo>
                      <a:pt x="34" y="209"/>
                    </a:lnTo>
                    <a:lnTo>
                      <a:pt x="35" y="209"/>
                    </a:lnTo>
                    <a:lnTo>
                      <a:pt x="37" y="209"/>
                    </a:lnTo>
                    <a:lnTo>
                      <a:pt x="39" y="209"/>
                    </a:lnTo>
                    <a:lnTo>
                      <a:pt x="39" y="211"/>
                    </a:lnTo>
                    <a:lnTo>
                      <a:pt x="39" y="213"/>
                    </a:lnTo>
                    <a:lnTo>
                      <a:pt x="39" y="215"/>
                    </a:lnTo>
                    <a:lnTo>
                      <a:pt x="41" y="215"/>
                    </a:lnTo>
                    <a:lnTo>
                      <a:pt x="41" y="216"/>
                    </a:lnTo>
                    <a:lnTo>
                      <a:pt x="41" y="218"/>
                    </a:lnTo>
                    <a:lnTo>
                      <a:pt x="42" y="218"/>
                    </a:lnTo>
                    <a:lnTo>
                      <a:pt x="42" y="220"/>
                    </a:lnTo>
                    <a:lnTo>
                      <a:pt x="44" y="220"/>
                    </a:lnTo>
                    <a:lnTo>
                      <a:pt x="44" y="222"/>
                    </a:lnTo>
                    <a:lnTo>
                      <a:pt x="44" y="223"/>
                    </a:lnTo>
                    <a:lnTo>
                      <a:pt x="44" y="225"/>
                    </a:lnTo>
                    <a:lnTo>
                      <a:pt x="46" y="225"/>
                    </a:lnTo>
                    <a:lnTo>
                      <a:pt x="46" y="227"/>
                    </a:lnTo>
                    <a:lnTo>
                      <a:pt x="46" y="229"/>
                    </a:lnTo>
                    <a:lnTo>
                      <a:pt x="44" y="229"/>
                    </a:lnTo>
                    <a:lnTo>
                      <a:pt x="44" y="230"/>
                    </a:lnTo>
                    <a:lnTo>
                      <a:pt x="46" y="232"/>
                    </a:lnTo>
                    <a:lnTo>
                      <a:pt x="48" y="232"/>
                    </a:lnTo>
                    <a:lnTo>
                      <a:pt x="46" y="232"/>
                    </a:lnTo>
                    <a:lnTo>
                      <a:pt x="44" y="232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2" y="236"/>
                    </a:lnTo>
                    <a:lnTo>
                      <a:pt x="41" y="236"/>
                    </a:lnTo>
                    <a:lnTo>
                      <a:pt x="39" y="236"/>
                    </a:lnTo>
                    <a:lnTo>
                      <a:pt x="39" y="234"/>
                    </a:lnTo>
                    <a:lnTo>
                      <a:pt x="37" y="234"/>
                    </a:lnTo>
                    <a:lnTo>
                      <a:pt x="37" y="232"/>
                    </a:lnTo>
                    <a:lnTo>
                      <a:pt x="39" y="232"/>
                    </a:lnTo>
                    <a:lnTo>
                      <a:pt x="37" y="232"/>
                    </a:lnTo>
                    <a:lnTo>
                      <a:pt x="35" y="232"/>
                    </a:lnTo>
                    <a:lnTo>
                      <a:pt x="34" y="232"/>
                    </a:lnTo>
                    <a:lnTo>
                      <a:pt x="34" y="234"/>
                    </a:lnTo>
                    <a:lnTo>
                      <a:pt x="32" y="234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28" y="236"/>
                    </a:lnTo>
                    <a:lnTo>
                      <a:pt x="27" y="236"/>
                    </a:lnTo>
                    <a:lnTo>
                      <a:pt x="25" y="236"/>
                    </a:lnTo>
                    <a:lnTo>
                      <a:pt x="23" y="236"/>
                    </a:lnTo>
                    <a:lnTo>
                      <a:pt x="23" y="234"/>
                    </a:lnTo>
                    <a:lnTo>
                      <a:pt x="21" y="234"/>
                    </a:lnTo>
                    <a:lnTo>
                      <a:pt x="20" y="234"/>
                    </a:lnTo>
                    <a:lnTo>
                      <a:pt x="18" y="234"/>
                    </a:lnTo>
                    <a:lnTo>
                      <a:pt x="16" y="234"/>
                    </a:lnTo>
                    <a:lnTo>
                      <a:pt x="16" y="236"/>
                    </a:lnTo>
                    <a:lnTo>
                      <a:pt x="16" y="234"/>
                    </a:lnTo>
                    <a:lnTo>
                      <a:pt x="14" y="234"/>
                    </a:lnTo>
                    <a:lnTo>
                      <a:pt x="14" y="236"/>
                    </a:lnTo>
                    <a:lnTo>
                      <a:pt x="13" y="236"/>
                    </a:lnTo>
                    <a:lnTo>
                      <a:pt x="13" y="234"/>
                    </a:lnTo>
                    <a:lnTo>
                      <a:pt x="11" y="234"/>
                    </a:lnTo>
                    <a:lnTo>
                      <a:pt x="11" y="236"/>
                    </a:lnTo>
                    <a:lnTo>
                      <a:pt x="11" y="234"/>
                    </a:lnTo>
                    <a:lnTo>
                      <a:pt x="9" y="234"/>
                    </a:lnTo>
                    <a:lnTo>
                      <a:pt x="9" y="236"/>
                    </a:lnTo>
                    <a:lnTo>
                      <a:pt x="9" y="237"/>
                    </a:lnTo>
                    <a:lnTo>
                      <a:pt x="9" y="239"/>
                    </a:lnTo>
                    <a:lnTo>
                      <a:pt x="7" y="239"/>
                    </a:lnTo>
                    <a:lnTo>
                      <a:pt x="6" y="239"/>
                    </a:lnTo>
                    <a:lnTo>
                      <a:pt x="4" y="239"/>
                    </a:lnTo>
                    <a:lnTo>
                      <a:pt x="2" y="239"/>
                    </a:lnTo>
                    <a:lnTo>
                      <a:pt x="2" y="241"/>
                    </a:lnTo>
                    <a:lnTo>
                      <a:pt x="2" y="239"/>
                    </a:lnTo>
                    <a:lnTo>
                      <a:pt x="2" y="241"/>
                    </a:lnTo>
                    <a:lnTo>
                      <a:pt x="0" y="241"/>
                    </a:lnTo>
                    <a:lnTo>
                      <a:pt x="0" y="243"/>
                    </a:lnTo>
                    <a:lnTo>
                      <a:pt x="0" y="244"/>
                    </a:lnTo>
                    <a:lnTo>
                      <a:pt x="2" y="244"/>
                    </a:lnTo>
                    <a:lnTo>
                      <a:pt x="0" y="244"/>
                    </a:lnTo>
                    <a:lnTo>
                      <a:pt x="2" y="244"/>
                    </a:lnTo>
                    <a:lnTo>
                      <a:pt x="2" y="243"/>
                    </a:lnTo>
                    <a:lnTo>
                      <a:pt x="2" y="244"/>
                    </a:lnTo>
                    <a:lnTo>
                      <a:pt x="0" y="244"/>
                    </a:lnTo>
                    <a:lnTo>
                      <a:pt x="0" y="246"/>
                    </a:lnTo>
                    <a:lnTo>
                      <a:pt x="2" y="246"/>
                    </a:lnTo>
                    <a:lnTo>
                      <a:pt x="4" y="246"/>
                    </a:lnTo>
                    <a:lnTo>
                      <a:pt x="4" y="244"/>
                    </a:lnTo>
                    <a:lnTo>
                      <a:pt x="4" y="243"/>
                    </a:lnTo>
                    <a:lnTo>
                      <a:pt x="6" y="243"/>
                    </a:lnTo>
                    <a:lnTo>
                      <a:pt x="4" y="243"/>
                    </a:lnTo>
                    <a:lnTo>
                      <a:pt x="6" y="244"/>
                    </a:lnTo>
                    <a:lnTo>
                      <a:pt x="6" y="243"/>
                    </a:lnTo>
                    <a:lnTo>
                      <a:pt x="7" y="243"/>
                    </a:lnTo>
                    <a:lnTo>
                      <a:pt x="7" y="241"/>
                    </a:lnTo>
                    <a:lnTo>
                      <a:pt x="9" y="241"/>
                    </a:lnTo>
                    <a:lnTo>
                      <a:pt x="11" y="241"/>
                    </a:lnTo>
                    <a:lnTo>
                      <a:pt x="9" y="241"/>
                    </a:lnTo>
                    <a:lnTo>
                      <a:pt x="9" y="243"/>
                    </a:lnTo>
                    <a:lnTo>
                      <a:pt x="7" y="243"/>
                    </a:lnTo>
                    <a:lnTo>
                      <a:pt x="7" y="244"/>
                    </a:lnTo>
                    <a:lnTo>
                      <a:pt x="6" y="244"/>
                    </a:lnTo>
                    <a:lnTo>
                      <a:pt x="6" y="246"/>
                    </a:lnTo>
                    <a:lnTo>
                      <a:pt x="4" y="246"/>
                    </a:lnTo>
                    <a:lnTo>
                      <a:pt x="4" y="248"/>
                    </a:lnTo>
                    <a:lnTo>
                      <a:pt x="4" y="246"/>
                    </a:lnTo>
                    <a:lnTo>
                      <a:pt x="6" y="246"/>
                    </a:lnTo>
                    <a:lnTo>
                      <a:pt x="6" y="248"/>
                    </a:lnTo>
                    <a:lnTo>
                      <a:pt x="6" y="246"/>
                    </a:lnTo>
                    <a:lnTo>
                      <a:pt x="6" y="248"/>
                    </a:lnTo>
                    <a:lnTo>
                      <a:pt x="4" y="248"/>
                    </a:lnTo>
                    <a:lnTo>
                      <a:pt x="4" y="250"/>
                    </a:lnTo>
                    <a:lnTo>
                      <a:pt x="4" y="248"/>
                    </a:lnTo>
                    <a:lnTo>
                      <a:pt x="4" y="250"/>
                    </a:lnTo>
                    <a:lnTo>
                      <a:pt x="4" y="248"/>
                    </a:lnTo>
                    <a:lnTo>
                      <a:pt x="6" y="248"/>
                    </a:lnTo>
                    <a:lnTo>
                      <a:pt x="6" y="250"/>
                    </a:lnTo>
                    <a:lnTo>
                      <a:pt x="6" y="248"/>
                    </a:lnTo>
                    <a:lnTo>
                      <a:pt x="6" y="250"/>
                    </a:lnTo>
                    <a:lnTo>
                      <a:pt x="6" y="248"/>
                    </a:lnTo>
                    <a:lnTo>
                      <a:pt x="6" y="250"/>
                    </a:lnTo>
                    <a:lnTo>
                      <a:pt x="6" y="251"/>
                    </a:lnTo>
                    <a:lnTo>
                      <a:pt x="7" y="251"/>
                    </a:lnTo>
                    <a:lnTo>
                      <a:pt x="6" y="251"/>
                    </a:lnTo>
                    <a:lnTo>
                      <a:pt x="7" y="251"/>
                    </a:lnTo>
                    <a:lnTo>
                      <a:pt x="9" y="251"/>
                    </a:lnTo>
                    <a:lnTo>
                      <a:pt x="7" y="251"/>
                    </a:lnTo>
                    <a:lnTo>
                      <a:pt x="7" y="253"/>
                    </a:lnTo>
                    <a:lnTo>
                      <a:pt x="9" y="253"/>
                    </a:lnTo>
                    <a:lnTo>
                      <a:pt x="9" y="255"/>
                    </a:lnTo>
                    <a:lnTo>
                      <a:pt x="11" y="255"/>
                    </a:lnTo>
                    <a:lnTo>
                      <a:pt x="11" y="256"/>
                    </a:lnTo>
                    <a:lnTo>
                      <a:pt x="13" y="256"/>
                    </a:lnTo>
                    <a:lnTo>
                      <a:pt x="14" y="256"/>
                    </a:lnTo>
                    <a:lnTo>
                      <a:pt x="14" y="258"/>
                    </a:lnTo>
                    <a:lnTo>
                      <a:pt x="16" y="258"/>
                    </a:lnTo>
                    <a:lnTo>
                      <a:pt x="18" y="258"/>
                    </a:lnTo>
                    <a:lnTo>
                      <a:pt x="20" y="258"/>
                    </a:lnTo>
                    <a:lnTo>
                      <a:pt x="20" y="260"/>
                    </a:lnTo>
                    <a:lnTo>
                      <a:pt x="21" y="260"/>
                    </a:lnTo>
                    <a:lnTo>
                      <a:pt x="23" y="260"/>
                    </a:lnTo>
                    <a:lnTo>
                      <a:pt x="21" y="260"/>
                    </a:lnTo>
                    <a:lnTo>
                      <a:pt x="23" y="260"/>
                    </a:lnTo>
                    <a:lnTo>
                      <a:pt x="25" y="260"/>
                    </a:lnTo>
                    <a:lnTo>
                      <a:pt x="23" y="260"/>
                    </a:lnTo>
                    <a:lnTo>
                      <a:pt x="25" y="260"/>
                    </a:lnTo>
                    <a:lnTo>
                      <a:pt x="25" y="258"/>
                    </a:lnTo>
                    <a:lnTo>
                      <a:pt x="27" y="258"/>
                    </a:lnTo>
                    <a:lnTo>
                      <a:pt x="28" y="258"/>
                    </a:lnTo>
                    <a:lnTo>
                      <a:pt x="30" y="258"/>
                    </a:lnTo>
                    <a:lnTo>
                      <a:pt x="30" y="256"/>
                    </a:lnTo>
                    <a:lnTo>
                      <a:pt x="32" y="256"/>
                    </a:lnTo>
                    <a:lnTo>
                      <a:pt x="34" y="256"/>
                    </a:lnTo>
                    <a:lnTo>
                      <a:pt x="35" y="256"/>
                    </a:lnTo>
                    <a:lnTo>
                      <a:pt x="35" y="255"/>
                    </a:lnTo>
                    <a:lnTo>
                      <a:pt x="35" y="256"/>
                    </a:lnTo>
                    <a:lnTo>
                      <a:pt x="35" y="255"/>
                    </a:lnTo>
                    <a:lnTo>
                      <a:pt x="37" y="255"/>
                    </a:lnTo>
                    <a:lnTo>
                      <a:pt x="37" y="256"/>
                    </a:lnTo>
                    <a:lnTo>
                      <a:pt x="35" y="256"/>
                    </a:lnTo>
                    <a:lnTo>
                      <a:pt x="37" y="256"/>
                    </a:lnTo>
                    <a:lnTo>
                      <a:pt x="35" y="256"/>
                    </a:lnTo>
                    <a:lnTo>
                      <a:pt x="37" y="256"/>
                    </a:lnTo>
                    <a:lnTo>
                      <a:pt x="35" y="256"/>
                    </a:lnTo>
                    <a:lnTo>
                      <a:pt x="37" y="256"/>
                    </a:lnTo>
                    <a:lnTo>
                      <a:pt x="35" y="256"/>
                    </a:lnTo>
                    <a:lnTo>
                      <a:pt x="35" y="258"/>
                    </a:lnTo>
                    <a:lnTo>
                      <a:pt x="34" y="258"/>
                    </a:lnTo>
                    <a:lnTo>
                      <a:pt x="34" y="260"/>
                    </a:lnTo>
                    <a:lnTo>
                      <a:pt x="34" y="262"/>
                    </a:lnTo>
                    <a:lnTo>
                      <a:pt x="32" y="262"/>
                    </a:lnTo>
                    <a:lnTo>
                      <a:pt x="32" y="263"/>
                    </a:lnTo>
                    <a:lnTo>
                      <a:pt x="30" y="263"/>
                    </a:lnTo>
                    <a:lnTo>
                      <a:pt x="28" y="263"/>
                    </a:lnTo>
                    <a:lnTo>
                      <a:pt x="28" y="265"/>
                    </a:lnTo>
                    <a:lnTo>
                      <a:pt x="28" y="263"/>
                    </a:lnTo>
                    <a:lnTo>
                      <a:pt x="28" y="265"/>
                    </a:lnTo>
                    <a:lnTo>
                      <a:pt x="27" y="265"/>
                    </a:lnTo>
                    <a:lnTo>
                      <a:pt x="25" y="265"/>
                    </a:lnTo>
                    <a:lnTo>
                      <a:pt x="23" y="265"/>
                    </a:lnTo>
                    <a:lnTo>
                      <a:pt x="25" y="265"/>
                    </a:lnTo>
                    <a:lnTo>
                      <a:pt x="25" y="267"/>
                    </a:lnTo>
                    <a:lnTo>
                      <a:pt x="23" y="267"/>
                    </a:lnTo>
                    <a:lnTo>
                      <a:pt x="21" y="267"/>
                    </a:lnTo>
                    <a:lnTo>
                      <a:pt x="21" y="265"/>
                    </a:lnTo>
                    <a:lnTo>
                      <a:pt x="21" y="267"/>
                    </a:lnTo>
                    <a:lnTo>
                      <a:pt x="20" y="267"/>
                    </a:lnTo>
                    <a:lnTo>
                      <a:pt x="18" y="267"/>
                    </a:lnTo>
                    <a:lnTo>
                      <a:pt x="18" y="269"/>
                    </a:lnTo>
                    <a:lnTo>
                      <a:pt x="16" y="269"/>
                    </a:lnTo>
                    <a:lnTo>
                      <a:pt x="16" y="267"/>
                    </a:lnTo>
                    <a:lnTo>
                      <a:pt x="16" y="265"/>
                    </a:lnTo>
                    <a:lnTo>
                      <a:pt x="14" y="265"/>
                    </a:lnTo>
                    <a:lnTo>
                      <a:pt x="14" y="267"/>
                    </a:lnTo>
                    <a:lnTo>
                      <a:pt x="14" y="265"/>
                    </a:lnTo>
                    <a:lnTo>
                      <a:pt x="13" y="265"/>
                    </a:lnTo>
                    <a:lnTo>
                      <a:pt x="13" y="267"/>
                    </a:lnTo>
                    <a:lnTo>
                      <a:pt x="13" y="269"/>
                    </a:lnTo>
                    <a:lnTo>
                      <a:pt x="13" y="270"/>
                    </a:lnTo>
                    <a:lnTo>
                      <a:pt x="14" y="270"/>
                    </a:lnTo>
                    <a:lnTo>
                      <a:pt x="14" y="272"/>
                    </a:lnTo>
                    <a:lnTo>
                      <a:pt x="16" y="272"/>
                    </a:lnTo>
                    <a:lnTo>
                      <a:pt x="16" y="274"/>
                    </a:lnTo>
                    <a:lnTo>
                      <a:pt x="18" y="274"/>
                    </a:lnTo>
                    <a:lnTo>
                      <a:pt x="18" y="276"/>
                    </a:lnTo>
                    <a:lnTo>
                      <a:pt x="20" y="276"/>
                    </a:lnTo>
                    <a:lnTo>
                      <a:pt x="20" y="277"/>
                    </a:lnTo>
                    <a:lnTo>
                      <a:pt x="21" y="277"/>
                    </a:lnTo>
                    <a:lnTo>
                      <a:pt x="21" y="279"/>
                    </a:lnTo>
                    <a:lnTo>
                      <a:pt x="23" y="279"/>
                    </a:lnTo>
                    <a:lnTo>
                      <a:pt x="23" y="281"/>
                    </a:lnTo>
                    <a:lnTo>
                      <a:pt x="25" y="281"/>
                    </a:lnTo>
                    <a:lnTo>
                      <a:pt x="25" y="283"/>
                    </a:lnTo>
                    <a:lnTo>
                      <a:pt x="27" y="283"/>
                    </a:lnTo>
                    <a:lnTo>
                      <a:pt x="27" y="284"/>
                    </a:lnTo>
                    <a:lnTo>
                      <a:pt x="28" y="284"/>
                    </a:lnTo>
                    <a:lnTo>
                      <a:pt x="28" y="286"/>
                    </a:lnTo>
                    <a:lnTo>
                      <a:pt x="30" y="286"/>
                    </a:lnTo>
                    <a:lnTo>
                      <a:pt x="30" y="288"/>
                    </a:lnTo>
                    <a:lnTo>
                      <a:pt x="32" y="288"/>
                    </a:lnTo>
                    <a:lnTo>
                      <a:pt x="32" y="290"/>
                    </a:lnTo>
                    <a:lnTo>
                      <a:pt x="34" y="290"/>
                    </a:lnTo>
                    <a:lnTo>
                      <a:pt x="34" y="291"/>
                    </a:lnTo>
                    <a:lnTo>
                      <a:pt x="35" y="291"/>
                    </a:lnTo>
                    <a:lnTo>
                      <a:pt x="37" y="291"/>
                    </a:lnTo>
                    <a:lnTo>
                      <a:pt x="37" y="293"/>
                    </a:lnTo>
                    <a:lnTo>
                      <a:pt x="39" y="293"/>
                    </a:lnTo>
                    <a:lnTo>
                      <a:pt x="41" y="293"/>
                    </a:lnTo>
                    <a:lnTo>
                      <a:pt x="41" y="295"/>
                    </a:lnTo>
                    <a:lnTo>
                      <a:pt x="42" y="295"/>
                    </a:lnTo>
                    <a:lnTo>
                      <a:pt x="44" y="295"/>
                    </a:lnTo>
                    <a:lnTo>
                      <a:pt x="44" y="293"/>
                    </a:lnTo>
                    <a:lnTo>
                      <a:pt x="46" y="293"/>
                    </a:lnTo>
                    <a:lnTo>
                      <a:pt x="46" y="295"/>
                    </a:lnTo>
                    <a:lnTo>
                      <a:pt x="46" y="293"/>
                    </a:lnTo>
                    <a:lnTo>
                      <a:pt x="46" y="295"/>
                    </a:lnTo>
                    <a:lnTo>
                      <a:pt x="46" y="293"/>
                    </a:lnTo>
                    <a:lnTo>
                      <a:pt x="48" y="293"/>
                    </a:lnTo>
                    <a:lnTo>
                      <a:pt x="49" y="293"/>
                    </a:lnTo>
                    <a:lnTo>
                      <a:pt x="49" y="291"/>
                    </a:lnTo>
                    <a:lnTo>
                      <a:pt x="51" y="291"/>
                    </a:lnTo>
                    <a:lnTo>
                      <a:pt x="53" y="291"/>
                    </a:lnTo>
                    <a:lnTo>
                      <a:pt x="53" y="290"/>
                    </a:lnTo>
                    <a:lnTo>
                      <a:pt x="54" y="290"/>
                    </a:lnTo>
                    <a:lnTo>
                      <a:pt x="53" y="290"/>
                    </a:lnTo>
                    <a:lnTo>
                      <a:pt x="54" y="290"/>
                    </a:lnTo>
                    <a:lnTo>
                      <a:pt x="56" y="290"/>
                    </a:lnTo>
                    <a:lnTo>
                      <a:pt x="58" y="290"/>
                    </a:lnTo>
                    <a:lnTo>
                      <a:pt x="56" y="290"/>
                    </a:lnTo>
                    <a:lnTo>
                      <a:pt x="56" y="288"/>
                    </a:lnTo>
                    <a:lnTo>
                      <a:pt x="58" y="288"/>
                    </a:lnTo>
                    <a:lnTo>
                      <a:pt x="60" y="288"/>
                    </a:lnTo>
                    <a:lnTo>
                      <a:pt x="60" y="286"/>
                    </a:lnTo>
                    <a:lnTo>
                      <a:pt x="61" y="286"/>
                    </a:lnTo>
                    <a:lnTo>
                      <a:pt x="61" y="284"/>
                    </a:lnTo>
                    <a:lnTo>
                      <a:pt x="63" y="284"/>
                    </a:lnTo>
                    <a:lnTo>
                      <a:pt x="63" y="283"/>
                    </a:lnTo>
                    <a:lnTo>
                      <a:pt x="63" y="281"/>
                    </a:lnTo>
                    <a:lnTo>
                      <a:pt x="65" y="281"/>
                    </a:lnTo>
                    <a:lnTo>
                      <a:pt x="63" y="281"/>
                    </a:lnTo>
                    <a:lnTo>
                      <a:pt x="65" y="281"/>
                    </a:lnTo>
                    <a:lnTo>
                      <a:pt x="65" y="279"/>
                    </a:lnTo>
                    <a:lnTo>
                      <a:pt x="65" y="277"/>
                    </a:lnTo>
                    <a:lnTo>
                      <a:pt x="65" y="279"/>
                    </a:lnTo>
                    <a:lnTo>
                      <a:pt x="65" y="277"/>
                    </a:lnTo>
                    <a:lnTo>
                      <a:pt x="65" y="276"/>
                    </a:lnTo>
                    <a:lnTo>
                      <a:pt x="63" y="276"/>
                    </a:lnTo>
                    <a:lnTo>
                      <a:pt x="65" y="276"/>
                    </a:lnTo>
                    <a:lnTo>
                      <a:pt x="65" y="277"/>
                    </a:lnTo>
                    <a:lnTo>
                      <a:pt x="65" y="276"/>
                    </a:lnTo>
                    <a:lnTo>
                      <a:pt x="65" y="274"/>
                    </a:lnTo>
                    <a:lnTo>
                      <a:pt x="63" y="274"/>
                    </a:lnTo>
                    <a:lnTo>
                      <a:pt x="63" y="272"/>
                    </a:lnTo>
                    <a:lnTo>
                      <a:pt x="65" y="272"/>
                    </a:lnTo>
                    <a:lnTo>
                      <a:pt x="65" y="270"/>
                    </a:lnTo>
                    <a:lnTo>
                      <a:pt x="67" y="270"/>
                    </a:lnTo>
                    <a:lnTo>
                      <a:pt x="67" y="272"/>
                    </a:lnTo>
                    <a:lnTo>
                      <a:pt x="68" y="272"/>
                    </a:lnTo>
                    <a:lnTo>
                      <a:pt x="68" y="274"/>
                    </a:lnTo>
                    <a:lnTo>
                      <a:pt x="68" y="276"/>
                    </a:lnTo>
                    <a:lnTo>
                      <a:pt x="68" y="277"/>
                    </a:lnTo>
                    <a:lnTo>
                      <a:pt x="68" y="279"/>
                    </a:lnTo>
                    <a:lnTo>
                      <a:pt x="70" y="277"/>
                    </a:lnTo>
                    <a:lnTo>
                      <a:pt x="72" y="277"/>
                    </a:lnTo>
                    <a:lnTo>
                      <a:pt x="72" y="279"/>
                    </a:lnTo>
                    <a:lnTo>
                      <a:pt x="74" y="279"/>
                    </a:lnTo>
                    <a:lnTo>
                      <a:pt x="72" y="279"/>
                    </a:lnTo>
                    <a:lnTo>
                      <a:pt x="70" y="279"/>
                    </a:lnTo>
                    <a:lnTo>
                      <a:pt x="70" y="281"/>
                    </a:lnTo>
                    <a:lnTo>
                      <a:pt x="70" y="283"/>
                    </a:lnTo>
                    <a:lnTo>
                      <a:pt x="70" y="284"/>
                    </a:lnTo>
                    <a:lnTo>
                      <a:pt x="68" y="284"/>
                    </a:lnTo>
                    <a:lnTo>
                      <a:pt x="70" y="284"/>
                    </a:lnTo>
                    <a:lnTo>
                      <a:pt x="70" y="286"/>
                    </a:lnTo>
                    <a:lnTo>
                      <a:pt x="70" y="288"/>
                    </a:lnTo>
                    <a:lnTo>
                      <a:pt x="70" y="290"/>
                    </a:lnTo>
                    <a:lnTo>
                      <a:pt x="70" y="288"/>
                    </a:lnTo>
                    <a:lnTo>
                      <a:pt x="72" y="288"/>
                    </a:lnTo>
                    <a:lnTo>
                      <a:pt x="72" y="290"/>
                    </a:lnTo>
                    <a:lnTo>
                      <a:pt x="72" y="288"/>
                    </a:lnTo>
                    <a:lnTo>
                      <a:pt x="72" y="290"/>
                    </a:lnTo>
                    <a:lnTo>
                      <a:pt x="72" y="291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4" y="297"/>
                    </a:lnTo>
                    <a:lnTo>
                      <a:pt x="74" y="295"/>
                    </a:lnTo>
                    <a:lnTo>
                      <a:pt x="74" y="297"/>
                    </a:lnTo>
                    <a:lnTo>
                      <a:pt x="74" y="298"/>
                    </a:lnTo>
                    <a:lnTo>
                      <a:pt x="74" y="300"/>
                    </a:lnTo>
                    <a:lnTo>
                      <a:pt x="72" y="300"/>
                    </a:lnTo>
                    <a:lnTo>
                      <a:pt x="72" y="302"/>
                    </a:lnTo>
                    <a:lnTo>
                      <a:pt x="72" y="304"/>
                    </a:lnTo>
                    <a:lnTo>
                      <a:pt x="72" y="302"/>
                    </a:lnTo>
                    <a:lnTo>
                      <a:pt x="72" y="304"/>
                    </a:lnTo>
                    <a:lnTo>
                      <a:pt x="72" y="305"/>
                    </a:lnTo>
                    <a:lnTo>
                      <a:pt x="72" y="307"/>
                    </a:lnTo>
                    <a:lnTo>
                      <a:pt x="70" y="307"/>
                    </a:lnTo>
                    <a:lnTo>
                      <a:pt x="70" y="309"/>
                    </a:lnTo>
                    <a:lnTo>
                      <a:pt x="70" y="310"/>
                    </a:lnTo>
                    <a:lnTo>
                      <a:pt x="72" y="310"/>
                    </a:lnTo>
                    <a:lnTo>
                      <a:pt x="72" y="312"/>
                    </a:lnTo>
                    <a:lnTo>
                      <a:pt x="72" y="314"/>
                    </a:lnTo>
                    <a:lnTo>
                      <a:pt x="74" y="314"/>
                    </a:lnTo>
                    <a:lnTo>
                      <a:pt x="72" y="314"/>
                    </a:lnTo>
                    <a:lnTo>
                      <a:pt x="72" y="316"/>
                    </a:lnTo>
                    <a:lnTo>
                      <a:pt x="72" y="317"/>
                    </a:lnTo>
                    <a:lnTo>
                      <a:pt x="74" y="317"/>
                    </a:lnTo>
                    <a:lnTo>
                      <a:pt x="75" y="317"/>
                    </a:lnTo>
                    <a:lnTo>
                      <a:pt x="74" y="317"/>
                    </a:lnTo>
                    <a:lnTo>
                      <a:pt x="72" y="317"/>
                    </a:lnTo>
                    <a:lnTo>
                      <a:pt x="72" y="319"/>
                    </a:lnTo>
                    <a:lnTo>
                      <a:pt x="74" y="319"/>
                    </a:lnTo>
                    <a:lnTo>
                      <a:pt x="72" y="319"/>
                    </a:lnTo>
                    <a:lnTo>
                      <a:pt x="72" y="321"/>
                    </a:lnTo>
                    <a:lnTo>
                      <a:pt x="74" y="321"/>
                    </a:lnTo>
                    <a:lnTo>
                      <a:pt x="74" y="323"/>
                    </a:lnTo>
                    <a:lnTo>
                      <a:pt x="72" y="323"/>
                    </a:lnTo>
                    <a:lnTo>
                      <a:pt x="72" y="324"/>
                    </a:lnTo>
                    <a:lnTo>
                      <a:pt x="74" y="324"/>
                    </a:lnTo>
                    <a:lnTo>
                      <a:pt x="74" y="323"/>
                    </a:lnTo>
                    <a:lnTo>
                      <a:pt x="74" y="324"/>
                    </a:lnTo>
                    <a:lnTo>
                      <a:pt x="74" y="323"/>
                    </a:lnTo>
                    <a:lnTo>
                      <a:pt x="75" y="323"/>
                    </a:lnTo>
                    <a:lnTo>
                      <a:pt x="74" y="323"/>
                    </a:lnTo>
                    <a:lnTo>
                      <a:pt x="75" y="323"/>
                    </a:lnTo>
                    <a:lnTo>
                      <a:pt x="75" y="321"/>
                    </a:lnTo>
                    <a:lnTo>
                      <a:pt x="75" y="323"/>
                    </a:lnTo>
                    <a:lnTo>
                      <a:pt x="77" y="323"/>
                    </a:lnTo>
                    <a:lnTo>
                      <a:pt x="75" y="323"/>
                    </a:lnTo>
                    <a:lnTo>
                      <a:pt x="75" y="324"/>
                    </a:lnTo>
                    <a:lnTo>
                      <a:pt x="75" y="323"/>
                    </a:lnTo>
                    <a:lnTo>
                      <a:pt x="75" y="324"/>
                    </a:lnTo>
                    <a:lnTo>
                      <a:pt x="74" y="324"/>
                    </a:lnTo>
                    <a:lnTo>
                      <a:pt x="75" y="324"/>
                    </a:lnTo>
                    <a:lnTo>
                      <a:pt x="75" y="326"/>
                    </a:lnTo>
                    <a:lnTo>
                      <a:pt x="75" y="324"/>
                    </a:lnTo>
                    <a:lnTo>
                      <a:pt x="75" y="326"/>
                    </a:lnTo>
                    <a:lnTo>
                      <a:pt x="74" y="326"/>
                    </a:lnTo>
                    <a:lnTo>
                      <a:pt x="74" y="328"/>
                    </a:lnTo>
                    <a:lnTo>
                      <a:pt x="74" y="330"/>
                    </a:lnTo>
                    <a:lnTo>
                      <a:pt x="74" y="328"/>
                    </a:lnTo>
                    <a:lnTo>
                      <a:pt x="74" y="330"/>
                    </a:lnTo>
                    <a:lnTo>
                      <a:pt x="74" y="328"/>
                    </a:lnTo>
                    <a:lnTo>
                      <a:pt x="74" y="330"/>
                    </a:lnTo>
                    <a:lnTo>
                      <a:pt x="75" y="330"/>
                    </a:lnTo>
                    <a:lnTo>
                      <a:pt x="75" y="331"/>
                    </a:lnTo>
                    <a:lnTo>
                      <a:pt x="74" y="331"/>
                    </a:lnTo>
                    <a:lnTo>
                      <a:pt x="74" y="330"/>
                    </a:lnTo>
                    <a:lnTo>
                      <a:pt x="74" y="331"/>
                    </a:lnTo>
                    <a:lnTo>
                      <a:pt x="74" y="333"/>
                    </a:lnTo>
                    <a:lnTo>
                      <a:pt x="75" y="333"/>
                    </a:lnTo>
                    <a:lnTo>
                      <a:pt x="74" y="333"/>
                    </a:lnTo>
                    <a:lnTo>
                      <a:pt x="75" y="333"/>
                    </a:lnTo>
                    <a:lnTo>
                      <a:pt x="74" y="333"/>
                    </a:lnTo>
                    <a:lnTo>
                      <a:pt x="75" y="333"/>
                    </a:lnTo>
                    <a:lnTo>
                      <a:pt x="75" y="335"/>
                    </a:lnTo>
                    <a:lnTo>
                      <a:pt x="77" y="335"/>
                    </a:lnTo>
                    <a:lnTo>
                      <a:pt x="75" y="335"/>
                    </a:lnTo>
                    <a:lnTo>
                      <a:pt x="75" y="337"/>
                    </a:lnTo>
                    <a:lnTo>
                      <a:pt x="75" y="338"/>
                    </a:lnTo>
                    <a:lnTo>
                      <a:pt x="77" y="338"/>
                    </a:lnTo>
                    <a:lnTo>
                      <a:pt x="75" y="338"/>
                    </a:lnTo>
                    <a:lnTo>
                      <a:pt x="77" y="338"/>
                    </a:lnTo>
                    <a:lnTo>
                      <a:pt x="75" y="338"/>
                    </a:lnTo>
                    <a:lnTo>
                      <a:pt x="75" y="340"/>
                    </a:lnTo>
                    <a:lnTo>
                      <a:pt x="77" y="340"/>
                    </a:lnTo>
                    <a:lnTo>
                      <a:pt x="77" y="342"/>
                    </a:lnTo>
                    <a:lnTo>
                      <a:pt x="77" y="344"/>
                    </a:lnTo>
                    <a:lnTo>
                      <a:pt x="77" y="345"/>
                    </a:lnTo>
                    <a:lnTo>
                      <a:pt x="79" y="345"/>
                    </a:lnTo>
                    <a:lnTo>
                      <a:pt x="77" y="345"/>
                    </a:lnTo>
                    <a:lnTo>
                      <a:pt x="79" y="345"/>
                    </a:lnTo>
                    <a:lnTo>
                      <a:pt x="77" y="345"/>
                    </a:lnTo>
                    <a:lnTo>
                      <a:pt x="79" y="345"/>
                    </a:lnTo>
                    <a:lnTo>
                      <a:pt x="79" y="347"/>
                    </a:lnTo>
                    <a:lnTo>
                      <a:pt x="79" y="349"/>
                    </a:lnTo>
                    <a:lnTo>
                      <a:pt x="79" y="351"/>
                    </a:lnTo>
                    <a:lnTo>
                      <a:pt x="79" y="352"/>
                    </a:lnTo>
                    <a:lnTo>
                      <a:pt x="79" y="351"/>
                    </a:lnTo>
                    <a:lnTo>
                      <a:pt x="79" y="352"/>
                    </a:lnTo>
                    <a:lnTo>
                      <a:pt x="81" y="352"/>
                    </a:lnTo>
                    <a:lnTo>
                      <a:pt x="81" y="354"/>
                    </a:lnTo>
                    <a:lnTo>
                      <a:pt x="81" y="356"/>
                    </a:lnTo>
                    <a:lnTo>
                      <a:pt x="81" y="354"/>
                    </a:lnTo>
                    <a:lnTo>
                      <a:pt x="81" y="356"/>
                    </a:lnTo>
                    <a:lnTo>
                      <a:pt x="81" y="358"/>
                    </a:lnTo>
                    <a:lnTo>
                      <a:pt x="81" y="359"/>
                    </a:lnTo>
                    <a:lnTo>
                      <a:pt x="81" y="361"/>
                    </a:lnTo>
                    <a:lnTo>
                      <a:pt x="81" y="359"/>
                    </a:lnTo>
                    <a:lnTo>
                      <a:pt x="81" y="361"/>
                    </a:lnTo>
                    <a:lnTo>
                      <a:pt x="82" y="361"/>
                    </a:lnTo>
                    <a:lnTo>
                      <a:pt x="82" y="363"/>
                    </a:lnTo>
                    <a:lnTo>
                      <a:pt x="82" y="361"/>
                    </a:lnTo>
                    <a:lnTo>
                      <a:pt x="81" y="361"/>
                    </a:lnTo>
                    <a:lnTo>
                      <a:pt x="81" y="363"/>
                    </a:lnTo>
                    <a:lnTo>
                      <a:pt x="82" y="363"/>
                    </a:lnTo>
                    <a:lnTo>
                      <a:pt x="81" y="363"/>
                    </a:lnTo>
                    <a:lnTo>
                      <a:pt x="82" y="363"/>
                    </a:lnTo>
                    <a:lnTo>
                      <a:pt x="81" y="363"/>
                    </a:lnTo>
                    <a:lnTo>
                      <a:pt x="81" y="365"/>
                    </a:lnTo>
                    <a:lnTo>
                      <a:pt x="81" y="363"/>
                    </a:lnTo>
                    <a:lnTo>
                      <a:pt x="81" y="365"/>
                    </a:lnTo>
                    <a:lnTo>
                      <a:pt x="82" y="365"/>
                    </a:lnTo>
                    <a:lnTo>
                      <a:pt x="81" y="365"/>
                    </a:lnTo>
                    <a:lnTo>
                      <a:pt x="82" y="365"/>
                    </a:lnTo>
                    <a:lnTo>
                      <a:pt x="81" y="365"/>
                    </a:lnTo>
                    <a:lnTo>
                      <a:pt x="82" y="365"/>
                    </a:lnTo>
                    <a:lnTo>
                      <a:pt x="82" y="366"/>
                    </a:lnTo>
                    <a:lnTo>
                      <a:pt x="82" y="365"/>
                    </a:lnTo>
                    <a:lnTo>
                      <a:pt x="82" y="366"/>
                    </a:lnTo>
                    <a:lnTo>
                      <a:pt x="82" y="365"/>
                    </a:lnTo>
                    <a:lnTo>
                      <a:pt x="82" y="366"/>
                    </a:lnTo>
                    <a:lnTo>
                      <a:pt x="82" y="368"/>
                    </a:lnTo>
                    <a:lnTo>
                      <a:pt x="82" y="370"/>
                    </a:lnTo>
                    <a:lnTo>
                      <a:pt x="82" y="371"/>
                    </a:lnTo>
                    <a:lnTo>
                      <a:pt x="82" y="370"/>
                    </a:lnTo>
                    <a:lnTo>
                      <a:pt x="82" y="371"/>
                    </a:lnTo>
                    <a:lnTo>
                      <a:pt x="82" y="370"/>
                    </a:lnTo>
                    <a:lnTo>
                      <a:pt x="82" y="371"/>
                    </a:lnTo>
                    <a:lnTo>
                      <a:pt x="84" y="371"/>
                    </a:lnTo>
                    <a:lnTo>
                      <a:pt x="84" y="373"/>
                    </a:lnTo>
                    <a:lnTo>
                      <a:pt x="84" y="371"/>
                    </a:lnTo>
                    <a:lnTo>
                      <a:pt x="84" y="373"/>
                    </a:lnTo>
                    <a:lnTo>
                      <a:pt x="86" y="373"/>
                    </a:lnTo>
                    <a:lnTo>
                      <a:pt x="86" y="375"/>
                    </a:lnTo>
                    <a:lnTo>
                      <a:pt x="86" y="377"/>
                    </a:lnTo>
                    <a:lnTo>
                      <a:pt x="88" y="377"/>
                    </a:lnTo>
                    <a:lnTo>
                      <a:pt x="86" y="377"/>
                    </a:lnTo>
                    <a:lnTo>
                      <a:pt x="88" y="377"/>
                    </a:lnTo>
                    <a:lnTo>
                      <a:pt x="86" y="377"/>
                    </a:lnTo>
                    <a:lnTo>
                      <a:pt x="88" y="377"/>
                    </a:lnTo>
                    <a:lnTo>
                      <a:pt x="86" y="377"/>
                    </a:lnTo>
                    <a:lnTo>
                      <a:pt x="88" y="377"/>
                    </a:lnTo>
                    <a:lnTo>
                      <a:pt x="88" y="378"/>
                    </a:lnTo>
                    <a:lnTo>
                      <a:pt x="88" y="380"/>
                    </a:lnTo>
                    <a:lnTo>
                      <a:pt x="89" y="380"/>
                    </a:lnTo>
                    <a:lnTo>
                      <a:pt x="88" y="380"/>
                    </a:lnTo>
                    <a:lnTo>
                      <a:pt x="89" y="380"/>
                    </a:lnTo>
                    <a:lnTo>
                      <a:pt x="89" y="382"/>
                    </a:lnTo>
                    <a:lnTo>
                      <a:pt x="88" y="382"/>
                    </a:lnTo>
                    <a:lnTo>
                      <a:pt x="89" y="382"/>
                    </a:lnTo>
                    <a:lnTo>
                      <a:pt x="88" y="382"/>
                    </a:lnTo>
                    <a:lnTo>
                      <a:pt x="89" y="382"/>
                    </a:lnTo>
                    <a:lnTo>
                      <a:pt x="89" y="384"/>
                    </a:lnTo>
                    <a:lnTo>
                      <a:pt x="91" y="384"/>
                    </a:lnTo>
                    <a:lnTo>
                      <a:pt x="91" y="385"/>
                    </a:lnTo>
                    <a:lnTo>
                      <a:pt x="91" y="387"/>
                    </a:lnTo>
                    <a:lnTo>
                      <a:pt x="91" y="385"/>
                    </a:lnTo>
                    <a:lnTo>
                      <a:pt x="91" y="387"/>
                    </a:lnTo>
                    <a:lnTo>
                      <a:pt x="89" y="387"/>
                    </a:lnTo>
                    <a:lnTo>
                      <a:pt x="91" y="387"/>
                    </a:lnTo>
                    <a:lnTo>
                      <a:pt x="89" y="387"/>
                    </a:lnTo>
                    <a:lnTo>
                      <a:pt x="91" y="387"/>
                    </a:lnTo>
                    <a:lnTo>
                      <a:pt x="91" y="389"/>
                    </a:lnTo>
                    <a:lnTo>
                      <a:pt x="93" y="389"/>
                    </a:lnTo>
                    <a:lnTo>
                      <a:pt x="91" y="389"/>
                    </a:lnTo>
                    <a:lnTo>
                      <a:pt x="93" y="389"/>
                    </a:lnTo>
                    <a:lnTo>
                      <a:pt x="93" y="391"/>
                    </a:lnTo>
                    <a:lnTo>
                      <a:pt x="93" y="392"/>
                    </a:lnTo>
                    <a:lnTo>
                      <a:pt x="95" y="392"/>
                    </a:lnTo>
                    <a:lnTo>
                      <a:pt x="96" y="392"/>
                    </a:lnTo>
                    <a:lnTo>
                      <a:pt x="96" y="394"/>
                    </a:lnTo>
                    <a:lnTo>
                      <a:pt x="96" y="396"/>
                    </a:lnTo>
                    <a:lnTo>
                      <a:pt x="98" y="396"/>
                    </a:lnTo>
                    <a:lnTo>
                      <a:pt x="98" y="398"/>
                    </a:lnTo>
                    <a:lnTo>
                      <a:pt x="98" y="399"/>
                    </a:lnTo>
                    <a:lnTo>
                      <a:pt x="98" y="401"/>
                    </a:lnTo>
                    <a:lnTo>
                      <a:pt x="100" y="401"/>
                    </a:lnTo>
                    <a:lnTo>
                      <a:pt x="100" y="403"/>
                    </a:lnTo>
                    <a:lnTo>
                      <a:pt x="100" y="405"/>
                    </a:lnTo>
                    <a:lnTo>
                      <a:pt x="100" y="406"/>
                    </a:lnTo>
                    <a:lnTo>
                      <a:pt x="102" y="406"/>
                    </a:lnTo>
                    <a:lnTo>
                      <a:pt x="102" y="408"/>
                    </a:lnTo>
                    <a:lnTo>
                      <a:pt x="102" y="410"/>
                    </a:lnTo>
                    <a:lnTo>
                      <a:pt x="103" y="410"/>
                    </a:lnTo>
                    <a:lnTo>
                      <a:pt x="102" y="410"/>
                    </a:lnTo>
                    <a:lnTo>
                      <a:pt x="102" y="412"/>
                    </a:lnTo>
                    <a:lnTo>
                      <a:pt x="102" y="413"/>
                    </a:lnTo>
                    <a:lnTo>
                      <a:pt x="102" y="415"/>
                    </a:lnTo>
                    <a:lnTo>
                      <a:pt x="103" y="415"/>
                    </a:lnTo>
                    <a:lnTo>
                      <a:pt x="102" y="415"/>
                    </a:lnTo>
                    <a:lnTo>
                      <a:pt x="103" y="415"/>
                    </a:lnTo>
                    <a:lnTo>
                      <a:pt x="103" y="417"/>
                    </a:lnTo>
                    <a:lnTo>
                      <a:pt x="103" y="419"/>
                    </a:lnTo>
                    <a:lnTo>
                      <a:pt x="103" y="420"/>
                    </a:lnTo>
                    <a:lnTo>
                      <a:pt x="103" y="422"/>
                    </a:lnTo>
                    <a:lnTo>
                      <a:pt x="105" y="422"/>
                    </a:lnTo>
                    <a:lnTo>
                      <a:pt x="103" y="422"/>
                    </a:lnTo>
                    <a:lnTo>
                      <a:pt x="105" y="422"/>
                    </a:lnTo>
                    <a:lnTo>
                      <a:pt x="105" y="424"/>
                    </a:lnTo>
                    <a:lnTo>
                      <a:pt x="105" y="426"/>
                    </a:lnTo>
                    <a:lnTo>
                      <a:pt x="107" y="426"/>
                    </a:lnTo>
                    <a:lnTo>
                      <a:pt x="107" y="427"/>
                    </a:lnTo>
                    <a:lnTo>
                      <a:pt x="107" y="429"/>
                    </a:lnTo>
                    <a:lnTo>
                      <a:pt x="107" y="431"/>
                    </a:lnTo>
                    <a:lnTo>
                      <a:pt x="109" y="431"/>
                    </a:lnTo>
                    <a:lnTo>
                      <a:pt x="109" y="432"/>
                    </a:lnTo>
                    <a:lnTo>
                      <a:pt x="109" y="434"/>
                    </a:lnTo>
                    <a:lnTo>
                      <a:pt x="110" y="434"/>
                    </a:lnTo>
                    <a:lnTo>
                      <a:pt x="110" y="436"/>
                    </a:lnTo>
                    <a:lnTo>
                      <a:pt x="112" y="436"/>
                    </a:lnTo>
                    <a:lnTo>
                      <a:pt x="112" y="438"/>
                    </a:lnTo>
                    <a:lnTo>
                      <a:pt x="112" y="436"/>
                    </a:lnTo>
                    <a:lnTo>
                      <a:pt x="112" y="438"/>
                    </a:lnTo>
                    <a:lnTo>
                      <a:pt x="112" y="436"/>
                    </a:lnTo>
                    <a:lnTo>
                      <a:pt x="112" y="438"/>
                    </a:lnTo>
                    <a:lnTo>
                      <a:pt x="112" y="439"/>
                    </a:lnTo>
                    <a:lnTo>
                      <a:pt x="114" y="439"/>
                    </a:lnTo>
                    <a:lnTo>
                      <a:pt x="114" y="438"/>
                    </a:lnTo>
                    <a:lnTo>
                      <a:pt x="114" y="439"/>
                    </a:lnTo>
                    <a:lnTo>
                      <a:pt x="114" y="438"/>
                    </a:lnTo>
                    <a:lnTo>
                      <a:pt x="114" y="439"/>
                    </a:lnTo>
                    <a:lnTo>
                      <a:pt x="115" y="439"/>
                    </a:lnTo>
                    <a:lnTo>
                      <a:pt x="115" y="441"/>
                    </a:lnTo>
                    <a:lnTo>
                      <a:pt x="115" y="443"/>
                    </a:lnTo>
                    <a:lnTo>
                      <a:pt x="117" y="443"/>
                    </a:lnTo>
                    <a:lnTo>
                      <a:pt x="117" y="445"/>
                    </a:lnTo>
                    <a:lnTo>
                      <a:pt x="117" y="446"/>
                    </a:lnTo>
                    <a:lnTo>
                      <a:pt x="119" y="446"/>
                    </a:lnTo>
                    <a:lnTo>
                      <a:pt x="119" y="448"/>
                    </a:lnTo>
                    <a:lnTo>
                      <a:pt x="119" y="450"/>
                    </a:lnTo>
                    <a:lnTo>
                      <a:pt x="121" y="450"/>
                    </a:lnTo>
                    <a:lnTo>
                      <a:pt x="121" y="452"/>
                    </a:lnTo>
                    <a:lnTo>
                      <a:pt x="121" y="453"/>
                    </a:lnTo>
                    <a:lnTo>
                      <a:pt x="121" y="455"/>
                    </a:lnTo>
                    <a:lnTo>
                      <a:pt x="122" y="455"/>
                    </a:lnTo>
                    <a:lnTo>
                      <a:pt x="121" y="455"/>
                    </a:lnTo>
                    <a:lnTo>
                      <a:pt x="121" y="457"/>
                    </a:lnTo>
                    <a:lnTo>
                      <a:pt x="122" y="457"/>
                    </a:lnTo>
                    <a:lnTo>
                      <a:pt x="122" y="459"/>
                    </a:lnTo>
                    <a:lnTo>
                      <a:pt x="122" y="460"/>
                    </a:lnTo>
                    <a:lnTo>
                      <a:pt x="124" y="460"/>
                    </a:lnTo>
                    <a:lnTo>
                      <a:pt x="122" y="460"/>
                    </a:lnTo>
                    <a:lnTo>
                      <a:pt x="124" y="460"/>
                    </a:lnTo>
                    <a:lnTo>
                      <a:pt x="124" y="459"/>
                    </a:lnTo>
                    <a:lnTo>
                      <a:pt x="124" y="460"/>
                    </a:lnTo>
                    <a:lnTo>
                      <a:pt x="124" y="459"/>
                    </a:lnTo>
                    <a:lnTo>
                      <a:pt x="124" y="460"/>
                    </a:lnTo>
                    <a:lnTo>
                      <a:pt x="124" y="459"/>
                    </a:lnTo>
                    <a:lnTo>
                      <a:pt x="124" y="460"/>
                    </a:lnTo>
                    <a:lnTo>
                      <a:pt x="122" y="460"/>
                    </a:lnTo>
                    <a:lnTo>
                      <a:pt x="124" y="460"/>
                    </a:lnTo>
                    <a:lnTo>
                      <a:pt x="124" y="462"/>
                    </a:lnTo>
                    <a:lnTo>
                      <a:pt x="124" y="464"/>
                    </a:lnTo>
                    <a:lnTo>
                      <a:pt x="126" y="464"/>
                    </a:lnTo>
                    <a:lnTo>
                      <a:pt x="126" y="466"/>
                    </a:lnTo>
                    <a:lnTo>
                      <a:pt x="126" y="467"/>
                    </a:lnTo>
                    <a:lnTo>
                      <a:pt x="126" y="469"/>
                    </a:lnTo>
                    <a:lnTo>
                      <a:pt x="126" y="471"/>
                    </a:lnTo>
                    <a:lnTo>
                      <a:pt x="128" y="471"/>
                    </a:lnTo>
                    <a:lnTo>
                      <a:pt x="128" y="473"/>
                    </a:lnTo>
                    <a:lnTo>
                      <a:pt x="128" y="474"/>
                    </a:lnTo>
                    <a:lnTo>
                      <a:pt x="128" y="476"/>
                    </a:lnTo>
                    <a:lnTo>
                      <a:pt x="128" y="478"/>
                    </a:lnTo>
                    <a:lnTo>
                      <a:pt x="129" y="478"/>
                    </a:lnTo>
                    <a:lnTo>
                      <a:pt x="129" y="480"/>
                    </a:lnTo>
                    <a:lnTo>
                      <a:pt x="129" y="481"/>
                    </a:lnTo>
                    <a:lnTo>
                      <a:pt x="129" y="480"/>
                    </a:lnTo>
                    <a:lnTo>
                      <a:pt x="129" y="481"/>
                    </a:lnTo>
                    <a:lnTo>
                      <a:pt x="131" y="481"/>
                    </a:lnTo>
                    <a:lnTo>
                      <a:pt x="129" y="481"/>
                    </a:lnTo>
                    <a:lnTo>
                      <a:pt x="131" y="481"/>
                    </a:lnTo>
                    <a:lnTo>
                      <a:pt x="129" y="481"/>
                    </a:lnTo>
                    <a:lnTo>
                      <a:pt x="129" y="483"/>
                    </a:lnTo>
                    <a:lnTo>
                      <a:pt x="131" y="483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1" y="485"/>
                    </a:lnTo>
                    <a:lnTo>
                      <a:pt x="133" y="485"/>
                    </a:lnTo>
                    <a:lnTo>
                      <a:pt x="131" y="485"/>
                    </a:lnTo>
                    <a:lnTo>
                      <a:pt x="131" y="487"/>
                    </a:lnTo>
                    <a:lnTo>
                      <a:pt x="133" y="487"/>
                    </a:lnTo>
                    <a:lnTo>
                      <a:pt x="133" y="488"/>
                    </a:lnTo>
                    <a:lnTo>
                      <a:pt x="135" y="488"/>
                    </a:lnTo>
                    <a:lnTo>
                      <a:pt x="135" y="490"/>
                    </a:lnTo>
                    <a:lnTo>
                      <a:pt x="136" y="490"/>
                    </a:lnTo>
                    <a:lnTo>
                      <a:pt x="136" y="492"/>
                    </a:lnTo>
                    <a:lnTo>
                      <a:pt x="138" y="492"/>
                    </a:lnTo>
                    <a:lnTo>
                      <a:pt x="138" y="493"/>
                    </a:lnTo>
                    <a:lnTo>
                      <a:pt x="138" y="495"/>
                    </a:lnTo>
                    <a:lnTo>
                      <a:pt x="140" y="495"/>
                    </a:lnTo>
                    <a:lnTo>
                      <a:pt x="142" y="495"/>
                    </a:lnTo>
                    <a:lnTo>
                      <a:pt x="142" y="497"/>
                    </a:lnTo>
                    <a:lnTo>
                      <a:pt x="143" y="497"/>
                    </a:lnTo>
                    <a:lnTo>
                      <a:pt x="143" y="499"/>
                    </a:lnTo>
                    <a:lnTo>
                      <a:pt x="143" y="497"/>
                    </a:lnTo>
                    <a:lnTo>
                      <a:pt x="143" y="499"/>
                    </a:lnTo>
                    <a:lnTo>
                      <a:pt x="143" y="497"/>
                    </a:lnTo>
                    <a:lnTo>
                      <a:pt x="143" y="499"/>
                    </a:lnTo>
                    <a:lnTo>
                      <a:pt x="143" y="497"/>
                    </a:lnTo>
                    <a:lnTo>
                      <a:pt x="143" y="499"/>
                    </a:lnTo>
                    <a:lnTo>
                      <a:pt x="143" y="497"/>
                    </a:lnTo>
                    <a:lnTo>
                      <a:pt x="143" y="499"/>
                    </a:lnTo>
                    <a:lnTo>
                      <a:pt x="145" y="499"/>
                    </a:lnTo>
                    <a:lnTo>
                      <a:pt x="147" y="499"/>
                    </a:lnTo>
                    <a:close/>
                    <a:moveTo>
                      <a:pt x="0" y="244"/>
                    </a:moveTo>
                    <a:lnTo>
                      <a:pt x="0" y="246"/>
                    </a:lnTo>
                    <a:lnTo>
                      <a:pt x="0" y="244"/>
                    </a:lnTo>
                    <a:close/>
                    <a:moveTo>
                      <a:pt x="28" y="262"/>
                    </a:moveTo>
                    <a:lnTo>
                      <a:pt x="28" y="263"/>
                    </a:lnTo>
                    <a:lnTo>
                      <a:pt x="28" y="262"/>
                    </a:lnTo>
                    <a:close/>
                    <a:moveTo>
                      <a:pt x="28" y="263"/>
                    </a:moveTo>
                    <a:lnTo>
                      <a:pt x="30" y="263"/>
                    </a:lnTo>
                    <a:lnTo>
                      <a:pt x="28" y="263"/>
                    </a:lnTo>
                    <a:close/>
                    <a:moveTo>
                      <a:pt x="28" y="263"/>
                    </a:moveTo>
                    <a:lnTo>
                      <a:pt x="30" y="263"/>
                    </a:lnTo>
                    <a:lnTo>
                      <a:pt x="28" y="263"/>
                    </a:lnTo>
                    <a:close/>
                    <a:moveTo>
                      <a:pt x="27" y="263"/>
                    </a:moveTo>
                    <a:lnTo>
                      <a:pt x="28" y="263"/>
                    </a:lnTo>
                    <a:lnTo>
                      <a:pt x="27" y="263"/>
                    </a:lnTo>
                    <a:close/>
                    <a:moveTo>
                      <a:pt x="18" y="263"/>
                    </a:moveTo>
                    <a:lnTo>
                      <a:pt x="20" y="263"/>
                    </a:lnTo>
                    <a:lnTo>
                      <a:pt x="18" y="263"/>
                    </a:lnTo>
                    <a:close/>
                    <a:moveTo>
                      <a:pt x="16" y="265"/>
                    </a:moveTo>
                    <a:lnTo>
                      <a:pt x="18" y="265"/>
                    </a:lnTo>
                    <a:lnTo>
                      <a:pt x="16" y="265"/>
                    </a:lnTo>
                    <a:close/>
                    <a:moveTo>
                      <a:pt x="14" y="265"/>
                    </a:moveTo>
                    <a:lnTo>
                      <a:pt x="16" y="265"/>
                    </a:lnTo>
                    <a:lnTo>
                      <a:pt x="14" y="265"/>
                    </a:lnTo>
                    <a:close/>
                    <a:moveTo>
                      <a:pt x="21" y="265"/>
                    </a:moveTo>
                    <a:lnTo>
                      <a:pt x="21" y="267"/>
                    </a:lnTo>
                    <a:lnTo>
                      <a:pt x="21" y="265"/>
                    </a:lnTo>
                    <a:close/>
                    <a:moveTo>
                      <a:pt x="16" y="265"/>
                    </a:moveTo>
                    <a:lnTo>
                      <a:pt x="16" y="267"/>
                    </a:lnTo>
                    <a:lnTo>
                      <a:pt x="16" y="265"/>
                    </a:lnTo>
                    <a:close/>
                    <a:moveTo>
                      <a:pt x="20" y="267"/>
                    </a:moveTo>
                    <a:lnTo>
                      <a:pt x="21" y="267"/>
                    </a:lnTo>
                    <a:lnTo>
                      <a:pt x="20" y="267"/>
                    </a:lnTo>
                    <a:close/>
                    <a:moveTo>
                      <a:pt x="311" y="272"/>
                    </a:moveTo>
                    <a:lnTo>
                      <a:pt x="312" y="272"/>
                    </a:lnTo>
                    <a:lnTo>
                      <a:pt x="312" y="274"/>
                    </a:lnTo>
                    <a:lnTo>
                      <a:pt x="311" y="274"/>
                    </a:lnTo>
                    <a:lnTo>
                      <a:pt x="311" y="272"/>
                    </a:lnTo>
                    <a:close/>
                    <a:moveTo>
                      <a:pt x="319" y="272"/>
                    </a:moveTo>
                    <a:lnTo>
                      <a:pt x="321" y="272"/>
                    </a:lnTo>
                    <a:lnTo>
                      <a:pt x="321" y="274"/>
                    </a:lnTo>
                    <a:lnTo>
                      <a:pt x="319" y="274"/>
                    </a:lnTo>
                    <a:lnTo>
                      <a:pt x="319" y="272"/>
                    </a:lnTo>
                    <a:close/>
                    <a:moveTo>
                      <a:pt x="321" y="272"/>
                    </a:moveTo>
                    <a:lnTo>
                      <a:pt x="323" y="272"/>
                    </a:lnTo>
                    <a:lnTo>
                      <a:pt x="321" y="272"/>
                    </a:lnTo>
                    <a:close/>
                    <a:moveTo>
                      <a:pt x="326" y="279"/>
                    </a:moveTo>
                    <a:lnTo>
                      <a:pt x="328" y="279"/>
                    </a:lnTo>
                    <a:lnTo>
                      <a:pt x="326" y="279"/>
                    </a:lnTo>
                    <a:lnTo>
                      <a:pt x="326" y="277"/>
                    </a:lnTo>
                    <a:lnTo>
                      <a:pt x="326" y="276"/>
                    </a:lnTo>
                    <a:lnTo>
                      <a:pt x="326" y="274"/>
                    </a:lnTo>
                    <a:lnTo>
                      <a:pt x="325" y="274"/>
                    </a:lnTo>
                    <a:lnTo>
                      <a:pt x="323" y="274"/>
                    </a:lnTo>
                    <a:lnTo>
                      <a:pt x="323" y="276"/>
                    </a:lnTo>
                    <a:lnTo>
                      <a:pt x="323" y="277"/>
                    </a:lnTo>
                    <a:lnTo>
                      <a:pt x="325" y="277"/>
                    </a:lnTo>
                    <a:lnTo>
                      <a:pt x="325" y="279"/>
                    </a:lnTo>
                    <a:lnTo>
                      <a:pt x="325" y="277"/>
                    </a:lnTo>
                    <a:lnTo>
                      <a:pt x="325" y="279"/>
                    </a:lnTo>
                    <a:lnTo>
                      <a:pt x="326" y="279"/>
                    </a:lnTo>
                    <a:close/>
                    <a:moveTo>
                      <a:pt x="319" y="274"/>
                    </a:moveTo>
                    <a:lnTo>
                      <a:pt x="321" y="274"/>
                    </a:lnTo>
                    <a:lnTo>
                      <a:pt x="321" y="276"/>
                    </a:lnTo>
                    <a:lnTo>
                      <a:pt x="319" y="276"/>
                    </a:lnTo>
                    <a:lnTo>
                      <a:pt x="319" y="274"/>
                    </a:lnTo>
                    <a:close/>
                    <a:moveTo>
                      <a:pt x="312" y="279"/>
                    </a:moveTo>
                    <a:lnTo>
                      <a:pt x="312" y="277"/>
                    </a:lnTo>
                    <a:lnTo>
                      <a:pt x="312" y="276"/>
                    </a:lnTo>
                    <a:lnTo>
                      <a:pt x="312" y="274"/>
                    </a:lnTo>
                    <a:lnTo>
                      <a:pt x="312" y="276"/>
                    </a:lnTo>
                    <a:lnTo>
                      <a:pt x="311" y="276"/>
                    </a:lnTo>
                    <a:lnTo>
                      <a:pt x="311" y="277"/>
                    </a:lnTo>
                    <a:lnTo>
                      <a:pt x="311" y="279"/>
                    </a:lnTo>
                    <a:lnTo>
                      <a:pt x="312" y="279"/>
                    </a:lnTo>
                    <a:close/>
                    <a:moveTo>
                      <a:pt x="319" y="279"/>
                    </a:moveTo>
                    <a:lnTo>
                      <a:pt x="319" y="277"/>
                    </a:lnTo>
                    <a:lnTo>
                      <a:pt x="319" y="276"/>
                    </a:lnTo>
                    <a:lnTo>
                      <a:pt x="318" y="276"/>
                    </a:lnTo>
                    <a:lnTo>
                      <a:pt x="318" y="277"/>
                    </a:lnTo>
                    <a:lnTo>
                      <a:pt x="319" y="277"/>
                    </a:lnTo>
                    <a:lnTo>
                      <a:pt x="318" y="277"/>
                    </a:lnTo>
                    <a:lnTo>
                      <a:pt x="318" y="279"/>
                    </a:lnTo>
                    <a:lnTo>
                      <a:pt x="319" y="279"/>
                    </a:lnTo>
                    <a:lnTo>
                      <a:pt x="318" y="279"/>
                    </a:lnTo>
                    <a:lnTo>
                      <a:pt x="319" y="279"/>
                    </a:lnTo>
                    <a:close/>
                    <a:moveTo>
                      <a:pt x="318" y="276"/>
                    </a:moveTo>
                    <a:lnTo>
                      <a:pt x="318" y="277"/>
                    </a:lnTo>
                    <a:lnTo>
                      <a:pt x="318" y="276"/>
                    </a:lnTo>
                    <a:close/>
                    <a:moveTo>
                      <a:pt x="319" y="276"/>
                    </a:moveTo>
                    <a:lnTo>
                      <a:pt x="319" y="277"/>
                    </a:lnTo>
                    <a:lnTo>
                      <a:pt x="319" y="276"/>
                    </a:lnTo>
                    <a:close/>
                    <a:moveTo>
                      <a:pt x="318" y="276"/>
                    </a:moveTo>
                    <a:lnTo>
                      <a:pt x="318" y="277"/>
                    </a:lnTo>
                    <a:lnTo>
                      <a:pt x="318" y="276"/>
                    </a:lnTo>
                    <a:close/>
                    <a:moveTo>
                      <a:pt x="319" y="276"/>
                    </a:moveTo>
                    <a:lnTo>
                      <a:pt x="319" y="277"/>
                    </a:lnTo>
                    <a:lnTo>
                      <a:pt x="319" y="276"/>
                    </a:lnTo>
                    <a:close/>
                    <a:moveTo>
                      <a:pt x="312" y="277"/>
                    </a:moveTo>
                    <a:lnTo>
                      <a:pt x="314" y="277"/>
                    </a:lnTo>
                    <a:lnTo>
                      <a:pt x="312" y="277"/>
                    </a:lnTo>
                    <a:close/>
                    <a:moveTo>
                      <a:pt x="312" y="277"/>
                    </a:moveTo>
                    <a:lnTo>
                      <a:pt x="314" y="277"/>
                    </a:lnTo>
                    <a:lnTo>
                      <a:pt x="312" y="277"/>
                    </a:lnTo>
                    <a:close/>
                    <a:moveTo>
                      <a:pt x="312" y="277"/>
                    </a:moveTo>
                    <a:lnTo>
                      <a:pt x="314" y="277"/>
                    </a:lnTo>
                    <a:lnTo>
                      <a:pt x="314" y="279"/>
                    </a:lnTo>
                    <a:lnTo>
                      <a:pt x="312" y="279"/>
                    </a:lnTo>
                    <a:lnTo>
                      <a:pt x="312" y="277"/>
                    </a:lnTo>
                    <a:close/>
                    <a:moveTo>
                      <a:pt x="321" y="277"/>
                    </a:moveTo>
                    <a:lnTo>
                      <a:pt x="323" y="277"/>
                    </a:lnTo>
                    <a:lnTo>
                      <a:pt x="323" y="279"/>
                    </a:lnTo>
                    <a:lnTo>
                      <a:pt x="321" y="279"/>
                    </a:lnTo>
                    <a:lnTo>
                      <a:pt x="321" y="277"/>
                    </a:lnTo>
                    <a:close/>
                    <a:moveTo>
                      <a:pt x="316" y="277"/>
                    </a:moveTo>
                    <a:lnTo>
                      <a:pt x="318" y="277"/>
                    </a:lnTo>
                    <a:lnTo>
                      <a:pt x="318" y="279"/>
                    </a:lnTo>
                    <a:lnTo>
                      <a:pt x="316" y="279"/>
                    </a:lnTo>
                    <a:lnTo>
                      <a:pt x="316" y="277"/>
                    </a:lnTo>
                    <a:close/>
                    <a:moveTo>
                      <a:pt x="314" y="277"/>
                    </a:moveTo>
                    <a:lnTo>
                      <a:pt x="316" y="277"/>
                    </a:lnTo>
                    <a:lnTo>
                      <a:pt x="316" y="279"/>
                    </a:lnTo>
                    <a:lnTo>
                      <a:pt x="314" y="279"/>
                    </a:lnTo>
                    <a:lnTo>
                      <a:pt x="314" y="277"/>
                    </a:lnTo>
                    <a:close/>
                    <a:moveTo>
                      <a:pt x="70" y="279"/>
                    </a:moveTo>
                    <a:lnTo>
                      <a:pt x="72" y="279"/>
                    </a:lnTo>
                    <a:lnTo>
                      <a:pt x="74" y="279"/>
                    </a:lnTo>
                    <a:lnTo>
                      <a:pt x="72" y="279"/>
                    </a:lnTo>
                    <a:lnTo>
                      <a:pt x="72" y="277"/>
                    </a:lnTo>
                    <a:lnTo>
                      <a:pt x="70" y="277"/>
                    </a:lnTo>
                    <a:lnTo>
                      <a:pt x="70" y="279"/>
                    </a:lnTo>
                    <a:lnTo>
                      <a:pt x="70" y="277"/>
                    </a:lnTo>
                    <a:lnTo>
                      <a:pt x="70" y="279"/>
                    </a:lnTo>
                    <a:lnTo>
                      <a:pt x="68" y="279"/>
                    </a:lnTo>
                    <a:lnTo>
                      <a:pt x="70" y="279"/>
                    </a:lnTo>
                    <a:close/>
                    <a:moveTo>
                      <a:pt x="319" y="277"/>
                    </a:moveTo>
                    <a:lnTo>
                      <a:pt x="319" y="279"/>
                    </a:lnTo>
                    <a:lnTo>
                      <a:pt x="319" y="277"/>
                    </a:lnTo>
                    <a:close/>
                    <a:moveTo>
                      <a:pt x="318" y="279"/>
                    </a:moveTo>
                    <a:lnTo>
                      <a:pt x="319" y="279"/>
                    </a:lnTo>
                    <a:lnTo>
                      <a:pt x="319" y="281"/>
                    </a:lnTo>
                    <a:lnTo>
                      <a:pt x="318" y="281"/>
                    </a:lnTo>
                    <a:lnTo>
                      <a:pt x="318" y="279"/>
                    </a:lnTo>
                    <a:close/>
                    <a:moveTo>
                      <a:pt x="65" y="279"/>
                    </a:moveTo>
                    <a:lnTo>
                      <a:pt x="67" y="279"/>
                    </a:lnTo>
                    <a:lnTo>
                      <a:pt x="65" y="279"/>
                    </a:lnTo>
                    <a:close/>
                    <a:moveTo>
                      <a:pt x="323" y="279"/>
                    </a:moveTo>
                    <a:lnTo>
                      <a:pt x="325" y="279"/>
                    </a:lnTo>
                    <a:lnTo>
                      <a:pt x="325" y="281"/>
                    </a:lnTo>
                    <a:lnTo>
                      <a:pt x="323" y="281"/>
                    </a:lnTo>
                    <a:lnTo>
                      <a:pt x="323" y="279"/>
                    </a:lnTo>
                    <a:close/>
                    <a:moveTo>
                      <a:pt x="318" y="279"/>
                    </a:moveTo>
                    <a:lnTo>
                      <a:pt x="319" y="279"/>
                    </a:lnTo>
                    <a:lnTo>
                      <a:pt x="319" y="281"/>
                    </a:lnTo>
                    <a:lnTo>
                      <a:pt x="318" y="281"/>
                    </a:lnTo>
                    <a:lnTo>
                      <a:pt x="318" y="279"/>
                    </a:lnTo>
                    <a:close/>
                    <a:moveTo>
                      <a:pt x="312" y="279"/>
                    </a:moveTo>
                    <a:lnTo>
                      <a:pt x="314" y="279"/>
                    </a:lnTo>
                    <a:lnTo>
                      <a:pt x="314" y="281"/>
                    </a:lnTo>
                    <a:lnTo>
                      <a:pt x="312" y="281"/>
                    </a:lnTo>
                    <a:lnTo>
                      <a:pt x="312" y="279"/>
                    </a:lnTo>
                    <a:close/>
                    <a:moveTo>
                      <a:pt x="295" y="293"/>
                    </a:moveTo>
                    <a:lnTo>
                      <a:pt x="297" y="293"/>
                    </a:lnTo>
                    <a:lnTo>
                      <a:pt x="295" y="293"/>
                    </a:lnTo>
                    <a:close/>
                    <a:moveTo>
                      <a:pt x="295" y="293"/>
                    </a:moveTo>
                    <a:lnTo>
                      <a:pt x="295" y="295"/>
                    </a:lnTo>
                    <a:lnTo>
                      <a:pt x="295" y="293"/>
                    </a:lnTo>
                    <a:close/>
                    <a:moveTo>
                      <a:pt x="291" y="298"/>
                    </a:moveTo>
                    <a:lnTo>
                      <a:pt x="291" y="300"/>
                    </a:lnTo>
                    <a:lnTo>
                      <a:pt x="291" y="298"/>
                    </a:lnTo>
                    <a:close/>
                    <a:moveTo>
                      <a:pt x="272" y="310"/>
                    </a:moveTo>
                    <a:lnTo>
                      <a:pt x="274" y="310"/>
                    </a:lnTo>
                    <a:lnTo>
                      <a:pt x="272" y="310"/>
                    </a:lnTo>
                    <a:close/>
                    <a:moveTo>
                      <a:pt x="272" y="310"/>
                    </a:moveTo>
                    <a:lnTo>
                      <a:pt x="272" y="312"/>
                    </a:lnTo>
                    <a:lnTo>
                      <a:pt x="272" y="310"/>
                    </a:lnTo>
                    <a:close/>
                    <a:moveTo>
                      <a:pt x="264" y="316"/>
                    </a:moveTo>
                    <a:lnTo>
                      <a:pt x="264" y="317"/>
                    </a:lnTo>
                    <a:lnTo>
                      <a:pt x="264" y="316"/>
                    </a:lnTo>
                    <a:close/>
                    <a:moveTo>
                      <a:pt x="75" y="323"/>
                    </a:moveTo>
                    <a:lnTo>
                      <a:pt x="75" y="324"/>
                    </a:lnTo>
                    <a:lnTo>
                      <a:pt x="75" y="323"/>
                    </a:lnTo>
                    <a:close/>
                    <a:moveTo>
                      <a:pt x="237" y="344"/>
                    </a:moveTo>
                    <a:lnTo>
                      <a:pt x="237" y="345"/>
                    </a:lnTo>
                    <a:lnTo>
                      <a:pt x="237" y="344"/>
                    </a:lnTo>
                    <a:close/>
                    <a:moveTo>
                      <a:pt x="222" y="359"/>
                    </a:moveTo>
                    <a:lnTo>
                      <a:pt x="222" y="361"/>
                    </a:lnTo>
                    <a:lnTo>
                      <a:pt x="222" y="359"/>
                    </a:lnTo>
                    <a:close/>
                    <a:moveTo>
                      <a:pt x="199" y="375"/>
                    </a:moveTo>
                    <a:lnTo>
                      <a:pt x="201" y="375"/>
                    </a:lnTo>
                    <a:lnTo>
                      <a:pt x="201" y="377"/>
                    </a:lnTo>
                    <a:lnTo>
                      <a:pt x="199" y="377"/>
                    </a:lnTo>
                    <a:lnTo>
                      <a:pt x="199" y="375"/>
                    </a:lnTo>
                    <a:close/>
                    <a:moveTo>
                      <a:pt x="197" y="375"/>
                    </a:moveTo>
                    <a:lnTo>
                      <a:pt x="199" y="375"/>
                    </a:lnTo>
                    <a:lnTo>
                      <a:pt x="199" y="377"/>
                    </a:lnTo>
                    <a:lnTo>
                      <a:pt x="197" y="377"/>
                    </a:lnTo>
                    <a:lnTo>
                      <a:pt x="197" y="375"/>
                    </a:lnTo>
                    <a:close/>
                    <a:moveTo>
                      <a:pt x="197" y="375"/>
                    </a:moveTo>
                    <a:lnTo>
                      <a:pt x="197" y="377"/>
                    </a:lnTo>
                    <a:lnTo>
                      <a:pt x="197" y="375"/>
                    </a:lnTo>
                    <a:close/>
                    <a:moveTo>
                      <a:pt x="93" y="392"/>
                    </a:moveTo>
                    <a:lnTo>
                      <a:pt x="95" y="392"/>
                    </a:lnTo>
                    <a:lnTo>
                      <a:pt x="93" y="392"/>
                    </a:lnTo>
                    <a:close/>
                    <a:moveTo>
                      <a:pt x="187" y="394"/>
                    </a:moveTo>
                    <a:lnTo>
                      <a:pt x="189" y="394"/>
                    </a:lnTo>
                    <a:lnTo>
                      <a:pt x="189" y="396"/>
                    </a:lnTo>
                    <a:lnTo>
                      <a:pt x="187" y="396"/>
                    </a:lnTo>
                    <a:lnTo>
                      <a:pt x="187" y="394"/>
                    </a:lnTo>
                    <a:close/>
                    <a:moveTo>
                      <a:pt x="187" y="394"/>
                    </a:moveTo>
                    <a:lnTo>
                      <a:pt x="189" y="394"/>
                    </a:lnTo>
                    <a:lnTo>
                      <a:pt x="189" y="396"/>
                    </a:lnTo>
                    <a:lnTo>
                      <a:pt x="187" y="396"/>
                    </a:lnTo>
                    <a:lnTo>
                      <a:pt x="187" y="394"/>
                    </a:lnTo>
                    <a:close/>
                    <a:moveTo>
                      <a:pt x="387" y="410"/>
                    </a:moveTo>
                    <a:lnTo>
                      <a:pt x="389" y="410"/>
                    </a:lnTo>
                    <a:lnTo>
                      <a:pt x="387" y="410"/>
                    </a:lnTo>
                    <a:close/>
                    <a:moveTo>
                      <a:pt x="102" y="410"/>
                    </a:moveTo>
                    <a:lnTo>
                      <a:pt x="103" y="410"/>
                    </a:lnTo>
                    <a:lnTo>
                      <a:pt x="102" y="410"/>
                    </a:lnTo>
                    <a:close/>
                    <a:moveTo>
                      <a:pt x="386" y="410"/>
                    </a:moveTo>
                    <a:lnTo>
                      <a:pt x="387" y="410"/>
                    </a:lnTo>
                    <a:lnTo>
                      <a:pt x="387" y="412"/>
                    </a:lnTo>
                    <a:lnTo>
                      <a:pt x="386" y="412"/>
                    </a:lnTo>
                    <a:lnTo>
                      <a:pt x="386" y="410"/>
                    </a:lnTo>
                    <a:close/>
                    <a:moveTo>
                      <a:pt x="386" y="422"/>
                    </a:moveTo>
                    <a:lnTo>
                      <a:pt x="386" y="420"/>
                    </a:lnTo>
                    <a:lnTo>
                      <a:pt x="387" y="420"/>
                    </a:lnTo>
                    <a:lnTo>
                      <a:pt x="386" y="420"/>
                    </a:lnTo>
                    <a:lnTo>
                      <a:pt x="387" y="420"/>
                    </a:lnTo>
                    <a:lnTo>
                      <a:pt x="387" y="422"/>
                    </a:lnTo>
                    <a:lnTo>
                      <a:pt x="387" y="420"/>
                    </a:lnTo>
                    <a:lnTo>
                      <a:pt x="387" y="419"/>
                    </a:lnTo>
                    <a:lnTo>
                      <a:pt x="387" y="420"/>
                    </a:lnTo>
                    <a:lnTo>
                      <a:pt x="387" y="419"/>
                    </a:lnTo>
                    <a:lnTo>
                      <a:pt x="387" y="420"/>
                    </a:lnTo>
                    <a:lnTo>
                      <a:pt x="389" y="420"/>
                    </a:lnTo>
                    <a:lnTo>
                      <a:pt x="389" y="419"/>
                    </a:lnTo>
                    <a:lnTo>
                      <a:pt x="389" y="417"/>
                    </a:lnTo>
                    <a:lnTo>
                      <a:pt x="389" y="415"/>
                    </a:lnTo>
                    <a:lnTo>
                      <a:pt x="387" y="415"/>
                    </a:lnTo>
                    <a:lnTo>
                      <a:pt x="389" y="415"/>
                    </a:lnTo>
                    <a:lnTo>
                      <a:pt x="387" y="415"/>
                    </a:lnTo>
                    <a:lnTo>
                      <a:pt x="389" y="415"/>
                    </a:lnTo>
                    <a:lnTo>
                      <a:pt x="389" y="413"/>
                    </a:lnTo>
                    <a:lnTo>
                      <a:pt x="389" y="412"/>
                    </a:lnTo>
                    <a:lnTo>
                      <a:pt x="387" y="412"/>
                    </a:lnTo>
                    <a:lnTo>
                      <a:pt x="387" y="413"/>
                    </a:lnTo>
                    <a:lnTo>
                      <a:pt x="386" y="413"/>
                    </a:lnTo>
                    <a:lnTo>
                      <a:pt x="387" y="413"/>
                    </a:lnTo>
                    <a:lnTo>
                      <a:pt x="386" y="413"/>
                    </a:lnTo>
                    <a:lnTo>
                      <a:pt x="386" y="415"/>
                    </a:lnTo>
                    <a:lnTo>
                      <a:pt x="386" y="417"/>
                    </a:lnTo>
                    <a:lnTo>
                      <a:pt x="386" y="419"/>
                    </a:lnTo>
                    <a:lnTo>
                      <a:pt x="386" y="420"/>
                    </a:lnTo>
                    <a:lnTo>
                      <a:pt x="386" y="422"/>
                    </a:lnTo>
                    <a:close/>
                    <a:moveTo>
                      <a:pt x="387" y="420"/>
                    </a:moveTo>
                    <a:lnTo>
                      <a:pt x="389" y="420"/>
                    </a:lnTo>
                    <a:lnTo>
                      <a:pt x="389" y="422"/>
                    </a:lnTo>
                    <a:lnTo>
                      <a:pt x="387" y="422"/>
                    </a:lnTo>
                    <a:lnTo>
                      <a:pt x="387" y="420"/>
                    </a:lnTo>
                    <a:close/>
                    <a:moveTo>
                      <a:pt x="384" y="424"/>
                    </a:moveTo>
                    <a:lnTo>
                      <a:pt x="384" y="422"/>
                    </a:lnTo>
                    <a:lnTo>
                      <a:pt x="384" y="420"/>
                    </a:lnTo>
                    <a:lnTo>
                      <a:pt x="384" y="422"/>
                    </a:lnTo>
                    <a:lnTo>
                      <a:pt x="382" y="422"/>
                    </a:lnTo>
                    <a:lnTo>
                      <a:pt x="382" y="424"/>
                    </a:lnTo>
                    <a:lnTo>
                      <a:pt x="384" y="424"/>
                    </a:lnTo>
                    <a:lnTo>
                      <a:pt x="382" y="424"/>
                    </a:lnTo>
                    <a:lnTo>
                      <a:pt x="384" y="424"/>
                    </a:lnTo>
                    <a:close/>
                    <a:moveTo>
                      <a:pt x="386" y="422"/>
                    </a:moveTo>
                    <a:lnTo>
                      <a:pt x="387" y="422"/>
                    </a:lnTo>
                    <a:lnTo>
                      <a:pt x="386" y="422"/>
                    </a:lnTo>
                    <a:close/>
                    <a:moveTo>
                      <a:pt x="384" y="422"/>
                    </a:moveTo>
                    <a:lnTo>
                      <a:pt x="386" y="422"/>
                    </a:lnTo>
                    <a:lnTo>
                      <a:pt x="384" y="422"/>
                    </a:lnTo>
                    <a:close/>
                    <a:moveTo>
                      <a:pt x="384" y="431"/>
                    </a:moveTo>
                    <a:lnTo>
                      <a:pt x="386" y="431"/>
                    </a:lnTo>
                    <a:lnTo>
                      <a:pt x="387" y="431"/>
                    </a:lnTo>
                    <a:lnTo>
                      <a:pt x="386" y="431"/>
                    </a:lnTo>
                    <a:lnTo>
                      <a:pt x="387" y="431"/>
                    </a:lnTo>
                    <a:lnTo>
                      <a:pt x="386" y="431"/>
                    </a:lnTo>
                    <a:lnTo>
                      <a:pt x="386" y="429"/>
                    </a:lnTo>
                    <a:lnTo>
                      <a:pt x="387" y="429"/>
                    </a:lnTo>
                    <a:lnTo>
                      <a:pt x="386" y="429"/>
                    </a:lnTo>
                    <a:lnTo>
                      <a:pt x="387" y="429"/>
                    </a:lnTo>
                    <a:lnTo>
                      <a:pt x="386" y="429"/>
                    </a:lnTo>
                    <a:lnTo>
                      <a:pt x="387" y="429"/>
                    </a:lnTo>
                    <a:lnTo>
                      <a:pt x="387" y="427"/>
                    </a:lnTo>
                    <a:lnTo>
                      <a:pt x="387" y="426"/>
                    </a:lnTo>
                    <a:lnTo>
                      <a:pt x="387" y="424"/>
                    </a:lnTo>
                    <a:lnTo>
                      <a:pt x="387" y="422"/>
                    </a:lnTo>
                    <a:lnTo>
                      <a:pt x="386" y="422"/>
                    </a:lnTo>
                    <a:lnTo>
                      <a:pt x="384" y="422"/>
                    </a:lnTo>
                    <a:lnTo>
                      <a:pt x="384" y="424"/>
                    </a:lnTo>
                    <a:lnTo>
                      <a:pt x="384" y="426"/>
                    </a:lnTo>
                    <a:lnTo>
                      <a:pt x="386" y="426"/>
                    </a:lnTo>
                    <a:lnTo>
                      <a:pt x="386" y="427"/>
                    </a:lnTo>
                    <a:lnTo>
                      <a:pt x="386" y="426"/>
                    </a:lnTo>
                    <a:lnTo>
                      <a:pt x="384" y="426"/>
                    </a:lnTo>
                    <a:lnTo>
                      <a:pt x="384" y="427"/>
                    </a:lnTo>
                    <a:lnTo>
                      <a:pt x="384" y="429"/>
                    </a:lnTo>
                    <a:lnTo>
                      <a:pt x="384" y="431"/>
                    </a:lnTo>
                    <a:close/>
                    <a:moveTo>
                      <a:pt x="384" y="422"/>
                    </a:moveTo>
                    <a:lnTo>
                      <a:pt x="384" y="424"/>
                    </a:lnTo>
                    <a:lnTo>
                      <a:pt x="384" y="422"/>
                    </a:lnTo>
                    <a:close/>
                    <a:moveTo>
                      <a:pt x="384" y="424"/>
                    </a:moveTo>
                    <a:lnTo>
                      <a:pt x="384" y="426"/>
                    </a:lnTo>
                    <a:lnTo>
                      <a:pt x="384" y="424"/>
                    </a:lnTo>
                    <a:close/>
                    <a:moveTo>
                      <a:pt x="384" y="424"/>
                    </a:moveTo>
                    <a:lnTo>
                      <a:pt x="384" y="426"/>
                    </a:lnTo>
                    <a:lnTo>
                      <a:pt x="384" y="424"/>
                    </a:lnTo>
                    <a:close/>
                    <a:moveTo>
                      <a:pt x="387" y="429"/>
                    </a:moveTo>
                    <a:lnTo>
                      <a:pt x="387" y="431"/>
                    </a:lnTo>
                    <a:lnTo>
                      <a:pt x="387" y="429"/>
                    </a:lnTo>
                    <a:close/>
                    <a:moveTo>
                      <a:pt x="386" y="429"/>
                    </a:moveTo>
                    <a:lnTo>
                      <a:pt x="387" y="429"/>
                    </a:lnTo>
                    <a:lnTo>
                      <a:pt x="387" y="431"/>
                    </a:lnTo>
                    <a:lnTo>
                      <a:pt x="386" y="431"/>
                    </a:lnTo>
                    <a:lnTo>
                      <a:pt x="386" y="429"/>
                    </a:lnTo>
                    <a:close/>
                    <a:moveTo>
                      <a:pt x="384" y="436"/>
                    </a:moveTo>
                    <a:lnTo>
                      <a:pt x="386" y="436"/>
                    </a:lnTo>
                    <a:lnTo>
                      <a:pt x="386" y="434"/>
                    </a:lnTo>
                    <a:lnTo>
                      <a:pt x="386" y="432"/>
                    </a:lnTo>
                    <a:lnTo>
                      <a:pt x="386" y="431"/>
                    </a:lnTo>
                    <a:lnTo>
                      <a:pt x="384" y="431"/>
                    </a:lnTo>
                    <a:lnTo>
                      <a:pt x="386" y="431"/>
                    </a:lnTo>
                    <a:lnTo>
                      <a:pt x="386" y="432"/>
                    </a:lnTo>
                    <a:lnTo>
                      <a:pt x="384" y="432"/>
                    </a:lnTo>
                    <a:lnTo>
                      <a:pt x="384" y="434"/>
                    </a:lnTo>
                    <a:lnTo>
                      <a:pt x="384" y="436"/>
                    </a:lnTo>
                    <a:close/>
                    <a:moveTo>
                      <a:pt x="387" y="431"/>
                    </a:moveTo>
                    <a:lnTo>
                      <a:pt x="387" y="432"/>
                    </a:lnTo>
                    <a:lnTo>
                      <a:pt x="387" y="431"/>
                    </a:lnTo>
                    <a:close/>
                    <a:moveTo>
                      <a:pt x="384" y="431"/>
                    </a:moveTo>
                    <a:lnTo>
                      <a:pt x="384" y="432"/>
                    </a:lnTo>
                    <a:lnTo>
                      <a:pt x="384" y="431"/>
                    </a:lnTo>
                    <a:close/>
                    <a:moveTo>
                      <a:pt x="386" y="431"/>
                    </a:moveTo>
                    <a:lnTo>
                      <a:pt x="386" y="432"/>
                    </a:lnTo>
                    <a:lnTo>
                      <a:pt x="386" y="431"/>
                    </a:lnTo>
                    <a:close/>
                    <a:moveTo>
                      <a:pt x="386" y="432"/>
                    </a:moveTo>
                    <a:lnTo>
                      <a:pt x="387" y="432"/>
                    </a:lnTo>
                    <a:lnTo>
                      <a:pt x="386" y="432"/>
                    </a:lnTo>
                    <a:close/>
                    <a:moveTo>
                      <a:pt x="384" y="432"/>
                    </a:moveTo>
                    <a:lnTo>
                      <a:pt x="384" y="434"/>
                    </a:lnTo>
                    <a:lnTo>
                      <a:pt x="384" y="432"/>
                    </a:lnTo>
                    <a:close/>
                    <a:moveTo>
                      <a:pt x="384" y="445"/>
                    </a:moveTo>
                    <a:lnTo>
                      <a:pt x="384" y="443"/>
                    </a:lnTo>
                    <a:lnTo>
                      <a:pt x="384" y="441"/>
                    </a:lnTo>
                    <a:lnTo>
                      <a:pt x="384" y="443"/>
                    </a:lnTo>
                    <a:lnTo>
                      <a:pt x="384" y="441"/>
                    </a:lnTo>
                    <a:lnTo>
                      <a:pt x="384" y="443"/>
                    </a:lnTo>
                    <a:lnTo>
                      <a:pt x="384" y="441"/>
                    </a:lnTo>
                    <a:lnTo>
                      <a:pt x="384" y="439"/>
                    </a:lnTo>
                    <a:lnTo>
                      <a:pt x="386" y="439"/>
                    </a:lnTo>
                    <a:lnTo>
                      <a:pt x="386" y="438"/>
                    </a:lnTo>
                    <a:lnTo>
                      <a:pt x="384" y="438"/>
                    </a:lnTo>
                    <a:lnTo>
                      <a:pt x="384" y="439"/>
                    </a:lnTo>
                    <a:lnTo>
                      <a:pt x="384" y="438"/>
                    </a:lnTo>
                    <a:lnTo>
                      <a:pt x="384" y="436"/>
                    </a:lnTo>
                    <a:lnTo>
                      <a:pt x="386" y="436"/>
                    </a:lnTo>
                    <a:lnTo>
                      <a:pt x="384" y="436"/>
                    </a:lnTo>
                    <a:lnTo>
                      <a:pt x="384" y="434"/>
                    </a:lnTo>
                    <a:lnTo>
                      <a:pt x="384" y="432"/>
                    </a:lnTo>
                    <a:lnTo>
                      <a:pt x="382" y="432"/>
                    </a:lnTo>
                    <a:lnTo>
                      <a:pt x="382" y="434"/>
                    </a:lnTo>
                    <a:lnTo>
                      <a:pt x="382" y="432"/>
                    </a:lnTo>
                    <a:lnTo>
                      <a:pt x="384" y="432"/>
                    </a:lnTo>
                    <a:lnTo>
                      <a:pt x="382" y="432"/>
                    </a:lnTo>
                    <a:lnTo>
                      <a:pt x="382" y="434"/>
                    </a:lnTo>
                    <a:lnTo>
                      <a:pt x="382" y="436"/>
                    </a:lnTo>
                    <a:lnTo>
                      <a:pt x="382" y="438"/>
                    </a:lnTo>
                    <a:lnTo>
                      <a:pt x="382" y="439"/>
                    </a:lnTo>
                    <a:lnTo>
                      <a:pt x="382" y="438"/>
                    </a:lnTo>
                    <a:lnTo>
                      <a:pt x="380" y="438"/>
                    </a:lnTo>
                    <a:lnTo>
                      <a:pt x="380" y="439"/>
                    </a:lnTo>
                    <a:lnTo>
                      <a:pt x="382" y="439"/>
                    </a:lnTo>
                    <a:lnTo>
                      <a:pt x="382" y="441"/>
                    </a:lnTo>
                    <a:lnTo>
                      <a:pt x="382" y="443"/>
                    </a:lnTo>
                    <a:lnTo>
                      <a:pt x="382" y="441"/>
                    </a:lnTo>
                    <a:lnTo>
                      <a:pt x="382" y="443"/>
                    </a:lnTo>
                    <a:lnTo>
                      <a:pt x="382" y="445"/>
                    </a:lnTo>
                    <a:lnTo>
                      <a:pt x="384" y="445"/>
                    </a:lnTo>
                    <a:close/>
                    <a:moveTo>
                      <a:pt x="389" y="432"/>
                    </a:moveTo>
                    <a:lnTo>
                      <a:pt x="389" y="434"/>
                    </a:lnTo>
                    <a:lnTo>
                      <a:pt x="389" y="432"/>
                    </a:lnTo>
                    <a:close/>
                    <a:moveTo>
                      <a:pt x="384" y="432"/>
                    </a:moveTo>
                    <a:lnTo>
                      <a:pt x="384" y="434"/>
                    </a:lnTo>
                    <a:lnTo>
                      <a:pt x="384" y="432"/>
                    </a:lnTo>
                    <a:close/>
                    <a:moveTo>
                      <a:pt x="389" y="434"/>
                    </a:moveTo>
                    <a:lnTo>
                      <a:pt x="389" y="436"/>
                    </a:lnTo>
                    <a:lnTo>
                      <a:pt x="389" y="434"/>
                    </a:lnTo>
                    <a:close/>
                    <a:moveTo>
                      <a:pt x="387" y="434"/>
                    </a:moveTo>
                    <a:lnTo>
                      <a:pt x="389" y="434"/>
                    </a:lnTo>
                    <a:lnTo>
                      <a:pt x="387" y="434"/>
                    </a:lnTo>
                    <a:close/>
                    <a:moveTo>
                      <a:pt x="387" y="434"/>
                    </a:moveTo>
                    <a:lnTo>
                      <a:pt x="389" y="434"/>
                    </a:lnTo>
                    <a:lnTo>
                      <a:pt x="389" y="436"/>
                    </a:lnTo>
                    <a:lnTo>
                      <a:pt x="387" y="436"/>
                    </a:lnTo>
                    <a:lnTo>
                      <a:pt x="387" y="434"/>
                    </a:lnTo>
                    <a:close/>
                    <a:moveTo>
                      <a:pt x="389" y="438"/>
                    </a:moveTo>
                    <a:lnTo>
                      <a:pt x="389" y="436"/>
                    </a:lnTo>
                    <a:lnTo>
                      <a:pt x="387" y="436"/>
                    </a:lnTo>
                    <a:lnTo>
                      <a:pt x="387" y="438"/>
                    </a:lnTo>
                    <a:lnTo>
                      <a:pt x="389" y="438"/>
                    </a:lnTo>
                    <a:close/>
                    <a:moveTo>
                      <a:pt x="384" y="436"/>
                    </a:moveTo>
                    <a:lnTo>
                      <a:pt x="386" y="436"/>
                    </a:lnTo>
                    <a:lnTo>
                      <a:pt x="384" y="436"/>
                    </a:lnTo>
                    <a:close/>
                    <a:moveTo>
                      <a:pt x="112" y="436"/>
                    </a:moveTo>
                    <a:lnTo>
                      <a:pt x="112" y="438"/>
                    </a:lnTo>
                    <a:lnTo>
                      <a:pt x="112" y="436"/>
                    </a:lnTo>
                    <a:close/>
                    <a:moveTo>
                      <a:pt x="382" y="436"/>
                    </a:moveTo>
                    <a:lnTo>
                      <a:pt x="382" y="438"/>
                    </a:lnTo>
                    <a:lnTo>
                      <a:pt x="382" y="436"/>
                    </a:lnTo>
                    <a:close/>
                    <a:moveTo>
                      <a:pt x="112" y="436"/>
                    </a:moveTo>
                    <a:lnTo>
                      <a:pt x="112" y="438"/>
                    </a:lnTo>
                    <a:lnTo>
                      <a:pt x="112" y="436"/>
                    </a:lnTo>
                    <a:close/>
                    <a:moveTo>
                      <a:pt x="61" y="443"/>
                    </a:moveTo>
                    <a:lnTo>
                      <a:pt x="63" y="443"/>
                    </a:lnTo>
                    <a:lnTo>
                      <a:pt x="63" y="445"/>
                    </a:lnTo>
                    <a:lnTo>
                      <a:pt x="61" y="445"/>
                    </a:lnTo>
                    <a:lnTo>
                      <a:pt x="61" y="443"/>
                    </a:lnTo>
                    <a:close/>
                    <a:moveTo>
                      <a:pt x="380" y="443"/>
                    </a:moveTo>
                    <a:lnTo>
                      <a:pt x="382" y="443"/>
                    </a:lnTo>
                    <a:lnTo>
                      <a:pt x="380" y="443"/>
                    </a:lnTo>
                    <a:close/>
                    <a:moveTo>
                      <a:pt x="375" y="443"/>
                    </a:moveTo>
                    <a:lnTo>
                      <a:pt x="377" y="443"/>
                    </a:lnTo>
                    <a:lnTo>
                      <a:pt x="377" y="445"/>
                    </a:lnTo>
                    <a:lnTo>
                      <a:pt x="375" y="445"/>
                    </a:lnTo>
                    <a:lnTo>
                      <a:pt x="375" y="443"/>
                    </a:lnTo>
                    <a:close/>
                    <a:moveTo>
                      <a:pt x="382" y="443"/>
                    </a:moveTo>
                    <a:lnTo>
                      <a:pt x="382" y="445"/>
                    </a:lnTo>
                    <a:lnTo>
                      <a:pt x="382" y="443"/>
                    </a:lnTo>
                    <a:close/>
                    <a:moveTo>
                      <a:pt x="382" y="443"/>
                    </a:moveTo>
                    <a:lnTo>
                      <a:pt x="382" y="445"/>
                    </a:lnTo>
                    <a:lnTo>
                      <a:pt x="382" y="443"/>
                    </a:lnTo>
                    <a:close/>
                    <a:moveTo>
                      <a:pt x="382" y="446"/>
                    </a:moveTo>
                    <a:lnTo>
                      <a:pt x="384" y="446"/>
                    </a:lnTo>
                    <a:lnTo>
                      <a:pt x="382" y="446"/>
                    </a:lnTo>
                    <a:lnTo>
                      <a:pt x="384" y="446"/>
                    </a:lnTo>
                    <a:lnTo>
                      <a:pt x="384" y="445"/>
                    </a:lnTo>
                    <a:lnTo>
                      <a:pt x="382" y="445"/>
                    </a:lnTo>
                    <a:lnTo>
                      <a:pt x="382" y="446"/>
                    </a:lnTo>
                    <a:close/>
                    <a:moveTo>
                      <a:pt x="380" y="446"/>
                    </a:moveTo>
                    <a:lnTo>
                      <a:pt x="382" y="446"/>
                    </a:lnTo>
                    <a:lnTo>
                      <a:pt x="380" y="446"/>
                    </a:lnTo>
                    <a:close/>
                    <a:moveTo>
                      <a:pt x="384" y="446"/>
                    </a:moveTo>
                    <a:lnTo>
                      <a:pt x="384" y="448"/>
                    </a:lnTo>
                    <a:lnTo>
                      <a:pt x="384" y="446"/>
                    </a:lnTo>
                    <a:close/>
                    <a:moveTo>
                      <a:pt x="72" y="448"/>
                    </a:moveTo>
                    <a:lnTo>
                      <a:pt x="72" y="450"/>
                    </a:lnTo>
                    <a:lnTo>
                      <a:pt x="72" y="448"/>
                    </a:lnTo>
                    <a:close/>
                    <a:moveTo>
                      <a:pt x="382" y="452"/>
                    </a:moveTo>
                    <a:lnTo>
                      <a:pt x="384" y="452"/>
                    </a:lnTo>
                    <a:lnTo>
                      <a:pt x="384" y="453"/>
                    </a:lnTo>
                    <a:lnTo>
                      <a:pt x="382" y="453"/>
                    </a:lnTo>
                    <a:lnTo>
                      <a:pt x="382" y="452"/>
                    </a:lnTo>
                    <a:close/>
                    <a:moveTo>
                      <a:pt x="380" y="460"/>
                    </a:moveTo>
                    <a:lnTo>
                      <a:pt x="380" y="459"/>
                    </a:lnTo>
                    <a:lnTo>
                      <a:pt x="382" y="459"/>
                    </a:lnTo>
                    <a:lnTo>
                      <a:pt x="380" y="459"/>
                    </a:lnTo>
                    <a:lnTo>
                      <a:pt x="382" y="459"/>
                    </a:lnTo>
                    <a:lnTo>
                      <a:pt x="382" y="457"/>
                    </a:lnTo>
                    <a:lnTo>
                      <a:pt x="382" y="455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79" y="455"/>
                    </a:lnTo>
                    <a:lnTo>
                      <a:pt x="379" y="457"/>
                    </a:lnTo>
                    <a:lnTo>
                      <a:pt x="379" y="459"/>
                    </a:lnTo>
                    <a:lnTo>
                      <a:pt x="379" y="460"/>
                    </a:lnTo>
                    <a:lnTo>
                      <a:pt x="379" y="459"/>
                    </a:lnTo>
                    <a:lnTo>
                      <a:pt x="380" y="459"/>
                    </a:lnTo>
                    <a:lnTo>
                      <a:pt x="380" y="460"/>
                    </a:lnTo>
                    <a:close/>
                    <a:moveTo>
                      <a:pt x="63" y="453"/>
                    </a:moveTo>
                    <a:lnTo>
                      <a:pt x="63" y="455"/>
                    </a:lnTo>
                    <a:lnTo>
                      <a:pt x="63" y="453"/>
                    </a:lnTo>
                    <a:close/>
                    <a:moveTo>
                      <a:pt x="86" y="455"/>
                    </a:moveTo>
                    <a:lnTo>
                      <a:pt x="88" y="455"/>
                    </a:lnTo>
                    <a:lnTo>
                      <a:pt x="86" y="455"/>
                    </a:lnTo>
                    <a:close/>
                    <a:moveTo>
                      <a:pt x="70" y="459"/>
                    </a:moveTo>
                    <a:lnTo>
                      <a:pt x="70" y="460"/>
                    </a:lnTo>
                    <a:lnTo>
                      <a:pt x="70" y="459"/>
                    </a:lnTo>
                    <a:close/>
                    <a:moveTo>
                      <a:pt x="176" y="462"/>
                    </a:moveTo>
                    <a:lnTo>
                      <a:pt x="178" y="462"/>
                    </a:lnTo>
                    <a:lnTo>
                      <a:pt x="178" y="464"/>
                    </a:lnTo>
                    <a:lnTo>
                      <a:pt x="176" y="464"/>
                    </a:lnTo>
                    <a:lnTo>
                      <a:pt x="176" y="462"/>
                    </a:lnTo>
                    <a:close/>
                    <a:moveTo>
                      <a:pt x="178" y="464"/>
                    </a:moveTo>
                    <a:lnTo>
                      <a:pt x="180" y="464"/>
                    </a:lnTo>
                    <a:lnTo>
                      <a:pt x="178" y="464"/>
                    </a:lnTo>
                    <a:close/>
                    <a:moveTo>
                      <a:pt x="180" y="464"/>
                    </a:moveTo>
                    <a:lnTo>
                      <a:pt x="182" y="464"/>
                    </a:lnTo>
                    <a:lnTo>
                      <a:pt x="180" y="464"/>
                    </a:lnTo>
                    <a:close/>
                    <a:moveTo>
                      <a:pt x="86" y="466"/>
                    </a:moveTo>
                    <a:lnTo>
                      <a:pt x="86" y="467"/>
                    </a:lnTo>
                    <a:lnTo>
                      <a:pt x="86" y="466"/>
                    </a:lnTo>
                    <a:close/>
                    <a:moveTo>
                      <a:pt x="384" y="480"/>
                    </a:moveTo>
                    <a:lnTo>
                      <a:pt x="386" y="480"/>
                    </a:lnTo>
                    <a:lnTo>
                      <a:pt x="386" y="481"/>
                    </a:lnTo>
                    <a:lnTo>
                      <a:pt x="384" y="481"/>
                    </a:lnTo>
                    <a:lnTo>
                      <a:pt x="384" y="480"/>
                    </a:lnTo>
                    <a:close/>
                    <a:moveTo>
                      <a:pt x="168" y="481"/>
                    </a:moveTo>
                    <a:lnTo>
                      <a:pt x="169" y="481"/>
                    </a:lnTo>
                    <a:lnTo>
                      <a:pt x="168" y="481"/>
                    </a:lnTo>
                    <a:close/>
                    <a:moveTo>
                      <a:pt x="166" y="481"/>
                    </a:moveTo>
                    <a:lnTo>
                      <a:pt x="168" y="481"/>
                    </a:lnTo>
                    <a:lnTo>
                      <a:pt x="166" y="481"/>
                    </a:lnTo>
                    <a:close/>
                    <a:moveTo>
                      <a:pt x="176" y="481"/>
                    </a:moveTo>
                    <a:lnTo>
                      <a:pt x="178" y="481"/>
                    </a:lnTo>
                    <a:lnTo>
                      <a:pt x="176" y="481"/>
                    </a:lnTo>
                    <a:close/>
                    <a:moveTo>
                      <a:pt x="178" y="481"/>
                    </a:moveTo>
                    <a:lnTo>
                      <a:pt x="178" y="483"/>
                    </a:lnTo>
                    <a:lnTo>
                      <a:pt x="178" y="481"/>
                    </a:lnTo>
                    <a:close/>
                    <a:moveTo>
                      <a:pt x="161" y="483"/>
                    </a:moveTo>
                    <a:lnTo>
                      <a:pt x="163" y="483"/>
                    </a:lnTo>
                    <a:lnTo>
                      <a:pt x="161" y="483"/>
                    </a:lnTo>
                    <a:close/>
                    <a:moveTo>
                      <a:pt x="178" y="483"/>
                    </a:moveTo>
                    <a:lnTo>
                      <a:pt x="180" y="483"/>
                    </a:lnTo>
                    <a:lnTo>
                      <a:pt x="178" y="483"/>
                    </a:lnTo>
                    <a:close/>
                    <a:moveTo>
                      <a:pt x="398" y="490"/>
                    </a:moveTo>
                    <a:lnTo>
                      <a:pt x="398" y="493"/>
                    </a:lnTo>
                    <a:lnTo>
                      <a:pt x="398" y="490"/>
                    </a:lnTo>
                    <a:close/>
                    <a:moveTo>
                      <a:pt x="389" y="492"/>
                    </a:moveTo>
                    <a:lnTo>
                      <a:pt x="389" y="493"/>
                    </a:lnTo>
                    <a:lnTo>
                      <a:pt x="389" y="492"/>
                    </a:lnTo>
                    <a:close/>
                    <a:moveTo>
                      <a:pt x="389" y="493"/>
                    </a:moveTo>
                    <a:lnTo>
                      <a:pt x="391" y="493"/>
                    </a:lnTo>
                    <a:lnTo>
                      <a:pt x="391" y="497"/>
                    </a:lnTo>
                    <a:lnTo>
                      <a:pt x="389" y="497"/>
                    </a:lnTo>
                    <a:lnTo>
                      <a:pt x="389" y="493"/>
                    </a:lnTo>
                    <a:close/>
                    <a:moveTo>
                      <a:pt x="75" y="495"/>
                    </a:moveTo>
                    <a:lnTo>
                      <a:pt x="77" y="495"/>
                    </a:lnTo>
                    <a:lnTo>
                      <a:pt x="75" y="495"/>
                    </a:lnTo>
                    <a:close/>
                    <a:moveTo>
                      <a:pt x="392" y="495"/>
                    </a:moveTo>
                    <a:lnTo>
                      <a:pt x="392" y="497"/>
                    </a:lnTo>
                    <a:lnTo>
                      <a:pt x="392" y="495"/>
                    </a:lnTo>
                    <a:close/>
                    <a:moveTo>
                      <a:pt x="396" y="499"/>
                    </a:moveTo>
                    <a:lnTo>
                      <a:pt x="396" y="497"/>
                    </a:lnTo>
                    <a:lnTo>
                      <a:pt x="396" y="499"/>
                    </a:lnTo>
                    <a:lnTo>
                      <a:pt x="396" y="497"/>
                    </a:lnTo>
                    <a:lnTo>
                      <a:pt x="396" y="499"/>
                    </a:lnTo>
                    <a:lnTo>
                      <a:pt x="396" y="497"/>
                    </a:lnTo>
                    <a:lnTo>
                      <a:pt x="396" y="499"/>
                    </a:lnTo>
                    <a:close/>
                    <a:moveTo>
                      <a:pt x="398" y="497"/>
                    </a:moveTo>
                    <a:lnTo>
                      <a:pt x="398" y="499"/>
                    </a:lnTo>
                    <a:lnTo>
                      <a:pt x="398" y="497"/>
                    </a:lnTo>
                    <a:close/>
                    <a:moveTo>
                      <a:pt x="396" y="499"/>
                    </a:moveTo>
                    <a:lnTo>
                      <a:pt x="396" y="500"/>
                    </a:lnTo>
                    <a:lnTo>
                      <a:pt x="396" y="499"/>
                    </a:lnTo>
                    <a:close/>
                    <a:moveTo>
                      <a:pt x="396" y="499"/>
                    </a:moveTo>
                    <a:lnTo>
                      <a:pt x="398" y="499"/>
                    </a:lnTo>
                    <a:lnTo>
                      <a:pt x="398" y="500"/>
                    </a:lnTo>
                    <a:lnTo>
                      <a:pt x="396" y="500"/>
                    </a:lnTo>
                    <a:lnTo>
                      <a:pt x="396" y="499"/>
                    </a:lnTo>
                    <a:close/>
                    <a:moveTo>
                      <a:pt x="392" y="499"/>
                    </a:moveTo>
                    <a:lnTo>
                      <a:pt x="396" y="499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2" y="499"/>
                    </a:lnTo>
                    <a:close/>
                    <a:moveTo>
                      <a:pt x="398" y="511"/>
                    </a:moveTo>
                    <a:lnTo>
                      <a:pt x="399" y="511"/>
                    </a:lnTo>
                    <a:lnTo>
                      <a:pt x="399" y="509"/>
                    </a:lnTo>
                    <a:lnTo>
                      <a:pt x="398" y="509"/>
                    </a:lnTo>
                    <a:lnTo>
                      <a:pt x="398" y="511"/>
                    </a:lnTo>
                    <a:close/>
                    <a:moveTo>
                      <a:pt x="401" y="520"/>
                    </a:moveTo>
                    <a:lnTo>
                      <a:pt x="401" y="518"/>
                    </a:lnTo>
                    <a:lnTo>
                      <a:pt x="401" y="520"/>
                    </a:lnTo>
                    <a:lnTo>
                      <a:pt x="401" y="518"/>
                    </a:lnTo>
                    <a:lnTo>
                      <a:pt x="403" y="518"/>
                    </a:lnTo>
                    <a:lnTo>
                      <a:pt x="403" y="516"/>
                    </a:lnTo>
                    <a:lnTo>
                      <a:pt x="403" y="518"/>
                    </a:lnTo>
                    <a:lnTo>
                      <a:pt x="403" y="516"/>
                    </a:lnTo>
                    <a:lnTo>
                      <a:pt x="403" y="514"/>
                    </a:lnTo>
                    <a:lnTo>
                      <a:pt x="401" y="514"/>
                    </a:lnTo>
                    <a:lnTo>
                      <a:pt x="403" y="514"/>
                    </a:lnTo>
                    <a:lnTo>
                      <a:pt x="401" y="514"/>
                    </a:lnTo>
                    <a:lnTo>
                      <a:pt x="403" y="514"/>
                    </a:lnTo>
                    <a:lnTo>
                      <a:pt x="401" y="514"/>
                    </a:lnTo>
                    <a:lnTo>
                      <a:pt x="401" y="513"/>
                    </a:lnTo>
                    <a:lnTo>
                      <a:pt x="403" y="513"/>
                    </a:lnTo>
                    <a:lnTo>
                      <a:pt x="401" y="513"/>
                    </a:lnTo>
                    <a:lnTo>
                      <a:pt x="401" y="511"/>
                    </a:lnTo>
                    <a:lnTo>
                      <a:pt x="401" y="513"/>
                    </a:lnTo>
                    <a:lnTo>
                      <a:pt x="399" y="513"/>
                    </a:lnTo>
                    <a:lnTo>
                      <a:pt x="398" y="513"/>
                    </a:lnTo>
                    <a:lnTo>
                      <a:pt x="398" y="514"/>
                    </a:lnTo>
                    <a:lnTo>
                      <a:pt x="399" y="514"/>
                    </a:lnTo>
                    <a:lnTo>
                      <a:pt x="398" y="514"/>
                    </a:lnTo>
                    <a:lnTo>
                      <a:pt x="399" y="514"/>
                    </a:lnTo>
                    <a:lnTo>
                      <a:pt x="398" y="514"/>
                    </a:lnTo>
                    <a:lnTo>
                      <a:pt x="399" y="514"/>
                    </a:lnTo>
                    <a:lnTo>
                      <a:pt x="399" y="516"/>
                    </a:lnTo>
                    <a:lnTo>
                      <a:pt x="398" y="516"/>
                    </a:lnTo>
                    <a:lnTo>
                      <a:pt x="399" y="516"/>
                    </a:lnTo>
                    <a:lnTo>
                      <a:pt x="399" y="514"/>
                    </a:lnTo>
                    <a:lnTo>
                      <a:pt x="399" y="516"/>
                    </a:lnTo>
                    <a:lnTo>
                      <a:pt x="399" y="518"/>
                    </a:lnTo>
                    <a:lnTo>
                      <a:pt x="401" y="518"/>
                    </a:lnTo>
                    <a:lnTo>
                      <a:pt x="399" y="518"/>
                    </a:lnTo>
                    <a:lnTo>
                      <a:pt x="401" y="518"/>
                    </a:lnTo>
                    <a:lnTo>
                      <a:pt x="401" y="52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2" name="Freeform 19">
                <a:extLst>
                  <a:ext uri="{FF2B5EF4-FFF2-40B4-BE49-F238E27FC236}">
                    <a16:creationId xmlns:a16="http://schemas.microsoft.com/office/drawing/2014/main" id="{6812689D-62B3-232D-D88D-EC7F9AFF9CF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732036" y="-1710858"/>
                <a:ext cx="222158" cy="912398"/>
              </a:xfrm>
              <a:custGeom>
                <a:avLst/>
                <a:gdLst>
                  <a:gd name="T0" fmla="*/ 137 w 141"/>
                  <a:gd name="T1" fmla="*/ 132 h 578"/>
                  <a:gd name="T2" fmla="*/ 141 w 141"/>
                  <a:gd name="T3" fmla="*/ 132 h 578"/>
                  <a:gd name="T4" fmla="*/ 141 w 141"/>
                  <a:gd name="T5" fmla="*/ 134 h 578"/>
                  <a:gd name="T6" fmla="*/ 137 w 141"/>
                  <a:gd name="T7" fmla="*/ 134 h 578"/>
                  <a:gd name="T8" fmla="*/ 137 w 141"/>
                  <a:gd name="T9" fmla="*/ 132 h 578"/>
                  <a:gd name="T10" fmla="*/ 32 w 141"/>
                  <a:gd name="T11" fmla="*/ 509 h 578"/>
                  <a:gd name="T12" fmla="*/ 36 w 141"/>
                  <a:gd name="T13" fmla="*/ 509 h 578"/>
                  <a:gd name="T14" fmla="*/ 36 w 141"/>
                  <a:gd name="T15" fmla="*/ 513 h 578"/>
                  <a:gd name="T16" fmla="*/ 32 w 141"/>
                  <a:gd name="T17" fmla="*/ 513 h 578"/>
                  <a:gd name="T18" fmla="*/ 32 w 141"/>
                  <a:gd name="T19" fmla="*/ 509 h 578"/>
                  <a:gd name="T20" fmla="*/ 0 w 141"/>
                  <a:gd name="T21" fmla="*/ 0 h 578"/>
                  <a:gd name="T22" fmla="*/ 2 w 141"/>
                  <a:gd name="T23" fmla="*/ 0 h 578"/>
                  <a:gd name="T24" fmla="*/ 2 w 141"/>
                  <a:gd name="T25" fmla="*/ 2 h 578"/>
                  <a:gd name="T26" fmla="*/ 0 w 141"/>
                  <a:gd name="T27" fmla="*/ 2 h 578"/>
                  <a:gd name="T28" fmla="*/ 0 w 141"/>
                  <a:gd name="T29" fmla="*/ 0 h 578"/>
                  <a:gd name="T30" fmla="*/ 70 w 141"/>
                  <a:gd name="T31" fmla="*/ 576 h 578"/>
                  <a:gd name="T32" fmla="*/ 72 w 141"/>
                  <a:gd name="T33" fmla="*/ 576 h 578"/>
                  <a:gd name="T34" fmla="*/ 72 w 141"/>
                  <a:gd name="T35" fmla="*/ 578 h 578"/>
                  <a:gd name="T36" fmla="*/ 70 w 141"/>
                  <a:gd name="T37" fmla="*/ 578 h 578"/>
                  <a:gd name="T38" fmla="*/ 70 w 141"/>
                  <a:gd name="T39" fmla="*/ 576 h 578"/>
                  <a:gd name="T40" fmla="*/ 30 w 141"/>
                  <a:gd name="T41" fmla="*/ 517 h 578"/>
                  <a:gd name="T42" fmla="*/ 32 w 141"/>
                  <a:gd name="T43" fmla="*/ 517 h 578"/>
                  <a:gd name="T44" fmla="*/ 30 w 141"/>
                  <a:gd name="T45" fmla="*/ 517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1" h="578">
                    <a:moveTo>
                      <a:pt x="137" y="132"/>
                    </a:moveTo>
                    <a:lnTo>
                      <a:pt x="141" y="132"/>
                    </a:lnTo>
                    <a:lnTo>
                      <a:pt x="141" y="134"/>
                    </a:lnTo>
                    <a:lnTo>
                      <a:pt x="137" y="134"/>
                    </a:lnTo>
                    <a:lnTo>
                      <a:pt x="137" y="132"/>
                    </a:lnTo>
                    <a:close/>
                    <a:moveTo>
                      <a:pt x="32" y="509"/>
                    </a:moveTo>
                    <a:lnTo>
                      <a:pt x="36" y="509"/>
                    </a:lnTo>
                    <a:lnTo>
                      <a:pt x="36" y="513"/>
                    </a:lnTo>
                    <a:lnTo>
                      <a:pt x="32" y="513"/>
                    </a:lnTo>
                    <a:lnTo>
                      <a:pt x="32" y="509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70" y="576"/>
                    </a:moveTo>
                    <a:lnTo>
                      <a:pt x="72" y="576"/>
                    </a:lnTo>
                    <a:lnTo>
                      <a:pt x="72" y="578"/>
                    </a:lnTo>
                    <a:lnTo>
                      <a:pt x="70" y="578"/>
                    </a:lnTo>
                    <a:lnTo>
                      <a:pt x="70" y="576"/>
                    </a:lnTo>
                    <a:close/>
                    <a:moveTo>
                      <a:pt x="30" y="517"/>
                    </a:moveTo>
                    <a:lnTo>
                      <a:pt x="32" y="517"/>
                    </a:lnTo>
                    <a:lnTo>
                      <a:pt x="30" y="5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6" name="Freeform 23">
                <a:extLst>
                  <a:ext uri="{FF2B5EF4-FFF2-40B4-BE49-F238E27FC236}">
                    <a16:creationId xmlns:a16="http://schemas.microsoft.com/office/drawing/2014/main" id="{2864FEE4-DFAE-FC24-8147-6022FF7C864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32957" y="-1279919"/>
                <a:ext cx="47268" cy="20521"/>
              </a:xfrm>
              <a:custGeom>
                <a:avLst/>
                <a:gdLst>
                  <a:gd name="T0" fmla="*/ 28 w 30"/>
                  <a:gd name="T1" fmla="*/ 0 h 13"/>
                  <a:gd name="T2" fmla="*/ 30 w 30"/>
                  <a:gd name="T3" fmla="*/ 0 h 13"/>
                  <a:gd name="T4" fmla="*/ 30 w 30"/>
                  <a:gd name="T5" fmla="*/ 2 h 13"/>
                  <a:gd name="T6" fmla="*/ 28 w 30"/>
                  <a:gd name="T7" fmla="*/ 2 h 13"/>
                  <a:gd name="T8" fmla="*/ 28 w 30"/>
                  <a:gd name="T9" fmla="*/ 0 h 13"/>
                  <a:gd name="T10" fmla="*/ 0 w 30"/>
                  <a:gd name="T11" fmla="*/ 13 h 13"/>
                  <a:gd name="T12" fmla="*/ 1 w 30"/>
                  <a:gd name="T13" fmla="*/ 13 h 13"/>
                  <a:gd name="T14" fmla="*/ 0 w 30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13">
                    <a:moveTo>
                      <a:pt x="28" y="0"/>
                    </a:moveTo>
                    <a:lnTo>
                      <a:pt x="30" y="0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8" y="0"/>
                    </a:lnTo>
                    <a:close/>
                    <a:moveTo>
                      <a:pt x="0" y="13"/>
                    </a:moveTo>
                    <a:lnTo>
                      <a:pt x="1" y="13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7" name="Freeform 24">
                <a:extLst>
                  <a:ext uri="{FF2B5EF4-FFF2-40B4-BE49-F238E27FC236}">
                    <a16:creationId xmlns:a16="http://schemas.microsoft.com/office/drawing/2014/main" id="{9EACE77E-3F09-CE93-E2A8-B934D8D2D01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718761" y="-1502489"/>
                <a:ext cx="42540" cy="143649"/>
              </a:xfrm>
              <a:custGeom>
                <a:avLst/>
                <a:gdLst>
                  <a:gd name="T0" fmla="*/ 6 w 27"/>
                  <a:gd name="T1" fmla="*/ 87 h 91"/>
                  <a:gd name="T2" fmla="*/ 4 w 27"/>
                  <a:gd name="T3" fmla="*/ 87 h 91"/>
                  <a:gd name="T4" fmla="*/ 6 w 27"/>
                  <a:gd name="T5" fmla="*/ 89 h 91"/>
                  <a:gd name="T6" fmla="*/ 4 w 27"/>
                  <a:gd name="T7" fmla="*/ 89 h 91"/>
                  <a:gd name="T8" fmla="*/ 4 w 27"/>
                  <a:gd name="T9" fmla="*/ 87 h 91"/>
                  <a:gd name="T10" fmla="*/ 2 w 27"/>
                  <a:gd name="T11" fmla="*/ 87 h 91"/>
                  <a:gd name="T12" fmla="*/ 0 w 27"/>
                  <a:gd name="T13" fmla="*/ 86 h 91"/>
                  <a:gd name="T14" fmla="*/ 2 w 27"/>
                  <a:gd name="T15" fmla="*/ 86 h 91"/>
                  <a:gd name="T16" fmla="*/ 4 w 27"/>
                  <a:gd name="T17" fmla="*/ 87 h 91"/>
                  <a:gd name="T18" fmla="*/ 2 w 27"/>
                  <a:gd name="T19" fmla="*/ 87 h 91"/>
                  <a:gd name="T20" fmla="*/ 4 w 27"/>
                  <a:gd name="T21" fmla="*/ 87 h 91"/>
                  <a:gd name="T22" fmla="*/ 6 w 27"/>
                  <a:gd name="T23" fmla="*/ 86 h 91"/>
                  <a:gd name="T24" fmla="*/ 6 w 27"/>
                  <a:gd name="T25" fmla="*/ 87 h 91"/>
                  <a:gd name="T26" fmla="*/ 21 w 27"/>
                  <a:gd name="T27" fmla="*/ 44 h 91"/>
                  <a:gd name="T28" fmla="*/ 25 w 27"/>
                  <a:gd name="T29" fmla="*/ 44 h 91"/>
                  <a:gd name="T30" fmla="*/ 25 w 27"/>
                  <a:gd name="T31" fmla="*/ 45 h 91"/>
                  <a:gd name="T32" fmla="*/ 21 w 27"/>
                  <a:gd name="T33" fmla="*/ 45 h 91"/>
                  <a:gd name="T34" fmla="*/ 21 w 27"/>
                  <a:gd name="T35" fmla="*/ 44 h 91"/>
                  <a:gd name="T36" fmla="*/ 8 w 27"/>
                  <a:gd name="T37" fmla="*/ 89 h 91"/>
                  <a:gd name="T38" fmla="*/ 8 w 27"/>
                  <a:gd name="T39" fmla="*/ 91 h 91"/>
                  <a:gd name="T40" fmla="*/ 8 w 27"/>
                  <a:gd name="T41" fmla="*/ 89 h 91"/>
                  <a:gd name="T42" fmla="*/ 4 w 27"/>
                  <a:gd name="T43" fmla="*/ 63 h 91"/>
                  <a:gd name="T44" fmla="*/ 6 w 27"/>
                  <a:gd name="T45" fmla="*/ 63 h 91"/>
                  <a:gd name="T46" fmla="*/ 6 w 27"/>
                  <a:gd name="T47" fmla="*/ 65 h 91"/>
                  <a:gd name="T48" fmla="*/ 4 w 27"/>
                  <a:gd name="T49" fmla="*/ 65 h 91"/>
                  <a:gd name="T50" fmla="*/ 4 w 27"/>
                  <a:gd name="T51" fmla="*/ 63 h 91"/>
                  <a:gd name="T52" fmla="*/ 17 w 27"/>
                  <a:gd name="T53" fmla="*/ 63 h 91"/>
                  <a:gd name="T54" fmla="*/ 17 w 27"/>
                  <a:gd name="T55" fmla="*/ 65 h 91"/>
                  <a:gd name="T56" fmla="*/ 17 w 27"/>
                  <a:gd name="T57" fmla="*/ 63 h 91"/>
                  <a:gd name="T58" fmla="*/ 25 w 27"/>
                  <a:gd name="T59" fmla="*/ 0 h 91"/>
                  <a:gd name="T60" fmla="*/ 27 w 27"/>
                  <a:gd name="T61" fmla="*/ 0 h 91"/>
                  <a:gd name="T62" fmla="*/ 25 w 27"/>
                  <a:gd name="T63" fmla="*/ 0 h 91"/>
                  <a:gd name="T64" fmla="*/ 12 w 27"/>
                  <a:gd name="T65" fmla="*/ 47 h 91"/>
                  <a:gd name="T66" fmla="*/ 14 w 27"/>
                  <a:gd name="T67" fmla="*/ 47 h 91"/>
                  <a:gd name="T68" fmla="*/ 12 w 27"/>
                  <a:gd name="T69" fmla="*/ 47 h 91"/>
                  <a:gd name="T70" fmla="*/ 6 w 27"/>
                  <a:gd name="T71" fmla="*/ 61 h 91"/>
                  <a:gd name="T72" fmla="*/ 6 w 27"/>
                  <a:gd name="T73" fmla="*/ 63 h 91"/>
                  <a:gd name="T74" fmla="*/ 6 w 27"/>
                  <a:gd name="T75" fmla="*/ 61 h 91"/>
                  <a:gd name="T76" fmla="*/ 17 w 27"/>
                  <a:gd name="T77" fmla="*/ 61 h 91"/>
                  <a:gd name="T78" fmla="*/ 19 w 27"/>
                  <a:gd name="T79" fmla="*/ 61 h 91"/>
                  <a:gd name="T80" fmla="*/ 19 w 27"/>
                  <a:gd name="T81" fmla="*/ 63 h 91"/>
                  <a:gd name="T82" fmla="*/ 17 w 27"/>
                  <a:gd name="T83" fmla="*/ 63 h 91"/>
                  <a:gd name="T84" fmla="*/ 17 w 27"/>
                  <a:gd name="T85" fmla="*/ 61 h 91"/>
                  <a:gd name="T86" fmla="*/ 21 w 27"/>
                  <a:gd name="T87" fmla="*/ 45 h 91"/>
                  <a:gd name="T88" fmla="*/ 23 w 27"/>
                  <a:gd name="T89" fmla="*/ 45 h 91"/>
                  <a:gd name="T90" fmla="*/ 21 w 27"/>
                  <a:gd name="T91" fmla="*/ 45 h 91"/>
                  <a:gd name="T92" fmla="*/ 15 w 27"/>
                  <a:gd name="T93" fmla="*/ 65 h 91"/>
                  <a:gd name="T94" fmla="*/ 15 w 27"/>
                  <a:gd name="T95" fmla="*/ 66 h 91"/>
                  <a:gd name="T96" fmla="*/ 15 w 27"/>
                  <a:gd name="T97" fmla="*/ 6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" h="91">
                    <a:moveTo>
                      <a:pt x="6" y="87"/>
                    </a:moveTo>
                    <a:lnTo>
                      <a:pt x="4" y="87"/>
                    </a:lnTo>
                    <a:lnTo>
                      <a:pt x="6" y="89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0" y="86"/>
                    </a:lnTo>
                    <a:lnTo>
                      <a:pt x="2" y="86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4" y="87"/>
                    </a:lnTo>
                    <a:lnTo>
                      <a:pt x="6" y="86"/>
                    </a:lnTo>
                    <a:lnTo>
                      <a:pt x="6" y="87"/>
                    </a:lnTo>
                    <a:close/>
                    <a:moveTo>
                      <a:pt x="21" y="44"/>
                    </a:moveTo>
                    <a:lnTo>
                      <a:pt x="25" y="44"/>
                    </a:lnTo>
                    <a:lnTo>
                      <a:pt x="25" y="45"/>
                    </a:lnTo>
                    <a:lnTo>
                      <a:pt x="21" y="45"/>
                    </a:lnTo>
                    <a:lnTo>
                      <a:pt x="21" y="44"/>
                    </a:lnTo>
                    <a:close/>
                    <a:moveTo>
                      <a:pt x="8" y="89"/>
                    </a:moveTo>
                    <a:lnTo>
                      <a:pt x="8" y="91"/>
                    </a:lnTo>
                    <a:lnTo>
                      <a:pt x="8" y="89"/>
                    </a:lnTo>
                    <a:close/>
                    <a:moveTo>
                      <a:pt x="4" y="63"/>
                    </a:moveTo>
                    <a:lnTo>
                      <a:pt x="6" y="63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4" y="63"/>
                    </a:lnTo>
                    <a:close/>
                    <a:moveTo>
                      <a:pt x="17" y="63"/>
                    </a:moveTo>
                    <a:lnTo>
                      <a:pt x="17" y="65"/>
                    </a:lnTo>
                    <a:lnTo>
                      <a:pt x="17" y="63"/>
                    </a:lnTo>
                    <a:close/>
                    <a:moveTo>
                      <a:pt x="25" y="0"/>
                    </a:moveTo>
                    <a:lnTo>
                      <a:pt x="27" y="0"/>
                    </a:lnTo>
                    <a:lnTo>
                      <a:pt x="25" y="0"/>
                    </a:lnTo>
                    <a:close/>
                    <a:moveTo>
                      <a:pt x="12" y="47"/>
                    </a:moveTo>
                    <a:lnTo>
                      <a:pt x="14" y="47"/>
                    </a:lnTo>
                    <a:lnTo>
                      <a:pt x="12" y="47"/>
                    </a:lnTo>
                    <a:close/>
                    <a:moveTo>
                      <a:pt x="6" y="61"/>
                    </a:moveTo>
                    <a:lnTo>
                      <a:pt x="6" y="63"/>
                    </a:lnTo>
                    <a:lnTo>
                      <a:pt x="6" y="61"/>
                    </a:lnTo>
                    <a:close/>
                    <a:moveTo>
                      <a:pt x="17" y="61"/>
                    </a:moveTo>
                    <a:lnTo>
                      <a:pt x="19" y="61"/>
                    </a:lnTo>
                    <a:lnTo>
                      <a:pt x="19" y="63"/>
                    </a:lnTo>
                    <a:lnTo>
                      <a:pt x="17" y="63"/>
                    </a:lnTo>
                    <a:lnTo>
                      <a:pt x="17" y="61"/>
                    </a:lnTo>
                    <a:close/>
                    <a:moveTo>
                      <a:pt x="21" y="45"/>
                    </a:moveTo>
                    <a:lnTo>
                      <a:pt x="23" y="45"/>
                    </a:lnTo>
                    <a:lnTo>
                      <a:pt x="21" y="45"/>
                    </a:lnTo>
                    <a:close/>
                    <a:moveTo>
                      <a:pt x="15" y="65"/>
                    </a:moveTo>
                    <a:lnTo>
                      <a:pt x="15" y="66"/>
                    </a:lnTo>
                    <a:lnTo>
                      <a:pt x="15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9" name="Freeform 25">
                <a:extLst>
                  <a:ext uri="{FF2B5EF4-FFF2-40B4-BE49-F238E27FC236}">
                    <a16:creationId xmlns:a16="http://schemas.microsoft.com/office/drawing/2014/main" id="{23182C5A-4199-59F0-FE52-B31FF8A08F8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649435" y="-1575104"/>
                <a:ext cx="51996" cy="29993"/>
              </a:xfrm>
              <a:custGeom>
                <a:avLst/>
                <a:gdLst>
                  <a:gd name="T0" fmla="*/ 31 w 33"/>
                  <a:gd name="T1" fmla="*/ 0 h 19"/>
                  <a:gd name="T2" fmla="*/ 33 w 33"/>
                  <a:gd name="T3" fmla="*/ 0 h 19"/>
                  <a:gd name="T4" fmla="*/ 33 w 33"/>
                  <a:gd name="T5" fmla="*/ 4 h 19"/>
                  <a:gd name="T6" fmla="*/ 31 w 33"/>
                  <a:gd name="T7" fmla="*/ 4 h 19"/>
                  <a:gd name="T8" fmla="*/ 31 w 33"/>
                  <a:gd name="T9" fmla="*/ 0 h 19"/>
                  <a:gd name="T10" fmla="*/ 0 w 33"/>
                  <a:gd name="T11" fmla="*/ 17 h 19"/>
                  <a:gd name="T12" fmla="*/ 2 w 33"/>
                  <a:gd name="T13" fmla="*/ 17 h 19"/>
                  <a:gd name="T14" fmla="*/ 2 w 33"/>
                  <a:gd name="T15" fmla="*/ 19 h 19"/>
                  <a:gd name="T16" fmla="*/ 0 w 33"/>
                  <a:gd name="T17" fmla="*/ 19 h 19"/>
                  <a:gd name="T18" fmla="*/ 0 w 33"/>
                  <a:gd name="T19" fmla="*/ 17 h 19"/>
                  <a:gd name="T20" fmla="*/ 31 w 33"/>
                  <a:gd name="T21" fmla="*/ 0 h 19"/>
                  <a:gd name="T22" fmla="*/ 33 w 33"/>
                  <a:gd name="T23" fmla="*/ 0 h 19"/>
                  <a:gd name="T24" fmla="*/ 31 w 33"/>
                  <a:gd name="T2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19">
                    <a:moveTo>
                      <a:pt x="31" y="0"/>
                    </a:moveTo>
                    <a:lnTo>
                      <a:pt x="33" y="0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31" y="0"/>
                    </a:lnTo>
                    <a:close/>
                    <a:moveTo>
                      <a:pt x="0" y="17"/>
                    </a:moveTo>
                    <a:lnTo>
                      <a:pt x="2" y="17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0" y="17"/>
                    </a:lnTo>
                    <a:close/>
                    <a:moveTo>
                      <a:pt x="31" y="0"/>
                    </a:moveTo>
                    <a:lnTo>
                      <a:pt x="33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0" name="Freeform 28">
                <a:extLst>
                  <a:ext uri="{FF2B5EF4-FFF2-40B4-BE49-F238E27FC236}">
                    <a16:creationId xmlns:a16="http://schemas.microsoft.com/office/drawing/2014/main" id="{4913C329-03C2-2F40-32B2-AA78274F47A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769" y="-1684025"/>
                <a:ext cx="83507" cy="340963"/>
              </a:xfrm>
              <a:custGeom>
                <a:avLst/>
                <a:gdLst>
                  <a:gd name="T0" fmla="*/ 21 w 53"/>
                  <a:gd name="T1" fmla="*/ 202 h 216"/>
                  <a:gd name="T2" fmla="*/ 21 w 53"/>
                  <a:gd name="T3" fmla="*/ 204 h 216"/>
                  <a:gd name="T4" fmla="*/ 21 w 53"/>
                  <a:gd name="T5" fmla="*/ 202 h 216"/>
                  <a:gd name="T6" fmla="*/ 49 w 53"/>
                  <a:gd name="T7" fmla="*/ 214 h 216"/>
                  <a:gd name="T8" fmla="*/ 51 w 53"/>
                  <a:gd name="T9" fmla="*/ 214 h 216"/>
                  <a:gd name="T10" fmla="*/ 51 w 53"/>
                  <a:gd name="T11" fmla="*/ 216 h 216"/>
                  <a:gd name="T12" fmla="*/ 49 w 53"/>
                  <a:gd name="T13" fmla="*/ 216 h 216"/>
                  <a:gd name="T14" fmla="*/ 49 w 53"/>
                  <a:gd name="T15" fmla="*/ 214 h 216"/>
                  <a:gd name="T16" fmla="*/ 47 w 53"/>
                  <a:gd name="T17" fmla="*/ 181 h 216"/>
                  <a:gd name="T18" fmla="*/ 47 w 53"/>
                  <a:gd name="T19" fmla="*/ 183 h 216"/>
                  <a:gd name="T20" fmla="*/ 47 w 53"/>
                  <a:gd name="T21" fmla="*/ 181 h 216"/>
                  <a:gd name="T22" fmla="*/ 53 w 53"/>
                  <a:gd name="T23" fmla="*/ 180 h 216"/>
                  <a:gd name="T24" fmla="*/ 53 w 53"/>
                  <a:gd name="T25" fmla="*/ 181 h 216"/>
                  <a:gd name="T26" fmla="*/ 53 w 53"/>
                  <a:gd name="T27" fmla="*/ 180 h 216"/>
                  <a:gd name="T28" fmla="*/ 21 w 53"/>
                  <a:gd name="T29" fmla="*/ 162 h 216"/>
                  <a:gd name="T30" fmla="*/ 21 w 53"/>
                  <a:gd name="T31" fmla="*/ 164 h 216"/>
                  <a:gd name="T32" fmla="*/ 21 w 53"/>
                  <a:gd name="T33" fmla="*/ 162 h 216"/>
                  <a:gd name="T34" fmla="*/ 47 w 53"/>
                  <a:gd name="T35" fmla="*/ 0 h 216"/>
                  <a:gd name="T36" fmla="*/ 49 w 53"/>
                  <a:gd name="T37" fmla="*/ 0 h 216"/>
                  <a:gd name="T38" fmla="*/ 49 w 53"/>
                  <a:gd name="T39" fmla="*/ 2 h 216"/>
                  <a:gd name="T40" fmla="*/ 47 w 53"/>
                  <a:gd name="T41" fmla="*/ 2 h 216"/>
                  <a:gd name="T42" fmla="*/ 47 w 53"/>
                  <a:gd name="T43" fmla="*/ 0 h 216"/>
                  <a:gd name="T44" fmla="*/ 1 w 53"/>
                  <a:gd name="T45" fmla="*/ 23 h 216"/>
                  <a:gd name="T46" fmla="*/ 1 w 53"/>
                  <a:gd name="T47" fmla="*/ 25 h 216"/>
                  <a:gd name="T48" fmla="*/ 1 w 53"/>
                  <a:gd name="T49" fmla="*/ 23 h 216"/>
                  <a:gd name="T50" fmla="*/ 0 w 53"/>
                  <a:gd name="T51" fmla="*/ 23 h 216"/>
                  <a:gd name="T52" fmla="*/ 1 w 53"/>
                  <a:gd name="T53" fmla="*/ 23 h 216"/>
                  <a:gd name="T54" fmla="*/ 1 w 53"/>
                  <a:gd name="T55" fmla="*/ 25 h 216"/>
                  <a:gd name="T56" fmla="*/ 0 w 53"/>
                  <a:gd name="T57" fmla="*/ 25 h 216"/>
                  <a:gd name="T58" fmla="*/ 0 w 53"/>
                  <a:gd name="T59" fmla="*/ 23 h 216"/>
                  <a:gd name="T60" fmla="*/ 49 w 53"/>
                  <a:gd name="T61" fmla="*/ 0 h 216"/>
                  <a:gd name="T62" fmla="*/ 51 w 53"/>
                  <a:gd name="T63" fmla="*/ 0 h 216"/>
                  <a:gd name="T64" fmla="*/ 51 w 53"/>
                  <a:gd name="T65" fmla="*/ 2 h 216"/>
                  <a:gd name="T66" fmla="*/ 49 w 53"/>
                  <a:gd name="T67" fmla="*/ 2 h 216"/>
                  <a:gd name="T68" fmla="*/ 49 w 53"/>
                  <a:gd name="T69" fmla="*/ 0 h 216"/>
                  <a:gd name="T70" fmla="*/ 47 w 53"/>
                  <a:gd name="T71" fmla="*/ 0 h 216"/>
                  <a:gd name="T72" fmla="*/ 49 w 53"/>
                  <a:gd name="T73" fmla="*/ 0 h 216"/>
                  <a:gd name="T74" fmla="*/ 47 w 53"/>
                  <a:gd name="T75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3" h="216">
                    <a:moveTo>
                      <a:pt x="21" y="202"/>
                    </a:moveTo>
                    <a:lnTo>
                      <a:pt x="21" y="204"/>
                    </a:lnTo>
                    <a:lnTo>
                      <a:pt x="21" y="202"/>
                    </a:lnTo>
                    <a:close/>
                    <a:moveTo>
                      <a:pt x="49" y="214"/>
                    </a:moveTo>
                    <a:lnTo>
                      <a:pt x="51" y="214"/>
                    </a:lnTo>
                    <a:lnTo>
                      <a:pt x="51" y="216"/>
                    </a:lnTo>
                    <a:lnTo>
                      <a:pt x="49" y="216"/>
                    </a:lnTo>
                    <a:lnTo>
                      <a:pt x="49" y="214"/>
                    </a:lnTo>
                    <a:close/>
                    <a:moveTo>
                      <a:pt x="47" y="181"/>
                    </a:moveTo>
                    <a:lnTo>
                      <a:pt x="47" y="183"/>
                    </a:lnTo>
                    <a:lnTo>
                      <a:pt x="47" y="181"/>
                    </a:lnTo>
                    <a:close/>
                    <a:moveTo>
                      <a:pt x="53" y="180"/>
                    </a:moveTo>
                    <a:lnTo>
                      <a:pt x="53" y="181"/>
                    </a:lnTo>
                    <a:lnTo>
                      <a:pt x="53" y="180"/>
                    </a:lnTo>
                    <a:close/>
                    <a:moveTo>
                      <a:pt x="21" y="162"/>
                    </a:moveTo>
                    <a:lnTo>
                      <a:pt x="21" y="164"/>
                    </a:lnTo>
                    <a:lnTo>
                      <a:pt x="21" y="162"/>
                    </a:lnTo>
                    <a:close/>
                    <a:moveTo>
                      <a:pt x="47" y="0"/>
                    </a:moveTo>
                    <a:lnTo>
                      <a:pt x="49" y="0"/>
                    </a:lnTo>
                    <a:lnTo>
                      <a:pt x="49" y="2"/>
                    </a:lnTo>
                    <a:lnTo>
                      <a:pt x="47" y="2"/>
                    </a:lnTo>
                    <a:lnTo>
                      <a:pt x="47" y="0"/>
                    </a:lnTo>
                    <a:close/>
                    <a:moveTo>
                      <a:pt x="1" y="23"/>
                    </a:moveTo>
                    <a:lnTo>
                      <a:pt x="1" y="25"/>
                    </a:lnTo>
                    <a:lnTo>
                      <a:pt x="1" y="23"/>
                    </a:lnTo>
                    <a:close/>
                    <a:moveTo>
                      <a:pt x="0" y="23"/>
                    </a:moveTo>
                    <a:lnTo>
                      <a:pt x="1" y="23"/>
                    </a:lnTo>
                    <a:lnTo>
                      <a:pt x="1" y="25"/>
                    </a:lnTo>
                    <a:lnTo>
                      <a:pt x="0" y="25"/>
                    </a:lnTo>
                    <a:lnTo>
                      <a:pt x="0" y="23"/>
                    </a:lnTo>
                    <a:close/>
                    <a:moveTo>
                      <a:pt x="49" y="0"/>
                    </a:moveTo>
                    <a:lnTo>
                      <a:pt x="51" y="0"/>
                    </a:lnTo>
                    <a:lnTo>
                      <a:pt x="51" y="2"/>
                    </a:lnTo>
                    <a:lnTo>
                      <a:pt x="49" y="2"/>
                    </a:lnTo>
                    <a:lnTo>
                      <a:pt x="49" y="0"/>
                    </a:lnTo>
                    <a:close/>
                    <a:moveTo>
                      <a:pt x="47" y="0"/>
                    </a:moveTo>
                    <a:lnTo>
                      <a:pt x="49" y="0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1" name="Freeform 29">
                <a:extLst>
                  <a:ext uri="{FF2B5EF4-FFF2-40B4-BE49-F238E27FC236}">
                    <a16:creationId xmlns:a16="http://schemas.microsoft.com/office/drawing/2014/main" id="{7EC5AD0A-1D25-F352-89EB-EA880C1A30B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16904" y="-1710858"/>
                <a:ext cx="507339" cy="524075"/>
              </a:xfrm>
              <a:custGeom>
                <a:avLst/>
                <a:gdLst>
                  <a:gd name="T0" fmla="*/ 82 w 322"/>
                  <a:gd name="T1" fmla="*/ 158 h 332"/>
                  <a:gd name="T2" fmla="*/ 234 w 322"/>
                  <a:gd name="T3" fmla="*/ 17 h 332"/>
                  <a:gd name="T4" fmla="*/ 249 w 322"/>
                  <a:gd name="T5" fmla="*/ 31 h 332"/>
                  <a:gd name="T6" fmla="*/ 51 w 322"/>
                  <a:gd name="T7" fmla="*/ 147 h 332"/>
                  <a:gd name="T8" fmla="*/ 76 w 322"/>
                  <a:gd name="T9" fmla="*/ 156 h 332"/>
                  <a:gd name="T10" fmla="*/ 150 w 322"/>
                  <a:gd name="T11" fmla="*/ 109 h 332"/>
                  <a:gd name="T12" fmla="*/ 240 w 322"/>
                  <a:gd name="T13" fmla="*/ 15 h 332"/>
                  <a:gd name="T14" fmla="*/ 257 w 322"/>
                  <a:gd name="T15" fmla="*/ 214 h 332"/>
                  <a:gd name="T16" fmla="*/ 253 w 322"/>
                  <a:gd name="T17" fmla="*/ 237 h 332"/>
                  <a:gd name="T18" fmla="*/ 82 w 322"/>
                  <a:gd name="T19" fmla="*/ 256 h 332"/>
                  <a:gd name="T20" fmla="*/ 223 w 322"/>
                  <a:gd name="T21" fmla="*/ 2 h 332"/>
                  <a:gd name="T22" fmla="*/ 291 w 322"/>
                  <a:gd name="T23" fmla="*/ 223 h 332"/>
                  <a:gd name="T24" fmla="*/ 141 w 322"/>
                  <a:gd name="T25" fmla="*/ 105 h 332"/>
                  <a:gd name="T26" fmla="*/ 322 w 322"/>
                  <a:gd name="T27" fmla="*/ 256 h 332"/>
                  <a:gd name="T28" fmla="*/ 154 w 322"/>
                  <a:gd name="T29" fmla="*/ 109 h 332"/>
                  <a:gd name="T30" fmla="*/ 47 w 322"/>
                  <a:gd name="T31" fmla="*/ 139 h 332"/>
                  <a:gd name="T32" fmla="*/ 145 w 322"/>
                  <a:gd name="T33" fmla="*/ 134 h 332"/>
                  <a:gd name="T34" fmla="*/ 112 w 322"/>
                  <a:gd name="T35" fmla="*/ 116 h 332"/>
                  <a:gd name="T36" fmla="*/ 185 w 322"/>
                  <a:gd name="T37" fmla="*/ 137 h 332"/>
                  <a:gd name="T38" fmla="*/ 230 w 322"/>
                  <a:gd name="T39" fmla="*/ 132 h 332"/>
                  <a:gd name="T40" fmla="*/ 154 w 322"/>
                  <a:gd name="T41" fmla="*/ 132 h 332"/>
                  <a:gd name="T42" fmla="*/ 307 w 322"/>
                  <a:gd name="T43" fmla="*/ 225 h 332"/>
                  <a:gd name="T44" fmla="*/ 223 w 322"/>
                  <a:gd name="T45" fmla="*/ 229 h 332"/>
                  <a:gd name="T46" fmla="*/ 158 w 322"/>
                  <a:gd name="T47" fmla="*/ 135 h 332"/>
                  <a:gd name="T48" fmla="*/ 289 w 322"/>
                  <a:gd name="T49" fmla="*/ 221 h 332"/>
                  <a:gd name="T50" fmla="*/ 114 w 322"/>
                  <a:gd name="T51" fmla="*/ 120 h 332"/>
                  <a:gd name="T52" fmla="*/ 118 w 322"/>
                  <a:gd name="T53" fmla="*/ 120 h 332"/>
                  <a:gd name="T54" fmla="*/ 198 w 322"/>
                  <a:gd name="T55" fmla="*/ 166 h 332"/>
                  <a:gd name="T56" fmla="*/ 259 w 322"/>
                  <a:gd name="T57" fmla="*/ 155 h 332"/>
                  <a:gd name="T58" fmla="*/ 135 w 322"/>
                  <a:gd name="T59" fmla="*/ 107 h 332"/>
                  <a:gd name="T60" fmla="*/ 145 w 322"/>
                  <a:gd name="T61" fmla="*/ 124 h 332"/>
                  <a:gd name="T62" fmla="*/ 194 w 322"/>
                  <a:gd name="T63" fmla="*/ 134 h 332"/>
                  <a:gd name="T64" fmla="*/ 248 w 322"/>
                  <a:gd name="T65" fmla="*/ 214 h 332"/>
                  <a:gd name="T66" fmla="*/ 225 w 322"/>
                  <a:gd name="T67" fmla="*/ 0 h 332"/>
                  <a:gd name="T68" fmla="*/ 314 w 322"/>
                  <a:gd name="T69" fmla="*/ 250 h 332"/>
                  <a:gd name="T70" fmla="*/ 45 w 322"/>
                  <a:gd name="T71" fmla="*/ 135 h 332"/>
                  <a:gd name="T72" fmla="*/ 213 w 322"/>
                  <a:gd name="T73" fmla="*/ 101 h 332"/>
                  <a:gd name="T74" fmla="*/ 141 w 322"/>
                  <a:gd name="T75" fmla="*/ 135 h 332"/>
                  <a:gd name="T76" fmla="*/ 146 w 322"/>
                  <a:gd name="T77" fmla="*/ 155 h 332"/>
                  <a:gd name="T78" fmla="*/ 166 w 322"/>
                  <a:gd name="T79" fmla="*/ 145 h 332"/>
                  <a:gd name="T80" fmla="*/ 133 w 322"/>
                  <a:gd name="T81" fmla="*/ 109 h 332"/>
                  <a:gd name="T82" fmla="*/ 188 w 322"/>
                  <a:gd name="T83" fmla="*/ 143 h 332"/>
                  <a:gd name="T84" fmla="*/ 131 w 322"/>
                  <a:gd name="T85" fmla="*/ 130 h 332"/>
                  <a:gd name="T86" fmla="*/ 211 w 322"/>
                  <a:gd name="T87" fmla="*/ 156 h 332"/>
                  <a:gd name="T88" fmla="*/ 150 w 322"/>
                  <a:gd name="T89" fmla="*/ 143 h 332"/>
                  <a:gd name="T90" fmla="*/ 169 w 322"/>
                  <a:gd name="T91" fmla="*/ 145 h 332"/>
                  <a:gd name="T92" fmla="*/ 125 w 322"/>
                  <a:gd name="T93" fmla="*/ 118 h 332"/>
                  <a:gd name="T94" fmla="*/ 152 w 322"/>
                  <a:gd name="T95" fmla="*/ 130 h 332"/>
                  <a:gd name="T96" fmla="*/ 146 w 322"/>
                  <a:gd name="T97" fmla="*/ 156 h 332"/>
                  <a:gd name="T98" fmla="*/ 150 w 322"/>
                  <a:gd name="T99" fmla="*/ 143 h 332"/>
                  <a:gd name="T100" fmla="*/ 108 w 322"/>
                  <a:gd name="T101" fmla="*/ 116 h 332"/>
                  <a:gd name="T102" fmla="*/ 164 w 322"/>
                  <a:gd name="T103" fmla="*/ 137 h 332"/>
                  <a:gd name="T104" fmla="*/ 198 w 322"/>
                  <a:gd name="T105" fmla="*/ 130 h 332"/>
                  <a:gd name="T106" fmla="*/ 196 w 322"/>
                  <a:gd name="T107" fmla="*/ 166 h 332"/>
                  <a:gd name="T108" fmla="*/ 166 w 322"/>
                  <a:gd name="T109" fmla="*/ 149 h 332"/>
                  <a:gd name="T110" fmla="*/ 225 w 322"/>
                  <a:gd name="T111" fmla="*/ 227 h 332"/>
                  <a:gd name="T112" fmla="*/ 131 w 322"/>
                  <a:gd name="T113" fmla="*/ 122 h 332"/>
                  <a:gd name="T114" fmla="*/ 105 w 322"/>
                  <a:gd name="T115" fmla="*/ 118 h 332"/>
                  <a:gd name="T116" fmla="*/ 213 w 322"/>
                  <a:gd name="T117" fmla="*/ 103 h 332"/>
                  <a:gd name="T118" fmla="*/ 194 w 322"/>
                  <a:gd name="T119" fmla="*/ 155 h 332"/>
                  <a:gd name="T120" fmla="*/ 219 w 322"/>
                  <a:gd name="T121" fmla="*/ 168 h 332"/>
                  <a:gd name="T122" fmla="*/ 114 w 322"/>
                  <a:gd name="T123" fmla="*/ 265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2" h="332">
                    <a:moveTo>
                      <a:pt x="89" y="162"/>
                    </a:moveTo>
                    <a:lnTo>
                      <a:pt x="89" y="164"/>
                    </a:lnTo>
                    <a:lnTo>
                      <a:pt x="87" y="164"/>
                    </a:lnTo>
                    <a:lnTo>
                      <a:pt x="85" y="162"/>
                    </a:lnTo>
                    <a:lnTo>
                      <a:pt x="85" y="160"/>
                    </a:lnTo>
                    <a:lnTo>
                      <a:pt x="85" y="162"/>
                    </a:lnTo>
                    <a:lnTo>
                      <a:pt x="84" y="162"/>
                    </a:lnTo>
                    <a:lnTo>
                      <a:pt x="82" y="162"/>
                    </a:lnTo>
                    <a:lnTo>
                      <a:pt x="82" y="160"/>
                    </a:lnTo>
                    <a:lnTo>
                      <a:pt x="82" y="158"/>
                    </a:lnTo>
                    <a:lnTo>
                      <a:pt x="84" y="158"/>
                    </a:lnTo>
                    <a:lnTo>
                      <a:pt x="84" y="156"/>
                    </a:lnTo>
                    <a:lnTo>
                      <a:pt x="85" y="158"/>
                    </a:lnTo>
                    <a:lnTo>
                      <a:pt x="85" y="160"/>
                    </a:lnTo>
                    <a:lnTo>
                      <a:pt x="87" y="162"/>
                    </a:lnTo>
                    <a:lnTo>
                      <a:pt x="87" y="160"/>
                    </a:lnTo>
                    <a:lnTo>
                      <a:pt x="87" y="162"/>
                    </a:lnTo>
                    <a:lnTo>
                      <a:pt x="89" y="162"/>
                    </a:lnTo>
                    <a:close/>
                    <a:moveTo>
                      <a:pt x="234" y="15"/>
                    </a:moveTo>
                    <a:lnTo>
                      <a:pt x="234" y="17"/>
                    </a:lnTo>
                    <a:lnTo>
                      <a:pt x="232" y="17"/>
                    </a:lnTo>
                    <a:lnTo>
                      <a:pt x="234" y="17"/>
                    </a:lnTo>
                    <a:lnTo>
                      <a:pt x="232" y="17"/>
                    </a:lnTo>
                    <a:lnTo>
                      <a:pt x="230" y="17"/>
                    </a:lnTo>
                    <a:lnTo>
                      <a:pt x="230" y="15"/>
                    </a:lnTo>
                    <a:lnTo>
                      <a:pt x="232" y="15"/>
                    </a:lnTo>
                    <a:lnTo>
                      <a:pt x="234" y="15"/>
                    </a:lnTo>
                    <a:close/>
                    <a:moveTo>
                      <a:pt x="253" y="31"/>
                    </a:moveTo>
                    <a:lnTo>
                      <a:pt x="251" y="31"/>
                    </a:lnTo>
                    <a:lnTo>
                      <a:pt x="249" y="31"/>
                    </a:lnTo>
                    <a:lnTo>
                      <a:pt x="249" y="32"/>
                    </a:lnTo>
                    <a:lnTo>
                      <a:pt x="248" y="32"/>
                    </a:lnTo>
                    <a:lnTo>
                      <a:pt x="248" y="31"/>
                    </a:lnTo>
                    <a:lnTo>
                      <a:pt x="249" y="29"/>
                    </a:lnTo>
                    <a:lnTo>
                      <a:pt x="249" y="31"/>
                    </a:lnTo>
                    <a:lnTo>
                      <a:pt x="249" y="29"/>
                    </a:lnTo>
                    <a:lnTo>
                      <a:pt x="251" y="31"/>
                    </a:lnTo>
                    <a:lnTo>
                      <a:pt x="253" y="31"/>
                    </a:lnTo>
                    <a:close/>
                    <a:moveTo>
                      <a:pt x="53" y="147"/>
                    </a:moveTo>
                    <a:lnTo>
                      <a:pt x="51" y="147"/>
                    </a:lnTo>
                    <a:lnTo>
                      <a:pt x="51" y="145"/>
                    </a:lnTo>
                    <a:lnTo>
                      <a:pt x="53" y="145"/>
                    </a:lnTo>
                    <a:lnTo>
                      <a:pt x="53" y="147"/>
                    </a:lnTo>
                    <a:lnTo>
                      <a:pt x="53" y="145"/>
                    </a:lnTo>
                    <a:lnTo>
                      <a:pt x="53" y="147"/>
                    </a:lnTo>
                    <a:close/>
                    <a:moveTo>
                      <a:pt x="76" y="156"/>
                    </a:moveTo>
                    <a:lnTo>
                      <a:pt x="80" y="156"/>
                    </a:lnTo>
                    <a:lnTo>
                      <a:pt x="80" y="158"/>
                    </a:lnTo>
                    <a:lnTo>
                      <a:pt x="76" y="158"/>
                    </a:lnTo>
                    <a:lnTo>
                      <a:pt x="76" y="156"/>
                    </a:lnTo>
                    <a:close/>
                    <a:moveTo>
                      <a:pt x="232" y="23"/>
                    </a:moveTo>
                    <a:lnTo>
                      <a:pt x="234" y="23"/>
                    </a:lnTo>
                    <a:lnTo>
                      <a:pt x="234" y="27"/>
                    </a:lnTo>
                    <a:lnTo>
                      <a:pt x="232" y="27"/>
                    </a:lnTo>
                    <a:lnTo>
                      <a:pt x="232" y="23"/>
                    </a:lnTo>
                    <a:close/>
                    <a:moveTo>
                      <a:pt x="150" y="109"/>
                    </a:moveTo>
                    <a:lnTo>
                      <a:pt x="152" y="109"/>
                    </a:lnTo>
                    <a:lnTo>
                      <a:pt x="152" y="111"/>
                    </a:lnTo>
                    <a:lnTo>
                      <a:pt x="150" y="111"/>
                    </a:lnTo>
                    <a:lnTo>
                      <a:pt x="150" y="109"/>
                    </a:lnTo>
                    <a:close/>
                    <a:moveTo>
                      <a:pt x="51" y="141"/>
                    </a:moveTo>
                    <a:lnTo>
                      <a:pt x="53" y="141"/>
                    </a:lnTo>
                    <a:lnTo>
                      <a:pt x="53" y="143"/>
                    </a:lnTo>
                    <a:lnTo>
                      <a:pt x="51" y="143"/>
                    </a:lnTo>
                    <a:lnTo>
                      <a:pt x="51" y="141"/>
                    </a:lnTo>
                    <a:close/>
                    <a:moveTo>
                      <a:pt x="240" y="15"/>
                    </a:moveTo>
                    <a:lnTo>
                      <a:pt x="242" y="15"/>
                    </a:lnTo>
                    <a:lnTo>
                      <a:pt x="242" y="17"/>
                    </a:lnTo>
                    <a:lnTo>
                      <a:pt x="240" y="17"/>
                    </a:lnTo>
                    <a:lnTo>
                      <a:pt x="240" y="15"/>
                    </a:lnTo>
                    <a:close/>
                    <a:moveTo>
                      <a:pt x="255" y="42"/>
                    </a:moveTo>
                    <a:lnTo>
                      <a:pt x="255" y="44"/>
                    </a:lnTo>
                    <a:lnTo>
                      <a:pt x="255" y="42"/>
                    </a:lnTo>
                    <a:close/>
                    <a:moveTo>
                      <a:pt x="59" y="143"/>
                    </a:moveTo>
                    <a:lnTo>
                      <a:pt x="61" y="143"/>
                    </a:lnTo>
                    <a:lnTo>
                      <a:pt x="61" y="147"/>
                    </a:lnTo>
                    <a:lnTo>
                      <a:pt x="59" y="147"/>
                    </a:lnTo>
                    <a:lnTo>
                      <a:pt x="59" y="143"/>
                    </a:lnTo>
                    <a:close/>
                    <a:moveTo>
                      <a:pt x="257" y="212"/>
                    </a:moveTo>
                    <a:lnTo>
                      <a:pt x="257" y="214"/>
                    </a:lnTo>
                    <a:lnTo>
                      <a:pt x="257" y="212"/>
                    </a:lnTo>
                    <a:close/>
                    <a:moveTo>
                      <a:pt x="248" y="32"/>
                    </a:moveTo>
                    <a:lnTo>
                      <a:pt x="249" y="32"/>
                    </a:lnTo>
                    <a:lnTo>
                      <a:pt x="249" y="34"/>
                    </a:lnTo>
                    <a:lnTo>
                      <a:pt x="248" y="34"/>
                    </a:lnTo>
                    <a:lnTo>
                      <a:pt x="248" y="32"/>
                    </a:lnTo>
                    <a:close/>
                    <a:moveTo>
                      <a:pt x="133" y="134"/>
                    </a:moveTo>
                    <a:lnTo>
                      <a:pt x="133" y="135"/>
                    </a:lnTo>
                    <a:lnTo>
                      <a:pt x="133" y="134"/>
                    </a:lnTo>
                    <a:close/>
                    <a:moveTo>
                      <a:pt x="253" y="237"/>
                    </a:moveTo>
                    <a:lnTo>
                      <a:pt x="255" y="237"/>
                    </a:lnTo>
                    <a:lnTo>
                      <a:pt x="255" y="239"/>
                    </a:lnTo>
                    <a:lnTo>
                      <a:pt x="253" y="239"/>
                    </a:lnTo>
                    <a:lnTo>
                      <a:pt x="253" y="237"/>
                    </a:lnTo>
                    <a:close/>
                    <a:moveTo>
                      <a:pt x="95" y="113"/>
                    </a:moveTo>
                    <a:lnTo>
                      <a:pt x="97" y="113"/>
                    </a:lnTo>
                    <a:lnTo>
                      <a:pt x="97" y="115"/>
                    </a:lnTo>
                    <a:lnTo>
                      <a:pt x="95" y="115"/>
                    </a:lnTo>
                    <a:lnTo>
                      <a:pt x="95" y="113"/>
                    </a:lnTo>
                    <a:close/>
                    <a:moveTo>
                      <a:pt x="82" y="256"/>
                    </a:moveTo>
                    <a:lnTo>
                      <a:pt x="84" y="256"/>
                    </a:lnTo>
                    <a:lnTo>
                      <a:pt x="84" y="258"/>
                    </a:lnTo>
                    <a:lnTo>
                      <a:pt x="82" y="258"/>
                    </a:lnTo>
                    <a:lnTo>
                      <a:pt x="82" y="256"/>
                    </a:lnTo>
                    <a:close/>
                    <a:moveTo>
                      <a:pt x="164" y="330"/>
                    </a:moveTo>
                    <a:lnTo>
                      <a:pt x="166" y="330"/>
                    </a:lnTo>
                    <a:lnTo>
                      <a:pt x="166" y="332"/>
                    </a:lnTo>
                    <a:lnTo>
                      <a:pt x="164" y="332"/>
                    </a:lnTo>
                    <a:lnTo>
                      <a:pt x="164" y="330"/>
                    </a:lnTo>
                    <a:close/>
                    <a:moveTo>
                      <a:pt x="223" y="2"/>
                    </a:moveTo>
                    <a:lnTo>
                      <a:pt x="225" y="2"/>
                    </a:lnTo>
                    <a:lnTo>
                      <a:pt x="225" y="4"/>
                    </a:lnTo>
                    <a:lnTo>
                      <a:pt x="223" y="4"/>
                    </a:lnTo>
                    <a:lnTo>
                      <a:pt x="223" y="2"/>
                    </a:lnTo>
                    <a:close/>
                    <a:moveTo>
                      <a:pt x="53" y="240"/>
                    </a:moveTo>
                    <a:lnTo>
                      <a:pt x="53" y="242"/>
                    </a:lnTo>
                    <a:lnTo>
                      <a:pt x="53" y="240"/>
                    </a:lnTo>
                    <a:close/>
                    <a:moveTo>
                      <a:pt x="291" y="223"/>
                    </a:moveTo>
                    <a:lnTo>
                      <a:pt x="291" y="225"/>
                    </a:lnTo>
                    <a:lnTo>
                      <a:pt x="291" y="223"/>
                    </a:lnTo>
                    <a:close/>
                    <a:moveTo>
                      <a:pt x="227" y="193"/>
                    </a:moveTo>
                    <a:lnTo>
                      <a:pt x="228" y="193"/>
                    </a:lnTo>
                    <a:lnTo>
                      <a:pt x="227" y="193"/>
                    </a:lnTo>
                    <a:close/>
                    <a:moveTo>
                      <a:pt x="141" y="105"/>
                    </a:moveTo>
                    <a:lnTo>
                      <a:pt x="141" y="107"/>
                    </a:lnTo>
                    <a:lnTo>
                      <a:pt x="139" y="107"/>
                    </a:lnTo>
                    <a:lnTo>
                      <a:pt x="141" y="107"/>
                    </a:lnTo>
                    <a:lnTo>
                      <a:pt x="141" y="105"/>
                    </a:lnTo>
                    <a:lnTo>
                      <a:pt x="137" y="107"/>
                    </a:lnTo>
                    <a:lnTo>
                      <a:pt x="141" y="105"/>
                    </a:lnTo>
                    <a:close/>
                    <a:moveTo>
                      <a:pt x="177" y="143"/>
                    </a:moveTo>
                    <a:lnTo>
                      <a:pt x="175" y="141"/>
                    </a:lnTo>
                    <a:lnTo>
                      <a:pt x="173" y="141"/>
                    </a:lnTo>
                    <a:lnTo>
                      <a:pt x="173" y="139"/>
                    </a:lnTo>
                    <a:lnTo>
                      <a:pt x="171" y="139"/>
                    </a:lnTo>
                    <a:lnTo>
                      <a:pt x="173" y="139"/>
                    </a:lnTo>
                    <a:lnTo>
                      <a:pt x="173" y="141"/>
                    </a:lnTo>
                    <a:lnTo>
                      <a:pt x="175" y="141"/>
                    </a:lnTo>
                    <a:lnTo>
                      <a:pt x="177" y="143"/>
                    </a:lnTo>
                    <a:close/>
                    <a:moveTo>
                      <a:pt x="322" y="256"/>
                    </a:moveTo>
                    <a:lnTo>
                      <a:pt x="322" y="258"/>
                    </a:lnTo>
                    <a:lnTo>
                      <a:pt x="322" y="256"/>
                    </a:lnTo>
                    <a:close/>
                    <a:moveTo>
                      <a:pt x="135" y="122"/>
                    </a:moveTo>
                    <a:lnTo>
                      <a:pt x="135" y="126"/>
                    </a:lnTo>
                    <a:lnTo>
                      <a:pt x="135" y="122"/>
                    </a:lnTo>
                    <a:lnTo>
                      <a:pt x="133" y="120"/>
                    </a:lnTo>
                    <a:lnTo>
                      <a:pt x="135" y="122"/>
                    </a:lnTo>
                    <a:close/>
                    <a:moveTo>
                      <a:pt x="156" y="107"/>
                    </a:moveTo>
                    <a:lnTo>
                      <a:pt x="154" y="107"/>
                    </a:lnTo>
                    <a:lnTo>
                      <a:pt x="154" y="109"/>
                    </a:lnTo>
                    <a:lnTo>
                      <a:pt x="154" y="107"/>
                    </a:lnTo>
                    <a:lnTo>
                      <a:pt x="154" y="109"/>
                    </a:lnTo>
                    <a:lnTo>
                      <a:pt x="156" y="107"/>
                    </a:lnTo>
                    <a:lnTo>
                      <a:pt x="156" y="105"/>
                    </a:lnTo>
                    <a:lnTo>
                      <a:pt x="156" y="107"/>
                    </a:lnTo>
                    <a:lnTo>
                      <a:pt x="154" y="107"/>
                    </a:lnTo>
                    <a:lnTo>
                      <a:pt x="156" y="107"/>
                    </a:lnTo>
                    <a:lnTo>
                      <a:pt x="156" y="105"/>
                    </a:lnTo>
                    <a:lnTo>
                      <a:pt x="156" y="107"/>
                    </a:lnTo>
                    <a:close/>
                    <a:moveTo>
                      <a:pt x="47" y="139"/>
                    </a:moveTo>
                    <a:lnTo>
                      <a:pt x="47" y="141"/>
                    </a:lnTo>
                    <a:lnTo>
                      <a:pt x="47" y="139"/>
                    </a:lnTo>
                    <a:close/>
                    <a:moveTo>
                      <a:pt x="219" y="130"/>
                    </a:moveTo>
                    <a:lnTo>
                      <a:pt x="221" y="130"/>
                    </a:lnTo>
                    <a:lnTo>
                      <a:pt x="219" y="130"/>
                    </a:lnTo>
                    <a:close/>
                    <a:moveTo>
                      <a:pt x="146" y="139"/>
                    </a:moveTo>
                    <a:lnTo>
                      <a:pt x="146" y="137"/>
                    </a:lnTo>
                    <a:lnTo>
                      <a:pt x="145" y="134"/>
                    </a:lnTo>
                    <a:lnTo>
                      <a:pt x="143" y="134"/>
                    </a:lnTo>
                    <a:lnTo>
                      <a:pt x="145" y="134"/>
                    </a:lnTo>
                    <a:lnTo>
                      <a:pt x="146" y="137"/>
                    </a:lnTo>
                    <a:lnTo>
                      <a:pt x="146" y="139"/>
                    </a:lnTo>
                    <a:close/>
                    <a:moveTo>
                      <a:pt x="253" y="231"/>
                    </a:moveTo>
                    <a:lnTo>
                      <a:pt x="251" y="231"/>
                    </a:lnTo>
                    <a:lnTo>
                      <a:pt x="253" y="231"/>
                    </a:lnTo>
                    <a:lnTo>
                      <a:pt x="251" y="229"/>
                    </a:lnTo>
                    <a:lnTo>
                      <a:pt x="253" y="231"/>
                    </a:lnTo>
                    <a:close/>
                    <a:moveTo>
                      <a:pt x="108" y="115"/>
                    </a:moveTo>
                    <a:lnTo>
                      <a:pt x="112" y="115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15"/>
                    </a:lnTo>
                    <a:close/>
                    <a:moveTo>
                      <a:pt x="116" y="118"/>
                    </a:moveTo>
                    <a:lnTo>
                      <a:pt x="114" y="116"/>
                    </a:lnTo>
                    <a:lnTo>
                      <a:pt x="112" y="115"/>
                    </a:lnTo>
                    <a:lnTo>
                      <a:pt x="116" y="118"/>
                    </a:lnTo>
                    <a:close/>
                    <a:moveTo>
                      <a:pt x="187" y="139"/>
                    </a:moveTo>
                    <a:lnTo>
                      <a:pt x="185" y="137"/>
                    </a:lnTo>
                    <a:lnTo>
                      <a:pt x="183" y="137"/>
                    </a:lnTo>
                    <a:lnTo>
                      <a:pt x="185" y="137"/>
                    </a:lnTo>
                    <a:lnTo>
                      <a:pt x="187" y="139"/>
                    </a:lnTo>
                    <a:close/>
                    <a:moveTo>
                      <a:pt x="314" y="252"/>
                    </a:moveTo>
                    <a:lnTo>
                      <a:pt x="314" y="254"/>
                    </a:lnTo>
                    <a:lnTo>
                      <a:pt x="314" y="252"/>
                    </a:lnTo>
                    <a:close/>
                    <a:moveTo>
                      <a:pt x="280" y="170"/>
                    </a:moveTo>
                    <a:lnTo>
                      <a:pt x="282" y="170"/>
                    </a:lnTo>
                    <a:lnTo>
                      <a:pt x="282" y="172"/>
                    </a:lnTo>
                    <a:lnTo>
                      <a:pt x="280" y="172"/>
                    </a:lnTo>
                    <a:lnTo>
                      <a:pt x="280" y="170"/>
                    </a:lnTo>
                    <a:close/>
                    <a:moveTo>
                      <a:pt x="230" y="132"/>
                    </a:moveTo>
                    <a:lnTo>
                      <a:pt x="232" y="132"/>
                    </a:lnTo>
                    <a:lnTo>
                      <a:pt x="230" y="132"/>
                    </a:lnTo>
                    <a:close/>
                    <a:moveTo>
                      <a:pt x="289" y="174"/>
                    </a:moveTo>
                    <a:lnTo>
                      <a:pt x="293" y="174"/>
                    </a:lnTo>
                    <a:lnTo>
                      <a:pt x="293" y="176"/>
                    </a:lnTo>
                    <a:lnTo>
                      <a:pt x="289" y="176"/>
                    </a:lnTo>
                    <a:lnTo>
                      <a:pt x="289" y="174"/>
                    </a:lnTo>
                    <a:close/>
                    <a:moveTo>
                      <a:pt x="154" y="132"/>
                    </a:moveTo>
                    <a:lnTo>
                      <a:pt x="152" y="132"/>
                    </a:lnTo>
                    <a:lnTo>
                      <a:pt x="154" y="132"/>
                    </a:lnTo>
                    <a:lnTo>
                      <a:pt x="152" y="130"/>
                    </a:lnTo>
                    <a:lnTo>
                      <a:pt x="152" y="128"/>
                    </a:lnTo>
                    <a:lnTo>
                      <a:pt x="152" y="130"/>
                    </a:lnTo>
                    <a:lnTo>
                      <a:pt x="152" y="128"/>
                    </a:lnTo>
                    <a:lnTo>
                      <a:pt x="152" y="130"/>
                    </a:lnTo>
                    <a:lnTo>
                      <a:pt x="154" y="132"/>
                    </a:lnTo>
                    <a:close/>
                    <a:moveTo>
                      <a:pt x="295" y="233"/>
                    </a:moveTo>
                    <a:lnTo>
                      <a:pt x="295" y="235"/>
                    </a:lnTo>
                    <a:lnTo>
                      <a:pt x="295" y="233"/>
                    </a:lnTo>
                    <a:close/>
                    <a:moveTo>
                      <a:pt x="307" y="225"/>
                    </a:moveTo>
                    <a:lnTo>
                      <a:pt x="305" y="225"/>
                    </a:lnTo>
                    <a:lnTo>
                      <a:pt x="307" y="225"/>
                    </a:lnTo>
                    <a:lnTo>
                      <a:pt x="305" y="225"/>
                    </a:lnTo>
                    <a:lnTo>
                      <a:pt x="303" y="225"/>
                    </a:lnTo>
                    <a:lnTo>
                      <a:pt x="305" y="225"/>
                    </a:lnTo>
                    <a:lnTo>
                      <a:pt x="307" y="225"/>
                    </a:lnTo>
                    <a:close/>
                    <a:moveTo>
                      <a:pt x="223" y="227"/>
                    </a:moveTo>
                    <a:lnTo>
                      <a:pt x="225" y="227"/>
                    </a:lnTo>
                    <a:lnTo>
                      <a:pt x="225" y="229"/>
                    </a:lnTo>
                    <a:lnTo>
                      <a:pt x="223" y="229"/>
                    </a:lnTo>
                    <a:lnTo>
                      <a:pt x="223" y="227"/>
                    </a:lnTo>
                    <a:close/>
                    <a:moveTo>
                      <a:pt x="213" y="185"/>
                    </a:moveTo>
                    <a:lnTo>
                      <a:pt x="215" y="185"/>
                    </a:lnTo>
                    <a:lnTo>
                      <a:pt x="215" y="187"/>
                    </a:lnTo>
                    <a:lnTo>
                      <a:pt x="213" y="187"/>
                    </a:lnTo>
                    <a:lnTo>
                      <a:pt x="213" y="185"/>
                    </a:lnTo>
                    <a:close/>
                    <a:moveTo>
                      <a:pt x="158" y="135"/>
                    </a:moveTo>
                    <a:lnTo>
                      <a:pt x="158" y="137"/>
                    </a:lnTo>
                    <a:lnTo>
                      <a:pt x="156" y="137"/>
                    </a:lnTo>
                    <a:lnTo>
                      <a:pt x="158" y="135"/>
                    </a:lnTo>
                    <a:lnTo>
                      <a:pt x="156" y="134"/>
                    </a:lnTo>
                    <a:lnTo>
                      <a:pt x="158" y="135"/>
                    </a:lnTo>
                    <a:close/>
                    <a:moveTo>
                      <a:pt x="103" y="115"/>
                    </a:moveTo>
                    <a:lnTo>
                      <a:pt x="106" y="115"/>
                    </a:lnTo>
                    <a:lnTo>
                      <a:pt x="106" y="116"/>
                    </a:lnTo>
                    <a:lnTo>
                      <a:pt x="103" y="116"/>
                    </a:lnTo>
                    <a:lnTo>
                      <a:pt x="103" y="115"/>
                    </a:lnTo>
                    <a:close/>
                    <a:moveTo>
                      <a:pt x="289" y="221"/>
                    </a:moveTo>
                    <a:lnTo>
                      <a:pt x="289" y="223"/>
                    </a:lnTo>
                    <a:lnTo>
                      <a:pt x="289" y="221"/>
                    </a:lnTo>
                    <a:close/>
                    <a:moveTo>
                      <a:pt x="223" y="174"/>
                    </a:moveTo>
                    <a:lnTo>
                      <a:pt x="223" y="172"/>
                    </a:lnTo>
                    <a:lnTo>
                      <a:pt x="221" y="172"/>
                    </a:lnTo>
                    <a:lnTo>
                      <a:pt x="221" y="170"/>
                    </a:lnTo>
                    <a:lnTo>
                      <a:pt x="221" y="172"/>
                    </a:lnTo>
                    <a:lnTo>
                      <a:pt x="223" y="172"/>
                    </a:lnTo>
                    <a:lnTo>
                      <a:pt x="223" y="174"/>
                    </a:lnTo>
                    <a:close/>
                    <a:moveTo>
                      <a:pt x="118" y="122"/>
                    </a:moveTo>
                    <a:lnTo>
                      <a:pt x="116" y="120"/>
                    </a:lnTo>
                    <a:lnTo>
                      <a:pt x="114" y="120"/>
                    </a:lnTo>
                    <a:lnTo>
                      <a:pt x="116" y="120"/>
                    </a:lnTo>
                    <a:lnTo>
                      <a:pt x="118" y="122"/>
                    </a:lnTo>
                    <a:close/>
                    <a:moveTo>
                      <a:pt x="181" y="143"/>
                    </a:moveTo>
                    <a:lnTo>
                      <a:pt x="179" y="143"/>
                    </a:lnTo>
                    <a:lnTo>
                      <a:pt x="177" y="143"/>
                    </a:lnTo>
                    <a:lnTo>
                      <a:pt x="179" y="143"/>
                    </a:lnTo>
                    <a:lnTo>
                      <a:pt x="181" y="143"/>
                    </a:lnTo>
                    <a:close/>
                    <a:moveTo>
                      <a:pt x="116" y="118"/>
                    </a:moveTo>
                    <a:lnTo>
                      <a:pt x="118" y="118"/>
                    </a:lnTo>
                    <a:lnTo>
                      <a:pt x="118" y="120"/>
                    </a:lnTo>
                    <a:lnTo>
                      <a:pt x="116" y="120"/>
                    </a:lnTo>
                    <a:lnTo>
                      <a:pt x="116" y="118"/>
                    </a:lnTo>
                    <a:close/>
                    <a:moveTo>
                      <a:pt x="145" y="155"/>
                    </a:moveTo>
                    <a:lnTo>
                      <a:pt x="145" y="156"/>
                    </a:lnTo>
                    <a:lnTo>
                      <a:pt x="145" y="155"/>
                    </a:lnTo>
                    <a:close/>
                    <a:moveTo>
                      <a:pt x="200" y="166"/>
                    </a:moveTo>
                    <a:lnTo>
                      <a:pt x="198" y="168"/>
                    </a:lnTo>
                    <a:lnTo>
                      <a:pt x="200" y="166"/>
                    </a:lnTo>
                    <a:lnTo>
                      <a:pt x="200" y="164"/>
                    </a:lnTo>
                    <a:lnTo>
                      <a:pt x="198" y="166"/>
                    </a:lnTo>
                    <a:lnTo>
                      <a:pt x="200" y="164"/>
                    </a:lnTo>
                    <a:lnTo>
                      <a:pt x="200" y="166"/>
                    </a:lnTo>
                    <a:close/>
                    <a:moveTo>
                      <a:pt x="219" y="166"/>
                    </a:moveTo>
                    <a:lnTo>
                      <a:pt x="221" y="166"/>
                    </a:lnTo>
                    <a:lnTo>
                      <a:pt x="221" y="170"/>
                    </a:lnTo>
                    <a:lnTo>
                      <a:pt x="219" y="170"/>
                    </a:lnTo>
                    <a:lnTo>
                      <a:pt x="219" y="166"/>
                    </a:lnTo>
                    <a:close/>
                    <a:moveTo>
                      <a:pt x="259" y="155"/>
                    </a:moveTo>
                    <a:lnTo>
                      <a:pt x="261" y="155"/>
                    </a:lnTo>
                    <a:lnTo>
                      <a:pt x="259" y="155"/>
                    </a:lnTo>
                    <a:close/>
                    <a:moveTo>
                      <a:pt x="112" y="120"/>
                    </a:moveTo>
                    <a:lnTo>
                      <a:pt x="114" y="120"/>
                    </a:lnTo>
                    <a:lnTo>
                      <a:pt x="112" y="120"/>
                    </a:lnTo>
                    <a:close/>
                    <a:moveTo>
                      <a:pt x="198" y="128"/>
                    </a:moveTo>
                    <a:lnTo>
                      <a:pt x="200" y="128"/>
                    </a:lnTo>
                    <a:lnTo>
                      <a:pt x="200" y="130"/>
                    </a:lnTo>
                    <a:lnTo>
                      <a:pt x="198" y="130"/>
                    </a:lnTo>
                    <a:lnTo>
                      <a:pt x="198" y="128"/>
                    </a:lnTo>
                    <a:close/>
                    <a:moveTo>
                      <a:pt x="133" y="107"/>
                    </a:moveTo>
                    <a:lnTo>
                      <a:pt x="135" y="107"/>
                    </a:lnTo>
                    <a:lnTo>
                      <a:pt x="133" y="107"/>
                    </a:lnTo>
                    <a:close/>
                    <a:moveTo>
                      <a:pt x="221" y="160"/>
                    </a:moveTo>
                    <a:lnTo>
                      <a:pt x="225" y="160"/>
                    </a:lnTo>
                    <a:lnTo>
                      <a:pt x="225" y="162"/>
                    </a:lnTo>
                    <a:lnTo>
                      <a:pt x="221" y="162"/>
                    </a:lnTo>
                    <a:lnTo>
                      <a:pt x="221" y="160"/>
                    </a:lnTo>
                    <a:close/>
                    <a:moveTo>
                      <a:pt x="118" y="120"/>
                    </a:moveTo>
                    <a:lnTo>
                      <a:pt x="120" y="120"/>
                    </a:lnTo>
                    <a:lnTo>
                      <a:pt x="118" y="120"/>
                    </a:lnTo>
                    <a:close/>
                    <a:moveTo>
                      <a:pt x="145" y="124"/>
                    </a:moveTo>
                    <a:lnTo>
                      <a:pt x="148" y="124"/>
                    </a:lnTo>
                    <a:lnTo>
                      <a:pt x="145" y="124"/>
                    </a:lnTo>
                    <a:close/>
                    <a:moveTo>
                      <a:pt x="166" y="139"/>
                    </a:moveTo>
                    <a:lnTo>
                      <a:pt x="167" y="139"/>
                    </a:lnTo>
                    <a:lnTo>
                      <a:pt x="167" y="141"/>
                    </a:lnTo>
                    <a:lnTo>
                      <a:pt x="166" y="141"/>
                    </a:lnTo>
                    <a:lnTo>
                      <a:pt x="166" y="139"/>
                    </a:lnTo>
                    <a:close/>
                    <a:moveTo>
                      <a:pt x="194" y="134"/>
                    </a:moveTo>
                    <a:lnTo>
                      <a:pt x="194" y="135"/>
                    </a:lnTo>
                    <a:lnTo>
                      <a:pt x="194" y="134"/>
                    </a:lnTo>
                    <a:close/>
                    <a:moveTo>
                      <a:pt x="200" y="168"/>
                    </a:moveTo>
                    <a:lnTo>
                      <a:pt x="200" y="170"/>
                    </a:lnTo>
                    <a:lnTo>
                      <a:pt x="200" y="168"/>
                    </a:lnTo>
                    <a:close/>
                    <a:moveTo>
                      <a:pt x="204" y="177"/>
                    </a:moveTo>
                    <a:lnTo>
                      <a:pt x="206" y="177"/>
                    </a:lnTo>
                    <a:lnTo>
                      <a:pt x="206" y="179"/>
                    </a:lnTo>
                    <a:lnTo>
                      <a:pt x="204" y="179"/>
                    </a:lnTo>
                    <a:lnTo>
                      <a:pt x="204" y="177"/>
                    </a:lnTo>
                    <a:close/>
                    <a:moveTo>
                      <a:pt x="248" y="212"/>
                    </a:moveTo>
                    <a:lnTo>
                      <a:pt x="248" y="214"/>
                    </a:lnTo>
                    <a:lnTo>
                      <a:pt x="248" y="212"/>
                    </a:lnTo>
                    <a:close/>
                    <a:moveTo>
                      <a:pt x="181" y="210"/>
                    </a:moveTo>
                    <a:lnTo>
                      <a:pt x="183" y="210"/>
                    </a:lnTo>
                    <a:lnTo>
                      <a:pt x="181" y="210"/>
                    </a:lnTo>
                    <a:close/>
                    <a:moveTo>
                      <a:pt x="154" y="134"/>
                    </a:moveTo>
                    <a:lnTo>
                      <a:pt x="156" y="134"/>
                    </a:lnTo>
                    <a:lnTo>
                      <a:pt x="156" y="135"/>
                    </a:lnTo>
                    <a:lnTo>
                      <a:pt x="154" y="135"/>
                    </a:lnTo>
                    <a:lnTo>
                      <a:pt x="154" y="134"/>
                    </a:lnTo>
                    <a:close/>
                    <a:moveTo>
                      <a:pt x="225" y="0"/>
                    </a:moveTo>
                    <a:lnTo>
                      <a:pt x="225" y="2"/>
                    </a:lnTo>
                    <a:lnTo>
                      <a:pt x="225" y="0"/>
                    </a:lnTo>
                    <a:close/>
                    <a:moveTo>
                      <a:pt x="196" y="132"/>
                    </a:moveTo>
                    <a:lnTo>
                      <a:pt x="198" y="132"/>
                    </a:lnTo>
                    <a:lnTo>
                      <a:pt x="196" y="132"/>
                    </a:lnTo>
                    <a:close/>
                    <a:moveTo>
                      <a:pt x="314" y="250"/>
                    </a:moveTo>
                    <a:lnTo>
                      <a:pt x="316" y="250"/>
                    </a:lnTo>
                    <a:lnTo>
                      <a:pt x="316" y="252"/>
                    </a:lnTo>
                    <a:lnTo>
                      <a:pt x="314" y="252"/>
                    </a:lnTo>
                    <a:lnTo>
                      <a:pt x="314" y="250"/>
                    </a:lnTo>
                    <a:close/>
                    <a:moveTo>
                      <a:pt x="139" y="130"/>
                    </a:moveTo>
                    <a:lnTo>
                      <a:pt x="141" y="130"/>
                    </a:lnTo>
                    <a:lnTo>
                      <a:pt x="141" y="132"/>
                    </a:lnTo>
                    <a:lnTo>
                      <a:pt x="139" y="132"/>
                    </a:lnTo>
                    <a:lnTo>
                      <a:pt x="139" y="130"/>
                    </a:lnTo>
                    <a:close/>
                    <a:moveTo>
                      <a:pt x="45" y="135"/>
                    </a:moveTo>
                    <a:lnTo>
                      <a:pt x="47" y="135"/>
                    </a:lnTo>
                    <a:lnTo>
                      <a:pt x="47" y="137"/>
                    </a:lnTo>
                    <a:lnTo>
                      <a:pt x="45" y="137"/>
                    </a:lnTo>
                    <a:lnTo>
                      <a:pt x="45" y="135"/>
                    </a:lnTo>
                    <a:close/>
                    <a:moveTo>
                      <a:pt x="127" y="120"/>
                    </a:moveTo>
                    <a:lnTo>
                      <a:pt x="129" y="120"/>
                    </a:lnTo>
                    <a:lnTo>
                      <a:pt x="129" y="122"/>
                    </a:lnTo>
                    <a:lnTo>
                      <a:pt x="127" y="122"/>
                    </a:lnTo>
                    <a:lnTo>
                      <a:pt x="127" y="120"/>
                    </a:lnTo>
                    <a:close/>
                    <a:moveTo>
                      <a:pt x="213" y="101"/>
                    </a:moveTo>
                    <a:lnTo>
                      <a:pt x="215" y="101"/>
                    </a:lnTo>
                    <a:lnTo>
                      <a:pt x="215" y="103"/>
                    </a:lnTo>
                    <a:lnTo>
                      <a:pt x="213" y="103"/>
                    </a:lnTo>
                    <a:lnTo>
                      <a:pt x="213" y="101"/>
                    </a:lnTo>
                    <a:close/>
                    <a:moveTo>
                      <a:pt x="166" y="143"/>
                    </a:moveTo>
                    <a:lnTo>
                      <a:pt x="167" y="143"/>
                    </a:lnTo>
                    <a:lnTo>
                      <a:pt x="166" y="143"/>
                    </a:lnTo>
                    <a:close/>
                    <a:moveTo>
                      <a:pt x="145" y="155"/>
                    </a:moveTo>
                    <a:lnTo>
                      <a:pt x="146" y="155"/>
                    </a:lnTo>
                    <a:lnTo>
                      <a:pt x="145" y="155"/>
                    </a:lnTo>
                    <a:close/>
                    <a:moveTo>
                      <a:pt x="141" y="134"/>
                    </a:moveTo>
                    <a:lnTo>
                      <a:pt x="143" y="134"/>
                    </a:lnTo>
                    <a:lnTo>
                      <a:pt x="143" y="135"/>
                    </a:lnTo>
                    <a:lnTo>
                      <a:pt x="141" y="135"/>
                    </a:lnTo>
                    <a:lnTo>
                      <a:pt x="141" y="134"/>
                    </a:lnTo>
                    <a:close/>
                    <a:moveTo>
                      <a:pt x="177" y="206"/>
                    </a:moveTo>
                    <a:lnTo>
                      <a:pt x="179" y="206"/>
                    </a:lnTo>
                    <a:lnTo>
                      <a:pt x="179" y="208"/>
                    </a:lnTo>
                    <a:lnTo>
                      <a:pt x="177" y="208"/>
                    </a:lnTo>
                    <a:lnTo>
                      <a:pt x="177" y="206"/>
                    </a:lnTo>
                    <a:close/>
                    <a:moveTo>
                      <a:pt x="192" y="158"/>
                    </a:moveTo>
                    <a:lnTo>
                      <a:pt x="194" y="158"/>
                    </a:lnTo>
                    <a:lnTo>
                      <a:pt x="192" y="158"/>
                    </a:lnTo>
                    <a:close/>
                    <a:moveTo>
                      <a:pt x="146" y="155"/>
                    </a:moveTo>
                    <a:lnTo>
                      <a:pt x="146" y="156"/>
                    </a:lnTo>
                    <a:lnTo>
                      <a:pt x="146" y="155"/>
                    </a:lnTo>
                    <a:close/>
                    <a:moveTo>
                      <a:pt x="185" y="151"/>
                    </a:moveTo>
                    <a:lnTo>
                      <a:pt x="187" y="151"/>
                    </a:lnTo>
                    <a:lnTo>
                      <a:pt x="187" y="153"/>
                    </a:lnTo>
                    <a:lnTo>
                      <a:pt x="185" y="153"/>
                    </a:lnTo>
                    <a:lnTo>
                      <a:pt x="185" y="151"/>
                    </a:lnTo>
                    <a:close/>
                    <a:moveTo>
                      <a:pt x="166" y="145"/>
                    </a:moveTo>
                    <a:lnTo>
                      <a:pt x="166" y="147"/>
                    </a:lnTo>
                    <a:lnTo>
                      <a:pt x="166" y="145"/>
                    </a:lnTo>
                    <a:close/>
                    <a:moveTo>
                      <a:pt x="221" y="162"/>
                    </a:moveTo>
                    <a:lnTo>
                      <a:pt x="223" y="162"/>
                    </a:lnTo>
                    <a:lnTo>
                      <a:pt x="223" y="164"/>
                    </a:lnTo>
                    <a:lnTo>
                      <a:pt x="221" y="164"/>
                    </a:lnTo>
                    <a:lnTo>
                      <a:pt x="221" y="162"/>
                    </a:lnTo>
                    <a:close/>
                    <a:moveTo>
                      <a:pt x="38" y="139"/>
                    </a:moveTo>
                    <a:lnTo>
                      <a:pt x="40" y="139"/>
                    </a:lnTo>
                    <a:lnTo>
                      <a:pt x="38" y="139"/>
                    </a:lnTo>
                    <a:close/>
                    <a:moveTo>
                      <a:pt x="133" y="107"/>
                    </a:moveTo>
                    <a:lnTo>
                      <a:pt x="133" y="109"/>
                    </a:lnTo>
                    <a:lnTo>
                      <a:pt x="133" y="107"/>
                    </a:lnTo>
                    <a:close/>
                    <a:moveTo>
                      <a:pt x="131" y="120"/>
                    </a:moveTo>
                    <a:lnTo>
                      <a:pt x="131" y="122"/>
                    </a:lnTo>
                    <a:lnTo>
                      <a:pt x="131" y="120"/>
                    </a:lnTo>
                    <a:close/>
                    <a:moveTo>
                      <a:pt x="160" y="147"/>
                    </a:moveTo>
                    <a:lnTo>
                      <a:pt x="162" y="147"/>
                    </a:lnTo>
                    <a:lnTo>
                      <a:pt x="162" y="149"/>
                    </a:lnTo>
                    <a:lnTo>
                      <a:pt x="160" y="149"/>
                    </a:lnTo>
                    <a:lnTo>
                      <a:pt x="160" y="147"/>
                    </a:lnTo>
                    <a:close/>
                    <a:moveTo>
                      <a:pt x="188" y="143"/>
                    </a:moveTo>
                    <a:lnTo>
                      <a:pt x="190" y="143"/>
                    </a:lnTo>
                    <a:lnTo>
                      <a:pt x="190" y="145"/>
                    </a:lnTo>
                    <a:lnTo>
                      <a:pt x="188" y="145"/>
                    </a:lnTo>
                    <a:lnTo>
                      <a:pt x="188" y="143"/>
                    </a:lnTo>
                    <a:close/>
                    <a:moveTo>
                      <a:pt x="13" y="145"/>
                    </a:moveTo>
                    <a:lnTo>
                      <a:pt x="13" y="147"/>
                    </a:lnTo>
                    <a:lnTo>
                      <a:pt x="13" y="145"/>
                    </a:lnTo>
                    <a:close/>
                    <a:moveTo>
                      <a:pt x="129" y="128"/>
                    </a:moveTo>
                    <a:lnTo>
                      <a:pt x="131" y="128"/>
                    </a:lnTo>
                    <a:lnTo>
                      <a:pt x="131" y="130"/>
                    </a:lnTo>
                    <a:lnTo>
                      <a:pt x="129" y="130"/>
                    </a:lnTo>
                    <a:lnTo>
                      <a:pt x="129" y="128"/>
                    </a:lnTo>
                    <a:close/>
                    <a:moveTo>
                      <a:pt x="124" y="126"/>
                    </a:moveTo>
                    <a:lnTo>
                      <a:pt x="125" y="126"/>
                    </a:lnTo>
                    <a:lnTo>
                      <a:pt x="125" y="128"/>
                    </a:lnTo>
                    <a:lnTo>
                      <a:pt x="124" y="128"/>
                    </a:lnTo>
                    <a:lnTo>
                      <a:pt x="124" y="126"/>
                    </a:lnTo>
                    <a:close/>
                    <a:moveTo>
                      <a:pt x="209" y="155"/>
                    </a:moveTo>
                    <a:lnTo>
                      <a:pt x="211" y="155"/>
                    </a:lnTo>
                    <a:lnTo>
                      <a:pt x="211" y="156"/>
                    </a:lnTo>
                    <a:lnTo>
                      <a:pt x="209" y="156"/>
                    </a:lnTo>
                    <a:lnTo>
                      <a:pt x="209" y="155"/>
                    </a:lnTo>
                    <a:close/>
                    <a:moveTo>
                      <a:pt x="47" y="139"/>
                    </a:moveTo>
                    <a:lnTo>
                      <a:pt x="47" y="141"/>
                    </a:lnTo>
                    <a:lnTo>
                      <a:pt x="47" y="139"/>
                    </a:lnTo>
                    <a:close/>
                    <a:moveTo>
                      <a:pt x="150" y="143"/>
                    </a:moveTo>
                    <a:lnTo>
                      <a:pt x="152" y="143"/>
                    </a:lnTo>
                    <a:lnTo>
                      <a:pt x="152" y="145"/>
                    </a:lnTo>
                    <a:lnTo>
                      <a:pt x="150" y="145"/>
                    </a:lnTo>
                    <a:lnTo>
                      <a:pt x="150" y="143"/>
                    </a:lnTo>
                    <a:close/>
                    <a:moveTo>
                      <a:pt x="206" y="177"/>
                    </a:moveTo>
                    <a:lnTo>
                      <a:pt x="206" y="179"/>
                    </a:lnTo>
                    <a:lnTo>
                      <a:pt x="206" y="177"/>
                    </a:lnTo>
                    <a:close/>
                    <a:moveTo>
                      <a:pt x="217" y="166"/>
                    </a:moveTo>
                    <a:lnTo>
                      <a:pt x="219" y="166"/>
                    </a:lnTo>
                    <a:lnTo>
                      <a:pt x="219" y="168"/>
                    </a:lnTo>
                    <a:lnTo>
                      <a:pt x="217" y="168"/>
                    </a:lnTo>
                    <a:lnTo>
                      <a:pt x="217" y="166"/>
                    </a:lnTo>
                    <a:close/>
                    <a:moveTo>
                      <a:pt x="167" y="145"/>
                    </a:moveTo>
                    <a:lnTo>
                      <a:pt x="169" y="145"/>
                    </a:lnTo>
                    <a:lnTo>
                      <a:pt x="167" y="145"/>
                    </a:lnTo>
                    <a:close/>
                    <a:moveTo>
                      <a:pt x="154" y="145"/>
                    </a:moveTo>
                    <a:lnTo>
                      <a:pt x="156" y="145"/>
                    </a:lnTo>
                    <a:lnTo>
                      <a:pt x="156" y="147"/>
                    </a:lnTo>
                    <a:lnTo>
                      <a:pt x="154" y="147"/>
                    </a:lnTo>
                    <a:lnTo>
                      <a:pt x="154" y="145"/>
                    </a:lnTo>
                    <a:close/>
                    <a:moveTo>
                      <a:pt x="200" y="170"/>
                    </a:moveTo>
                    <a:lnTo>
                      <a:pt x="200" y="172"/>
                    </a:lnTo>
                    <a:lnTo>
                      <a:pt x="200" y="170"/>
                    </a:lnTo>
                    <a:close/>
                    <a:moveTo>
                      <a:pt x="125" y="118"/>
                    </a:moveTo>
                    <a:lnTo>
                      <a:pt x="125" y="120"/>
                    </a:lnTo>
                    <a:lnTo>
                      <a:pt x="125" y="118"/>
                    </a:lnTo>
                    <a:close/>
                    <a:moveTo>
                      <a:pt x="156" y="197"/>
                    </a:moveTo>
                    <a:lnTo>
                      <a:pt x="156" y="198"/>
                    </a:lnTo>
                    <a:lnTo>
                      <a:pt x="156" y="197"/>
                    </a:lnTo>
                    <a:close/>
                    <a:moveTo>
                      <a:pt x="303" y="225"/>
                    </a:moveTo>
                    <a:lnTo>
                      <a:pt x="305" y="225"/>
                    </a:lnTo>
                    <a:lnTo>
                      <a:pt x="303" y="225"/>
                    </a:lnTo>
                    <a:close/>
                    <a:moveTo>
                      <a:pt x="150" y="130"/>
                    </a:moveTo>
                    <a:lnTo>
                      <a:pt x="152" y="130"/>
                    </a:lnTo>
                    <a:lnTo>
                      <a:pt x="152" y="132"/>
                    </a:lnTo>
                    <a:lnTo>
                      <a:pt x="150" y="132"/>
                    </a:lnTo>
                    <a:lnTo>
                      <a:pt x="150" y="130"/>
                    </a:lnTo>
                    <a:close/>
                    <a:moveTo>
                      <a:pt x="154" y="135"/>
                    </a:moveTo>
                    <a:lnTo>
                      <a:pt x="156" y="135"/>
                    </a:lnTo>
                    <a:lnTo>
                      <a:pt x="154" y="135"/>
                    </a:lnTo>
                    <a:close/>
                    <a:moveTo>
                      <a:pt x="0" y="141"/>
                    </a:moveTo>
                    <a:lnTo>
                      <a:pt x="2" y="141"/>
                    </a:lnTo>
                    <a:lnTo>
                      <a:pt x="0" y="141"/>
                    </a:lnTo>
                    <a:close/>
                    <a:moveTo>
                      <a:pt x="146" y="156"/>
                    </a:moveTo>
                    <a:lnTo>
                      <a:pt x="148" y="156"/>
                    </a:lnTo>
                    <a:lnTo>
                      <a:pt x="146" y="156"/>
                    </a:lnTo>
                    <a:close/>
                    <a:moveTo>
                      <a:pt x="185" y="162"/>
                    </a:moveTo>
                    <a:lnTo>
                      <a:pt x="185" y="164"/>
                    </a:lnTo>
                    <a:lnTo>
                      <a:pt x="185" y="162"/>
                    </a:lnTo>
                    <a:close/>
                    <a:moveTo>
                      <a:pt x="145" y="126"/>
                    </a:moveTo>
                    <a:lnTo>
                      <a:pt x="146" y="126"/>
                    </a:lnTo>
                    <a:lnTo>
                      <a:pt x="145" y="126"/>
                    </a:lnTo>
                    <a:close/>
                    <a:moveTo>
                      <a:pt x="148" y="143"/>
                    </a:moveTo>
                    <a:lnTo>
                      <a:pt x="150" y="143"/>
                    </a:lnTo>
                    <a:lnTo>
                      <a:pt x="148" y="143"/>
                    </a:lnTo>
                    <a:close/>
                    <a:moveTo>
                      <a:pt x="185" y="212"/>
                    </a:moveTo>
                    <a:lnTo>
                      <a:pt x="187" y="212"/>
                    </a:lnTo>
                    <a:lnTo>
                      <a:pt x="185" y="212"/>
                    </a:lnTo>
                    <a:close/>
                    <a:moveTo>
                      <a:pt x="221" y="172"/>
                    </a:moveTo>
                    <a:lnTo>
                      <a:pt x="223" y="172"/>
                    </a:lnTo>
                    <a:lnTo>
                      <a:pt x="223" y="174"/>
                    </a:lnTo>
                    <a:lnTo>
                      <a:pt x="221" y="174"/>
                    </a:lnTo>
                    <a:lnTo>
                      <a:pt x="221" y="172"/>
                    </a:lnTo>
                    <a:close/>
                    <a:moveTo>
                      <a:pt x="108" y="116"/>
                    </a:moveTo>
                    <a:lnTo>
                      <a:pt x="108" y="118"/>
                    </a:lnTo>
                    <a:lnTo>
                      <a:pt x="108" y="116"/>
                    </a:lnTo>
                    <a:close/>
                    <a:moveTo>
                      <a:pt x="164" y="137"/>
                    </a:moveTo>
                    <a:lnTo>
                      <a:pt x="166" y="137"/>
                    </a:lnTo>
                    <a:lnTo>
                      <a:pt x="166" y="139"/>
                    </a:lnTo>
                    <a:lnTo>
                      <a:pt x="164" y="139"/>
                    </a:lnTo>
                    <a:lnTo>
                      <a:pt x="164" y="137"/>
                    </a:lnTo>
                    <a:close/>
                    <a:moveTo>
                      <a:pt x="164" y="137"/>
                    </a:moveTo>
                    <a:lnTo>
                      <a:pt x="164" y="139"/>
                    </a:lnTo>
                    <a:lnTo>
                      <a:pt x="164" y="137"/>
                    </a:lnTo>
                    <a:close/>
                    <a:moveTo>
                      <a:pt x="171" y="139"/>
                    </a:moveTo>
                    <a:lnTo>
                      <a:pt x="171" y="141"/>
                    </a:lnTo>
                    <a:lnTo>
                      <a:pt x="171" y="139"/>
                    </a:lnTo>
                    <a:close/>
                    <a:moveTo>
                      <a:pt x="148" y="143"/>
                    </a:moveTo>
                    <a:lnTo>
                      <a:pt x="148" y="145"/>
                    </a:lnTo>
                    <a:lnTo>
                      <a:pt x="148" y="143"/>
                    </a:lnTo>
                    <a:close/>
                    <a:moveTo>
                      <a:pt x="198" y="128"/>
                    </a:moveTo>
                    <a:lnTo>
                      <a:pt x="200" y="128"/>
                    </a:lnTo>
                    <a:lnTo>
                      <a:pt x="200" y="130"/>
                    </a:lnTo>
                    <a:lnTo>
                      <a:pt x="198" y="130"/>
                    </a:lnTo>
                    <a:lnTo>
                      <a:pt x="198" y="128"/>
                    </a:lnTo>
                    <a:close/>
                    <a:moveTo>
                      <a:pt x="124" y="120"/>
                    </a:moveTo>
                    <a:lnTo>
                      <a:pt x="125" y="120"/>
                    </a:lnTo>
                    <a:lnTo>
                      <a:pt x="124" y="120"/>
                    </a:lnTo>
                    <a:close/>
                    <a:moveTo>
                      <a:pt x="246" y="189"/>
                    </a:moveTo>
                    <a:lnTo>
                      <a:pt x="248" y="189"/>
                    </a:lnTo>
                    <a:lnTo>
                      <a:pt x="246" y="189"/>
                    </a:lnTo>
                    <a:close/>
                    <a:moveTo>
                      <a:pt x="196" y="166"/>
                    </a:moveTo>
                    <a:lnTo>
                      <a:pt x="198" y="166"/>
                    </a:lnTo>
                    <a:lnTo>
                      <a:pt x="196" y="166"/>
                    </a:lnTo>
                    <a:close/>
                    <a:moveTo>
                      <a:pt x="194" y="135"/>
                    </a:moveTo>
                    <a:lnTo>
                      <a:pt x="196" y="135"/>
                    </a:lnTo>
                    <a:lnTo>
                      <a:pt x="194" y="135"/>
                    </a:lnTo>
                    <a:close/>
                    <a:moveTo>
                      <a:pt x="146" y="155"/>
                    </a:moveTo>
                    <a:lnTo>
                      <a:pt x="146" y="156"/>
                    </a:lnTo>
                    <a:lnTo>
                      <a:pt x="146" y="155"/>
                    </a:lnTo>
                    <a:close/>
                    <a:moveTo>
                      <a:pt x="118" y="120"/>
                    </a:moveTo>
                    <a:lnTo>
                      <a:pt x="118" y="122"/>
                    </a:lnTo>
                    <a:lnTo>
                      <a:pt x="118" y="120"/>
                    </a:lnTo>
                    <a:close/>
                    <a:moveTo>
                      <a:pt x="166" y="149"/>
                    </a:moveTo>
                    <a:lnTo>
                      <a:pt x="166" y="151"/>
                    </a:lnTo>
                    <a:lnTo>
                      <a:pt x="166" y="149"/>
                    </a:lnTo>
                    <a:close/>
                    <a:moveTo>
                      <a:pt x="166" y="143"/>
                    </a:moveTo>
                    <a:lnTo>
                      <a:pt x="167" y="143"/>
                    </a:lnTo>
                    <a:lnTo>
                      <a:pt x="166" y="143"/>
                    </a:lnTo>
                    <a:close/>
                    <a:moveTo>
                      <a:pt x="305" y="225"/>
                    </a:moveTo>
                    <a:lnTo>
                      <a:pt x="305" y="227"/>
                    </a:lnTo>
                    <a:lnTo>
                      <a:pt x="305" y="225"/>
                    </a:lnTo>
                    <a:close/>
                    <a:moveTo>
                      <a:pt x="223" y="227"/>
                    </a:moveTo>
                    <a:lnTo>
                      <a:pt x="225" y="227"/>
                    </a:lnTo>
                    <a:lnTo>
                      <a:pt x="223" y="227"/>
                    </a:lnTo>
                    <a:close/>
                    <a:moveTo>
                      <a:pt x="314" y="252"/>
                    </a:moveTo>
                    <a:lnTo>
                      <a:pt x="316" y="252"/>
                    </a:lnTo>
                    <a:lnTo>
                      <a:pt x="316" y="254"/>
                    </a:lnTo>
                    <a:lnTo>
                      <a:pt x="314" y="254"/>
                    </a:lnTo>
                    <a:lnTo>
                      <a:pt x="314" y="252"/>
                    </a:lnTo>
                    <a:close/>
                    <a:moveTo>
                      <a:pt x="188" y="143"/>
                    </a:moveTo>
                    <a:lnTo>
                      <a:pt x="188" y="145"/>
                    </a:lnTo>
                    <a:lnTo>
                      <a:pt x="188" y="143"/>
                    </a:lnTo>
                    <a:close/>
                    <a:moveTo>
                      <a:pt x="131" y="122"/>
                    </a:moveTo>
                    <a:lnTo>
                      <a:pt x="131" y="124"/>
                    </a:lnTo>
                    <a:lnTo>
                      <a:pt x="131" y="122"/>
                    </a:lnTo>
                    <a:close/>
                    <a:moveTo>
                      <a:pt x="125" y="120"/>
                    </a:moveTo>
                    <a:lnTo>
                      <a:pt x="127" y="120"/>
                    </a:lnTo>
                    <a:lnTo>
                      <a:pt x="125" y="120"/>
                    </a:lnTo>
                    <a:close/>
                    <a:moveTo>
                      <a:pt x="154" y="197"/>
                    </a:moveTo>
                    <a:lnTo>
                      <a:pt x="156" y="197"/>
                    </a:lnTo>
                    <a:lnTo>
                      <a:pt x="154" y="197"/>
                    </a:lnTo>
                    <a:close/>
                    <a:moveTo>
                      <a:pt x="105" y="116"/>
                    </a:moveTo>
                    <a:lnTo>
                      <a:pt x="105" y="118"/>
                    </a:lnTo>
                    <a:lnTo>
                      <a:pt x="105" y="116"/>
                    </a:lnTo>
                    <a:close/>
                    <a:moveTo>
                      <a:pt x="133" y="107"/>
                    </a:moveTo>
                    <a:lnTo>
                      <a:pt x="135" y="107"/>
                    </a:lnTo>
                    <a:lnTo>
                      <a:pt x="135" y="109"/>
                    </a:lnTo>
                    <a:lnTo>
                      <a:pt x="133" y="109"/>
                    </a:lnTo>
                    <a:lnTo>
                      <a:pt x="133" y="107"/>
                    </a:lnTo>
                    <a:close/>
                    <a:moveTo>
                      <a:pt x="219" y="170"/>
                    </a:moveTo>
                    <a:lnTo>
                      <a:pt x="219" y="172"/>
                    </a:lnTo>
                    <a:lnTo>
                      <a:pt x="219" y="170"/>
                    </a:lnTo>
                    <a:close/>
                    <a:moveTo>
                      <a:pt x="213" y="103"/>
                    </a:moveTo>
                    <a:lnTo>
                      <a:pt x="215" y="103"/>
                    </a:lnTo>
                    <a:lnTo>
                      <a:pt x="213" y="103"/>
                    </a:lnTo>
                    <a:close/>
                    <a:moveTo>
                      <a:pt x="221" y="162"/>
                    </a:moveTo>
                    <a:lnTo>
                      <a:pt x="221" y="164"/>
                    </a:lnTo>
                    <a:lnTo>
                      <a:pt x="221" y="162"/>
                    </a:lnTo>
                    <a:close/>
                    <a:moveTo>
                      <a:pt x="59" y="145"/>
                    </a:moveTo>
                    <a:lnTo>
                      <a:pt x="61" y="145"/>
                    </a:lnTo>
                    <a:lnTo>
                      <a:pt x="59" y="145"/>
                    </a:lnTo>
                    <a:close/>
                    <a:moveTo>
                      <a:pt x="192" y="155"/>
                    </a:moveTo>
                    <a:lnTo>
                      <a:pt x="194" y="155"/>
                    </a:lnTo>
                    <a:lnTo>
                      <a:pt x="192" y="155"/>
                    </a:lnTo>
                    <a:close/>
                    <a:moveTo>
                      <a:pt x="112" y="265"/>
                    </a:moveTo>
                    <a:lnTo>
                      <a:pt x="114" y="265"/>
                    </a:lnTo>
                    <a:lnTo>
                      <a:pt x="112" y="265"/>
                    </a:lnTo>
                    <a:close/>
                    <a:moveTo>
                      <a:pt x="185" y="149"/>
                    </a:moveTo>
                    <a:lnTo>
                      <a:pt x="185" y="151"/>
                    </a:lnTo>
                    <a:lnTo>
                      <a:pt x="185" y="149"/>
                    </a:lnTo>
                    <a:close/>
                    <a:moveTo>
                      <a:pt x="219" y="168"/>
                    </a:moveTo>
                    <a:lnTo>
                      <a:pt x="219" y="170"/>
                    </a:lnTo>
                    <a:lnTo>
                      <a:pt x="219" y="168"/>
                    </a:lnTo>
                    <a:close/>
                    <a:moveTo>
                      <a:pt x="164" y="151"/>
                    </a:moveTo>
                    <a:lnTo>
                      <a:pt x="166" y="151"/>
                    </a:lnTo>
                    <a:lnTo>
                      <a:pt x="166" y="153"/>
                    </a:lnTo>
                    <a:lnTo>
                      <a:pt x="164" y="153"/>
                    </a:lnTo>
                    <a:lnTo>
                      <a:pt x="164" y="151"/>
                    </a:lnTo>
                    <a:close/>
                    <a:moveTo>
                      <a:pt x="166" y="151"/>
                    </a:moveTo>
                    <a:lnTo>
                      <a:pt x="166" y="153"/>
                    </a:lnTo>
                    <a:lnTo>
                      <a:pt x="166" y="151"/>
                    </a:lnTo>
                    <a:close/>
                    <a:moveTo>
                      <a:pt x="112" y="265"/>
                    </a:moveTo>
                    <a:lnTo>
                      <a:pt x="114" y="265"/>
                    </a:lnTo>
                    <a:lnTo>
                      <a:pt x="112" y="265"/>
                    </a:lnTo>
                    <a:close/>
                    <a:moveTo>
                      <a:pt x="156" y="145"/>
                    </a:moveTo>
                    <a:lnTo>
                      <a:pt x="158" y="145"/>
                    </a:lnTo>
                    <a:lnTo>
                      <a:pt x="156" y="145"/>
                    </a:lnTo>
                    <a:close/>
                    <a:moveTo>
                      <a:pt x="316" y="252"/>
                    </a:moveTo>
                    <a:lnTo>
                      <a:pt x="316" y="254"/>
                    </a:lnTo>
                    <a:lnTo>
                      <a:pt x="316" y="25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2" name="Freeform 31">
                <a:extLst>
                  <a:ext uri="{FF2B5EF4-FFF2-40B4-BE49-F238E27FC236}">
                    <a16:creationId xmlns:a16="http://schemas.microsoft.com/office/drawing/2014/main" id="{644AC9BB-5720-3028-95D1-76C29A6999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8734" y="-2009203"/>
                <a:ext cx="8716137" cy="352016"/>
              </a:xfrm>
              <a:custGeom>
                <a:avLst/>
                <a:gdLst>
                  <a:gd name="T0" fmla="*/ 31 w 5532"/>
                  <a:gd name="T1" fmla="*/ 34 h 223"/>
                  <a:gd name="T2" fmla="*/ 31 w 5532"/>
                  <a:gd name="T3" fmla="*/ 34 h 223"/>
                  <a:gd name="T4" fmla="*/ 33 w 5532"/>
                  <a:gd name="T5" fmla="*/ 34 h 223"/>
                  <a:gd name="T6" fmla="*/ 31 w 5532"/>
                  <a:gd name="T7" fmla="*/ 34 h 223"/>
                  <a:gd name="T8" fmla="*/ 33 w 5532"/>
                  <a:gd name="T9" fmla="*/ 33 h 223"/>
                  <a:gd name="T10" fmla="*/ 33 w 5532"/>
                  <a:gd name="T11" fmla="*/ 34 h 223"/>
                  <a:gd name="T12" fmla="*/ 31 w 5532"/>
                  <a:gd name="T13" fmla="*/ 33 h 223"/>
                  <a:gd name="T14" fmla="*/ 31 w 5532"/>
                  <a:gd name="T15" fmla="*/ 31 h 223"/>
                  <a:gd name="T16" fmla="*/ 33 w 5532"/>
                  <a:gd name="T17" fmla="*/ 33 h 223"/>
                  <a:gd name="T18" fmla="*/ 36 w 5532"/>
                  <a:gd name="T19" fmla="*/ 34 h 223"/>
                  <a:gd name="T20" fmla="*/ 5292 w 5532"/>
                  <a:gd name="T21" fmla="*/ 31 h 223"/>
                  <a:gd name="T22" fmla="*/ 5290 w 5532"/>
                  <a:gd name="T23" fmla="*/ 31 h 223"/>
                  <a:gd name="T24" fmla="*/ 73 w 5532"/>
                  <a:gd name="T25" fmla="*/ 128 h 223"/>
                  <a:gd name="T26" fmla="*/ 0 w 5532"/>
                  <a:gd name="T27" fmla="*/ 0 h 223"/>
                  <a:gd name="T28" fmla="*/ 0 w 5532"/>
                  <a:gd name="T29" fmla="*/ 2 h 223"/>
                  <a:gd name="T30" fmla="*/ 57 w 5532"/>
                  <a:gd name="T31" fmla="*/ 153 h 223"/>
                  <a:gd name="T32" fmla="*/ 56 w 5532"/>
                  <a:gd name="T33" fmla="*/ 153 h 223"/>
                  <a:gd name="T34" fmla="*/ 5315 w 5532"/>
                  <a:gd name="T35" fmla="*/ 84 h 223"/>
                  <a:gd name="T36" fmla="*/ 5288 w 5532"/>
                  <a:gd name="T37" fmla="*/ 48 h 223"/>
                  <a:gd name="T38" fmla="*/ 5286 w 5532"/>
                  <a:gd name="T39" fmla="*/ 48 h 223"/>
                  <a:gd name="T40" fmla="*/ 5342 w 5532"/>
                  <a:gd name="T41" fmla="*/ 86 h 223"/>
                  <a:gd name="T42" fmla="*/ 5336 w 5532"/>
                  <a:gd name="T43" fmla="*/ 84 h 223"/>
                  <a:gd name="T44" fmla="*/ 5334 w 5532"/>
                  <a:gd name="T45" fmla="*/ 84 h 223"/>
                  <a:gd name="T46" fmla="*/ 5311 w 5532"/>
                  <a:gd name="T47" fmla="*/ 76 h 223"/>
                  <a:gd name="T48" fmla="*/ 5307 w 5532"/>
                  <a:gd name="T49" fmla="*/ 73 h 223"/>
                  <a:gd name="T50" fmla="*/ 5311 w 5532"/>
                  <a:gd name="T51" fmla="*/ 76 h 223"/>
                  <a:gd name="T52" fmla="*/ 5301 w 5532"/>
                  <a:gd name="T53" fmla="*/ 57 h 223"/>
                  <a:gd name="T54" fmla="*/ 5292 w 5532"/>
                  <a:gd name="T55" fmla="*/ 59 h 223"/>
                  <a:gd name="T56" fmla="*/ 5292 w 5532"/>
                  <a:gd name="T57" fmla="*/ 61 h 223"/>
                  <a:gd name="T58" fmla="*/ 5288 w 5532"/>
                  <a:gd name="T59" fmla="*/ 36 h 223"/>
                  <a:gd name="T60" fmla="*/ 5286 w 5532"/>
                  <a:gd name="T61" fmla="*/ 33 h 223"/>
                  <a:gd name="T62" fmla="*/ 5288 w 5532"/>
                  <a:gd name="T63" fmla="*/ 38 h 223"/>
                  <a:gd name="T64" fmla="*/ 5286 w 5532"/>
                  <a:gd name="T65" fmla="*/ 38 h 223"/>
                  <a:gd name="T66" fmla="*/ 5284 w 5532"/>
                  <a:gd name="T67" fmla="*/ 15 h 223"/>
                  <a:gd name="T68" fmla="*/ 5301 w 5532"/>
                  <a:gd name="T69" fmla="*/ 57 h 223"/>
                  <a:gd name="T70" fmla="*/ 5530 w 5532"/>
                  <a:gd name="T71" fmla="*/ 107 h 223"/>
                  <a:gd name="T72" fmla="*/ 5530 w 5532"/>
                  <a:gd name="T73" fmla="*/ 109 h 223"/>
                  <a:gd name="T74" fmla="*/ 2 w 5532"/>
                  <a:gd name="T75" fmla="*/ 0 h 223"/>
                  <a:gd name="T76" fmla="*/ 0 w 5532"/>
                  <a:gd name="T77" fmla="*/ 0 h 223"/>
                  <a:gd name="T78" fmla="*/ 5290 w 5532"/>
                  <a:gd name="T79" fmla="*/ 42 h 223"/>
                  <a:gd name="T80" fmla="*/ 5296 w 5532"/>
                  <a:gd name="T81" fmla="*/ 59 h 223"/>
                  <a:gd name="T82" fmla="*/ 5296 w 5532"/>
                  <a:gd name="T83" fmla="*/ 61 h 223"/>
                  <a:gd name="T84" fmla="*/ 5233 w 5532"/>
                  <a:gd name="T85" fmla="*/ 76 h 223"/>
                  <a:gd name="T86" fmla="*/ 5328 w 5532"/>
                  <a:gd name="T87" fmla="*/ 92 h 223"/>
                  <a:gd name="T88" fmla="*/ 5326 w 5532"/>
                  <a:gd name="T89" fmla="*/ 92 h 223"/>
                  <a:gd name="T90" fmla="*/ 5321 w 5532"/>
                  <a:gd name="T91" fmla="*/ 88 h 223"/>
                  <a:gd name="T92" fmla="*/ 5485 w 5532"/>
                  <a:gd name="T93" fmla="*/ 138 h 223"/>
                  <a:gd name="T94" fmla="*/ 5284 w 5532"/>
                  <a:gd name="T95" fmla="*/ 13 h 223"/>
                  <a:gd name="T96" fmla="*/ 147 w 5532"/>
                  <a:gd name="T97" fmla="*/ 221 h 223"/>
                  <a:gd name="T98" fmla="*/ 5286 w 5532"/>
                  <a:gd name="T99" fmla="*/ 42 h 223"/>
                  <a:gd name="T100" fmla="*/ 5319 w 5532"/>
                  <a:gd name="T101" fmla="*/ 88 h 223"/>
                  <a:gd name="T102" fmla="*/ 5286 w 5532"/>
                  <a:gd name="T103" fmla="*/ 10 h 223"/>
                  <a:gd name="T104" fmla="*/ 5298 w 5532"/>
                  <a:gd name="T105" fmla="*/ 59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532" h="223">
                    <a:moveTo>
                      <a:pt x="36" y="36"/>
                    </a:moveTo>
                    <a:lnTo>
                      <a:pt x="35" y="36"/>
                    </a:lnTo>
                    <a:lnTo>
                      <a:pt x="31" y="34"/>
                    </a:lnTo>
                    <a:lnTo>
                      <a:pt x="29" y="34"/>
                    </a:lnTo>
                    <a:lnTo>
                      <a:pt x="31" y="33"/>
                    </a:lnTo>
                    <a:lnTo>
                      <a:pt x="31" y="34"/>
                    </a:lnTo>
                    <a:lnTo>
                      <a:pt x="31" y="33"/>
                    </a:lnTo>
                    <a:lnTo>
                      <a:pt x="31" y="34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4"/>
                    </a:lnTo>
                    <a:lnTo>
                      <a:pt x="31" y="34"/>
                    </a:lnTo>
                    <a:lnTo>
                      <a:pt x="33" y="33"/>
                    </a:lnTo>
                    <a:lnTo>
                      <a:pt x="33" y="34"/>
                    </a:lnTo>
                    <a:lnTo>
                      <a:pt x="33" y="33"/>
                    </a:lnTo>
                    <a:lnTo>
                      <a:pt x="33" y="34"/>
                    </a:lnTo>
                    <a:lnTo>
                      <a:pt x="33" y="33"/>
                    </a:lnTo>
                    <a:lnTo>
                      <a:pt x="33" y="34"/>
                    </a:lnTo>
                    <a:lnTo>
                      <a:pt x="33" y="33"/>
                    </a:lnTo>
                    <a:lnTo>
                      <a:pt x="31" y="31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3" y="33"/>
                    </a:lnTo>
                    <a:lnTo>
                      <a:pt x="35" y="33"/>
                    </a:lnTo>
                    <a:lnTo>
                      <a:pt x="33" y="33"/>
                    </a:lnTo>
                    <a:lnTo>
                      <a:pt x="33" y="34"/>
                    </a:lnTo>
                    <a:lnTo>
                      <a:pt x="35" y="34"/>
                    </a:lnTo>
                    <a:lnTo>
                      <a:pt x="36" y="34"/>
                    </a:lnTo>
                    <a:lnTo>
                      <a:pt x="36" y="36"/>
                    </a:lnTo>
                    <a:close/>
                    <a:moveTo>
                      <a:pt x="5290" y="31"/>
                    </a:moveTo>
                    <a:lnTo>
                      <a:pt x="5292" y="31"/>
                    </a:lnTo>
                    <a:lnTo>
                      <a:pt x="5292" y="33"/>
                    </a:lnTo>
                    <a:lnTo>
                      <a:pt x="5290" y="33"/>
                    </a:lnTo>
                    <a:lnTo>
                      <a:pt x="5290" y="31"/>
                    </a:lnTo>
                    <a:close/>
                    <a:moveTo>
                      <a:pt x="71" y="126"/>
                    </a:moveTo>
                    <a:lnTo>
                      <a:pt x="73" y="126"/>
                    </a:lnTo>
                    <a:lnTo>
                      <a:pt x="73" y="128"/>
                    </a:lnTo>
                    <a:lnTo>
                      <a:pt x="71" y="128"/>
                    </a:lnTo>
                    <a:lnTo>
                      <a:pt x="71" y="126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56" y="153"/>
                    </a:moveTo>
                    <a:lnTo>
                      <a:pt x="57" y="153"/>
                    </a:lnTo>
                    <a:lnTo>
                      <a:pt x="57" y="155"/>
                    </a:lnTo>
                    <a:lnTo>
                      <a:pt x="56" y="155"/>
                    </a:lnTo>
                    <a:lnTo>
                      <a:pt x="56" y="153"/>
                    </a:lnTo>
                    <a:close/>
                    <a:moveTo>
                      <a:pt x="5313" y="80"/>
                    </a:moveTo>
                    <a:lnTo>
                      <a:pt x="5315" y="80"/>
                    </a:lnTo>
                    <a:lnTo>
                      <a:pt x="5315" y="84"/>
                    </a:lnTo>
                    <a:lnTo>
                      <a:pt x="5313" y="84"/>
                    </a:lnTo>
                    <a:lnTo>
                      <a:pt x="5313" y="80"/>
                    </a:lnTo>
                    <a:close/>
                    <a:moveTo>
                      <a:pt x="5288" y="48"/>
                    </a:moveTo>
                    <a:lnTo>
                      <a:pt x="5286" y="50"/>
                    </a:lnTo>
                    <a:lnTo>
                      <a:pt x="5288" y="48"/>
                    </a:lnTo>
                    <a:lnTo>
                      <a:pt x="5286" y="48"/>
                    </a:lnTo>
                    <a:lnTo>
                      <a:pt x="5288" y="48"/>
                    </a:lnTo>
                    <a:close/>
                    <a:moveTo>
                      <a:pt x="5342" y="84"/>
                    </a:moveTo>
                    <a:lnTo>
                      <a:pt x="5342" y="86"/>
                    </a:lnTo>
                    <a:lnTo>
                      <a:pt x="5342" y="84"/>
                    </a:lnTo>
                    <a:close/>
                    <a:moveTo>
                      <a:pt x="5334" y="84"/>
                    </a:moveTo>
                    <a:lnTo>
                      <a:pt x="5336" y="84"/>
                    </a:lnTo>
                    <a:lnTo>
                      <a:pt x="5336" y="86"/>
                    </a:lnTo>
                    <a:lnTo>
                      <a:pt x="5334" y="86"/>
                    </a:lnTo>
                    <a:lnTo>
                      <a:pt x="5334" y="84"/>
                    </a:lnTo>
                    <a:close/>
                    <a:moveTo>
                      <a:pt x="5311" y="76"/>
                    </a:moveTo>
                    <a:lnTo>
                      <a:pt x="5309" y="76"/>
                    </a:lnTo>
                    <a:lnTo>
                      <a:pt x="5311" y="76"/>
                    </a:lnTo>
                    <a:lnTo>
                      <a:pt x="5309" y="75"/>
                    </a:lnTo>
                    <a:lnTo>
                      <a:pt x="5309" y="73"/>
                    </a:lnTo>
                    <a:lnTo>
                      <a:pt x="5307" y="73"/>
                    </a:lnTo>
                    <a:lnTo>
                      <a:pt x="5309" y="73"/>
                    </a:lnTo>
                    <a:lnTo>
                      <a:pt x="5309" y="75"/>
                    </a:lnTo>
                    <a:lnTo>
                      <a:pt x="5311" y="76"/>
                    </a:lnTo>
                    <a:close/>
                    <a:moveTo>
                      <a:pt x="5300" y="55"/>
                    </a:moveTo>
                    <a:lnTo>
                      <a:pt x="5301" y="55"/>
                    </a:lnTo>
                    <a:lnTo>
                      <a:pt x="5301" y="57"/>
                    </a:lnTo>
                    <a:lnTo>
                      <a:pt x="5300" y="57"/>
                    </a:lnTo>
                    <a:lnTo>
                      <a:pt x="5300" y="55"/>
                    </a:lnTo>
                    <a:close/>
                    <a:moveTo>
                      <a:pt x="5292" y="59"/>
                    </a:moveTo>
                    <a:lnTo>
                      <a:pt x="5294" y="59"/>
                    </a:lnTo>
                    <a:lnTo>
                      <a:pt x="5294" y="61"/>
                    </a:lnTo>
                    <a:lnTo>
                      <a:pt x="5292" y="61"/>
                    </a:lnTo>
                    <a:lnTo>
                      <a:pt x="5292" y="59"/>
                    </a:lnTo>
                    <a:close/>
                    <a:moveTo>
                      <a:pt x="5288" y="34"/>
                    </a:moveTo>
                    <a:lnTo>
                      <a:pt x="5288" y="36"/>
                    </a:lnTo>
                    <a:lnTo>
                      <a:pt x="5286" y="36"/>
                    </a:lnTo>
                    <a:lnTo>
                      <a:pt x="5288" y="34"/>
                    </a:lnTo>
                    <a:lnTo>
                      <a:pt x="5286" y="33"/>
                    </a:lnTo>
                    <a:lnTo>
                      <a:pt x="5288" y="34"/>
                    </a:lnTo>
                    <a:close/>
                    <a:moveTo>
                      <a:pt x="5286" y="38"/>
                    </a:moveTo>
                    <a:lnTo>
                      <a:pt x="5288" y="38"/>
                    </a:lnTo>
                    <a:lnTo>
                      <a:pt x="5288" y="40"/>
                    </a:lnTo>
                    <a:lnTo>
                      <a:pt x="5286" y="40"/>
                    </a:lnTo>
                    <a:lnTo>
                      <a:pt x="5286" y="38"/>
                    </a:lnTo>
                    <a:close/>
                    <a:moveTo>
                      <a:pt x="5282" y="13"/>
                    </a:moveTo>
                    <a:lnTo>
                      <a:pt x="5284" y="13"/>
                    </a:lnTo>
                    <a:lnTo>
                      <a:pt x="5284" y="15"/>
                    </a:lnTo>
                    <a:lnTo>
                      <a:pt x="5282" y="15"/>
                    </a:lnTo>
                    <a:lnTo>
                      <a:pt x="5282" y="13"/>
                    </a:lnTo>
                    <a:close/>
                    <a:moveTo>
                      <a:pt x="5301" y="57"/>
                    </a:moveTo>
                    <a:lnTo>
                      <a:pt x="5301" y="59"/>
                    </a:lnTo>
                    <a:lnTo>
                      <a:pt x="5301" y="57"/>
                    </a:lnTo>
                    <a:close/>
                    <a:moveTo>
                      <a:pt x="5530" y="107"/>
                    </a:moveTo>
                    <a:lnTo>
                      <a:pt x="5532" y="107"/>
                    </a:lnTo>
                    <a:lnTo>
                      <a:pt x="5532" y="109"/>
                    </a:lnTo>
                    <a:lnTo>
                      <a:pt x="5530" y="109"/>
                    </a:lnTo>
                    <a:lnTo>
                      <a:pt x="5530" y="107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5288" y="40"/>
                    </a:moveTo>
                    <a:lnTo>
                      <a:pt x="5290" y="40"/>
                    </a:lnTo>
                    <a:lnTo>
                      <a:pt x="5290" y="42"/>
                    </a:lnTo>
                    <a:lnTo>
                      <a:pt x="5288" y="42"/>
                    </a:lnTo>
                    <a:lnTo>
                      <a:pt x="5288" y="40"/>
                    </a:lnTo>
                    <a:close/>
                    <a:moveTo>
                      <a:pt x="5296" y="59"/>
                    </a:moveTo>
                    <a:lnTo>
                      <a:pt x="5298" y="59"/>
                    </a:lnTo>
                    <a:lnTo>
                      <a:pt x="5298" y="61"/>
                    </a:lnTo>
                    <a:lnTo>
                      <a:pt x="5296" y="61"/>
                    </a:lnTo>
                    <a:lnTo>
                      <a:pt x="5296" y="59"/>
                    </a:lnTo>
                    <a:close/>
                    <a:moveTo>
                      <a:pt x="5231" y="76"/>
                    </a:moveTo>
                    <a:lnTo>
                      <a:pt x="5233" y="76"/>
                    </a:lnTo>
                    <a:lnTo>
                      <a:pt x="5231" y="76"/>
                    </a:lnTo>
                    <a:close/>
                    <a:moveTo>
                      <a:pt x="5326" y="92"/>
                    </a:moveTo>
                    <a:lnTo>
                      <a:pt x="5328" y="92"/>
                    </a:lnTo>
                    <a:lnTo>
                      <a:pt x="5328" y="94"/>
                    </a:lnTo>
                    <a:lnTo>
                      <a:pt x="5326" y="94"/>
                    </a:lnTo>
                    <a:lnTo>
                      <a:pt x="5326" y="92"/>
                    </a:lnTo>
                    <a:close/>
                    <a:moveTo>
                      <a:pt x="5319" y="86"/>
                    </a:moveTo>
                    <a:lnTo>
                      <a:pt x="5321" y="86"/>
                    </a:lnTo>
                    <a:lnTo>
                      <a:pt x="5321" y="88"/>
                    </a:lnTo>
                    <a:lnTo>
                      <a:pt x="5319" y="88"/>
                    </a:lnTo>
                    <a:lnTo>
                      <a:pt x="5319" y="86"/>
                    </a:lnTo>
                    <a:close/>
                    <a:moveTo>
                      <a:pt x="5485" y="138"/>
                    </a:moveTo>
                    <a:lnTo>
                      <a:pt x="5486" y="138"/>
                    </a:lnTo>
                    <a:lnTo>
                      <a:pt x="5485" y="138"/>
                    </a:lnTo>
                    <a:close/>
                    <a:moveTo>
                      <a:pt x="5284" y="13"/>
                    </a:moveTo>
                    <a:lnTo>
                      <a:pt x="5286" y="13"/>
                    </a:lnTo>
                    <a:lnTo>
                      <a:pt x="5284" y="13"/>
                    </a:lnTo>
                    <a:close/>
                    <a:moveTo>
                      <a:pt x="147" y="221"/>
                    </a:moveTo>
                    <a:lnTo>
                      <a:pt x="147" y="223"/>
                    </a:lnTo>
                    <a:lnTo>
                      <a:pt x="147" y="221"/>
                    </a:lnTo>
                    <a:close/>
                    <a:moveTo>
                      <a:pt x="5286" y="42"/>
                    </a:moveTo>
                    <a:lnTo>
                      <a:pt x="5288" y="42"/>
                    </a:lnTo>
                    <a:lnTo>
                      <a:pt x="5286" y="42"/>
                    </a:lnTo>
                    <a:close/>
                    <a:moveTo>
                      <a:pt x="5319" y="88"/>
                    </a:moveTo>
                    <a:lnTo>
                      <a:pt x="5321" y="88"/>
                    </a:lnTo>
                    <a:lnTo>
                      <a:pt x="5319" y="88"/>
                    </a:lnTo>
                    <a:close/>
                    <a:moveTo>
                      <a:pt x="5286" y="10"/>
                    </a:moveTo>
                    <a:lnTo>
                      <a:pt x="5286" y="12"/>
                    </a:lnTo>
                    <a:lnTo>
                      <a:pt x="5286" y="10"/>
                    </a:lnTo>
                    <a:close/>
                    <a:moveTo>
                      <a:pt x="5298" y="59"/>
                    </a:moveTo>
                    <a:lnTo>
                      <a:pt x="5298" y="61"/>
                    </a:lnTo>
                    <a:lnTo>
                      <a:pt x="5298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3" name="Freeform 32">
                <a:extLst>
                  <a:ext uri="{FF2B5EF4-FFF2-40B4-BE49-F238E27FC236}">
                    <a16:creationId xmlns:a16="http://schemas.microsoft.com/office/drawing/2014/main" id="{D4EE49FE-A9F1-524D-6BE1-57BFBB2DD7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4680" y="-2337541"/>
                <a:ext cx="8842184" cy="268351"/>
              </a:xfrm>
              <a:custGeom>
                <a:avLst/>
                <a:gdLst>
                  <a:gd name="T0" fmla="*/ 0 w 5612"/>
                  <a:gd name="T1" fmla="*/ 168 h 170"/>
                  <a:gd name="T2" fmla="*/ 1 w 5612"/>
                  <a:gd name="T3" fmla="*/ 168 h 170"/>
                  <a:gd name="T4" fmla="*/ 1 w 5612"/>
                  <a:gd name="T5" fmla="*/ 170 h 170"/>
                  <a:gd name="T6" fmla="*/ 0 w 5612"/>
                  <a:gd name="T7" fmla="*/ 170 h 170"/>
                  <a:gd name="T8" fmla="*/ 0 w 5612"/>
                  <a:gd name="T9" fmla="*/ 168 h 170"/>
                  <a:gd name="T10" fmla="*/ 5612 w 5612"/>
                  <a:gd name="T11" fmla="*/ 0 h 170"/>
                  <a:gd name="T12" fmla="*/ 5612 w 5612"/>
                  <a:gd name="T13" fmla="*/ 2 h 170"/>
                  <a:gd name="T14" fmla="*/ 5612 w 5612"/>
                  <a:gd name="T15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12" h="170">
                    <a:moveTo>
                      <a:pt x="0" y="168"/>
                    </a:moveTo>
                    <a:lnTo>
                      <a:pt x="1" y="168"/>
                    </a:lnTo>
                    <a:lnTo>
                      <a:pt x="1" y="170"/>
                    </a:lnTo>
                    <a:lnTo>
                      <a:pt x="0" y="170"/>
                    </a:lnTo>
                    <a:lnTo>
                      <a:pt x="0" y="168"/>
                    </a:lnTo>
                    <a:close/>
                    <a:moveTo>
                      <a:pt x="5612" y="0"/>
                    </a:moveTo>
                    <a:lnTo>
                      <a:pt x="5612" y="2"/>
                    </a:lnTo>
                    <a:lnTo>
                      <a:pt x="56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4" name="Freeform 33">
                <a:extLst>
                  <a:ext uri="{FF2B5EF4-FFF2-40B4-BE49-F238E27FC236}">
                    <a16:creationId xmlns:a16="http://schemas.microsoft.com/office/drawing/2014/main" id="{8CB00C16-95D9-DD54-87CA-177ECF6400F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26017" y="-2779531"/>
                <a:ext cx="794096" cy="501976"/>
              </a:xfrm>
              <a:custGeom>
                <a:avLst/>
                <a:gdLst>
                  <a:gd name="T0" fmla="*/ 336 w 504"/>
                  <a:gd name="T1" fmla="*/ 202 h 318"/>
                  <a:gd name="T2" fmla="*/ 359 w 504"/>
                  <a:gd name="T3" fmla="*/ 246 h 318"/>
                  <a:gd name="T4" fmla="*/ 410 w 504"/>
                  <a:gd name="T5" fmla="*/ 250 h 318"/>
                  <a:gd name="T6" fmla="*/ 433 w 504"/>
                  <a:gd name="T7" fmla="*/ 244 h 318"/>
                  <a:gd name="T8" fmla="*/ 452 w 504"/>
                  <a:gd name="T9" fmla="*/ 206 h 318"/>
                  <a:gd name="T10" fmla="*/ 498 w 504"/>
                  <a:gd name="T11" fmla="*/ 200 h 318"/>
                  <a:gd name="T12" fmla="*/ 500 w 504"/>
                  <a:gd name="T13" fmla="*/ 213 h 318"/>
                  <a:gd name="T14" fmla="*/ 490 w 504"/>
                  <a:gd name="T15" fmla="*/ 234 h 318"/>
                  <a:gd name="T16" fmla="*/ 489 w 504"/>
                  <a:gd name="T17" fmla="*/ 253 h 318"/>
                  <a:gd name="T18" fmla="*/ 481 w 504"/>
                  <a:gd name="T19" fmla="*/ 248 h 318"/>
                  <a:gd name="T20" fmla="*/ 433 w 504"/>
                  <a:gd name="T21" fmla="*/ 274 h 318"/>
                  <a:gd name="T22" fmla="*/ 420 w 504"/>
                  <a:gd name="T23" fmla="*/ 309 h 318"/>
                  <a:gd name="T24" fmla="*/ 370 w 504"/>
                  <a:gd name="T25" fmla="*/ 292 h 318"/>
                  <a:gd name="T26" fmla="*/ 338 w 504"/>
                  <a:gd name="T27" fmla="*/ 295 h 318"/>
                  <a:gd name="T28" fmla="*/ 269 w 504"/>
                  <a:gd name="T29" fmla="*/ 267 h 318"/>
                  <a:gd name="T30" fmla="*/ 227 w 504"/>
                  <a:gd name="T31" fmla="*/ 244 h 318"/>
                  <a:gd name="T32" fmla="*/ 204 w 504"/>
                  <a:gd name="T33" fmla="*/ 219 h 318"/>
                  <a:gd name="T34" fmla="*/ 204 w 504"/>
                  <a:gd name="T35" fmla="*/ 189 h 318"/>
                  <a:gd name="T36" fmla="*/ 182 w 504"/>
                  <a:gd name="T37" fmla="*/ 158 h 318"/>
                  <a:gd name="T38" fmla="*/ 166 w 504"/>
                  <a:gd name="T39" fmla="*/ 147 h 318"/>
                  <a:gd name="T40" fmla="*/ 153 w 504"/>
                  <a:gd name="T41" fmla="*/ 131 h 318"/>
                  <a:gd name="T42" fmla="*/ 145 w 504"/>
                  <a:gd name="T43" fmla="*/ 129 h 318"/>
                  <a:gd name="T44" fmla="*/ 145 w 504"/>
                  <a:gd name="T45" fmla="*/ 116 h 318"/>
                  <a:gd name="T46" fmla="*/ 126 w 504"/>
                  <a:gd name="T47" fmla="*/ 99 h 318"/>
                  <a:gd name="T48" fmla="*/ 113 w 504"/>
                  <a:gd name="T49" fmla="*/ 86 h 318"/>
                  <a:gd name="T50" fmla="*/ 96 w 504"/>
                  <a:gd name="T51" fmla="*/ 63 h 318"/>
                  <a:gd name="T52" fmla="*/ 86 w 504"/>
                  <a:gd name="T53" fmla="*/ 30 h 318"/>
                  <a:gd name="T54" fmla="*/ 58 w 504"/>
                  <a:gd name="T55" fmla="*/ 24 h 318"/>
                  <a:gd name="T56" fmla="*/ 67 w 504"/>
                  <a:gd name="T57" fmla="*/ 57 h 318"/>
                  <a:gd name="T58" fmla="*/ 88 w 504"/>
                  <a:gd name="T59" fmla="*/ 78 h 318"/>
                  <a:gd name="T60" fmla="*/ 103 w 504"/>
                  <a:gd name="T61" fmla="*/ 108 h 318"/>
                  <a:gd name="T62" fmla="*/ 113 w 504"/>
                  <a:gd name="T63" fmla="*/ 124 h 318"/>
                  <a:gd name="T64" fmla="*/ 126 w 504"/>
                  <a:gd name="T65" fmla="*/ 154 h 318"/>
                  <a:gd name="T66" fmla="*/ 136 w 504"/>
                  <a:gd name="T67" fmla="*/ 160 h 318"/>
                  <a:gd name="T68" fmla="*/ 109 w 504"/>
                  <a:gd name="T69" fmla="*/ 150 h 318"/>
                  <a:gd name="T70" fmla="*/ 100 w 504"/>
                  <a:gd name="T71" fmla="*/ 139 h 318"/>
                  <a:gd name="T72" fmla="*/ 84 w 504"/>
                  <a:gd name="T73" fmla="*/ 108 h 318"/>
                  <a:gd name="T74" fmla="*/ 63 w 504"/>
                  <a:gd name="T75" fmla="*/ 103 h 318"/>
                  <a:gd name="T76" fmla="*/ 69 w 504"/>
                  <a:gd name="T77" fmla="*/ 89 h 318"/>
                  <a:gd name="T78" fmla="*/ 61 w 504"/>
                  <a:gd name="T79" fmla="*/ 66 h 318"/>
                  <a:gd name="T80" fmla="*/ 39 w 504"/>
                  <a:gd name="T81" fmla="*/ 42 h 318"/>
                  <a:gd name="T82" fmla="*/ 29 w 504"/>
                  <a:gd name="T83" fmla="*/ 17 h 318"/>
                  <a:gd name="T84" fmla="*/ 193 w 504"/>
                  <a:gd name="T85" fmla="*/ 19 h 318"/>
                  <a:gd name="T86" fmla="*/ 216 w 504"/>
                  <a:gd name="T87" fmla="*/ 42 h 318"/>
                  <a:gd name="T88" fmla="*/ 239 w 504"/>
                  <a:gd name="T89" fmla="*/ 66 h 318"/>
                  <a:gd name="T90" fmla="*/ 254 w 504"/>
                  <a:gd name="T91" fmla="*/ 55 h 318"/>
                  <a:gd name="T92" fmla="*/ 277 w 504"/>
                  <a:gd name="T93" fmla="*/ 63 h 318"/>
                  <a:gd name="T94" fmla="*/ 294 w 504"/>
                  <a:gd name="T95" fmla="*/ 87 h 318"/>
                  <a:gd name="T96" fmla="*/ 306 w 504"/>
                  <a:gd name="T97" fmla="*/ 110 h 318"/>
                  <a:gd name="T98" fmla="*/ 330 w 504"/>
                  <a:gd name="T99" fmla="*/ 122 h 318"/>
                  <a:gd name="T100" fmla="*/ 96 w 504"/>
                  <a:gd name="T101" fmla="*/ 66 h 318"/>
                  <a:gd name="T102" fmla="*/ 504 w 504"/>
                  <a:gd name="T103" fmla="*/ 217 h 318"/>
                  <a:gd name="T104" fmla="*/ 100 w 504"/>
                  <a:gd name="T105" fmla="*/ 135 h 318"/>
                  <a:gd name="T106" fmla="*/ 105 w 504"/>
                  <a:gd name="T107" fmla="*/ 148 h 318"/>
                  <a:gd name="T108" fmla="*/ 189 w 504"/>
                  <a:gd name="T109" fmla="*/ 200 h 318"/>
                  <a:gd name="T110" fmla="*/ 426 w 504"/>
                  <a:gd name="T111" fmla="*/ 250 h 318"/>
                  <a:gd name="T112" fmla="*/ 189 w 504"/>
                  <a:gd name="T113" fmla="*/ 202 h 318"/>
                  <a:gd name="T114" fmla="*/ 90 w 504"/>
                  <a:gd name="T115" fmla="*/ 76 h 318"/>
                  <a:gd name="T116" fmla="*/ 193 w 504"/>
                  <a:gd name="T117" fmla="*/ 204 h 318"/>
                  <a:gd name="T118" fmla="*/ 84 w 504"/>
                  <a:gd name="T119" fmla="*/ 112 h 318"/>
                  <a:gd name="T120" fmla="*/ 485 w 504"/>
                  <a:gd name="T121" fmla="*/ 257 h 318"/>
                  <a:gd name="T122" fmla="*/ 172 w 504"/>
                  <a:gd name="T123" fmla="*/ 148 h 318"/>
                  <a:gd name="T124" fmla="*/ 492 w 504"/>
                  <a:gd name="T125" fmla="*/ 232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4" h="318">
                    <a:moveTo>
                      <a:pt x="338" y="124"/>
                    </a:moveTo>
                    <a:lnTo>
                      <a:pt x="338" y="126"/>
                    </a:lnTo>
                    <a:lnTo>
                      <a:pt x="338" y="128"/>
                    </a:lnTo>
                    <a:lnTo>
                      <a:pt x="332" y="139"/>
                    </a:lnTo>
                    <a:lnTo>
                      <a:pt x="332" y="143"/>
                    </a:lnTo>
                    <a:lnTo>
                      <a:pt x="330" y="148"/>
                    </a:lnTo>
                    <a:lnTo>
                      <a:pt x="328" y="158"/>
                    </a:lnTo>
                    <a:lnTo>
                      <a:pt x="328" y="162"/>
                    </a:lnTo>
                    <a:lnTo>
                      <a:pt x="328" y="169"/>
                    </a:lnTo>
                    <a:lnTo>
                      <a:pt x="328" y="177"/>
                    </a:lnTo>
                    <a:lnTo>
                      <a:pt x="328" y="179"/>
                    </a:lnTo>
                    <a:lnTo>
                      <a:pt x="327" y="181"/>
                    </a:lnTo>
                    <a:lnTo>
                      <a:pt x="327" y="183"/>
                    </a:lnTo>
                    <a:lnTo>
                      <a:pt x="327" y="185"/>
                    </a:lnTo>
                    <a:lnTo>
                      <a:pt x="328" y="187"/>
                    </a:lnTo>
                    <a:lnTo>
                      <a:pt x="328" y="189"/>
                    </a:lnTo>
                    <a:lnTo>
                      <a:pt x="328" y="190"/>
                    </a:lnTo>
                    <a:lnTo>
                      <a:pt x="330" y="192"/>
                    </a:lnTo>
                    <a:lnTo>
                      <a:pt x="332" y="196"/>
                    </a:lnTo>
                    <a:lnTo>
                      <a:pt x="336" y="200"/>
                    </a:lnTo>
                    <a:lnTo>
                      <a:pt x="336" y="202"/>
                    </a:lnTo>
                    <a:lnTo>
                      <a:pt x="334" y="204"/>
                    </a:lnTo>
                    <a:lnTo>
                      <a:pt x="334" y="206"/>
                    </a:lnTo>
                    <a:lnTo>
                      <a:pt x="336" y="210"/>
                    </a:lnTo>
                    <a:lnTo>
                      <a:pt x="338" y="213"/>
                    </a:lnTo>
                    <a:lnTo>
                      <a:pt x="338" y="215"/>
                    </a:lnTo>
                    <a:lnTo>
                      <a:pt x="340" y="217"/>
                    </a:lnTo>
                    <a:lnTo>
                      <a:pt x="342" y="219"/>
                    </a:lnTo>
                    <a:lnTo>
                      <a:pt x="346" y="223"/>
                    </a:lnTo>
                    <a:lnTo>
                      <a:pt x="347" y="227"/>
                    </a:lnTo>
                    <a:lnTo>
                      <a:pt x="349" y="229"/>
                    </a:lnTo>
                    <a:lnTo>
                      <a:pt x="351" y="231"/>
                    </a:lnTo>
                    <a:lnTo>
                      <a:pt x="351" y="234"/>
                    </a:lnTo>
                    <a:lnTo>
                      <a:pt x="351" y="236"/>
                    </a:lnTo>
                    <a:lnTo>
                      <a:pt x="351" y="238"/>
                    </a:lnTo>
                    <a:lnTo>
                      <a:pt x="353" y="238"/>
                    </a:lnTo>
                    <a:lnTo>
                      <a:pt x="353" y="240"/>
                    </a:lnTo>
                    <a:lnTo>
                      <a:pt x="355" y="240"/>
                    </a:lnTo>
                    <a:lnTo>
                      <a:pt x="355" y="242"/>
                    </a:lnTo>
                    <a:lnTo>
                      <a:pt x="357" y="242"/>
                    </a:lnTo>
                    <a:lnTo>
                      <a:pt x="357" y="246"/>
                    </a:lnTo>
                    <a:lnTo>
                      <a:pt x="359" y="246"/>
                    </a:lnTo>
                    <a:lnTo>
                      <a:pt x="363" y="248"/>
                    </a:lnTo>
                    <a:lnTo>
                      <a:pt x="365" y="248"/>
                    </a:lnTo>
                    <a:lnTo>
                      <a:pt x="370" y="248"/>
                    </a:lnTo>
                    <a:lnTo>
                      <a:pt x="370" y="250"/>
                    </a:lnTo>
                    <a:lnTo>
                      <a:pt x="372" y="250"/>
                    </a:lnTo>
                    <a:lnTo>
                      <a:pt x="374" y="252"/>
                    </a:lnTo>
                    <a:lnTo>
                      <a:pt x="376" y="252"/>
                    </a:lnTo>
                    <a:lnTo>
                      <a:pt x="376" y="253"/>
                    </a:lnTo>
                    <a:lnTo>
                      <a:pt x="378" y="255"/>
                    </a:lnTo>
                    <a:lnTo>
                      <a:pt x="380" y="257"/>
                    </a:lnTo>
                    <a:lnTo>
                      <a:pt x="382" y="257"/>
                    </a:lnTo>
                    <a:lnTo>
                      <a:pt x="386" y="257"/>
                    </a:lnTo>
                    <a:lnTo>
                      <a:pt x="397" y="253"/>
                    </a:lnTo>
                    <a:lnTo>
                      <a:pt x="401" y="253"/>
                    </a:lnTo>
                    <a:lnTo>
                      <a:pt x="405" y="253"/>
                    </a:lnTo>
                    <a:lnTo>
                      <a:pt x="407" y="253"/>
                    </a:lnTo>
                    <a:lnTo>
                      <a:pt x="409" y="252"/>
                    </a:lnTo>
                    <a:lnTo>
                      <a:pt x="409" y="250"/>
                    </a:lnTo>
                    <a:lnTo>
                      <a:pt x="410" y="252"/>
                    </a:lnTo>
                    <a:lnTo>
                      <a:pt x="409" y="250"/>
                    </a:lnTo>
                    <a:lnTo>
                      <a:pt x="410" y="250"/>
                    </a:lnTo>
                    <a:lnTo>
                      <a:pt x="414" y="250"/>
                    </a:lnTo>
                    <a:lnTo>
                      <a:pt x="422" y="248"/>
                    </a:lnTo>
                    <a:lnTo>
                      <a:pt x="422" y="250"/>
                    </a:lnTo>
                    <a:lnTo>
                      <a:pt x="422" y="252"/>
                    </a:lnTo>
                    <a:lnTo>
                      <a:pt x="422" y="250"/>
                    </a:lnTo>
                    <a:lnTo>
                      <a:pt x="422" y="252"/>
                    </a:lnTo>
                    <a:lnTo>
                      <a:pt x="426" y="253"/>
                    </a:lnTo>
                    <a:lnTo>
                      <a:pt x="428" y="253"/>
                    </a:lnTo>
                    <a:lnTo>
                      <a:pt x="429" y="252"/>
                    </a:lnTo>
                    <a:lnTo>
                      <a:pt x="431" y="252"/>
                    </a:lnTo>
                    <a:lnTo>
                      <a:pt x="431" y="250"/>
                    </a:lnTo>
                    <a:lnTo>
                      <a:pt x="433" y="248"/>
                    </a:lnTo>
                    <a:lnTo>
                      <a:pt x="431" y="248"/>
                    </a:lnTo>
                    <a:lnTo>
                      <a:pt x="429" y="248"/>
                    </a:lnTo>
                    <a:lnTo>
                      <a:pt x="429" y="246"/>
                    </a:lnTo>
                    <a:lnTo>
                      <a:pt x="431" y="246"/>
                    </a:lnTo>
                    <a:lnTo>
                      <a:pt x="429" y="246"/>
                    </a:lnTo>
                    <a:lnTo>
                      <a:pt x="429" y="248"/>
                    </a:lnTo>
                    <a:lnTo>
                      <a:pt x="428" y="248"/>
                    </a:lnTo>
                    <a:lnTo>
                      <a:pt x="429" y="246"/>
                    </a:lnTo>
                    <a:lnTo>
                      <a:pt x="433" y="244"/>
                    </a:lnTo>
                    <a:lnTo>
                      <a:pt x="437" y="240"/>
                    </a:lnTo>
                    <a:lnTo>
                      <a:pt x="439" y="238"/>
                    </a:lnTo>
                    <a:lnTo>
                      <a:pt x="441" y="238"/>
                    </a:lnTo>
                    <a:lnTo>
                      <a:pt x="441" y="234"/>
                    </a:lnTo>
                    <a:lnTo>
                      <a:pt x="441" y="232"/>
                    </a:lnTo>
                    <a:lnTo>
                      <a:pt x="441" y="231"/>
                    </a:lnTo>
                    <a:lnTo>
                      <a:pt x="445" y="229"/>
                    </a:lnTo>
                    <a:lnTo>
                      <a:pt x="443" y="229"/>
                    </a:lnTo>
                    <a:lnTo>
                      <a:pt x="445" y="229"/>
                    </a:lnTo>
                    <a:lnTo>
                      <a:pt x="445" y="227"/>
                    </a:lnTo>
                    <a:lnTo>
                      <a:pt x="445" y="225"/>
                    </a:lnTo>
                    <a:lnTo>
                      <a:pt x="445" y="223"/>
                    </a:lnTo>
                    <a:lnTo>
                      <a:pt x="445" y="221"/>
                    </a:lnTo>
                    <a:lnTo>
                      <a:pt x="445" y="219"/>
                    </a:lnTo>
                    <a:lnTo>
                      <a:pt x="445" y="217"/>
                    </a:lnTo>
                    <a:lnTo>
                      <a:pt x="445" y="215"/>
                    </a:lnTo>
                    <a:lnTo>
                      <a:pt x="447" y="213"/>
                    </a:lnTo>
                    <a:lnTo>
                      <a:pt x="447" y="211"/>
                    </a:lnTo>
                    <a:lnTo>
                      <a:pt x="447" y="210"/>
                    </a:lnTo>
                    <a:lnTo>
                      <a:pt x="450" y="208"/>
                    </a:lnTo>
                    <a:lnTo>
                      <a:pt x="452" y="206"/>
                    </a:lnTo>
                    <a:lnTo>
                      <a:pt x="454" y="206"/>
                    </a:lnTo>
                    <a:lnTo>
                      <a:pt x="456" y="204"/>
                    </a:lnTo>
                    <a:lnTo>
                      <a:pt x="456" y="206"/>
                    </a:lnTo>
                    <a:lnTo>
                      <a:pt x="458" y="206"/>
                    </a:lnTo>
                    <a:lnTo>
                      <a:pt x="456" y="206"/>
                    </a:lnTo>
                    <a:lnTo>
                      <a:pt x="456" y="204"/>
                    </a:lnTo>
                    <a:lnTo>
                      <a:pt x="458" y="204"/>
                    </a:lnTo>
                    <a:lnTo>
                      <a:pt x="471" y="202"/>
                    </a:lnTo>
                    <a:lnTo>
                      <a:pt x="473" y="202"/>
                    </a:lnTo>
                    <a:lnTo>
                      <a:pt x="473" y="200"/>
                    </a:lnTo>
                    <a:lnTo>
                      <a:pt x="477" y="200"/>
                    </a:lnTo>
                    <a:lnTo>
                      <a:pt x="479" y="200"/>
                    </a:lnTo>
                    <a:lnTo>
                      <a:pt x="481" y="200"/>
                    </a:lnTo>
                    <a:lnTo>
                      <a:pt x="481" y="198"/>
                    </a:lnTo>
                    <a:lnTo>
                      <a:pt x="485" y="200"/>
                    </a:lnTo>
                    <a:lnTo>
                      <a:pt x="489" y="200"/>
                    </a:lnTo>
                    <a:lnTo>
                      <a:pt x="492" y="202"/>
                    </a:lnTo>
                    <a:lnTo>
                      <a:pt x="494" y="202"/>
                    </a:lnTo>
                    <a:lnTo>
                      <a:pt x="496" y="202"/>
                    </a:lnTo>
                    <a:lnTo>
                      <a:pt x="498" y="202"/>
                    </a:lnTo>
                    <a:lnTo>
                      <a:pt x="498" y="200"/>
                    </a:lnTo>
                    <a:lnTo>
                      <a:pt x="496" y="200"/>
                    </a:lnTo>
                    <a:lnTo>
                      <a:pt x="494" y="200"/>
                    </a:lnTo>
                    <a:lnTo>
                      <a:pt x="496" y="200"/>
                    </a:lnTo>
                    <a:lnTo>
                      <a:pt x="498" y="200"/>
                    </a:lnTo>
                    <a:lnTo>
                      <a:pt x="500" y="200"/>
                    </a:lnTo>
                    <a:lnTo>
                      <a:pt x="502" y="202"/>
                    </a:lnTo>
                    <a:lnTo>
                      <a:pt x="502" y="206"/>
                    </a:lnTo>
                    <a:lnTo>
                      <a:pt x="502" y="204"/>
                    </a:lnTo>
                    <a:lnTo>
                      <a:pt x="504" y="204"/>
                    </a:lnTo>
                    <a:lnTo>
                      <a:pt x="502" y="202"/>
                    </a:lnTo>
                    <a:lnTo>
                      <a:pt x="504" y="202"/>
                    </a:lnTo>
                    <a:lnTo>
                      <a:pt x="504" y="204"/>
                    </a:lnTo>
                    <a:lnTo>
                      <a:pt x="504" y="202"/>
                    </a:lnTo>
                    <a:lnTo>
                      <a:pt x="504" y="204"/>
                    </a:lnTo>
                    <a:lnTo>
                      <a:pt x="502" y="204"/>
                    </a:lnTo>
                    <a:lnTo>
                      <a:pt x="504" y="206"/>
                    </a:lnTo>
                    <a:lnTo>
                      <a:pt x="504" y="208"/>
                    </a:lnTo>
                    <a:lnTo>
                      <a:pt x="504" y="210"/>
                    </a:lnTo>
                    <a:lnTo>
                      <a:pt x="502" y="210"/>
                    </a:lnTo>
                    <a:lnTo>
                      <a:pt x="502" y="211"/>
                    </a:lnTo>
                    <a:lnTo>
                      <a:pt x="500" y="213"/>
                    </a:lnTo>
                    <a:lnTo>
                      <a:pt x="500" y="215"/>
                    </a:lnTo>
                    <a:lnTo>
                      <a:pt x="498" y="217"/>
                    </a:lnTo>
                    <a:lnTo>
                      <a:pt x="496" y="217"/>
                    </a:lnTo>
                    <a:lnTo>
                      <a:pt x="494" y="219"/>
                    </a:lnTo>
                    <a:lnTo>
                      <a:pt x="494" y="221"/>
                    </a:lnTo>
                    <a:lnTo>
                      <a:pt x="492" y="223"/>
                    </a:lnTo>
                    <a:lnTo>
                      <a:pt x="492" y="225"/>
                    </a:lnTo>
                    <a:lnTo>
                      <a:pt x="492" y="227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2" y="229"/>
                    </a:lnTo>
                    <a:lnTo>
                      <a:pt x="492" y="227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0" y="231"/>
                    </a:lnTo>
                    <a:lnTo>
                      <a:pt x="490" y="232"/>
                    </a:lnTo>
                    <a:lnTo>
                      <a:pt x="489" y="232"/>
                    </a:lnTo>
                    <a:lnTo>
                      <a:pt x="490" y="232"/>
                    </a:lnTo>
                    <a:lnTo>
                      <a:pt x="489" y="232"/>
                    </a:lnTo>
                    <a:lnTo>
                      <a:pt x="489" y="234"/>
                    </a:lnTo>
                    <a:lnTo>
                      <a:pt x="490" y="234"/>
                    </a:lnTo>
                    <a:lnTo>
                      <a:pt x="492" y="234"/>
                    </a:lnTo>
                    <a:lnTo>
                      <a:pt x="492" y="232"/>
                    </a:lnTo>
                    <a:lnTo>
                      <a:pt x="490" y="234"/>
                    </a:lnTo>
                    <a:lnTo>
                      <a:pt x="490" y="232"/>
                    </a:lnTo>
                    <a:lnTo>
                      <a:pt x="492" y="232"/>
                    </a:lnTo>
                    <a:lnTo>
                      <a:pt x="494" y="232"/>
                    </a:lnTo>
                    <a:lnTo>
                      <a:pt x="492" y="236"/>
                    </a:lnTo>
                    <a:lnTo>
                      <a:pt x="490" y="236"/>
                    </a:lnTo>
                    <a:lnTo>
                      <a:pt x="489" y="238"/>
                    </a:lnTo>
                    <a:lnTo>
                      <a:pt x="489" y="240"/>
                    </a:lnTo>
                    <a:lnTo>
                      <a:pt x="490" y="240"/>
                    </a:lnTo>
                    <a:lnTo>
                      <a:pt x="490" y="238"/>
                    </a:lnTo>
                    <a:lnTo>
                      <a:pt x="490" y="240"/>
                    </a:lnTo>
                    <a:lnTo>
                      <a:pt x="490" y="238"/>
                    </a:lnTo>
                    <a:lnTo>
                      <a:pt x="492" y="238"/>
                    </a:lnTo>
                    <a:lnTo>
                      <a:pt x="490" y="240"/>
                    </a:lnTo>
                    <a:lnTo>
                      <a:pt x="490" y="242"/>
                    </a:lnTo>
                    <a:lnTo>
                      <a:pt x="490" y="244"/>
                    </a:lnTo>
                    <a:lnTo>
                      <a:pt x="489" y="248"/>
                    </a:lnTo>
                    <a:lnTo>
                      <a:pt x="489" y="252"/>
                    </a:lnTo>
                    <a:lnTo>
                      <a:pt x="489" y="253"/>
                    </a:lnTo>
                    <a:lnTo>
                      <a:pt x="487" y="255"/>
                    </a:lnTo>
                    <a:lnTo>
                      <a:pt x="487" y="257"/>
                    </a:lnTo>
                    <a:lnTo>
                      <a:pt x="487" y="255"/>
                    </a:lnTo>
                    <a:lnTo>
                      <a:pt x="487" y="257"/>
                    </a:lnTo>
                    <a:lnTo>
                      <a:pt x="485" y="257"/>
                    </a:lnTo>
                    <a:lnTo>
                      <a:pt x="485" y="255"/>
                    </a:lnTo>
                    <a:lnTo>
                      <a:pt x="487" y="255"/>
                    </a:lnTo>
                    <a:lnTo>
                      <a:pt x="485" y="255"/>
                    </a:lnTo>
                    <a:lnTo>
                      <a:pt x="487" y="255"/>
                    </a:lnTo>
                    <a:lnTo>
                      <a:pt x="487" y="253"/>
                    </a:lnTo>
                    <a:lnTo>
                      <a:pt x="485" y="253"/>
                    </a:lnTo>
                    <a:lnTo>
                      <a:pt x="483" y="252"/>
                    </a:lnTo>
                    <a:lnTo>
                      <a:pt x="483" y="250"/>
                    </a:lnTo>
                    <a:lnTo>
                      <a:pt x="485" y="250"/>
                    </a:lnTo>
                    <a:lnTo>
                      <a:pt x="483" y="248"/>
                    </a:lnTo>
                    <a:lnTo>
                      <a:pt x="485" y="248"/>
                    </a:lnTo>
                    <a:lnTo>
                      <a:pt x="483" y="248"/>
                    </a:lnTo>
                    <a:lnTo>
                      <a:pt x="485" y="248"/>
                    </a:lnTo>
                    <a:lnTo>
                      <a:pt x="483" y="248"/>
                    </a:lnTo>
                    <a:lnTo>
                      <a:pt x="483" y="246"/>
                    </a:lnTo>
                    <a:lnTo>
                      <a:pt x="481" y="248"/>
                    </a:lnTo>
                    <a:lnTo>
                      <a:pt x="481" y="250"/>
                    </a:lnTo>
                    <a:lnTo>
                      <a:pt x="481" y="248"/>
                    </a:lnTo>
                    <a:lnTo>
                      <a:pt x="481" y="250"/>
                    </a:lnTo>
                    <a:lnTo>
                      <a:pt x="479" y="252"/>
                    </a:lnTo>
                    <a:lnTo>
                      <a:pt x="477" y="252"/>
                    </a:lnTo>
                    <a:lnTo>
                      <a:pt x="475" y="252"/>
                    </a:lnTo>
                    <a:lnTo>
                      <a:pt x="475" y="253"/>
                    </a:lnTo>
                    <a:lnTo>
                      <a:pt x="475" y="255"/>
                    </a:lnTo>
                    <a:lnTo>
                      <a:pt x="473" y="257"/>
                    </a:lnTo>
                    <a:lnTo>
                      <a:pt x="473" y="259"/>
                    </a:lnTo>
                    <a:lnTo>
                      <a:pt x="471" y="259"/>
                    </a:lnTo>
                    <a:lnTo>
                      <a:pt x="471" y="261"/>
                    </a:lnTo>
                    <a:lnTo>
                      <a:pt x="470" y="261"/>
                    </a:lnTo>
                    <a:lnTo>
                      <a:pt x="468" y="261"/>
                    </a:lnTo>
                    <a:lnTo>
                      <a:pt x="466" y="261"/>
                    </a:lnTo>
                    <a:lnTo>
                      <a:pt x="466" y="263"/>
                    </a:lnTo>
                    <a:lnTo>
                      <a:pt x="437" y="263"/>
                    </a:lnTo>
                    <a:lnTo>
                      <a:pt x="437" y="273"/>
                    </a:lnTo>
                    <a:lnTo>
                      <a:pt x="429" y="273"/>
                    </a:lnTo>
                    <a:lnTo>
                      <a:pt x="431" y="274"/>
                    </a:lnTo>
                    <a:lnTo>
                      <a:pt x="433" y="274"/>
                    </a:lnTo>
                    <a:lnTo>
                      <a:pt x="433" y="276"/>
                    </a:lnTo>
                    <a:lnTo>
                      <a:pt x="435" y="276"/>
                    </a:lnTo>
                    <a:lnTo>
                      <a:pt x="435" y="278"/>
                    </a:lnTo>
                    <a:lnTo>
                      <a:pt x="437" y="278"/>
                    </a:lnTo>
                    <a:lnTo>
                      <a:pt x="437" y="280"/>
                    </a:lnTo>
                    <a:lnTo>
                      <a:pt x="439" y="280"/>
                    </a:lnTo>
                    <a:lnTo>
                      <a:pt x="441" y="282"/>
                    </a:lnTo>
                    <a:lnTo>
                      <a:pt x="441" y="284"/>
                    </a:lnTo>
                    <a:lnTo>
                      <a:pt x="443" y="284"/>
                    </a:lnTo>
                    <a:lnTo>
                      <a:pt x="443" y="286"/>
                    </a:lnTo>
                    <a:lnTo>
                      <a:pt x="445" y="286"/>
                    </a:lnTo>
                    <a:lnTo>
                      <a:pt x="447" y="286"/>
                    </a:lnTo>
                    <a:lnTo>
                      <a:pt x="447" y="288"/>
                    </a:lnTo>
                    <a:lnTo>
                      <a:pt x="445" y="288"/>
                    </a:lnTo>
                    <a:lnTo>
                      <a:pt x="447" y="288"/>
                    </a:lnTo>
                    <a:lnTo>
                      <a:pt x="445" y="288"/>
                    </a:lnTo>
                    <a:lnTo>
                      <a:pt x="445" y="290"/>
                    </a:lnTo>
                    <a:lnTo>
                      <a:pt x="445" y="292"/>
                    </a:lnTo>
                    <a:lnTo>
                      <a:pt x="424" y="292"/>
                    </a:lnTo>
                    <a:lnTo>
                      <a:pt x="416" y="305"/>
                    </a:lnTo>
                    <a:lnTo>
                      <a:pt x="420" y="309"/>
                    </a:lnTo>
                    <a:lnTo>
                      <a:pt x="418" y="311"/>
                    </a:lnTo>
                    <a:lnTo>
                      <a:pt x="418" y="313"/>
                    </a:lnTo>
                    <a:lnTo>
                      <a:pt x="418" y="314"/>
                    </a:lnTo>
                    <a:lnTo>
                      <a:pt x="418" y="316"/>
                    </a:lnTo>
                    <a:lnTo>
                      <a:pt x="416" y="316"/>
                    </a:lnTo>
                    <a:lnTo>
                      <a:pt x="416" y="318"/>
                    </a:lnTo>
                    <a:lnTo>
                      <a:pt x="414" y="314"/>
                    </a:lnTo>
                    <a:lnTo>
                      <a:pt x="412" y="313"/>
                    </a:lnTo>
                    <a:lnTo>
                      <a:pt x="405" y="305"/>
                    </a:lnTo>
                    <a:lnTo>
                      <a:pt x="401" y="301"/>
                    </a:lnTo>
                    <a:lnTo>
                      <a:pt x="397" y="297"/>
                    </a:lnTo>
                    <a:lnTo>
                      <a:pt x="393" y="295"/>
                    </a:lnTo>
                    <a:lnTo>
                      <a:pt x="391" y="294"/>
                    </a:lnTo>
                    <a:lnTo>
                      <a:pt x="389" y="294"/>
                    </a:lnTo>
                    <a:lnTo>
                      <a:pt x="386" y="292"/>
                    </a:lnTo>
                    <a:lnTo>
                      <a:pt x="382" y="290"/>
                    </a:lnTo>
                    <a:lnTo>
                      <a:pt x="378" y="290"/>
                    </a:lnTo>
                    <a:lnTo>
                      <a:pt x="376" y="290"/>
                    </a:lnTo>
                    <a:lnTo>
                      <a:pt x="372" y="290"/>
                    </a:lnTo>
                    <a:lnTo>
                      <a:pt x="370" y="290"/>
                    </a:lnTo>
                    <a:lnTo>
                      <a:pt x="370" y="292"/>
                    </a:lnTo>
                    <a:lnTo>
                      <a:pt x="370" y="290"/>
                    </a:lnTo>
                    <a:lnTo>
                      <a:pt x="370" y="292"/>
                    </a:lnTo>
                    <a:lnTo>
                      <a:pt x="368" y="292"/>
                    </a:lnTo>
                    <a:lnTo>
                      <a:pt x="367" y="292"/>
                    </a:lnTo>
                    <a:lnTo>
                      <a:pt x="367" y="294"/>
                    </a:lnTo>
                    <a:lnTo>
                      <a:pt x="363" y="294"/>
                    </a:lnTo>
                    <a:lnTo>
                      <a:pt x="363" y="295"/>
                    </a:lnTo>
                    <a:lnTo>
                      <a:pt x="361" y="295"/>
                    </a:lnTo>
                    <a:lnTo>
                      <a:pt x="357" y="295"/>
                    </a:lnTo>
                    <a:lnTo>
                      <a:pt x="355" y="297"/>
                    </a:lnTo>
                    <a:lnTo>
                      <a:pt x="353" y="299"/>
                    </a:lnTo>
                    <a:lnTo>
                      <a:pt x="353" y="297"/>
                    </a:lnTo>
                    <a:lnTo>
                      <a:pt x="353" y="299"/>
                    </a:lnTo>
                    <a:lnTo>
                      <a:pt x="349" y="299"/>
                    </a:lnTo>
                    <a:lnTo>
                      <a:pt x="347" y="299"/>
                    </a:lnTo>
                    <a:lnTo>
                      <a:pt x="346" y="297"/>
                    </a:lnTo>
                    <a:lnTo>
                      <a:pt x="344" y="297"/>
                    </a:lnTo>
                    <a:lnTo>
                      <a:pt x="342" y="297"/>
                    </a:lnTo>
                    <a:lnTo>
                      <a:pt x="340" y="297"/>
                    </a:lnTo>
                    <a:lnTo>
                      <a:pt x="340" y="295"/>
                    </a:lnTo>
                    <a:lnTo>
                      <a:pt x="338" y="295"/>
                    </a:lnTo>
                    <a:lnTo>
                      <a:pt x="336" y="294"/>
                    </a:lnTo>
                    <a:lnTo>
                      <a:pt x="334" y="294"/>
                    </a:lnTo>
                    <a:lnTo>
                      <a:pt x="332" y="294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5" y="292"/>
                    </a:lnTo>
                    <a:lnTo>
                      <a:pt x="321" y="290"/>
                    </a:lnTo>
                    <a:lnTo>
                      <a:pt x="319" y="290"/>
                    </a:lnTo>
                    <a:lnTo>
                      <a:pt x="317" y="288"/>
                    </a:lnTo>
                    <a:lnTo>
                      <a:pt x="313" y="284"/>
                    </a:lnTo>
                    <a:lnTo>
                      <a:pt x="311" y="284"/>
                    </a:lnTo>
                    <a:lnTo>
                      <a:pt x="304" y="282"/>
                    </a:lnTo>
                    <a:lnTo>
                      <a:pt x="298" y="282"/>
                    </a:lnTo>
                    <a:lnTo>
                      <a:pt x="296" y="280"/>
                    </a:lnTo>
                    <a:lnTo>
                      <a:pt x="294" y="280"/>
                    </a:lnTo>
                    <a:lnTo>
                      <a:pt x="294" y="278"/>
                    </a:lnTo>
                    <a:lnTo>
                      <a:pt x="277" y="273"/>
                    </a:lnTo>
                    <a:lnTo>
                      <a:pt x="275" y="271"/>
                    </a:lnTo>
                    <a:lnTo>
                      <a:pt x="273" y="271"/>
                    </a:lnTo>
                    <a:lnTo>
                      <a:pt x="269" y="269"/>
                    </a:lnTo>
                    <a:lnTo>
                      <a:pt x="269" y="267"/>
                    </a:lnTo>
                    <a:lnTo>
                      <a:pt x="267" y="267"/>
                    </a:lnTo>
                    <a:lnTo>
                      <a:pt x="267" y="265"/>
                    </a:lnTo>
                    <a:lnTo>
                      <a:pt x="265" y="263"/>
                    </a:lnTo>
                    <a:lnTo>
                      <a:pt x="262" y="261"/>
                    </a:lnTo>
                    <a:lnTo>
                      <a:pt x="260" y="261"/>
                    </a:lnTo>
                    <a:lnTo>
                      <a:pt x="258" y="261"/>
                    </a:lnTo>
                    <a:lnTo>
                      <a:pt x="260" y="261"/>
                    </a:lnTo>
                    <a:lnTo>
                      <a:pt x="258" y="261"/>
                    </a:lnTo>
                    <a:lnTo>
                      <a:pt x="256" y="261"/>
                    </a:lnTo>
                    <a:lnTo>
                      <a:pt x="254" y="259"/>
                    </a:lnTo>
                    <a:lnTo>
                      <a:pt x="248" y="259"/>
                    </a:lnTo>
                    <a:lnTo>
                      <a:pt x="245" y="257"/>
                    </a:lnTo>
                    <a:lnTo>
                      <a:pt x="243" y="257"/>
                    </a:lnTo>
                    <a:lnTo>
                      <a:pt x="241" y="255"/>
                    </a:lnTo>
                    <a:lnTo>
                      <a:pt x="239" y="255"/>
                    </a:lnTo>
                    <a:lnTo>
                      <a:pt x="237" y="253"/>
                    </a:lnTo>
                    <a:lnTo>
                      <a:pt x="237" y="252"/>
                    </a:lnTo>
                    <a:lnTo>
                      <a:pt x="235" y="250"/>
                    </a:lnTo>
                    <a:lnTo>
                      <a:pt x="233" y="248"/>
                    </a:lnTo>
                    <a:lnTo>
                      <a:pt x="229" y="246"/>
                    </a:lnTo>
                    <a:lnTo>
                      <a:pt x="227" y="244"/>
                    </a:lnTo>
                    <a:lnTo>
                      <a:pt x="224" y="244"/>
                    </a:lnTo>
                    <a:lnTo>
                      <a:pt x="224" y="242"/>
                    </a:lnTo>
                    <a:lnTo>
                      <a:pt x="225" y="242"/>
                    </a:lnTo>
                    <a:lnTo>
                      <a:pt x="224" y="242"/>
                    </a:lnTo>
                    <a:lnTo>
                      <a:pt x="222" y="242"/>
                    </a:lnTo>
                    <a:lnTo>
                      <a:pt x="218" y="240"/>
                    </a:lnTo>
                    <a:lnTo>
                      <a:pt x="216" y="240"/>
                    </a:lnTo>
                    <a:lnTo>
                      <a:pt x="218" y="238"/>
                    </a:lnTo>
                    <a:lnTo>
                      <a:pt x="216" y="238"/>
                    </a:lnTo>
                    <a:lnTo>
                      <a:pt x="214" y="238"/>
                    </a:lnTo>
                    <a:lnTo>
                      <a:pt x="214" y="236"/>
                    </a:lnTo>
                    <a:lnTo>
                      <a:pt x="212" y="236"/>
                    </a:lnTo>
                    <a:lnTo>
                      <a:pt x="212" y="234"/>
                    </a:lnTo>
                    <a:lnTo>
                      <a:pt x="210" y="232"/>
                    </a:lnTo>
                    <a:lnTo>
                      <a:pt x="208" y="231"/>
                    </a:lnTo>
                    <a:lnTo>
                      <a:pt x="206" y="227"/>
                    </a:lnTo>
                    <a:lnTo>
                      <a:pt x="204" y="225"/>
                    </a:lnTo>
                    <a:lnTo>
                      <a:pt x="204" y="223"/>
                    </a:lnTo>
                    <a:lnTo>
                      <a:pt x="203" y="221"/>
                    </a:lnTo>
                    <a:lnTo>
                      <a:pt x="203" y="219"/>
                    </a:lnTo>
                    <a:lnTo>
                      <a:pt x="204" y="219"/>
                    </a:lnTo>
                    <a:lnTo>
                      <a:pt x="208" y="217"/>
                    </a:lnTo>
                    <a:lnTo>
                      <a:pt x="210" y="217"/>
                    </a:lnTo>
                    <a:lnTo>
                      <a:pt x="210" y="215"/>
                    </a:lnTo>
                    <a:lnTo>
                      <a:pt x="208" y="215"/>
                    </a:lnTo>
                    <a:lnTo>
                      <a:pt x="208" y="213"/>
                    </a:lnTo>
                    <a:lnTo>
                      <a:pt x="206" y="213"/>
                    </a:lnTo>
                    <a:lnTo>
                      <a:pt x="204" y="213"/>
                    </a:lnTo>
                    <a:lnTo>
                      <a:pt x="206" y="213"/>
                    </a:lnTo>
                    <a:lnTo>
                      <a:pt x="206" y="211"/>
                    </a:lnTo>
                    <a:lnTo>
                      <a:pt x="208" y="210"/>
                    </a:lnTo>
                    <a:lnTo>
                      <a:pt x="210" y="210"/>
                    </a:lnTo>
                    <a:lnTo>
                      <a:pt x="210" y="208"/>
                    </a:lnTo>
                    <a:lnTo>
                      <a:pt x="210" y="206"/>
                    </a:lnTo>
                    <a:lnTo>
                      <a:pt x="210" y="204"/>
                    </a:lnTo>
                    <a:lnTo>
                      <a:pt x="210" y="202"/>
                    </a:lnTo>
                    <a:lnTo>
                      <a:pt x="210" y="200"/>
                    </a:lnTo>
                    <a:lnTo>
                      <a:pt x="206" y="198"/>
                    </a:lnTo>
                    <a:lnTo>
                      <a:pt x="206" y="196"/>
                    </a:lnTo>
                    <a:lnTo>
                      <a:pt x="204" y="192"/>
                    </a:lnTo>
                    <a:lnTo>
                      <a:pt x="203" y="192"/>
                    </a:lnTo>
                    <a:lnTo>
                      <a:pt x="204" y="189"/>
                    </a:lnTo>
                    <a:lnTo>
                      <a:pt x="203" y="187"/>
                    </a:lnTo>
                    <a:lnTo>
                      <a:pt x="201" y="183"/>
                    </a:lnTo>
                    <a:lnTo>
                      <a:pt x="203" y="183"/>
                    </a:lnTo>
                    <a:lnTo>
                      <a:pt x="201" y="183"/>
                    </a:lnTo>
                    <a:lnTo>
                      <a:pt x="201" y="181"/>
                    </a:lnTo>
                    <a:lnTo>
                      <a:pt x="199" y="179"/>
                    </a:lnTo>
                    <a:lnTo>
                      <a:pt x="197" y="177"/>
                    </a:lnTo>
                    <a:lnTo>
                      <a:pt x="195" y="175"/>
                    </a:lnTo>
                    <a:lnTo>
                      <a:pt x="191" y="171"/>
                    </a:lnTo>
                    <a:lnTo>
                      <a:pt x="193" y="171"/>
                    </a:lnTo>
                    <a:lnTo>
                      <a:pt x="193" y="173"/>
                    </a:lnTo>
                    <a:lnTo>
                      <a:pt x="193" y="171"/>
                    </a:lnTo>
                    <a:lnTo>
                      <a:pt x="191" y="171"/>
                    </a:lnTo>
                    <a:lnTo>
                      <a:pt x="189" y="169"/>
                    </a:lnTo>
                    <a:lnTo>
                      <a:pt x="189" y="168"/>
                    </a:lnTo>
                    <a:lnTo>
                      <a:pt x="187" y="168"/>
                    </a:lnTo>
                    <a:lnTo>
                      <a:pt x="187" y="166"/>
                    </a:lnTo>
                    <a:lnTo>
                      <a:pt x="185" y="164"/>
                    </a:lnTo>
                    <a:lnTo>
                      <a:pt x="183" y="162"/>
                    </a:lnTo>
                    <a:lnTo>
                      <a:pt x="183" y="160"/>
                    </a:lnTo>
                    <a:lnTo>
                      <a:pt x="182" y="158"/>
                    </a:lnTo>
                    <a:lnTo>
                      <a:pt x="180" y="156"/>
                    </a:lnTo>
                    <a:lnTo>
                      <a:pt x="176" y="154"/>
                    </a:lnTo>
                    <a:lnTo>
                      <a:pt x="172" y="150"/>
                    </a:lnTo>
                    <a:lnTo>
                      <a:pt x="168" y="148"/>
                    </a:lnTo>
                    <a:lnTo>
                      <a:pt x="170" y="148"/>
                    </a:lnTo>
                    <a:lnTo>
                      <a:pt x="172" y="150"/>
                    </a:lnTo>
                    <a:lnTo>
                      <a:pt x="172" y="152"/>
                    </a:lnTo>
                    <a:lnTo>
                      <a:pt x="174" y="152"/>
                    </a:lnTo>
                    <a:lnTo>
                      <a:pt x="172" y="150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4" y="148"/>
                    </a:lnTo>
                    <a:lnTo>
                      <a:pt x="172" y="148"/>
                    </a:lnTo>
                    <a:lnTo>
                      <a:pt x="172" y="150"/>
                    </a:lnTo>
                    <a:lnTo>
                      <a:pt x="170" y="148"/>
                    </a:lnTo>
                    <a:lnTo>
                      <a:pt x="168" y="147"/>
                    </a:lnTo>
                    <a:lnTo>
                      <a:pt x="166" y="147"/>
                    </a:lnTo>
                    <a:lnTo>
                      <a:pt x="168" y="147"/>
                    </a:lnTo>
                    <a:lnTo>
                      <a:pt x="166" y="147"/>
                    </a:lnTo>
                    <a:lnTo>
                      <a:pt x="168" y="148"/>
                    </a:lnTo>
                    <a:lnTo>
                      <a:pt x="166" y="147"/>
                    </a:lnTo>
                    <a:lnTo>
                      <a:pt x="166" y="145"/>
                    </a:lnTo>
                    <a:lnTo>
                      <a:pt x="164" y="145"/>
                    </a:lnTo>
                    <a:lnTo>
                      <a:pt x="166" y="145"/>
                    </a:lnTo>
                    <a:lnTo>
                      <a:pt x="166" y="143"/>
                    </a:lnTo>
                    <a:lnTo>
                      <a:pt x="166" y="141"/>
                    </a:lnTo>
                    <a:lnTo>
                      <a:pt x="164" y="141"/>
                    </a:lnTo>
                    <a:lnTo>
                      <a:pt x="164" y="139"/>
                    </a:lnTo>
                    <a:lnTo>
                      <a:pt x="163" y="139"/>
                    </a:lnTo>
                    <a:lnTo>
                      <a:pt x="163" y="137"/>
                    </a:lnTo>
                    <a:lnTo>
                      <a:pt x="161" y="137"/>
                    </a:lnTo>
                    <a:lnTo>
                      <a:pt x="161" y="135"/>
                    </a:lnTo>
                    <a:lnTo>
                      <a:pt x="161" y="137"/>
                    </a:lnTo>
                    <a:lnTo>
                      <a:pt x="159" y="135"/>
                    </a:lnTo>
                    <a:lnTo>
                      <a:pt x="157" y="135"/>
                    </a:lnTo>
                    <a:lnTo>
                      <a:pt x="155" y="133"/>
                    </a:lnTo>
                    <a:lnTo>
                      <a:pt x="153" y="133"/>
                    </a:lnTo>
                    <a:lnTo>
                      <a:pt x="155" y="133"/>
                    </a:lnTo>
                    <a:lnTo>
                      <a:pt x="153" y="133"/>
                    </a:lnTo>
                    <a:lnTo>
                      <a:pt x="155" y="133"/>
                    </a:lnTo>
                    <a:lnTo>
                      <a:pt x="153" y="133"/>
                    </a:lnTo>
                    <a:lnTo>
                      <a:pt x="153" y="131"/>
                    </a:lnTo>
                    <a:lnTo>
                      <a:pt x="153" y="129"/>
                    </a:lnTo>
                    <a:lnTo>
                      <a:pt x="153" y="131"/>
                    </a:lnTo>
                    <a:lnTo>
                      <a:pt x="151" y="129"/>
                    </a:lnTo>
                    <a:lnTo>
                      <a:pt x="151" y="131"/>
                    </a:lnTo>
                    <a:lnTo>
                      <a:pt x="151" y="133"/>
                    </a:lnTo>
                    <a:lnTo>
                      <a:pt x="151" y="131"/>
                    </a:lnTo>
                    <a:lnTo>
                      <a:pt x="149" y="131"/>
                    </a:lnTo>
                    <a:lnTo>
                      <a:pt x="147" y="131"/>
                    </a:lnTo>
                    <a:lnTo>
                      <a:pt x="149" y="131"/>
                    </a:lnTo>
                    <a:lnTo>
                      <a:pt x="149" y="129"/>
                    </a:lnTo>
                    <a:lnTo>
                      <a:pt x="149" y="131"/>
                    </a:lnTo>
                    <a:lnTo>
                      <a:pt x="149" y="129"/>
                    </a:lnTo>
                    <a:lnTo>
                      <a:pt x="147" y="129"/>
                    </a:lnTo>
                    <a:lnTo>
                      <a:pt x="145" y="128"/>
                    </a:lnTo>
                    <a:lnTo>
                      <a:pt x="145" y="129"/>
                    </a:lnTo>
                    <a:lnTo>
                      <a:pt x="147" y="129"/>
                    </a:lnTo>
                    <a:lnTo>
                      <a:pt x="147" y="131"/>
                    </a:lnTo>
                    <a:lnTo>
                      <a:pt x="147" y="129"/>
                    </a:lnTo>
                    <a:lnTo>
                      <a:pt x="145" y="129"/>
                    </a:lnTo>
                    <a:lnTo>
                      <a:pt x="143" y="129"/>
                    </a:lnTo>
                    <a:lnTo>
                      <a:pt x="145" y="129"/>
                    </a:lnTo>
                    <a:lnTo>
                      <a:pt x="145" y="128"/>
                    </a:lnTo>
                    <a:lnTo>
                      <a:pt x="143" y="128"/>
                    </a:lnTo>
                    <a:lnTo>
                      <a:pt x="143" y="126"/>
                    </a:lnTo>
                    <a:lnTo>
                      <a:pt x="143" y="124"/>
                    </a:lnTo>
                    <a:lnTo>
                      <a:pt x="143" y="122"/>
                    </a:lnTo>
                    <a:lnTo>
                      <a:pt x="145" y="120"/>
                    </a:lnTo>
                    <a:lnTo>
                      <a:pt x="145" y="118"/>
                    </a:lnTo>
                    <a:lnTo>
                      <a:pt x="145" y="120"/>
                    </a:lnTo>
                    <a:lnTo>
                      <a:pt x="145" y="118"/>
                    </a:lnTo>
                    <a:lnTo>
                      <a:pt x="145" y="120"/>
                    </a:lnTo>
                    <a:lnTo>
                      <a:pt x="145" y="118"/>
                    </a:lnTo>
                    <a:lnTo>
                      <a:pt x="147" y="118"/>
                    </a:lnTo>
                    <a:lnTo>
                      <a:pt x="147" y="116"/>
                    </a:lnTo>
                    <a:lnTo>
                      <a:pt x="147" y="118"/>
                    </a:lnTo>
                    <a:lnTo>
                      <a:pt x="147" y="120"/>
                    </a:lnTo>
                    <a:lnTo>
                      <a:pt x="149" y="120"/>
                    </a:lnTo>
                    <a:lnTo>
                      <a:pt x="147" y="118"/>
                    </a:lnTo>
                    <a:lnTo>
                      <a:pt x="149" y="118"/>
                    </a:lnTo>
                    <a:lnTo>
                      <a:pt x="147" y="118"/>
                    </a:lnTo>
                    <a:lnTo>
                      <a:pt x="147" y="116"/>
                    </a:lnTo>
                    <a:lnTo>
                      <a:pt x="145" y="116"/>
                    </a:lnTo>
                    <a:lnTo>
                      <a:pt x="147" y="116"/>
                    </a:lnTo>
                    <a:lnTo>
                      <a:pt x="145" y="118"/>
                    </a:lnTo>
                    <a:lnTo>
                      <a:pt x="145" y="114"/>
                    </a:lnTo>
                    <a:lnTo>
                      <a:pt x="143" y="110"/>
                    </a:lnTo>
                    <a:lnTo>
                      <a:pt x="142" y="110"/>
                    </a:lnTo>
                    <a:lnTo>
                      <a:pt x="143" y="110"/>
                    </a:lnTo>
                    <a:lnTo>
                      <a:pt x="142" y="110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0" y="110"/>
                    </a:lnTo>
                    <a:lnTo>
                      <a:pt x="138" y="110"/>
                    </a:lnTo>
                    <a:lnTo>
                      <a:pt x="136" y="108"/>
                    </a:lnTo>
                    <a:lnTo>
                      <a:pt x="136" y="107"/>
                    </a:lnTo>
                    <a:lnTo>
                      <a:pt x="136" y="105"/>
                    </a:lnTo>
                    <a:lnTo>
                      <a:pt x="136" y="107"/>
                    </a:lnTo>
                    <a:lnTo>
                      <a:pt x="136" y="105"/>
                    </a:lnTo>
                    <a:lnTo>
                      <a:pt x="134" y="103"/>
                    </a:lnTo>
                    <a:lnTo>
                      <a:pt x="132" y="103"/>
                    </a:lnTo>
                    <a:lnTo>
                      <a:pt x="130" y="103"/>
                    </a:lnTo>
                    <a:lnTo>
                      <a:pt x="128" y="101"/>
                    </a:lnTo>
                    <a:lnTo>
                      <a:pt x="126" y="99"/>
                    </a:lnTo>
                    <a:lnTo>
                      <a:pt x="124" y="99"/>
                    </a:lnTo>
                    <a:lnTo>
                      <a:pt x="126" y="99"/>
                    </a:lnTo>
                    <a:lnTo>
                      <a:pt x="124" y="97"/>
                    </a:lnTo>
                    <a:lnTo>
                      <a:pt x="124" y="95"/>
                    </a:lnTo>
                    <a:lnTo>
                      <a:pt x="124" y="93"/>
                    </a:lnTo>
                    <a:lnTo>
                      <a:pt x="124" y="91"/>
                    </a:lnTo>
                    <a:lnTo>
                      <a:pt x="124" y="89"/>
                    </a:lnTo>
                    <a:lnTo>
                      <a:pt x="126" y="89"/>
                    </a:lnTo>
                    <a:lnTo>
                      <a:pt x="124" y="89"/>
                    </a:lnTo>
                    <a:lnTo>
                      <a:pt x="122" y="89"/>
                    </a:lnTo>
                    <a:lnTo>
                      <a:pt x="121" y="89"/>
                    </a:lnTo>
                    <a:lnTo>
                      <a:pt x="121" y="87"/>
                    </a:lnTo>
                    <a:lnTo>
                      <a:pt x="121" y="89"/>
                    </a:lnTo>
                    <a:lnTo>
                      <a:pt x="121" y="87"/>
                    </a:lnTo>
                    <a:lnTo>
                      <a:pt x="121" y="89"/>
                    </a:lnTo>
                    <a:lnTo>
                      <a:pt x="119" y="89"/>
                    </a:lnTo>
                    <a:lnTo>
                      <a:pt x="119" y="87"/>
                    </a:lnTo>
                    <a:lnTo>
                      <a:pt x="117" y="87"/>
                    </a:lnTo>
                    <a:lnTo>
                      <a:pt x="115" y="87"/>
                    </a:lnTo>
                    <a:lnTo>
                      <a:pt x="115" y="86"/>
                    </a:lnTo>
                    <a:lnTo>
                      <a:pt x="113" y="86"/>
                    </a:lnTo>
                    <a:lnTo>
                      <a:pt x="113" y="84"/>
                    </a:lnTo>
                    <a:lnTo>
                      <a:pt x="113" y="82"/>
                    </a:lnTo>
                    <a:lnTo>
                      <a:pt x="111" y="82"/>
                    </a:lnTo>
                    <a:lnTo>
                      <a:pt x="111" y="80"/>
                    </a:lnTo>
                    <a:lnTo>
                      <a:pt x="107" y="78"/>
                    </a:lnTo>
                    <a:lnTo>
                      <a:pt x="105" y="76"/>
                    </a:lnTo>
                    <a:lnTo>
                      <a:pt x="103" y="74"/>
                    </a:lnTo>
                    <a:lnTo>
                      <a:pt x="103" y="72"/>
                    </a:lnTo>
                    <a:lnTo>
                      <a:pt x="103" y="74"/>
                    </a:lnTo>
                    <a:lnTo>
                      <a:pt x="105" y="74"/>
                    </a:lnTo>
                    <a:lnTo>
                      <a:pt x="105" y="72"/>
                    </a:lnTo>
                    <a:lnTo>
                      <a:pt x="103" y="72"/>
                    </a:lnTo>
                    <a:lnTo>
                      <a:pt x="101" y="72"/>
                    </a:lnTo>
                    <a:lnTo>
                      <a:pt x="101" y="70"/>
                    </a:lnTo>
                    <a:lnTo>
                      <a:pt x="100" y="70"/>
                    </a:lnTo>
                    <a:lnTo>
                      <a:pt x="100" y="68"/>
                    </a:lnTo>
                    <a:lnTo>
                      <a:pt x="100" y="66"/>
                    </a:lnTo>
                    <a:lnTo>
                      <a:pt x="100" y="65"/>
                    </a:lnTo>
                    <a:lnTo>
                      <a:pt x="100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6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4" y="55"/>
                    </a:lnTo>
                    <a:lnTo>
                      <a:pt x="92" y="55"/>
                    </a:lnTo>
                    <a:lnTo>
                      <a:pt x="92" y="53"/>
                    </a:lnTo>
                    <a:lnTo>
                      <a:pt x="90" y="53"/>
                    </a:lnTo>
                    <a:lnTo>
                      <a:pt x="90" y="51"/>
                    </a:lnTo>
                    <a:lnTo>
                      <a:pt x="90" y="49"/>
                    </a:lnTo>
                    <a:lnTo>
                      <a:pt x="90" y="47"/>
                    </a:lnTo>
                    <a:lnTo>
                      <a:pt x="90" y="45"/>
                    </a:lnTo>
                    <a:lnTo>
                      <a:pt x="88" y="45"/>
                    </a:lnTo>
                    <a:lnTo>
                      <a:pt x="88" y="44"/>
                    </a:lnTo>
                    <a:lnTo>
                      <a:pt x="88" y="42"/>
                    </a:lnTo>
                    <a:lnTo>
                      <a:pt x="86" y="42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4" y="32"/>
                    </a:lnTo>
                    <a:lnTo>
                      <a:pt x="86" y="30"/>
                    </a:lnTo>
                    <a:lnTo>
                      <a:pt x="84" y="28"/>
                    </a:lnTo>
                    <a:lnTo>
                      <a:pt x="82" y="26"/>
                    </a:lnTo>
                    <a:lnTo>
                      <a:pt x="82" y="28"/>
                    </a:lnTo>
                    <a:lnTo>
                      <a:pt x="79" y="26"/>
                    </a:lnTo>
                    <a:lnTo>
                      <a:pt x="77" y="26"/>
                    </a:lnTo>
                    <a:lnTo>
                      <a:pt x="77" y="23"/>
                    </a:lnTo>
                    <a:lnTo>
                      <a:pt x="75" y="23"/>
                    </a:lnTo>
                    <a:lnTo>
                      <a:pt x="73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67" y="23"/>
                    </a:lnTo>
                    <a:lnTo>
                      <a:pt x="65" y="23"/>
                    </a:lnTo>
                    <a:lnTo>
                      <a:pt x="65" y="21"/>
                    </a:lnTo>
                    <a:lnTo>
                      <a:pt x="63" y="19"/>
                    </a:lnTo>
                    <a:lnTo>
                      <a:pt x="61" y="19"/>
                    </a:lnTo>
                    <a:lnTo>
                      <a:pt x="60" y="19"/>
                    </a:lnTo>
                    <a:lnTo>
                      <a:pt x="60" y="21"/>
                    </a:lnTo>
                    <a:lnTo>
                      <a:pt x="58" y="19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58" y="24"/>
                    </a:lnTo>
                    <a:lnTo>
                      <a:pt x="56" y="26"/>
                    </a:lnTo>
                    <a:lnTo>
                      <a:pt x="56" y="30"/>
                    </a:lnTo>
                    <a:lnTo>
                      <a:pt x="58" y="30"/>
                    </a:lnTo>
                    <a:lnTo>
                      <a:pt x="58" y="32"/>
                    </a:lnTo>
                    <a:lnTo>
                      <a:pt x="60" y="34"/>
                    </a:lnTo>
                    <a:lnTo>
                      <a:pt x="60" y="36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0" y="44"/>
                    </a:lnTo>
                    <a:lnTo>
                      <a:pt x="60" y="45"/>
                    </a:lnTo>
                    <a:lnTo>
                      <a:pt x="60" y="47"/>
                    </a:lnTo>
                    <a:lnTo>
                      <a:pt x="61" y="49"/>
                    </a:lnTo>
                    <a:lnTo>
                      <a:pt x="61" y="51"/>
                    </a:lnTo>
                    <a:lnTo>
                      <a:pt x="63" y="51"/>
                    </a:lnTo>
                    <a:lnTo>
                      <a:pt x="63" y="53"/>
                    </a:lnTo>
                    <a:lnTo>
                      <a:pt x="65" y="53"/>
                    </a:lnTo>
                    <a:lnTo>
                      <a:pt x="65" y="55"/>
                    </a:lnTo>
                    <a:lnTo>
                      <a:pt x="63" y="55"/>
                    </a:lnTo>
                    <a:lnTo>
                      <a:pt x="65" y="55"/>
                    </a:lnTo>
                    <a:lnTo>
                      <a:pt x="67" y="55"/>
                    </a:lnTo>
                    <a:lnTo>
                      <a:pt x="67" y="57"/>
                    </a:lnTo>
                    <a:lnTo>
                      <a:pt x="69" y="57"/>
                    </a:lnTo>
                    <a:lnTo>
                      <a:pt x="69" y="59"/>
                    </a:lnTo>
                    <a:lnTo>
                      <a:pt x="71" y="59"/>
                    </a:lnTo>
                    <a:lnTo>
                      <a:pt x="73" y="61"/>
                    </a:lnTo>
                    <a:lnTo>
                      <a:pt x="75" y="61"/>
                    </a:lnTo>
                    <a:lnTo>
                      <a:pt x="77" y="65"/>
                    </a:lnTo>
                    <a:lnTo>
                      <a:pt x="77" y="66"/>
                    </a:lnTo>
                    <a:lnTo>
                      <a:pt x="79" y="68"/>
                    </a:lnTo>
                    <a:lnTo>
                      <a:pt x="77" y="68"/>
                    </a:lnTo>
                    <a:lnTo>
                      <a:pt x="79" y="70"/>
                    </a:lnTo>
                    <a:lnTo>
                      <a:pt x="77" y="70"/>
                    </a:lnTo>
                    <a:lnTo>
                      <a:pt x="79" y="70"/>
                    </a:lnTo>
                    <a:lnTo>
                      <a:pt x="81" y="70"/>
                    </a:lnTo>
                    <a:lnTo>
                      <a:pt x="81" y="72"/>
                    </a:lnTo>
                    <a:lnTo>
                      <a:pt x="82" y="72"/>
                    </a:lnTo>
                    <a:lnTo>
                      <a:pt x="82" y="74"/>
                    </a:lnTo>
                    <a:lnTo>
                      <a:pt x="84" y="74"/>
                    </a:lnTo>
                    <a:lnTo>
                      <a:pt x="84" y="76"/>
                    </a:lnTo>
                    <a:lnTo>
                      <a:pt x="84" y="78"/>
                    </a:lnTo>
                    <a:lnTo>
                      <a:pt x="86" y="78"/>
                    </a:lnTo>
                    <a:lnTo>
                      <a:pt x="88" y="78"/>
                    </a:lnTo>
                    <a:lnTo>
                      <a:pt x="88" y="80"/>
                    </a:lnTo>
                    <a:lnTo>
                      <a:pt x="88" y="82"/>
                    </a:lnTo>
                    <a:lnTo>
                      <a:pt x="90" y="84"/>
                    </a:lnTo>
                    <a:lnTo>
                      <a:pt x="90" y="86"/>
                    </a:lnTo>
                    <a:lnTo>
                      <a:pt x="90" y="87"/>
                    </a:lnTo>
                    <a:lnTo>
                      <a:pt x="90" y="89"/>
                    </a:lnTo>
                    <a:lnTo>
                      <a:pt x="92" y="91"/>
                    </a:lnTo>
                    <a:lnTo>
                      <a:pt x="92" y="93"/>
                    </a:lnTo>
                    <a:lnTo>
                      <a:pt x="94" y="93"/>
                    </a:lnTo>
                    <a:lnTo>
                      <a:pt x="96" y="95"/>
                    </a:lnTo>
                    <a:lnTo>
                      <a:pt x="98" y="95"/>
                    </a:lnTo>
                    <a:lnTo>
                      <a:pt x="98" y="99"/>
                    </a:lnTo>
                    <a:lnTo>
                      <a:pt x="100" y="101"/>
                    </a:lnTo>
                    <a:lnTo>
                      <a:pt x="101" y="103"/>
                    </a:lnTo>
                    <a:lnTo>
                      <a:pt x="103" y="103"/>
                    </a:lnTo>
                    <a:lnTo>
                      <a:pt x="103" y="105"/>
                    </a:lnTo>
                    <a:lnTo>
                      <a:pt x="101" y="105"/>
                    </a:lnTo>
                    <a:lnTo>
                      <a:pt x="103" y="107"/>
                    </a:lnTo>
                    <a:lnTo>
                      <a:pt x="103" y="108"/>
                    </a:lnTo>
                    <a:lnTo>
                      <a:pt x="105" y="108"/>
                    </a:lnTo>
                    <a:lnTo>
                      <a:pt x="103" y="108"/>
                    </a:lnTo>
                    <a:lnTo>
                      <a:pt x="103" y="110"/>
                    </a:lnTo>
                    <a:lnTo>
                      <a:pt x="105" y="110"/>
                    </a:lnTo>
                    <a:lnTo>
                      <a:pt x="105" y="112"/>
                    </a:lnTo>
                    <a:lnTo>
                      <a:pt x="107" y="112"/>
                    </a:lnTo>
                    <a:lnTo>
                      <a:pt x="105" y="110"/>
                    </a:lnTo>
                    <a:lnTo>
                      <a:pt x="105" y="108"/>
                    </a:lnTo>
                    <a:lnTo>
                      <a:pt x="105" y="107"/>
                    </a:lnTo>
                    <a:lnTo>
                      <a:pt x="107" y="108"/>
                    </a:lnTo>
                    <a:lnTo>
                      <a:pt x="107" y="110"/>
                    </a:lnTo>
                    <a:lnTo>
                      <a:pt x="109" y="110"/>
                    </a:lnTo>
                    <a:lnTo>
                      <a:pt x="109" y="112"/>
                    </a:lnTo>
                    <a:lnTo>
                      <a:pt x="111" y="114"/>
                    </a:lnTo>
                    <a:lnTo>
                      <a:pt x="111" y="112"/>
                    </a:lnTo>
                    <a:lnTo>
                      <a:pt x="111" y="114"/>
                    </a:lnTo>
                    <a:lnTo>
                      <a:pt x="111" y="116"/>
                    </a:lnTo>
                    <a:lnTo>
                      <a:pt x="113" y="116"/>
                    </a:lnTo>
                    <a:lnTo>
                      <a:pt x="113" y="118"/>
                    </a:lnTo>
                    <a:lnTo>
                      <a:pt x="111" y="118"/>
                    </a:lnTo>
                    <a:lnTo>
                      <a:pt x="113" y="120"/>
                    </a:lnTo>
                    <a:lnTo>
                      <a:pt x="113" y="122"/>
                    </a:lnTo>
                    <a:lnTo>
                      <a:pt x="113" y="124"/>
                    </a:lnTo>
                    <a:lnTo>
                      <a:pt x="113" y="126"/>
                    </a:lnTo>
                    <a:lnTo>
                      <a:pt x="113" y="128"/>
                    </a:lnTo>
                    <a:lnTo>
                      <a:pt x="115" y="128"/>
                    </a:lnTo>
                    <a:lnTo>
                      <a:pt x="115" y="129"/>
                    </a:lnTo>
                    <a:lnTo>
                      <a:pt x="117" y="131"/>
                    </a:lnTo>
                    <a:lnTo>
                      <a:pt x="119" y="131"/>
                    </a:lnTo>
                    <a:lnTo>
                      <a:pt x="119" y="133"/>
                    </a:lnTo>
                    <a:lnTo>
                      <a:pt x="119" y="135"/>
                    </a:lnTo>
                    <a:lnTo>
                      <a:pt x="121" y="137"/>
                    </a:lnTo>
                    <a:lnTo>
                      <a:pt x="121" y="139"/>
                    </a:lnTo>
                    <a:lnTo>
                      <a:pt x="122" y="139"/>
                    </a:lnTo>
                    <a:lnTo>
                      <a:pt x="122" y="141"/>
                    </a:lnTo>
                    <a:lnTo>
                      <a:pt x="122" y="143"/>
                    </a:lnTo>
                    <a:lnTo>
                      <a:pt x="124" y="145"/>
                    </a:lnTo>
                    <a:lnTo>
                      <a:pt x="122" y="145"/>
                    </a:lnTo>
                    <a:lnTo>
                      <a:pt x="122" y="147"/>
                    </a:lnTo>
                    <a:lnTo>
                      <a:pt x="122" y="148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4" y="154"/>
                    </a:lnTo>
                    <a:lnTo>
                      <a:pt x="126" y="154"/>
                    </a:lnTo>
                    <a:lnTo>
                      <a:pt x="128" y="154"/>
                    </a:lnTo>
                    <a:lnTo>
                      <a:pt x="128" y="156"/>
                    </a:lnTo>
                    <a:lnTo>
                      <a:pt x="128" y="154"/>
                    </a:lnTo>
                    <a:lnTo>
                      <a:pt x="128" y="156"/>
                    </a:lnTo>
                    <a:lnTo>
                      <a:pt x="130" y="154"/>
                    </a:lnTo>
                    <a:lnTo>
                      <a:pt x="128" y="154"/>
                    </a:lnTo>
                    <a:lnTo>
                      <a:pt x="130" y="154"/>
                    </a:lnTo>
                    <a:lnTo>
                      <a:pt x="128" y="154"/>
                    </a:lnTo>
                    <a:lnTo>
                      <a:pt x="128" y="152"/>
                    </a:lnTo>
                    <a:lnTo>
                      <a:pt x="128" y="154"/>
                    </a:lnTo>
                    <a:lnTo>
                      <a:pt x="128" y="152"/>
                    </a:lnTo>
                    <a:lnTo>
                      <a:pt x="130" y="152"/>
                    </a:lnTo>
                    <a:lnTo>
                      <a:pt x="132" y="152"/>
                    </a:lnTo>
                    <a:lnTo>
                      <a:pt x="132" y="154"/>
                    </a:lnTo>
                    <a:lnTo>
                      <a:pt x="134" y="154"/>
                    </a:lnTo>
                    <a:lnTo>
                      <a:pt x="134" y="158"/>
                    </a:lnTo>
                    <a:lnTo>
                      <a:pt x="136" y="158"/>
                    </a:lnTo>
                    <a:lnTo>
                      <a:pt x="138" y="156"/>
                    </a:lnTo>
                    <a:lnTo>
                      <a:pt x="138" y="158"/>
                    </a:lnTo>
                    <a:lnTo>
                      <a:pt x="136" y="158"/>
                    </a:lnTo>
                    <a:lnTo>
                      <a:pt x="136" y="160"/>
                    </a:lnTo>
                    <a:lnTo>
                      <a:pt x="140" y="162"/>
                    </a:lnTo>
                    <a:lnTo>
                      <a:pt x="140" y="164"/>
                    </a:lnTo>
                    <a:lnTo>
                      <a:pt x="143" y="166"/>
                    </a:lnTo>
                    <a:lnTo>
                      <a:pt x="142" y="166"/>
                    </a:lnTo>
                    <a:lnTo>
                      <a:pt x="143" y="168"/>
                    </a:lnTo>
                    <a:lnTo>
                      <a:pt x="143" y="169"/>
                    </a:lnTo>
                    <a:lnTo>
                      <a:pt x="143" y="171"/>
                    </a:lnTo>
                    <a:lnTo>
                      <a:pt x="142" y="173"/>
                    </a:lnTo>
                    <a:lnTo>
                      <a:pt x="140" y="175"/>
                    </a:lnTo>
                    <a:lnTo>
                      <a:pt x="138" y="175"/>
                    </a:lnTo>
                    <a:lnTo>
                      <a:pt x="136" y="177"/>
                    </a:lnTo>
                    <a:lnTo>
                      <a:pt x="134" y="177"/>
                    </a:lnTo>
                    <a:lnTo>
                      <a:pt x="134" y="175"/>
                    </a:lnTo>
                    <a:lnTo>
                      <a:pt x="132" y="175"/>
                    </a:lnTo>
                    <a:lnTo>
                      <a:pt x="132" y="169"/>
                    </a:lnTo>
                    <a:lnTo>
                      <a:pt x="128" y="166"/>
                    </a:lnTo>
                    <a:lnTo>
                      <a:pt x="124" y="164"/>
                    </a:lnTo>
                    <a:lnTo>
                      <a:pt x="121" y="160"/>
                    </a:lnTo>
                    <a:lnTo>
                      <a:pt x="117" y="156"/>
                    </a:lnTo>
                    <a:lnTo>
                      <a:pt x="111" y="152"/>
                    </a:lnTo>
                    <a:lnTo>
                      <a:pt x="109" y="150"/>
                    </a:lnTo>
                    <a:lnTo>
                      <a:pt x="107" y="148"/>
                    </a:lnTo>
                    <a:lnTo>
                      <a:pt x="105" y="148"/>
                    </a:lnTo>
                    <a:lnTo>
                      <a:pt x="105" y="147"/>
                    </a:lnTo>
                    <a:lnTo>
                      <a:pt x="105" y="148"/>
                    </a:lnTo>
                    <a:lnTo>
                      <a:pt x="105" y="147"/>
                    </a:lnTo>
                    <a:lnTo>
                      <a:pt x="103" y="145"/>
                    </a:lnTo>
                    <a:lnTo>
                      <a:pt x="101" y="145"/>
                    </a:lnTo>
                    <a:lnTo>
                      <a:pt x="100" y="145"/>
                    </a:lnTo>
                    <a:lnTo>
                      <a:pt x="101" y="145"/>
                    </a:lnTo>
                    <a:lnTo>
                      <a:pt x="101" y="143"/>
                    </a:lnTo>
                    <a:lnTo>
                      <a:pt x="100" y="143"/>
                    </a:lnTo>
                    <a:lnTo>
                      <a:pt x="101" y="141"/>
                    </a:lnTo>
                    <a:lnTo>
                      <a:pt x="101" y="143"/>
                    </a:lnTo>
                    <a:lnTo>
                      <a:pt x="100" y="141"/>
                    </a:lnTo>
                    <a:lnTo>
                      <a:pt x="101" y="141"/>
                    </a:lnTo>
                    <a:lnTo>
                      <a:pt x="100" y="141"/>
                    </a:lnTo>
                    <a:lnTo>
                      <a:pt x="100" y="143"/>
                    </a:lnTo>
                    <a:lnTo>
                      <a:pt x="100" y="145"/>
                    </a:lnTo>
                    <a:lnTo>
                      <a:pt x="100" y="143"/>
                    </a:lnTo>
                    <a:lnTo>
                      <a:pt x="100" y="141"/>
                    </a:lnTo>
                    <a:lnTo>
                      <a:pt x="100" y="139"/>
                    </a:lnTo>
                    <a:lnTo>
                      <a:pt x="100" y="137"/>
                    </a:lnTo>
                    <a:lnTo>
                      <a:pt x="101" y="135"/>
                    </a:lnTo>
                    <a:lnTo>
                      <a:pt x="101" y="133"/>
                    </a:lnTo>
                    <a:lnTo>
                      <a:pt x="101" y="135"/>
                    </a:lnTo>
                    <a:lnTo>
                      <a:pt x="101" y="133"/>
                    </a:lnTo>
                    <a:lnTo>
                      <a:pt x="101" y="131"/>
                    </a:lnTo>
                    <a:lnTo>
                      <a:pt x="101" y="129"/>
                    </a:lnTo>
                    <a:lnTo>
                      <a:pt x="101" y="128"/>
                    </a:lnTo>
                    <a:lnTo>
                      <a:pt x="100" y="124"/>
                    </a:lnTo>
                    <a:lnTo>
                      <a:pt x="98" y="122"/>
                    </a:lnTo>
                    <a:lnTo>
                      <a:pt x="98" y="120"/>
                    </a:lnTo>
                    <a:lnTo>
                      <a:pt x="96" y="118"/>
                    </a:lnTo>
                    <a:lnTo>
                      <a:pt x="94" y="118"/>
                    </a:lnTo>
                    <a:lnTo>
                      <a:pt x="92" y="118"/>
                    </a:lnTo>
                    <a:lnTo>
                      <a:pt x="90" y="116"/>
                    </a:lnTo>
                    <a:lnTo>
                      <a:pt x="86" y="112"/>
                    </a:lnTo>
                    <a:lnTo>
                      <a:pt x="84" y="112"/>
                    </a:lnTo>
                    <a:lnTo>
                      <a:pt x="86" y="112"/>
                    </a:lnTo>
                    <a:lnTo>
                      <a:pt x="86" y="110"/>
                    </a:lnTo>
                    <a:lnTo>
                      <a:pt x="84" y="110"/>
                    </a:ln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10"/>
                    </a:lnTo>
                    <a:lnTo>
                      <a:pt x="82" y="108"/>
                    </a:lnTo>
                    <a:lnTo>
                      <a:pt x="84" y="108"/>
                    </a:lnTo>
                    <a:lnTo>
                      <a:pt x="84" y="107"/>
                    </a:lnTo>
                    <a:lnTo>
                      <a:pt x="84" y="105"/>
                    </a:lnTo>
                    <a:lnTo>
                      <a:pt x="82" y="107"/>
                    </a:lnTo>
                    <a:lnTo>
                      <a:pt x="82" y="108"/>
                    </a:lnTo>
                    <a:lnTo>
                      <a:pt x="81" y="108"/>
                    </a:lnTo>
                    <a:lnTo>
                      <a:pt x="79" y="108"/>
                    </a:lnTo>
                    <a:lnTo>
                      <a:pt x="79" y="110"/>
                    </a:lnTo>
                    <a:lnTo>
                      <a:pt x="77" y="110"/>
                    </a:lnTo>
                    <a:lnTo>
                      <a:pt x="75" y="108"/>
                    </a:lnTo>
                    <a:lnTo>
                      <a:pt x="75" y="107"/>
                    </a:lnTo>
                    <a:lnTo>
                      <a:pt x="73" y="105"/>
                    </a:lnTo>
                    <a:lnTo>
                      <a:pt x="71" y="105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5" y="103"/>
                    </a:lnTo>
                    <a:lnTo>
                      <a:pt x="65" y="101"/>
                    </a:lnTo>
                    <a:lnTo>
                      <a:pt x="63" y="103"/>
                    </a:lnTo>
                    <a:lnTo>
                      <a:pt x="63" y="101"/>
                    </a:lnTo>
                    <a:lnTo>
                      <a:pt x="63" y="99"/>
                    </a:lnTo>
                    <a:lnTo>
                      <a:pt x="61" y="97"/>
                    </a:lnTo>
                    <a:lnTo>
                      <a:pt x="60" y="95"/>
                    </a:lnTo>
                    <a:lnTo>
                      <a:pt x="58" y="93"/>
                    </a:lnTo>
                    <a:lnTo>
                      <a:pt x="56" y="93"/>
                    </a:lnTo>
                    <a:lnTo>
                      <a:pt x="58" y="93"/>
                    </a:lnTo>
                    <a:lnTo>
                      <a:pt x="56" y="93"/>
                    </a:lnTo>
                    <a:lnTo>
                      <a:pt x="56" y="91"/>
                    </a:lnTo>
                    <a:lnTo>
                      <a:pt x="54" y="91"/>
                    </a:lnTo>
                    <a:lnTo>
                      <a:pt x="54" y="89"/>
                    </a:lnTo>
                    <a:lnTo>
                      <a:pt x="58" y="89"/>
                    </a:lnTo>
                    <a:lnTo>
                      <a:pt x="58" y="91"/>
                    </a:lnTo>
                    <a:lnTo>
                      <a:pt x="60" y="91"/>
                    </a:lnTo>
                    <a:lnTo>
                      <a:pt x="61" y="91"/>
                    </a:lnTo>
                    <a:lnTo>
                      <a:pt x="63" y="91"/>
                    </a:lnTo>
                    <a:lnTo>
                      <a:pt x="63" y="89"/>
                    </a:lnTo>
                    <a:lnTo>
                      <a:pt x="65" y="89"/>
                    </a:lnTo>
                    <a:lnTo>
                      <a:pt x="65" y="91"/>
                    </a:lnTo>
                    <a:lnTo>
                      <a:pt x="67" y="91"/>
                    </a:lnTo>
                    <a:lnTo>
                      <a:pt x="69" y="89"/>
                    </a:lnTo>
                    <a:lnTo>
                      <a:pt x="67" y="89"/>
                    </a:lnTo>
                    <a:lnTo>
                      <a:pt x="67" y="87"/>
                    </a:lnTo>
                    <a:lnTo>
                      <a:pt x="67" y="89"/>
                    </a:lnTo>
                    <a:lnTo>
                      <a:pt x="65" y="89"/>
                    </a:lnTo>
                    <a:lnTo>
                      <a:pt x="69" y="86"/>
                    </a:lnTo>
                    <a:lnTo>
                      <a:pt x="69" y="84"/>
                    </a:lnTo>
                    <a:lnTo>
                      <a:pt x="69" y="82"/>
                    </a:lnTo>
                    <a:lnTo>
                      <a:pt x="69" y="84"/>
                    </a:lnTo>
                    <a:lnTo>
                      <a:pt x="69" y="82"/>
                    </a:lnTo>
                    <a:lnTo>
                      <a:pt x="69" y="80"/>
                    </a:lnTo>
                    <a:lnTo>
                      <a:pt x="69" y="78"/>
                    </a:lnTo>
                    <a:lnTo>
                      <a:pt x="67" y="76"/>
                    </a:lnTo>
                    <a:lnTo>
                      <a:pt x="67" y="74"/>
                    </a:lnTo>
                    <a:lnTo>
                      <a:pt x="67" y="76"/>
                    </a:lnTo>
                    <a:lnTo>
                      <a:pt x="65" y="74"/>
                    </a:lnTo>
                    <a:lnTo>
                      <a:pt x="65" y="72"/>
                    </a:lnTo>
                    <a:lnTo>
                      <a:pt x="63" y="72"/>
                    </a:lnTo>
                    <a:lnTo>
                      <a:pt x="63" y="70"/>
                    </a:lnTo>
                    <a:lnTo>
                      <a:pt x="61" y="70"/>
                    </a:lnTo>
                    <a:lnTo>
                      <a:pt x="61" y="68"/>
                    </a:lnTo>
                    <a:lnTo>
                      <a:pt x="61" y="66"/>
                    </a:lnTo>
                    <a:lnTo>
                      <a:pt x="60" y="66"/>
                    </a:lnTo>
                    <a:lnTo>
                      <a:pt x="58" y="65"/>
                    </a:lnTo>
                    <a:lnTo>
                      <a:pt x="56" y="63"/>
                    </a:lnTo>
                    <a:lnTo>
                      <a:pt x="54" y="61"/>
                    </a:lnTo>
                    <a:lnTo>
                      <a:pt x="52" y="61"/>
                    </a:lnTo>
                    <a:lnTo>
                      <a:pt x="50" y="59"/>
                    </a:lnTo>
                    <a:lnTo>
                      <a:pt x="48" y="59"/>
                    </a:lnTo>
                    <a:lnTo>
                      <a:pt x="48" y="57"/>
                    </a:lnTo>
                    <a:lnTo>
                      <a:pt x="46" y="57"/>
                    </a:lnTo>
                    <a:lnTo>
                      <a:pt x="44" y="57"/>
                    </a:lnTo>
                    <a:lnTo>
                      <a:pt x="44" y="55"/>
                    </a:lnTo>
                    <a:lnTo>
                      <a:pt x="44" y="53"/>
                    </a:lnTo>
                    <a:lnTo>
                      <a:pt x="42" y="51"/>
                    </a:lnTo>
                    <a:lnTo>
                      <a:pt x="42" y="49"/>
                    </a:lnTo>
                    <a:lnTo>
                      <a:pt x="42" y="47"/>
                    </a:lnTo>
                    <a:lnTo>
                      <a:pt x="42" y="45"/>
                    </a:lnTo>
                    <a:lnTo>
                      <a:pt x="40" y="44"/>
                    </a:lnTo>
                    <a:lnTo>
                      <a:pt x="39" y="44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39" y="42"/>
                    </a:lnTo>
                    <a:lnTo>
                      <a:pt x="39" y="38"/>
                    </a:lnTo>
                    <a:lnTo>
                      <a:pt x="39" y="36"/>
                    </a:lnTo>
                    <a:lnTo>
                      <a:pt x="37" y="36"/>
                    </a:lnTo>
                    <a:lnTo>
                      <a:pt x="35" y="34"/>
                    </a:lnTo>
                    <a:lnTo>
                      <a:pt x="35" y="32"/>
                    </a:lnTo>
                    <a:lnTo>
                      <a:pt x="33" y="32"/>
                    </a:lnTo>
                    <a:lnTo>
                      <a:pt x="33" y="30"/>
                    </a:lnTo>
                    <a:lnTo>
                      <a:pt x="33" y="28"/>
                    </a:lnTo>
                    <a:lnTo>
                      <a:pt x="31" y="26"/>
                    </a:lnTo>
                    <a:lnTo>
                      <a:pt x="31" y="24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7" y="19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3" y="9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21" y="3"/>
                    </a:lnTo>
                    <a:lnTo>
                      <a:pt x="39" y="2"/>
                    </a:lnTo>
                    <a:lnTo>
                      <a:pt x="60" y="0"/>
                    </a:lnTo>
                    <a:lnTo>
                      <a:pt x="58" y="2"/>
                    </a:lnTo>
                    <a:lnTo>
                      <a:pt x="58" y="3"/>
                    </a:lnTo>
                    <a:lnTo>
                      <a:pt x="84" y="15"/>
                    </a:lnTo>
                    <a:lnTo>
                      <a:pt x="88" y="15"/>
                    </a:lnTo>
                    <a:lnTo>
                      <a:pt x="117" y="26"/>
                    </a:lnTo>
                    <a:lnTo>
                      <a:pt x="149" y="26"/>
                    </a:lnTo>
                    <a:lnTo>
                      <a:pt x="163" y="26"/>
                    </a:lnTo>
                    <a:lnTo>
                      <a:pt x="163" y="17"/>
                    </a:lnTo>
                    <a:lnTo>
                      <a:pt x="189" y="17"/>
                    </a:lnTo>
                    <a:lnTo>
                      <a:pt x="189" y="19"/>
                    </a:lnTo>
                    <a:lnTo>
                      <a:pt x="191" y="19"/>
                    </a:lnTo>
                    <a:lnTo>
                      <a:pt x="193" y="19"/>
                    </a:lnTo>
                    <a:lnTo>
                      <a:pt x="193" y="23"/>
                    </a:lnTo>
                    <a:lnTo>
                      <a:pt x="195" y="23"/>
                    </a:lnTo>
                    <a:lnTo>
                      <a:pt x="197" y="24"/>
                    </a:lnTo>
                    <a:lnTo>
                      <a:pt x="199" y="24"/>
                    </a:lnTo>
                    <a:lnTo>
                      <a:pt x="199" y="26"/>
                    </a:lnTo>
                    <a:lnTo>
                      <a:pt x="201" y="26"/>
                    </a:lnTo>
                    <a:lnTo>
                      <a:pt x="201" y="28"/>
                    </a:lnTo>
                    <a:lnTo>
                      <a:pt x="203" y="28"/>
                    </a:lnTo>
                    <a:lnTo>
                      <a:pt x="204" y="30"/>
                    </a:lnTo>
                    <a:lnTo>
                      <a:pt x="204" y="32"/>
                    </a:lnTo>
                    <a:lnTo>
                      <a:pt x="206" y="32"/>
                    </a:lnTo>
                    <a:lnTo>
                      <a:pt x="206" y="34"/>
                    </a:lnTo>
                    <a:lnTo>
                      <a:pt x="208" y="36"/>
                    </a:lnTo>
                    <a:lnTo>
                      <a:pt x="210" y="36"/>
                    </a:lnTo>
                    <a:lnTo>
                      <a:pt x="212" y="36"/>
                    </a:lnTo>
                    <a:lnTo>
                      <a:pt x="210" y="36"/>
                    </a:lnTo>
                    <a:lnTo>
                      <a:pt x="212" y="36"/>
                    </a:lnTo>
                    <a:lnTo>
                      <a:pt x="212" y="38"/>
                    </a:lnTo>
                    <a:lnTo>
                      <a:pt x="214" y="38"/>
                    </a:lnTo>
                    <a:lnTo>
                      <a:pt x="214" y="40"/>
                    </a:lnTo>
                    <a:lnTo>
                      <a:pt x="216" y="42"/>
                    </a:lnTo>
                    <a:lnTo>
                      <a:pt x="216" y="44"/>
                    </a:lnTo>
                    <a:lnTo>
                      <a:pt x="218" y="45"/>
                    </a:lnTo>
                    <a:lnTo>
                      <a:pt x="218" y="47"/>
                    </a:lnTo>
                    <a:lnTo>
                      <a:pt x="218" y="49"/>
                    </a:lnTo>
                    <a:lnTo>
                      <a:pt x="218" y="51"/>
                    </a:lnTo>
                    <a:lnTo>
                      <a:pt x="220" y="51"/>
                    </a:lnTo>
                    <a:lnTo>
                      <a:pt x="218" y="51"/>
                    </a:lnTo>
                    <a:lnTo>
                      <a:pt x="220" y="55"/>
                    </a:lnTo>
                    <a:lnTo>
                      <a:pt x="222" y="55"/>
                    </a:lnTo>
                    <a:lnTo>
                      <a:pt x="220" y="55"/>
                    </a:lnTo>
                    <a:lnTo>
                      <a:pt x="222" y="57"/>
                    </a:lnTo>
                    <a:lnTo>
                      <a:pt x="224" y="59"/>
                    </a:lnTo>
                    <a:lnTo>
                      <a:pt x="225" y="59"/>
                    </a:lnTo>
                    <a:lnTo>
                      <a:pt x="225" y="61"/>
                    </a:lnTo>
                    <a:lnTo>
                      <a:pt x="227" y="63"/>
                    </a:lnTo>
                    <a:lnTo>
                      <a:pt x="229" y="63"/>
                    </a:lnTo>
                    <a:lnTo>
                      <a:pt x="233" y="65"/>
                    </a:lnTo>
                    <a:lnTo>
                      <a:pt x="233" y="66"/>
                    </a:lnTo>
                    <a:lnTo>
                      <a:pt x="235" y="66"/>
                    </a:lnTo>
                    <a:lnTo>
                      <a:pt x="237" y="66"/>
                    </a:lnTo>
                    <a:lnTo>
                      <a:pt x="239" y="66"/>
                    </a:lnTo>
                    <a:lnTo>
                      <a:pt x="239" y="68"/>
                    </a:lnTo>
                    <a:lnTo>
                      <a:pt x="241" y="68"/>
                    </a:lnTo>
                    <a:lnTo>
                      <a:pt x="241" y="70"/>
                    </a:lnTo>
                    <a:lnTo>
                      <a:pt x="241" y="68"/>
                    </a:lnTo>
                    <a:lnTo>
                      <a:pt x="243" y="68"/>
                    </a:lnTo>
                    <a:lnTo>
                      <a:pt x="243" y="70"/>
                    </a:lnTo>
                    <a:lnTo>
                      <a:pt x="245" y="68"/>
                    </a:lnTo>
                    <a:lnTo>
                      <a:pt x="245" y="66"/>
                    </a:lnTo>
                    <a:lnTo>
                      <a:pt x="246" y="66"/>
                    </a:lnTo>
                    <a:lnTo>
                      <a:pt x="246" y="65"/>
                    </a:lnTo>
                    <a:lnTo>
                      <a:pt x="248" y="65"/>
                    </a:lnTo>
                    <a:lnTo>
                      <a:pt x="246" y="65"/>
                    </a:lnTo>
                    <a:lnTo>
                      <a:pt x="246" y="63"/>
                    </a:lnTo>
                    <a:lnTo>
                      <a:pt x="248" y="63"/>
                    </a:lnTo>
                    <a:lnTo>
                      <a:pt x="248" y="61"/>
                    </a:lnTo>
                    <a:lnTo>
                      <a:pt x="248" y="59"/>
                    </a:lnTo>
                    <a:lnTo>
                      <a:pt x="250" y="59"/>
                    </a:lnTo>
                    <a:lnTo>
                      <a:pt x="250" y="57"/>
                    </a:lnTo>
                    <a:lnTo>
                      <a:pt x="250" y="55"/>
                    </a:lnTo>
                    <a:lnTo>
                      <a:pt x="252" y="55"/>
                    </a:lnTo>
                    <a:lnTo>
                      <a:pt x="254" y="55"/>
                    </a:lnTo>
                    <a:lnTo>
                      <a:pt x="256" y="55"/>
                    </a:lnTo>
                    <a:lnTo>
                      <a:pt x="256" y="53"/>
                    </a:lnTo>
                    <a:lnTo>
                      <a:pt x="258" y="53"/>
                    </a:lnTo>
                    <a:lnTo>
                      <a:pt x="260" y="55"/>
                    </a:lnTo>
                    <a:lnTo>
                      <a:pt x="262" y="55"/>
                    </a:lnTo>
                    <a:lnTo>
                      <a:pt x="262" y="53"/>
                    </a:lnTo>
                    <a:lnTo>
                      <a:pt x="262" y="55"/>
                    </a:lnTo>
                    <a:lnTo>
                      <a:pt x="264" y="55"/>
                    </a:lnTo>
                    <a:lnTo>
                      <a:pt x="265" y="55"/>
                    </a:lnTo>
                    <a:lnTo>
                      <a:pt x="267" y="55"/>
                    </a:lnTo>
                    <a:lnTo>
                      <a:pt x="269" y="55"/>
                    </a:lnTo>
                    <a:lnTo>
                      <a:pt x="271" y="55"/>
                    </a:lnTo>
                    <a:lnTo>
                      <a:pt x="271" y="57"/>
                    </a:lnTo>
                    <a:lnTo>
                      <a:pt x="273" y="57"/>
                    </a:lnTo>
                    <a:lnTo>
                      <a:pt x="273" y="59"/>
                    </a:lnTo>
                    <a:lnTo>
                      <a:pt x="273" y="57"/>
                    </a:lnTo>
                    <a:lnTo>
                      <a:pt x="273" y="59"/>
                    </a:lnTo>
                    <a:lnTo>
                      <a:pt x="275" y="59"/>
                    </a:lnTo>
                    <a:lnTo>
                      <a:pt x="275" y="61"/>
                    </a:lnTo>
                    <a:lnTo>
                      <a:pt x="277" y="61"/>
                    </a:lnTo>
                    <a:lnTo>
                      <a:pt x="277" y="63"/>
                    </a:lnTo>
                    <a:lnTo>
                      <a:pt x="279" y="63"/>
                    </a:lnTo>
                    <a:lnTo>
                      <a:pt x="279" y="65"/>
                    </a:lnTo>
                    <a:lnTo>
                      <a:pt x="281" y="65"/>
                    </a:lnTo>
                    <a:lnTo>
                      <a:pt x="281" y="66"/>
                    </a:lnTo>
                    <a:lnTo>
                      <a:pt x="283" y="66"/>
                    </a:lnTo>
                    <a:lnTo>
                      <a:pt x="283" y="68"/>
                    </a:lnTo>
                    <a:lnTo>
                      <a:pt x="283" y="70"/>
                    </a:lnTo>
                    <a:lnTo>
                      <a:pt x="285" y="72"/>
                    </a:lnTo>
                    <a:lnTo>
                      <a:pt x="285" y="74"/>
                    </a:lnTo>
                    <a:lnTo>
                      <a:pt x="285" y="76"/>
                    </a:lnTo>
                    <a:lnTo>
                      <a:pt x="286" y="76"/>
                    </a:lnTo>
                    <a:lnTo>
                      <a:pt x="286" y="78"/>
                    </a:lnTo>
                    <a:lnTo>
                      <a:pt x="288" y="78"/>
                    </a:lnTo>
                    <a:lnTo>
                      <a:pt x="286" y="78"/>
                    </a:lnTo>
                    <a:lnTo>
                      <a:pt x="288" y="80"/>
                    </a:lnTo>
                    <a:lnTo>
                      <a:pt x="288" y="82"/>
                    </a:lnTo>
                    <a:lnTo>
                      <a:pt x="288" y="84"/>
                    </a:lnTo>
                    <a:lnTo>
                      <a:pt x="290" y="84"/>
                    </a:lnTo>
                    <a:lnTo>
                      <a:pt x="292" y="84"/>
                    </a:lnTo>
                    <a:lnTo>
                      <a:pt x="292" y="86"/>
                    </a:lnTo>
                    <a:lnTo>
                      <a:pt x="294" y="87"/>
                    </a:lnTo>
                    <a:lnTo>
                      <a:pt x="294" y="89"/>
                    </a:lnTo>
                    <a:lnTo>
                      <a:pt x="296" y="89"/>
                    </a:lnTo>
                    <a:lnTo>
                      <a:pt x="296" y="91"/>
                    </a:lnTo>
                    <a:lnTo>
                      <a:pt x="298" y="93"/>
                    </a:lnTo>
                    <a:lnTo>
                      <a:pt x="300" y="93"/>
                    </a:lnTo>
                    <a:lnTo>
                      <a:pt x="300" y="95"/>
                    </a:lnTo>
                    <a:lnTo>
                      <a:pt x="300" y="93"/>
                    </a:lnTo>
                    <a:lnTo>
                      <a:pt x="302" y="95"/>
                    </a:lnTo>
                    <a:lnTo>
                      <a:pt x="300" y="95"/>
                    </a:lnTo>
                    <a:lnTo>
                      <a:pt x="302" y="95"/>
                    </a:lnTo>
                    <a:lnTo>
                      <a:pt x="302" y="97"/>
                    </a:lnTo>
                    <a:lnTo>
                      <a:pt x="302" y="99"/>
                    </a:lnTo>
                    <a:lnTo>
                      <a:pt x="300" y="99"/>
                    </a:lnTo>
                    <a:lnTo>
                      <a:pt x="302" y="99"/>
                    </a:lnTo>
                    <a:lnTo>
                      <a:pt x="302" y="101"/>
                    </a:lnTo>
                    <a:lnTo>
                      <a:pt x="302" y="103"/>
                    </a:lnTo>
                    <a:lnTo>
                      <a:pt x="302" y="105"/>
                    </a:lnTo>
                    <a:lnTo>
                      <a:pt x="304" y="105"/>
                    </a:lnTo>
                    <a:lnTo>
                      <a:pt x="304" y="107"/>
                    </a:lnTo>
                    <a:lnTo>
                      <a:pt x="306" y="108"/>
                    </a:lnTo>
                    <a:lnTo>
                      <a:pt x="306" y="110"/>
                    </a:lnTo>
                    <a:lnTo>
                      <a:pt x="306" y="112"/>
                    </a:lnTo>
                    <a:lnTo>
                      <a:pt x="307" y="114"/>
                    </a:lnTo>
                    <a:lnTo>
                      <a:pt x="307" y="116"/>
                    </a:lnTo>
                    <a:lnTo>
                      <a:pt x="309" y="116"/>
                    </a:lnTo>
                    <a:lnTo>
                      <a:pt x="311" y="116"/>
                    </a:lnTo>
                    <a:lnTo>
                      <a:pt x="313" y="116"/>
                    </a:lnTo>
                    <a:lnTo>
                      <a:pt x="313" y="118"/>
                    </a:lnTo>
                    <a:lnTo>
                      <a:pt x="315" y="118"/>
                    </a:lnTo>
                    <a:lnTo>
                      <a:pt x="317" y="118"/>
                    </a:lnTo>
                    <a:lnTo>
                      <a:pt x="317" y="120"/>
                    </a:lnTo>
                    <a:lnTo>
                      <a:pt x="317" y="118"/>
                    </a:lnTo>
                    <a:lnTo>
                      <a:pt x="317" y="120"/>
                    </a:lnTo>
                    <a:lnTo>
                      <a:pt x="319" y="120"/>
                    </a:lnTo>
                    <a:lnTo>
                      <a:pt x="321" y="122"/>
                    </a:lnTo>
                    <a:lnTo>
                      <a:pt x="321" y="120"/>
                    </a:lnTo>
                    <a:lnTo>
                      <a:pt x="321" y="122"/>
                    </a:lnTo>
                    <a:lnTo>
                      <a:pt x="323" y="122"/>
                    </a:lnTo>
                    <a:lnTo>
                      <a:pt x="325" y="122"/>
                    </a:lnTo>
                    <a:lnTo>
                      <a:pt x="327" y="122"/>
                    </a:lnTo>
                    <a:lnTo>
                      <a:pt x="328" y="122"/>
                    </a:lnTo>
                    <a:lnTo>
                      <a:pt x="330" y="122"/>
                    </a:lnTo>
                    <a:lnTo>
                      <a:pt x="330" y="124"/>
                    </a:lnTo>
                    <a:lnTo>
                      <a:pt x="332" y="124"/>
                    </a:lnTo>
                    <a:lnTo>
                      <a:pt x="332" y="126"/>
                    </a:lnTo>
                    <a:lnTo>
                      <a:pt x="332" y="124"/>
                    </a:lnTo>
                    <a:lnTo>
                      <a:pt x="332" y="126"/>
                    </a:lnTo>
                    <a:lnTo>
                      <a:pt x="334" y="126"/>
                    </a:lnTo>
                    <a:lnTo>
                      <a:pt x="336" y="126"/>
                    </a:lnTo>
                    <a:lnTo>
                      <a:pt x="334" y="126"/>
                    </a:lnTo>
                    <a:lnTo>
                      <a:pt x="336" y="126"/>
                    </a:lnTo>
                    <a:lnTo>
                      <a:pt x="334" y="124"/>
                    </a:lnTo>
                    <a:lnTo>
                      <a:pt x="336" y="124"/>
                    </a:lnTo>
                    <a:lnTo>
                      <a:pt x="338" y="124"/>
                    </a:lnTo>
                    <a:close/>
                    <a:moveTo>
                      <a:pt x="100" y="70"/>
                    </a:moveTo>
                    <a:lnTo>
                      <a:pt x="98" y="72"/>
                    </a:lnTo>
                    <a:lnTo>
                      <a:pt x="98" y="74"/>
                    </a:lnTo>
                    <a:lnTo>
                      <a:pt x="96" y="74"/>
                    </a:lnTo>
                    <a:lnTo>
                      <a:pt x="96" y="72"/>
                    </a:lnTo>
                    <a:lnTo>
                      <a:pt x="94" y="70"/>
                    </a:lnTo>
                    <a:lnTo>
                      <a:pt x="94" y="68"/>
                    </a:lnTo>
                    <a:lnTo>
                      <a:pt x="96" y="65"/>
                    </a:lnTo>
                    <a:lnTo>
                      <a:pt x="96" y="66"/>
                    </a:lnTo>
                    <a:lnTo>
                      <a:pt x="96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100" y="68"/>
                    </a:lnTo>
                    <a:lnTo>
                      <a:pt x="100" y="70"/>
                    </a:lnTo>
                    <a:close/>
                    <a:moveTo>
                      <a:pt x="84" y="68"/>
                    </a:moveTo>
                    <a:lnTo>
                      <a:pt x="82" y="68"/>
                    </a:lnTo>
                    <a:lnTo>
                      <a:pt x="82" y="66"/>
                    </a:lnTo>
                    <a:lnTo>
                      <a:pt x="81" y="65"/>
                    </a:lnTo>
                    <a:lnTo>
                      <a:pt x="79" y="65"/>
                    </a:lnTo>
                    <a:lnTo>
                      <a:pt x="79" y="63"/>
                    </a:lnTo>
                    <a:lnTo>
                      <a:pt x="77" y="61"/>
                    </a:lnTo>
                    <a:lnTo>
                      <a:pt x="77" y="59"/>
                    </a:lnTo>
                    <a:lnTo>
                      <a:pt x="79" y="59"/>
                    </a:lnTo>
                    <a:lnTo>
                      <a:pt x="81" y="61"/>
                    </a:lnTo>
                    <a:lnTo>
                      <a:pt x="81" y="63"/>
                    </a:lnTo>
                    <a:lnTo>
                      <a:pt x="82" y="65"/>
                    </a:lnTo>
                    <a:lnTo>
                      <a:pt x="84" y="65"/>
                    </a:lnTo>
                    <a:lnTo>
                      <a:pt x="84" y="66"/>
                    </a:lnTo>
                    <a:lnTo>
                      <a:pt x="84" y="68"/>
                    </a:lnTo>
                    <a:close/>
                    <a:moveTo>
                      <a:pt x="504" y="217"/>
                    </a:moveTo>
                    <a:lnTo>
                      <a:pt x="504" y="219"/>
                    </a:lnTo>
                    <a:lnTo>
                      <a:pt x="500" y="221"/>
                    </a:lnTo>
                    <a:lnTo>
                      <a:pt x="500" y="219"/>
                    </a:lnTo>
                    <a:lnTo>
                      <a:pt x="502" y="217"/>
                    </a:lnTo>
                    <a:lnTo>
                      <a:pt x="504" y="217"/>
                    </a:lnTo>
                    <a:close/>
                    <a:moveTo>
                      <a:pt x="52" y="84"/>
                    </a:moveTo>
                    <a:lnTo>
                      <a:pt x="52" y="86"/>
                    </a:lnTo>
                    <a:lnTo>
                      <a:pt x="50" y="86"/>
                    </a:lnTo>
                    <a:lnTo>
                      <a:pt x="48" y="86"/>
                    </a:lnTo>
                    <a:lnTo>
                      <a:pt x="50" y="84"/>
                    </a:lnTo>
                    <a:lnTo>
                      <a:pt x="50" y="82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2" y="82"/>
                    </a:lnTo>
                    <a:lnTo>
                      <a:pt x="52" y="84"/>
                    </a:lnTo>
                    <a:close/>
                    <a:moveTo>
                      <a:pt x="101" y="148"/>
                    </a:moveTo>
                    <a:lnTo>
                      <a:pt x="100" y="147"/>
                    </a:lnTo>
                    <a:lnTo>
                      <a:pt x="100" y="145"/>
                    </a:lnTo>
                    <a:lnTo>
                      <a:pt x="98" y="145"/>
                    </a:lnTo>
                    <a:lnTo>
                      <a:pt x="100" y="141"/>
                    </a:lnTo>
                    <a:lnTo>
                      <a:pt x="100" y="135"/>
                    </a:lnTo>
                    <a:lnTo>
                      <a:pt x="100" y="137"/>
                    </a:lnTo>
                    <a:lnTo>
                      <a:pt x="100" y="139"/>
                    </a:lnTo>
                    <a:lnTo>
                      <a:pt x="100" y="141"/>
                    </a:lnTo>
                    <a:lnTo>
                      <a:pt x="100" y="143"/>
                    </a:lnTo>
                    <a:lnTo>
                      <a:pt x="100" y="145"/>
                    </a:lnTo>
                    <a:lnTo>
                      <a:pt x="100" y="147"/>
                    </a:lnTo>
                    <a:lnTo>
                      <a:pt x="101" y="148"/>
                    </a:lnTo>
                    <a:close/>
                    <a:moveTo>
                      <a:pt x="4" y="70"/>
                    </a:moveTo>
                    <a:lnTo>
                      <a:pt x="2" y="70"/>
                    </a:lnTo>
                    <a:lnTo>
                      <a:pt x="2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2" y="65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4" y="70"/>
                    </a:lnTo>
                    <a:close/>
                    <a:moveTo>
                      <a:pt x="107" y="152"/>
                    </a:moveTo>
                    <a:lnTo>
                      <a:pt x="103" y="150"/>
                    </a:lnTo>
                    <a:lnTo>
                      <a:pt x="101" y="148"/>
                    </a:lnTo>
                    <a:lnTo>
                      <a:pt x="103" y="148"/>
                    </a:lnTo>
                    <a:lnTo>
                      <a:pt x="105" y="148"/>
                    </a:lnTo>
                    <a:lnTo>
                      <a:pt x="105" y="150"/>
                    </a:lnTo>
                    <a:lnTo>
                      <a:pt x="107" y="150"/>
                    </a:lnTo>
                    <a:lnTo>
                      <a:pt x="107" y="152"/>
                    </a:lnTo>
                    <a:close/>
                    <a:moveTo>
                      <a:pt x="126" y="143"/>
                    </a:moveTo>
                    <a:lnTo>
                      <a:pt x="124" y="143"/>
                    </a:lnTo>
                    <a:lnTo>
                      <a:pt x="124" y="141"/>
                    </a:lnTo>
                    <a:lnTo>
                      <a:pt x="122" y="141"/>
                    </a:lnTo>
                    <a:lnTo>
                      <a:pt x="122" y="139"/>
                    </a:lnTo>
                    <a:lnTo>
                      <a:pt x="124" y="139"/>
                    </a:lnTo>
                    <a:lnTo>
                      <a:pt x="124" y="141"/>
                    </a:lnTo>
                    <a:lnTo>
                      <a:pt x="126" y="143"/>
                    </a:lnTo>
                    <a:close/>
                    <a:moveTo>
                      <a:pt x="117" y="122"/>
                    </a:moveTo>
                    <a:lnTo>
                      <a:pt x="117" y="124"/>
                    </a:lnTo>
                    <a:lnTo>
                      <a:pt x="115" y="124"/>
                    </a:lnTo>
                    <a:lnTo>
                      <a:pt x="115" y="126"/>
                    </a:lnTo>
                    <a:lnTo>
                      <a:pt x="115" y="124"/>
                    </a:lnTo>
                    <a:lnTo>
                      <a:pt x="115" y="122"/>
                    </a:lnTo>
                    <a:lnTo>
                      <a:pt x="117" y="122"/>
                    </a:lnTo>
                    <a:close/>
                    <a:moveTo>
                      <a:pt x="187" y="198"/>
                    </a:moveTo>
                    <a:lnTo>
                      <a:pt x="189" y="198"/>
                    </a:lnTo>
                    <a:lnTo>
                      <a:pt x="189" y="200"/>
                    </a:lnTo>
                    <a:lnTo>
                      <a:pt x="187" y="200"/>
                    </a:lnTo>
                    <a:lnTo>
                      <a:pt x="187" y="198"/>
                    </a:lnTo>
                    <a:close/>
                    <a:moveTo>
                      <a:pt x="138" y="154"/>
                    </a:moveTo>
                    <a:lnTo>
                      <a:pt x="138" y="156"/>
                    </a:lnTo>
                    <a:lnTo>
                      <a:pt x="136" y="154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8" y="154"/>
                    </a:lnTo>
                    <a:close/>
                    <a:moveTo>
                      <a:pt x="164" y="141"/>
                    </a:moveTo>
                    <a:lnTo>
                      <a:pt x="164" y="143"/>
                    </a:lnTo>
                    <a:lnTo>
                      <a:pt x="164" y="141"/>
                    </a:lnTo>
                    <a:lnTo>
                      <a:pt x="164" y="143"/>
                    </a:lnTo>
                    <a:lnTo>
                      <a:pt x="164" y="141"/>
                    </a:lnTo>
                    <a:lnTo>
                      <a:pt x="163" y="141"/>
                    </a:lnTo>
                    <a:lnTo>
                      <a:pt x="164" y="141"/>
                    </a:lnTo>
                    <a:lnTo>
                      <a:pt x="164" y="139"/>
                    </a:lnTo>
                    <a:lnTo>
                      <a:pt x="164" y="141"/>
                    </a:lnTo>
                    <a:close/>
                    <a:moveTo>
                      <a:pt x="428" y="248"/>
                    </a:moveTo>
                    <a:lnTo>
                      <a:pt x="426" y="248"/>
                    </a:lnTo>
                    <a:lnTo>
                      <a:pt x="428" y="248"/>
                    </a:lnTo>
                    <a:lnTo>
                      <a:pt x="426" y="250"/>
                    </a:lnTo>
                    <a:lnTo>
                      <a:pt x="426" y="248"/>
                    </a:lnTo>
                    <a:lnTo>
                      <a:pt x="426" y="250"/>
                    </a:lnTo>
                    <a:lnTo>
                      <a:pt x="424" y="250"/>
                    </a:lnTo>
                    <a:lnTo>
                      <a:pt x="422" y="250"/>
                    </a:lnTo>
                    <a:lnTo>
                      <a:pt x="424" y="250"/>
                    </a:lnTo>
                    <a:lnTo>
                      <a:pt x="426" y="248"/>
                    </a:lnTo>
                    <a:lnTo>
                      <a:pt x="428" y="248"/>
                    </a:lnTo>
                    <a:close/>
                    <a:moveTo>
                      <a:pt x="130" y="150"/>
                    </a:moveTo>
                    <a:lnTo>
                      <a:pt x="128" y="150"/>
                    </a:lnTo>
                    <a:lnTo>
                      <a:pt x="128" y="148"/>
                    </a:lnTo>
                    <a:lnTo>
                      <a:pt x="128" y="147"/>
                    </a:lnTo>
                    <a:lnTo>
                      <a:pt x="128" y="148"/>
                    </a:lnTo>
                    <a:lnTo>
                      <a:pt x="130" y="148"/>
                    </a:lnTo>
                    <a:lnTo>
                      <a:pt x="130" y="150"/>
                    </a:lnTo>
                    <a:close/>
                    <a:moveTo>
                      <a:pt x="164" y="143"/>
                    </a:moveTo>
                    <a:lnTo>
                      <a:pt x="163" y="139"/>
                    </a:lnTo>
                    <a:lnTo>
                      <a:pt x="161" y="139"/>
                    </a:lnTo>
                    <a:lnTo>
                      <a:pt x="163" y="139"/>
                    </a:lnTo>
                    <a:lnTo>
                      <a:pt x="164" y="141"/>
                    </a:lnTo>
                    <a:lnTo>
                      <a:pt x="164" y="143"/>
                    </a:lnTo>
                    <a:close/>
                    <a:moveTo>
                      <a:pt x="189" y="202"/>
                    </a:moveTo>
                    <a:lnTo>
                      <a:pt x="191" y="202"/>
                    </a:lnTo>
                    <a:lnTo>
                      <a:pt x="189" y="202"/>
                    </a:lnTo>
                    <a:close/>
                    <a:moveTo>
                      <a:pt x="92" y="74"/>
                    </a:moveTo>
                    <a:lnTo>
                      <a:pt x="94" y="74"/>
                    </a:lnTo>
                    <a:lnTo>
                      <a:pt x="92" y="74"/>
                    </a:lnTo>
                    <a:close/>
                    <a:moveTo>
                      <a:pt x="82" y="110"/>
                    </a:moveTo>
                    <a:lnTo>
                      <a:pt x="84" y="110"/>
                    </a:lnTo>
                    <a:lnTo>
                      <a:pt x="82" y="110"/>
                    </a:lnTo>
                    <a:close/>
                    <a:moveTo>
                      <a:pt x="121" y="128"/>
                    </a:moveTo>
                    <a:lnTo>
                      <a:pt x="122" y="128"/>
                    </a:lnTo>
                    <a:lnTo>
                      <a:pt x="122" y="129"/>
                    </a:lnTo>
                    <a:lnTo>
                      <a:pt x="121" y="129"/>
                    </a:lnTo>
                    <a:lnTo>
                      <a:pt x="121" y="128"/>
                    </a:lnTo>
                    <a:close/>
                    <a:moveTo>
                      <a:pt x="153" y="133"/>
                    </a:moveTo>
                    <a:lnTo>
                      <a:pt x="151" y="133"/>
                    </a:lnTo>
                    <a:lnTo>
                      <a:pt x="149" y="133"/>
                    </a:lnTo>
                    <a:lnTo>
                      <a:pt x="151" y="133"/>
                    </a:lnTo>
                    <a:lnTo>
                      <a:pt x="153" y="133"/>
                    </a:lnTo>
                    <a:close/>
                    <a:moveTo>
                      <a:pt x="88" y="74"/>
                    </a:moveTo>
                    <a:lnTo>
                      <a:pt x="90" y="74"/>
                    </a:lnTo>
                    <a:lnTo>
                      <a:pt x="90" y="76"/>
                    </a:lnTo>
                    <a:lnTo>
                      <a:pt x="88" y="76"/>
                    </a:lnTo>
                    <a:lnTo>
                      <a:pt x="88" y="74"/>
                    </a:lnTo>
                    <a:close/>
                    <a:moveTo>
                      <a:pt x="161" y="137"/>
                    </a:moveTo>
                    <a:lnTo>
                      <a:pt x="163" y="137"/>
                    </a:lnTo>
                    <a:lnTo>
                      <a:pt x="161" y="137"/>
                    </a:lnTo>
                    <a:close/>
                    <a:moveTo>
                      <a:pt x="101" y="131"/>
                    </a:moveTo>
                    <a:lnTo>
                      <a:pt x="101" y="133"/>
                    </a:lnTo>
                    <a:lnTo>
                      <a:pt x="101" y="135"/>
                    </a:lnTo>
                    <a:lnTo>
                      <a:pt x="100" y="135"/>
                    </a:lnTo>
                    <a:lnTo>
                      <a:pt x="101" y="131"/>
                    </a:lnTo>
                    <a:close/>
                    <a:moveTo>
                      <a:pt x="124" y="97"/>
                    </a:moveTo>
                    <a:lnTo>
                      <a:pt x="126" y="97"/>
                    </a:lnTo>
                    <a:lnTo>
                      <a:pt x="126" y="101"/>
                    </a:lnTo>
                    <a:lnTo>
                      <a:pt x="124" y="101"/>
                    </a:lnTo>
                    <a:lnTo>
                      <a:pt x="124" y="97"/>
                    </a:lnTo>
                    <a:close/>
                    <a:moveTo>
                      <a:pt x="117" y="128"/>
                    </a:moveTo>
                    <a:lnTo>
                      <a:pt x="119" y="128"/>
                    </a:lnTo>
                    <a:lnTo>
                      <a:pt x="119" y="129"/>
                    </a:lnTo>
                    <a:lnTo>
                      <a:pt x="117" y="129"/>
                    </a:lnTo>
                    <a:lnTo>
                      <a:pt x="117" y="128"/>
                    </a:lnTo>
                    <a:close/>
                    <a:moveTo>
                      <a:pt x="193" y="204"/>
                    </a:moveTo>
                    <a:lnTo>
                      <a:pt x="195" y="204"/>
                    </a:lnTo>
                    <a:lnTo>
                      <a:pt x="193" y="204"/>
                    </a:lnTo>
                    <a:close/>
                    <a:moveTo>
                      <a:pt x="111" y="152"/>
                    </a:moveTo>
                    <a:lnTo>
                      <a:pt x="109" y="152"/>
                    </a:lnTo>
                    <a:lnTo>
                      <a:pt x="107" y="152"/>
                    </a:lnTo>
                    <a:lnTo>
                      <a:pt x="107" y="150"/>
                    </a:lnTo>
                    <a:lnTo>
                      <a:pt x="109" y="150"/>
                    </a:lnTo>
                    <a:lnTo>
                      <a:pt x="111" y="152"/>
                    </a:lnTo>
                    <a:close/>
                    <a:moveTo>
                      <a:pt x="44" y="82"/>
                    </a:moveTo>
                    <a:lnTo>
                      <a:pt x="46" y="82"/>
                    </a:lnTo>
                    <a:lnTo>
                      <a:pt x="44" y="82"/>
                    </a:lnTo>
                    <a:close/>
                    <a:moveTo>
                      <a:pt x="103" y="97"/>
                    </a:moveTo>
                    <a:lnTo>
                      <a:pt x="105" y="97"/>
                    </a:lnTo>
                    <a:lnTo>
                      <a:pt x="103" y="97"/>
                    </a:lnTo>
                    <a:close/>
                    <a:moveTo>
                      <a:pt x="101" y="128"/>
                    </a:moveTo>
                    <a:lnTo>
                      <a:pt x="101" y="131"/>
                    </a:lnTo>
                    <a:lnTo>
                      <a:pt x="101" y="128"/>
                    </a:lnTo>
                    <a:close/>
                    <a:moveTo>
                      <a:pt x="84" y="110"/>
                    </a:moveTo>
                    <a:lnTo>
                      <a:pt x="86" y="110"/>
                    </a:lnTo>
                    <a:lnTo>
                      <a:pt x="86" y="112"/>
                    </a:lnTo>
                    <a:lnTo>
                      <a:pt x="84" y="112"/>
                    </a:lnTo>
                    <a:lnTo>
                      <a:pt x="84" y="110"/>
                    </a:lnTo>
                    <a:close/>
                    <a:moveTo>
                      <a:pt x="61" y="19"/>
                    </a:moveTo>
                    <a:lnTo>
                      <a:pt x="61" y="21"/>
                    </a:lnTo>
                    <a:lnTo>
                      <a:pt x="61" y="19"/>
                    </a:lnTo>
                    <a:close/>
                    <a:moveTo>
                      <a:pt x="79" y="66"/>
                    </a:moveTo>
                    <a:lnTo>
                      <a:pt x="79" y="68"/>
                    </a:lnTo>
                    <a:lnTo>
                      <a:pt x="79" y="66"/>
                    </a:lnTo>
                    <a:close/>
                    <a:moveTo>
                      <a:pt x="113" y="120"/>
                    </a:moveTo>
                    <a:lnTo>
                      <a:pt x="115" y="120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3" y="120"/>
                    </a:lnTo>
                    <a:close/>
                    <a:moveTo>
                      <a:pt x="134" y="103"/>
                    </a:moveTo>
                    <a:lnTo>
                      <a:pt x="136" y="103"/>
                    </a:lnTo>
                    <a:lnTo>
                      <a:pt x="136" y="105"/>
                    </a:lnTo>
                    <a:lnTo>
                      <a:pt x="134" y="105"/>
                    </a:lnTo>
                    <a:lnTo>
                      <a:pt x="134" y="103"/>
                    </a:lnTo>
                    <a:close/>
                    <a:moveTo>
                      <a:pt x="151" y="131"/>
                    </a:moveTo>
                    <a:lnTo>
                      <a:pt x="153" y="131"/>
                    </a:lnTo>
                    <a:lnTo>
                      <a:pt x="151" y="131"/>
                    </a:lnTo>
                    <a:close/>
                    <a:moveTo>
                      <a:pt x="485" y="257"/>
                    </a:moveTo>
                    <a:lnTo>
                      <a:pt x="487" y="257"/>
                    </a:lnTo>
                    <a:lnTo>
                      <a:pt x="485" y="257"/>
                    </a:lnTo>
                    <a:close/>
                    <a:moveTo>
                      <a:pt x="115" y="126"/>
                    </a:moveTo>
                    <a:lnTo>
                      <a:pt x="115" y="128"/>
                    </a:lnTo>
                    <a:lnTo>
                      <a:pt x="115" y="126"/>
                    </a:lnTo>
                    <a:close/>
                    <a:moveTo>
                      <a:pt x="481" y="250"/>
                    </a:moveTo>
                    <a:lnTo>
                      <a:pt x="481" y="252"/>
                    </a:lnTo>
                    <a:lnTo>
                      <a:pt x="481" y="250"/>
                    </a:lnTo>
                    <a:close/>
                    <a:moveTo>
                      <a:pt x="492" y="236"/>
                    </a:moveTo>
                    <a:lnTo>
                      <a:pt x="492" y="238"/>
                    </a:lnTo>
                    <a:lnTo>
                      <a:pt x="492" y="236"/>
                    </a:lnTo>
                    <a:close/>
                    <a:moveTo>
                      <a:pt x="100" y="135"/>
                    </a:moveTo>
                    <a:lnTo>
                      <a:pt x="101" y="135"/>
                    </a:lnTo>
                    <a:lnTo>
                      <a:pt x="100" y="135"/>
                    </a:lnTo>
                    <a:close/>
                    <a:moveTo>
                      <a:pt x="101" y="129"/>
                    </a:moveTo>
                    <a:lnTo>
                      <a:pt x="101" y="131"/>
                    </a:lnTo>
                    <a:lnTo>
                      <a:pt x="101" y="129"/>
                    </a:lnTo>
                    <a:close/>
                    <a:moveTo>
                      <a:pt x="100" y="139"/>
                    </a:moveTo>
                    <a:lnTo>
                      <a:pt x="100" y="141"/>
                    </a:lnTo>
                    <a:lnTo>
                      <a:pt x="100" y="139"/>
                    </a:lnTo>
                    <a:close/>
                    <a:moveTo>
                      <a:pt x="172" y="148"/>
                    </a:moveTo>
                    <a:lnTo>
                      <a:pt x="174" y="148"/>
                    </a:lnTo>
                    <a:lnTo>
                      <a:pt x="174" y="150"/>
                    </a:lnTo>
                    <a:lnTo>
                      <a:pt x="172" y="150"/>
                    </a:lnTo>
                    <a:lnTo>
                      <a:pt x="172" y="148"/>
                    </a:lnTo>
                    <a:close/>
                    <a:moveTo>
                      <a:pt x="504" y="200"/>
                    </a:moveTo>
                    <a:lnTo>
                      <a:pt x="504" y="202"/>
                    </a:lnTo>
                    <a:lnTo>
                      <a:pt x="504" y="200"/>
                    </a:lnTo>
                    <a:close/>
                    <a:moveTo>
                      <a:pt x="483" y="246"/>
                    </a:moveTo>
                    <a:lnTo>
                      <a:pt x="483" y="248"/>
                    </a:lnTo>
                    <a:lnTo>
                      <a:pt x="483" y="246"/>
                    </a:lnTo>
                    <a:close/>
                    <a:moveTo>
                      <a:pt x="164" y="143"/>
                    </a:moveTo>
                    <a:lnTo>
                      <a:pt x="164" y="145"/>
                    </a:lnTo>
                    <a:lnTo>
                      <a:pt x="164" y="143"/>
                    </a:lnTo>
                    <a:close/>
                    <a:moveTo>
                      <a:pt x="25" y="17"/>
                    </a:moveTo>
                    <a:lnTo>
                      <a:pt x="27" y="17"/>
                    </a:lnTo>
                    <a:lnTo>
                      <a:pt x="25" y="17"/>
                    </a:lnTo>
                    <a:close/>
                    <a:moveTo>
                      <a:pt x="86" y="74"/>
                    </a:moveTo>
                    <a:lnTo>
                      <a:pt x="88" y="74"/>
                    </a:lnTo>
                    <a:lnTo>
                      <a:pt x="86" y="74"/>
                    </a:lnTo>
                    <a:close/>
                    <a:moveTo>
                      <a:pt x="492" y="231"/>
                    </a:moveTo>
                    <a:lnTo>
                      <a:pt x="492" y="232"/>
                    </a:lnTo>
                    <a:lnTo>
                      <a:pt x="492" y="231"/>
                    </a:lnTo>
                    <a:close/>
                    <a:moveTo>
                      <a:pt x="107" y="150"/>
                    </a:moveTo>
                    <a:lnTo>
                      <a:pt x="107" y="152"/>
                    </a:lnTo>
                    <a:lnTo>
                      <a:pt x="107" y="15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5" name="Freeform 34">
                <a:extLst>
                  <a:ext uri="{FF2B5EF4-FFF2-40B4-BE49-F238E27FC236}">
                    <a16:creationId xmlns:a16="http://schemas.microsoft.com/office/drawing/2014/main" id="{9D4FEE48-9C1F-5088-454F-0647B38A37D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8805" y="-5957134"/>
                <a:ext cx="2216847" cy="2893466"/>
              </a:xfrm>
              <a:custGeom>
                <a:avLst/>
                <a:gdLst>
                  <a:gd name="T0" fmla="*/ 772 w 1407"/>
                  <a:gd name="T1" fmla="*/ 1681 h 1833"/>
                  <a:gd name="T2" fmla="*/ 223 w 1407"/>
                  <a:gd name="T3" fmla="*/ 1570 h 1833"/>
                  <a:gd name="T4" fmla="*/ 111 w 1407"/>
                  <a:gd name="T5" fmla="*/ 1017 h 1833"/>
                  <a:gd name="T6" fmla="*/ 378 w 1407"/>
                  <a:gd name="T7" fmla="*/ 1030 h 1833"/>
                  <a:gd name="T8" fmla="*/ 591 w 1407"/>
                  <a:gd name="T9" fmla="*/ 1070 h 1833"/>
                  <a:gd name="T10" fmla="*/ 709 w 1407"/>
                  <a:gd name="T11" fmla="*/ 938 h 1833"/>
                  <a:gd name="T12" fmla="*/ 891 w 1407"/>
                  <a:gd name="T13" fmla="*/ 1032 h 1833"/>
                  <a:gd name="T14" fmla="*/ 812 w 1407"/>
                  <a:gd name="T15" fmla="*/ 1156 h 1833"/>
                  <a:gd name="T16" fmla="*/ 759 w 1407"/>
                  <a:gd name="T17" fmla="*/ 1404 h 1833"/>
                  <a:gd name="T18" fmla="*/ 999 w 1407"/>
                  <a:gd name="T19" fmla="*/ 1391 h 1833"/>
                  <a:gd name="T20" fmla="*/ 1133 w 1407"/>
                  <a:gd name="T21" fmla="*/ 1400 h 1833"/>
                  <a:gd name="T22" fmla="*/ 1259 w 1407"/>
                  <a:gd name="T23" fmla="*/ 1433 h 1833"/>
                  <a:gd name="T24" fmla="*/ 1344 w 1407"/>
                  <a:gd name="T25" fmla="*/ 1549 h 1833"/>
                  <a:gd name="T26" fmla="*/ 1127 w 1407"/>
                  <a:gd name="T27" fmla="*/ 1707 h 1833"/>
                  <a:gd name="T28" fmla="*/ 1215 w 1407"/>
                  <a:gd name="T29" fmla="*/ 1784 h 1833"/>
                  <a:gd name="T30" fmla="*/ 961 w 1407"/>
                  <a:gd name="T31" fmla="*/ 866 h 1833"/>
                  <a:gd name="T32" fmla="*/ 1146 w 1407"/>
                  <a:gd name="T33" fmla="*/ 973 h 1833"/>
                  <a:gd name="T34" fmla="*/ 1241 w 1407"/>
                  <a:gd name="T35" fmla="*/ 1116 h 1833"/>
                  <a:gd name="T36" fmla="*/ 1169 w 1407"/>
                  <a:gd name="T37" fmla="*/ 1127 h 1833"/>
                  <a:gd name="T38" fmla="*/ 1205 w 1407"/>
                  <a:gd name="T39" fmla="*/ 1269 h 1833"/>
                  <a:gd name="T40" fmla="*/ 1108 w 1407"/>
                  <a:gd name="T41" fmla="*/ 1244 h 1833"/>
                  <a:gd name="T42" fmla="*/ 1064 w 1407"/>
                  <a:gd name="T43" fmla="*/ 1047 h 1833"/>
                  <a:gd name="T44" fmla="*/ 1131 w 1407"/>
                  <a:gd name="T45" fmla="*/ 2 h 1833"/>
                  <a:gd name="T46" fmla="*/ 1001 w 1407"/>
                  <a:gd name="T47" fmla="*/ 536 h 1833"/>
                  <a:gd name="T48" fmla="*/ 871 w 1407"/>
                  <a:gd name="T49" fmla="*/ 505 h 1833"/>
                  <a:gd name="T50" fmla="*/ 887 w 1407"/>
                  <a:gd name="T51" fmla="*/ 152 h 1833"/>
                  <a:gd name="T52" fmla="*/ 566 w 1407"/>
                  <a:gd name="T53" fmla="*/ 837 h 1833"/>
                  <a:gd name="T54" fmla="*/ 437 w 1407"/>
                  <a:gd name="T55" fmla="*/ 969 h 1833"/>
                  <a:gd name="T56" fmla="*/ 826 w 1407"/>
                  <a:gd name="T57" fmla="*/ 322 h 1833"/>
                  <a:gd name="T58" fmla="*/ 730 w 1407"/>
                  <a:gd name="T59" fmla="*/ 584 h 1833"/>
                  <a:gd name="T60" fmla="*/ 753 w 1407"/>
                  <a:gd name="T61" fmla="*/ 635 h 1833"/>
                  <a:gd name="T62" fmla="*/ 469 w 1407"/>
                  <a:gd name="T63" fmla="*/ 664 h 1833"/>
                  <a:gd name="T64" fmla="*/ 1388 w 1407"/>
                  <a:gd name="T65" fmla="*/ 1681 h 1833"/>
                  <a:gd name="T66" fmla="*/ 1301 w 1407"/>
                  <a:gd name="T67" fmla="*/ 1700 h 1833"/>
                  <a:gd name="T68" fmla="*/ 646 w 1407"/>
                  <a:gd name="T69" fmla="*/ 809 h 1833"/>
                  <a:gd name="T70" fmla="*/ 728 w 1407"/>
                  <a:gd name="T71" fmla="*/ 782 h 1833"/>
                  <a:gd name="T72" fmla="*/ 645 w 1407"/>
                  <a:gd name="T73" fmla="*/ 675 h 1833"/>
                  <a:gd name="T74" fmla="*/ 250 w 1407"/>
                  <a:gd name="T75" fmla="*/ 1667 h 1833"/>
                  <a:gd name="T76" fmla="*/ 717 w 1407"/>
                  <a:gd name="T77" fmla="*/ 725 h 1833"/>
                  <a:gd name="T78" fmla="*/ 126 w 1407"/>
                  <a:gd name="T79" fmla="*/ 1539 h 1833"/>
                  <a:gd name="T80" fmla="*/ 1251 w 1407"/>
                  <a:gd name="T81" fmla="*/ 1726 h 1833"/>
                  <a:gd name="T82" fmla="*/ 196 w 1407"/>
                  <a:gd name="T83" fmla="*/ 1570 h 1833"/>
                  <a:gd name="T84" fmla="*/ 620 w 1407"/>
                  <a:gd name="T85" fmla="*/ 654 h 1833"/>
                  <a:gd name="T86" fmla="*/ 856 w 1407"/>
                  <a:gd name="T87" fmla="*/ 977 h 1833"/>
                  <a:gd name="T88" fmla="*/ 971 w 1407"/>
                  <a:gd name="T89" fmla="*/ 1477 h 1833"/>
                  <a:gd name="T90" fmla="*/ 1058 w 1407"/>
                  <a:gd name="T91" fmla="*/ 1045 h 1833"/>
                  <a:gd name="T92" fmla="*/ 1260 w 1407"/>
                  <a:gd name="T93" fmla="*/ 1473 h 1833"/>
                  <a:gd name="T94" fmla="*/ 271 w 1407"/>
                  <a:gd name="T95" fmla="*/ 1650 h 1833"/>
                  <a:gd name="T96" fmla="*/ 789 w 1407"/>
                  <a:gd name="T97" fmla="*/ 1242 h 1833"/>
                  <a:gd name="T98" fmla="*/ 1163 w 1407"/>
                  <a:gd name="T99" fmla="*/ 1255 h 1833"/>
                  <a:gd name="T100" fmla="*/ 809 w 1407"/>
                  <a:gd name="T101" fmla="*/ 1017 h 1833"/>
                  <a:gd name="T102" fmla="*/ 894 w 1407"/>
                  <a:gd name="T103" fmla="*/ 1036 h 1833"/>
                  <a:gd name="T104" fmla="*/ 1178 w 1407"/>
                  <a:gd name="T105" fmla="*/ 1045 h 1833"/>
                  <a:gd name="T106" fmla="*/ 1268 w 1407"/>
                  <a:gd name="T107" fmla="*/ 1473 h 1833"/>
                  <a:gd name="T108" fmla="*/ 976 w 1407"/>
                  <a:gd name="T109" fmla="*/ 1578 h 1833"/>
                  <a:gd name="T110" fmla="*/ 982 w 1407"/>
                  <a:gd name="T111" fmla="*/ 1599 h 1833"/>
                  <a:gd name="T112" fmla="*/ 505 w 1407"/>
                  <a:gd name="T113" fmla="*/ 1070 h 1833"/>
                  <a:gd name="T114" fmla="*/ 1184 w 1407"/>
                  <a:gd name="T115" fmla="*/ 1192 h 1833"/>
                  <a:gd name="T116" fmla="*/ 509 w 1407"/>
                  <a:gd name="T117" fmla="*/ 1070 h 1833"/>
                  <a:gd name="T118" fmla="*/ 519 w 1407"/>
                  <a:gd name="T119" fmla="*/ 875 h 1833"/>
                  <a:gd name="T120" fmla="*/ 511 w 1407"/>
                  <a:gd name="T121" fmla="*/ 1083 h 1833"/>
                  <a:gd name="T122" fmla="*/ 669 w 1407"/>
                  <a:gd name="T123" fmla="*/ 1068 h 1833"/>
                  <a:gd name="T124" fmla="*/ 845 w 1407"/>
                  <a:gd name="T125" fmla="*/ 1673 h 1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07" h="1833">
                    <a:moveTo>
                      <a:pt x="1173" y="1757"/>
                    </a:moveTo>
                    <a:lnTo>
                      <a:pt x="1171" y="1757"/>
                    </a:lnTo>
                    <a:lnTo>
                      <a:pt x="1171" y="1755"/>
                    </a:lnTo>
                    <a:lnTo>
                      <a:pt x="1171" y="1753"/>
                    </a:lnTo>
                    <a:lnTo>
                      <a:pt x="1171" y="1751"/>
                    </a:lnTo>
                    <a:lnTo>
                      <a:pt x="1171" y="1749"/>
                    </a:lnTo>
                    <a:lnTo>
                      <a:pt x="1171" y="1747"/>
                    </a:lnTo>
                    <a:lnTo>
                      <a:pt x="1169" y="1747"/>
                    </a:lnTo>
                    <a:lnTo>
                      <a:pt x="1167" y="1747"/>
                    </a:lnTo>
                    <a:lnTo>
                      <a:pt x="1167" y="1746"/>
                    </a:lnTo>
                    <a:lnTo>
                      <a:pt x="1165" y="1746"/>
                    </a:lnTo>
                    <a:lnTo>
                      <a:pt x="1165" y="1744"/>
                    </a:lnTo>
                    <a:lnTo>
                      <a:pt x="1165" y="1742"/>
                    </a:lnTo>
                    <a:lnTo>
                      <a:pt x="1165" y="1740"/>
                    </a:lnTo>
                    <a:lnTo>
                      <a:pt x="1165" y="1713"/>
                    </a:lnTo>
                    <a:lnTo>
                      <a:pt x="1163" y="1713"/>
                    </a:lnTo>
                    <a:lnTo>
                      <a:pt x="1163" y="1711"/>
                    </a:lnTo>
                    <a:lnTo>
                      <a:pt x="1159" y="1707"/>
                    </a:lnTo>
                    <a:lnTo>
                      <a:pt x="1158" y="1707"/>
                    </a:lnTo>
                    <a:lnTo>
                      <a:pt x="1156" y="1707"/>
                    </a:lnTo>
                    <a:lnTo>
                      <a:pt x="1156" y="1709"/>
                    </a:lnTo>
                    <a:lnTo>
                      <a:pt x="1154" y="1707"/>
                    </a:lnTo>
                    <a:lnTo>
                      <a:pt x="1152" y="1709"/>
                    </a:lnTo>
                    <a:lnTo>
                      <a:pt x="1150" y="1709"/>
                    </a:lnTo>
                    <a:lnTo>
                      <a:pt x="1148" y="1711"/>
                    </a:lnTo>
                    <a:lnTo>
                      <a:pt x="1146" y="1709"/>
                    </a:lnTo>
                    <a:lnTo>
                      <a:pt x="1146" y="1705"/>
                    </a:lnTo>
                    <a:lnTo>
                      <a:pt x="1144" y="1705"/>
                    </a:lnTo>
                    <a:lnTo>
                      <a:pt x="1142" y="1704"/>
                    </a:lnTo>
                    <a:lnTo>
                      <a:pt x="1131" y="1723"/>
                    </a:lnTo>
                    <a:lnTo>
                      <a:pt x="1129" y="1728"/>
                    </a:lnTo>
                    <a:lnTo>
                      <a:pt x="1129" y="1730"/>
                    </a:lnTo>
                    <a:lnTo>
                      <a:pt x="1127" y="1730"/>
                    </a:lnTo>
                    <a:lnTo>
                      <a:pt x="1127" y="1732"/>
                    </a:lnTo>
                    <a:lnTo>
                      <a:pt x="1125" y="1734"/>
                    </a:lnTo>
                    <a:lnTo>
                      <a:pt x="1127" y="1734"/>
                    </a:lnTo>
                    <a:lnTo>
                      <a:pt x="1127" y="1736"/>
                    </a:lnTo>
                    <a:lnTo>
                      <a:pt x="1125" y="1736"/>
                    </a:lnTo>
                    <a:lnTo>
                      <a:pt x="1125" y="1738"/>
                    </a:lnTo>
                    <a:lnTo>
                      <a:pt x="1125" y="1740"/>
                    </a:lnTo>
                    <a:lnTo>
                      <a:pt x="1127" y="1740"/>
                    </a:lnTo>
                    <a:lnTo>
                      <a:pt x="1125" y="1742"/>
                    </a:lnTo>
                    <a:lnTo>
                      <a:pt x="1123" y="1744"/>
                    </a:lnTo>
                    <a:lnTo>
                      <a:pt x="1125" y="1744"/>
                    </a:lnTo>
                    <a:lnTo>
                      <a:pt x="1123" y="1744"/>
                    </a:lnTo>
                    <a:lnTo>
                      <a:pt x="1123" y="1746"/>
                    </a:lnTo>
                    <a:lnTo>
                      <a:pt x="1121" y="1746"/>
                    </a:lnTo>
                    <a:lnTo>
                      <a:pt x="1119" y="1747"/>
                    </a:lnTo>
                    <a:lnTo>
                      <a:pt x="1119" y="1749"/>
                    </a:lnTo>
                    <a:lnTo>
                      <a:pt x="1119" y="1751"/>
                    </a:lnTo>
                    <a:lnTo>
                      <a:pt x="1121" y="1751"/>
                    </a:lnTo>
                    <a:lnTo>
                      <a:pt x="1119" y="1753"/>
                    </a:lnTo>
                    <a:lnTo>
                      <a:pt x="1119" y="1751"/>
                    </a:lnTo>
                    <a:lnTo>
                      <a:pt x="1117" y="1751"/>
                    </a:lnTo>
                    <a:lnTo>
                      <a:pt x="1117" y="1753"/>
                    </a:lnTo>
                    <a:lnTo>
                      <a:pt x="1117" y="1755"/>
                    </a:lnTo>
                    <a:lnTo>
                      <a:pt x="1116" y="1755"/>
                    </a:lnTo>
                    <a:lnTo>
                      <a:pt x="1116" y="1753"/>
                    </a:lnTo>
                    <a:lnTo>
                      <a:pt x="1114" y="1753"/>
                    </a:lnTo>
                    <a:lnTo>
                      <a:pt x="1112" y="1755"/>
                    </a:lnTo>
                    <a:lnTo>
                      <a:pt x="1110" y="1755"/>
                    </a:lnTo>
                    <a:lnTo>
                      <a:pt x="1110" y="1753"/>
                    </a:lnTo>
                    <a:lnTo>
                      <a:pt x="1108" y="1755"/>
                    </a:lnTo>
                    <a:lnTo>
                      <a:pt x="1108" y="1757"/>
                    </a:lnTo>
                    <a:lnTo>
                      <a:pt x="1108" y="1759"/>
                    </a:lnTo>
                    <a:lnTo>
                      <a:pt x="1106" y="1759"/>
                    </a:lnTo>
                    <a:lnTo>
                      <a:pt x="1106" y="1761"/>
                    </a:lnTo>
                    <a:lnTo>
                      <a:pt x="1095" y="1761"/>
                    </a:lnTo>
                    <a:lnTo>
                      <a:pt x="1081" y="1761"/>
                    </a:lnTo>
                    <a:lnTo>
                      <a:pt x="1064" y="1761"/>
                    </a:lnTo>
                    <a:lnTo>
                      <a:pt x="1055" y="1761"/>
                    </a:lnTo>
                    <a:lnTo>
                      <a:pt x="1053" y="1761"/>
                    </a:lnTo>
                    <a:lnTo>
                      <a:pt x="1051" y="1761"/>
                    </a:lnTo>
                    <a:lnTo>
                      <a:pt x="1049" y="1763"/>
                    </a:lnTo>
                    <a:lnTo>
                      <a:pt x="1047" y="1765"/>
                    </a:lnTo>
                    <a:lnTo>
                      <a:pt x="1039" y="1772"/>
                    </a:lnTo>
                    <a:lnTo>
                      <a:pt x="1037" y="1774"/>
                    </a:lnTo>
                    <a:lnTo>
                      <a:pt x="1035" y="1776"/>
                    </a:lnTo>
                    <a:lnTo>
                      <a:pt x="1034" y="1776"/>
                    </a:lnTo>
                    <a:lnTo>
                      <a:pt x="1032" y="1776"/>
                    </a:lnTo>
                    <a:lnTo>
                      <a:pt x="1030" y="1776"/>
                    </a:lnTo>
                    <a:lnTo>
                      <a:pt x="1030" y="1778"/>
                    </a:lnTo>
                    <a:lnTo>
                      <a:pt x="1028" y="1778"/>
                    </a:lnTo>
                    <a:lnTo>
                      <a:pt x="1026" y="1778"/>
                    </a:lnTo>
                    <a:lnTo>
                      <a:pt x="1024" y="1778"/>
                    </a:lnTo>
                    <a:lnTo>
                      <a:pt x="1022" y="1780"/>
                    </a:lnTo>
                    <a:lnTo>
                      <a:pt x="1020" y="1782"/>
                    </a:lnTo>
                    <a:lnTo>
                      <a:pt x="1022" y="1780"/>
                    </a:lnTo>
                    <a:lnTo>
                      <a:pt x="1022" y="1782"/>
                    </a:lnTo>
                    <a:lnTo>
                      <a:pt x="1020" y="1782"/>
                    </a:lnTo>
                    <a:lnTo>
                      <a:pt x="1018" y="1784"/>
                    </a:lnTo>
                    <a:lnTo>
                      <a:pt x="1018" y="1786"/>
                    </a:lnTo>
                    <a:lnTo>
                      <a:pt x="1018" y="1784"/>
                    </a:lnTo>
                    <a:lnTo>
                      <a:pt x="1020" y="1786"/>
                    </a:lnTo>
                    <a:lnTo>
                      <a:pt x="1020" y="1784"/>
                    </a:lnTo>
                    <a:lnTo>
                      <a:pt x="1018" y="1786"/>
                    </a:lnTo>
                    <a:lnTo>
                      <a:pt x="1016" y="1788"/>
                    </a:lnTo>
                    <a:lnTo>
                      <a:pt x="1016" y="1786"/>
                    </a:lnTo>
                    <a:lnTo>
                      <a:pt x="1014" y="1786"/>
                    </a:lnTo>
                    <a:lnTo>
                      <a:pt x="1016" y="1786"/>
                    </a:lnTo>
                    <a:lnTo>
                      <a:pt x="1014" y="1786"/>
                    </a:lnTo>
                    <a:lnTo>
                      <a:pt x="1013" y="1784"/>
                    </a:lnTo>
                    <a:lnTo>
                      <a:pt x="1011" y="1786"/>
                    </a:lnTo>
                    <a:lnTo>
                      <a:pt x="1009" y="1782"/>
                    </a:lnTo>
                    <a:lnTo>
                      <a:pt x="1009" y="1784"/>
                    </a:lnTo>
                    <a:lnTo>
                      <a:pt x="1009" y="1782"/>
                    </a:lnTo>
                    <a:lnTo>
                      <a:pt x="1007" y="1784"/>
                    </a:lnTo>
                    <a:lnTo>
                      <a:pt x="1009" y="1784"/>
                    </a:lnTo>
                    <a:lnTo>
                      <a:pt x="1007" y="1784"/>
                    </a:lnTo>
                    <a:lnTo>
                      <a:pt x="1005" y="1784"/>
                    </a:lnTo>
                    <a:lnTo>
                      <a:pt x="999" y="1784"/>
                    </a:lnTo>
                    <a:lnTo>
                      <a:pt x="995" y="1786"/>
                    </a:lnTo>
                    <a:lnTo>
                      <a:pt x="994" y="1786"/>
                    </a:lnTo>
                    <a:lnTo>
                      <a:pt x="992" y="1786"/>
                    </a:lnTo>
                    <a:lnTo>
                      <a:pt x="990" y="1786"/>
                    </a:lnTo>
                    <a:lnTo>
                      <a:pt x="988" y="1788"/>
                    </a:lnTo>
                    <a:lnTo>
                      <a:pt x="988" y="1786"/>
                    </a:lnTo>
                    <a:lnTo>
                      <a:pt x="988" y="1788"/>
                    </a:lnTo>
                    <a:lnTo>
                      <a:pt x="986" y="1788"/>
                    </a:lnTo>
                    <a:lnTo>
                      <a:pt x="982" y="1791"/>
                    </a:lnTo>
                    <a:lnTo>
                      <a:pt x="980" y="1791"/>
                    </a:lnTo>
                    <a:lnTo>
                      <a:pt x="978" y="1791"/>
                    </a:lnTo>
                    <a:lnTo>
                      <a:pt x="978" y="1793"/>
                    </a:lnTo>
                    <a:lnTo>
                      <a:pt x="978" y="1795"/>
                    </a:lnTo>
                    <a:lnTo>
                      <a:pt x="976" y="1795"/>
                    </a:lnTo>
                    <a:lnTo>
                      <a:pt x="976" y="1797"/>
                    </a:lnTo>
                    <a:lnTo>
                      <a:pt x="974" y="1799"/>
                    </a:lnTo>
                    <a:lnTo>
                      <a:pt x="976" y="1801"/>
                    </a:lnTo>
                    <a:lnTo>
                      <a:pt x="978" y="1801"/>
                    </a:lnTo>
                    <a:lnTo>
                      <a:pt x="980" y="1801"/>
                    </a:lnTo>
                    <a:lnTo>
                      <a:pt x="982" y="1801"/>
                    </a:lnTo>
                    <a:lnTo>
                      <a:pt x="984" y="1801"/>
                    </a:lnTo>
                    <a:lnTo>
                      <a:pt x="984" y="1799"/>
                    </a:lnTo>
                    <a:lnTo>
                      <a:pt x="984" y="1801"/>
                    </a:lnTo>
                    <a:lnTo>
                      <a:pt x="986" y="1799"/>
                    </a:lnTo>
                    <a:lnTo>
                      <a:pt x="986" y="1803"/>
                    </a:lnTo>
                    <a:lnTo>
                      <a:pt x="988" y="1803"/>
                    </a:lnTo>
                    <a:lnTo>
                      <a:pt x="986" y="1805"/>
                    </a:lnTo>
                    <a:lnTo>
                      <a:pt x="988" y="1807"/>
                    </a:lnTo>
                    <a:lnTo>
                      <a:pt x="988" y="1809"/>
                    </a:lnTo>
                    <a:lnTo>
                      <a:pt x="986" y="1809"/>
                    </a:lnTo>
                    <a:lnTo>
                      <a:pt x="984" y="1809"/>
                    </a:lnTo>
                    <a:lnTo>
                      <a:pt x="982" y="1809"/>
                    </a:lnTo>
                    <a:lnTo>
                      <a:pt x="980" y="1809"/>
                    </a:lnTo>
                    <a:lnTo>
                      <a:pt x="978" y="1809"/>
                    </a:lnTo>
                    <a:lnTo>
                      <a:pt x="976" y="1809"/>
                    </a:lnTo>
                    <a:lnTo>
                      <a:pt x="974" y="1809"/>
                    </a:lnTo>
                    <a:lnTo>
                      <a:pt x="973" y="1809"/>
                    </a:lnTo>
                    <a:lnTo>
                      <a:pt x="971" y="1810"/>
                    </a:lnTo>
                    <a:lnTo>
                      <a:pt x="971" y="1809"/>
                    </a:lnTo>
                    <a:lnTo>
                      <a:pt x="971" y="1810"/>
                    </a:lnTo>
                    <a:lnTo>
                      <a:pt x="967" y="1810"/>
                    </a:lnTo>
                    <a:lnTo>
                      <a:pt x="967" y="1812"/>
                    </a:lnTo>
                    <a:lnTo>
                      <a:pt x="965" y="1812"/>
                    </a:lnTo>
                    <a:lnTo>
                      <a:pt x="965" y="1814"/>
                    </a:lnTo>
                    <a:lnTo>
                      <a:pt x="967" y="1814"/>
                    </a:lnTo>
                    <a:lnTo>
                      <a:pt x="971" y="1814"/>
                    </a:lnTo>
                    <a:lnTo>
                      <a:pt x="969" y="1814"/>
                    </a:lnTo>
                    <a:lnTo>
                      <a:pt x="965" y="1814"/>
                    </a:lnTo>
                    <a:lnTo>
                      <a:pt x="963" y="1814"/>
                    </a:lnTo>
                    <a:lnTo>
                      <a:pt x="961" y="1814"/>
                    </a:lnTo>
                    <a:lnTo>
                      <a:pt x="959" y="1812"/>
                    </a:lnTo>
                    <a:lnTo>
                      <a:pt x="957" y="1812"/>
                    </a:lnTo>
                    <a:lnTo>
                      <a:pt x="952" y="1812"/>
                    </a:lnTo>
                    <a:lnTo>
                      <a:pt x="950" y="1812"/>
                    </a:lnTo>
                    <a:lnTo>
                      <a:pt x="950" y="1814"/>
                    </a:lnTo>
                    <a:lnTo>
                      <a:pt x="948" y="1814"/>
                    </a:lnTo>
                    <a:lnTo>
                      <a:pt x="946" y="1814"/>
                    </a:lnTo>
                    <a:lnTo>
                      <a:pt x="942" y="1818"/>
                    </a:lnTo>
                    <a:lnTo>
                      <a:pt x="942" y="1820"/>
                    </a:lnTo>
                    <a:lnTo>
                      <a:pt x="942" y="1822"/>
                    </a:lnTo>
                    <a:lnTo>
                      <a:pt x="938" y="1822"/>
                    </a:lnTo>
                    <a:lnTo>
                      <a:pt x="932" y="1824"/>
                    </a:lnTo>
                    <a:lnTo>
                      <a:pt x="932" y="1826"/>
                    </a:lnTo>
                    <a:lnTo>
                      <a:pt x="931" y="1829"/>
                    </a:lnTo>
                    <a:lnTo>
                      <a:pt x="931" y="1828"/>
                    </a:lnTo>
                    <a:lnTo>
                      <a:pt x="931" y="1826"/>
                    </a:lnTo>
                    <a:lnTo>
                      <a:pt x="929" y="1826"/>
                    </a:lnTo>
                    <a:lnTo>
                      <a:pt x="927" y="1828"/>
                    </a:lnTo>
                    <a:lnTo>
                      <a:pt x="925" y="1828"/>
                    </a:lnTo>
                    <a:lnTo>
                      <a:pt x="923" y="1826"/>
                    </a:lnTo>
                    <a:lnTo>
                      <a:pt x="921" y="1826"/>
                    </a:lnTo>
                    <a:lnTo>
                      <a:pt x="921" y="1824"/>
                    </a:lnTo>
                    <a:lnTo>
                      <a:pt x="921" y="1822"/>
                    </a:lnTo>
                    <a:lnTo>
                      <a:pt x="923" y="1820"/>
                    </a:lnTo>
                    <a:lnTo>
                      <a:pt x="927" y="1818"/>
                    </a:lnTo>
                    <a:lnTo>
                      <a:pt x="929" y="1814"/>
                    </a:lnTo>
                    <a:lnTo>
                      <a:pt x="931" y="1814"/>
                    </a:lnTo>
                    <a:lnTo>
                      <a:pt x="932" y="1810"/>
                    </a:lnTo>
                    <a:lnTo>
                      <a:pt x="932" y="1809"/>
                    </a:lnTo>
                    <a:lnTo>
                      <a:pt x="932" y="1807"/>
                    </a:lnTo>
                    <a:lnTo>
                      <a:pt x="932" y="1805"/>
                    </a:lnTo>
                    <a:lnTo>
                      <a:pt x="936" y="1805"/>
                    </a:lnTo>
                    <a:lnTo>
                      <a:pt x="936" y="1803"/>
                    </a:lnTo>
                    <a:lnTo>
                      <a:pt x="938" y="1803"/>
                    </a:lnTo>
                    <a:lnTo>
                      <a:pt x="938" y="1801"/>
                    </a:lnTo>
                    <a:lnTo>
                      <a:pt x="940" y="1801"/>
                    </a:lnTo>
                    <a:lnTo>
                      <a:pt x="942" y="1799"/>
                    </a:lnTo>
                    <a:lnTo>
                      <a:pt x="944" y="1797"/>
                    </a:lnTo>
                    <a:lnTo>
                      <a:pt x="944" y="1793"/>
                    </a:lnTo>
                    <a:lnTo>
                      <a:pt x="944" y="1789"/>
                    </a:lnTo>
                    <a:lnTo>
                      <a:pt x="944" y="1786"/>
                    </a:lnTo>
                    <a:lnTo>
                      <a:pt x="944" y="1782"/>
                    </a:lnTo>
                    <a:lnTo>
                      <a:pt x="946" y="1780"/>
                    </a:lnTo>
                    <a:lnTo>
                      <a:pt x="946" y="1778"/>
                    </a:lnTo>
                    <a:lnTo>
                      <a:pt x="946" y="1776"/>
                    </a:lnTo>
                    <a:lnTo>
                      <a:pt x="948" y="1774"/>
                    </a:lnTo>
                    <a:lnTo>
                      <a:pt x="950" y="1774"/>
                    </a:lnTo>
                    <a:lnTo>
                      <a:pt x="950" y="1772"/>
                    </a:lnTo>
                    <a:lnTo>
                      <a:pt x="952" y="1770"/>
                    </a:lnTo>
                    <a:lnTo>
                      <a:pt x="952" y="1768"/>
                    </a:lnTo>
                    <a:lnTo>
                      <a:pt x="950" y="1768"/>
                    </a:lnTo>
                    <a:lnTo>
                      <a:pt x="952" y="1768"/>
                    </a:lnTo>
                    <a:lnTo>
                      <a:pt x="952" y="1767"/>
                    </a:lnTo>
                    <a:lnTo>
                      <a:pt x="950" y="1767"/>
                    </a:lnTo>
                    <a:lnTo>
                      <a:pt x="952" y="1765"/>
                    </a:lnTo>
                    <a:lnTo>
                      <a:pt x="950" y="1765"/>
                    </a:lnTo>
                    <a:lnTo>
                      <a:pt x="950" y="1763"/>
                    </a:lnTo>
                    <a:lnTo>
                      <a:pt x="950" y="1765"/>
                    </a:lnTo>
                    <a:lnTo>
                      <a:pt x="950" y="1763"/>
                    </a:lnTo>
                    <a:lnTo>
                      <a:pt x="950" y="1761"/>
                    </a:lnTo>
                    <a:lnTo>
                      <a:pt x="948" y="1761"/>
                    </a:lnTo>
                    <a:lnTo>
                      <a:pt x="948" y="1759"/>
                    </a:lnTo>
                    <a:lnTo>
                      <a:pt x="946" y="1757"/>
                    </a:lnTo>
                    <a:lnTo>
                      <a:pt x="944" y="1757"/>
                    </a:lnTo>
                    <a:lnTo>
                      <a:pt x="946" y="1757"/>
                    </a:lnTo>
                    <a:lnTo>
                      <a:pt x="944" y="1757"/>
                    </a:lnTo>
                    <a:lnTo>
                      <a:pt x="944" y="1755"/>
                    </a:lnTo>
                    <a:lnTo>
                      <a:pt x="944" y="1753"/>
                    </a:lnTo>
                    <a:lnTo>
                      <a:pt x="942" y="1753"/>
                    </a:lnTo>
                    <a:lnTo>
                      <a:pt x="944" y="1753"/>
                    </a:lnTo>
                    <a:lnTo>
                      <a:pt x="942" y="1751"/>
                    </a:lnTo>
                    <a:lnTo>
                      <a:pt x="942" y="1749"/>
                    </a:lnTo>
                    <a:lnTo>
                      <a:pt x="940" y="1749"/>
                    </a:lnTo>
                    <a:lnTo>
                      <a:pt x="940" y="1747"/>
                    </a:lnTo>
                    <a:lnTo>
                      <a:pt x="940" y="1749"/>
                    </a:lnTo>
                    <a:lnTo>
                      <a:pt x="940" y="1747"/>
                    </a:lnTo>
                    <a:lnTo>
                      <a:pt x="938" y="1747"/>
                    </a:lnTo>
                    <a:lnTo>
                      <a:pt x="936" y="1747"/>
                    </a:lnTo>
                    <a:lnTo>
                      <a:pt x="936" y="1746"/>
                    </a:lnTo>
                    <a:lnTo>
                      <a:pt x="934" y="1746"/>
                    </a:lnTo>
                    <a:lnTo>
                      <a:pt x="932" y="1746"/>
                    </a:lnTo>
                    <a:lnTo>
                      <a:pt x="932" y="1744"/>
                    </a:lnTo>
                    <a:lnTo>
                      <a:pt x="931" y="1744"/>
                    </a:lnTo>
                    <a:lnTo>
                      <a:pt x="929" y="1744"/>
                    </a:lnTo>
                    <a:lnTo>
                      <a:pt x="927" y="1744"/>
                    </a:lnTo>
                    <a:lnTo>
                      <a:pt x="927" y="1742"/>
                    </a:lnTo>
                    <a:lnTo>
                      <a:pt x="925" y="1744"/>
                    </a:lnTo>
                    <a:lnTo>
                      <a:pt x="925" y="1742"/>
                    </a:lnTo>
                    <a:lnTo>
                      <a:pt x="923" y="1742"/>
                    </a:lnTo>
                    <a:lnTo>
                      <a:pt x="921" y="1742"/>
                    </a:lnTo>
                    <a:lnTo>
                      <a:pt x="919" y="1740"/>
                    </a:lnTo>
                    <a:lnTo>
                      <a:pt x="917" y="1742"/>
                    </a:lnTo>
                    <a:lnTo>
                      <a:pt x="917" y="1740"/>
                    </a:lnTo>
                    <a:lnTo>
                      <a:pt x="915" y="1740"/>
                    </a:lnTo>
                    <a:lnTo>
                      <a:pt x="915" y="1742"/>
                    </a:lnTo>
                    <a:lnTo>
                      <a:pt x="915" y="1740"/>
                    </a:lnTo>
                    <a:lnTo>
                      <a:pt x="917" y="1738"/>
                    </a:lnTo>
                    <a:lnTo>
                      <a:pt x="915" y="1736"/>
                    </a:lnTo>
                    <a:lnTo>
                      <a:pt x="913" y="1736"/>
                    </a:lnTo>
                    <a:lnTo>
                      <a:pt x="912" y="1736"/>
                    </a:lnTo>
                    <a:lnTo>
                      <a:pt x="910" y="1736"/>
                    </a:lnTo>
                    <a:lnTo>
                      <a:pt x="908" y="1736"/>
                    </a:lnTo>
                    <a:lnTo>
                      <a:pt x="908" y="1734"/>
                    </a:lnTo>
                    <a:lnTo>
                      <a:pt x="906" y="1734"/>
                    </a:lnTo>
                    <a:lnTo>
                      <a:pt x="906" y="1732"/>
                    </a:lnTo>
                    <a:lnTo>
                      <a:pt x="906" y="1730"/>
                    </a:lnTo>
                    <a:lnTo>
                      <a:pt x="906" y="1728"/>
                    </a:lnTo>
                    <a:lnTo>
                      <a:pt x="906" y="1726"/>
                    </a:lnTo>
                    <a:lnTo>
                      <a:pt x="904" y="1726"/>
                    </a:lnTo>
                    <a:lnTo>
                      <a:pt x="902" y="1726"/>
                    </a:lnTo>
                    <a:lnTo>
                      <a:pt x="900" y="1726"/>
                    </a:lnTo>
                    <a:lnTo>
                      <a:pt x="898" y="1726"/>
                    </a:lnTo>
                    <a:lnTo>
                      <a:pt x="898" y="1725"/>
                    </a:lnTo>
                    <a:lnTo>
                      <a:pt x="900" y="1723"/>
                    </a:lnTo>
                    <a:lnTo>
                      <a:pt x="900" y="1721"/>
                    </a:lnTo>
                    <a:lnTo>
                      <a:pt x="900" y="1723"/>
                    </a:lnTo>
                    <a:lnTo>
                      <a:pt x="898" y="1723"/>
                    </a:lnTo>
                    <a:lnTo>
                      <a:pt x="898" y="1721"/>
                    </a:lnTo>
                    <a:lnTo>
                      <a:pt x="898" y="1719"/>
                    </a:lnTo>
                    <a:lnTo>
                      <a:pt x="900" y="1719"/>
                    </a:lnTo>
                    <a:lnTo>
                      <a:pt x="902" y="1719"/>
                    </a:lnTo>
                    <a:lnTo>
                      <a:pt x="900" y="1717"/>
                    </a:lnTo>
                    <a:lnTo>
                      <a:pt x="898" y="1717"/>
                    </a:lnTo>
                    <a:lnTo>
                      <a:pt x="896" y="1717"/>
                    </a:lnTo>
                    <a:lnTo>
                      <a:pt x="896" y="1715"/>
                    </a:lnTo>
                    <a:lnTo>
                      <a:pt x="896" y="1717"/>
                    </a:lnTo>
                    <a:lnTo>
                      <a:pt x="894" y="1715"/>
                    </a:lnTo>
                    <a:lnTo>
                      <a:pt x="896" y="1713"/>
                    </a:lnTo>
                    <a:lnTo>
                      <a:pt x="896" y="1711"/>
                    </a:lnTo>
                    <a:lnTo>
                      <a:pt x="898" y="1707"/>
                    </a:lnTo>
                    <a:lnTo>
                      <a:pt x="896" y="1705"/>
                    </a:lnTo>
                    <a:lnTo>
                      <a:pt x="894" y="1704"/>
                    </a:lnTo>
                    <a:lnTo>
                      <a:pt x="892" y="1704"/>
                    </a:lnTo>
                    <a:lnTo>
                      <a:pt x="892" y="1702"/>
                    </a:lnTo>
                    <a:lnTo>
                      <a:pt x="891" y="1702"/>
                    </a:lnTo>
                    <a:lnTo>
                      <a:pt x="891" y="1700"/>
                    </a:lnTo>
                    <a:lnTo>
                      <a:pt x="892" y="1702"/>
                    </a:lnTo>
                    <a:lnTo>
                      <a:pt x="891" y="1700"/>
                    </a:lnTo>
                    <a:lnTo>
                      <a:pt x="892" y="1700"/>
                    </a:lnTo>
                    <a:lnTo>
                      <a:pt x="892" y="1698"/>
                    </a:lnTo>
                    <a:lnTo>
                      <a:pt x="892" y="1696"/>
                    </a:lnTo>
                    <a:lnTo>
                      <a:pt x="894" y="1694"/>
                    </a:lnTo>
                    <a:lnTo>
                      <a:pt x="894" y="1692"/>
                    </a:lnTo>
                    <a:lnTo>
                      <a:pt x="892" y="1692"/>
                    </a:lnTo>
                    <a:lnTo>
                      <a:pt x="887" y="1692"/>
                    </a:lnTo>
                    <a:lnTo>
                      <a:pt x="885" y="1694"/>
                    </a:lnTo>
                    <a:lnTo>
                      <a:pt x="883" y="1694"/>
                    </a:lnTo>
                    <a:lnTo>
                      <a:pt x="879" y="1692"/>
                    </a:lnTo>
                    <a:lnTo>
                      <a:pt x="877" y="1692"/>
                    </a:lnTo>
                    <a:lnTo>
                      <a:pt x="877" y="1690"/>
                    </a:lnTo>
                    <a:lnTo>
                      <a:pt x="875" y="1690"/>
                    </a:lnTo>
                    <a:lnTo>
                      <a:pt x="875" y="1688"/>
                    </a:lnTo>
                    <a:lnTo>
                      <a:pt x="873" y="1686"/>
                    </a:lnTo>
                    <a:lnTo>
                      <a:pt x="873" y="1684"/>
                    </a:lnTo>
                    <a:lnTo>
                      <a:pt x="873" y="1683"/>
                    </a:lnTo>
                    <a:lnTo>
                      <a:pt x="871" y="1681"/>
                    </a:lnTo>
                    <a:lnTo>
                      <a:pt x="871" y="1679"/>
                    </a:lnTo>
                    <a:lnTo>
                      <a:pt x="871" y="1677"/>
                    </a:lnTo>
                    <a:lnTo>
                      <a:pt x="870" y="1677"/>
                    </a:lnTo>
                    <a:lnTo>
                      <a:pt x="871" y="1677"/>
                    </a:lnTo>
                    <a:lnTo>
                      <a:pt x="870" y="1677"/>
                    </a:lnTo>
                    <a:lnTo>
                      <a:pt x="871" y="1677"/>
                    </a:lnTo>
                    <a:lnTo>
                      <a:pt x="871" y="1675"/>
                    </a:lnTo>
                    <a:lnTo>
                      <a:pt x="870" y="1677"/>
                    </a:lnTo>
                    <a:lnTo>
                      <a:pt x="870" y="1675"/>
                    </a:lnTo>
                    <a:lnTo>
                      <a:pt x="870" y="1673"/>
                    </a:lnTo>
                    <a:lnTo>
                      <a:pt x="868" y="1673"/>
                    </a:lnTo>
                    <a:lnTo>
                      <a:pt x="868" y="1675"/>
                    </a:lnTo>
                    <a:lnTo>
                      <a:pt x="868" y="1673"/>
                    </a:lnTo>
                    <a:lnTo>
                      <a:pt x="866" y="1675"/>
                    </a:lnTo>
                    <a:lnTo>
                      <a:pt x="866" y="1673"/>
                    </a:lnTo>
                    <a:lnTo>
                      <a:pt x="864" y="1671"/>
                    </a:lnTo>
                    <a:lnTo>
                      <a:pt x="864" y="1673"/>
                    </a:lnTo>
                    <a:lnTo>
                      <a:pt x="862" y="1673"/>
                    </a:lnTo>
                    <a:lnTo>
                      <a:pt x="860" y="1673"/>
                    </a:lnTo>
                    <a:lnTo>
                      <a:pt x="860" y="1671"/>
                    </a:lnTo>
                    <a:lnTo>
                      <a:pt x="860" y="1673"/>
                    </a:lnTo>
                    <a:lnTo>
                      <a:pt x="860" y="1671"/>
                    </a:lnTo>
                    <a:lnTo>
                      <a:pt x="860" y="1673"/>
                    </a:lnTo>
                    <a:lnTo>
                      <a:pt x="858" y="1673"/>
                    </a:lnTo>
                    <a:lnTo>
                      <a:pt x="856" y="1673"/>
                    </a:lnTo>
                    <a:lnTo>
                      <a:pt x="854" y="1673"/>
                    </a:lnTo>
                    <a:lnTo>
                      <a:pt x="856" y="1673"/>
                    </a:lnTo>
                    <a:lnTo>
                      <a:pt x="854" y="1673"/>
                    </a:lnTo>
                    <a:lnTo>
                      <a:pt x="852" y="1671"/>
                    </a:lnTo>
                    <a:lnTo>
                      <a:pt x="850" y="1671"/>
                    </a:lnTo>
                    <a:lnTo>
                      <a:pt x="849" y="1669"/>
                    </a:lnTo>
                    <a:lnTo>
                      <a:pt x="847" y="1669"/>
                    </a:lnTo>
                    <a:lnTo>
                      <a:pt x="845" y="1669"/>
                    </a:lnTo>
                    <a:lnTo>
                      <a:pt x="843" y="1667"/>
                    </a:lnTo>
                    <a:lnTo>
                      <a:pt x="841" y="1669"/>
                    </a:lnTo>
                    <a:lnTo>
                      <a:pt x="841" y="1667"/>
                    </a:lnTo>
                    <a:lnTo>
                      <a:pt x="841" y="1669"/>
                    </a:lnTo>
                    <a:lnTo>
                      <a:pt x="839" y="1667"/>
                    </a:lnTo>
                    <a:lnTo>
                      <a:pt x="841" y="1669"/>
                    </a:lnTo>
                    <a:lnTo>
                      <a:pt x="841" y="1671"/>
                    </a:lnTo>
                    <a:lnTo>
                      <a:pt x="843" y="1673"/>
                    </a:lnTo>
                    <a:lnTo>
                      <a:pt x="843" y="1675"/>
                    </a:lnTo>
                    <a:lnTo>
                      <a:pt x="841" y="1677"/>
                    </a:lnTo>
                    <a:lnTo>
                      <a:pt x="839" y="1677"/>
                    </a:lnTo>
                    <a:lnTo>
                      <a:pt x="841" y="1677"/>
                    </a:lnTo>
                    <a:lnTo>
                      <a:pt x="839" y="1677"/>
                    </a:lnTo>
                    <a:lnTo>
                      <a:pt x="839" y="1679"/>
                    </a:lnTo>
                    <a:lnTo>
                      <a:pt x="839" y="1677"/>
                    </a:lnTo>
                    <a:lnTo>
                      <a:pt x="839" y="1679"/>
                    </a:lnTo>
                    <a:lnTo>
                      <a:pt x="837" y="1679"/>
                    </a:lnTo>
                    <a:lnTo>
                      <a:pt x="835" y="1679"/>
                    </a:lnTo>
                    <a:lnTo>
                      <a:pt x="837" y="1681"/>
                    </a:lnTo>
                    <a:lnTo>
                      <a:pt x="835" y="1681"/>
                    </a:lnTo>
                    <a:lnTo>
                      <a:pt x="835" y="1683"/>
                    </a:lnTo>
                    <a:lnTo>
                      <a:pt x="835" y="1681"/>
                    </a:lnTo>
                    <a:lnTo>
                      <a:pt x="835" y="1679"/>
                    </a:lnTo>
                    <a:lnTo>
                      <a:pt x="839" y="1675"/>
                    </a:lnTo>
                    <a:lnTo>
                      <a:pt x="839" y="1673"/>
                    </a:lnTo>
                    <a:lnTo>
                      <a:pt x="839" y="1671"/>
                    </a:lnTo>
                    <a:lnTo>
                      <a:pt x="837" y="1671"/>
                    </a:lnTo>
                    <a:lnTo>
                      <a:pt x="835" y="1671"/>
                    </a:lnTo>
                    <a:lnTo>
                      <a:pt x="837" y="1671"/>
                    </a:lnTo>
                    <a:lnTo>
                      <a:pt x="835" y="1673"/>
                    </a:lnTo>
                    <a:lnTo>
                      <a:pt x="835" y="1675"/>
                    </a:lnTo>
                    <a:lnTo>
                      <a:pt x="835" y="1677"/>
                    </a:lnTo>
                    <a:lnTo>
                      <a:pt x="833" y="1677"/>
                    </a:lnTo>
                    <a:lnTo>
                      <a:pt x="833" y="1679"/>
                    </a:lnTo>
                    <a:lnTo>
                      <a:pt x="833" y="1681"/>
                    </a:lnTo>
                    <a:lnTo>
                      <a:pt x="833" y="1679"/>
                    </a:lnTo>
                    <a:lnTo>
                      <a:pt x="833" y="1681"/>
                    </a:lnTo>
                    <a:lnTo>
                      <a:pt x="831" y="1683"/>
                    </a:lnTo>
                    <a:lnTo>
                      <a:pt x="830" y="1684"/>
                    </a:lnTo>
                    <a:lnTo>
                      <a:pt x="830" y="1683"/>
                    </a:lnTo>
                    <a:lnTo>
                      <a:pt x="831" y="1681"/>
                    </a:lnTo>
                    <a:lnTo>
                      <a:pt x="831" y="1679"/>
                    </a:lnTo>
                    <a:lnTo>
                      <a:pt x="831" y="1677"/>
                    </a:lnTo>
                    <a:lnTo>
                      <a:pt x="831" y="1679"/>
                    </a:lnTo>
                    <a:lnTo>
                      <a:pt x="830" y="1679"/>
                    </a:lnTo>
                    <a:lnTo>
                      <a:pt x="826" y="1681"/>
                    </a:lnTo>
                    <a:lnTo>
                      <a:pt x="824" y="1681"/>
                    </a:lnTo>
                    <a:lnTo>
                      <a:pt x="824" y="1683"/>
                    </a:lnTo>
                    <a:lnTo>
                      <a:pt x="826" y="1684"/>
                    </a:lnTo>
                    <a:lnTo>
                      <a:pt x="824" y="1684"/>
                    </a:lnTo>
                    <a:lnTo>
                      <a:pt x="824" y="1686"/>
                    </a:lnTo>
                    <a:lnTo>
                      <a:pt x="824" y="1688"/>
                    </a:lnTo>
                    <a:lnTo>
                      <a:pt x="822" y="1688"/>
                    </a:lnTo>
                    <a:lnTo>
                      <a:pt x="824" y="1688"/>
                    </a:lnTo>
                    <a:lnTo>
                      <a:pt x="822" y="1688"/>
                    </a:lnTo>
                    <a:lnTo>
                      <a:pt x="822" y="1690"/>
                    </a:lnTo>
                    <a:lnTo>
                      <a:pt x="820" y="1690"/>
                    </a:lnTo>
                    <a:lnTo>
                      <a:pt x="822" y="1690"/>
                    </a:lnTo>
                    <a:lnTo>
                      <a:pt x="820" y="1690"/>
                    </a:lnTo>
                    <a:lnTo>
                      <a:pt x="818" y="1692"/>
                    </a:lnTo>
                    <a:lnTo>
                      <a:pt x="818" y="1690"/>
                    </a:lnTo>
                    <a:lnTo>
                      <a:pt x="818" y="1692"/>
                    </a:lnTo>
                    <a:lnTo>
                      <a:pt x="816" y="1690"/>
                    </a:lnTo>
                    <a:lnTo>
                      <a:pt x="814" y="1692"/>
                    </a:lnTo>
                    <a:lnTo>
                      <a:pt x="812" y="1690"/>
                    </a:lnTo>
                    <a:lnTo>
                      <a:pt x="810" y="1688"/>
                    </a:lnTo>
                    <a:lnTo>
                      <a:pt x="807" y="1690"/>
                    </a:lnTo>
                    <a:lnTo>
                      <a:pt x="805" y="1688"/>
                    </a:lnTo>
                    <a:lnTo>
                      <a:pt x="803" y="1688"/>
                    </a:lnTo>
                    <a:lnTo>
                      <a:pt x="801" y="1690"/>
                    </a:lnTo>
                    <a:lnTo>
                      <a:pt x="799" y="1688"/>
                    </a:lnTo>
                    <a:lnTo>
                      <a:pt x="799" y="1686"/>
                    </a:lnTo>
                    <a:lnTo>
                      <a:pt x="797" y="1686"/>
                    </a:lnTo>
                    <a:lnTo>
                      <a:pt x="795" y="1686"/>
                    </a:lnTo>
                    <a:lnTo>
                      <a:pt x="791" y="1690"/>
                    </a:lnTo>
                    <a:lnTo>
                      <a:pt x="789" y="1690"/>
                    </a:lnTo>
                    <a:lnTo>
                      <a:pt x="788" y="1690"/>
                    </a:lnTo>
                    <a:lnTo>
                      <a:pt x="788" y="1688"/>
                    </a:lnTo>
                    <a:lnTo>
                      <a:pt x="786" y="1688"/>
                    </a:lnTo>
                    <a:lnTo>
                      <a:pt x="786" y="1686"/>
                    </a:lnTo>
                    <a:lnTo>
                      <a:pt x="784" y="1686"/>
                    </a:lnTo>
                    <a:lnTo>
                      <a:pt x="782" y="1686"/>
                    </a:lnTo>
                    <a:lnTo>
                      <a:pt x="780" y="1686"/>
                    </a:lnTo>
                    <a:lnTo>
                      <a:pt x="780" y="1684"/>
                    </a:lnTo>
                    <a:lnTo>
                      <a:pt x="780" y="1683"/>
                    </a:lnTo>
                    <a:lnTo>
                      <a:pt x="778" y="1683"/>
                    </a:lnTo>
                    <a:lnTo>
                      <a:pt x="776" y="1683"/>
                    </a:lnTo>
                    <a:lnTo>
                      <a:pt x="776" y="1684"/>
                    </a:lnTo>
                    <a:lnTo>
                      <a:pt x="776" y="1686"/>
                    </a:lnTo>
                    <a:lnTo>
                      <a:pt x="774" y="1686"/>
                    </a:lnTo>
                    <a:lnTo>
                      <a:pt x="772" y="1683"/>
                    </a:lnTo>
                    <a:lnTo>
                      <a:pt x="772" y="1681"/>
                    </a:lnTo>
                    <a:lnTo>
                      <a:pt x="770" y="1681"/>
                    </a:lnTo>
                    <a:lnTo>
                      <a:pt x="769" y="1681"/>
                    </a:lnTo>
                    <a:lnTo>
                      <a:pt x="769" y="1679"/>
                    </a:lnTo>
                    <a:lnTo>
                      <a:pt x="770" y="1679"/>
                    </a:lnTo>
                    <a:lnTo>
                      <a:pt x="769" y="1679"/>
                    </a:lnTo>
                    <a:lnTo>
                      <a:pt x="765" y="1677"/>
                    </a:lnTo>
                    <a:lnTo>
                      <a:pt x="761" y="1677"/>
                    </a:lnTo>
                    <a:lnTo>
                      <a:pt x="757" y="1677"/>
                    </a:lnTo>
                    <a:lnTo>
                      <a:pt x="757" y="1679"/>
                    </a:lnTo>
                    <a:lnTo>
                      <a:pt x="751" y="1679"/>
                    </a:lnTo>
                    <a:lnTo>
                      <a:pt x="751" y="1677"/>
                    </a:lnTo>
                    <a:lnTo>
                      <a:pt x="746" y="1677"/>
                    </a:lnTo>
                    <a:lnTo>
                      <a:pt x="744" y="1675"/>
                    </a:lnTo>
                    <a:lnTo>
                      <a:pt x="742" y="1675"/>
                    </a:lnTo>
                    <a:lnTo>
                      <a:pt x="740" y="1675"/>
                    </a:lnTo>
                    <a:lnTo>
                      <a:pt x="738" y="1673"/>
                    </a:lnTo>
                    <a:lnTo>
                      <a:pt x="738" y="1669"/>
                    </a:lnTo>
                    <a:lnTo>
                      <a:pt x="736" y="1663"/>
                    </a:lnTo>
                    <a:lnTo>
                      <a:pt x="736" y="1660"/>
                    </a:lnTo>
                    <a:lnTo>
                      <a:pt x="734" y="1658"/>
                    </a:lnTo>
                    <a:lnTo>
                      <a:pt x="732" y="1660"/>
                    </a:lnTo>
                    <a:lnTo>
                      <a:pt x="730" y="1658"/>
                    </a:lnTo>
                    <a:lnTo>
                      <a:pt x="730" y="1667"/>
                    </a:lnTo>
                    <a:lnTo>
                      <a:pt x="704" y="1667"/>
                    </a:lnTo>
                    <a:lnTo>
                      <a:pt x="702" y="1667"/>
                    </a:lnTo>
                    <a:lnTo>
                      <a:pt x="677" y="1667"/>
                    </a:lnTo>
                    <a:lnTo>
                      <a:pt x="650" y="1667"/>
                    </a:lnTo>
                    <a:lnTo>
                      <a:pt x="622" y="1667"/>
                    </a:lnTo>
                    <a:lnTo>
                      <a:pt x="599" y="1667"/>
                    </a:lnTo>
                    <a:lnTo>
                      <a:pt x="570" y="1667"/>
                    </a:lnTo>
                    <a:lnTo>
                      <a:pt x="547" y="1667"/>
                    </a:lnTo>
                    <a:lnTo>
                      <a:pt x="523" y="1667"/>
                    </a:lnTo>
                    <a:lnTo>
                      <a:pt x="498" y="1667"/>
                    </a:lnTo>
                    <a:lnTo>
                      <a:pt x="475" y="1667"/>
                    </a:lnTo>
                    <a:lnTo>
                      <a:pt x="450" y="1667"/>
                    </a:lnTo>
                    <a:lnTo>
                      <a:pt x="423" y="1667"/>
                    </a:lnTo>
                    <a:lnTo>
                      <a:pt x="397" y="1667"/>
                    </a:lnTo>
                    <a:lnTo>
                      <a:pt x="366" y="1667"/>
                    </a:lnTo>
                    <a:lnTo>
                      <a:pt x="343" y="1667"/>
                    </a:lnTo>
                    <a:lnTo>
                      <a:pt x="315" y="1667"/>
                    </a:lnTo>
                    <a:lnTo>
                      <a:pt x="292" y="1667"/>
                    </a:lnTo>
                    <a:lnTo>
                      <a:pt x="290" y="1667"/>
                    </a:lnTo>
                    <a:lnTo>
                      <a:pt x="290" y="1665"/>
                    </a:lnTo>
                    <a:lnTo>
                      <a:pt x="286" y="1665"/>
                    </a:lnTo>
                    <a:lnTo>
                      <a:pt x="286" y="1667"/>
                    </a:lnTo>
                    <a:lnTo>
                      <a:pt x="286" y="1665"/>
                    </a:lnTo>
                    <a:lnTo>
                      <a:pt x="284" y="1667"/>
                    </a:lnTo>
                    <a:lnTo>
                      <a:pt x="286" y="1665"/>
                    </a:lnTo>
                    <a:lnTo>
                      <a:pt x="284" y="1665"/>
                    </a:lnTo>
                    <a:lnTo>
                      <a:pt x="284" y="1663"/>
                    </a:lnTo>
                    <a:lnTo>
                      <a:pt x="284" y="1662"/>
                    </a:lnTo>
                    <a:lnTo>
                      <a:pt x="282" y="1662"/>
                    </a:lnTo>
                    <a:lnTo>
                      <a:pt x="284" y="1662"/>
                    </a:lnTo>
                    <a:lnTo>
                      <a:pt x="282" y="1662"/>
                    </a:lnTo>
                    <a:lnTo>
                      <a:pt x="284" y="1662"/>
                    </a:lnTo>
                    <a:lnTo>
                      <a:pt x="282" y="1662"/>
                    </a:lnTo>
                    <a:lnTo>
                      <a:pt x="284" y="1662"/>
                    </a:lnTo>
                    <a:lnTo>
                      <a:pt x="286" y="1662"/>
                    </a:lnTo>
                    <a:lnTo>
                      <a:pt x="284" y="1660"/>
                    </a:lnTo>
                    <a:lnTo>
                      <a:pt x="286" y="1660"/>
                    </a:lnTo>
                    <a:lnTo>
                      <a:pt x="288" y="1660"/>
                    </a:lnTo>
                    <a:lnTo>
                      <a:pt x="290" y="1660"/>
                    </a:lnTo>
                    <a:lnTo>
                      <a:pt x="288" y="1660"/>
                    </a:lnTo>
                    <a:lnTo>
                      <a:pt x="290" y="1660"/>
                    </a:lnTo>
                    <a:lnTo>
                      <a:pt x="290" y="1658"/>
                    </a:lnTo>
                    <a:lnTo>
                      <a:pt x="290" y="1656"/>
                    </a:lnTo>
                    <a:lnTo>
                      <a:pt x="290" y="1658"/>
                    </a:lnTo>
                    <a:lnTo>
                      <a:pt x="288" y="1660"/>
                    </a:lnTo>
                    <a:lnTo>
                      <a:pt x="286" y="1660"/>
                    </a:lnTo>
                    <a:lnTo>
                      <a:pt x="284" y="1660"/>
                    </a:lnTo>
                    <a:lnTo>
                      <a:pt x="282" y="1660"/>
                    </a:lnTo>
                    <a:lnTo>
                      <a:pt x="282" y="1658"/>
                    </a:lnTo>
                    <a:lnTo>
                      <a:pt x="284" y="1658"/>
                    </a:lnTo>
                    <a:lnTo>
                      <a:pt x="284" y="1654"/>
                    </a:lnTo>
                    <a:lnTo>
                      <a:pt x="284" y="1652"/>
                    </a:lnTo>
                    <a:lnTo>
                      <a:pt x="284" y="1650"/>
                    </a:lnTo>
                    <a:lnTo>
                      <a:pt x="284" y="1652"/>
                    </a:lnTo>
                    <a:lnTo>
                      <a:pt x="282" y="1654"/>
                    </a:lnTo>
                    <a:lnTo>
                      <a:pt x="280" y="1654"/>
                    </a:lnTo>
                    <a:lnTo>
                      <a:pt x="280" y="1656"/>
                    </a:lnTo>
                    <a:lnTo>
                      <a:pt x="280" y="1658"/>
                    </a:lnTo>
                    <a:lnTo>
                      <a:pt x="278" y="1658"/>
                    </a:lnTo>
                    <a:lnTo>
                      <a:pt x="277" y="1656"/>
                    </a:lnTo>
                    <a:lnTo>
                      <a:pt x="275" y="1656"/>
                    </a:lnTo>
                    <a:lnTo>
                      <a:pt x="273" y="1656"/>
                    </a:lnTo>
                    <a:lnTo>
                      <a:pt x="273" y="1654"/>
                    </a:lnTo>
                    <a:lnTo>
                      <a:pt x="271" y="1654"/>
                    </a:lnTo>
                    <a:lnTo>
                      <a:pt x="271" y="1652"/>
                    </a:lnTo>
                    <a:lnTo>
                      <a:pt x="271" y="1650"/>
                    </a:lnTo>
                    <a:lnTo>
                      <a:pt x="273" y="1648"/>
                    </a:lnTo>
                    <a:lnTo>
                      <a:pt x="273" y="1650"/>
                    </a:lnTo>
                    <a:lnTo>
                      <a:pt x="275" y="1654"/>
                    </a:lnTo>
                    <a:lnTo>
                      <a:pt x="275" y="1656"/>
                    </a:lnTo>
                    <a:lnTo>
                      <a:pt x="275" y="1654"/>
                    </a:lnTo>
                    <a:lnTo>
                      <a:pt x="275" y="1652"/>
                    </a:lnTo>
                    <a:lnTo>
                      <a:pt x="277" y="1652"/>
                    </a:lnTo>
                    <a:lnTo>
                      <a:pt x="278" y="1650"/>
                    </a:lnTo>
                    <a:lnTo>
                      <a:pt x="277" y="1652"/>
                    </a:lnTo>
                    <a:lnTo>
                      <a:pt x="275" y="1652"/>
                    </a:lnTo>
                    <a:lnTo>
                      <a:pt x="275" y="1650"/>
                    </a:lnTo>
                    <a:lnTo>
                      <a:pt x="277" y="1650"/>
                    </a:lnTo>
                    <a:lnTo>
                      <a:pt x="277" y="1648"/>
                    </a:lnTo>
                    <a:lnTo>
                      <a:pt x="275" y="1650"/>
                    </a:lnTo>
                    <a:lnTo>
                      <a:pt x="273" y="1648"/>
                    </a:lnTo>
                    <a:lnTo>
                      <a:pt x="273" y="1646"/>
                    </a:lnTo>
                    <a:lnTo>
                      <a:pt x="273" y="1644"/>
                    </a:lnTo>
                    <a:lnTo>
                      <a:pt x="273" y="1643"/>
                    </a:lnTo>
                    <a:lnTo>
                      <a:pt x="275" y="1643"/>
                    </a:lnTo>
                    <a:lnTo>
                      <a:pt x="275" y="1641"/>
                    </a:lnTo>
                    <a:lnTo>
                      <a:pt x="277" y="1641"/>
                    </a:lnTo>
                    <a:lnTo>
                      <a:pt x="275" y="1639"/>
                    </a:lnTo>
                    <a:lnTo>
                      <a:pt x="271" y="1639"/>
                    </a:lnTo>
                    <a:lnTo>
                      <a:pt x="273" y="1639"/>
                    </a:lnTo>
                    <a:lnTo>
                      <a:pt x="275" y="1639"/>
                    </a:lnTo>
                    <a:lnTo>
                      <a:pt x="275" y="1641"/>
                    </a:lnTo>
                    <a:lnTo>
                      <a:pt x="271" y="1643"/>
                    </a:lnTo>
                    <a:lnTo>
                      <a:pt x="273" y="1644"/>
                    </a:lnTo>
                    <a:lnTo>
                      <a:pt x="273" y="1646"/>
                    </a:lnTo>
                    <a:lnTo>
                      <a:pt x="273" y="1648"/>
                    </a:lnTo>
                    <a:lnTo>
                      <a:pt x="271" y="1648"/>
                    </a:lnTo>
                    <a:lnTo>
                      <a:pt x="271" y="1646"/>
                    </a:lnTo>
                    <a:lnTo>
                      <a:pt x="271" y="1644"/>
                    </a:lnTo>
                    <a:lnTo>
                      <a:pt x="271" y="1646"/>
                    </a:lnTo>
                    <a:lnTo>
                      <a:pt x="271" y="1648"/>
                    </a:lnTo>
                    <a:lnTo>
                      <a:pt x="269" y="1648"/>
                    </a:lnTo>
                    <a:lnTo>
                      <a:pt x="267" y="1648"/>
                    </a:lnTo>
                    <a:lnTo>
                      <a:pt x="267" y="1650"/>
                    </a:lnTo>
                    <a:lnTo>
                      <a:pt x="267" y="1648"/>
                    </a:lnTo>
                    <a:lnTo>
                      <a:pt x="265" y="1648"/>
                    </a:lnTo>
                    <a:lnTo>
                      <a:pt x="263" y="1648"/>
                    </a:lnTo>
                    <a:lnTo>
                      <a:pt x="263" y="1646"/>
                    </a:lnTo>
                    <a:lnTo>
                      <a:pt x="263" y="1643"/>
                    </a:lnTo>
                    <a:lnTo>
                      <a:pt x="267" y="1643"/>
                    </a:lnTo>
                    <a:lnTo>
                      <a:pt x="265" y="1643"/>
                    </a:lnTo>
                    <a:lnTo>
                      <a:pt x="267" y="1641"/>
                    </a:lnTo>
                    <a:lnTo>
                      <a:pt x="265" y="1641"/>
                    </a:lnTo>
                    <a:lnTo>
                      <a:pt x="265" y="1639"/>
                    </a:lnTo>
                    <a:lnTo>
                      <a:pt x="265" y="1637"/>
                    </a:lnTo>
                    <a:lnTo>
                      <a:pt x="265" y="1639"/>
                    </a:lnTo>
                    <a:lnTo>
                      <a:pt x="265" y="1641"/>
                    </a:lnTo>
                    <a:lnTo>
                      <a:pt x="263" y="1641"/>
                    </a:lnTo>
                    <a:lnTo>
                      <a:pt x="263" y="1643"/>
                    </a:lnTo>
                    <a:lnTo>
                      <a:pt x="263" y="1646"/>
                    </a:lnTo>
                    <a:lnTo>
                      <a:pt x="259" y="1644"/>
                    </a:lnTo>
                    <a:lnTo>
                      <a:pt x="259" y="1643"/>
                    </a:lnTo>
                    <a:lnTo>
                      <a:pt x="257" y="1641"/>
                    </a:lnTo>
                    <a:lnTo>
                      <a:pt x="259" y="1641"/>
                    </a:lnTo>
                    <a:lnTo>
                      <a:pt x="259" y="1643"/>
                    </a:lnTo>
                    <a:lnTo>
                      <a:pt x="261" y="1644"/>
                    </a:lnTo>
                    <a:lnTo>
                      <a:pt x="259" y="1643"/>
                    </a:lnTo>
                    <a:lnTo>
                      <a:pt x="259" y="1641"/>
                    </a:lnTo>
                    <a:lnTo>
                      <a:pt x="261" y="1641"/>
                    </a:lnTo>
                    <a:lnTo>
                      <a:pt x="259" y="1641"/>
                    </a:lnTo>
                    <a:lnTo>
                      <a:pt x="259" y="1643"/>
                    </a:lnTo>
                    <a:lnTo>
                      <a:pt x="259" y="1641"/>
                    </a:lnTo>
                    <a:lnTo>
                      <a:pt x="259" y="1643"/>
                    </a:lnTo>
                    <a:lnTo>
                      <a:pt x="259" y="1641"/>
                    </a:lnTo>
                    <a:lnTo>
                      <a:pt x="261" y="1641"/>
                    </a:lnTo>
                    <a:lnTo>
                      <a:pt x="259" y="1641"/>
                    </a:lnTo>
                    <a:lnTo>
                      <a:pt x="261" y="1639"/>
                    </a:lnTo>
                    <a:lnTo>
                      <a:pt x="261" y="1637"/>
                    </a:lnTo>
                    <a:lnTo>
                      <a:pt x="261" y="1635"/>
                    </a:lnTo>
                    <a:lnTo>
                      <a:pt x="259" y="1635"/>
                    </a:lnTo>
                    <a:lnTo>
                      <a:pt x="261" y="1635"/>
                    </a:lnTo>
                    <a:lnTo>
                      <a:pt x="261" y="1633"/>
                    </a:lnTo>
                    <a:lnTo>
                      <a:pt x="263" y="1633"/>
                    </a:lnTo>
                    <a:lnTo>
                      <a:pt x="265" y="1633"/>
                    </a:lnTo>
                    <a:lnTo>
                      <a:pt x="265" y="1631"/>
                    </a:lnTo>
                    <a:lnTo>
                      <a:pt x="263" y="1633"/>
                    </a:lnTo>
                    <a:lnTo>
                      <a:pt x="261" y="1633"/>
                    </a:lnTo>
                    <a:lnTo>
                      <a:pt x="259" y="1633"/>
                    </a:lnTo>
                    <a:lnTo>
                      <a:pt x="257" y="1635"/>
                    </a:lnTo>
                    <a:lnTo>
                      <a:pt x="256" y="1635"/>
                    </a:lnTo>
                    <a:lnTo>
                      <a:pt x="257" y="1633"/>
                    </a:lnTo>
                    <a:lnTo>
                      <a:pt x="256" y="1633"/>
                    </a:lnTo>
                    <a:lnTo>
                      <a:pt x="256" y="1631"/>
                    </a:lnTo>
                    <a:lnTo>
                      <a:pt x="256" y="1633"/>
                    </a:lnTo>
                    <a:lnTo>
                      <a:pt x="256" y="1635"/>
                    </a:lnTo>
                    <a:lnTo>
                      <a:pt x="254" y="1635"/>
                    </a:lnTo>
                    <a:lnTo>
                      <a:pt x="256" y="1633"/>
                    </a:lnTo>
                    <a:lnTo>
                      <a:pt x="256" y="1631"/>
                    </a:lnTo>
                    <a:lnTo>
                      <a:pt x="257" y="1629"/>
                    </a:lnTo>
                    <a:lnTo>
                      <a:pt x="256" y="1629"/>
                    </a:lnTo>
                    <a:lnTo>
                      <a:pt x="257" y="1629"/>
                    </a:lnTo>
                    <a:lnTo>
                      <a:pt x="257" y="1627"/>
                    </a:lnTo>
                    <a:lnTo>
                      <a:pt x="257" y="1625"/>
                    </a:lnTo>
                    <a:lnTo>
                      <a:pt x="257" y="1623"/>
                    </a:lnTo>
                    <a:lnTo>
                      <a:pt x="257" y="1622"/>
                    </a:lnTo>
                    <a:lnTo>
                      <a:pt x="259" y="1622"/>
                    </a:lnTo>
                    <a:lnTo>
                      <a:pt x="257" y="1620"/>
                    </a:lnTo>
                    <a:lnTo>
                      <a:pt x="257" y="1622"/>
                    </a:lnTo>
                    <a:lnTo>
                      <a:pt x="256" y="1622"/>
                    </a:lnTo>
                    <a:lnTo>
                      <a:pt x="256" y="1623"/>
                    </a:lnTo>
                    <a:lnTo>
                      <a:pt x="257" y="1625"/>
                    </a:lnTo>
                    <a:lnTo>
                      <a:pt x="257" y="1627"/>
                    </a:lnTo>
                    <a:lnTo>
                      <a:pt x="256" y="1629"/>
                    </a:lnTo>
                    <a:lnTo>
                      <a:pt x="254" y="1631"/>
                    </a:lnTo>
                    <a:lnTo>
                      <a:pt x="254" y="1633"/>
                    </a:lnTo>
                    <a:lnTo>
                      <a:pt x="252" y="1633"/>
                    </a:lnTo>
                    <a:lnTo>
                      <a:pt x="252" y="1631"/>
                    </a:lnTo>
                    <a:lnTo>
                      <a:pt x="250" y="1631"/>
                    </a:lnTo>
                    <a:lnTo>
                      <a:pt x="250" y="1629"/>
                    </a:lnTo>
                    <a:lnTo>
                      <a:pt x="250" y="1631"/>
                    </a:lnTo>
                    <a:lnTo>
                      <a:pt x="248" y="1631"/>
                    </a:lnTo>
                    <a:lnTo>
                      <a:pt x="246" y="1631"/>
                    </a:lnTo>
                    <a:lnTo>
                      <a:pt x="248" y="1629"/>
                    </a:lnTo>
                    <a:lnTo>
                      <a:pt x="248" y="1627"/>
                    </a:lnTo>
                    <a:lnTo>
                      <a:pt x="248" y="1625"/>
                    </a:lnTo>
                    <a:lnTo>
                      <a:pt x="250" y="1625"/>
                    </a:lnTo>
                    <a:lnTo>
                      <a:pt x="248" y="1625"/>
                    </a:lnTo>
                    <a:lnTo>
                      <a:pt x="246" y="1627"/>
                    </a:lnTo>
                    <a:lnTo>
                      <a:pt x="246" y="1629"/>
                    </a:lnTo>
                    <a:lnTo>
                      <a:pt x="246" y="1631"/>
                    </a:lnTo>
                    <a:lnTo>
                      <a:pt x="244" y="1633"/>
                    </a:lnTo>
                    <a:lnTo>
                      <a:pt x="244" y="1631"/>
                    </a:lnTo>
                    <a:lnTo>
                      <a:pt x="242" y="1631"/>
                    </a:lnTo>
                    <a:lnTo>
                      <a:pt x="244" y="1631"/>
                    </a:lnTo>
                    <a:lnTo>
                      <a:pt x="242" y="1631"/>
                    </a:lnTo>
                    <a:lnTo>
                      <a:pt x="244" y="1629"/>
                    </a:lnTo>
                    <a:lnTo>
                      <a:pt x="242" y="1629"/>
                    </a:lnTo>
                    <a:lnTo>
                      <a:pt x="242" y="1631"/>
                    </a:lnTo>
                    <a:lnTo>
                      <a:pt x="240" y="1631"/>
                    </a:lnTo>
                    <a:lnTo>
                      <a:pt x="238" y="1631"/>
                    </a:lnTo>
                    <a:lnTo>
                      <a:pt x="235" y="1631"/>
                    </a:lnTo>
                    <a:lnTo>
                      <a:pt x="235" y="1629"/>
                    </a:lnTo>
                    <a:lnTo>
                      <a:pt x="236" y="1629"/>
                    </a:lnTo>
                    <a:lnTo>
                      <a:pt x="236" y="1631"/>
                    </a:lnTo>
                    <a:lnTo>
                      <a:pt x="236" y="1629"/>
                    </a:lnTo>
                    <a:lnTo>
                      <a:pt x="240" y="1627"/>
                    </a:lnTo>
                    <a:lnTo>
                      <a:pt x="236" y="1629"/>
                    </a:lnTo>
                    <a:lnTo>
                      <a:pt x="235" y="1627"/>
                    </a:lnTo>
                    <a:lnTo>
                      <a:pt x="236" y="1627"/>
                    </a:lnTo>
                    <a:lnTo>
                      <a:pt x="235" y="1627"/>
                    </a:lnTo>
                    <a:lnTo>
                      <a:pt x="238" y="1627"/>
                    </a:lnTo>
                    <a:lnTo>
                      <a:pt x="240" y="1627"/>
                    </a:lnTo>
                    <a:lnTo>
                      <a:pt x="244" y="1625"/>
                    </a:lnTo>
                    <a:lnTo>
                      <a:pt x="244" y="1627"/>
                    </a:lnTo>
                    <a:lnTo>
                      <a:pt x="244" y="1625"/>
                    </a:lnTo>
                    <a:lnTo>
                      <a:pt x="246" y="1623"/>
                    </a:lnTo>
                    <a:lnTo>
                      <a:pt x="246" y="1622"/>
                    </a:lnTo>
                    <a:lnTo>
                      <a:pt x="248" y="1620"/>
                    </a:lnTo>
                    <a:lnTo>
                      <a:pt x="248" y="1618"/>
                    </a:lnTo>
                    <a:lnTo>
                      <a:pt x="246" y="1616"/>
                    </a:lnTo>
                    <a:lnTo>
                      <a:pt x="246" y="1618"/>
                    </a:lnTo>
                    <a:lnTo>
                      <a:pt x="246" y="1620"/>
                    </a:lnTo>
                    <a:lnTo>
                      <a:pt x="246" y="1622"/>
                    </a:lnTo>
                    <a:lnTo>
                      <a:pt x="244" y="1622"/>
                    </a:lnTo>
                    <a:lnTo>
                      <a:pt x="246" y="1623"/>
                    </a:lnTo>
                    <a:lnTo>
                      <a:pt x="244" y="1623"/>
                    </a:lnTo>
                    <a:lnTo>
                      <a:pt x="244" y="1625"/>
                    </a:lnTo>
                    <a:lnTo>
                      <a:pt x="240" y="1625"/>
                    </a:lnTo>
                    <a:lnTo>
                      <a:pt x="238" y="1625"/>
                    </a:lnTo>
                    <a:lnTo>
                      <a:pt x="236" y="1627"/>
                    </a:lnTo>
                    <a:lnTo>
                      <a:pt x="236" y="1625"/>
                    </a:lnTo>
                    <a:lnTo>
                      <a:pt x="238" y="1623"/>
                    </a:lnTo>
                    <a:lnTo>
                      <a:pt x="240" y="1623"/>
                    </a:lnTo>
                    <a:lnTo>
                      <a:pt x="238" y="1623"/>
                    </a:lnTo>
                    <a:lnTo>
                      <a:pt x="236" y="1623"/>
                    </a:lnTo>
                    <a:lnTo>
                      <a:pt x="236" y="1622"/>
                    </a:lnTo>
                    <a:lnTo>
                      <a:pt x="235" y="1622"/>
                    </a:lnTo>
                    <a:lnTo>
                      <a:pt x="233" y="1623"/>
                    </a:lnTo>
                    <a:lnTo>
                      <a:pt x="231" y="1623"/>
                    </a:lnTo>
                    <a:lnTo>
                      <a:pt x="233" y="1622"/>
                    </a:lnTo>
                    <a:lnTo>
                      <a:pt x="231" y="1622"/>
                    </a:lnTo>
                    <a:lnTo>
                      <a:pt x="233" y="1622"/>
                    </a:lnTo>
                    <a:lnTo>
                      <a:pt x="231" y="1622"/>
                    </a:lnTo>
                    <a:lnTo>
                      <a:pt x="231" y="1620"/>
                    </a:lnTo>
                    <a:lnTo>
                      <a:pt x="233" y="1620"/>
                    </a:lnTo>
                    <a:lnTo>
                      <a:pt x="233" y="1622"/>
                    </a:lnTo>
                    <a:lnTo>
                      <a:pt x="233" y="1620"/>
                    </a:lnTo>
                    <a:lnTo>
                      <a:pt x="236" y="1620"/>
                    </a:lnTo>
                    <a:lnTo>
                      <a:pt x="233" y="1620"/>
                    </a:lnTo>
                    <a:lnTo>
                      <a:pt x="231" y="1618"/>
                    </a:lnTo>
                    <a:lnTo>
                      <a:pt x="231" y="1620"/>
                    </a:lnTo>
                    <a:lnTo>
                      <a:pt x="229" y="1622"/>
                    </a:lnTo>
                    <a:lnTo>
                      <a:pt x="227" y="1620"/>
                    </a:lnTo>
                    <a:lnTo>
                      <a:pt x="229" y="1620"/>
                    </a:lnTo>
                    <a:lnTo>
                      <a:pt x="227" y="1620"/>
                    </a:lnTo>
                    <a:lnTo>
                      <a:pt x="225" y="1620"/>
                    </a:lnTo>
                    <a:lnTo>
                      <a:pt x="225" y="1622"/>
                    </a:lnTo>
                    <a:lnTo>
                      <a:pt x="223" y="1620"/>
                    </a:lnTo>
                    <a:lnTo>
                      <a:pt x="221" y="1620"/>
                    </a:lnTo>
                    <a:lnTo>
                      <a:pt x="223" y="1620"/>
                    </a:lnTo>
                    <a:lnTo>
                      <a:pt x="223" y="1618"/>
                    </a:lnTo>
                    <a:lnTo>
                      <a:pt x="223" y="1620"/>
                    </a:lnTo>
                    <a:lnTo>
                      <a:pt x="221" y="1620"/>
                    </a:lnTo>
                    <a:lnTo>
                      <a:pt x="223" y="1620"/>
                    </a:lnTo>
                    <a:lnTo>
                      <a:pt x="223" y="1622"/>
                    </a:lnTo>
                    <a:lnTo>
                      <a:pt x="225" y="1622"/>
                    </a:lnTo>
                    <a:lnTo>
                      <a:pt x="223" y="1622"/>
                    </a:lnTo>
                    <a:lnTo>
                      <a:pt x="223" y="1623"/>
                    </a:lnTo>
                    <a:lnTo>
                      <a:pt x="223" y="1622"/>
                    </a:lnTo>
                    <a:lnTo>
                      <a:pt x="223" y="1623"/>
                    </a:lnTo>
                    <a:lnTo>
                      <a:pt x="223" y="1622"/>
                    </a:lnTo>
                    <a:lnTo>
                      <a:pt x="221" y="1622"/>
                    </a:lnTo>
                    <a:lnTo>
                      <a:pt x="219" y="1620"/>
                    </a:lnTo>
                    <a:lnTo>
                      <a:pt x="217" y="1620"/>
                    </a:lnTo>
                    <a:lnTo>
                      <a:pt x="216" y="1620"/>
                    </a:lnTo>
                    <a:lnTo>
                      <a:pt x="217" y="1620"/>
                    </a:lnTo>
                    <a:lnTo>
                      <a:pt x="216" y="1618"/>
                    </a:lnTo>
                    <a:lnTo>
                      <a:pt x="216" y="1616"/>
                    </a:lnTo>
                    <a:lnTo>
                      <a:pt x="217" y="1616"/>
                    </a:lnTo>
                    <a:lnTo>
                      <a:pt x="219" y="1618"/>
                    </a:lnTo>
                    <a:lnTo>
                      <a:pt x="223" y="1616"/>
                    </a:lnTo>
                    <a:lnTo>
                      <a:pt x="223" y="1618"/>
                    </a:lnTo>
                    <a:lnTo>
                      <a:pt x="223" y="1616"/>
                    </a:lnTo>
                    <a:lnTo>
                      <a:pt x="227" y="1616"/>
                    </a:lnTo>
                    <a:lnTo>
                      <a:pt x="229" y="1616"/>
                    </a:lnTo>
                    <a:lnTo>
                      <a:pt x="229" y="1614"/>
                    </a:lnTo>
                    <a:lnTo>
                      <a:pt x="227" y="1616"/>
                    </a:lnTo>
                    <a:lnTo>
                      <a:pt x="225" y="1616"/>
                    </a:lnTo>
                    <a:lnTo>
                      <a:pt x="223" y="1616"/>
                    </a:lnTo>
                    <a:lnTo>
                      <a:pt x="221" y="1616"/>
                    </a:lnTo>
                    <a:lnTo>
                      <a:pt x="217" y="1616"/>
                    </a:lnTo>
                    <a:lnTo>
                      <a:pt x="219" y="1618"/>
                    </a:lnTo>
                    <a:lnTo>
                      <a:pt x="216" y="1616"/>
                    </a:lnTo>
                    <a:lnTo>
                      <a:pt x="221" y="1616"/>
                    </a:lnTo>
                    <a:lnTo>
                      <a:pt x="216" y="1616"/>
                    </a:lnTo>
                    <a:lnTo>
                      <a:pt x="216" y="1614"/>
                    </a:lnTo>
                    <a:lnTo>
                      <a:pt x="219" y="1614"/>
                    </a:lnTo>
                    <a:lnTo>
                      <a:pt x="223" y="1616"/>
                    </a:lnTo>
                    <a:lnTo>
                      <a:pt x="225" y="1616"/>
                    </a:lnTo>
                    <a:lnTo>
                      <a:pt x="221" y="1616"/>
                    </a:lnTo>
                    <a:lnTo>
                      <a:pt x="221" y="1614"/>
                    </a:lnTo>
                    <a:lnTo>
                      <a:pt x="223" y="1614"/>
                    </a:lnTo>
                    <a:lnTo>
                      <a:pt x="225" y="1614"/>
                    </a:lnTo>
                    <a:lnTo>
                      <a:pt x="223" y="1614"/>
                    </a:lnTo>
                    <a:lnTo>
                      <a:pt x="221" y="1614"/>
                    </a:lnTo>
                    <a:lnTo>
                      <a:pt x="219" y="1614"/>
                    </a:lnTo>
                    <a:lnTo>
                      <a:pt x="217" y="1614"/>
                    </a:lnTo>
                    <a:lnTo>
                      <a:pt x="217" y="1612"/>
                    </a:lnTo>
                    <a:lnTo>
                      <a:pt x="217" y="1614"/>
                    </a:lnTo>
                    <a:lnTo>
                      <a:pt x="219" y="1614"/>
                    </a:lnTo>
                    <a:lnTo>
                      <a:pt x="219" y="1612"/>
                    </a:lnTo>
                    <a:lnTo>
                      <a:pt x="219" y="1614"/>
                    </a:lnTo>
                    <a:lnTo>
                      <a:pt x="217" y="1612"/>
                    </a:lnTo>
                    <a:lnTo>
                      <a:pt x="217" y="1614"/>
                    </a:lnTo>
                    <a:lnTo>
                      <a:pt x="216" y="1614"/>
                    </a:lnTo>
                    <a:lnTo>
                      <a:pt x="217" y="1614"/>
                    </a:lnTo>
                    <a:lnTo>
                      <a:pt x="216" y="1614"/>
                    </a:lnTo>
                    <a:lnTo>
                      <a:pt x="217" y="1614"/>
                    </a:lnTo>
                    <a:lnTo>
                      <a:pt x="216" y="1614"/>
                    </a:lnTo>
                    <a:lnTo>
                      <a:pt x="214" y="1614"/>
                    </a:lnTo>
                    <a:lnTo>
                      <a:pt x="216" y="1616"/>
                    </a:lnTo>
                    <a:lnTo>
                      <a:pt x="214" y="1616"/>
                    </a:lnTo>
                    <a:lnTo>
                      <a:pt x="214" y="1614"/>
                    </a:lnTo>
                    <a:lnTo>
                      <a:pt x="212" y="1614"/>
                    </a:lnTo>
                    <a:lnTo>
                      <a:pt x="212" y="1612"/>
                    </a:lnTo>
                    <a:lnTo>
                      <a:pt x="214" y="1610"/>
                    </a:lnTo>
                    <a:lnTo>
                      <a:pt x="214" y="1612"/>
                    </a:lnTo>
                    <a:lnTo>
                      <a:pt x="214" y="1610"/>
                    </a:lnTo>
                    <a:lnTo>
                      <a:pt x="216" y="1610"/>
                    </a:lnTo>
                    <a:lnTo>
                      <a:pt x="214" y="1612"/>
                    </a:lnTo>
                    <a:lnTo>
                      <a:pt x="217" y="1612"/>
                    </a:lnTo>
                    <a:lnTo>
                      <a:pt x="216" y="1610"/>
                    </a:lnTo>
                    <a:lnTo>
                      <a:pt x="217" y="1610"/>
                    </a:lnTo>
                    <a:lnTo>
                      <a:pt x="221" y="1610"/>
                    </a:lnTo>
                    <a:lnTo>
                      <a:pt x="221" y="1608"/>
                    </a:lnTo>
                    <a:lnTo>
                      <a:pt x="223" y="1608"/>
                    </a:lnTo>
                    <a:lnTo>
                      <a:pt x="221" y="1608"/>
                    </a:lnTo>
                    <a:lnTo>
                      <a:pt x="221" y="1610"/>
                    </a:lnTo>
                    <a:lnTo>
                      <a:pt x="219" y="1610"/>
                    </a:lnTo>
                    <a:lnTo>
                      <a:pt x="217" y="1610"/>
                    </a:lnTo>
                    <a:lnTo>
                      <a:pt x="219" y="1610"/>
                    </a:lnTo>
                    <a:lnTo>
                      <a:pt x="217" y="1610"/>
                    </a:lnTo>
                    <a:lnTo>
                      <a:pt x="221" y="1608"/>
                    </a:lnTo>
                    <a:lnTo>
                      <a:pt x="217" y="1610"/>
                    </a:lnTo>
                    <a:lnTo>
                      <a:pt x="216" y="1610"/>
                    </a:lnTo>
                    <a:lnTo>
                      <a:pt x="212" y="1610"/>
                    </a:lnTo>
                    <a:lnTo>
                      <a:pt x="212" y="1608"/>
                    </a:lnTo>
                    <a:lnTo>
                      <a:pt x="214" y="1608"/>
                    </a:lnTo>
                    <a:lnTo>
                      <a:pt x="214" y="1606"/>
                    </a:lnTo>
                    <a:lnTo>
                      <a:pt x="216" y="1606"/>
                    </a:lnTo>
                    <a:lnTo>
                      <a:pt x="216" y="1604"/>
                    </a:lnTo>
                    <a:lnTo>
                      <a:pt x="216" y="1606"/>
                    </a:lnTo>
                    <a:lnTo>
                      <a:pt x="216" y="1604"/>
                    </a:lnTo>
                    <a:lnTo>
                      <a:pt x="216" y="1602"/>
                    </a:lnTo>
                    <a:lnTo>
                      <a:pt x="219" y="1601"/>
                    </a:lnTo>
                    <a:lnTo>
                      <a:pt x="217" y="1601"/>
                    </a:lnTo>
                    <a:lnTo>
                      <a:pt x="217" y="1599"/>
                    </a:lnTo>
                    <a:lnTo>
                      <a:pt x="217" y="1597"/>
                    </a:lnTo>
                    <a:lnTo>
                      <a:pt x="217" y="1595"/>
                    </a:lnTo>
                    <a:lnTo>
                      <a:pt x="217" y="1599"/>
                    </a:lnTo>
                    <a:lnTo>
                      <a:pt x="217" y="1601"/>
                    </a:lnTo>
                    <a:lnTo>
                      <a:pt x="216" y="1601"/>
                    </a:lnTo>
                    <a:lnTo>
                      <a:pt x="214" y="1601"/>
                    </a:lnTo>
                    <a:lnTo>
                      <a:pt x="216" y="1601"/>
                    </a:lnTo>
                    <a:lnTo>
                      <a:pt x="217" y="1601"/>
                    </a:lnTo>
                    <a:lnTo>
                      <a:pt x="216" y="1601"/>
                    </a:lnTo>
                    <a:lnTo>
                      <a:pt x="216" y="1602"/>
                    </a:lnTo>
                    <a:lnTo>
                      <a:pt x="216" y="1601"/>
                    </a:lnTo>
                    <a:lnTo>
                      <a:pt x="216" y="1602"/>
                    </a:lnTo>
                    <a:lnTo>
                      <a:pt x="214" y="1604"/>
                    </a:lnTo>
                    <a:lnTo>
                      <a:pt x="212" y="1604"/>
                    </a:lnTo>
                    <a:lnTo>
                      <a:pt x="212" y="1602"/>
                    </a:lnTo>
                    <a:lnTo>
                      <a:pt x="210" y="1602"/>
                    </a:lnTo>
                    <a:lnTo>
                      <a:pt x="212" y="1601"/>
                    </a:lnTo>
                    <a:lnTo>
                      <a:pt x="210" y="1602"/>
                    </a:lnTo>
                    <a:lnTo>
                      <a:pt x="210" y="1601"/>
                    </a:lnTo>
                    <a:lnTo>
                      <a:pt x="210" y="1599"/>
                    </a:lnTo>
                    <a:lnTo>
                      <a:pt x="210" y="1597"/>
                    </a:lnTo>
                    <a:lnTo>
                      <a:pt x="210" y="1595"/>
                    </a:lnTo>
                    <a:lnTo>
                      <a:pt x="212" y="1593"/>
                    </a:lnTo>
                    <a:lnTo>
                      <a:pt x="212" y="1595"/>
                    </a:lnTo>
                    <a:lnTo>
                      <a:pt x="214" y="1593"/>
                    </a:lnTo>
                    <a:lnTo>
                      <a:pt x="214" y="1591"/>
                    </a:lnTo>
                    <a:lnTo>
                      <a:pt x="214" y="1589"/>
                    </a:lnTo>
                    <a:lnTo>
                      <a:pt x="216" y="1589"/>
                    </a:lnTo>
                    <a:lnTo>
                      <a:pt x="214" y="1591"/>
                    </a:lnTo>
                    <a:lnTo>
                      <a:pt x="216" y="1591"/>
                    </a:lnTo>
                    <a:lnTo>
                      <a:pt x="217" y="1589"/>
                    </a:lnTo>
                    <a:lnTo>
                      <a:pt x="216" y="1587"/>
                    </a:lnTo>
                    <a:lnTo>
                      <a:pt x="217" y="1587"/>
                    </a:lnTo>
                    <a:lnTo>
                      <a:pt x="219" y="1587"/>
                    </a:lnTo>
                    <a:lnTo>
                      <a:pt x="221" y="1583"/>
                    </a:lnTo>
                    <a:lnTo>
                      <a:pt x="223" y="1585"/>
                    </a:lnTo>
                    <a:lnTo>
                      <a:pt x="225" y="1585"/>
                    </a:lnTo>
                    <a:lnTo>
                      <a:pt x="225" y="1587"/>
                    </a:lnTo>
                    <a:lnTo>
                      <a:pt x="227" y="1589"/>
                    </a:lnTo>
                    <a:lnTo>
                      <a:pt x="229" y="1591"/>
                    </a:lnTo>
                    <a:lnTo>
                      <a:pt x="229" y="1593"/>
                    </a:lnTo>
                    <a:lnTo>
                      <a:pt x="229" y="1591"/>
                    </a:lnTo>
                    <a:lnTo>
                      <a:pt x="227" y="1589"/>
                    </a:lnTo>
                    <a:lnTo>
                      <a:pt x="225" y="1587"/>
                    </a:lnTo>
                    <a:lnTo>
                      <a:pt x="225" y="1585"/>
                    </a:lnTo>
                    <a:lnTo>
                      <a:pt x="225" y="1583"/>
                    </a:lnTo>
                    <a:lnTo>
                      <a:pt x="227" y="1583"/>
                    </a:lnTo>
                    <a:lnTo>
                      <a:pt x="227" y="1581"/>
                    </a:lnTo>
                    <a:lnTo>
                      <a:pt x="225" y="1583"/>
                    </a:lnTo>
                    <a:lnTo>
                      <a:pt x="223" y="1583"/>
                    </a:lnTo>
                    <a:lnTo>
                      <a:pt x="221" y="1583"/>
                    </a:lnTo>
                    <a:lnTo>
                      <a:pt x="221" y="1581"/>
                    </a:lnTo>
                    <a:lnTo>
                      <a:pt x="219" y="1581"/>
                    </a:lnTo>
                    <a:lnTo>
                      <a:pt x="221" y="1580"/>
                    </a:lnTo>
                    <a:lnTo>
                      <a:pt x="219" y="1580"/>
                    </a:lnTo>
                    <a:lnTo>
                      <a:pt x="221" y="1578"/>
                    </a:lnTo>
                    <a:lnTo>
                      <a:pt x="223" y="1576"/>
                    </a:lnTo>
                    <a:lnTo>
                      <a:pt x="225" y="1574"/>
                    </a:lnTo>
                    <a:lnTo>
                      <a:pt x="225" y="1572"/>
                    </a:lnTo>
                    <a:lnTo>
                      <a:pt x="223" y="1572"/>
                    </a:lnTo>
                    <a:lnTo>
                      <a:pt x="225" y="1570"/>
                    </a:lnTo>
                    <a:lnTo>
                      <a:pt x="223" y="1570"/>
                    </a:lnTo>
                    <a:lnTo>
                      <a:pt x="223" y="1572"/>
                    </a:lnTo>
                    <a:lnTo>
                      <a:pt x="225" y="1574"/>
                    </a:lnTo>
                    <a:lnTo>
                      <a:pt x="223" y="1576"/>
                    </a:lnTo>
                    <a:lnTo>
                      <a:pt x="221" y="1576"/>
                    </a:lnTo>
                    <a:lnTo>
                      <a:pt x="221" y="1578"/>
                    </a:lnTo>
                    <a:lnTo>
                      <a:pt x="221" y="1576"/>
                    </a:lnTo>
                    <a:lnTo>
                      <a:pt x="221" y="1578"/>
                    </a:lnTo>
                    <a:lnTo>
                      <a:pt x="219" y="1578"/>
                    </a:lnTo>
                    <a:lnTo>
                      <a:pt x="219" y="1580"/>
                    </a:lnTo>
                    <a:lnTo>
                      <a:pt x="219" y="1581"/>
                    </a:lnTo>
                    <a:lnTo>
                      <a:pt x="217" y="1581"/>
                    </a:lnTo>
                    <a:lnTo>
                      <a:pt x="214" y="1576"/>
                    </a:lnTo>
                    <a:lnTo>
                      <a:pt x="216" y="1581"/>
                    </a:lnTo>
                    <a:lnTo>
                      <a:pt x="217" y="1581"/>
                    </a:lnTo>
                    <a:lnTo>
                      <a:pt x="216" y="1583"/>
                    </a:lnTo>
                    <a:lnTo>
                      <a:pt x="216" y="1581"/>
                    </a:lnTo>
                    <a:lnTo>
                      <a:pt x="216" y="1583"/>
                    </a:lnTo>
                    <a:lnTo>
                      <a:pt x="214" y="1583"/>
                    </a:lnTo>
                    <a:lnTo>
                      <a:pt x="214" y="1585"/>
                    </a:lnTo>
                    <a:lnTo>
                      <a:pt x="212" y="1585"/>
                    </a:lnTo>
                    <a:lnTo>
                      <a:pt x="212" y="1583"/>
                    </a:lnTo>
                    <a:lnTo>
                      <a:pt x="214" y="1583"/>
                    </a:lnTo>
                    <a:lnTo>
                      <a:pt x="212" y="1583"/>
                    </a:lnTo>
                    <a:lnTo>
                      <a:pt x="212" y="1585"/>
                    </a:lnTo>
                    <a:lnTo>
                      <a:pt x="210" y="1587"/>
                    </a:lnTo>
                    <a:lnTo>
                      <a:pt x="210" y="1585"/>
                    </a:lnTo>
                    <a:lnTo>
                      <a:pt x="210" y="1583"/>
                    </a:lnTo>
                    <a:lnTo>
                      <a:pt x="210" y="1581"/>
                    </a:lnTo>
                    <a:lnTo>
                      <a:pt x="210" y="1580"/>
                    </a:lnTo>
                    <a:lnTo>
                      <a:pt x="212" y="1580"/>
                    </a:lnTo>
                    <a:lnTo>
                      <a:pt x="212" y="1581"/>
                    </a:lnTo>
                    <a:lnTo>
                      <a:pt x="212" y="1580"/>
                    </a:lnTo>
                    <a:lnTo>
                      <a:pt x="212" y="1581"/>
                    </a:lnTo>
                    <a:lnTo>
                      <a:pt x="212" y="1580"/>
                    </a:lnTo>
                    <a:lnTo>
                      <a:pt x="212" y="1581"/>
                    </a:lnTo>
                    <a:lnTo>
                      <a:pt x="210" y="1580"/>
                    </a:lnTo>
                    <a:lnTo>
                      <a:pt x="210" y="1581"/>
                    </a:lnTo>
                    <a:lnTo>
                      <a:pt x="208" y="1580"/>
                    </a:lnTo>
                    <a:lnTo>
                      <a:pt x="208" y="1581"/>
                    </a:lnTo>
                    <a:lnTo>
                      <a:pt x="210" y="1583"/>
                    </a:lnTo>
                    <a:lnTo>
                      <a:pt x="208" y="1583"/>
                    </a:lnTo>
                    <a:lnTo>
                      <a:pt x="208" y="1581"/>
                    </a:lnTo>
                    <a:lnTo>
                      <a:pt x="208" y="1580"/>
                    </a:lnTo>
                    <a:lnTo>
                      <a:pt x="210" y="1580"/>
                    </a:lnTo>
                    <a:lnTo>
                      <a:pt x="208" y="1580"/>
                    </a:lnTo>
                    <a:lnTo>
                      <a:pt x="208" y="1581"/>
                    </a:lnTo>
                    <a:lnTo>
                      <a:pt x="208" y="1583"/>
                    </a:lnTo>
                    <a:lnTo>
                      <a:pt x="206" y="1581"/>
                    </a:lnTo>
                    <a:lnTo>
                      <a:pt x="206" y="1580"/>
                    </a:lnTo>
                    <a:lnTo>
                      <a:pt x="208" y="1580"/>
                    </a:lnTo>
                    <a:lnTo>
                      <a:pt x="208" y="1578"/>
                    </a:lnTo>
                    <a:lnTo>
                      <a:pt x="208" y="1580"/>
                    </a:lnTo>
                    <a:lnTo>
                      <a:pt x="206" y="1580"/>
                    </a:lnTo>
                    <a:lnTo>
                      <a:pt x="206" y="1578"/>
                    </a:lnTo>
                    <a:lnTo>
                      <a:pt x="208" y="1576"/>
                    </a:lnTo>
                    <a:lnTo>
                      <a:pt x="206" y="1578"/>
                    </a:lnTo>
                    <a:lnTo>
                      <a:pt x="206" y="1580"/>
                    </a:lnTo>
                    <a:lnTo>
                      <a:pt x="206" y="1581"/>
                    </a:lnTo>
                    <a:lnTo>
                      <a:pt x="206" y="1580"/>
                    </a:lnTo>
                    <a:lnTo>
                      <a:pt x="206" y="1581"/>
                    </a:lnTo>
                    <a:lnTo>
                      <a:pt x="204" y="1580"/>
                    </a:lnTo>
                    <a:lnTo>
                      <a:pt x="206" y="1581"/>
                    </a:lnTo>
                    <a:lnTo>
                      <a:pt x="204" y="1585"/>
                    </a:lnTo>
                    <a:lnTo>
                      <a:pt x="202" y="1585"/>
                    </a:lnTo>
                    <a:lnTo>
                      <a:pt x="204" y="1585"/>
                    </a:lnTo>
                    <a:lnTo>
                      <a:pt x="202" y="1585"/>
                    </a:lnTo>
                    <a:lnTo>
                      <a:pt x="202" y="1583"/>
                    </a:lnTo>
                    <a:lnTo>
                      <a:pt x="202" y="1581"/>
                    </a:lnTo>
                    <a:lnTo>
                      <a:pt x="204" y="1581"/>
                    </a:lnTo>
                    <a:lnTo>
                      <a:pt x="204" y="1580"/>
                    </a:lnTo>
                    <a:lnTo>
                      <a:pt x="204" y="1578"/>
                    </a:lnTo>
                    <a:lnTo>
                      <a:pt x="204" y="1576"/>
                    </a:lnTo>
                    <a:lnTo>
                      <a:pt x="206" y="1572"/>
                    </a:lnTo>
                    <a:lnTo>
                      <a:pt x="208" y="1574"/>
                    </a:lnTo>
                    <a:lnTo>
                      <a:pt x="210" y="1572"/>
                    </a:lnTo>
                    <a:lnTo>
                      <a:pt x="208" y="1574"/>
                    </a:lnTo>
                    <a:lnTo>
                      <a:pt x="208" y="1572"/>
                    </a:lnTo>
                    <a:lnTo>
                      <a:pt x="206" y="1572"/>
                    </a:lnTo>
                    <a:lnTo>
                      <a:pt x="206" y="1570"/>
                    </a:lnTo>
                    <a:lnTo>
                      <a:pt x="208" y="1568"/>
                    </a:lnTo>
                    <a:lnTo>
                      <a:pt x="206" y="1568"/>
                    </a:lnTo>
                    <a:lnTo>
                      <a:pt x="206" y="1570"/>
                    </a:lnTo>
                    <a:lnTo>
                      <a:pt x="204" y="1570"/>
                    </a:lnTo>
                    <a:lnTo>
                      <a:pt x="204" y="1572"/>
                    </a:lnTo>
                    <a:lnTo>
                      <a:pt x="202" y="1572"/>
                    </a:lnTo>
                    <a:lnTo>
                      <a:pt x="202" y="1570"/>
                    </a:lnTo>
                    <a:lnTo>
                      <a:pt x="200" y="1572"/>
                    </a:lnTo>
                    <a:lnTo>
                      <a:pt x="200" y="1570"/>
                    </a:lnTo>
                    <a:lnTo>
                      <a:pt x="200" y="1566"/>
                    </a:lnTo>
                    <a:lnTo>
                      <a:pt x="198" y="1564"/>
                    </a:lnTo>
                    <a:lnTo>
                      <a:pt x="200" y="1564"/>
                    </a:lnTo>
                    <a:lnTo>
                      <a:pt x="202" y="1564"/>
                    </a:lnTo>
                    <a:lnTo>
                      <a:pt x="200" y="1564"/>
                    </a:lnTo>
                    <a:lnTo>
                      <a:pt x="198" y="1564"/>
                    </a:lnTo>
                    <a:lnTo>
                      <a:pt x="198" y="1562"/>
                    </a:lnTo>
                    <a:lnTo>
                      <a:pt x="200" y="1562"/>
                    </a:lnTo>
                    <a:lnTo>
                      <a:pt x="198" y="1562"/>
                    </a:lnTo>
                    <a:lnTo>
                      <a:pt x="196" y="1560"/>
                    </a:lnTo>
                    <a:lnTo>
                      <a:pt x="198" y="1562"/>
                    </a:lnTo>
                    <a:lnTo>
                      <a:pt x="196" y="1560"/>
                    </a:lnTo>
                    <a:lnTo>
                      <a:pt x="195" y="1559"/>
                    </a:lnTo>
                    <a:lnTo>
                      <a:pt x="195" y="1557"/>
                    </a:lnTo>
                    <a:lnTo>
                      <a:pt x="195" y="1555"/>
                    </a:lnTo>
                    <a:lnTo>
                      <a:pt x="193" y="1555"/>
                    </a:lnTo>
                    <a:lnTo>
                      <a:pt x="195" y="1555"/>
                    </a:lnTo>
                    <a:lnTo>
                      <a:pt x="195" y="1553"/>
                    </a:lnTo>
                    <a:lnTo>
                      <a:pt x="193" y="1555"/>
                    </a:lnTo>
                    <a:lnTo>
                      <a:pt x="193" y="1553"/>
                    </a:lnTo>
                    <a:lnTo>
                      <a:pt x="193" y="1551"/>
                    </a:lnTo>
                    <a:lnTo>
                      <a:pt x="195" y="1553"/>
                    </a:lnTo>
                    <a:lnTo>
                      <a:pt x="195" y="1551"/>
                    </a:lnTo>
                    <a:lnTo>
                      <a:pt x="196" y="1553"/>
                    </a:lnTo>
                    <a:lnTo>
                      <a:pt x="196" y="1555"/>
                    </a:lnTo>
                    <a:lnTo>
                      <a:pt x="196" y="1553"/>
                    </a:lnTo>
                    <a:lnTo>
                      <a:pt x="198" y="1553"/>
                    </a:lnTo>
                    <a:lnTo>
                      <a:pt x="200" y="1557"/>
                    </a:lnTo>
                    <a:lnTo>
                      <a:pt x="200" y="1555"/>
                    </a:lnTo>
                    <a:lnTo>
                      <a:pt x="202" y="1555"/>
                    </a:lnTo>
                    <a:lnTo>
                      <a:pt x="202" y="1553"/>
                    </a:lnTo>
                    <a:lnTo>
                      <a:pt x="204" y="1555"/>
                    </a:lnTo>
                    <a:lnTo>
                      <a:pt x="206" y="1555"/>
                    </a:lnTo>
                    <a:lnTo>
                      <a:pt x="206" y="1557"/>
                    </a:lnTo>
                    <a:lnTo>
                      <a:pt x="208" y="1557"/>
                    </a:lnTo>
                    <a:lnTo>
                      <a:pt x="208" y="1559"/>
                    </a:lnTo>
                    <a:lnTo>
                      <a:pt x="210" y="1560"/>
                    </a:lnTo>
                    <a:lnTo>
                      <a:pt x="210" y="1559"/>
                    </a:lnTo>
                    <a:lnTo>
                      <a:pt x="210" y="1557"/>
                    </a:lnTo>
                    <a:lnTo>
                      <a:pt x="208" y="1557"/>
                    </a:lnTo>
                    <a:lnTo>
                      <a:pt x="206" y="1557"/>
                    </a:lnTo>
                    <a:lnTo>
                      <a:pt x="206" y="1553"/>
                    </a:lnTo>
                    <a:lnTo>
                      <a:pt x="204" y="1553"/>
                    </a:lnTo>
                    <a:lnTo>
                      <a:pt x="202" y="1553"/>
                    </a:lnTo>
                    <a:lnTo>
                      <a:pt x="202" y="1555"/>
                    </a:lnTo>
                    <a:lnTo>
                      <a:pt x="200" y="1555"/>
                    </a:lnTo>
                    <a:lnTo>
                      <a:pt x="198" y="1555"/>
                    </a:lnTo>
                    <a:lnTo>
                      <a:pt x="198" y="1553"/>
                    </a:lnTo>
                    <a:lnTo>
                      <a:pt x="196" y="1553"/>
                    </a:lnTo>
                    <a:lnTo>
                      <a:pt x="196" y="1551"/>
                    </a:lnTo>
                    <a:lnTo>
                      <a:pt x="195" y="1549"/>
                    </a:lnTo>
                    <a:lnTo>
                      <a:pt x="195" y="1547"/>
                    </a:lnTo>
                    <a:lnTo>
                      <a:pt x="196" y="1547"/>
                    </a:lnTo>
                    <a:lnTo>
                      <a:pt x="195" y="1547"/>
                    </a:lnTo>
                    <a:lnTo>
                      <a:pt x="195" y="1545"/>
                    </a:lnTo>
                    <a:lnTo>
                      <a:pt x="196" y="1545"/>
                    </a:lnTo>
                    <a:lnTo>
                      <a:pt x="196" y="1543"/>
                    </a:lnTo>
                    <a:lnTo>
                      <a:pt x="198" y="1543"/>
                    </a:lnTo>
                    <a:lnTo>
                      <a:pt x="200" y="1543"/>
                    </a:lnTo>
                    <a:lnTo>
                      <a:pt x="198" y="1543"/>
                    </a:lnTo>
                    <a:lnTo>
                      <a:pt x="196" y="1543"/>
                    </a:lnTo>
                    <a:lnTo>
                      <a:pt x="196" y="1541"/>
                    </a:lnTo>
                    <a:lnTo>
                      <a:pt x="196" y="1543"/>
                    </a:lnTo>
                    <a:lnTo>
                      <a:pt x="196" y="1541"/>
                    </a:lnTo>
                    <a:lnTo>
                      <a:pt x="198" y="1541"/>
                    </a:lnTo>
                    <a:lnTo>
                      <a:pt x="198" y="1539"/>
                    </a:lnTo>
                    <a:lnTo>
                      <a:pt x="196" y="1539"/>
                    </a:lnTo>
                    <a:lnTo>
                      <a:pt x="196" y="1541"/>
                    </a:lnTo>
                    <a:lnTo>
                      <a:pt x="195" y="1541"/>
                    </a:lnTo>
                    <a:lnTo>
                      <a:pt x="195" y="1543"/>
                    </a:lnTo>
                    <a:lnTo>
                      <a:pt x="195" y="1545"/>
                    </a:lnTo>
                    <a:lnTo>
                      <a:pt x="193" y="1545"/>
                    </a:lnTo>
                    <a:lnTo>
                      <a:pt x="195" y="1545"/>
                    </a:lnTo>
                    <a:lnTo>
                      <a:pt x="193" y="1545"/>
                    </a:lnTo>
                    <a:lnTo>
                      <a:pt x="193" y="1543"/>
                    </a:lnTo>
                    <a:lnTo>
                      <a:pt x="193" y="1545"/>
                    </a:lnTo>
                    <a:lnTo>
                      <a:pt x="193" y="1543"/>
                    </a:lnTo>
                    <a:lnTo>
                      <a:pt x="191" y="1541"/>
                    </a:lnTo>
                    <a:lnTo>
                      <a:pt x="193" y="1543"/>
                    </a:lnTo>
                    <a:lnTo>
                      <a:pt x="193" y="1545"/>
                    </a:lnTo>
                    <a:lnTo>
                      <a:pt x="191" y="1545"/>
                    </a:lnTo>
                    <a:lnTo>
                      <a:pt x="191" y="1543"/>
                    </a:lnTo>
                    <a:lnTo>
                      <a:pt x="191" y="1545"/>
                    </a:lnTo>
                    <a:lnTo>
                      <a:pt x="191" y="1547"/>
                    </a:lnTo>
                    <a:lnTo>
                      <a:pt x="189" y="1549"/>
                    </a:lnTo>
                    <a:lnTo>
                      <a:pt x="187" y="1549"/>
                    </a:lnTo>
                    <a:lnTo>
                      <a:pt x="189" y="1549"/>
                    </a:lnTo>
                    <a:lnTo>
                      <a:pt x="189" y="1551"/>
                    </a:lnTo>
                    <a:lnTo>
                      <a:pt x="189" y="1553"/>
                    </a:lnTo>
                    <a:lnTo>
                      <a:pt x="187" y="1553"/>
                    </a:lnTo>
                    <a:lnTo>
                      <a:pt x="187" y="1551"/>
                    </a:lnTo>
                    <a:lnTo>
                      <a:pt x="187" y="1553"/>
                    </a:lnTo>
                    <a:lnTo>
                      <a:pt x="189" y="1553"/>
                    </a:lnTo>
                    <a:lnTo>
                      <a:pt x="189" y="1555"/>
                    </a:lnTo>
                    <a:lnTo>
                      <a:pt x="187" y="1555"/>
                    </a:lnTo>
                    <a:lnTo>
                      <a:pt x="187" y="1557"/>
                    </a:lnTo>
                    <a:lnTo>
                      <a:pt x="183" y="1553"/>
                    </a:lnTo>
                    <a:lnTo>
                      <a:pt x="183" y="1551"/>
                    </a:lnTo>
                    <a:lnTo>
                      <a:pt x="181" y="1551"/>
                    </a:lnTo>
                    <a:lnTo>
                      <a:pt x="179" y="1549"/>
                    </a:lnTo>
                    <a:lnTo>
                      <a:pt x="179" y="1547"/>
                    </a:lnTo>
                    <a:lnTo>
                      <a:pt x="181" y="1549"/>
                    </a:lnTo>
                    <a:lnTo>
                      <a:pt x="181" y="1547"/>
                    </a:lnTo>
                    <a:lnTo>
                      <a:pt x="181" y="1549"/>
                    </a:lnTo>
                    <a:lnTo>
                      <a:pt x="179" y="1547"/>
                    </a:lnTo>
                    <a:lnTo>
                      <a:pt x="179" y="1545"/>
                    </a:lnTo>
                    <a:lnTo>
                      <a:pt x="179" y="1547"/>
                    </a:lnTo>
                    <a:lnTo>
                      <a:pt x="175" y="1543"/>
                    </a:lnTo>
                    <a:lnTo>
                      <a:pt x="177" y="1543"/>
                    </a:lnTo>
                    <a:lnTo>
                      <a:pt x="175" y="1543"/>
                    </a:lnTo>
                    <a:lnTo>
                      <a:pt x="174" y="1541"/>
                    </a:lnTo>
                    <a:lnTo>
                      <a:pt x="175" y="1539"/>
                    </a:lnTo>
                    <a:lnTo>
                      <a:pt x="174" y="1538"/>
                    </a:lnTo>
                    <a:lnTo>
                      <a:pt x="175" y="1536"/>
                    </a:lnTo>
                    <a:lnTo>
                      <a:pt x="174" y="1534"/>
                    </a:lnTo>
                    <a:lnTo>
                      <a:pt x="172" y="1534"/>
                    </a:lnTo>
                    <a:lnTo>
                      <a:pt x="172" y="1532"/>
                    </a:lnTo>
                    <a:lnTo>
                      <a:pt x="174" y="1532"/>
                    </a:lnTo>
                    <a:lnTo>
                      <a:pt x="172" y="1532"/>
                    </a:lnTo>
                    <a:lnTo>
                      <a:pt x="172" y="1530"/>
                    </a:lnTo>
                    <a:lnTo>
                      <a:pt x="172" y="1528"/>
                    </a:lnTo>
                    <a:lnTo>
                      <a:pt x="172" y="1530"/>
                    </a:lnTo>
                    <a:lnTo>
                      <a:pt x="170" y="1530"/>
                    </a:lnTo>
                    <a:lnTo>
                      <a:pt x="168" y="1530"/>
                    </a:lnTo>
                    <a:lnTo>
                      <a:pt x="168" y="1528"/>
                    </a:lnTo>
                    <a:lnTo>
                      <a:pt x="170" y="1526"/>
                    </a:lnTo>
                    <a:lnTo>
                      <a:pt x="170" y="1528"/>
                    </a:lnTo>
                    <a:lnTo>
                      <a:pt x="170" y="1526"/>
                    </a:lnTo>
                    <a:lnTo>
                      <a:pt x="170" y="1524"/>
                    </a:lnTo>
                    <a:lnTo>
                      <a:pt x="170" y="1522"/>
                    </a:lnTo>
                    <a:lnTo>
                      <a:pt x="170" y="1520"/>
                    </a:lnTo>
                    <a:lnTo>
                      <a:pt x="172" y="1520"/>
                    </a:lnTo>
                    <a:lnTo>
                      <a:pt x="174" y="1518"/>
                    </a:lnTo>
                    <a:lnTo>
                      <a:pt x="174" y="1517"/>
                    </a:lnTo>
                    <a:lnTo>
                      <a:pt x="175" y="1515"/>
                    </a:lnTo>
                    <a:lnTo>
                      <a:pt x="174" y="1517"/>
                    </a:lnTo>
                    <a:lnTo>
                      <a:pt x="175" y="1513"/>
                    </a:lnTo>
                    <a:lnTo>
                      <a:pt x="177" y="1513"/>
                    </a:lnTo>
                    <a:lnTo>
                      <a:pt x="175" y="1511"/>
                    </a:lnTo>
                    <a:lnTo>
                      <a:pt x="174" y="1513"/>
                    </a:lnTo>
                    <a:lnTo>
                      <a:pt x="174" y="1509"/>
                    </a:lnTo>
                    <a:lnTo>
                      <a:pt x="175" y="1507"/>
                    </a:lnTo>
                    <a:lnTo>
                      <a:pt x="177" y="1503"/>
                    </a:lnTo>
                    <a:lnTo>
                      <a:pt x="175" y="1503"/>
                    </a:lnTo>
                    <a:lnTo>
                      <a:pt x="175" y="1499"/>
                    </a:lnTo>
                    <a:lnTo>
                      <a:pt x="174" y="1496"/>
                    </a:lnTo>
                    <a:lnTo>
                      <a:pt x="175" y="1494"/>
                    </a:lnTo>
                    <a:lnTo>
                      <a:pt x="174" y="1492"/>
                    </a:lnTo>
                    <a:lnTo>
                      <a:pt x="175" y="1488"/>
                    </a:lnTo>
                    <a:lnTo>
                      <a:pt x="175" y="1486"/>
                    </a:lnTo>
                    <a:lnTo>
                      <a:pt x="175" y="1484"/>
                    </a:lnTo>
                    <a:lnTo>
                      <a:pt x="174" y="1480"/>
                    </a:lnTo>
                    <a:lnTo>
                      <a:pt x="172" y="1480"/>
                    </a:lnTo>
                    <a:lnTo>
                      <a:pt x="170" y="1480"/>
                    </a:lnTo>
                    <a:lnTo>
                      <a:pt x="168" y="1477"/>
                    </a:lnTo>
                    <a:lnTo>
                      <a:pt x="166" y="1477"/>
                    </a:lnTo>
                    <a:lnTo>
                      <a:pt x="164" y="1473"/>
                    </a:lnTo>
                    <a:lnTo>
                      <a:pt x="158" y="1473"/>
                    </a:lnTo>
                    <a:lnTo>
                      <a:pt x="158" y="1471"/>
                    </a:lnTo>
                    <a:lnTo>
                      <a:pt x="153" y="1469"/>
                    </a:lnTo>
                    <a:lnTo>
                      <a:pt x="151" y="1467"/>
                    </a:lnTo>
                    <a:lnTo>
                      <a:pt x="147" y="1467"/>
                    </a:lnTo>
                    <a:lnTo>
                      <a:pt x="147" y="1463"/>
                    </a:lnTo>
                    <a:lnTo>
                      <a:pt x="145" y="1463"/>
                    </a:lnTo>
                    <a:lnTo>
                      <a:pt x="147" y="1461"/>
                    </a:lnTo>
                    <a:lnTo>
                      <a:pt x="143" y="1459"/>
                    </a:lnTo>
                    <a:lnTo>
                      <a:pt x="143" y="1454"/>
                    </a:lnTo>
                    <a:lnTo>
                      <a:pt x="139" y="1452"/>
                    </a:lnTo>
                    <a:lnTo>
                      <a:pt x="141" y="1450"/>
                    </a:lnTo>
                    <a:lnTo>
                      <a:pt x="139" y="1444"/>
                    </a:lnTo>
                    <a:lnTo>
                      <a:pt x="135" y="1440"/>
                    </a:lnTo>
                    <a:lnTo>
                      <a:pt x="130" y="1431"/>
                    </a:lnTo>
                    <a:lnTo>
                      <a:pt x="128" y="1425"/>
                    </a:lnTo>
                    <a:lnTo>
                      <a:pt x="126" y="1421"/>
                    </a:lnTo>
                    <a:lnTo>
                      <a:pt x="122" y="1417"/>
                    </a:lnTo>
                    <a:lnTo>
                      <a:pt x="120" y="1414"/>
                    </a:lnTo>
                    <a:lnTo>
                      <a:pt x="122" y="1412"/>
                    </a:lnTo>
                    <a:lnTo>
                      <a:pt x="116" y="1408"/>
                    </a:lnTo>
                    <a:lnTo>
                      <a:pt x="114" y="1404"/>
                    </a:lnTo>
                    <a:lnTo>
                      <a:pt x="109" y="1400"/>
                    </a:lnTo>
                    <a:lnTo>
                      <a:pt x="107" y="1398"/>
                    </a:lnTo>
                    <a:lnTo>
                      <a:pt x="107" y="1396"/>
                    </a:lnTo>
                    <a:lnTo>
                      <a:pt x="107" y="1394"/>
                    </a:lnTo>
                    <a:lnTo>
                      <a:pt x="105" y="1391"/>
                    </a:lnTo>
                    <a:lnTo>
                      <a:pt x="103" y="1391"/>
                    </a:lnTo>
                    <a:lnTo>
                      <a:pt x="101" y="1389"/>
                    </a:lnTo>
                    <a:lnTo>
                      <a:pt x="101" y="1387"/>
                    </a:lnTo>
                    <a:lnTo>
                      <a:pt x="97" y="1387"/>
                    </a:lnTo>
                    <a:lnTo>
                      <a:pt x="95" y="1385"/>
                    </a:lnTo>
                    <a:lnTo>
                      <a:pt x="97" y="1383"/>
                    </a:lnTo>
                    <a:lnTo>
                      <a:pt x="95" y="1381"/>
                    </a:lnTo>
                    <a:lnTo>
                      <a:pt x="95" y="1377"/>
                    </a:lnTo>
                    <a:lnTo>
                      <a:pt x="95" y="1375"/>
                    </a:lnTo>
                    <a:lnTo>
                      <a:pt x="93" y="1373"/>
                    </a:lnTo>
                    <a:lnTo>
                      <a:pt x="90" y="1372"/>
                    </a:lnTo>
                    <a:lnTo>
                      <a:pt x="90" y="1370"/>
                    </a:lnTo>
                    <a:lnTo>
                      <a:pt x="82" y="1373"/>
                    </a:lnTo>
                    <a:lnTo>
                      <a:pt x="78" y="1375"/>
                    </a:lnTo>
                    <a:lnTo>
                      <a:pt x="74" y="1377"/>
                    </a:lnTo>
                    <a:lnTo>
                      <a:pt x="76" y="1377"/>
                    </a:lnTo>
                    <a:lnTo>
                      <a:pt x="76" y="1379"/>
                    </a:lnTo>
                    <a:lnTo>
                      <a:pt x="76" y="1381"/>
                    </a:lnTo>
                    <a:lnTo>
                      <a:pt x="74" y="1381"/>
                    </a:lnTo>
                    <a:lnTo>
                      <a:pt x="72" y="1381"/>
                    </a:lnTo>
                    <a:lnTo>
                      <a:pt x="72" y="1387"/>
                    </a:lnTo>
                    <a:lnTo>
                      <a:pt x="71" y="1391"/>
                    </a:lnTo>
                    <a:lnTo>
                      <a:pt x="67" y="1391"/>
                    </a:lnTo>
                    <a:lnTo>
                      <a:pt x="61" y="1394"/>
                    </a:lnTo>
                    <a:lnTo>
                      <a:pt x="57" y="1398"/>
                    </a:lnTo>
                    <a:lnTo>
                      <a:pt x="57" y="1396"/>
                    </a:lnTo>
                    <a:lnTo>
                      <a:pt x="55" y="1387"/>
                    </a:lnTo>
                    <a:lnTo>
                      <a:pt x="40" y="1372"/>
                    </a:lnTo>
                    <a:lnTo>
                      <a:pt x="38" y="1370"/>
                    </a:lnTo>
                    <a:lnTo>
                      <a:pt x="38" y="1366"/>
                    </a:lnTo>
                    <a:lnTo>
                      <a:pt x="32" y="1364"/>
                    </a:lnTo>
                    <a:lnTo>
                      <a:pt x="31" y="1362"/>
                    </a:lnTo>
                    <a:lnTo>
                      <a:pt x="32" y="1352"/>
                    </a:lnTo>
                    <a:lnTo>
                      <a:pt x="23" y="1352"/>
                    </a:lnTo>
                    <a:lnTo>
                      <a:pt x="17" y="1358"/>
                    </a:lnTo>
                    <a:lnTo>
                      <a:pt x="10" y="1354"/>
                    </a:lnTo>
                    <a:lnTo>
                      <a:pt x="10" y="1356"/>
                    </a:lnTo>
                    <a:lnTo>
                      <a:pt x="2" y="1354"/>
                    </a:lnTo>
                    <a:lnTo>
                      <a:pt x="2" y="1295"/>
                    </a:lnTo>
                    <a:lnTo>
                      <a:pt x="2" y="1286"/>
                    </a:lnTo>
                    <a:lnTo>
                      <a:pt x="2" y="1278"/>
                    </a:lnTo>
                    <a:lnTo>
                      <a:pt x="2" y="1251"/>
                    </a:lnTo>
                    <a:lnTo>
                      <a:pt x="2" y="1209"/>
                    </a:lnTo>
                    <a:lnTo>
                      <a:pt x="2" y="1204"/>
                    </a:lnTo>
                    <a:lnTo>
                      <a:pt x="2" y="1188"/>
                    </a:lnTo>
                    <a:lnTo>
                      <a:pt x="2" y="1118"/>
                    </a:lnTo>
                    <a:lnTo>
                      <a:pt x="0" y="1078"/>
                    </a:lnTo>
                    <a:lnTo>
                      <a:pt x="0" y="998"/>
                    </a:lnTo>
                    <a:lnTo>
                      <a:pt x="8" y="1001"/>
                    </a:lnTo>
                    <a:lnTo>
                      <a:pt x="11" y="1001"/>
                    </a:lnTo>
                    <a:lnTo>
                      <a:pt x="19" y="999"/>
                    </a:lnTo>
                    <a:lnTo>
                      <a:pt x="23" y="1001"/>
                    </a:lnTo>
                    <a:lnTo>
                      <a:pt x="27" y="1003"/>
                    </a:lnTo>
                    <a:lnTo>
                      <a:pt x="25" y="1003"/>
                    </a:lnTo>
                    <a:lnTo>
                      <a:pt x="21" y="1001"/>
                    </a:lnTo>
                    <a:lnTo>
                      <a:pt x="25" y="1003"/>
                    </a:lnTo>
                    <a:lnTo>
                      <a:pt x="27" y="1003"/>
                    </a:lnTo>
                    <a:lnTo>
                      <a:pt x="29" y="1005"/>
                    </a:lnTo>
                    <a:lnTo>
                      <a:pt x="31" y="1005"/>
                    </a:lnTo>
                    <a:lnTo>
                      <a:pt x="32" y="1007"/>
                    </a:lnTo>
                    <a:lnTo>
                      <a:pt x="31" y="1005"/>
                    </a:lnTo>
                    <a:lnTo>
                      <a:pt x="32" y="1009"/>
                    </a:lnTo>
                    <a:lnTo>
                      <a:pt x="38" y="1013"/>
                    </a:lnTo>
                    <a:lnTo>
                      <a:pt x="40" y="1015"/>
                    </a:lnTo>
                    <a:lnTo>
                      <a:pt x="40" y="1017"/>
                    </a:lnTo>
                    <a:lnTo>
                      <a:pt x="42" y="1019"/>
                    </a:lnTo>
                    <a:lnTo>
                      <a:pt x="42" y="1015"/>
                    </a:lnTo>
                    <a:lnTo>
                      <a:pt x="44" y="1019"/>
                    </a:lnTo>
                    <a:lnTo>
                      <a:pt x="46" y="1020"/>
                    </a:lnTo>
                    <a:lnTo>
                      <a:pt x="55" y="1026"/>
                    </a:lnTo>
                    <a:lnTo>
                      <a:pt x="59" y="1028"/>
                    </a:lnTo>
                    <a:lnTo>
                      <a:pt x="57" y="1028"/>
                    </a:lnTo>
                    <a:lnTo>
                      <a:pt x="61" y="1030"/>
                    </a:lnTo>
                    <a:lnTo>
                      <a:pt x="63" y="1030"/>
                    </a:lnTo>
                    <a:lnTo>
                      <a:pt x="65" y="1030"/>
                    </a:lnTo>
                    <a:lnTo>
                      <a:pt x="65" y="1032"/>
                    </a:lnTo>
                    <a:lnTo>
                      <a:pt x="69" y="1034"/>
                    </a:lnTo>
                    <a:lnTo>
                      <a:pt x="71" y="1034"/>
                    </a:lnTo>
                    <a:lnTo>
                      <a:pt x="72" y="1034"/>
                    </a:lnTo>
                    <a:lnTo>
                      <a:pt x="72" y="1032"/>
                    </a:lnTo>
                    <a:lnTo>
                      <a:pt x="72" y="1034"/>
                    </a:lnTo>
                    <a:lnTo>
                      <a:pt x="72" y="1032"/>
                    </a:lnTo>
                    <a:lnTo>
                      <a:pt x="78" y="1034"/>
                    </a:lnTo>
                    <a:lnTo>
                      <a:pt x="80" y="1036"/>
                    </a:lnTo>
                    <a:lnTo>
                      <a:pt x="80" y="1034"/>
                    </a:lnTo>
                    <a:lnTo>
                      <a:pt x="84" y="1036"/>
                    </a:lnTo>
                    <a:lnTo>
                      <a:pt x="84" y="1038"/>
                    </a:lnTo>
                    <a:lnTo>
                      <a:pt x="86" y="1040"/>
                    </a:lnTo>
                    <a:lnTo>
                      <a:pt x="88" y="1038"/>
                    </a:lnTo>
                    <a:lnTo>
                      <a:pt x="90" y="1041"/>
                    </a:lnTo>
                    <a:lnTo>
                      <a:pt x="92" y="1043"/>
                    </a:lnTo>
                    <a:lnTo>
                      <a:pt x="93" y="1043"/>
                    </a:lnTo>
                    <a:lnTo>
                      <a:pt x="93" y="1041"/>
                    </a:lnTo>
                    <a:lnTo>
                      <a:pt x="92" y="1040"/>
                    </a:lnTo>
                    <a:lnTo>
                      <a:pt x="92" y="1038"/>
                    </a:lnTo>
                    <a:lnTo>
                      <a:pt x="88" y="1036"/>
                    </a:lnTo>
                    <a:lnTo>
                      <a:pt x="88" y="1034"/>
                    </a:lnTo>
                    <a:lnTo>
                      <a:pt x="86" y="1034"/>
                    </a:lnTo>
                    <a:lnTo>
                      <a:pt x="88" y="1034"/>
                    </a:lnTo>
                    <a:lnTo>
                      <a:pt x="86" y="1034"/>
                    </a:lnTo>
                    <a:lnTo>
                      <a:pt x="90" y="1032"/>
                    </a:lnTo>
                    <a:lnTo>
                      <a:pt x="88" y="1030"/>
                    </a:lnTo>
                    <a:lnTo>
                      <a:pt x="90" y="1028"/>
                    </a:lnTo>
                    <a:lnTo>
                      <a:pt x="88" y="1026"/>
                    </a:lnTo>
                    <a:lnTo>
                      <a:pt x="86" y="1028"/>
                    </a:lnTo>
                    <a:lnTo>
                      <a:pt x="86" y="1026"/>
                    </a:lnTo>
                    <a:lnTo>
                      <a:pt x="82" y="1024"/>
                    </a:lnTo>
                    <a:lnTo>
                      <a:pt x="82" y="1022"/>
                    </a:lnTo>
                    <a:lnTo>
                      <a:pt x="80" y="1019"/>
                    </a:lnTo>
                    <a:lnTo>
                      <a:pt x="82" y="1015"/>
                    </a:lnTo>
                    <a:lnTo>
                      <a:pt x="84" y="1015"/>
                    </a:lnTo>
                    <a:lnTo>
                      <a:pt x="88" y="1013"/>
                    </a:lnTo>
                    <a:lnTo>
                      <a:pt x="90" y="1013"/>
                    </a:lnTo>
                    <a:lnTo>
                      <a:pt x="92" y="1015"/>
                    </a:lnTo>
                    <a:lnTo>
                      <a:pt x="93" y="1013"/>
                    </a:lnTo>
                    <a:lnTo>
                      <a:pt x="92" y="1009"/>
                    </a:lnTo>
                    <a:lnTo>
                      <a:pt x="93" y="1007"/>
                    </a:lnTo>
                    <a:lnTo>
                      <a:pt x="95" y="1007"/>
                    </a:lnTo>
                    <a:lnTo>
                      <a:pt x="97" y="1007"/>
                    </a:lnTo>
                    <a:lnTo>
                      <a:pt x="99" y="1007"/>
                    </a:lnTo>
                    <a:lnTo>
                      <a:pt x="99" y="1005"/>
                    </a:lnTo>
                    <a:lnTo>
                      <a:pt x="99" y="1007"/>
                    </a:lnTo>
                    <a:lnTo>
                      <a:pt x="99" y="1005"/>
                    </a:lnTo>
                    <a:lnTo>
                      <a:pt x="99" y="1007"/>
                    </a:lnTo>
                    <a:lnTo>
                      <a:pt x="101" y="1007"/>
                    </a:lnTo>
                    <a:lnTo>
                      <a:pt x="103" y="1007"/>
                    </a:lnTo>
                    <a:lnTo>
                      <a:pt x="103" y="1009"/>
                    </a:lnTo>
                    <a:lnTo>
                      <a:pt x="105" y="1007"/>
                    </a:lnTo>
                    <a:lnTo>
                      <a:pt x="103" y="1009"/>
                    </a:lnTo>
                    <a:lnTo>
                      <a:pt x="105" y="1007"/>
                    </a:lnTo>
                    <a:lnTo>
                      <a:pt x="107" y="1005"/>
                    </a:lnTo>
                    <a:lnTo>
                      <a:pt x="105" y="1007"/>
                    </a:lnTo>
                    <a:lnTo>
                      <a:pt x="105" y="1005"/>
                    </a:lnTo>
                    <a:lnTo>
                      <a:pt x="103" y="1007"/>
                    </a:lnTo>
                    <a:lnTo>
                      <a:pt x="103" y="1005"/>
                    </a:lnTo>
                    <a:lnTo>
                      <a:pt x="103" y="1003"/>
                    </a:lnTo>
                    <a:lnTo>
                      <a:pt x="105" y="1003"/>
                    </a:lnTo>
                    <a:lnTo>
                      <a:pt x="105" y="999"/>
                    </a:lnTo>
                    <a:lnTo>
                      <a:pt x="105" y="996"/>
                    </a:lnTo>
                    <a:lnTo>
                      <a:pt x="107" y="996"/>
                    </a:lnTo>
                    <a:lnTo>
                      <a:pt x="107" y="998"/>
                    </a:lnTo>
                    <a:lnTo>
                      <a:pt x="107" y="999"/>
                    </a:lnTo>
                    <a:lnTo>
                      <a:pt x="109" y="998"/>
                    </a:lnTo>
                    <a:lnTo>
                      <a:pt x="111" y="999"/>
                    </a:lnTo>
                    <a:lnTo>
                      <a:pt x="109" y="999"/>
                    </a:lnTo>
                    <a:lnTo>
                      <a:pt x="111" y="999"/>
                    </a:lnTo>
                    <a:lnTo>
                      <a:pt x="109" y="999"/>
                    </a:lnTo>
                    <a:lnTo>
                      <a:pt x="109" y="1001"/>
                    </a:lnTo>
                    <a:lnTo>
                      <a:pt x="109" y="1003"/>
                    </a:lnTo>
                    <a:lnTo>
                      <a:pt x="109" y="1001"/>
                    </a:lnTo>
                    <a:lnTo>
                      <a:pt x="109" y="1003"/>
                    </a:lnTo>
                    <a:lnTo>
                      <a:pt x="111" y="1005"/>
                    </a:lnTo>
                    <a:lnTo>
                      <a:pt x="113" y="1003"/>
                    </a:lnTo>
                    <a:lnTo>
                      <a:pt x="113" y="1005"/>
                    </a:lnTo>
                    <a:lnTo>
                      <a:pt x="113" y="1003"/>
                    </a:lnTo>
                    <a:lnTo>
                      <a:pt x="113" y="1005"/>
                    </a:lnTo>
                    <a:lnTo>
                      <a:pt x="114" y="1005"/>
                    </a:lnTo>
                    <a:lnTo>
                      <a:pt x="114" y="1003"/>
                    </a:lnTo>
                    <a:lnTo>
                      <a:pt x="116" y="1003"/>
                    </a:lnTo>
                    <a:lnTo>
                      <a:pt x="114" y="1003"/>
                    </a:lnTo>
                    <a:lnTo>
                      <a:pt x="116" y="1003"/>
                    </a:lnTo>
                    <a:lnTo>
                      <a:pt x="116" y="1001"/>
                    </a:lnTo>
                    <a:lnTo>
                      <a:pt x="116" y="1003"/>
                    </a:lnTo>
                    <a:lnTo>
                      <a:pt x="114" y="1005"/>
                    </a:lnTo>
                    <a:lnTo>
                      <a:pt x="116" y="1005"/>
                    </a:lnTo>
                    <a:lnTo>
                      <a:pt x="114" y="1009"/>
                    </a:lnTo>
                    <a:lnTo>
                      <a:pt x="113" y="1011"/>
                    </a:lnTo>
                    <a:lnTo>
                      <a:pt x="111" y="1013"/>
                    </a:lnTo>
                    <a:lnTo>
                      <a:pt x="111" y="1015"/>
                    </a:lnTo>
                    <a:lnTo>
                      <a:pt x="111" y="1017"/>
                    </a:lnTo>
                    <a:lnTo>
                      <a:pt x="113" y="1015"/>
                    </a:lnTo>
                    <a:lnTo>
                      <a:pt x="114" y="1015"/>
                    </a:lnTo>
                    <a:lnTo>
                      <a:pt x="114" y="1013"/>
                    </a:lnTo>
                    <a:lnTo>
                      <a:pt x="116" y="1013"/>
                    </a:lnTo>
                    <a:lnTo>
                      <a:pt x="118" y="1011"/>
                    </a:lnTo>
                    <a:lnTo>
                      <a:pt x="120" y="1009"/>
                    </a:lnTo>
                    <a:lnTo>
                      <a:pt x="124" y="1011"/>
                    </a:lnTo>
                    <a:lnTo>
                      <a:pt x="126" y="1011"/>
                    </a:lnTo>
                    <a:lnTo>
                      <a:pt x="124" y="1011"/>
                    </a:lnTo>
                    <a:lnTo>
                      <a:pt x="126" y="1011"/>
                    </a:lnTo>
                    <a:lnTo>
                      <a:pt x="126" y="1009"/>
                    </a:lnTo>
                    <a:lnTo>
                      <a:pt x="126" y="1011"/>
                    </a:lnTo>
                    <a:lnTo>
                      <a:pt x="126" y="1009"/>
                    </a:lnTo>
                    <a:lnTo>
                      <a:pt x="128" y="1007"/>
                    </a:lnTo>
                    <a:lnTo>
                      <a:pt x="128" y="1009"/>
                    </a:lnTo>
                    <a:lnTo>
                      <a:pt x="130" y="1007"/>
                    </a:lnTo>
                    <a:lnTo>
                      <a:pt x="128" y="1007"/>
                    </a:lnTo>
                    <a:lnTo>
                      <a:pt x="130" y="1005"/>
                    </a:lnTo>
                    <a:lnTo>
                      <a:pt x="130" y="1003"/>
                    </a:lnTo>
                    <a:lnTo>
                      <a:pt x="128" y="1005"/>
                    </a:lnTo>
                    <a:lnTo>
                      <a:pt x="130" y="1003"/>
                    </a:lnTo>
                    <a:lnTo>
                      <a:pt x="128" y="1001"/>
                    </a:lnTo>
                    <a:lnTo>
                      <a:pt x="130" y="999"/>
                    </a:lnTo>
                    <a:lnTo>
                      <a:pt x="132" y="998"/>
                    </a:lnTo>
                    <a:lnTo>
                      <a:pt x="132" y="999"/>
                    </a:lnTo>
                    <a:lnTo>
                      <a:pt x="132" y="998"/>
                    </a:lnTo>
                    <a:lnTo>
                      <a:pt x="132" y="999"/>
                    </a:lnTo>
                    <a:lnTo>
                      <a:pt x="134" y="998"/>
                    </a:lnTo>
                    <a:lnTo>
                      <a:pt x="135" y="999"/>
                    </a:lnTo>
                    <a:lnTo>
                      <a:pt x="137" y="999"/>
                    </a:lnTo>
                    <a:lnTo>
                      <a:pt x="139" y="998"/>
                    </a:lnTo>
                    <a:lnTo>
                      <a:pt x="137" y="998"/>
                    </a:lnTo>
                    <a:lnTo>
                      <a:pt x="139" y="996"/>
                    </a:lnTo>
                    <a:lnTo>
                      <a:pt x="137" y="998"/>
                    </a:lnTo>
                    <a:lnTo>
                      <a:pt x="137" y="996"/>
                    </a:lnTo>
                    <a:lnTo>
                      <a:pt x="137" y="998"/>
                    </a:lnTo>
                    <a:lnTo>
                      <a:pt x="135" y="998"/>
                    </a:lnTo>
                    <a:lnTo>
                      <a:pt x="134" y="998"/>
                    </a:lnTo>
                    <a:lnTo>
                      <a:pt x="135" y="996"/>
                    </a:lnTo>
                    <a:lnTo>
                      <a:pt x="135" y="994"/>
                    </a:lnTo>
                    <a:lnTo>
                      <a:pt x="137" y="996"/>
                    </a:lnTo>
                    <a:lnTo>
                      <a:pt x="137" y="994"/>
                    </a:lnTo>
                    <a:lnTo>
                      <a:pt x="139" y="996"/>
                    </a:lnTo>
                    <a:lnTo>
                      <a:pt x="141" y="996"/>
                    </a:lnTo>
                    <a:lnTo>
                      <a:pt x="141" y="998"/>
                    </a:lnTo>
                    <a:lnTo>
                      <a:pt x="143" y="998"/>
                    </a:lnTo>
                    <a:lnTo>
                      <a:pt x="141" y="996"/>
                    </a:lnTo>
                    <a:lnTo>
                      <a:pt x="143" y="994"/>
                    </a:lnTo>
                    <a:lnTo>
                      <a:pt x="143" y="996"/>
                    </a:lnTo>
                    <a:lnTo>
                      <a:pt x="145" y="996"/>
                    </a:lnTo>
                    <a:lnTo>
                      <a:pt x="145" y="994"/>
                    </a:lnTo>
                    <a:lnTo>
                      <a:pt x="145" y="992"/>
                    </a:lnTo>
                    <a:lnTo>
                      <a:pt x="145" y="994"/>
                    </a:lnTo>
                    <a:lnTo>
                      <a:pt x="147" y="994"/>
                    </a:lnTo>
                    <a:lnTo>
                      <a:pt x="149" y="990"/>
                    </a:lnTo>
                    <a:lnTo>
                      <a:pt x="149" y="992"/>
                    </a:lnTo>
                    <a:lnTo>
                      <a:pt x="149" y="990"/>
                    </a:lnTo>
                    <a:lnTo>
                      <a:pt x="151" y="988"/>
                    </a:lnTo>
                    <a:lnTo>
                      <a:pt x="153" y="988"/>
                    </a:lnTo>
                    <a:lnTo>
                      <a:pt x="153" y="986"/>
                    </a:lnTo>
                    <a:lnTo>
                      <a:pt x="153" y="984"/>
                    </a:lnTo>
                    <a:lnTo>
                      <a:pt x="153" y="986"/>
                    </a:lnTo>
                    <a:lnTo>
                      <a:pt x="153" y="984"/>
                    </a:lnTo>
                    <a:lnTo>
                      <a:pt x="154" y="984"/>
                    </a:lnTo>
                    <a:lnTo>
                      <a:pt x="153" y="984"/>
                    </a:lnTo>
                    <a:lnTo>
                      <a:pt x="154" y="986"/>
                    </a:lnTo>
                    <a:lnTo>
                      <a:pt x="154" y="984"/>
                    </a:lnTo>
                    <a:lnTo>
                      <a:pt x="156" y="986"/>
                    </a:lnTo>
                    <a:lnTo>
                      <a:pt x="156" y="988"/>
                    </a:lnTo>
                    <a:lnTo>
                      <a:pt x="156" y="990"/>
                    </a:lnTo>
                    <a:lnTo>
                      <a:pt x="158" y="990"/>
                    </a:lnTo>
                    <a:lnTo>
                      <a:pt x="156" y="990"/>
                    </a:lnTo>
                    <a:lnTo>
                      <a:pt x="156" y="988"/>
                    </a:lnTo>
                    <a:lnTo>
                      <a:pt x="158" y="988"/>
                    </a:lnTo>
                    <a:lnTo>
                      <a:pt x="160" y="982"/>
                    </a:lnTo>
                    <a:lnTo>
                      <a:pt x="158" y="982"/>
                    </a:lnTo>
                    <a:lnTo>
                      <a:pt x="160" y="982"/>
                    </a:lnTo>
                    <a:lnTo>
                      <a:pt x="160" y="980"/>
                    </a:lnTo>
                    <a:lnTo>
                      <a:pt x="160" y="982"/>
                    </a:lnTo>
                    <a:lnTo>
                      <a:pt x="162" y="980"/>
                    </a:lnTo>
                    <a:lnTo>
                      <a:pt x="160" y="980"/>
                    </a:lnTo>
                    <a:lnTo>
                      <a:pt x="160" y="982"/>
                    </a:lnTo>
                    <a:lnTo>
                      <a:pt x="160" y="980"/>
                    </a:lnTo>
                    <a:lnTo>
                      <a:pt x="160" y="978"/>
                    </a:lnTo>
                    <a:lnTo>
                      <a:pt x="160" y="980"/>
                    </a:lnTo>
                    <a:lnTo>
                      <a:pt x="160" y="978"/>
                    </a:lnTo>
                    <a:lnTo>
                      <a:pt x="162" y="978"/>
                    </a:lnTo>
                    <a:lnTo>
                      <a:pt x="162" y="980"/>
                    </a:lnTo>
                    <a:lnTo>
                      <a:pt x="162" y="978"/>
                    </a:lnTo>
                    <a:lnTo>
                      <a:pt x="162" y="977"/>
                    </a:lnTo>
                    <a:lnTo>
                      <a:pt x="164" y="978"/>
                    </a:lnTo>
                    <a:lnTo>
                      <a:pt x="164" y="977"/>
                    </a:lnTo>
                    <a:lnTo>
                      <a:pt x="164" y="978"/>
                    </a:lnTo>
                    <a:lnTo>
                      <a:pt x="166" y="978"/>
                    </a:lnTo>
                    <a:lnTo>
                      <a:pt x="166" y="977"/>
                    </a:lnTo>
                    <a:lnTo>
                      <a:pt x="166" y="978"/>
                    </a:lnTo>
                    <a:lnTo>
                      <a:pt x="164" y="977"/>
                    </a:lnTo>
                    <a:lnTo>
                      <a:pt x="166" y="977"/>
                    </a:lnTo>
                    <a:lnTo>
                      <a:pt x="168" y="975"/>
                    </a:lnTo>
                    <a:lnTo>
                      <a:pt x="168" y="977"/>
                    </a:lnTo>
                    <a:lnTo>
                      <a:pt x="168" y="978"/>
                    </a:lnTo>
                    <a:lnTo>
                      <a:pt x="168" y="977"/>
                    </a:lnTo>
                    <a:lnTo>
                      <a:pt x="170" y="977"/>
                    </a:lnTo>
                    <a:lnTo>
                      <a:pt x="168" y="977"/>
                    </a:lnTo>
                    <a:lnTo>
                      <a:pt x="170" y="977"/>
                    </a:lnTo>
                    <a:lnTo>
                      <a:pt x="170" y="978"/>
                    </a:lnTo>
                    <a:lnTo>
                      <a:pt x="170" y="975"/>
                    </a:lnTo>
                    <a:lnTo>
                      <a:pt x="170" y="978"/>
                    </a:lnTo>
                    <a:lnTo>
                      <a:pt x="172" y="977"/>
                    </a:lnTo>
                    <a:lnTo>
                      <a:pt x="170" y="978"/>
                    </a:lnTo>
                    <a:lnTo>
                      <a:pt x="172" y="978"/>
                    </a:lnTo>
                    <a:lnTo>
                      <a:pt x="172" y="980"/>
                    </a:lnTo>
                    <a:lnTo>
                      <a:pt x="174" y="978"/>
                    </a:lnTo>
                    <a:lnTo>
                      <a:pt x="174" y="980"/>
                    </a:lnTo>
                    <a:lnTo>
                      <a:pt x="174" y="982"/>
                    </a:lnTo>
                    <a:lnTo>
                      <a:pt x="174" y="980"/>
                    </a:lnTo>
                    <a:lnTo>
                      <a:pt x="174" y="978"/>
                    </a:lnTo>
                    <a:lnTo>
                      <a:pt x="175" y="978"/>
                    </a:lnTo>
                    <a:lnTo>
                      <a:pt x="174" y="978"/>
                    </a:lnTo>
                    <a:lnTo>
                      <a:pt x="175" y="980"/>
                    </a:lnTo>
                    <a:lnTo>
                      <a:pt x="175" y="978"/>
                    </a:lnTo>
                    <a:lnTo>
                      <a:pt x="175" y="980"/>
                    </a:lnTo>
                    <a:lnTo>
                      <a:pt x="175" y="978"/>
                    </a:lnTo>
                    <a:lnTo>
                      <a:pt x="177" y="978"/>
                    </a:lnTo>
                    <a:lnTo>
                      <a:pt x="175" y="980"/>
                    </a:lnTo>
                    <a:lnTo>
                      <a:pt x="177" y="978"/>
                    </a:lnTo>
                    <a:lnTo>
                      <a:pt x="177" y="980"/>
                    </a:lnTo>
                    <a:lnTo>
                      <a:pt x="177" y="978"/>
                    </a:lnTo>
                    <a:lnTo>
                      <a:pt x="179" y="975"/>
                    </a:lnTo>
                    <a:lnTo>
                      <a:pt x="179" y="977"/>
                    </a:lnTo>
                    <a:lnTo>
                      <a:pt x="179" y="975"/>
                    </a:lnTo>
                    <a:lnTo>
                      <a:pt x="179" y="973"/>
                    </a:lnTo>
                    <a:lnTo>
                      <a:pt x="179" y="975"/>
                    </a:lnTo>
                    <a:lnTo>
                      <a:pt x="177" y="973"/>
                    </a:lnTo>
                    <a:lnTo>
                      <a:pt x="179" y="973"/>
                    </a:lnTo>
                    <a:lnTo>
                      <a:pt x="181" y="971"/>
                    </a:lnTo>
                    <a:lnTo>
                      <a:pt x="179" y="971"/>
                    </a:lnTo>
                    <a:lnTo>
                      <a:pt x="181" y="971"/>
                    </a:lnTo>
                    <a:lnTo>
                      <a:pt x="181" y="973"/>
                    </a:lnTo>
                    <a:lnTo>
                      <a:pt x="181" y="971"/>
                    </a:lnTo>
                    <a:lnTo>
                      <a:pt x="181" y="973"/>
                    </a:lnTo>
                    <a:lnTo>
                      <a:pt x="183" y="973"/>
                    </a:lnTo>
                    <a:lnTo>
                      <a:pt x="181" y="973"/>
                    </a:lnTo>
                    <a:lnTo>
                      <a:pt x="183" y="973"/>
                    </a:lnTo>
                    <a:lnTo>
                      <a:pt x="183" y="975"/>
                    </a:lnTo>
                    <a:lnTo>
                      <a:pt x="185" y="977"/>
                    </a:lnTo>
                    <a:lnTo>
                      <a:pt x="183" y="977"/>
                    </a:lnTo>
                    <a:lnTo>
                      <a:pt x="185" y="977"/>
                    </a:lnTo>
                    <a:lnTo>
                      <a:pt x="183" y="977"/>
                    </a:lnTo>
                    <a:lnTo>
                      <a:pt x="185" y="978"/>
                    </a:lnTo>
                    <a:lnTo>
                      <a:pt x="185" y="977"/>
                    </a:lnTo>
                    <a:lnTo>
                      <a:pt x="185" y="980"/>
                    </a:lnTo>
                    <a:lnTo>
                      <a:pt x="183" y="980"/>
                    </a:lnTo>
                    <a:lnTo>
                      <a:pt x="185" y="982"/>
                    </a:lnTo>
                    <a:lnTo>
                      <a:pt x="183" y="982"/>
                    </a:lnTo>
                    <a:lnTo>
                      <a:pt x="177" y="986"/>
                    </a:lnTo>
                    <a:lnTo>
                      <a:pt x="175" y="988"/>
                    </a:lnTo>
                    <a:lnTo>
                      <a:pt x="174" y="990"/>
                    </a:lnTo>
                    <a:lnTo>
                      <a:pt x="172" y="992"/>
                    </a:lnTo>
                    <a:lnTo>
                      <a:pt x="170" y="990"/>
                    </a:lnTo>
                    <a:lnTo>
                      <a:pt x="170" y="992"/>
                    </a:lnTo>
                    <a:lnTo>
                      <a:pt x="168" y="994"/>
                    </a:lnTo>
                    <a:lnTo>
                      <a:pt x="168" y="992"/>
                    </a:lnTo>
                    <a:lnTo>
                      <a:pt x="166" y="994"/>
                    </a:lnTo>
                    <a:lnTo>
                      <a:pt x="166" y="996"/>
                    </a:lnTo>
                    <a:lnTo>
                      <a:pt x="168" y="996"/>
                    </a:lnTo>
                    <a:lnTo>
                      <a:pt x="164" y="998"/>
                    </a:lnTo>
                    <a:lnTo>
                      <a:pt x="162" y="1003"/>
                    </a:lnTo>
                    <a:lnTo>
                      <a:pt x="164" y="1005"/>
                    </a:lnTo>
                    <a:lnTo>
                      <a:pt x="166" y="1005"/>
                    </a:lnTo>
                    <a:lnTo>
                      <a:pt x="168" y="1001"/>
                    </a:lnTo>
                    <a:lnTo>
                      <a:pt x="170" y="998"/>
                    </a:lnTo>
                    <a:lnTo>
                      <a:pt x="175" y="996"/>
                    </a:lnTo>
                    <a:lnTo>
                      <a:pt x="177" y="994"/>
                    </a:lnTo>
                    <a:lnTo>
                      <a:pt x="181" y="992"/>
                    </a:lnTo>
                    <a:lnTo>
                      <a:pt x="183" y="990"/>
                    </a:lnTo>
                    <a:lnTo>
                      <a:pt x="191" y="990"/>
                    </a:lnTo>
                    <a:lnTo>
                      <a:pt x="193" y="984"/>
                    </a:lnTo>
                    <a:lnTo>
                      <a:pt x="195" y="984"/>
                    </a:lnTo>
                    <a:lnTo>
                      <a:pt x="193" y="984"/>
                    </a:lnTo>
                    <a:lnTo>
                      <a:pt x="193" y="986"/>
                    </a:lnTo>
                    <a:lnTo>
                      <a:pt x="193" y="988"/>
                    </a:lnTo>
                    <a:lnTo>
                      <a:pt x="193" y="990"/>
                    </a:lnTo>
                    <a:lnTo>
                      <a:pt x="191" y="990"/>
                    </a:lnTo>
                    <a:lnTo>
                      <a:pt x="189" y="990"/>
                    </a:lnTo>
                    <a:lnTo>
                      <a:pt x="189" y="994"/>
                    </a:lnTo>
                    <a:lnTo>
                      <a:pt x="189" y="996"/>
                    </a:lnTo>
                    <a:lnTo>
                      <a:pt x="191" y="996"/>
                    </a:lnTo>
                    <a:lnTo>
                      <a:pt x="191" y="994"/>
                    </a:lnTo>
                    <a:lnTo>
                      <a:pt x="193" y="996"/>
                    </a:lnTo>
                    <a:lnTo>
                      <a:pt x="195" y="994"/>
                    </a:lnTo>
                    <a:lnTo>
                      <a:pt x="196" y="992"/>
                    </a:lnTo>
                    <a:lnTo>
                      <a:pt x="196" y="990"/>
                    </a:lnTo>
                    <a:lnTo>
                      <a:pt x="198" y="988"/>
                    </a:lnTo>
                    <a:lnTo>
                      <a:pt x="202" y="984"/>
                    </a:lnTo>
                    <a:lnTo>
                      <a:pt x="202" y="982"/>
                    </a:lnTo>
                    <a:lnTo>
                      <a:pt x="202" y="978"/>
                    </a:lnTo>
                    <a:lnTo>
                      <a:pt x="202" y="977"/>
                    </a:lnTo>
                    <a:lnTo>
                      <a:pt x="206" y="975"/>
                    </a:lnTo>
                    <a:lnTo>
                      <a:pt x="208" y="975"/>
                    </a:lnTo>
                    <a:lnTo>
                      <a:pt x="210" y="973"/>
                    </a:lnTo>
                    <a:lnTo>
                      <a:pt x="210" y="975"/>
                    </a:lnTo>
                    <a:lnTo>
                      <a:pt x="212" y="973"/>
                    </a:lnTo>
                    <a:lnTo>
                      <a:pt x="214" y="973"/>
                    </a:lnTo>
                    <a:lnTo>
                      <a:pt x="216" y="971"/>
                    </a:lnTo>
                    <a:lnTo>
                      <a:pt x="214" y="971"/>
                    </a:lnTo>
                    <a:lnTo>
                      <a:pt x="210" y="971"/>
                    </a:lnTo>
                    <a:lnTo>
                      <a:pt x="210" y="969"/>
                    </a:lnTo>
                    <a:lnTo>
                      <a:pt x="208" y="969"/>
                    </a:lnTo>
                    <a:lnTo>
                      <a:pt x="206" y="965"/>
                    </a:lnTo>
                    <a:lnTo>
                      <a:pt x="208" y="967"/>
                    </a:lnTo>
                    <a:lnTo>
                      <a:pt x="210" y="965"/>
                    </a:lnTo>
                    <a:lnTo>
                      <a:pt x="208" y="965"/>
                    </a:lnTo>
                    <a:lnTo>
                      <a:pt x="204" y="965"/>
                    </a:lnTo>
                    <a:lnTo>
                      <a:pt x="206" y="965"/>
                    </a:lnTo>
                    <a:lnTo>
                      <a:pt x="204" y="965"/>
                    </a:lnTo>
                    <a:lnTo>
                      <a:pt x="204" y="963"/>
                    </a:lnTo>
                    <a:lnTo>
                      <a:pt x="206" y="959"/>
                    </a:lnTo>
                    <a:lnTo>
                      <a:pt x="208" y="956"/>
                    </a:lnTo>
                    <a:lnTo>
                      <a:pt x="216" y="963"/>
                    </a:lnTo>
                    <a:lnTo>
                      <a:pt x="221" y="971"/>
                    </a:lnTo>
                    <a:lnTo>
                      <a:pt x="225" y="982"/>
                    </a:lnTo>
                    <a:lnTo>
                      <a:pt x="225" y="984"/>
                    </a:lnTo>
                    <a:lnTo>
                      <a:pt x="227" y="984"/>
                    </a:lnTo>
                    <a:lnTo>
                      <a:pt x="227" y="986"/>
                    </a:lnTo>
                    <a:lnTo>
                      <a:pt x="229" y="994"/>
                    </a:lnTo>
                    <a:lnTo>
                      <a:pt x="235" y="1003"/>
                    </a:lnTo>
                    <a:lnTo>
                      <a:pt x="240" y="1011"/>
                    </a:lnTo>
                    <a:lnTo>
                      <a:pt x="242" y="1011"/>
                    </a:lnTo>
                    <a:lnTo>
                      <a:pt x="244" y="1011"/>
                    </a:lnTo>
                    <a:lnTo>
                      <a:pt x="246" y="1011"/>
                    </a:lnTo>
                    <a:lnTo>
                      <a:pt x="244" y="1011"/>
                    </a:lnTo>
                    <a:lnTo>
                      <a:pt x="246" y="1011"/>
                    </a:lnTo>
                    <a:lnTo>
                      <a:pt x="246" y="1013"/>
                    </a:lnTo>
                    <a:lnTo>
                      <a:pt x="248" y="1013"/>
                    </a:lnTo>
                    <a:lnTo>
                      <a:pt x="250" y="1013"/>
                    </a:lnTo>
                    <a:lnTo>
                      <a:pt x="250" y="1011"/>
                    </a:lnTo>
                    <a:lnTo>
                      <a:pt x="252" y="1011"/>
                    </a:lnTo>
                    <a:lnTo>
                      <a:pt x="250" y="1011"/>
                    </a:lnTo>
                    <a:lnTo>
                      <a:pt x="248" y="1011"/>
                    </a:lnTo>
                    <a:lnTo>
                      <a:pt x="248" y="1009"/>
                    </a:lnTo>
                    <a:lnTo>
                      <a:pt x="252" y="1011"/>
                    </a:lnTo>
                    <a:lnTo>
                      <a:pt x="254" y="1009"/>
                    </a:lnTo>
                    <a:lnTo>
                      <a:pt x="254" y="1007"/>
                    </a:lnTo>
                    <a:lnTo>
                      <a:pt x="252" y="1007"/>
                    </a:lnTo>
                    <a:lnTo>
                      <a:pt x="254" y="1007"/>
                    </a:lnTo>
                    <a:lnTo>
                      <a:pt x="252" y="1007"/>
                    </a:lnTo>
                    <a:lnTo>
                      <a:pt x="250" y="1007"/>
                    </a:lnTo>
                    <a:lnTo>
                      <a:pt x="248" y="1007"/>
                    </a:lnTo>
                    <a:lnTo>
                      <a:pt x="246" y="1007"/>
                    </a:lnTo>
                    <a:lnTo>
                      <a:pt x="248" y="1009"/>
                    </a:lnTo>
                    <a:lnTo>
                      <a:pt x="246" y="1009"/>
                    </a:lnTo>
                    <a:lnTo>
                      <a:pt x="246" y="1007"/>
                    </a:lnTo>
                    <a:lnTo>
                      <a:pt x="248" y="1005"/>
                    </a:lnTo>
                    <a:lnTo>
                      <a:pt x="250" y="1005"/>
                    </a:lnTo>
                    <a:lnTo>
                      <a:pt x="250" y="1003"/>
                    </a:lnTo>
                    <a:lnTo>
                      <a:pt x="252" y="1005"/>
                    </a:lnTo>
                    <a:lnTo>
                      <a:pt x="254" y="1007"/>
                    </a:lnTo>
                    <a:lnTo>
                      <a:pt x="254" y="1005"/>
                    </a:lnTo>
                    <a:lnTo>
                      <a:pt x="252" y="1003"/>
                    </a:lnTo>
                    <a:lnTo>
                      <a:pt x="250" y="1003"/>
                    </a:lnTo>
                    <a:lnTo>
                      <a:pt x="252" y="1001"/>
                    </a:lnTo>
                    <a:lnTo>
                      <a:pt x="252" y="1003"/>
                    </a:lnTo>
                    <a:lnTo>
                      <a:pt x="254" y="1003"/>
                    </a:lnTo>
                    <a:lnTo>
                      <a:pt x="252" y="1003"/>
                    </a:lnTo>
                    <a:lnTo>
                      <a:pt x="252" y="1001"/>
                    </a:lnTo>
                    <a:lnTo>
                      <a:pt x="250" y="999"/>
                    </a:lnTo>
                    <a:lnTo>
                      <a:pt x="250" y="1001"/>
                    </a:lnTo>
                    <a:lnTo>
                      <a:pt x="248" y="1001"/>
                    </a:lnTo>
                    <a:lnTo>
                      <a:pt x="250" y="999"/>
                    </a:lnTo>
                    <a:lnTo>
                      <a:pt x="248" y="999"/>
                    </a:lnTo>
                    <a:lnTo>
                      <a:pt x="250" y="998"/>
                    </a:lnTo>
                    <a:lnTo>
                      <a:pt x="250" y="996"/>
                    </a:lnTo>
                    <a:lnTo>
                      <a:pt x="250" y="998"/>
                    </a:lnTo>
                    <a:lnTo>
                      <a:pt x="250" y="996"/>
                    </a:lnTo>
                    <a:lnTo>
                      <a:pt x="252" y="998"/>
                    </a:lnTo>
                    <a:lnTo>
                      <a:pt x="252" y="996"/>
                    </a:lnTo>
                    <a:lnTo>
                      <a:pt x="254" y="996"/>
                    </a:lnTo>
                    <a:lnTo>
                      <a:pt x="254" y="994"/>
                    </a:lnTo>
                    <a:lnTo>
                      <a:pt x="256" y="994"/>
                    </a:lnTo>
                    <a:lnTo>
                      <a:pt x="256" y="996"/>
                    </a:lnTo>
                    <a:lnTo>
                      <a:pt x="256" y="998"/>
                    </a:lnTo>
                    <a:lnTo>
                      <a:pt x="257" y="999"/>
                    </a:lnTo>
                    <a:lnTo>
                      <a:pt x="257" y="998"/>
                    </a:lnTo>
                    <a:lnTo>
                      <a:pt x="257" y="996"/>
                    </a:lnTo>
                    <a:lnTo>
                      <a:pt x="259" y="996"/>
                    </a:lnTo>
                    <a:lnTo>
                      <a:pt x="257" y="994"/>
                    </a:lnTo>
                    <a:lnTo>
                      <a:pt x="256" y="994"/>
                    </a:lnTo>
                    <a:lnTo>
                      <a:pt x="254" y="994"/>
                    </a:lnTo>
                    <a:lnTo>
                      <a:pt x="254" y="992"/>
                    </a:lnTo>
                    <a:lnTo>
                      <a:pt x="252" y="994"/>
                    </a:lnTo>
                    <a:lnTo>
                      <a:pt x="252" y="992"/>
                    </a:lnTo>
                    <a:lnTo>
                      <a:pt x="250" y="992"/>
                    </a:lnTo>
                    <a:lnTo>
                      <a:pt x="252" y="990"/>
                    </a:lnTo>
                    <a:lnTo>
                      <a:pt x="254" y="990"/>
                    </a:lnTo>
                    <a:lnTo>
                      <a:pt x="252" y="990"/>
                    </a:lnTo>
                    <a:lnTo>
                      <a:pt x="254" y="990"/>
                    </a:lnTo>
                    <a:lnTo>
                      <a:pt x="254" y="992"/>
                    </a:lnTo>
                    <a:lnTo>
                      <a:pt x="256" y="990"/>
                    </a:lnTo>
                    <a:lnTo>
                      <a:pt x="256" y="988"/>
                    </a:lnTo>
                    <a:lnTo>
                      <a:pt x="257" y="984"/>
                    </a:lnTo>
                    <a:lnTo>
                      <a:pt x="259" y="984"/>
                    </a:lnTo>
                    <a:lnTo>
                      <a:pt x="257" y="982"/>
                    </a:lnTo>
                    <a:lnTo>
                      <a:pt x="256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54" y="984"/>
                    </a:lnTo>
                    <a:lnTo>
                      <a:pt x="252" y="984"/>
                    </a:lnTo>
                    <a:lnTo>
                      <a:pt x="254" y="984"/>
                    </a:lnTo>
                    <a:lnTo>
                      <a:pt x="254" y="986"/>
                    </a:lnTo>
                    <a:lnTo>
                      <a:pt x="252" y="984"/>
                    </a:lnTo>
                    <a:lnTo>
                      <a:pt x="252" y="986"/>
                    </a:lnTo>
                    <a:lnTo>
                      <a:pt x="252" y="982"/>
                    </a:lnTo>
                    <a:lnTo>
                      <a:pt x="254" y="980"/>
                    </a:lnTo>
                    <a:lnTo>
                      <a:pt x="256" y="980"/>
                    </a:lnTo>
                    <a:lnTo>
                      <a:pt x="256" y="978"/>
                    </a:lnTo>
                    <a:lnTo>
                      <a:pt x="256" y="980"/>
                    </a:lnTo>
                    <a:lnTo>
                      <a:pt x="256" y="982"/>
                    </a:lnTo>
                    <a:lnTo>
                      <a:pt x="257" y="980"/>
                    </a:lnTo>
                    <a:lnTo>
                      <a:pt x="256" y="980"/>
                    </a:lnTo>
                    <a:lnTo>
                      <a:pt x="261" y="978"/>
                    </a:lnTo>
                    <a:lnTo>
                      <a:pt x="261" y="980"/>
                    </a:lnTo>
                    <a:lnTo>
                      <a:pt x="261" y="982"/>
                    </a:lnTo>
                    <a:lnTo>
                      <a:pt x="263" y="982"/>
                    </a:lnTo>
                    <a:lnTo>
                      <a:pt x="263" y="980"/>
                    </a:lnTo>
                    <a:lnTo>
                      <a:pt x="261" y="980"/>
                    </a:lnTo>
                    <a:lnTo>
                      <a:pt x="263" y="980"/>
                    </a:lnTo>
                    <a:lnTo>
                      <a:pt x="265" y="980"/>
                    </a:lnTo>
                    <a:lnTo>
                      <a:pt x="263" y="980"/>
                    </a:lnTo>
                    <a:lnTo>
                      <a:pt x="265" y="980"/>
                    </a:lnTo>
                    <a:lnTo>
                      <a:pt x="265" y="978"/>
                    </a:lnTo>
                    <a:lnTo>
                      <a:pt x="263" y="978"/>
                    </a:lnTo>
                    <a:lnTo>
                      <a:pt x="261" y="978"/>
                    </a:lnTo>
                    <a:lnTo>
                      <a:pt x="263" y="978"/>
                    </a:lnTo>
                    <a:lnTo>
                      <a:pt x="261" y="977"/>
                    </a:lnTo>
                    <a:lnTo>
                      <a:pt x="261" y="978"/>
                    </a:lnTo>
                    <a:lnTo>
                      <a:pt x="259" y="978"/>
                    </a:lnTo>
                    <a:lnTo>
                      <a:pt x="261" y="978"/>
                    </a:lnTo>
                    <a:lnTo>
                      <a:pt x="261" y="977"/>
                    </a:lnTo>
                    <a:lnTo>
                      <a:pt x="259" y="977"/>
                    </a:lnTo>
                    <a:lnTo>
                      <a:pt x="261" y="975"/>
                    </a:lnTo>
                    <a:lnTo>
                      <a:pt x="259" y="973"/>
                    </a:lnTo>
                    <a:lnTo>
                      <a:pt x="259" y="975"/>
                    </a:lnTo>
                    <a:lnTo>
                      <a:pt x="261" y="973"/>
                    </a:lnTo>
                    <a:lnTo>
                      <a:pt x="263" y="973"/>
                    </a:lnTo>
                    <a:lnTo>
                      <a:pt x="263" y="975"/>
                    </a:lnTo>
                    <a:lnTo>
                      <a:pt x="261" y="975"/>
                    </a:lnTo>
                    <a:lnTo>
                      <a:pt x="261" y="977"/>
                    </a:lnTo>
                    <a:lnTo>
                      <a:pt x="263" y="975"/>
                    </a:lnTo>
                    <a:lnTo>
                      <a:pt x="263" y="977"/>
                    </a:lnTo>
                    <a:lnTo>
                      <a:pt x="261" y="977"/>
                    </a:lnTo>
                    <a:lnTo>
                      <a:pt x="265" y="975"/>
                    </a:lnTo>
                    <a:lnTo>
                      <a:pt x="265" y="977"/>
                    </a:lnTo>
                    <a:lnTo>
                      <a:pt x="265" y="978"/>
                    </a:lnTo>
                    <a:lnTo>
                      <a:pt x="265" y="977"/>
                    </a:lnTo>
                    <a:lnTo>
                      <a:pt x="267" y="980"/>
                    </a:lnTo>
                    <a:lnTo>
                      <a:pt x="265" y="980"/>
                    </a:lnTo>
                    <a:lnTo>
                      <a:pt x="265" y="982"/>
                    </a:lnTo>
                    <a:lnTo>
                      <a:pt x="265" y="980"/>
                    </a:lnTo>
                    <a:lnTo>
                      <a:pt x="263" y="982"/>
                    </a:lnTo>
                    <a:lnTo>
                      <a:pt x="263" y="980"/>
                    </a:lnTo>
                    <a:lnTo>
                      <a:pt x="263" y="982"/>
                    </a:lnTo>
                    <a:lnTo>
                      <a:pt x="265" y="982"/>
                    </a:lnTo>
                    <a:lnTo>
                      <a:pt x="263" y="982"/>
                    </a:lnTo>
                    <a:lnTo>
                      <a:pt x="263" y="984"/>
                    </a:lnTo>
                    <a:lnTo>
                      <a:pt x="265" y="984"/>
                    </a:lnTo>
                    <a:lnTo>
                      <a:pt x="265" y="986"/>
                    </a:lnTo>
                    <a:lnTo>
                      <a:pt x="263" y="986"/>
                    </a:lnTo>
                    <a:lnTo>
                      <a:pt x="263" y="988"/>
                    </a:lnTo>
                    <a:lnTo>
                      <a:pt x="265" y="988"/>
                    </a:lnTo>
                    <a:lnTo>
                      <a:pt x="265" y="990"/>
                    </a:lnTo>
                    <a:lnTo>
                      <a:pt x="263" y="992"/>
                    </a:lnTo>
                    <a:lnTo>
                      <a:pt x="265" y="992"/>
                    </a:lnTo>
                    <a:lnTo>
                      <a:pt x="263" y="992"/>
                    </a:lnTo>
                    <a:lnTo>
                      <a:pt x="263" y="996"/>
                    </a:lnTo>
                    <a:lnTo>
                      <a:pt x="265" y="996"/>
                    </a:lnTo>
                    <a:lnTo>
                      <a:pt x="267" y="996"/>
                    </a:lnTo>
                    <a:lnTo>
                      <a:pt x="269" y="994"/>
                    </a:lnTo>
                    <a:lnTo>
                      <a:pt x="269" y="996"/>
                    </a:lnTo>
                    <a:lnTo>
                      <a:pt x="271" y="996"/>
                    </a:lnTo>
                    <a:lnTo>
                      <a:pt x="269" y="998"/>
                    </a:lnTo>
                    <a:lnTo>
                      <a:pt x="271" y="998"/>
                    </a:lnTo>
                    <a:lnTo>
                      <a:pt x="269" y="999"/>
                    </a:lnTo>
                    <a:lnTo>
                      <a:pt x="267" y="1003"/>
                    </a:lnTo>
                    <a:lnTo>
                      <a:pt x="265" y="1005"/>
                    </a:lnTo>
                    <a:lnTo>
                      <a:pt x="265" y="1009"/>
                    </a:lnTo>
                    <a:lnTo>
                      <a:pt x="263" y="1009"/>
                    </a:lnTo>
                    <a:lnTo>
                      <a:pt x="263" y="1011"/>
                    </a:lnTo>
                    <a:lnTo>
                      <a:pt x="265" y="1011"/>
                    </a:lnTo>
                    <a:lnTo>
                      <a:pt x="267" y="1013"/>
                    </a:lnTo>
                    <a:lnTo>
                      <a:pt x="269" y="1013"/>
                    </a:lnTo>
                    <a:lnTo>
                      <a:pt x="271" y="1011"/>
                    </a:lnTo>
                    <a:lnTo>
                      <a:pt x="271" y="1013"/>
                    </a:lnTo>
                    <a:lnTo>
                      <a:pt x="271" y="1011"/>
                    </a:lnTo>
                    <a:lnTo>
                      <a:pt x="273" y="1009"/>
                    </a:lnTo>
                    <a:lnTo>
                      <a:pt x="275" y="1013"/>
                    </a:lnTo>
                    <a:lnTo>
                      <a:pt x="275" y="1011"/>
                    </a:lnTo>
                    <a:lnTo>
                      <a:pt x="277" y="1013"/>
                    </a:lnTo>
                    <a:lnTo>
                      <a:pt x="282" y="1009"/>
                    </a:lnTo>
                    <a:lnTo>
                      <a:pt x="280" y="1009"/>
                    </a:lnTo>
                    <a:lnTo>
                      <a:pt x="280" y="1007"/>
                    </a:lnTo>
                    <a:lnTo>
                      <a:pt x="282" y="1005"/>
                    </a:lnTo>
                    <a:lnTo>
                      <a:pt x="280" y="1005"/>
                    </a:lnTo>
                    <a:lnTo>
                      <a:pt x="284" y="1005"/>
                    </a:lnTo>
                    <a:lnTo>
                      <a:pt x="282" y="1005"/>
                    </a:lnTo>
                    <a:lnTo>
                      <a:pt x="284" y="1005"/>
                    </a:lnTo>
                    <a:lnTo>
                      <a:pt x="284" y="1003"/>
                    </a:lnTo>
                    <a:lnTo>
                      <a:pt x="284" y="1005"/>
                    </a:lnTo>
                    <a:lnTo>
                      <a:pt x="286" y="1003"/>
                    </a:lnTo>
                    <a:lnTo>
                      <a:pt x="284" y="999"/>
                    </a:lnTo>
                    <a:lnTo>
                      <a:pt x="286" y="998"/>
                    </a:lnTo>
                    <a:lnTo>
                      <a:pt x="286" y="994"/>
                    </a:lnTo>
                    <a:lnTo>
                      <a:pt x="284" y="994"/>
                    </a:lnTo>
                    <a:lnTo>
                      <a:pt x="288" y="990"/>
                    </a:lnTo>
                    <a:lnTo>
                      <a:pt x="290" y="992"/>
                    </a:lnTo>
                    <a:lnTo>
                      <a:pt x="292" y="992"/>
                    </a:lnTo>
                    <a:lnTo>
                      <a:pt x="292" y="990"/>
                    </a:lnTo>
                    <a:lnTo>
                      <a:pt x="292" y="992"/>
                    </a:lnTo>
                    <a:lnTo>
                      <a:pt x="292" y="990"/>
                    </a:lnTo>
                    <a:lnTo>
                      <a:pt x="294" y="992"/>
                    </a:lnTo>
                    <a:lnTo>
                      <a:pt x="296" y="992"/>
                    </a:lnTo>
                    <a:lnTo>
                      <a:pt x="297" y="990"/>
                    </a:lnTo>
                    <a:lnTo>
                      <a:pt x="299" y="990"/>
                    </a:lnTo>
                    <a:lnTo>
                      <a:pt x="301" y="992"/>
                    </a:lnTo>
                    <a:lnTo>
                      <a:pt x="301" y="990"/>
                    </a:lnTo>
                    <a:lnTo>
                      <a:pt x="305" y="990"/>
                    </a:lnTo>
                    <a:lnTo>
                      <a:pt x="309" y="992"/>
                    </a:lnTo>
                    <a:lnTo>
                      <a:pt x="313" y="992"/>
                    </a:lnTo>
                    <a:lnTo>
                      <a:pt x="317" y="996"/>
                    </a:lnTo>
                    <a:lnTo>
                      <a:pt x="320" y="998"/>
                    </a:lnTo>
                    <a:lnTo>
                      <a:pt x="328" y="1007"/>
                    </a:lnTo>
                    <a:lnTo>
                      <a:pt x="330" y="1009"/>
                    </a:lnTo>
                    <a:lnTo>
                      <a:pt x="336" y="1013"/>
                    </a:lnTo>
                    <a:lnTo>
                      <a:pt x="339" y="1013"/>
                    </a:lnTo>
                    <a:lnTo>
                      <a:pt x="345" y="1015"/>
                    </a:lnTo>
                    <a:lnTo>
                      <a:pt x="347" y="1015"/>
                    </a:lnTo>
                    <a:lnTo>
                      <a:pt x="357" y="1017"/>
                    </a:lnTo>
                    <a:lnTo>
                      <a:pt x="360" y="1022"/>
                    </a:lnTo>
                    <a:lnTo>
                      <a:pt x="364" y="1024"/>
                    </a:lnTo>
                    <a:lnTo>
                      <a:pt x="366" y="1026"/>
                    </a:lnTo>
                    <a:lnTo>
                      <a:pt x="368" y="1028"/>
                    </a:lnTo>
                    <a:lnTo>
                      <a:pt x="378" y="1030"/>
                    </a:lnTo>
                    <a:lnTo>
                      <a:pt x="381" y="1032"/>
                    </a:lnTo>
                    <a:lnTo>
                      <a:pt x="383" y="1032"/>
                    </a:lnTo>
                    <a:lnTo>
                      <a:pt x="383" y="1030"/>
                    </a:lnTo>
                    <a:lnTo>
                      <a:pt x="385" y="1032"/>
                    </a:lnTo>
                    <a:lnTo>
                      <a:pt x="387" y="1032"/>
                    </a:lnTo>
                    <a:lnTo>
                      <a:pt x="385" y="1032"/>
                    </a:lnTo>
                    <a:lnTo>
                      <a:pt x="389" y="1034"/>
                    </a:lnTo>
                    <a:lnTo>
                      <a:pt x="393" y="1034"/>
                    </a:lnTo>
                    <a:lnTo>
                      <a:pt x="393" y="1032"/>
                    </a:lnTo>
                    <a:lnTo>
                      <a:pt x="395" y="1036"/>
                    </a:lnTo>
                    <a:lnTo>
                      <a:pt x="399" y="1036"/>
                    </a:lnTo>
                    <a:lnTo>
                      <a:pt x="400" y="1036"/>
                    </a:lnTo>
                    <a:lnTo>
                      <a:pt x="397" y="1034"/>
                    </a:lnTo>
                    <a:lnTo>
                      <a:pt x="399" y="1032"/>
                    </a:lnTo>
                    <a:lnTo>
                      <a:pt x="393" y="1030"/>
                    </a:lnTo>
                    <a:lnTo>
                      <a:pt x="395" y="1030"/>
                    </a:lnTo>
                    <a:lnTo>
                      <a:pt x="395" y="1028"/>
                    </a:lnTo>
                    <a:lnTo>
                      <a:pt x="402" y="1030"/>
                    </a:lnTo>
                    <a:lnTo>
                      <a:pt x="400" y="1026"/>
                    </a:lnTo>
                    <a:lnTo>
                      <a:pt x="404" y="1028"/>
                    </a:lnTo>
                    <a:lnTo>
                      <a:pt x="410" y="1032"/>
                    </a:lnTo>
                    <a:lnTo>
                      <a:pt x="412" y="1032"/>
                    </a:lnTo>
                    <a:lnTo>
                      <a:pt x="414" y="1034"/>
                    </a:lnTo>
                    <a:lnTo>
                      <a:pt x="416" y="1034"/>
                    </a:lnTo>
                    <a:lnTo>
                      <a:pt x="418" y="1036"/>
                    </a:lnTo>
                    <a:lnTo>
                      <a:pt x="418" y="1038"/>
                    </a:lnTo>
                    <a:lnTo>
                      <a:pt x="420" y="1038"/>
                    </a:lnTo>
                    <a:lnTo>
                      <a:pt x="418" y="1040"/>
                    </a:lnTo>
                    <a:lnTo>
                      <a:pt x="421" y="1040"/>
                    </a:lnTo>
                    <a:lnTo>
                      <a:pt x="423" y="1041"/>
                    </a:lnTo>
                    <a:lnTo>
                      <a:pt x="423" y="1043"/>
                    </a:lnTo>
                    <a:lnTo>
                      <a:pt x="427" y="1047"/>
                    </a:lnTo>
                    <a:lnTo>
                      <a:pt x="429" y="1049"/>
                    </a:lnTo>
                    <a:lnTo>
                      <a:pt x="429" y="1053"/>
                    </a:lnTo>
                    <a:lnTo>
                      <a:pt x="429" y="1055"/>
                    </a:lnTo>
                    <a:lnTo>
                      <a:pt x="431" y="1055"/>
                    </a:lnTo>
                    <a:lnTo>
                      <a:pt x="431" y="1053"/>
                    </a:lnTo>
                    <a:lnTo>
                      <a:pt x="433" y="1055"/>
                    </a:lnTo>
                    <a:lnTo>
                      <a:pt x="431" y="1055"/>
                    </a:lnTo>
                    <a:lnTo>
                      <a:pt x="431" y="1057"/>
                    </a:lnTo>
                    <a:lnTo>
                      <a:pt x="429" y="1059"/>
                    </a:lnTo>
                    <a:lnTo>
                      <a:pt x="431" y="1061"/>
                    </a:lnTo>
                    <a:lnTo>
                      <a:pt x="429" y="1061"/>
                    </a:lnTo>
                    <a:lnTo>
                      <a:pt x="427" y="1061"/>
                    </a:lnTo>
                    <a:lnTo>
                      <a:pt x="425" y="1061"/>
                    </a:lnTo>
                    <a:lnTo>
                      <a:pt x="423" y="1061"/>
                    </a:lnTo>
                    <a:lnTo>
                      <a:pt x="421" y="1061"/>
                    </a:lnTo>
                    <a:lnTo>
                      <a:pt x="414" y="1059"/>
                    </a:lnTo>
                    <a:lnTo>
                      <a:pt x="416" y="1061"/>
                    </a:lnTo>
                    <a:lnTo>
                      <a:pt x="420" y="1062"/>
                    </a:lnTo>
                    <a:lnTo>
                      <a:pt x="418" y="1062"/>
                    </a:lnTo>
                    <a:lnTo>
                      <a:pt x="418" y="1064"/>
                    </a:lnTo>
                    <a:lnTo>
                      <a:pt x="416" y="1064"/>
                    </a:lnTo>
                    <a:lnTo>
                      <a:pt x="410" y="1062"/>
                    </a:lnTo>
                    <a:lnTo>
                      <a:pt x="412" y="1064"/>
                    </a:lnTo>
                    <a:lnTo>
                      <a:pt x="412" y="1066"/>
                    </a:lnTo>
                    <a:lnTo>
                      <a:pt x="412" y="1070"/>
                    </a:lnTo>
                    <a:lnTo>
                      <a:pt x="414" y="1070"/>
                    </a:lnTo>
                    <a:lnTo>
                      <a:pt x="412" y="1072"/>
                    </a:lnTo>
                    <a:lnTo>
                      <a:pt x="410" y="1072"/>
                    </a:lnTo>
                    <a:lnTo>
                      <a:pt x="406" y="1074"/>
                    </a:lnTo>
                    <a:lnTo>
                      <a:pt x="406" y="1076"/>
                    </a:lnTo>
                    <a:lnTo>
                      <a:pt x="408" y="1076"/>
                    </a:lnTo>
                    <a:lnTo>
                      <a:pt x="412" y="1076"/>
                    </a:lnTo>
                    <a:lnTo>
                      <a:pt x="410" y="1076"/>
                    </a:lnTo>
                    <a:lnTo>
                      <a:pt x="410" y="1078"/>
                    </a:lnTo>
                    <a:lnTo>
                      <a:pt x="412" y="1076"/>
                    </a:lnTo>
                    <a:lnTo>
                      <a:pt x="410" y="1078"/>
                    </a:lnTo>
                    <a:lnTo>
                      <a:pt x="412" y="1078"/>
                    </a:lnTo>
                    <a:lnTo>
                      <a:pt x="414" y="1078"/>
                    </a:lnTo>
                    <a:lnTo>
                      <a:pt x="414" y="1080"/>
                    </a:lnTo>
                    <a:lnTo>
                      <a:pt x="420" y="1078"/>
                    </a:lnTo>
                    <a:lnTo>
                      <a:pt x="420" y="1080"/>
                    </a:lnTo>
                    <a:lnTo>
                      <a:pt x="421" y="1080"/>
                    </a:lnTo>
                    <a:lnTo>
                      <a:pt x="423" y="1080"/>
                    </a:lnTo>
                    <a:lnTo>
                      <a:pt x="423" y="1082"/>
                    </a:lnTo>
                    <a:lnTo>
                      <a:pt x="425" y="1082"/>
                    </a:lnTo>
                    <a:lnTo>
                      <a:pt x="427" y="1082"/>
                    </a:lnTo>
                    <a:lnTo>
                      <a:pt x="431" y="1083"/>
                    </a:lnTo>
                    <a:lnTo>
                      <a:pt x="433" y="1083"/>
                    </a:lnTo>
                    <a:lnTo>
                      <a:pt x="435" y="1083"/>
                    </a:lnTo>
                    <a:lnTo>
                      <a:pt x="441" y="1083"/>
                    </a:lnTo>
                    <a:lnTo>
                      <a:pt x="442" y="1083"/>
                    </a:lnTo>
                    <a:lnTo>
                      <a:pt x="444" y="1083"/>
                    </a:lnTo>
                    <a:lnTo>
                      <a:pt x="444" y="1085"/>
                    </a:lnTo>
                    <a:lnTo>
                      <a:pt x="446" y="1085"/>
                    </a:lnTo>
                    <a:lnTo>
                      <a:pt x="456" y="1085"/>
                    </a:lnTo>
                    <a:lnTo>
                      <a:pt x="458" y="1083"/>
                    </a:lnTo>
                    <a:lnTo>
                      <a:pt x="458" y="1082"/>
                    </a:lnTo>
                    <a:lnTo>
                      <a:pt x="460" y="1083"/>
                    </a:lnTo>
                    <a:lnTo>
                      <a:pt x="463" y="1082"/>
                    </a:lnTo>
                    <a:lnTo>
                      <a:pt x="463" y="1083"/>
                    </a:lnTo>
                    <a:lnTo>
                      <a:pt x="463" y="1085"/>
                    </a:lnTo>
                    <a:lnTo>
                      <a:pt x="463" y="1083"/>
                    </a:lnTo>
                    <a:lnTo>
                      <a:pt x="463" y="1085"/>
                    </a:lnTo>
                    <a:lnTo>
                      <a:pt x="465" y="1085"/>
                    </a:lnTo>
                    <a:lnTo>
                      <a:pt x="463" y="1085"/>
                    </a:lnTo>
                    <a:lnTo>
                      <a:pt x="465" y="1083"/>
                    </a:lnTo>
                    <a:lnTo>
                      <a:pt x="463" y="1083"/>
                    </a:lnTo>
                    <a:lnTo>
                      <a:pt x="463" y="1082"/>
                    </a:lnTo>
                    <a:lnTo>
                      <a:pt x="467" y="1082"/>
                    </a:lnTo>
                    <a:lnTo>
                      <a:pt x="469" y="1083"/>
                    </a:lnTo>
                    <a:lnTo>
                      <a:pt x="467" y="1082"/>
                    </a:lnTo>
                    <a:lnTo>
                      <a:pt x="469" y="1080"/>
                    </a:lnTo>
                    <a:lnTo>
                      <a:pt x="469" y="1082"/>
                    </a:lnTo>
                    <a:lnTo>
                      <a:pt x="471" y="1082"/>
                    </a:lnTo>
                    <a:lnTo>
                      <a:pt x="471" y="1083"/>
                    </a:lnTo>
                    <a:lnTo>
                      <a:pt x="471" y="1082"/>
                    </a:lnTo>
                    <a:lnTo>
                      <a:pt x="471" y="1083"/>
                    </a:lnTo>
                    <a:lnTo>
                      <a:pt x="473" y="1082"/>
                    </a:lnTo>
                    <a:lnTo>
                      <a:pt x="473" y="1080"/>
                    </a:lnTo>
                    <a:lnTo>
                      <a:pt x="475" y="1078"/>
                    </a:lnTo>
                    <a:lnTo>
                      <a:pt x="477" y="1078"/>
                    </a:lnTo>
                    <a:lnTo>
                      <a:pt x="475" y="1080"/>
                    </a:lnTo>
                    <a:lnTo>
                      <a:pt x="477" y="1080"/>
                    </a:lnTo>
                    <a:lnTo>
                      <a:pt x="475" y="1082"/>
                    </a:lnTo>
                    <a:lnTo>
                      <a:pt x="477" y="1080"/>
                    </a:lnTo>
                    <a:lnTo>
                      <a:pt x="477" y="1082"/>
                    </a:lnTo>
                    <a:lnTo>
                      <a:pt x="479" y="1082"/>
                    </a:lnTo>
                    <a:lnTo>
                      <a:pt x="481" y="1080"/>
                    </a:lnTo>
                    <a:lnTo>
                      <a:pt x="482" y="1076"/>
                    </a:lnTo>
                    <a:lnTo>
                      <a:pt x="484" y="1076"/>
                    </a:lnTo>
                    <a:lnTo>
                      <a:pt x="486" y="1076"/>
                    </a:lnTo>
                    <a:lnTo>
                      <a:pt x="486" y="1074"/>
                    </a:lnTo>
                    <a:lnTo>
                      <a:pt x="488" y="1074"/>
                    </a:lnTo>
                    <a:lnTo>
                      <a:pt x="488" y="1072"/>
                    </a:lnTo>
                    <a:lnTo>
                      <a:pt x="488" y="1074"/>
                    </a:lnTo>
                    <a:lnTo>
                      <a:pt x="490" y="1074"/>
                    </a:lnTo>
                    <a:lnTo>
                      <a:pt x="488" y="1072"/>
                    </a:lnTo>
                    <a:lnTo>
                      <a:pt x="490" y="1072"/>
                    </a:lnTo>
                    <a:lnTo>
                      <a:pt x="488" y="1072"/>
                    </a:lnTo>
                    <a:lnTo>
                      <a:pt x="490" y="1072"/>
                    </a:lnTo>
                    <a:lnTo>
                      <a:pt x="490" y="1074"/>
                    </a:lnTo>
                    <a:lnTo>
                      <a:pt x="490" y="1072"/>
                    </a:lnTo>
                    <a:lnTo>
                      <a:pt x="492" y="1072"/>
                    </a:lnTo>
                    <a:lnTo>
                      <a:pt x="494" y="1072"/>
                    </a:lnTo>
                    <a:lnTo>
                      <a:pt x="492" y="1070"/>
                    </a:lnTo>
                    <a:lnTo>
                      <a:pt x="494" y="1070"/>
                    </a:lnTo>
                    <a:lnTo>
                      <a:pt x="496" y="1074"/>
                    </a:lnTo>
                    <a:lnTo>
                      <a:pt x="494" y="1076"/>
                    </a:lnTo>
                    <a:lnTo>
                      <a:pt x="496" y="1076"/>
                    </a:lnTo>
                    <a:lnTo>
                      <a:pt x="498" y="1076"/>
                    </a:lnTo>
                    <a:lnTo>
                      <a:pt x="498" y="1078"/>
                    </a:lnTo>
                    <a:lnTo>
                      <a:pt x="500" y="1080"/>
                    </a:lnTo>
                    <a:lnTo>
                      <a:pt x="498" y="1080"/>
                    </a:lnTo>
                    <a:lnTo>
                      <a:pt x="500" y="1082"/>
                    </a:lnTo>
                    <a:lnTo>
                      <a:pt x="498" y="1082"/>
                    </a:lnTo>
                    <a:lnTo>
                      <a:pt x="500" y="1083"/>
                    </a:lnTo>
                    <a:lnTo>
                      <a:pt x="502" y="1083"/>
                    </a:lnTo>
                    <a:lnTo>
                      <a:pt x="502" y="1082"/>
                    </a:lnTo>
                    <a:lnTo>
                      <a:pt x="503" y="1082"/>
                    </a:lnTo>
                    <a:lnTo>
                      <a:pt x="505" y="1082"/>
                    </a:lnTo>
                    <a:lnTo>
                      <a:pt x="503" y="1082"/>
                    </a:lnTo>
                    <a:lnTo>
                      <a:pt x="505" y="1082"/>
                    </a:lnTo>
                    <a:lnTo>
                      <a:pt x="505" y="1083"/>
                    </a:lnTo>
                    <a:lnTo>
                      <a:pt x="507" y="1082"/>
                    </a:lnTo>
                    <a:lnTo>
                      <a:pt x="509" y="1083"/>
                    </a:lnTo>
                    <a:lnTo>
                      <a:pt x="511" y="1085"/>
                    </a:lnTo>
                    <a:lnTo>
                      <a:pt x="511" y="1089"/>
                    </a:lnTo>
                    <a:lnTo>
                      <a:pt x="511" y="1091"/>
                    </a:lnTo>
                    <a:lnTo>
                      <a:pt x="511" y="1093"/>
                    </a:lnTo>
                    <a:lnTo>
                      <a:pt x="511" y="1095"/>
                    </a:lnTo>
                    <a:lnTo>
                      <a:pt x="513" y="1095"/>
                    </a:lnTo>
                    <a:lnTo>
                      <a:pt x="513" y="1099"/>
                    </a:lnTo>
                    <a:lnTo>
                      <a:pt x="515" y="1093"/>
                    </a:lnTo>
                    <a:lnTo>
                      <a:pt x="515" y="1087"/>
                    </a:lnTo>
                    <a:lnTo>
                      <a:pt x="515" y="1085"/>
                    </a:lnTo>
                    <a:lnTo>
                      <a:pt x="517" y="1087"/>
                    </a:lnTo>
                    <a:lnTo>
                      <a:pt x="519" y="1099"/>
                    </a:lnTo>
                    <a:lnTo>
                      <a:pt x="519" y="1097"/>
                    </a:lnTo>
                    <a:lnTo>
                      <a:pt x="521" y="1097"/>
                    </a:lnTo>
                    <a:lnTo>
                      <a:pt x="519" y="1095"/>
                    </a:lnTo>
                    <a:lnTo>
                      <a:pt x="521" y="1095"/>
                    </a:lnTo>
                    <a:lnTo>
                      <a:pt x="523" y="1097"/>
                    </a:lnTo>
                    <a:lnTo>
                      <a:pt x="523" y="1095"/>
                    </a:lnTo>
                    <a:lnTo>
                      <a:pt x="523" y="1097"/>
                    </a:lnTo>
                    <a:lnTo>
                      <a:pt x="524" y="1099"/>
                    </a:lnTo>
                    <a:lnTo>
                      <a:pt x="526" y="1101"/>
                    </a:lnTo>
                    <a:lnTo>
                      <a:pt x="528" y="1103"/>
                    </a:lnTo>
                    <a:lnTo>
                      <a:pt x="526" y="1103"/>
                    </a:lnTo>
                    <a:lnTo>
                      <a:pt x="526" y="1104"/>
                    </a:lnTo>
                    <a:lnTo>
                      <a:pt x="528" y="1104"/>
                    </a:lnTo>
                    <a:lnTo>
                      <a:pt x="530" y="1106"/>
                    </a:lnTo>
                    <a:lnTo>
                      <a:pt x="528" y="1108"/>
                    </a:lnTo>
                    <a:lnTo>
                      <a:pt x="530" y="1110"/>
                    </a:lnTo>
                    <a:lnTo>
                      <a:pt x="528" y="1110"/>
                    </a:lnTo>
                    <a:lnTo>
                      <a:pt x="528" y="1112"/>
                    </a:lnTo>
                    <a:lnTo>
                      <a:pt x="528" y="1110"/>
                    </a:lnTo>
                    <a:lnTo>
                      <a:pt x="526" y="1108"/>
                    </a:lnTo>
                    <a:lnTo>
                      <a:pt x="524" y="1110"/>
                    </a:lnTo>
                    <a:lnTo>
                      <a:pt x="523" y="1110"/>
                    </a:lnTo>
                    <a:lnTo>
                      <a:pt x="523" y="1112"/>
                    </a:lnTo>
                    <a:lnTo>
                      <a:pt x="521" y="1112"/>
                    </a:lnTo>
                    <a:lnTo>
                      <a:pt x="517" y="1106"/>
                    </a:lnTo>
                    <a:lnTo>
                      <a:pt x="517" y="1110"/>
                    </a:lnTo>
                    <a:lnTo>
                      <a:pt x="519" y="1112"/>
                    </a:lnTo>
                    <a:lnTo>
                      <a:pt x="519" y="1110"/>
                    </a:lnTo>
                    <a:lnTo>
                      <a:pt x="521" y="1112"/>
                    </a:lnTo>
                    <a:lnTo>
                      <a:pt x="524" y="1114"/>
                    </a:lnTo>
                    <a:lnTo>
                      <a:pt x="524" y="1116"/>
                    </a:lnTo>
                    <a:lnTo>
                      <a:pt x="524" y="1118"/>
                    </a:lnTo>
                    <a:lnTo>
                      <a:pt x="524" y="1120"/>
                    </a:lnTo>
                    <a:lnTo>
                      <a:pt x="526" y="1120"/>
                    </a:lnTo>
                    <a:lnTo>
                      <a:pt x="526" y="1122"/>
                    </a:lnTo>
                    <a:lnTo>
                      <a:pt x="526" y="1124"/>
                    </a:lnTo>
                    <a:lnTo>
                      <a:pt x="528" y="1125"/>
                    </a:lnTo>
                    <a:lnTo>
                      <a:pt x="528" y="1124"/>
                    </a:lnTo>
                    <a:lnTo>
                      <a:pt x="528" y="1122"/>
                    </a:lnTo>
                    <a:lnTo>
                      <a:pt x="532" y="1127"/>
                    </a:lnTo>
                    <a:lnTo>
                      <a:pt x="530" y="1127"/>
                    </a:lnTo>
                    <a:lnTo>
                      <a:pt x="530" y="1129"/>
                    </a:lnTo>
                    <a:lnTo>
                      <a:pt x="532" y="1131"/>
                    </a:lnTo>
                    <a:lnTo>
                      <a:pt x="534" y="1131"/>
                    </a:lnTo>
                    <a:lnTo>
                      <a:pt x="536" y="1135"/>
                    </a:lnTo>
                    <a:lnTo>
                      <a:pt x="538" y="1139"/>
                    </a:lnTo>
                    <a:lnTo>
                      <a:pt x="540" y="1137"/>
                    </a:lnTo>
                    <a:lnTo>
                      <a:pt x="538" y="1137"/>
                    </a:lnTo>
                    <a:lnTo>
                      <a:pt x="538" y="1135"/>
                    </a:lnTo>
                    <a:lnTo>
                      <a:pt x="536" y="1133"/>
                    </a:lnTo>
                    <a:lnTo>
                      <a:pt x="536" y="1131"/>
                    </a:lnTo>
                    <a:lnTo>
                      <a:pt x="534" y="1129"/>
                    </a:lnTo>
                    <a:lnTo>
                      <a:pt x="534" y="1127"/>
                    </a:lnTo>
                    <a:lnTo>
                      <a:pt x="532" y="1127"/>
                    </a:lnTo>
                    <a:lnTo>
                      <a:pt x="532" y="1125"/>
                    </a:lnTo>
                    <a:lnTo>
                      <a:pt x="530" y="1124"/>
                    </a:lnTo>
                    <a:lnTo>
                      <a:pt x="530" y="1122"/>
                    </a:lnTo>
                    <a:lnTo>
                      <a:pt x="530" y="1124"/>
                    </a:lnTo>
                    <a:lnTo>
                      <a:pt x="532" y="1122"/>
                    </a:lnTo>
                    <a:lnTo>
                      <a:pt x="530" y="1118"/>
                    </a:lnTo>
                    <a:lnTo>
                      <a:pt x="530" y="1114"/>
                    </a:lnTo>
                    <a:lnTo>
                      <a:pt x="530" y="1112"/>
                    </a:lnTo>
                    <a:lnTo>
                      <a:pt x="530" y="1114"/>
                    </a:lnTo>
                    <a:lnTo>
                      <a:pt x="532" y="1114"/>
                    </a:lnTo>
                    <a:lnTo>
                      <a:pt x="532" y="1110"/>
                    </a:lnTo>
                    <a:lnTo>
                      <a:pt x="534" y="1112"/>
                    </a:lnTo>
                    <a:lnTo>
                      <a:pt x="534" y="1114"/>
                    </a:lnTo>
                    <a:lnTo>
                      <a:pt x="534" y="1116"/>
                    </a:lnTo>
                    <a:lnTo>
                      <a:pt x="534" y="1118"/>
                    </a:lnTo>
                    <a:lnTo>
                      <a:pt x="536" y="1118"/>
                    </a:lnTo>
                    <a:lnTo>
                      <a:pt x="536" y="1116"/>
                    </a:lnTo>
                    <a:lnTo>
                      <a:pt x="536" y="1114"/>
                    </a:lnTo>
                    <a:lnTo>
                      <a:pt x="534" y="1114"/>
                    </a:lnTo>
                    <a:lnTo>
                      <a:pt x="536" y="1114"/>
                    </a:lnTo>
                    <a:lnTo>
                      <a:pt x="540" y="1118"/>
                    </a:lnTo>
                    <a:lnTo>
                      <a:pt x="540" y="1120"/>
                    </a:lnTo>
                    <a:lnTo>
                      <a:pt x="542" y="1120"/>
                    </a:lnTo>
                    <a:lnTo>
                      <a:pt x="540" y="1118"/>
                    </a:lnTo>
                    <a:lnTo>
                      <a:pt x="540" y="1116"/>
                    </a:lnTo>
                    <a:lnTo>
                      <a:pt x="540" y="1114"/>
                    </a:lnTo>
                    <a:lnTo>
                      <a:pt x="536" y="1110"/>
                    </a:lnTo>
                    <a:lnTo>
                      <a:pt x="538" y="1112"/>
                    </a:lnTo>
                    <a:lnTo>
                      <a:pt x="536" y="1110"/>
                    </a:lnTo>
                    <a:lnTo>
                      <a:pt x="538" y="1110"/>
                    </a:lnTo>
                    <a:lnTo>
                      <a:pt x="538" y="1108"/>
                    </a:lnTo>
                    <a:lnTo>
                      <a:pt x="538" y="1110"/>
                    </a:lnTo>
                    <a:lnTo>
                      <a:pt x="538" y="1108"/>
                    </a:lnTo>
                    <a:lnTo>
                      <a:pt x="540" y="1106"/>
                    </a:lnTo>
                    <a:lnTo>
                      <a:pt x="538" y="1108"/>
                    </a:lnTo>
                    <a:lnTo>
                      <a:pt x="536" y="1106"/>
                    </a:lnTo>
                    <a:lnTo>
                      <a:pt x="534" y="1104"/>
                    </a:lnTo>
                    <a:lnTo>
                      <a:pt x="532" y="1103"/>
                    </a:lnTo>
                    <a:lnTo>
                      <a:pt x="534" y="1103"/>
                    </a:lnTo>
                    <a:lnTo>
                      <a:pt x="532" y="1103"/>
                    </a:lnTo>
                    <a:lnTo>
                      <a:pt x="532" y="1099"/>
                    </a:lnTo>
                    <a:lnTo>
                      <a:pt x="530" y="1097"/>
                    </a:lnTo>
                    <a:lnTo>
                      <a:pt x="532" y="1095"/>
                    </a:lnTo>
                    <a:lnTo>
                      <a:pt x="532" y="1097"/>
                    </a:lnTo>
                    <a:lnTo>
                      <a:pt x="532" y="1093"/>
                    </a:lnTo>
                    <a:lnTo>
                      <a:pt x="532" y="1091"/>
                    </a:lnTo>
                    <a:lnTo>
                      <a:pt x="530" y="1091"/>
                    </a:lnTo>
                    <a:lnTo>
                      <a:pt x="532" y="1089"/>
                    </a:lnTo>
                    <a:lnTo>
                      <a:pt x="528" y="1085"/>
                    </a:lnTo>
                    <a:lnTo>
                      <a:pt x="526" y="1083"/>
                    </a:lnTo>
                    <a:lnTo>
                      <a:pt x="526" y="1080"/>
                    </a:lnTo>
                    <a:lnTo>
                      <a:pt x="526" y="1076"/>
                    </a:lnTo>
                    <a:lnTo>
                      <a:pt x="528" y="1078"/>
                    </a:lnTo>
                    <a:lnTo>
                      <a:pt x="528" y="1076"/>
                    </a:lnTo>
                    <a:lnTo>
                      <a:pt x="528" y="1078"/>
                    </a:lnTo>
                    <a:lnTo>
                      <a:pt x="530" y="1076"/>
                    </a:lnTo>
                    <a:lnTo>
                      <a:pt x="532" y="1074"/>
                    </a:lnTo>
                    <a:lnTo>
                      <a:pt x="532" y="1072"/>
                    </a:lnTo>
                    <a:lnTo>
                      <a:pt x="530" y="1072"/>
                    </a:lnTo>
                    <a:lnTo>
                      <a:pt x="528" y="1072"/>
                    </a:lnTo>
                    <a:lnTo>
                      <a:pt x="528" y="1070"/>
                    </a:lnTo>
                    <a:lnTo>
                      <a:pt x="528" y="1068"/>
                    </a:lnTo>
                    <a:lnTo>
                      <a:pt x="528" y="1066"/>
                    </a:lnTo>
                    <a:lnTo>
                      <a:pt x="530" y="1066"/>
                    </a:lnTo>
                    <a:lnTo>
                      <a:pt x="530" y="1068"/>
                    </a:lnTo>
                    <a:lnTo>
                      <a:pt x="532" y="1068"/>
                    </a:lnTo>
                    <a:lnTo>
                      <a:pt x="534" y="1068"/>
                    </a:lnTo>
                    <a:lnTo>
                      <a:pt x="536" y="1070"/>
                    </a:lnTo>
                    <a:lnTo>
                      <a:pt x="538" y="1068"/>
                    </a:lnTo>
                    <a:lnTo>
                      <a:pt x="540" y="1064"/>
                    </a:lnTo>
                    <a:lnTo>
                      <a:pt x="540" y="1066"/>
                    </a:lnTo>
                    <a:lnTo>
                      <a:pt x="540" y="1068"/>
                    </a:lnTo>
                    <a:lnTo>
                      <a:pt x="542" y="1066"/>
                    </a:lnTo>
                    <a:lnTo>
                      <a:pt x="543" y="1066"/>
                    </a:lnTo>
                    <a:lnTo>
                      <a:pt x="545" y="1066"/>
                    </a:lnTo>
                    <a:lnTo>
                      <a:pt x="543" y="1066"/>
                    </a:lnTo>
                    <a:lnTo>
                      <a:pt x="545" y="1066"/>
                    </a:lnTo>
                    <a:lnTo>
                      <a:pt x="547" y="1066"/>
                    </a:lnTo>
                    <a:lnTo>
                      <a:pt x="545" y="1066"/>
                    </a:lnTo>
                    <a:lnTo>
                      <a:pt x="545" y="1064"/>
                    </a:lnTo>
                    <a:lnTo>
                      <a:pt x="547" y="1066"/>
                    </a:lnTo>
                    <a:lnTo>
                      <a:pt x="545" y="1061"/>
                    </a:lnTo>
                    <a:lnTo>
                      <a:pt x="545" y="1062"/>
                    </a:lnTo>
                    <a:lnTo>
                      <a:pt x="547" y="1061"/>
                    </a:lnTo>
                    <a:lnTo>
                      <a:pt x="547" y="1062"/>
                    </a:lnTo>
                    <a:lnTo>
                      <a:pt x="547" y="1064"/>
                    </a:lnTo>
                    <a:lnTo>
                      <a:pt x="549" y="1061"/>
                    </a:lnTo>
                    <a:lnTo>
                      <a:pt x="551" y="1062"/>
                    </a:lnTo>
                    <a:lnTo>
                      <a:pt x="551" y="1064"/>
                    </a:lnTo>
                    <a:lnTo>
                      <a:pt x="551" y="1062"/>
                    </a:lnTo>
                    <a:lnTo>
                      <a:pt x="553" y="1062"/>
                    </a:lnTo>
                    <a:lnTo>
                      <a:pt x="551" y="1062"/>
                    </a:lnTo>
                    <a:lnTo>
                      <a:pt x="549" y="1061"/>
                    </a:lnTo>
                    <a:lnTo>
                      <a:pt x="551" y="1059"/>
                    </a:lnTo>
                    <a:lnTo>
                      <a:pt x="549" y="1059"/>
                    </a:lnTo>
                    <a:lnTo>
                      <a:pt x="547" y="1057"/>
                    </a:lnTo>
                    <a:lnTo>
                      <a:pt x="547" y="1055"/>
                    </a:lnTo>
                    <a:lnTo>
                      <a:pt x="547" y="1057"/>
                    </a:lnTo>
                    <a:lnTo>
                      <a:pt x="547" y="1055"/>
                    </a:lnTo>
                    <a:lnTo>
                      <a:pt x="545" y="1055"/>
                    </a:lnTo>
                    <a:lnTo>
                      <a:pt x="545" y="1053"/>
                    </a:lnTo>
                    <a:lnTo>
                      <a:pt x="545" y="1055"/>
                    </a:lnTo>
                    <a:lnTo>
                      <a:pt x="543" y="1055"/>
                    </a:lnTo>
                    <a:lnTo>
                      <a:pt x="545" y="1057"/>
                    </a:lnTo>
                    <a:lnTo>
                      <a:pt x="543" y="1057"/>
                    </a:lnTo>
                    <a:lnTo>
                      <a:pt x="543" y="1059"/>
                    </a:lnTo>
                    <a:lnTo>
                      <a:pt x="543" y="1061"/>
                    </a:lnTo>
                    <a:lnTo>
                      <a:pt x="542" y="1059"/>
                    </a:lnTo>
                    <a:lnTo>
                      <a:pt x="542" y="1057"/>
                    </a:lnTo>
                    <a:lnTo>
                      <a:pt x="540" y="1057"/>
                    </a:lnTo>
                    <a:lnTo>
                      <a:pt x="540" y="1059"/>
                    </a:lnTo>
                    <a:lnTo>
                      <a:pt x="538" y="1059"/>
                    </a:lnTo>
                    <a:lnTo>
                      <a:pt x="538" y="1061"/>
                    </a:lnTo>
                    <a:lnTo>
                      <a:pt x="538" y="1057"/>
                    </a:lnTo>
                    <a:lnTo>
                      <a:pt x="536" y="1057"/>
                    </a:lnTo>
                    <a:lnTo>
                      <a:pt x="534" y="1057"/>
                    </a:lnTo>
                    <a:lnTo>
                      <a:pt x="534" y="1055"/>
                    </a:lnTo>
                    <a:lnTo>
                      <a:pt x="534" y="1057"/>
                    </a:lnTo>
                    <a:lnTo>
                      <a:pt x="532" y="1055"/>
                    </a:lnTo>
                    <a:lnTo>
                      <a:pt x="532" y="1057"/>
                    </a:lnTo>
                    <a:lnTo>
                      <a:pt x="532" y="1055"/>
                    </a:lnTo>
                    <a:lnTo>
                      <a:pt x="530" y="1057"/>
                    </a:lnTo>
                    <a:lnTo>
                      <a:pt x="528" y="1057"/>
                    </a:lnTo>
                    <a:lnTo>
                      <a:pt x="528" y="1059"/>
                    </a:lnTo>
                    <a:lnTo>
                      <a:pt x="528" y="1061"/>
                    </a:lnTo>
                    <a:lnTo>
                      <a:pt x="530" y="1061"/>
                    </a:lnTo>
                    <a:lnTo>
                      <a:pt x="530" y="1062"/>
                    </a:lnTo>
                    <a:lnTo>
                      <a:pt x="532" y="1062"/>
                    </a:lnTo>
                    <a:lnTo>
                      <a:pt x="532" y="1064"/>
                    </a:lnTo>
                    <a:lnTo>
                      <a:pt x="530" y="1062"/>
                    </a:lnTo>
                    <a:lnTo>
                      <a:pt x="528" y="1064"/>
                    </a:lnTo>
                    <a:lnTo>
                      <a:pt x="526" y="1064"/>
                    </a:lnTo>
                    <a:lnTo>
                      <a:pt x="524" y="1064"/>
                    </a:lnTo>
                    <a:lnTo>
                      <a:pt x="524" y="1062"/>
                    </a:lnTo>
                    <a:lnTo>
                      <a:pt x="521" y="1066"/>
                    </a:lnTo>
                    <a:lnTo>
                      <a:pt x="521" y="1064"/>
                    </a:lnTo>
                    <a:lnTo>
                      <a:pt x="521" y="1066"/>
                    </a:lnTo>
                    <a:lnTo>
                      <a:pt x="523" y="1064"/>
                    </a:lnTo>
                    <a:lnTo>
                      <a:pt x="521" y="1064"/>
                    </a:lnTo>
                    <a:lnTo>
                      <a:pt x="521" y="1062"/>
                    </a:lnTo>
                    <a:lnTo>
                      <a:pt x="521" y="1061"/>
                    </a:lnTo>
                    <a:lnTo>
                      <a:pt x="521" y="1064"/>
                    </a:lnTo>
                    <a:lnTo>
                      <a:pt x="519" y="1062"/>
                    </a:lnTo>
                    <a:lnTo>
                      <a:pt x="521" y="1061"/>
                    </a:lnTo>
                    <a:lnTo>
                      <a:pt x="521" y="1059"/>
                    </a:lnTo>
                    <a:lnTo>
                      <a:pt x="519" y="1059"/>
                    </a:lnTo>
                    <a:lnTo>
                      <a:pt x="519" y="1057"/>
                    </a:lnTo>
                    <a:lnTo>
                      <a:pt x="517" y="1061"/>
                    </a:lnTo>
                    <a:lnTo>
                      <a:pt x="515" y="1061"/>
                    </a:lnTo>
                    <a:lnTo>
                      <a:pt x="513" y="1061"/>
                    </a:lnTo>
                    <a:lnTo>
                      <a:pt x="513" y="1059"/>
                    </a:lnTo>
                    <a:lnTo>
                      <a:pt x="515" y="1059"/>
                    </a:lnTo>
                    <a:lnTo>
                      <a:pt x="515" y="1057"/>
                    </a:lnTo>
                    <a:lnTo>
                      <a:pt x="517" y="1055"/>
                    </a:lnTo>
                    <a:lnTo>
                      <a:pt x="521" y="1045"/>
                    </a:lnTo>
                    <a:lnTo>
                      <a:pt x="523" y="1043"/>
                    </a:lnTo>
                    <a:lnTo>
                      <a:pt x="530" y="1043"/>
                    </a:lnTo>
                    <a:lnTo>
                      <a:pt x="538" y="1041"/>
                    </a:lnTo>
                    <a:lnTo>
                      <a:pt x="540" y="1040"/>
                    </a:lnTo>
                    <a:lnTo>
                      <a:pt x="543" y="1036"/>
                    </a:lnTo>
                    <a:lnTo>
                      <a:pt x="545" y="1036"/>
                    </a:lnTo>
                    <a:lnTo>
                      <a:pt x="547" y="1036"/>
                    </a:lnTo>
                    <a:lnTo>
                      <a:pt x="549" y="1034"/>
                    </a:lnTo>
                    <a:lnTo>
                      <a:pt x="555" y="1032"/>
                    </a:lnTo>
                    <a:lnTo>
                      <a:pt x="555" y="1030"/>
                    </a:lnTo>
                    <a:lnTo>
                      <a:pt x="557" y="1032"/>
                    </a:lnTo>
                    <a:lnTo>
                      <a:pt x="559" y="1032"/>
                    </a:lnTo>
                    <a:lnTo>
                      <a:pt x="561" y="1032"/>
                    </a:lnTo>
                    <a:lnTo>
                      <a:pt x="566" y="1040"/>
                    </a:lnTo>
                    <a:lnTo>
                      <a:pt x="566" y="1041"/>
                    </a:lnTo>
                    <a:lnTo>
                      <a:pt x="564" y="1041"/>
                    </a:lnTo>
                    <a:lnTo>
                      <a:pt x="568" y="1047"/>
                    </a:lnTo>
                    <a:lnTo>
                      <a:pt x="566" y="1047"/>
                    </a:lnTo>
                    <a:lnTo>
                      <a:pt x="568" y="1049"/>
                    </a:lnTo>
                    <a:lnTo>
                      <a:pt x="570" y="1051"/>
                    </a:lnTo>
                    <a:lnTo>
                      <a:pt x="568" y="1049"/>
                    </a:lnTo>
                    <a:lnTo>
                      <a:pt x="568" y="1051"/>
                    </a:lnTo>
                    <a:lnTo>
                      <a:pt x="566" y="1051"/>
                    </a:lnTo>
                    <a:lnTo>
                      <a:pt x="564" y="1053"/>
                    </a:lnTo>
                    <a:lnTo>
                      <a:pt x="566" y="1053"/>
                    </a:lnTo>
                    <a:lnTo>
                      <a:pt x="568" y="1051"/>
                    </a:lnTo>
                    <a:lnTo>
                      <a:pt x="566" y="1053"/>
                    </a:lnTo>
                    <a:lnTo>
                      <a:pt x="568" y="1053"/>
                    </a:lnTo>
                    <a:lnTo>
                      <a:pt x="568" y="1055"/>
                    </a:lnTo>
                    <a:lnTo>
                      <a:pt x="570" y="1055"/>
                    </a:lnTo>
                    <a:lnTo>
                      <a:pt x="572" y="1057"/>
                    </a:lnTo>
                    <a:lnTo>
                      <a:pt x="572" y="1055"/>
                    </a:lnTo>
                    <a:lnTo>
                      <a:pt x="572" y="1057"/>
                    </a:lnTo>
                    <a:lnTo>
                      <a:pt x="572" y="1055"/>
                    </a:lnTo>
                    <a:lnTo>
                      <a:pt x="574" y="1057"/>
                    </a:lnTo>
                    <a:lnTo>
                      <a:pt x="572" y="1057"/>
                    </a:lnTo>
                    <a:lnTo>
                      <a:pt x="574" y="1057"/>
                    </a:lnTo>
                    <a:lnTo>
                      <a:pt x="576" y="1059"/>
                    </a:lnTo>
                    <a:lnTo>
                      <a:pt x="574" y="1057"/>
                    </a:lnTo>
                    <a:lnTo>
                      <a:pt x="576" y="1057"/>
                    </a:lnTo>
                    <a:lnTo>
                      <a:pt x="576" y="1055"/>
                    </a:lnTo>
                    <a:lnTo>
                      <a:pt x="578" y="1057"/>
                    </a:lnTo>
                    <a:lnTo>
                      <a:pt x="576" y="1057"/>
                    </a:lnTo>
                    <a:lnTo>
                      <a:pt x="576" y="1061"/>
                    </a:lnTo>
                    <a:lnTo>
                      <a:pt x="574" y="1059"/>
                    </a:lnTo>
                    <a:lnTo>
                      <a:pt x="576" y="1061"/>
                    </a:lnTo>
                    <a:lnTo>
                      <a:pt x="578" y="1059"/>
                    </a:lnTo>
                    <a:lnTo>
                      <a:pt x="578" y="1061"/>
                    </a:lnTo>
                    <a:lnTo>
                      <a:pt x="580" y="1061"/>
                    </a:lnTo>
                    <a:lnTo>
                      <a:pt x="580" y="1064"/>
                    </a:lnTo>
                    <a:lnTo>
                      <a:pt x="582" y="1064"/>
                    </a:lnTo>
                    <a:lnTo>
                      <a:pt x="584" y="1062"/>
                    </a:lnTo>
                    <a:lnTo>
                      <a:pt x="584" y="1064"/>
                    </a:lnTo>
                    <a:lnTo>
                      <a:pt x="584" y="1066"/>
                    </a:lnTo>
                    <a:lnTo>
                      <a:pt x="582" y="1066"/>
                    </a:lnTo>
                    <a:lnTo>
                      <a:pt x="584" y="1066"/>
                    </a:lnTo>
                    <a:lnTo>
                      <a:pt x="582" y="1068"/>
                    </a:lnTo>
                    <a:lnTo>
                      <a:pt x="582" y="1070"/>
                    </a:lnTo>
                    <a:lnTo>
                      <a:pt x="584" y="1070"/>
                    </a:lnTo>
                    <a:lnTo>
                      <a:pt x="584" y="1068"/>
                    </a:lnTo>
                    <a:lnTo>
                      <a:pt x="587" y="1070"/>
                    </a:lnTo>
                    <a:lnTo>
                      <a:pt x="589" y="1070"/>
                    </a:lnTo>
                    <a:lnTo>
                      <a:pt x="589" y="1068"/>
                    </a:lnTo>
                    <a:lnTo>
                      <a:pt x="591" y="1070"/>
                    </a:lnTo>
                    <a:lnTo>
                      <a:pt x="593" y="1070"/>
                    </a:lnTo>
                    <a:lnTo>
                      <a:pt x="595" y="1070"/>
                    </a:lnTo>
                    <a:lnTo>
                      <a:pt x="595" y="1068"/>
                    </a:lnTo>
                    <a:lnTo>
                      <a:pt x="597" y="1068"/>
                    </a:lnTo>
                    <a:lnTo>
                      <a:pt x="597" y="1066"/>
                    </a:lnTo>
                    <a:lnTo>
                      <a:pt x="597" y="1064"/>
                    </a:lnTo>
                    <a:lnTo>
                      <a:pt x="599" y="1064"/>
                    </a:lnTo>
                    <a:lnTo>
                      <a:pt x="601" y="1066"/>
                    </a:lnTo>
                    <a:lnTo>
                      <a:pt x="599" y="1066"/>
                    </a:lnTo>
                    <a:lnTo>
                      <a:pt x="601" y="1066"/>
                    </a:lnTo>
                    <a:lnTo>
                      <a:pt x="601" y="1070"/>
                    </a:lnTo>
                    <a:lnTo>
                      <a:pt x="601" y="1072"/>
                    </a:lnTo>
                    <a:lnTo>
                      <a:pt x="603" y="1074"/>
                    </a:lnTo>
                    <a:lnTo>
                      <a:pt x="603" y="1072"/>
                    </a:lnTo>
                    <a:lnTo>
                      <a:pt x="605" y="1074"/>
                    </a:lnTo>
                    <a:lnTo>
                      <a:pt x="606" y="1076"/>
                    </a:lnTo>
                    <a:lnTo>
                      <a:pt x="606" y="1074"/>
                    </a:lnTo>
                    <a:lnTo>
                      <a:pt x="608" y="1078"/>
                    </a:lnTo>
                    <a:lnTo>
                      <a:pt x="612" y="1080"/>
                    </a:lnTo>
                    <a:lnTo>
                      <a:pt x="614" y="1080"/>
                    </a:lnTo>
                    <a:lnTo>
                      <a:pt x="616" y="1082"/>
                    </a:lnTo>
                    <a:lnTo>
                      <a:pt x="618" y="1083"/>
                    </a:lnTo>
                    <a:lnTo>
                      <a:pt x="618" y="1082"/>
                    </a:lnTo>
                    <a:lnTo>
                      <a:pt x="618" y="1083"/>
                    </a:lnTo>
                    <a:lnTo>
                      <a:pt x="618" y="1082"/>
                    </a:lnTo>
                    <a:lnTo>
                      <a:pt x="620" y="1082"/>
                    </a:lnTo>
                    <a:lnTo>
                      <a:pt x="622" y="1082"/>
                    </a:lnTo>
                    <a:lnTo>
                      <a:pt x="622" y="1080"/>
                    </a:lnTo>
                    <a:lnTo>
                      <a:pt x="624" y="1082"/>
                    </a:lnTo>
                    <a:lnTo>
                      <a:pt x="625" y="1082"/>
                    </a:lnTo>
                    <a:lnTo>
                      <a:pt x="624" y="1082"/>
                    </a:lnTo>
                    <a:lnTo>
                      <a:pt x="624" y="1083"/>
                    </a:lnTo>
                    <a:lnTo>
                      <a:pt x="625" y="1082"/>
                    </a:lnTo>
                    <a:lnTo>
                      <a:pt x="625" y="1083"/>
                    </a:lnTo>
                    <a:lnTo>
                      <a:pt x="627" y="1083"/>
                    </a:lnTo>
                    <a:lnTo>
                      <a:pt x="629" y="1085"/>
                    </a:lnTo>
                    <a:lnTo>
                      <a:pt x="627" y="1083"/>
                    </a:lnTo>
                    <a:lnTo>
                      <a:pt x="629" y="1085"/>
                    </a:lnTo>
                    <a:lnTo>
                      <a:pt x="629" y="1083"/>
                    </a:lnTo>
                    <a:lnTo>
                      <a:pt x="631" y="1085"/>
                    </a:lnTo>
                    <a:lnTo>
                      <a:pt x="631" y="1082"/>
                    </a:lnTo>
                    <a:lnTo>
                      <a:pt x="633" y="1083"/>
                    </a:lnTo>
                    <a:lnTo>
                      <a:pt x="631" y="1082"/>
                    </a:lnTo>
                    <a:lnTo>
                      <a:pt x="633" y="1082"/>
                    </a:lnTo>
                    <a:lnTo>
                      <a:pt x="633" y="1083"/>
                    </a:lnTo>
                    <a:lnTo>
                      <a:pt x="633" y="1082"/>
                    </a:lnTo>
                    <a:lnTo>
                      <a:pt x="633" y="1080"/>
                    </a:lnTo>
                    <a:lnTo>
                      <a:pt x="635" y="1082"/>
                    </a:lnTo>
                    <a:lnTo>
                      <a:pt x="635" y="1080"/>
                    </a:lnTo>
                    <a:lnTo>
                      <a:pt x="635" y="1082"/>
                    </a:lnTo>
                    <a:lnTo>
                      <a:pt x="635" y="1080"/>
                    </a:lnTo>
                    <a:lnTo>
                      <a:pt x="637" y="1080"/>
                    </a:lnTo>
                    <a:lnTo>
                      <a:pt x="637" y="1082"/>
                    </a:lnTo>
                    <a:lnTo>
                      <a:pt x="639" y="1082"/>
                    </a:lnTo>
                    <a:lnTo>
                      <a:pt x="639" y="1080"/>
                    </a:lnTo>
                    <a:lnTo>
                      <a:pt x="641" y="1080"/>
                    </a:lnTo>
                    <a:lnTo>
                      <a:pt x="643" y="1080"/>
                    </a:lnTo>
                    <a:lnTo>
                      <a:pt x="643" y="1078"/>
                    </a:lnTo>
                    <a:lnTo>
                      <a:pt x="645" y="1078"/>
                    </a:lnTo>
                    <a:lnTo>
                      <a:pt x="645" y="1080"/>
                    </a:lnTo>
                    <a:lnTo>
                      <a:pt x="646" y="1078"/>
                    </a:lnTo>
                    <a:lnTo>
                      <a:pt x="648" y="1078"/>
                    </a:lnTo>
                    <a:lnTo>
                      <a:pt x="650" y="1078"/>
                    </a:lnTo>
                    <a:lnTo>
                      <a:pt x="652" y="1078"/>
                    </a:lnTo>
                    <a:lnTo>
                      <a:pt x="652" y="1080"/>
                    </a:lnTo>
                    <a:lnTo>
                      <a:pt x="654" y="1078"/>
                    </a:lnTo>
                    <a:lnTo>
                      <a:pt x="654" y="1080"/>
                    </a:lnTo>
                    <a:lnTo>
                      <a:pt x="654" y="1078"/>
                    </a:lnTo>
                    <a:lnTo>
                      <a:pt x="656" y="1078"/>
                    </a:lnTo>
                    <a:lnTo>
                      <a:pt x="656" y="1080"/>
                    </a:lnTo>
                    <a:lnTo>
                      <a:pt x="658" y="1078"/>
                    </a:lnTo>
                    <a:lnTo>
                      <a:pt x="658" y="1080"/>
                    </a:lnTo>
                    <a:lnTo>
                      <a:pt x="660" y="1080"/>
                    </a:lnTo>
                    <a:lnTo>
                      <a:pt x="662" y="1080"/>
                    </a:lnTo>
                    <a:lnTo>
                      <a:pt x="664" y="1080"/>
                    </a:lnTo>
                    <a:lnTo>
                      <a:pt x="664" y="1082"/>
                    </a:lnTo>
                    <a:lnTo>
                      <a:pt x="664" y="1080"/>
                    </a:lnTo>
                    <a:lnTo>
                      <a:pt x="666" y="1083"/>
                    </a:lnTo>
                    <a:lnTo>
                      <a:pt x="667" y="1082"/>
                    </a:lnTo>
                    <a:lnTo>
                      <a:pt x="667" y="1083"/>
                    </a:lnTo>
                    <a:lnTo>
                      <a:pt x="667" y="1082"/>
                    </a:lnTo>
                    <a:lnTo>
                      <a:pt x="667" y="1083"/>
                    </a:lnTo>
                    <a:lnTo>
                      <a:pt x="669" y="1083"/>
                    </a:lnTo>
                    <a:lnTo>
                      <a:pt x="671" y="1083"/>
                    </a:lnTo>
                    <a:lnTo>
                      <a:pt x="671" y="1082"/>
                    </a:lnTo>
                    <a:lnTo>
                      <a:pt x="673" y="1082"/>
                    </a:lnTo>
                    <a:lnTo>
                      <a:pt x="675" y="1080"/>
                    </a:lnTo>
                    <a:lnTo>
                      <a:pt x="673" y="1080"/>
                    </a:lnTo>
                    <a:lnTo>
                      <a:pt x="675" y="1080"/>
                    </a:lnTo>
                    <a:lnTo>
                      <a:pt x="677" y="1080"/>
                    </a:lnTo>
                    <a:lnTo>
                      <a:pt x="679" y="1080"/>
                    </a:lnTo>
                    <a:lnTo>
                      <a:pt x="681" y="1080"/>
                    </a:lnTo>
                    <a:lnTo>
                      <a:pt x="679" y="1076"/>
                    </a:lnTo>
                    <a:lnTo>
                      <a:pt x="677" y="1076"/>
                    </a:lnTo>
                    <a:lnTo>
                      <a:pt x="677" y="1078"/>
                    </a:lnTo>
                    <a:lnTo>
                      <a:pt x="677" y="1076"/>
                    </a:lnTo>
                    <a:lnTo>
                      <a:pt x="673" y="1072"/>
                    </a:lnTo>
                    <a:lnTo>
                      <a:pt x="675" y="1074"/>
                    </a:lnTo>
                    <a:lnTo>
                      <a:pt x="673" y="1072"/>
                    </a:lnTo>
                    <a:lnTo>
                      <a:pt x="673" y="1068"/>
                    </a:lnTo>
                    <a:lnTo>
                      <a:pt x="675" y="1068"/>
                    </a:lnTo>
                    <a:lnTo>
                      <a:pt x="675" y="1066"/>
                    </a:lnTo>
                    <a:lnTo>
                      <a:pt x="677" y="1068"/>
                    </a:lnTo>
                    <a:lnTo>
                      <a:pt x="677" y="1070"/>
                    </a:lnTo>
                    <a:lnTo>
                      <a:pt x="679" y="1072"/>
                    </a:lnTo>
                    <a:lnTo>
                      <a:pt x="681" y="1072"/>
                    </a:lnTo>
                    <a:lnTo>
                      <a:pt x="675" y="1064"/>
                    </a:lnTo>
                    <a:lnTo>
                      <a:pt x="677" y="1064"/>
                    </a:lnTo>
                    <a:lnTo>
                      <a:pt x="677" y="1062"/>
                    </a:lnTo>
                    <a:lnTo>
                      <a:pt x="679" y="1062"/>
                    </a:lnTo>
                    <a:lnTo>
                      <a:pt x="679" y="1064"/>
                    </a:lnTo>
                    <a:lnTo>
                      <a:pt x="679" y="1066"/>
                    </a:lnTo>
                    <a:lnTo>
                      <a:pt x="679" y="1068"/>
                    </a:lnTo>
                    <a:lnTo>
                      <a:pt x="679" y="1066"/>
                    </a:lnTo>
                    <a:lnTo>
                      <a:pt x="681" y="1066"/>
                    </a:lnTo>
                    <a:lnTo>
                      <a:pt x="681" y="1062"/>
                    </a:lnTo>
                    <a:lnTo>
                      <a:pt x="677" y="1062"/>
                    </a:lnTo>
                    <a:lnTo>
                      <a:pt x="677" y="1061"/>
                    </a:lnTo>
                    <a:lnTo>
                      <a:pt x="675" y="1057"/>
                    </a:lnTo>
                    <a:lnTo>
                      <a:pt x="675" y="1055"/>
                    </a:lnTo>
                    <a:lnTo>
                      <a:pt x="677" y="1057"/>
                    </a:lnTo>
                    <a:lnTo>
                      <a:pt x="677" y="1055"/>
                    </a:lnTo>
                    <a:lnTo>
                      <a:pt x="677" y="1057"/>
                    </a:lnTo>
                    <a:lnTo>
                      <a:pt x="677" y="1055"/>
                    </a:lnTo>
                    <a:lnTo>
                      <a:pt x="677" y="1053"/>
                    </a:lnTo>
                    <a:lnTo>
                      <a:pt x="679" y="1055"/>
                    </a:lnTo>
                    <a:lnTo>
                      <a:pt x="683" y="1059"/>
                    </a:lnTo>
                    <a:lnTo>
                      <a:pt x="683" y="1057"/>
                    </a:lnTo>
                    <a:lnTo>
                      <a:pt x="683" y="1059"/>
                    </a:lnTo>
                    <a:lnTo>
                      <a:pt x="683" y="1057"/>
                    </a:lnTo>
                    <a:lnTo>
                      <a:pt x="685" y="1059"/>
                    </a:lnTo>
                    <a:lnTo>
                      <a:pt x="683" y="1057"/>
                    </a:lnTo>
                    <a:lnTo>
                      <a:pt x="685" y="1057"/>
                    </a:lnTo>
                    <a:lnTo>
                      <a:pt x="683" y="1057"/>
                    </a:lnTo>
                    <a:lnTo>
                      <a:pt x="685" y="1055"/>
                    </a:lnTo>
                    <a:lnTo>
                      <a:pt x="687" y="1057"/>
                    </a:lnTo>
                    <a:lnTo>
                      <a:pt x="687" y="1055"/>
                    </a:lnTo>
                    <a:lnTo>
                      <a:pt x="687" y="1057"/>
                    </a:lnTo>
                    <a:lnTo>
                      <a:pt x="687" y="1055"/>
                    </a:lnTo>
                    <a:lnTo>
                      <a:pt x="688" y="1055"/>
                    </a:lnTo>
                    <a:lnTo>
                      <a:pt x="687" y="1053"/>
                    </a:lnTo>
                    <a:lnTo>
                      <a:pt x="687" y="1051"/>
                    </a:lnTo>
                    <a:lnTo>
                      <a:pt x="685" y="1049"/>
                    </a:lnTo>
                    <a:lnTo>
                      <a:pt x="687" y="1049"/>
                    </a:lnTo>
                    <a:lnTo>
                      <a:pt x="685" y="1047"/>
                    </a:lnTo>
                    <a:lnTo>
                      <a:pt x="687" y="1049"/>
                    </a:lnTo>
                    <a:lnTo>
                      <a:pt x="687" y="1047"/>
                    </a:lnTo>
                    <a:lnTo>
                      <a:pt x="688" y="1049"/>
                    </a:lnTo>
                    <a:lnTo>
                      <a:pt x="687" y="1047"/>
                    </a:lnTo>
                    <a:lnTo>
                      <a:pt x="688" y="1047"/>
                    </a:lnTo>
                    <a:lnTo>
                      <a:pt x="687" y="1047"/>
                    </a:lnTo>
                    <a:lnTo>
                      <a:pt x="688" y="1049"/>
                    </a:lnTo>
                    <a:lnTo>
                      <a:pt x="688" y="1047"/>
                    </a:lnTo>
                    <a:lnTo>
                      <a:pt x="688" y="1049"/>
                    </a:lnTo>
                    <a:lnTo>
                      <a:pt x="690" y="1047"/>
                    </a:lnTo>
                    <a:lnTo>
                      <a:pt x="692" y="1051"/>
                    </a:lnTo>
                    <a:lnTo>
                      <a:pt x="692" y="1049"/>
                    </a:lnTo>
                    <a:lnTo>
                      <a:pt x="694" y="1049"/>
                    </a:lnTo>
                    <a:lnTo>
                      <a:pt x="696" y="1049"/>
                    </a:lnTo>
                    <a:lnTo>
                      <a:pt x="698" y="1051"/>
                    </a:lnTo>
                    <a:lnTo>
                      <a:pt x="698" y="1053"/>
                    </a:lnTo>
                    <a:lnTo>
                      <a:pt x="700" y="1053"/>
                    </a:lnTo>
                    <a:lnTo>
                      <a:pt x="700" y="1057"/>
                    </a:lnTo>
                    <a:lnTo>
                      <a:pt x="702" y="1057"/>
                    </a:lnTo>
                    <a:lnTo>
                      <a:pt x="702" y="1059"/>
                    </a:lnTo>
                    <a:lnTo>
                      <a:pt x="704" y="1061"/>
                    </a:lnTo>
                    <a:lnTo>
                      <a:pt x="706" y="1061"/>
                    </a:lnTo>
                    <a:lnTo>
                      <a:pt x="704" y="1059"/>
                    </a:lnTo>
                    <a:lnTo>
                      <a:pt x="706" y="1059"/>
                    </a:lnTo>
                    <a:lnTo>
                      <a:pt x="706" y="1061"/>
                    </a:lnTo>
                    <a:lnTo>
                      <a:pt x="707" y="1061"/>
                    </a:lnTo>
                    <a:lnTo>
                      <a:pt x="711" y="1057"/>
                    </a:lnTo>
                    <a:lnTo>
                      <a:pt x="709" y="1059"/>
                    </a:lnTo>
                    <a:lnTo>
                      <a:pt x="709" y="1061"/>
                    </a:lnTo>
                    <a:lnTo>
                      <a:pt x="709" y="1064"/>
                    </a:lnTo>
                    <a:lnTo>
                      <a:pt x="707" y="1064"/>
                    </a:lnTo>
                    <a:lnTo>
                      <a:pt x="707" y="1066"/>
                    </a:lnTo>
                    <a:lnTo>
                      <a:pt x="706" y="1066"/>
                    </a:lnTo>
                    <a:lnTo>
                      <a:pt x="706" y="1068"/>
                    </a:lnTo>
                    <a:lnTo>
                      <a:pt x="704" y="1066"/>
                    </a:lnTo>
                    <a:lnTo>
                      <a:pt x="706" y="1068"/>
                    </a:lnTo>
                    <a:lnTo>
                      <a:pt x="706" y="1070"/>
                    </a:lnTo>
                    <a:lnTo>
                      <a:pt x="707" y="1068"/>
                    </a:lnTo>
                    <a:lnTo>
                      <a:pt x="707" y="1070"/>
                    </a:lnTo>
                    <a:lnTo>
                      <a:pt x="707" y="1068"/>
                    </a:lnTo>
                    <a:lnTo>
                      <a:pt x="709" y="1070"/>
                    </a:lnTo>
                    <a:lnTo>
                      <a:pt x="709" y="1068"/>
                    </a:lnTo>
                    <a:lnTo>
                      <a:pt x="711" y="1068"/>
                    </a:lnTo>
                    <a:lnTo>
                      <a:pt x="709" y="1068"/>
                    </a:lnTo>
                    <a:lnTo>
                      <a:pt x="709" y="1066"/>
                    </a:lnTo>
                    <a:lnTo>
                      <a:pt x="707" y="1068"/>
                    </a:lnTo>
                    <a:lnTo>
                      <a:pt x="709" y="1064"/>
                    </a:lnTo>
                    <a:lnTo>
                      <a:pt x="713" y="1062"/>
                    </a:lnTo>
                    <a:lnTo>
                      <a:pt x="717" y="1061"/>
                    </a:lnTo>
                    <a:lnTo>
                      <a:pt x="719" y="1059"/>
                    </a:lnTo>
                    <a:lnTo>
                      <a:pt x="717" y="1062"/>
                    </a:lnTo>
                    <a:lnTo>
                      <a:pt x="715" y="1064"/>
                    </a:lnTo>
                    <a:lnTo>
                      <a:pt x="717" y="1064"/>
                    </a:lnTo>
                    <a:lnTo>
                      <a:pt x="717" y="1066"/>
                    </a:lnTo>
                    <a:lnTo>
                      <a:pt x="715" y="1070"/>
                    </a:lnTo>
                    <a:lnTo>
                      <a:pt x="717" y="1070"/>
                    </a:lnTo>
                    <a:lnTo>
                      <a:pt x="715" y="1070"/>
                    </a:lnTo>
                    <a:lnTo>
                      <a:pt x="715" y="1074"/>
                    </a:lnTo>
                    <a:lnTo>
                      <a:pt x="713" y="1078"/>
                    </a:lnTo>
                    <a:lnTo>
                      <a:pt x="713" y="1082"/>
                    </a:lnTo>
                    <a:lnTo>
                      <a:pt x="715" y="1082"/>
                    </a:lnTo>
                    <a:lnTo>
                      <a:pt x="713" y="1083"/>
                    </a:lnTo>
                    <a:lnTo>
                      <a:pt x="713" y="1085"/>
                    </a:lnTo>
                    <a:lnTo>
                      <a:pt x="713" y="1083"/>
                    </a:lnTo>
                    <a:lnTo>
                      <a:pt x="715" y="1083"/>
                    </a:lnTo>
                    <a:lnTo>
                      <a:pt x="715" y="1087"/>
                    </a:lnTo>
                    <a:lnTo>
                      <a:pt x="713" y="1087"/>
                    </a:lnTo>
                    <a:lnTo>
                      <a:pt x="713" y="1089"/>
                    </a:lnTo>
                    <a:lnTo>
                      <a:pt x="713" y="1087"/>
                    </a:lnTo>
                    <a:lnTo>
                      <a:pt x="713" y="1085"/>
                    </a:lnTo>
                    <a:lnTo>
                      <a:pt x="713" y="1083"/>
                    </a:lnTo>
                    <a:lnTo>
                      <a:pt x="711" y="1083"/>
                    </a:lnTo>
                    <a:lnTo>
                      <a:pt x="713" y="1087"/>
                    </a:lnTo>
                    <a:lnTo>
                      <a:pt x="711" y="1089"/>
                    </a:lnTo>
                    <a:lnTo>
                      <a:pt x="709" y="1089"/>
                    </a:lnTo>
                    <a:lnTo>
                      <a:pt x="711" y="1091"/>
                    </a:lnTo>
                    <a:lnTo>
                      <a:pt x="709" y="1093"/>
                    </a:lnTo>
                    <a:lnTo>
                      <a:pt x="711" y="1091"/>
                    </a:lnTo>
                    <a:lnTo>
                      <a:pt x="711" y="1093"/>
                    </a:lnTo>
                    <a:lnTo>
                      <a:pt x="711" y="1091"/>
                    </a:lnTo>
                    <a:lnTo>
                      <a:pt x="711" y="1093"/>
                    </a:lnTo>
                    <a:lnTo>
                      <a:pt x="711" y="1095"/>
                    </a:lnTo>
                    <a:lnTo>
                      <a:pt x="711" y="1093"/>
                    </a:lnTo>
                    <a:lnTo>
                      <a:pt x="711" y="1095"/>
                    </a:lnTo>
                    <a:lnTo>
                      <a:pt x="713" y="1093"/>
                    </a:lnTo>
                    <a:lnTo>
                      <a:pt x="713" y="1095"/>
                    </a:lnTo>
                    <a:lnTo>
                      <a:pt x="715" y="1093"/>
                    </a:lnTo>
                    <a:lnTo>
                      <a:pt x="715" y="1095"/>
                    </a:lnTo>
                    <a:lnTo>
                      <a:pt x="715" y="1093"/>
                    </a:lnTo>
                    <a:lnTo>
                      <a:pt x="715" y="1095"/>
                    </a:lnTo>
                    <a:lnTo>
                      <a:pt x="715" y="1097"/>
                    </a:lnTo>
                    <a:lnTo>
                      <a:pt x="715" y="1099"/>
                    </a:lnTo>
                    <a:lnTo>
                      <a:pt x="713" y="1099"/>
                    </a:lnTo>
                    <a:lnTo>
                      <a:pt x="713" y="1103"/>
                    </a:lnTo>
                    <a:lnTo>
                      <a:pt x="715" y="1101"/>
                    </a:lnTo>
                    <a:lnTo>
                      <a:pt x="715" y="1103"/>
                    </a:lnTo>
                    <a:lnTo>
                      <a:pt x="715" y="1104"/>
                    </a:lnTo>
                    <a:lnTo>
                      <a:pt x="721" y="1099"/>
                    </a:lnTo>
                    <a:lnTo>
                      <a:pt x="721" y="1097"/>
                    </a:lnTo>
                    <a:lnTo>
                      <a:pt x="723" y="1099"/>
                    </a:lnTo>
                    <a:lnTo>
                      <a:pt x="725" y="1097"/>
                    </a:lnTo>
                    <a:lnTo>
                      <a:pt x="725" y="1099"/>
                    </a:lnTo>
                    <a:lnTo>
                      <a:pt x="725" y="1101"/>
                    </a:lnTo>
                    <a:lnTo>
                      <a:pt x="723" y="1101"/>
                    </a:lnTo>
                    <a:lnTo>
                      <a:pt x="719" y="1106"/>
                    </a:lnTo>
                    <a:lnTo>
                      <a:pt x="723" y="1104"/>
                    </a:lnTo>
                    <a:lnTo>
                      <a:pt x="723" y="1103"/>
                    </a:lnTo>
                    <a:lnTo>
                      <a:pt x="723" y="1104"/>
                    </a:lnTo>
                    <a:lnTo>
                      <a:pt x="721" y="1106"/>
                    </a:lnTo>
                    <a:lnTo>
                      <a:pt x="723" y="1104"/>
                    </a:lnTo>
                    <a:lnTo>
                      <a:pt x="725" y="1103"/>
                    </a:lnTo>
                    <a:lnTo>
                      <a:pt x="727" y="1103"/>
                    </a:lnTo>
                    <a:lnTo>
                      <a:pt x="727" y="1101"/>
                    </a:lnTo>
                    <a:lnTo>
                      <a:pt x="727" y="1103"/>
                    </a:lnTo>
                    <a:lnTo>
                      <a:pt x="728" y="1103"/>
                    </a:lnTo>
                    <a:lnTo>
                      <a:pt x="727" y="1106"/>
                    </a:lnTo>
                    <a:lnTo>
                      <a:pt x="728" y="1106"/>
                    </a:lnTo>
                    <a:lnTo>
                      <a:pt x="728" y="1103"/>
                    </a:lnTo>
                    <a:lnTo>
                      <a:pt x="728" y="1101"/>
                    </a:lnTo>
                    <a:lnTo>
                      <a:pt x="730" y="1103"/>
                    </a:lnTo>
                    <a:lnTo>
                      <a:pt x="730" y="1101"/>
                    </a:lnTo>
                    <a:lnTo>
                      <a:pt x="728" y="1099"/>
                    </a:lnTo>
                    <a:lnTo>
                      <a:pt x="727" y="1093"/>
                    </a:lnTo>
                    <a:lnTo>
                      <a:pt x="728" y="1091"/>
                    </a:lnTo>
                    <a:lnTo>
                      <a:pt x="725" y="1085"/>
                    </a:lnTo>
                    <a:lnTo>
                      <a:pt x="725" y="1083"/>
                    </a:lnTo>
                    <a:lnTo>
                      <a:pt x="723" y="1083"/>
                    </a:lnTo>
                    <a:lnTo>
                      <a:pt x="721" y="1082"/>
                    </a:lnTo>
                    <a:lnTo>
                      <a:pt x="723" y="1080"/>
                    </a:lnTo>
                    <a:lnTo>
                      <a:pt x="725" y="1080"/>
                    </a:lnTo>
                    <a:lnTo>
                      <a:pt x="725" y="1078"/>
                    </a:lnTo>
                    <a:lnTo>
                      <a:pt x="725" y="1074"/>
                    </a:lnTo>
                    <a:lnTo>
                      <a:pt x="727" y="1070"/>
                    </a:lnTo>
                    <a:lnTo>
                      <a:pt x="727" y="1068"/>
                    </a:lnTo>
                    <a:lnTo>
                      <a:pt x="725" y="1068"/>
                    </a:lnTo>
                    <a:lnTo>
                      <a:pt x="727" y="1068"/>
                    </a:lnTo>
                    <a:lnTo>
                      <a:pt x="728" y="1068"/>
                    </a:lnTo>
                    <a:lnTo>
                      <a:pt x="728" y="1070"/>
                    </a:lnTo>
                    <a:lnTo>
                      <a:pt x="732" y="1066"/>
                    </a:lnTo>
                    <a:lnTo>
                      <a:pt x="732" y="1070"/>
                    </a:lnTo>
                    <a:lnTo>
                      <a:pt x="734" y="1068"/>
                    </a:lnTo>
                    <a:lnTo>
                      <a:pt x="734" y="1070"/>
                    </a:lnTo>
                    <a:lnTo>
                      <a:pt x="736" y="1068"/>
                    </a:lnTo>
                    <a:lnTo>
                      <a:pt x="740" y="1064"/>
                    </a:lnTo>
                    <a:lnTo>
                      <a:pt x="742" y="1064"/>
                    </a:lnTo>
                    <a:lnTo>
                      <a:pt x="744" y="1061"/>
                    </a:lnTo>
                    <a:lnTo>
                      <a:pt x="746" y="1059"/>
                    </a:lnTo>
                    <a:lnTo>
                      <a:pt x="746" y="1055"/>
                    </a:lnTo>
                    <a:lnTo>
                      <a:pt x="748" y="1051"/>
                    </a:lnTo>
                    <a:lnTo>
                      <a:pt x="751" y="1049"/>
                    </a:lnTo>
                    <a:lnTo>
                      <a:pt x="753" y="1049"/>
                    </a:lnTo>
                    <a:lnTo>
                      <a:pt x="755" y="1049"/>
                    </a:lnTo>
                    <a:lnTo>
                      <a:pt x="757" y="1045"/>
                    </a:lnTo>
                    <a:lnTo>
                      <a:pt x="755" y="1043"/>
                    </a:lnTo>
                    <a:lnTo>
                      <a:pt x="753" y="1045"/>
                    </a:lnTo>
                    <a:lnTo>
                      <a:pt x="753" y="1043"/>
                    </a:lnTo>
                    <a:lnTo>
                      <a:pt x="753" y="1040"/>
                    </a:lnTo>
                    <a:lnTo>
                      <a:pt x="755" y="1040"/>
                    </a:lnTo>
                    <a:lnTo>
                      <a:pt x="753" y="1040"/>
                    </a:lnTo>
                    <a:lnTo>
                      <a:pt x="755" y="1038"/>
                    </a:lnTo>
                    <a:lnTo>
                      <a:pt x="755" y="1034"/>
                    </a:lnTo>
                    <a:lnTo>
                      <a:pt x="755" y="1030"/>
                    </a:lnTo>
                    <a:lnTo>
                      <a:pt x="753" y="1030"/>
                    </a:lnTo>
                    <a:lnTo>
                      <a:pt x="755" y="1028"/>
                    </a:lnTo>
                    <a:lnTo>
                      <a:pt x="753" y="1030"/>
                    </a:lnTo>
                    <a:lnTo>
                      <a:pt x="753" y="1028"/>
                    </a:lnTo>
                    <a:lnTo>
                      <a:pt x="751" y="1030"/>
                    </a:lnTo>
                    <a:lnTo>
                      <a:pt x="751" y="1026"/>
                    </a:lnTo>
                    <a:lnTo>
                      <a:pt x="749" y="1028"/>
                    </a:lnTo>
                    <a:lnTo>
                      <a:pt x="749" y="1030"/>
                    </a:lnTo>
                    <a:lnTo>
                      <a:pt x="748" y="1030"/>
                    </a:lnTo>
                    <a:lnTo>
                      <a:pt x="748" y="1034"/>
                    </a:lnTo>
                    <a:lnTo>
                      <a:pt x="749" y="1034"/>
                    </a:lnTo>
                    <a:lnTo>
                      <a:pt x="748" y="1034"/>
                    </a:lnTo>
                    <a:lnTo>
                      <a:pt x="748" y="1036"/>
                    </a:lnTo>
                    <a:lnTo>
                      <a:pt x="749" y="1032"/>
                    </a:lnTo>
                    <a:lnTo>
                      <a:pt x="749" y="1034"/>
                    </a:lnTo>
                    <a:lnTo>
                      <a:pt x="751" y="1032"/>
                    </a:lnTo>
                    <a:lnTo>
                      <a:pt x="749" y="1034"/>
                    </a:lnTo>
                    <a:lnTo>
                      <a:pt x="748" y="1036"/>
                    </a:lnTo>
                    <a:lnTo>
                      <a:pt x="748" y="1038"/>
                    </a:lnTo>
                    <a:lnTo>
                      <a:pt x="746" y="1038"/>
                    </a:lnTo>
                    <a:lnTo>
                      <a:pt x="748" y="1038"/>
                    </a:lnTo>
                    <a:lnTo>
                      <a:pt x="746" y="1040"/>
                    </a:lnTo>
                    <a:lnTo>
                      <a:pt x="744" y="1038"/>
                    </a:lnTo>
                    <a:lnTo>
                      <a:pt x="742" y="1040"/>
                    </a:lnTo>
                    <a:lnTo>
                      <a:pt x="740" y="1040"/>
                    </a:lnTo>
                    <a:lnTo>
                      <a:pt x="740" y="1038"/>
                    </a:lnTo>
                    <a:lnTo>
                      <a:pt x="738" y="1040"/>
                    </a:lnTo>
                    <a:lnTo>
                      <a:pt x="740" y="1036"/>
                    </a:lnTo>
                    <a:lnTo>
                      <a:pt x="740" y="1032"/>
                    </a:lnTo>
                    <a:lnTo>
                      <a:pt x="740" y="1030"/>
                    </a:lnTo>
                    <a:lnTo>
                      <a:pt x="740" y="1028"/>
                    </a:lnTo>
                    <a:lnTo>
                      <a:pt x="740" y="1030"/>
                    </a:lnTo>
                    <a:lnTo>
                      <a:pt x="742" y="1028"/>
                    </a:lnTo>
                    <a:lnTo>
                      <a:pt x="742" y="1030"/>
                    </a:lnTo>
                    <a:lnTo>
                      <a:pt x="744" y="1026"/>
                    </a:lnTo>
                    <a:lnTo>
                      <a:pt x="746" y="1026"/>
                    </a:lnTo>
                    <a:lnTo>
                      <a:pt x="748" y="1024"/>
                    </a:lnTo>
                    <a:lnTo>
                      <a:pt x="746" y="1024"/>
                    </a:lnTo>
                    <a:lnTo>
                      <a:pt x="746" y="1022"/>
                    </a:lnTo>
                    <a:lnTo>
                      <a:pt x="748" y="1022"/>
                    </a:lnTo>
                    <a:lnTo>
                      <a:pt x="749" y="1020"/>
                    </a:lnTo>
                    <a:lnTo>
                      <a:pt x="748" y="1020"/>
                    </a:lnTo>
                    <a:lnTo>
                      <a:pt x="746" y="1022"/>
                    </a:lnTo>
                    <a:lnTo>
                      <a:pt x="744" y="1020"/>
                    </a:lnTo>
                    <a:lnTo>
                      <a:pt x="744" y="1017"/>
                    </a:lnTo>
                    <a:lnTo>
                      <a:pt x="746" y="1015"/>
                    </a:lnTo>
                    <a:lnTo>
                      <a:pt x="744" y="1015"/>
                    </a:lnTo>
                    <a:lnTo>
                      <a:pt x="744" y="1013"/>
                    </a:lnTo>
                    <a:lnTo>
                      <a:pt x="748" y="1011"/>
                    </a:lnTo>
                    <a:lnTo>
                      <a:pt x="751" y="1011"/>
                    </a:lnTo>
                    <a:lnTo>
                      <a:pt x="751" y="1013"/>
                    </a:lnTo>
                    <a:lnTo>
                      <a:pt x="751" y="1011"/>
                    </a:lnTo>
                    <a:lnTo>
                      <a:pt x="753" y="1009"/>
                    </a:lnTo>
                    <a:lnTo>
                      <a:pt x="755" y="1007"/>
                    </a:lnTo>
                    <a:lnTo>
                      <a:pt x="755" y="1009"/>
                    </a:lnTo>
                    <a:lnTo>
                      <a:pt x="757" y="1007"/>
                    </a:lnTo>
                    <a:lnTo>
                      <a:pt x="757" y="1009"/>
                    </a:lnTo>
                    <a:lnTo>
                      <a:pt x="757" y="1005"/>
                    </a:lnTo>
                    <a:lnTo>
                      <a:pt x="757" y="1003"/>
                    </a:lnTo>
                    <a:lnTo>
                      <a:pt x="753" y="1003"/>
                    </a:lnTo>
                    <a:lnTo>
                      <a:pt x="753" y="1005"/>
                    </a:lnTo>
                    <a:lnTo>
                      <a:pt x="751" y="1005"/>
                    </a:lnTo>
                    <a:lnTo>
                      <a:pt x="749" y="1007"/>
                    </a:lnTo>
                    <a:lnTo>
                      <a:pt x="744" y="1007"/>
                    </a:lnTo>
                    <a:lnTo>
                      <a:pt x="744" y="1005"/>
                    </a:lnTo>
                    <a:lnTo>
                      <a:pt x="742" y="1005"/>
                    </a:lnTo>
                    <a:lnTo>
                      <a:pt x="740" y="998"/>
                    </a:lnTo>
                    <a:lnTo>
                      <a:pt x="740" y="999"/>
                    </a:lnTo>
                    <a:lnTo>
                      <a:pt x="738" y="999"/>
                    </a:lnTo>
                    <a:lnTo>
                      <a:pt x="738" y="998"/>
                    </a:lnTo>
                    <a:lnTo>
                      <a:pt x="740" y="998"/>
                    </a:lnTo>
                    <a:lnTo>
                      <a:pt x="740" y="994"/>
                    </a:lnTo>
                    <a:lnTo>
                      <a:pt x="740" y="998"/>
                    </a:lnTo>
                    <a:lnTo>
                      <a:pt x="736" y="998"/>
                    </a:lnTo>
                    <a:lnTo>
                      <a:pt x="738" y="999"/>
                    </a:lnTo>
                    <a:lnTo>
                      <a:pt x="736" y="1001"/>
                    </a:lnTo>
                    <a:lnTo>
                      <a:pt x="734" y="1001"/>
                    </a:lnTo>
                    <a:lnTo>
                      <a:pt x="734" y="999"/>
                    </a:lnTo>
                    <a:lnTo>
                      <a:pt x="732" y="1001"/>
                    </a:lnTo>
                    <a:lnTo>
                      <a:pt x="732" y="999"/>
                    </a:lnTo>
                    <a:lnTo>
                      <a:pt x="730" y="999"/>
                    </a:lnTo>
                    <a:lnTo>
                      <a:pt x="727" y="998"/>
                    </a:lnTo>
                    <a:lnTo>
                      <a:pt x="725" y="996"/>
                    </a:lnTo>
                    <a:lnTo>
                      <a:pt x="723" y="994"/>
                    </a:lnTo>
                    <a:lnTo>
                      <a:pt x="725" y="994"/>
                    </a:lnTo>
                    <a:lnTo>
                      <a:pt x="723" y="992"/>
                    </a:lnTo>
                    <a:lnTo>
                      <a:pt x="721" y="992"/>
                    </a:lnTo>
                    <a:lnTo>
                      <a:pt x="723" y="992"/>
                    </a:lnTo>
                    <a:lnTo>
                      <a:pt x="721" y="992"/>
                    </a:lnTo>
                    <a:lnTo>
                      <a:pt x="721" y="994"/>
                    </a:lnTo>
                    <a:lnTo>
                      <a:pt x="719" y="994"/>
                    </a:lnTo>
                    <a:lnTo>
                      <a:pt x="719" y="992"/>
                    </a:lnTo>
                    <a:lnTo>
                      <a:pt x="721" y="992"/>
                    </a:lnTo>
                    <a:lnTo>
                      <a:pt x="719" y="992"/>
                    </a:lnTo>
                    <a:lnTo>
                      <a:pt x="721" y="992"/>
                    </a:lnTo>
                    <a:lnTo>
                      <a:pt x="719" y="992"/>
                    </a:lnTo>
                    <a:lnTo>
                      <a:pt x="719" y="994"/>
                    </a:lnTo>
                    <a:lnTo>
                      <a:pt x="719" y="992"/>
                    </a:lnTo>
                    <a:lnTo>
                      <a:pt x="717" y="992"/>
                    </a:lnTo>
                    <a:lnTo>
                      <a:pt x="715" y="990"/>
                    </a:lnTo>
                    <a:lnTo>
                      <a:pt x="713" y="988"/>
                    </a:lnTo>
                    <a:lnTo>
                      <a:pt x="715" y="988"/>
                    </a:lnTo>
                    <a:lnTo>
                      <a:pt x="715" y="986"/>
                    </a:lnTo>
                    <a:lnTo>
                      <a:pt x="715" y="984"/>
                    </a:lnTo>
                    <a:lnTo>
                      <a:pt x="715" y="986"/>
                    </a:lnTo>
                    <a:lnTo>
                      <a:pt x="715" y="984"/>
                    </a:lnTo>
                    <a:lnTo>
                      <a:pt x="713" y="984"/>
                    </a:lnTo>
                    <a:lnTo>
                      <a:pt x="709" y="978"/>
                    </a:lnTo>
                    <a:lnTo>
                      <a:pt x="709" y="977"/>
                    </a:lnTo>
                    <a:lnTo>
                      <a:pt x="707" y="969"/>
                    </a:lnTo>
                    <a:lnTo>
                      <a:pt x="709" y="965"/>
                    </a:lnTo>
                    <a:lnTo>
                      <a:pt x="711" y="963"/>
                    </a:lnTo>
                    <a:lnTo>
                      <a:pt x="711" y="959"/>
                    </a:lnTo>
                    <a:lnTo>
                      <a:pt x="713" y="956"/>
                    </a:lnTo>
                    <a:lnTo>
                      <a:pt x="713" y="958"/>
                    </a:lnTo>
                    <a:lnTo>
                      <a:pt x="715" y="958"/>
                    </a:lnTo>
                    <a:lnTo>
                      <a:pt x="715" y="956"/>
                    </a:lnTo>
                    <a:lnTo>
                      <a:pt x="717" y="954"/>
                    </a:lnTo>
                    <a:lnTo>
                      <a:pt x="717" y="956"/>
                    </a:lnTo>
                    <a:lnTo>
                      <a:pt x="721" y="958"/>
                    </a:lnTo>
                    <a:lnTo>
                      <a:pt x="721" y="956"/>
                    </a:lnTo>
                    <a:lnTo>
                      <a:pt x="717" y="956"/>
                    </a:lnTo>
                    <a:lnTo>
                      <a:pt x="717" y="954"/>
                    </a:lnTo>
                    <a:lnTo>
                      <a:pt x="715" y="952"/>
                    </a:lnTo>
                    <a:lnTo>
                      <a:pt x="717" y="952"/>
                    </a:lnTo>
                    <a:lnTo>
                      <a:pt x="719" y="950"/>
                    </a:lnTo>
                    <a:lnTo>
                      <a:pt x="721" y="948"/>
                    </a:lnTo>
                    <a:lnTo>
                      <a:pt x="719" y="948"/>
                    </a:lnTo>
                    <a:lnTo>
                      <a:pt x="715" y="952"/>
                    </a:lnTo>
                    <a:lnTo>
                      <a:pt x="715" y="954"/>
                    </a:lnTo>
                    <a:lnTo>
                      <a:pt x="711" y="950"/>
                    </a:lnTo>
                    <a:lnTo>
                      <a:pt x="709" y="946"/>
                    </a:lnTo>
                    <a:lnTo>
                      <a:pt x="707" y="944"/>
                    </a:lnTo>
                    <a:lnTo>
                      <a:pt x="707" y="942"/>
                    </a:lnTo>
                    <a:lnTo>
                      <a:pt x="709" y="938"/>
                    </a:lnTo>
                    <a:lnTo>
                      <a:pt x="709" y="933"/>
                    </a:lnTo>
                    <a:lnTo>
                      <a:pt x="711" y="931"/>
                    </a:lnTo>
                    <a:lnTo>
                      <a:pt x="711" y="929"/>
                    </a:lnTo>
                    <a:lnTo>
                      <a:pt x="711" y="931"/>
                    </a:lnTo>
                    <a:lnTo>
                      <a:pt x="709" y="931"/>
                    </a:lnTo>
                    <a:lnTo>
                      <a:pt x="707" y="929"/>
                    </a:lnTo>
                    <a:lnTo>
                      <a:pt x="709" y="927"/>
                    </a:lnTo>
                    <a:lnTo>
                      <a:pt x="711" y="927"/>
                    </a:lnTo>
                    <a:lnTo>
                      <a:pt x="709" y="925"/>
                    </a:lnTo>
                    <a:lnTo>
                      <a:pt x="709" y="921"/>
                    </a:lnTo>
                    <a:lnTo>
                      <a:pt x="711" y="921"/>
                    </a:lnTo>
                    <a:lnTo>
                      <a:pt x="709" y="921"/>
                    </a:lnTo>
                    <a:lnTo>
                      <a:pt x="709" y="923"/>
                    </a:lnTo>
                    <a:lnTo>
                      <a:pt x="709" y="921"/>
                    </a:lnTo>
                    <a:lnTo>
                      <a:pt x="711" y="919"/>
                    </a:lnTo>
                    <a:lnTo>
                      <a:pt x="713" y="919"/>
                    </a:lnTo>
                    <a:lnTo>
                      <a:pt x="713" y="916"/>
                    </a:lnTo>
                    <a:lnTo>
                      <a:pt x="717" y="914"/>
                    </a:lnTo>
                    <a:lnTo>
                      <a:pt x="719" y="914"/>
                    </a:lnTo>
                    <a:lnTo>
                      <a:pt x="719" y="917"/>
                    </a:lnTo>
                    <a:lnTo>
                      <a:pt x="723" y="919"/>
                    </a:lnTo>
                    <a:lnTo>
                      <a:pt x="725" y="919"/>
                    </a:lnTo>
                    <a:lnTo>
                      <a:pt x="725" y="917"/>
                    </a:lnTo>
                    <a:lnTo>
                      <a:pt x="723" y="917"/>
                    </a:lnTo>
                    <a:lnTo>
                      <a:pt x="725" y="917"/>
                    </a:lnTo>
                    <a:lnTo>
                      <a:pt x="725" y="916"/>
                    </a:lnTo>
                    <a:lnTo>
                      <a:pt x="727" y="916"/>
                    </a:lnTo>
                    <a:lnTo>
                      <a:pt x="725" y="914"/>
                    </a:lnTo>
                    <a:lnTo>
                      <a:pt x="725" y="912"/>
                    </a:lnTo>
                    <a:lnTo>
                      <a:pt x="727" y="910"/>
                    </a:lnTo>
                    <a:lnTo>
                      <a:pt x="719" y="910"/>
                    </a:lnTo>
                    <a:lnTo>
                      <a:pt x="719" y="908"/>
                    </a:lnTo>
                    <a:lnTo>
                      <a:pt x="719" y="906"/>
                    </a:lnTo>
                    <a:lnTo>
                      <a:pt x="719" y="904"/>
                    </a:lnTo>
                    <a:lnTo>
                      <a:pt x="721" y="902"/>
                    </a:lnTo>
                    <a:lnTo>
                      <a:pt x="723" y="902"/>
                    </a:lnTo>
                    <a:lnTo>
                      <a:pt x="723" y="904"/>
                    </a:lnTo>
                    <a:lnTo>
                      <a:pt x="721" y="902"/>
                    </a:lnTo>
                    <a:lnTo>
                      <a:pt x="723" y="902"/>
                    </a:lnTo>
                    <a:lnTo>
                      <a:pt x="723" y="900"/>
                    </a:lnTo>
                    <a:lnTo>
                      <a:pt x="725" y="898"/>
                    </a:lnTo>
                    <a:lnTo>
                      <a:pt x="725" y="896"/>
                    </a:lnTo>
                    <a:lnTo>
                      <a:pt x="727" y="896"/>
                    </a:lnTo>
                    <a:lnTo>
                      <a:pt x="727" y="895"/>
                    </a:lnTo>
                    <a:lnTo>
                      <a:pt x="727" y="893"/>
                    </a:lnTo>
                    <a:lnTo>
                      <a:pt x="728" y="893"/>
                    </a:lnTo>
                    <a:lnTo>
                      <a:pt x="728" y="895"/>
                    </a:lnTo>
                    <a:lnTo>
                      <a:pt x="730" y="893"/>
                    </a:lnTo>
                    <a:lnTo>
                      <a:pt x="728" y="891"/>
                    </a:lnTo>
                    <a:lnTo>
                      <a:pt x="730" y="891"/>
                    </a:lnTo>
                    <a:lnTo>
                      <a:pt x="728" y="889"/>
                    </a:lnTo>
                    <a:lnTo>
                      <a:pt x="730" y="887"/>
                    </a:lnTo>
                    <a:lnTo>
                      <a:pt x="734" y="885"/>
                    </a:lnTo>
                    <a:lnTo>
                      <a:pt x="740" y="885"/>
                    </a:lnTo>
                    <a:lnTo>
                      <a:pt x="742" y="885"/>
                    </a:lnTo>
                    <a:lnTo>
                      <a:pt x="740" y="887"/>
                    </a:lnTo>
                    <a:lnTo>
                      <a:pt x="742" y="887"/>
                    </a:lnTo>
                    <a:lnTo>
                      <a:pt x="742" y="889"/>
                    </a:lnTo>
                    <a:lnTo>
                      <a:pt x="740" y="889"/>
                    </a:lnTo>
                    <a:lnTo>
                      <a:pt x="742" y="889"/>
                    </a:lnTo>
                    <a:lnTo>
                      <a:pt x="742" y="893"/>
                    </a:lnTo>
                    <a:lnTo>
                      <a:pt x="740" y="891"/>
                    </a:lnTo>
                    <a:lnTo>
                      <a:pt x="738" y="895"/>
                    </a:lnTo>
                    <a:lnTo>
                      <a:pt x="740" y="896"/>
                    </a:lnTo>
                    <a:lnTo>
                      <a:pt x="742" y="896"/>
                    </a:lnTo>
                    <a:lnTo>
                      <a:pt x="740" y="895"/>
                    </a:lnTo>
                    <a:lnTo>
                      <a:pt x="742" y="893"/>
                    </a:lnTo>
                    <a:lnTo>
                      <a:pt x="742" y="895"/>
                    </a:lnTo>
                    <a:lnTo>
                      <a:pt x="744" y="895"/>
                    </a:lnTo>
                    <a:lnTo>
                      <a:pt x="742" y="895"/>
                    </a:lnTo>
                    <a:lnTo>
                      <a:pt x="742" y="902"/>
                    </a:lnTo>
                    <a:lnTo>
                      <a:pt x="746" y="896"/>
                    </a:lnTo>
                    <a:lnTo>
                      <a:pt x="746" y="895"/>
                    </a:lnTo>
                    <a:lnTo>
                      <a:pt x="746" y="896"/>
                    </a:lnTo>
                    <a:lnTo>
                      <a:pt x="748" y="896"/>
                    </a:lnTo>
                    <a:lnTo>
                      <a:pt x="749" y="895"/>
                    </a:lnTo>
                    <a:lnTo>
                      <a:pt x="749" y="896"/>
                    </a:lnTo>
                    <a:lnTo>
                      <a:pt x="753" y="896"/>
                    </a:lnTo>
                    <a:lnTo>
                      <a:pt x="753" y="898"/>
                    </a:lnTo>
                    <a:lnTo>
                      <a:pt x="751" y="902"/>
                    </a:lnTo>
                    <a:lnTo>
                      <a:pt x="753" y="904"/>
                    </a:lnTo>
                    <a:lnTo>
                      <a:pt x="755" y="906"/>
                    </a:lnTo>
                    <a:lnTo>
                      <a:pt x="759" y="908"/>
                    </a:lnTo>
                    <a:lnTo>
                      <a:pt x="759" y="910"/>
                    </a:lnTo>
                    <a:lnTo>
                      <a:pt x="761" y="912"/>
                    </a:lnTo>
                    <a:lnTo>
                      <a:pt x="763" y="916"/>
                    </a:lnTo>
                    <a:lnTo>
                      <a:pt x="765" y="917"/>
                    </a:lnTo>
                    <a:lnTo>
                      <a:pt x="765" y="919"/>
                    </a:lnTo>
                    <a:lnTo>
                      <a:pt x="765" y="923"/>
                    </a:lnTo>
                    <a:lnTo>
                      <a:pt x="767" y="927"/>
                    </a:lnTo>
                    <a:lnTo>
                      <a:pt x="767" y="931"/>
                    </a:lnTo>
                    <a:lnTo>
                      <a:pt x="767" y="933"/>
                    </a:lnTo>
                    <a:lnTo>
                      <a:pt x="767" y="938"/>
                    </a:lnTo>
                    <a:lnTo>
                      <a:pt x="767" y="940"/>
                    </a:lnTo>
                    <a:lnTo>
                      <a:pt x="767" y="942"/>
                    </a:lnTo>
                    <a:lnTo>
                      <a:pt x="765" y="940"/>
                    </a:lnTo>
                    <a:lnTo>
                      <a:pt x="765" y="942"/>
                    </a:lnTo>
                    <a:lnTo>
                      <a:pt x="767" y="944"/>
                    </a:lnTo>
                    <a:lnTo>
                      <a:pt x="769" y="944"/>
                    </a:lnTo>
                    <a:lnTo>
                      <a:pt x="770" y="946"/>
                    </a:lnTo>
                    <a:lnTo>
                      <a:pt x="769" y="946"/>
                    </a:lnTo>
                    <a:lnTo>
                      <a:pt x="770" y="946"/>
                    </a:lnTo>
                    <a:lnTo>
                      <a:pt x="770" y="948"/>
                    </a:lnTo>
                    <a:lnTo>
                      <a:pt x="769" y="948"/>
                    </a:lnTo>
                    <a:lnTo>
                      <a:pt x="770" y="948"/>
                    </a:lnTo>
                    <a:lnTo>
                      <a:pt x="770" y="950"/>
                    </a:lnTo>
                    <a:lnTo>
                      <a:pt x="772" y="950"/>
                    </a:lnTo>
                    <a:lnTo>
                      <a:pt x="776" y="952"/>
                    </a:lnTo>
                    <a:lnTo>
                      <a:pt x="776" y="954"/>
                    </a:lnTo>
                    <a:lnTo>
                      <a:pt x="774" y="954"/>
                    </a:lnTo>
                    <a:lnTo>
                      <a:pt x="776" y="956"/>
                    </a:lnTo>
                    <a:lnTo>
                      <a:pt x="776" y="952"/>
                    </a:lnTo>
                    <a:lnTo>
                      <a:pt x="778" y="954"/>
                    </a:lnTo>
                    <a:lnTo>
                      <a:pt x="778" y="956"/>
                    </a:lnTo>
                    <a:lnTo>
                      <a:pt x="776" y="956"/>
                    </a:lnTo>
                    <a:lnTo>
                      <a:pt x="778" y="958"/>
                    </a:lnTo>
                    <a:lnTo>
                      <a:pt x="776" y="958"/>
                    </a:lnTo>
                    <a:lnTo>
                      <a:pt x="776" y="959"/>
                    </a:lnTo>
                    <a:lnTo>
                      <a:pt x="778" y="959"/>
                    </a:lnTo>
                    <a:lnTo>
                      <a:pt x="778" y="961"/>
                    </a:lnTo>
                    <a:lnTo>
                      <a:pt x="780" y="961"/>
                    </a:lnTo>
                    <a:lnTo>
                      <a:pt x="780" y="965"/>
                    </a:lnTo>
                    <a:lnTo>
                      <a:pt x="780" y="963"/>
                    </a:lnTo>
                    <a:lnTo>
                      <a:pt x="780" y="965"/>
                    </a:lnTo>
                    <a:lnTo>
                      <a:pt x="782" y="965"/>
                    </a:lnTo>
                    <a:lnTo>
                      <a:pt x="780" y="967"/>
                    </a:lnTo>
                    <a:lnTo>
                      <a:pt x="780" y="969"/>
                    </a:lnTo>
                    <a:lnTo>
                      <a:pt x="780" y="967"/>
                    </a:lnTo>
                    <a:lnTo>
                      <a:pt x="780" y="969"/>
                    </a:lnTo>
                    <a:lnTo>
                      <a:pt x="782" y="969"/>
                    </a:lnTo>
                    <a:lnTo>
                      <a:pt x="782" y="971"/>
                    </a:lnTo>
                    <a:lnTo>
                      <a:pt x="782" y="967"/>
                    </a:lnTo>
                    <a:lnTo>
                      <a:pt x="784" y="967"/>
                    </a:lnTo>
                    <a:lnTo>
                      <a:pt x="782" y="967"/>
                    </a:lnTo>
                    <a:lnTo>
                      <a:pt x="782" y="965"/>
                    </a:lnTo>
                    <a:lnTo>
                      <a:pt x="784" y="965"/>
                    </a:lnTo>
                    <a:lnTo>
                      <a:pt x="784" y="967"/>
                    </a:lnTo>
                    <a:lnTo>
                      <a:pt x="786" y="965"/>
                    </a:lnTo>
                    <a:lnTo>
                      <a:pt x="786" y="967"/>
                    </a:lnTo>
                    <a:lnTo>
                      <a:pt x="786" y="973"/>
                    </a:lnTo>
                    <a:lnTo>
                      <a:pt x="786" y="971"/>
                    </a:lnTo>
                    <a:lnTo>
                      <a:pt x="788" y="973"/>
                    </a:lnTo>
                    <a:lnTo>
                      <a:pt x="788" y="975"/>
                    </a:lnTo>
                    <a:lnTo>
                      <a:pt x="780" y="977"/>
                    </a:lnTo>
                    <a:lnTo>
                      <a:pt x="778" y="975"/>
                    </a:lnTo>
                    <a:lnTo>
                      <a:pt x="776" y="973"/>
                    </a:lnTo>
                    <a:lnTo>
                      <a:pt x="778" y="971"/>
                    </a:lnTo>
                    <a:lnTo>
                      <a:pt x="776" y="973"/>
                    </a:lnTo>
                    <a:lnTo>
                      <a:pt x="776" y="969"/>
                    </a:lnTo>
                    <a:lnTo>
                      <a:pt x="776" y="971"/>
                    </a:lnTo>
                    <a:lnTo>
                      <a:pt x="774" y="971"/>
                    </a:lnTo>
                    <a:lnTo>
                      <a:pt x="776" y="971"/>
                    </a:lnTo>
                    <a:lnTo>
                      <a:pt x="776" y="973"/>
                    </a:lnTo>
                    <a:lnTo>
                      <a:pt x="774" y="973"/>
                    </a:lnTo>
                    <a:lnTo>
                      <a:pt x="772" y="975"/>
                    </a:lnTo>
                    <a:lnTo>
                      <a:pt x="774" y="975"/>
                    </a:lnTo>
                    <a:lnTo>
                      <a:pt x="772" y="977"/>
                    </a:lnTo>
                    <a:lnTo>
                      <a:pt x="772" y="978"/>
                    </a:lnTo>
                    <a:lnTo>
                      <a:pt x="770" y="978"/>
                    </a:lnTo>
                    <a:lnTo>
                      <a:pt x="772" y="978"/>
                    </a:lnTo>
                    <a:lnTo>
                      <a:pt x="772" y="980"/>
                    </a:lnTo>
                    <a:lnTo>
                      <a:pt x="774" y="978"/>
                    </a:lnTo>
                    <a:lnTo>
                      <a:pt x="778" y="978"/>
                    </a:lnTo>
                    <a:lnTo>
                      <a:pt x="780" y="978"/>
                    </a:lnTo>
                    <a:lnTo>
                      <a:pt x="782" y="980"/>
                    </a:lnTo>
                    <a:lnTo>
                      <a:pt x="780" y="982"/>
                    </a:lnTo>
                    <a:lnTo>
                      <a:pt x="778" y="986"/>
                    </a:lnTo>
                    <a:lnTo>
                      <a:pt x="776" y="986"/>
                    </a:lnTo>
                    <a:lnTo>
                      <a:pt x="776" y="988"/>
                    </a:lnTo>
                    <a:lnTo>
                      <a:pt x="774" y="988"/>
                    </a:lnTo>
                    <a:lnTo>
                      <a:pt x="774" y="990"/>
                    </a:lnTo>
                    <a:lnTo>
                      <a:pt x="772" y="992"/>
                    </a:lnTo>
                    <a:lnTo>
                      <a:pt x="772" y="994"/>
                    </a:lnTo>
                    <a:lnTo>
                      <a:pt x="770" y="994"/>
                    </a:lnTo>
                    <a:lnTo>
                      <a:pt x="770" y="992"/>
                    </a:lnTo>
                    <a:lnTo>
                      <a:pt x="770" y="994"/>
                    </a:lnTo>
                    <a:lnTo>
                      <a:pt x="769" y="996"/>
                    </a:lnTo>
                    <a:lnTo>
                      <a:pt x="767" y="996"/>
                    </a:lnTo>
                    <a:lnTo>
                      <a:pt x="772" y="996"/>
                    </a:lnTo>
                    <a:lnTo>
                      <a:pt x="770" y="996"/>
                    </a:lnTo>
                    <a:lnTo>
                      <a:pt x="769" y="998"/>
                    </a:lnTo>
                    <a:lnTo>
                      <a:pt x="770" y="998"/>
                    </a:lnTo>
                    <a:lnTo>
                      <a:pt x="772" y="996"/>
                    </a:lnTo>
                    <a:lnTo>
                      <a:pt x="776" y="998"/>
                    </a:lnTo>
                    <a:lnTo>
                      <a:pt x="774" y="998"/>
                    </a:lnTo>
                    <a:lnTo>
                      <a:pt x="776" y="998"/>
                    </a:lnTo>
                    <a:lnTo>
                      <a:pt x="778" y="998"/>
                    </a:lnTo>
                    <a:lnTo>
                      <a:pt x="778" y="999"/>
                    </a:lnTo>
                    <a:lnTo>
                      <a:pt x="776" y="999"/>
                    </a:lnTo>
                    <a:lnTo>
                      <a:pt x="776" y="1001"/>
                    </a:lnTo>
                    <a:lnTo>
                      <a:pt x="776" y="999"/>
                    </a:lnTo>
                    <a:lnTo>
                      <a:pt x="776" y="1001"/>
                    </a:lnTo>
                    <a:lnTo>
                      <a:pt x="778" y="999"/>
                    </a:lnTo>
                    <a:lnTo>
                      <a:pt x="778" y="1001"/>
                    </a:lnTo>
                    <a:lnTo>
                      <a:pt x="778" y="1003"/>
                    </a:lnTo>
                    <a:lnTo>
                      <a:pt x="780" y="1003"/>
                    </a:lnTo>
                    <a:lnTo>
                      <a:pt x="784" y="1007"/>
                    </a:lnTo>
                    <a:lnTo>
                      <a:pt x="784" y="1005"/>
                    </a:lnTo>
                    <a:lnTo>
                      <a:pt x="786" y="1005"/>
                    </a:lnTo>
                    <a:lnTo>
                      <a:pt x="784" y="1005"/>
                    </a:lnTo>
                    <a:lnTo>
                      <a:pt x="784" y="1003"/>
                    </a:lnTo>
                    <a:lnTo>
                      <a:pt x="786" y="1003"/>
                    </a:lnTo>
                    <a:lnTo>
                      <a:pt x="788" y="1001"/>
                    </a:lnTo>
                    <a:lnTo>
                      <a:pt x="788" y="999"/>
                    </a:lnTo>
                    <a:lnTo>
                      <a:pt x="789" y="999"/>
                    </a:lnTo>
                    <a:lnTo>
                      <a:pt x="789" y="998"/>
                    </a:lnTo>
                    <a:lnTo>
                      <a:pt x="791" y="999"/>
                    </a:lnTo>
                    <a:lnTo>
                      <a:pt x="791" y="998"/>
                    </a:lnTo>
                    <a:lnTo>
                      <a:pt x="793" y="999"/>
                    </a:lnTo>
                    <a:lnTo>
                      <a:pt x="793" y="998"/>
                    </a:lnTo>
                    <a:lnTo>
                      <a:pt x="793" y="1001"/>
                    </a:lnTo>
                    <a:lnTo>
                      <a:pt x="791" y="1003"/>
                    </a:lnTo>
                    <a:lnTo>
                      <a:pt x="786" y="1005"/>
                    </a:lnTo>
                    <a:lnTo>
                      <a:pt x="788" y="1005"/>
                    </a:lnTo>
                    <a:lnTo>
                      <a:pt x="789" y="1003"/>
                    </a:lnTo>
                    <a:lnTo>
                      <a:pt x="791" y="1003"/>
                    </a:lnTo>
                    <a:lnTo>
                      <a:pt x="793" y="1001"/>
                    </a:lnTo>
                    <a:lnTo>
                      <a:pt x="793" y="1003"/>
                    </a:lnTo>
                    <a:lnTo>
                      <a:pt x="795" y="1003"/>
                    </a:lnTo>
                    <a:lnTo>
                      <a:pt x="793" y="1003"/>
                    </a:lnTo>
                    <a:lnTo>
                      <a:pt x="795" y="1003"/>
                    </a:lnTo>
                    <a:lnTo>
                      <a:pt x="793" y="1005"/>
                    </a:lnTo>
                    <a:lnTo>
                      <a:pt x="795" y="1003"/>
                    </a:lnTo>
                    <a:lnTo>
                      <a:pt x="795" y="1005"/>
                    </a:lnTo>
                    <a:lnTo>
                      <a:pt x="795" y="1003"/>
                    </a:lnTo>
                    <a:lnTo>
                      <a:pt x="797" y="1003"/>
                    </a:lnTo>
                    <a:lnTo>
                      <a:pt x="795" y="1005"/>
                    </a:lnTo>
                    <a:lnTo>
                      <a:pt x="793" y="1007"/>
                    </a:lnTo>
                    <a:lnTo>
                      <a:pt x="791" y="1009"/>
                    </a:lnTo>
                    <a:lnTo>
                      <a:pt x="793" y="1007"/>
                    </a:lnTo>
                    <a:lnTo>
                      <a:pt x="795" y="1007"/>
                    </a:lnTo>
                    <a:lnTo>
                      <a:pt x="795" y="1005"/>
                    </a:lnTo>
                    <a:lnTo>
                      <a:pt x="797" y="1003"/>
                    </a:lnTo>
                    <a:lnTo>
                      <a:pt x="799" y="1005"/>
                    </a:lnTo>
                    <a:lnTo>
                      <a:pt x="797" y="1007"/>
                    </a:lnTo>
                    <a:lnTo>
                      <a:pt x="799" y="1005"/>
                    </a:lnTo>
                    <a:lnTo>
                      <a:pt x="797" y="1007"/>
                    </a:lnTo>
                    <a:lnTo>
                      <a:pt x="799" y="1007"/>
                    </a:lnTo>
                    <a:lnTo>
                      <a:pt x="799" y="1005"/>
                    </a:lnTo>
                    <a:lnTo>
                      <a:pt x="801" y="1005"/>
                    </a:lnTo>
                    <a:lnTo>
                      <a:pt x="801" y="1003"/>
                    </a:lnTo>
                    <a:lnTo>
                      <a:pt x="803" y="1003"/>
                    </a:lnTo>
                    <a:lnTo>
                      <a:pt x="805" y="1005"/>
                    </a:lnTo>
                    <a:lnTo>
                      <a:pt x="807" y="1005"/>
                    </a:lnTo>
                    <a:lnTo>
                      <a:pt x="807" y="1007"/>
                    </a:lnTo>
                    <a:lnTo>
                      <a:pt x="805" y="1007"/>
                    </a:lnTo>
                    <a:lnTo>
                      <a:pt x="807" y="1007"/>
                    </a:lnTo>
                    <a:lnTo>
                      <a:pt x="805" y="1007"/>
                    </a:lnTo>
                    <a:lnTo>
                      <a:pt x="805" y="1009"/>
                    </a:lnTo>
                    <a:lnTo>
                      <a:pt x="803" y="1009"/>
                    </a:lnTo>
                    <a:lnTo>
                      <a:pt x="805" y="1007"/>
                    </a:lnTo>
                    <a:lnTo>
                      <a:pt x="803" y="1009"/>
                    </a:lnTo>
                    <a:lnTo>
                      <a:pt x="803" y="1007"/>
                    </a:lnTo>
                    <a:lnTo>
                      <a:pt x="801" y="1007"/>
                    </a:lnTo>
                    <a:lnTo>
                      <a:pt x="803" y="1009"/>
                    </a:lnTo>
                    <a:lnTo>
                      <a:pt x="799" y="1011"/>
                    </a:lnTo>
                    <a:lnTo>
                      <a:pt x="799" y="1013"/>
                    </a:lnTo>
                    <a:lnTo>
                      <a:pt x="799" y="1015"/>
                    </a:lnTo>
                    <a:lnTo>
                      <a:pt x="799" y="1017"/>
                    </a:lnTo>
                    <a:lnTo>
                      <a:pt x="797" y="1017"/>
                    </a:lnTo>
                    <a:lnTo>
                      <a:pt x="799" y="1015"/>
                    </a:lnTo>
                    <a:lnTo>
                      <a:pt x="797" y="1017"/>
                    </a:lnTo>
                    <a:lnTo>
                      <a:pt x="797" y="1015"/>
                    </a:lnTo>
                    <a:lnTo>
                      <a:pt x="795" y="1015"/>
                    </a:lnTo>
                    <a:lnTo>
                      <a:pt x="797" y="1013"/>
                    </a:lnTo>
                    <a:lnTo>
                      <a:pt x="797" y="1011"/>
                    </a:lnTo>
                    <a:lnTo>
                      <a:pt x="795" y="1013"/>
                    </a:lnTo>
                    <a:lnTo>
                      <a:pt x="793" y="1015"/>
                    </a:lnTo>
                    <a:lnTo>
                      <a:pt x="789" y="1011"/>
                    </a:lnTo>
                    <a:lnTo>
                      <a:pt x="793" y="1015"/>
                    </a:lnTo>
                    <a:lnTo>
                      <a:pt x="795" y="1017"/>
                    </a:lnTo>
                    <a:lnTo>
                      <a:pt x="797" y="1017"/>
                    </a:lnTo>
                    <a:lnTo>
                      <a:pt x="797" y="1019"/>
                    </a:lnTo>
                    <a:lnTo>
                      <a:pt x="797" y="1020"/>
                    </a:lnTo>
                    <a:lnTo>
                      <a:pt x="803" y="1024"/>
                    </a:lnTo>
                    <a:lnTo>
                      <a:pt x="801" y="1026"/>
                    </a:lnTo>
                    <a:lnTo>
                      <a:pt x="801" y="1028"/>
                    </a:lnTo>
                    <a:lnTo>
                      <a:pt x="803" y="1028"/>
                    </a:lnTo>
                    <a:lnTo>
                      <a:pt x="803" y="1030"/>
                    </a:lnTo>
                    <a:lnTo>
                      <a:pt x="803" y="1032"/>
                    </a:lnTo>
                    <a:lnTo>
                      <a:pt x="805" y="1032"/>
                    </a:lnTo>
                    <a:lnTo>
                      <a:pt x="805" y="1034"/>
                    </a:lnTo>
                    <a:lnTo>
                      <a:pt x="803" y="1036"/>
                    </a:lnTo>
                    <a:lnTo>
                      <a:pt x="803" y="1038"/>
                    </a:lnTo>
                    <a:lnTo>
                      <a:pt x="805" y="1036"/>
                    </a:lnTo>
                    <a:lnTo>
                      <a:pt x="805" y="1038"/>
                    </a:lnTo>
                    <a:lnTo>
                      <a:pt x="805" y="1040"/>
                    </a:lnTo>
                    <a:lnTo>
                      <a:pt x="805" y="1043"/>
                    </a:lnTo>
                    <a:lnTo>
                      <a:pt x="803" y="1043"/>
                    </a:lnTo>
                    <a:lnTo>
                      <a:pt x="805" y="1045"/>
                    </a:lnTo>
                    <a:lnTo>
                      <a:pt x="803" y="1045"/>
                    </a:lnTo>
                    <a:lnTo>
                      <a:pt x="805" y="1045"/>
                    </a:lnTo>
                    <a:lnTo>
                      <a:pt x="803" y="1047"/>
                    </a:lnTo>
                    <a:lnTo>
                      <a:pt x="805" y="1047"/>
                    </a:lnTo>
                    <a:lnTo>
                      <a:pt x="805" y="1049"/>
                    </a:lnTo>
                    <a:lnTo>
                      <a:pt x="803" y="1051"/>
                    </a:lnTo>
                    <a:lnTo>
                      <a:pt x="805" y="1053"/>
                    </a:lnTo>
                    <a:lnTo>
                      <a:pt x="807" y="1055"/>
                    </a:lnTo>
                    <a:lnTo>
                      <a:pt x="809" y="1055"/>
                    </a:lnTo>
                    <a:lnTo>
                      <a:pt x="807" y="1055"/>
                    </a:lnTo>
                    <a:lnTo>
                      <a:pt x="807" y="1057"/>
                    </a:lnTo>
                    <a:lnTo>
                      <a:pt x="809" y="1061"/>
                    </a:lnTo>
                    <a:lnTo>
                      <a:pt x="810" y="1061"/>
                    </a:lnTo>
                    <a:lnTo>
                      <a:pt x="810" y="1059"/>
                    </a:lnTo>
                    <a:lnTo>
                      <a:pt x="812" y="1057"/>
                    </a:lnTo>
                    <a:lnTo>
                      <a:pt x="810" y="1057"/>
                    </a:lnTo>
                    <a:lnTo>
                      <a:pt x="812" y="1055"/>
                    </a:lnTo>
                    <a:lnTo>
                      <a:pt x="812" y="1053"/>
                    </a:lnTo>
                    <a:lnTo>
                      <a:pt x="814" y="1051"/>
                    </a:lnTo>
                    <a:lnTo>
                      <a:pt x="814" y="1047"/>
                    </a:lnTo>
                    <a:lnTo>
                      <a:pt x="812" y="1043"/>
                    </a:lnTo>
                    <a:lnTo>
                      <a:pt x="816" y="1040"/>
                    </a:lnTo>
                    <a:lnTo>
                      <a:pt x="816" y="1041"/>
                    </a:lnTo>
                    <a:lnTo>
                      <a:pt x="816" y="1043"/>
                    </a:lnTo>
                    <a:lnTo>
                      <a:pt x="816" y="1045"/>
                    </a:lnTo>
                    <a:lnTo>
                      <a:pt x="816" y="1043"/>
                    </a:lnTo>
                    <a:lnTo>
                      <a:pt x="816" y="1041"/>
                    </a:lnTo>
                    <a:lnTo>
                      <a:pt x="816" y="1040"/>
                    </a:lnTo>
                    <a:lnTo>
                      <a:pt x="818" y="1036"/>
                    </a:lnTo>
                    <a:lnTo>
                      <a:pt x="816" y="1034"/>
                    </a:lnTo>
                    <a:lnTo>
                      <a:pt x="816" y="1028"/>
                    </a:lnTo>
                    <a:lnTo>
                      <a:pt x="818" y="1024"/>
                    </a:lnTo>
                    <a:lnTo>
                      <a:pt x="820" y="1022"/>
                    </a:lnTo>
                    <a:lnTo>
                      <a:pt x="822" y="1017"/>
                    </a:lnTo>
                    <a:lnTo>
                      <a:pt x="824" y="1017"/>
                    </a:lnTo>
                    <a:lnTo>
                      <a:pt x="826" y="1015"/>
                    </a:lnTo>
                    <a:lnTo>
                      <a:pt x="830" y="1017"/>
                    </a:lnTo>
                    <a:lnTo>
                      <a:pt x="831" y="1022"/>
                    </a:lnTo>
                    <a:lnTo>
                      <a:pt x="841" y="1032"/>
                    </a:lnTo>
                    <a:lnTo>
                      <a:pt x="843" y="1034"/>
                    </a:lnTo>
                    <a:lnTo>
                      <a:pt x="845" y="1040"/>
                    </a:lnTo>
                    <a:lnTo>
                      <a:pt x="845" y="1043"/>
                    </a:lnTo>
                    <a:lnTo>
                      <a:pt x="845" y="1045"/>
                    </a:lnTo>
                    <a:lnTo>
                      <a:pt x="847" y="1051"/>
                    </a:lnTo>
                    <a:lnTo>
                      <a:pt x="847" y="1053"/>
                    </a:lnTo>
                    <a:lnTo>
                      <a:pt x="847" y="1057"/>
                    </a:lnTo>
                    <a:lnTo>
                      <a:pt x="847" y="1061"/>
                    </a:lnTo>
                    <a:lnTo>
                      <a:pt x="845" y="1062"/>
                    </a:lnTo>
                    <a:lnTo>
                      <a:pt x="845" y="1061"/>
                    </a:lnTo>
                    <a:lnTo>
                      <a:pt x="841" y="1061"/>
                    </a:lnTo>
                    <a:lnTo>
                      <a:pt x="841" y="1055"/>
                    </a:lnTo>
                    <a:lnTo>
                      <a:pt x="839" y="1057"/>
                    </a:lnTo>
                    <a:lnTo>
                      <a:pt x="837" y="1059"/>
                    </a:lnTo>
                    <a:lnTo>
                      <a:pt x="839" y="1066"/>
                    </a:lnTo>
                    <a:lnTo>
                      <a:pt x="839" y="1068"/>
                    </a:lnTo>
                    <a:lnTo>
                      <a:pt x="839" y="1070"/>
                    </a:lnTo>
                    <a:lnTo>
                      <a:pt x="837" y="1070"/>
                    </a:lnTo>
                    <a:lnTo>
                      <a:pt x="837" y="1072"/>
                    </a:lnTo>
                    <a:lnTo>
                      <a:pt x="839" y="1074"/>
                    </a:lnTo>
                    <a:lnTo>
                      <a:pt x="841" y="1082"/>
                    </a:lnTo>
                    <a:lnTo>
                      <a:pt x="843" y="1082"/>
                    </a:lnTo>
                    <a:lnTo>
                      <a:pt x="843" y="1085"/>
                    </a:lnTo>
                    <a:lnTo>
                      <a:pt x="845" y="1087"/>
                    </a:lnTo>
                    <a:lnTo>
                      <a:pt x="850" y="1097"/>
                    </a:lnTo>
                    <a:lnTo>
                      <a:pt x="852" y="1097"/>
                    </a:lnTo>
                    <a:lnTo>
                      <a:pt x="852" y="1101"/>
                    </a:lnTo>
                    <a:lnTo>
                      <a:pt x="854" y="1101"/>
                    </a:lnTo>
                    <a:lnTo>
                      <a:pt x="852" y="1103"/>
                    </a:lnTo>
                    <a:lnTo>
                      <a:pt x="854" y="1101"/>
                    </a:lnTo>
                    <a:lnTo>
                      <a:pt x="854" y="1103"/>
                    </a:lnTo>
                    <a:lnTo>
                      <a:pt x="854" y="1104"/>
                    </a:lnTo>
                    <a:lnTo>
                      <a:pt x="856" y="1106"/>
                    </a:lnTo>
                    <a:lnTo>
                      <a:pt x="856" y="1108"/>
                    </a:lnTo>
                    <a:lnTo>
                      <a:pt x="856" y="1104"/>
                    </a:lnTo>
                    <a:lnTo>
                      <a:pt x="858" y="1104"/>
                    </a:lnTo>
                    <a:lnTo>
                      <a:pt x="856" y="1104"/>
                    </a:lnTo>
                    <a:lnTo>
                      <a:pt x="858" y="1104"/>
                    </a:lnTo>
                    <a:lnTo>
                      <a:pt x="858" y="1103"/>
                    </a:lnTo>
                    <a:lnTo>
                      <a:pt x="858" y="1104"/>
                    </a:lnTo>
                    <a:lnTo>
                      <a:pt x="860" y="1103"/>
                    </a:lnTo>
                    <a:lnTo>
                      <a:pt x="860" y="1101"/>
                    </a:lnTo>
                    <a:lnTo>
                      <a:pt x="858" y="1099"/>
                    </a:lnTo>
                    <a:lnTo>
                      <a:pt x="860" y="1099"/>
                    </a:lnTo>
                    <a:lnTo>
                      <a:pt x="862" y="1097"/>
                    </a:lnTo>
                    <a:lnTo>
                      <a:pt x="862" y="1095"/>
                    </a:lnTo>
                    <a:lnTo>
                      <a:pt x="864" y="1095"/>
                    </a:lnTo>
                    <a:lnTo>
                      <a:pt x="864" y="1097"/>
                    </a:lnTo>
                    <a:lnTo>
                      <a:pt x="866" y="1099"/>
                    </a:lnTo>
                    <a:lnTo>
                      <a:pt x="866" y="1097"/>
                    </a:lnTo>
                    <a:lnTo>
                      <a:pt x="866" y="1099"/>
                    </a:lnTo>
                    <a:lnTo>
                      <a:pt x="868" y="1099"/>
                    </a:lnTo>
                    <a:lnTo>
                      <a:pt x="868" y="1097"/>
                    </a:lnTo>
                    <a:lnTo>
                      <a:pt x="868" y="1099"/>
                    </a:lnTo>
                    <a:lnTo>
                      <a:pt x="868" y="1097"/>
                    </a:lnTo>
                    <a:lnTo>
                      <a:pt x="868" y="1095"/>
                    </a:lnTo>
                    <a:lnTo>
                      <a:pt x="868" y="1093"/>
                    </a:lnTo>
                    <a:lnTo>
                      <a:pt x="868" y="1091"/>
                    </a:lnTo>
                    <a:lnTo>
                      <a:pt x="868" y="1089"/>
                    </a:lnTo>
                    <a:lnTo>
                      <a:pt x="870" y="1089"/>
                    </a:lnTo>
                    <a:lnTo>
                      <a:pt x="868" y="1087"/>
                    </a:lnTo>
                    <a:lnTo>
                      <a:pt x="868" y="1083"/>
                    </a:lnTo>
                    <a:lnTo>
                      <a:pt x="871" y="1078"/>
                    </a:lnTo>
                    <a:lnTo>
                      <a:pt x="873" y="1072"/>
                    </a:lnTo>
                    <a:lnTo>
                      <a:pt x="873" y="1070"/>
                    </a:lnTo>
                    <a:lnTo>
                      <a:pt x="875" y="1072"/>
                    </a:lnTo>
                    <a:lnTo>
                      <a:pt x="877" y="1070"/>
                    </a:lnTo>
                    <a:lnTo>
                      <a:pt x="877" y="1066"/>
                    </a:lnTo>
                    <a:lnTo>
                      <a:pt x="879" y="1064"/>
                    </a:lnTo>
                    <a:lnTo>
                      <a:pt x="877" y="1064"/>
                    </a:lnTo>
                    <a:lnTo>
                      <a:pt x="877" y="1062"/>
                    </a:lnTo>
                    <a:lnTo>
                      <a:pt x="879" y="1062"/>
                    </a:lnTo>
                    <a:lnTo>
                      <a:pt x="879" y="1061"/>
                    </a:lnTo>
                    <a:lnTo>
                      <a:pt x="879" y="1059"/>
                    </a:lnTo>
                    <a:lnTo>
                      <a:pt x="879" y="1057"/>
                    </a:lnTo>
                    <a:lnTo>
                      <a:pt x="881" y="1053"/>
                    </a:lnTo>
                    <a:lnTo>
                      <a:pt x="881" y="1051"/>
                    </a:lnTo>
                    <a:lnTo>
                      <a:pt x="881" y="1049"/>
                    </a:lnTo>
                    <a:lnTo>
                      <a:pt x="881" y="1043"/>
                    </a:lnTo>
                    <a:lnTo>
                      <a:pt x="881" y="1040"/>
                    </a:lnTo>
                    <a:lnTo>
                      <a:pt x="883" y="1040"/>
                    </a:lnTo>
                    <a:lnTo>
                      <a:pt x="885" y="1040"/>
                    </a:lnTo>
                    <a:lnTo>
                      <a:pt x="885" y="1038"/>
                    </a:lnTo>
                    <a:lnTo>
                      <a:pt x="883" y="1038"/>
                    </a:lnTo>
                    <a:lnTo>
                      <a:pt x="885" y="1038"/>
                    </a:lnTo>
                    <a:lnTo>
                      <a:pt x="887" y="1038"/>
                    </a:lnTo>
                    <a:lnTo>
                      <a:pt x="885" y="1040"/>
                    </a:lnTo>
                    <a:lnTo>
                      <a:pt x="889" y="1040"/>
                    </a:lnTo>
                    <a:lnTo>
                      <a:pt x="887" y="1040"/>
                    </a:lnTo>
                    <a:lnTo>
                      <a:pt x="887" y="1038"/>
                    </a:lnTo>
                    <a:lnTo>
                      <a:pt x="889" y="1040"/>
                    </a:lnTo>
                    <a:lnTo>
                      <a:pt x="889" y="1038"/>
                    </a:lnTo>
                    <a:lnTo>
                      <a:pt x="891" y="1040"/>
                    </a:lnTo>
                    <a:lnTo>
                      <a:pt x="891" y="1038"/>
                    </a:lnTo>
                    <a:lnTo>
                      <a:pt x="891" y="1040"/>
                    </a:lnTo>
                    <a:lnTo>
                      <a:pt x="892" y="1038"/>
                    </a:lnTo>
                    <a:lnTo>
                      <a:pt x="894" y="1040"/>
                    </a:lnTo>
                    <a:lnTo>
                      <a:pt x="896" y="1040"/>
                    </a:lnTo>
                    <a:lnTo>
                      <a:pt x="896" y="1038"/>
                    </a:lnTo>
                    <a:lnTo>
                      <a:pt x="894" y="1038"/>
                    </a:lnTo>
                    <a:lnTo>
                      <a:pt x="894" y="1036"/>
                    </a:lnTo>
                    <a:lnTo>
                      <a:pt x="892" y="1036"/>
                    </a:lnTo>
                    <a:lnTo>
                      <a:pt x="891" y="1036"/>
                    </a:lnTo>
                    <a:lnTo>
                      <a:pt x="889" y="1036"/>
                    </a:lnTo>
                    <a:lnTo>
                      <a:pt x="889" y="1034"/>
                    </a:lnTo>
                    <a:lnTo>
                      <a:pt x="891" y="1034"/>
                    </a:lnTo>
                    <a:lnTo>
                      <a:pt x="891" y="1032"/>
                    </a:lnTo>
                    <a:lnTo>
                      <a:pt x="892" y="1034"/>
                    </a:lnTo>
                    <a:lnTo>
                      <a:pt x="892" y="1032"/>
                    </a:lnTo>
                    <a:lnTo>
                      <a:pt x="891" y="1032"/>
                    </a:lnTo>
                    <a:lnTo>
                      <a:pt x="892" y="1032"/>
                    </a:lnTo>
                    <a:lnTo>
                      <a:pt x="892" y="1030"/>
                    </a:lnTo>
                    <a:lnTo>
                      <a:pt x="891" y="1032"/>
                    </a:lnTo>
                    <a:lnTo>
                      <a:pt x="891" y="1030"/>
                    </a:lnTo>
                    <a:lnTo>
                      <a:pt x="894" y="1030"/>
                    </a:lnTo>
                    <a:lnTo>
                      <a:pt x="892" y="1028"/>
                    </a:lnTo>
                    <a:lnTo>
                      <a:pt x="892" y="1026"/>
                    </a:lnTo>
                    <a:lnTo>
                      <a:pt x="892" y="1028"/>
                    </a:lnTo>
                    <a:lnTo>
                      <a:pt x="894" y="1028"/>
                    </a:lnTo>
                    <a:lnTo>
                      <a:pt x="894" y="1026"/>
                    </a:lnTo>
                    <a:lnTo>
                      <a:pt x="896" y="1026"/>
                    </a:lnTo>
                    <a:lnTo>
                      <a:pt x="896" y="1024"/>
                    </a:lnTo>
                    <a:lnTo>
                      <a:pt x="892" y="1024"/>
                    </a:lnTo>
                    <a:lnTo>
                      <a:pt x="892" y="1022"/>
                    </a:lnTo>
                    <a:lnTo>
                      <a:pt x="891" y="1022"/>
                    </a:lnTo>
                    <a:lnTo>
                      <a:pt x="892" y="1022"/>
                    </a:lnTo>
                    <a:lnTo>
                      <a:pt x="892" y="1020"/>
                    </a:lnTo>
                    <a:lnTo>
                      <a:pt x="891" y="1022"/>
                    </a:lnTo>
                    <a:lnTo>
                      <a:pt x="889" y="1022"/>
                    </a:lnTo>
                    <a:lnTo>
                      <a:pt x="891" y="1020"/>
                    </a:lnTo>
                    <a:lnTo>
                      <a:pt x="892" y="1020"/>
                    </a:lnTo>
                    <a:lnTo>
                      <a:pt x="889" y="1020"/>
                    </a:lnTo>
                    <a:lnTo>
                      <a:pt x="889" y="1022"/>
                    </a:lnTo>
                    <a:lnTo>
                      <a:pt x="887" y="1020"/>
                    </a:lnTo>
                    <a:lnTo>
                      <a:pt x="889" y="1020"/>
                    </a:lnTo>
                    <a:lnTo>
                      <a:pt x="889" y="1019"/>
                    </a:lnTo>
                    <a:lnTo>
                      <a:pt x="887" y="1019"/>
                    </a:lnTo>
                    <a:lnTo>
                      <a:pt x="885" y="1019"/>
                    </a:lnTo>
                    <a:lnTo>
                      <a:pt x="887" y="1019"/>
                    </a:lnTo>
                    <a:lnTo>
                      <a:pt x="885" y="1017"/>
                    </a:lnTo>
                    <a:lnTo>
                      <a:pt x="885" y="1013"/>
                    </a:lnTo>
                    <a:lnTo>
                      <a:pt x="887" y="1015"/>
                    </a:lnTo>
                    <a:lnTo>
                      <a:pt x="887" y="1013"/>
                    </a:lnTo>
                    <a:lnTo>
                      <a:pt x="885" y="1013"/>
                    </a:lnTo>
                    <a:lnTo>
                      <a:pt x="885" y="1009"/>
                    </a:lnTo>
                    <a:lnTo>
                      <a:pt x="887" y="1009"/>
                    </a:lnTo>
                    <a:lnTo>
                      <a:pt x="885" y="1007"/>
                    </a:lnTo>
                    <a:lnTo>
                      <a:pt x="883" y="1005"/>
                    </a:lnTo>
                    <a:lnTo>
                      <a:pt x="883" y="1003"/>
                    </a:lnTo>
                    <a:lnTo>
                      <a:pt x="885" y="1003"/>
                    </a:lnTo>
                    <a:lnTo>
                      <a:pt x="885" y="1001"/>
                    </a:lnTo>
                    <a:lnTo>
                      <a:pt x="887" y="1001"/>
                    </a:lnTo>
                    <a:lnTo>
                      <a:pt x="885" y="1001"/>
                    </a:lnTo>
                    <a:lnTo>
                      <a:pt x="885" y="999"/>
                    </a:lnTo>
                    <a:lnTo>
                      <a:pt x="883" y="999"/>
                    </a:lnTo>
                    <a:lnTo>
                      <a:pt x="883" y="996"/>
                    </a:lnTo>
                    <a:lnTo>
                      <a:pt x="885" y="998"/>
                    </a:lnTo>
                    <a:lnTo>
                      <a:pt x="885" y="996"/>
                    </a:lnTo>
                    <a:lnTo>
                      <a:pt x="883" y="994"/>
                    </a:lnTo>
                    <a:lnTo>
                      <a:pt x="885" y="992"/>
                    </a:lnTo>
                    <a:lnTo>
                      <a:pt x="885" y="994"/>
                    </a:lnTo>
                    <a:lnTo>
                      <a:pt x="885" y="992"/>
                    </a:lnTo>
                    <a:lnTo>
                      <a:pt x="885" y="994"/>
                    </a:lnTo>
                    <a:lnTo>
                      <a:pt x="887" y="994"/>
                    </a:lnTo>
                    <a:lnTo>
                      <a:pt x="887" y="992"/>
                    </a:lnTo>
                    <a:lnTo>
                      <a:pt x="885" y="990"/>
                    </a:lnTo>
                    <a:lnTo>
                      <a:pt x="883" y="990"/>
                    </a:lnTo>
                    <a:lnTo>
                      <a:pt x="883" y="988"/>
                    </a:lnTo>
                    <a:lnTo>
                      <a:pt x="883" y="990"/>
                    </a:lnTo>
                    <a:lnTo>
                      <a:pt x="885" y="988"/>
                    </a:lnTo>
                    <a:lnTo>
                      <a:pt x="885" y="990"/>
                    </a:lnTo>
                    <a:lnTo>
                      <a:pt x="889" y="990"/>
                    </a:lnTo>
                    <a:lnTo>
                      <a:pt x="887" y="992"/>
                    </a:lnTo>
                    <a:lnTo>
                      <a:pt x="892" y="994"/>
                    </a:lnTo>
                    <a:lnTo>
                      <a:pt x="891" y="992"/>
                    </a:lnTo>
                    <a:lnTo>
                      <a:pt x="892" y="992"/>
                    </a:lnTo>
                    <a:lnTo>
                      <a:pt x="892" y="990"/>
                    </a:lnTo>
                    <a:lnTo>
                      <a:pt x="894" y="992"/>
                    </a:lnTo>
                    <a:lnTo>
                      <a:pt x="894" y="990"/>
                    </a:lnTo>
                    <a:lnTo>
                      <a:pt x="894" y="988"/>
                    </a:lnTo>
                    <a:lnTo>
                      <a:pt x="896" y="990"/>
                    </a:lnTo>
                    <a:lnTo>
                      <a:pt x="898" y="988"/>
                    </a:lnTo>
                    <a:lnTo>
                      <a:pt x="900" y="988"/>
                    </a:lnTo>
                    <a:lnTo>
                      <a:pt x="902" y="990"/>
                    </a:lnTo>
                    <a:lnTo>
                      <a:pt x="904" y="990"/>
                    </a:lnTo>
                    <a:lnTo>
                      <a:pt x="906" y="990"/>
                    </a:lnTo>
                    <a:lnTo>
                      <a:pt x="906" y="992"/>
                    </a:lnTo>
                    <a:lnTo>
                      <a:pt x="908" y="994"/>
                    </a:lnTo>
                    <a:lnTo>
                      <a:pt x="915" y="998"/>
                    </a:lnTo>
                    <a:lnTo>
                      <a:pt x="919" y="998"/>
                    </a:lnTo>
                    <a:lnTo>
                      <a:pt x="919" y="996"/>
                    </a:lnTo>
                    <a:lnTo>
                      <a:pt x="931" y="998"/>
                    </a:lnTo>
                    <a:lnTo>
                      <a:pt x="929" y="996"/>
                    </a:lnTo>
                    <a:lnTo>
                      <a:pt x="931" y="996"/>
                    </a:lnTo>
                    <a:lnTo>
                      <a:pt x="931" y="998"/>
                    </a:lnTo>
                    <a:lnTo>
                      <a:pt x="936" y="999"/>
                    </a:lnTo>
                    <a:lnTo>
                      <a:pt x="934" y="999"/>
                    </a:lnTo>
                    <a:lnTo>
                      <a:pt x="932" y="999"/>
                    </a:lnTo>
                    <a:lnTo>
                      <a:pt x="932" y="998"/>
                    </a:lnTo>
                    <a:lnTo>
                      <a:pt x="931" y="998"/>
                    </a:lnTo>
                    <a:lnTo>
                      <a:pt x="931" y="999"/>
                    </a:lnTo>
                    <a:lnTo>
                      <a:pt x="929" y="999"/>
                    </a:lnTo>
                    <a:lnTo>
                      <a:pt x="931" y="1001"/>
                    </a:lnTo>
                    <a:lnTo>
                      <a:pt x="929" y="1001"/>
                    </a:lnTo>
                    <a:lnTo>
                      <a:pt x="927" y="1001"/>
                    </a:lnTo>
                    <a:lnTo>
                      <a:pt x="931" y="1001"/>
                    </a:lnTo>
                    <a:lnTo>
                      <a:pt x="931" y="1003"/>
                    </a:lnTo>
                    <a:lnTo>
                      <a:pt x="931" y="1001"/>
                    </a:lnTo>
                    <a:lnTo>
                      <a:pt x="932" y="1003"/>
                    </a:lnTo>
                    <a:lnTo>
                      <a:pt x="936" y="1003"/>
                    </a:lnTo>
                    <a:lnTo>
                      <a:pt x="936" y="1005"/>
                    </a:lnTo>
                    <a:lnTo>
                      <a:pt x="934" y="1005"/>
                    </a:lnTo>
                    <a:lnTo>
                      <a:pt x="940" y="1007"/>
                    </a:lnTo>
                    <a:lnTo>
                      <a:pt x="940" y="1009"/>
                    </a:lnTo>
                    <a:lnTo>
                      <a:pt x="938" y="1007"/>
                    </a:lnTo>
                    <a:lnTo>
                      <a:pt x="938" y="1009"/>
                    </a:lnTo>
                    <a:lnTo>
                      <a:pt x="940" y="1009"/>
                    </a:lnTo>
                    <a:lnTo>
                      <a:pt x="938" y="1007"/>
                    </a:lnTo>
                    <a:lnTo>
                      <a:pt x="936" y="1007"/>
                    </a:lnTo>
                    <a:lnTo>
                      <a:pt x="934" y="1007"/>
                    </a:lnTo>
                    <a:lnTo>
                      <a:pt x="932" y="1007"/>
                    </a:lnTo>
                    <a:lnTo>
                      <a:pt x="931" y="1005"/>
                    </a:lnTo>
                    <a:lnTo>
                      <a:pt x="932" y="1005"/>
                    </a:lnTo>
                    <a:lnTo>
                      <a:pt x="931" y="1005"/>
                    </a:lnTo>
                    <a:lnTo>
                      <a:pt x="925" y="1005"/>
                    </a:lnTo>
                    <a:lnTo>
                      <a:pt x="929" y="1005"/>
                    </a:lnTo>
                    <a:lnTo>
                      <a:pt x="936" y="1011"/>
                    </a:lnTo>
                    <a:lnTo>
                      <a:pt x="934" y="1009"/>
                    </a:lnTo>
                    <a:lnTo>
                      <a:pt x="936" y="1011"/>
                    </a:lnTo>
                    <a:lnTo>
                      <a:pt x="934" y="1011"/>
                    </a:lnTo>
                    <a:lnTo>
                      <a:pt x="932" y="1009"/>
                    </a:lnTo>
                    <a:lnTo>
                      <a:pt x="938" y="1015"/>
                    </a:lnTo>
                    <a:lnTo>
                      <a:pt x="936" y="1015"/>
                    </a:lnTo>
                    <a:lnTo>
                      <a:pt x="934" y="1017"/>
                    </a:lnTo>
                    <a:lnTo>
                      <a:pt x="936" y="1017"/>
                    </a:lnTo>
                    <a:lnTo>
                      <a:pt x="938" y="1017"/>
                    </a:lnTo>
                    <a:lnTo>
                      <a:pt x="940" y="1015"/>
                    </a:lnTo>
                    <a:lnTo>
                      <a:pt x="944" y="1017"/>
                    </a:lnTo>
                    <a:lnTo>
                      <a:pt x="948" y="1019"/>
                    </a:lnTo>
                    <a:lnTo>
                      <a:pt x="950" y="1019"/>
                    </a:lnTo>
                    <a:lnTo>
                      <a:pt x="952" y="1024"/>
                    </a:lnTo>
                    <a:lnTo>
                      <a:pt x="950" y="1022"/>
                    </a:lnTo>
                    <a:lnTo>
                      <a:pt x="950" y="1024"/>
                    </a:lnTo>
                    <a:lnTo>
                      <a:pt x="948" y="1024"/>
                    </a:lnTo>
                    <a:lnTo>
                      <a:pt x="946" y="1028"/>
                    </a:lnTo>
                    <a:lnTo>
                      <a:pt x="944" y="1028"/>
                    </a:lnTo>
                    <a:lnTo>
                      <a:pt x="946" y="1030"/>
                    </a:lnTo>
                    <a:lnTo>
                      <a:pt x="944" y="1030"/>
                    </a:lnTo>
                    <a:lnTo>
                      <a:pt x="940" y="1032"/>
                    </a:lnTo>
                    <a:lnTo>
                      <a:pt x="938" y="1032"/>
                    </a:lnTo>
                    <a:lnTo>
                      <a:pt x="938" y="1034"/>
                    </a:lnTo>
                    <a:lnTo>
                      <a:pt x="940" y="1034"/>
                    </a:lnTo>
                    <a:lnTo>
                      <a:pt x="942" y="1032"/>
                    </a:lnTo>
                    <a:lnTo>
                      <a:pt x="944" y="1032"/>
                    </a:lnTo>
                    <a:lnTo>
                      <a:pt x="946" y="1032"/>
                    </a:lnTo>
                    <a:lnTo>
                      <a:pt x="946" y="1034"/>
                    </a:lnTo>
                    <a:lnTo>
                      <a:pt x="948" y="1036"/>
                    </a:lnTo>
                    <a:lnTo>
                      <a:pt x="948" y="1034"/>
                    </a:lnTo>
                    <a:lnTo>
                      <a:pt x="950" y="1032"/>
                    </a:lnTo>
                    <a:lnTo>
                      <a:pt x="950" y="1034"/>
                    </a:lnTo>
                    <a:lnTo>
                      <a:pt x="952" y="1038"/>
                    </a:lnTo>
                    <a:lnTo>
                      <a:pt x="952" y="1040"/>
                    </a:lnTo>
                    <a:lnTo>
                      <a:pt x="952" y="1043"/>
                    </a:lnTo>
                    <a:lnTo>
                      <a:pt x="952" y="1045"/>
                    </a:lnTo>
                    <a:lnTo>
                      <a:pt x="950" y="1043"/>
                    </a:lnTo>
                    <a:lnTo>
                      <a:pt x="950" y="1045"/>
                    </a:lnTo>
                    <a:lnTo>
                      <a:pt x="948" y="1047"/>
                    </a:lnTo>
                    <a:lnTo>
                      <a:pt x="946" y="1049"/>
                    </a:lnTo>
                    <a:lnTo>
                      <a:pt x="942" y="1049"/>
                    </a:lnTo>
                    <a:lnTo>
                      <a:pt x="942" y="1051"/>
                    </a:lnTo>
                    <a:lnTo>
                      <a:pt x="940" y="1053"/>
                    </a:lnTo>
                    <a:lnTo>
                      <a:pt x="938" y="1051"/>
                    </a:lnTo>
                    <a:lnTo>
                      <a:pt x="938" y="1049"/>
                    </a:lnTo>
                    <a:lnTo>
                      <a:pt x="936" y="1047"/>
                    </a:lnTo>
                    <a:lnTo>
                      <a:pt x="936" y="1049"/>
                    </a:lnTo>
                    <a:lnTo>
                      <a:pt x="936" y="1051"/>
                    </a:lnTo>
                    <a:lnTo>
                      <a:pt x="932" y="1051"/>
                    </a:lnTo>
                    <a:lnTo>
                      <a:pt x="931" y="1049"/>
                    </a:lnTo>
                    <a:lnTo>
                      <a:pt x="929" y="1049"/>
                    </a:lnTo>
                    <a:lnTo>
                      <a:pt x="931" y="1049"/>
                    </a:lnTo>
                    <a:lnTo>
                      <a:pt x="931" y="1051"/>
                    </a:lnTo>
                    <a:lnTo>
                      <a:pt x="932" y="1051"/>
                    </a:lnTo>
                    <a:lnTo>
                      <a:pt x="932" y="1053"/>
                    </a:lnTo>
                    <a:lnTo>
                      <a:pt x="929" y="1053"/>
                    </a:lnTo>
                    <a:lnTo>
                      <a:pt x="929" y="1055"/>
                    </a:lnTo>
                    <a:lnTo>
                      <a:pt x="932" y="1053"/>
                    </a:lnTo>
                    <a:lnTo>
                      <a:pt x="932" y="1055"/>
                    </a:lnTo>
                    <a:lnTo>
                      <a:pt x="934" y="1055"/>
                    </a:lnTo>
                    <a:lnTo>
                      <a:pt x="936" y="1057"/>
                    </a:lnTo>
                    <a:lnTo>
                      <a:pt x="936" y="1055"/>
                    </a:lnTo>
                    <a:lnTo>
                      <a:pt x="938" y="1055"/>
                    </a:lnTo>
                    <a:lnTo>
                      <a:pt x="938" y="1057"/>
                    </a:lnTo>
                    <a:lnTo>
                      <a:pt x="940" y="1057"/>
                    </a:lnTo>
                    <a:lnTo>
                      <a:pt x="938" y="1059"/>
                    </a:lnTo>
                    <a:lnTo>
                      <a:pt x="936" y="1057"/>
                    </a:lnTo>
                    <a:lnTo>
                      <a:pt x="934" y="1057"/>
                    </a:lnTo>
                    <a:lnTo>
                      <a:pt x="934" y="1055"/>
                    </a:lnTo>
                    <a:lnTo>
                      <a:pt x="934" y="1057"/>
                    </a:lnTo>
                    <a:lnTo>
                      <a:pt x="932" y="1057"/>
                    </a:lnTo>
                    <a:lnTo>
                      <a:pt x="932" y="1059"/>
                    </a:lnTo>
                    <a:lnTo>
                      <a:pt x="934" y="1061"/>
                    </a:lnTo>
                    <a:lnTo>
                      <a:pt x="934" y="1059"/>
                    </a:lnTo>
                    <a:lnTo>
                      <a:pt x="936" y="1059"/>
                    </a:lnTo>
                    <a:lnTo>
                      <a:pt x="936" y="1061"/>
                    </a:lnTo>
                    <a:lnTo>
                      <a:pt x="934" y="1064"/>
                    </a:lnTo>
                    <a:lnTo>
                      <a:pt x="936" y="1066"/>
                    </a:lnTo>
                    <a:lnTo>
                      <a:pt x="938" y="1062"/>
                    </a:lnTo>
                    <a:lnTo>
                      <a:pt x="940" y="1062"/>
                    </a:lnTo>
                    <a:lnTo>
                      <a:pt x="940" y="1064"/>
                    </a:lnTo>
                    <a:lnTo>
                      <a:pt x="938" y="1066"/>
                    </a:lnTo>
                    <a:lnTo>
                      <a:pt x="938" y="1068"/>
                    </a:lnTo>
                    <a:lnTo>
                      <a:pt x="936" y="1068"/>
                    </a:lnTo>
                    <a:lnTo>
                      <a:pt x="938" y="1070"/>
                    </a:lnTo>
                    <a:lnTo>
                      <a:pt x="936" y="1070"/>
                    </a:lnTo>
                    <a:lnTo>
                      <a:pt x="938" y="1072"/>
                    </a:lnTo>
                    <a:lnTo>
                      <a:pt x="938" y="1076"/>
                    </a:lnTo>
                    <a:lnTo>
                      <a:pt x="940" y="1078"/>
                    </a:lnTo>
                    <a:lnTo>
                      <a:pt x="940" y="1080"/>
                    </a:lnTo>
                    <a:lnTo>
                      <a:pt x="944" y="1080"/>
                    </a:lnTo>
                    <a:lnTo>
                      <a:pt x="944" y="1082"/>
                    </a:lnTo>
                    <a:lnTo>
                      <a:pt x="942" y="1080"/>
                    </a:lnTo>
                    <a:lnTo>
                      <a:pt x="946" y="1083"/>
                    </a:lnTo>
                    <a:lnTo>
                      <a:pt x="946" y="1085"/>
                    </a:lnTo>
                    <a:lnTo>
                      <a:pt x="950" y="1087"/>
                    </a:lnTo>
                    <a:lnTo>
                      <a:pt x="950" y="1089"/>
                    </a:lnTo>
                    <a:lnTo>
                      <a:pt x="952" y="1095"/>
                    </a:lnTo>
                    <a:lnTo>
                      <a:pt x="950" y="1101"/>
                    </a:lnTo>
                    <a:lnTo>
                      <a:pt x="950" y="1099"/>
                    </a:lnTo>
                    <a:lnTo>
                      <a:pt x="950" y="1101"/>
                    </a:lnTo>
                    <a:lnTo>
                      <a:pt x="950" y="1104"/>
                    </a:lnTo>
                    <a:lnTo>
                      <a:pt x="950" y="1108"/>
                    </a:lnTo>
                    <a:lnTo>
                      <a:pt x="950" y="1110"/>
                    </a:lnTo>
                    <a:lnTo>
                      <a:pt x="948" y="1110"/>
                    </a:lnTo>
                    <a:lnTo>
                      <a:pt x="948" y="1112"/>
                    </a:lnTo>
                    <a:lnTo>
                      <a:pt x="946" y="1112"/>
                    </a:lnTo>
                    <a:lnTo>
                      <a:pt x="944" y="1114"/>
                    </a:lnTo>
                    <a:lnTo>
                      <a:pt x="942" y="1112"/>
                    </a:lnTo>
                    <a:lnTo>
                      <a:pt x="942" y="1114"/>
                    </a:lnTo>
                    <a:lnTo>
                      <a:pt x="940" y="1114"/>
                    </a:lnTo>
                    <a:lnTo>
                      <a:pt x="940" y="1116"/>
                    </a:lnTo>
                    <a:lnTo>
                      <a:pt x="938" y="1116"/>
                    </a:lnTo>
                    <a:lnTo>
                      <a:pt x="940" y="1116"/>
                    </a:lnTo>
                    <a:lnTo>
                      <a:pt x="940" y="1118"/>
                    </a:lnTo>
                    <a:lnTo>
                      <a:pt x="938" y="1118"/>
                    </a:lnTo>
                    <a:lnTo>
                      <a:pt x="938" y="1120"/>
                    </a:lnTo>
                    <a:lnTo>
                      <a:pt x="938" y="1122"/>
                    </a:lnTo>
                    <a:lnTo>
                      <a:pt x="936" y="1122"/>
                    </a:lnTo>
                    <a:lnTo>
                      <a:pt x="938" y="1122"/>
                    </a:lnTo>
                    <a:lnTo>
                      <a:pt x="936" y="1124"/>
                    </a:lnTo>
                    <a:lnTo>
                      <a:pt x="938" y="1125"/>
                    </a:lnTo>
                    <a:lnTo>
                      <a:pt x="934" y="1124"/>
                    </a:lnTo>
                    <a:lnTo>
                      <a:pt x="934" y="1125"/>
                    </a:lnTo>
                    <a:lnTo>
                      <a:pt x="932" y="1125"/>
                    </a:lnTo>
                    <a:lnTo>
                      <a:pt x="934" y="1125"/>
                    </a:lnTo>
                    <a:lnTo>
                      <a:pt x="932" y="1125"/>
                    </a:lnTo>
                    <a:lnTo>
                      <a:pt x="932" y="1127"/>
                    </a:lnTo>
                    <a:lnTo>
                      <a:pt x="931" y="1127"/>
                    </a:lnTo>
                    <a:lnTo>
                      <a:pt x="931" y="1131"/>
                    </a:lnTo>
                    <a:lnTo>
                      <a:pt x="927" y="1129"/>
                    </a:lnTo>
                    <a:lnTo>
                      <a:pt x="925" y="1131"/>
                    </a:lnTo>
                    <a:lnTo>
                      <a:pt x="923" y="1131"/>
                    </a:lnTo>
                    <a:lnTo>
                      <a:pt x="923" y="1133"/>
                    </a:lnTo>
                    <a:lnTo>
                      <a:pt x="923" y="1135"/>
                    </a:lnTo>
                    <a:lnTo>
                      <a:pt x="921" y="1135"/>
                    </a:lnTo>
                    <a:lnTo>
                      <a:pt x="921" y="1137"/>
                    </a:lnTo>
                    <a:lnTo>
                      <a:pt x="919" y="1137"/>
                    </a:lnTo>
                    <a:lnTo>
                      <a:pt x="917" y="1139"/>
                    </a:lnTo>
                    <a:lnTo>
                      <a:pt x="919" y="1137"/>
                    </a:lnTo>
                    <a:lnTo>
                      <a:pt x="917" y="1139"/>
                    </a:lnTo>
                    <a:lnTo>
                      <a:pt x="915" y="1139"/>
                    </a:lnTo>
                    <a:lnTo>
                      <a:pt x="915" y="1137"/>
                    </a:lnTo>
                    <a:lnTo>
                      <a:pt x="915" y="1139"/>
                    </a:lnTo>
                    <a:lnTo>
                      <a:pt x="915" y="1137"/>
                    </a:lnTo>
                    <a:lnTo>
                      <a:pt x="913" y="1137"/>
                    </a:lnTo>
                    <a:lnTo>
                      <a:pt x="915" y="1137"/>
                    </a:lnTo>
                    <a:lnTo>
                      <a:pt x="913" y="1133"/>
                    </a:lnTo>
                    <a:lnTo>
                      <a:pt x="913" y="1131"/>
                    </a:lnTo>
                    <a:lnTo>
                      <a:pt x="912" y="1131"/>
                    </a:lnTo>
                    <a:lnTo>
                      <a:pt x="912" y="1129"/>
                    </a:lnTo>
                    <a:lnTo>
                      <a:pt x="912" y="1131"/>
                    </a:lnTo>
                    <a:lnTo>
                      <a:pt x="910" y="1129"/>
                    </a:lnTo>
                    <a:lnTo>
                      <a:pt x="908" y="1127"/>
                    </a:lnTo>
                    <a:lnTo>
                      <a:pt x="908" y="1125"/>
                    </a:lnTo>
                    <a:lnTo>
                      <a:pt x="910" y="1125"/>
                    </a:lnTo>
                    <a:lnTo>
                      <a:pt x="908" y="1124"/>
                    </a:lnTo>
                    <a:lnTo>
                      <a:pt x="910" y="1120"/>
                    </a:lnTo>
                    <a:lnTo>
                      <a:pt x="910" y="1118"/>
                    </a:lnTo>
                    <a:lnTo>
                      <a:pt x="910" y="1116"/>
                    </a:lnTo>
                    <a:lnTo>
                      <a:pt x="910" y="1120"/>
                    </a:lnTo>
                    <a:lnTo>
                      <a:pt x="908" y="1122"/>
                    </a:lnTo>
                    <a:lnTo>
                      <a:pt x="908" y="1124"/>
                    </a:lnTo>
                    <a:lnTo>
                      <a:pt x="908" y="1125"/>
                    </a:lnTo>
                    <a:lnTo>
                      <a:pt x="908" y="1124"/>
                    </a:lnTo>
                    <a:lnTo>
                      <a:pt x="906" y="1125"/>
                    </a:lnTo>
                    <a:lnTo>
                      <a:pt x="904" y="1124"/>
                    </a:lnTo>
                    <a:lnTo>
                      <a:pt x="902" y="1122"/>
                    </a:lnTo>
                    <a:lnTo>
                      <a:pt x="902" y="1124"/>
                    </a:lnTo>
                    <a:lnTo>
                      <a:pt x="902" y="1125"/>
                    </a:lnTo>
                    <a:lnTo>
                      <a:pt x="904" y="1125"/>
                    </a:lnTo>
                    <a:lnTo>
                      <a:pt x="906" y="1125"/>
                    </a:lnTo>
                    <a:lnTo>
                      <a:pt x="906" y="1127"/>
                    </a:lnTo>
                    <a:lnTo>
                      <a:pt x="906" y="1129"/>
                    </a:lnTo>
                    <a:lnTo>
                      <a:pt x="904" y="1129"/>
                    </a:lnTo>
                    <a:lnTo>
                      <a:pt x="910" y="1135"/>
                    </a:lnTo>
                    <a:lnTo>
                      <a:pt x="910" y="1141"/>
                    </a:lnTo>
                    <a:lnTo>
                      <a:pt x="912" y="1141"/>
                    </a:lnTo>
                    <a:lnTo>
                      <a:pt x="912" y="1143"/>
                    </a:lnTo>
                    <a:lnTo>
                      <a:pt x="913" y="1145"/>
                    </a:lnTo>
                    <a:lnTo>
                      <a:pt x="913" y="1146"/>
                    </a:lnTo>
                    <a:lnTo>
                      <a:pt x="912" y="1145"/>
                    </a:lnTo>
                    <a:lnTo>
                      <a:pt x="912" y="1146"/>
                    </a:lnTo>
                    <a:lnTo>
                      <a:pt x="910" y="1146"/>
                    </a:lnTo>
                    <a:lnTo>
                      <a:pt x="912" y="1145"/>
                    </a:lnTo>
                    <a:lnTo>
                      <a:pt x="910" y="1145"/>
                    </a:lnTo>
                    <a:lnTo>
                      <a:pt x="908" y="1145"/>
                    </a:lnTo>
                    <a:lnTo>
                      <a:pt x="906" y="1143"/>
                    </a:lnTo>
                    <a:lnTo>
                      <a:pt x="906" y="1141"/>
                    </a:lnTo>
                    <a:lnTo>
                      <a:pt x="904" y="1141"/>
                    </a:lnTo>
                    <a:lnTo>
                      <a:pt x="902" y="1141"/>
                    </a:lnTo>
                    <a:lnTo>
                      <a:pt x="904" y="1143"/>
                    </a:lnTo>
                    <a:lnTo>
                      <a:pt x="902" y="1141"/>
                    </a:lnTo>
                    <a:lnTo>
                      <a:pt x="900" y="1137"/>
                    </a:lnTo>
                    <a:lnTo>
                      <a:pt x="898" y="1139"/>
                    </a:lnTo>
                    <a:lnTo>
                      <a:pt x="900" y="1139"/>
                    </a:lnTo>
                    <a:lnTo>
                      <a:pt x="900" y="1141"/>
                    </a:lnTo>
                    <a:lnTo>
                      <a:pt x="902" y="1145"/>
                    </a:lnTo>
                    <a:lnTo>
                      <a:pt x="902" y="1146"/>
                    </a:lnTo>
                    <a:lnTo>
                      <a:pt x="900" y="1146"/>
                    </a:lnTo>
                    <a:lnTo>
                      <a:pt x="898" y="1143"/>
                    </a:lnTo>
                    <a:lnTo>
                      <a:pt x="898" y="1145"/>
                    </a:lnTo>
                    <a:lnTo>
                      <a:pt x="896" y="1145"/>
                    </a:lnTo>
                    <a:lnTo>
                      <a:pt x="894" y="1143"/>
                    </a:lnTo>
                    <a:lnTo>
                      <a:pt x="892" y="1143"/>
                    </a:lnTo>
                    <a:lnTo>
                      <a:pt x="891" y="1143"/>
                    </a:lnTo>
                    <a:lnTo>
                      <a:pt x="891" y="1139"/>
                    </a:lnTo>
                    <a:lnTo>
                      <a:pt x="891" y="1141"/>
                    </a:lnTo>
                    <a:lnTo>
                      <a:pt x="891" y="1143"/>
                    </a:lnTo>
                    <a:lnTo>
                      <a:pt x="889" y="1141"/>
                    </a:lnTo>
                    <a:lnTo>
                      <a:pt x="889" y="1143"/>
                    </a:lnTo>
                    <a:lnTo>
                      <a:pt x="887" y="1137"/>
                    </a:lnTo>
                    <a:lnTo>
                      <a:pt x="887" y="1133"/>
                    </a:lnTo>
                    <a:lnTo>
                      <a:pt x="885" y="1131"/>
                    </a:lnTo>
                    <a:lnTo>
                      <a:pt x="885" y="1129"/>
                    </a:lnTo>
                    <a:lnTo>
                      <a:pt x="881" y="1131"/>
                    </a:lnTo>
                    <a:lnTo>
                      <a:pt x="879" y="1131"/>
                    </a:lnTo>
                    <a:lnTo>
                      <a:pt x="879" y="1133"/>
                    </a:lnTo>
                    <a:lnTo>
                      <a:pt x="877" y="1133"/>
                    </a:lnTo>
                    <a:lnTo>
                      <a:pt x="877" y="1131"/>
                    </a:lnTo>
                    <a:lnTo>
                      <a:pt x="877" y="1133"/>
                    </a:lnTo>
                    <a:lnTo>
                      <a:pt x="875" y="1133"/>
                    </a:lnTo>
                    <a:lnTo>
                      <a:pt x="875" y="1131"/>
                    </a:lnTo>
                    <a:lnTo>
                      <a:pt x="875" y="1133"/>
                    </a:lnTo>
                    <a:lnTo>
                      <a:pt x="873" y="1133"/>
                    </a:lnTo>
                    <a:lnTo>
                      <a:pt x="871" y="1131"/>
                    </a:lnTo>
                    <a:lnTo>
                      <a:pt x="873" y="1133"/>
                    </a:lnTo>
                    <a:lnTo>
                      <a:pt x="871" y="1131"/>
                    </a:lnTo>
                    <a:lnTo>
                      <a:pt x="870" y="1131"/>
                    </a:lnTo>
                    <a:lnTo>
                      <a:pt x="871" y="1131"/>
                    </a:lnTo>
                    <a:lnTo>
                      <a:pt x="870" y="1131"/>
                    </a:lnTo>
                    <a:lnTo>
                      <a:pt x="871" y="1133"/>
                    </a:lnTo>
                    <a:lnTo>
                      <a:pt x="870" y="1133"/>
                    </a:lnTo>
                    <a:lnTo>
                      <a:pt x="870" y="1131"/>
                    </a:lnTo>
                    <a:lnTo>
                      <a:pt x="866" y="1131"/>
                    </a:lnTo>
                    <a:lnTo>
                      <a:pt x="868" y="1131"/>
                    </a:lnTo>
                    <a:lnTo>
                      <a:pt x="866" y="1133"/>
                    </a:lnTo>
                    <a:lnTo>
                      <a:pt x="866" y="1131"/>
                    </a:lnTo>
                    <a:lnTo>
                      <a:pt x="864" y="1131"/>
                    </a:lnTo>
                    <a:lnTo>
                      <a:pt x="864" y="1133"/>
                    </a:lnTo>
                    <a:lnTo>
                      <a:pt x="866" y="1135"/>
                    </a:lnTo>
                    <a:lnTo>
                      <a:pt x="864" y="1135"/>
                    </a:lnTo>
                    <a:lnTo>
                      <a:pt x="866" y="1141"/>
                    </a:lnTo>
                    <a:lnTo>
                      <a:pt x="868" y="1141"/>
                    </a:lnTo>
                    <a:lnTo>
                      <a:pt x="870" y="1141"/>
                    </a:lnTo>
                    <a:lnTo>
                      <a:pt x="871" y="1141"/>
                    </a:lnTo>
                    <a:lnTo>
                      <a:pt x="875" y="1143"/>
                    </a:lnTo>
                    <a:lnTo>
                      <a:pt x="875" y="1145"/>
                    </a:lnTo>
                    <a:lnTo>
                      <a:pt x="877" y="1145"/>
                    </a:lnTo>
                    <a:lnTo>
                      <a:pt x="877" y="1146"/>
                    </a:lnTo>
                    <a:lnTo>
                      <a:pt x="875" y="1148"/>
                    </a:lnTo>
                    <a:lnTo>
                      <a:pt x="877" y="1148"/>
                    </a:lnTo>
                    <a:lnTo>
                      <a:pt x="875" y="1150"/>
                    </a:lnTo>
                    <a:lnTo>
                      <a:pt x="877" y="1150"/>
                    </a:lnTo>
                    <a:lnTo>
                      <a:pt x="875" y="1150"/>
                    </a:lnTo>
                    <a:lnTo>
                      <a:pt x="877" y="1152"/>
                    </a:lnTo>
                    <a:lnTo>
                      <a:pt x="873" y="1152"/>
                    </a:lnTo>
                    <a:lnTo>
                      <a:pt x="873" y="1154"/>
                    </a:lnTo>
                    <a:lnTo>
                      <a:pt x="871" y="1156"/>
                    </a:lnTo>
                    <a:lnTo>
                      <a:pt x="870" y="1156"/>
                    </a:lnTo>
                    <a:lnTo>
                      <a:pt x="870" y="1158"/>
                    </a:lnTo>
                    <a:lnTo>
                      <a:pt x="870" y="1160"/>
                    </a:lnTo>
                    <a:lnTo>
                      <a:pt x="868" y="1160"/>
                    </a:lnTo>
                    <a:lnTo>
                      <a:pt x="870" y="1162"/>
                    </a:lnTo>
                    <a:lnTo>
                      <a:pt x="868" y="1164"/>
                    </a:lnTo>
                    <a:lnTo>
                      <a:pt x="868" y="1165"/>
                    </a:lnTo>
                    <a:lnTo>
                      <a:pt x="866" y="1165"/>
                    </a:lnTo>
                    <a:lnTo>
                      <a:pt x="866" y="1167"/>
                    </a:lnTo>
                    <a:lnTo>
                      <a:pt x="864" y="1167"/>
                    </a:lnTo>
                    <a:lnTo>
                      <a:pt x="864" y="1169"/>
                    </a:lnTo>
                    <a:lnTo>
                      <a:pt x="862" y="1169"/>
                    </a:lnTo>
                    <a:lnTo>
                      <a:pt x="862" y="1171"/>
                    </a:lnTo>
                    <a:lnTo>
                      <a:pt x="860" y="1169"/>
                    </a:lnTo>
                    <a:lnTo>
                      <a:pt x="860" y="1171"/>
                    </a:lnTo>
                    <a:lnTo>
                      <a:pt x="860" y="1173"/>
                    </a:lnTo>
                    <a:lnTo>
                      <a:pt x="858" y="1173"/>
                    </a:lnTo>
                    <a:lnTo>
                      <a:pt x="858" y="1175"/>
                    </a:lnTo>
                    <a:lnTo>
                      <a:pt x="860" y="1175"/>
                    </a:lnTo>
                    <a:lnTo>
                      <a:pt x="858" y="1175"/>
                    </a:lnTo>
                    <a:lnTo>
                      <a:pt x="858" y="1177"/>
                    </a:lnTo>
                    <a:lnTo>
                      <a:pt x="858" y="1175"/>
                    </a:lnTo>
                    <a:lnTo>
                      <a:pt x="858" y="1177"/>
                    </a:lnTo>
                    <a:lnTo>
                      <a:pt x="858" y="1175"/>
                    </a:lnTo>
                    <a:lnTo>
                      <a:pt x="858" y="1177"/>
                    </a:lnTo>
                    <a:lnTo>
                      <a:pt x="856" y="1177"/>
                    </a:lnTo>
                    <a:lnTo>
                      <a:pt x="856" y="1179"/>
                    </a:lnTo>
                    <a:lnTo>
                      <a:pt x="854" y="1177"/>
                    </a:lnTo>
                    <a:lnTo>
                      <a:pt x="854" y="1179"/>
                    </a:lnTo>
                    <a:lnTo>
                      <a:pt x="850" y="1179"/>
                    </a:lnTo>
                    <a:lnTo>
                      <a:pt x="847" y="1179"/>
                    </a:lnTo>
                    <a:lnTo>
                      <a:pt x="843" y="1177"/>
                    </a:lnTo>
                    <a:lnTo>
                      <a:pt x="841" y="1175"/>
                    </a:lnTo>
                    <a:lnTo>
                      <a:pt x="841" y="1173"/>
                    </a:lnTo>
                    <a:lnTo>
                      <a:pt x="835" y="1169"/>
                    </a:lnTo>
                    <a:lnTo>
                      <a:pt x="831" y="1165"/>
                    </a:lnTo>
                    <a:lnTo>
                      <a:pt x="835" y="1165"/>
                    </a:lnTo>
                    <a:lnTo>
                      <a:pt x="837" y="1167"/>
                    </a:lnTo>
                    <a:lnTo>
                      <a:pt x="831" y="1165"/>
                    </a:lnTo>
                    <a:lnTo>
                      <a:pt x="831" y="1164"/>
                    </a:lnTo>
                    <a:lnTo>
                      <a:pt x="830" y="1164"/>
                    </a:lnTo>
                    <a:lnTo>
                      <a:pt x="830" y="1165"/>
                    </a:lnTo>
                    <a:lnTo>
                      <a:pt x="828" y="1164"/>
                    </a:lnTo>
                    <a:lnTo>
                      <a:pt x="826" y="1164"/>
                    </a:lnTo>
                    <a:lnTo>
                      <a:pt x="826" y="1162"/>
                    </a:lnTo>
                    <a:lnTo>
                      <a:pt x="824" y="1160"/>
                    </a:lnTo>
                    <a:lnTo>
                      <a:pt x="822" y="1158"/>
                    </a:lnTo>
                    <a:lnTo>
                      <a:pt x="820" y="1158"/>
                    </a:lnTo>
                    <a:lnTo>
                      <a:pt x="818" y="1156"/>
                    </a:lnTo>
                    <a:lnTo>
                      <a:pt x="818" y="1154"/>
                    </a:lnTo>
                    <a:lnTo>
                      <a:pt x="814" y="1152"/>
                    </a:lnTo>
                    <a:lnTo>
                      <a:pt x="812" y="1152"/>
                    </a:lnTo>
                    <a:lnTo>
                      <a:pt x="814" y="1152"/>
                    </a:lnTo>
                    <a:lnTo>
                      <a:pt x="814" y="1154"/>
                    </a:lnTo>
                    <a:lnTo>
                      <a:pt x="816" y="1154"/>
                    </a:lnTo>
                    <a:lnTo>
                      <a:pt x="816" y="1156"/>
                    </a:lnTo>
                    <a:lnTo>
                      <a:pt x="814" y="1154"/>
                    </a:lnTo>
                    <a:lnTo>
                      <a:pt x="812" y="1154"/>
                    </a:lnTo>
                    <a:lnTo>
                      <a:pt x="812" y="1156"/>
                    </a:lnTo>
                    <a:lnTo>
                      <a:pt x="812" y="1154"/>
                    </a:lnTo>
                    <a:lnTo>
                      <a:pt x="816" y="1156"/>
                    </a:lnTo>
                    <a:lnTo>
                      <a:pt x="816" y="1158"/>
                    </a:lnTo>
                    <a:lnTo>
                      <a:pt x="814" y="1156"/>
                    </a:lnTo>
                    <a:lnTo>
                      <a:pt x="816" y="1160"/>
                    </a:lnTo>
                    <a:lnTo>
                      <a:pt x="814" y="1160"/>
                    </a:lnTo>
                    <a:lnTo>
                      <a:pt x="814" y="1158"/>
                    </a:lnTo>
                    <a:lnTo>
                      <a:pt x="812" y="1158"/>
                    </a:lnTo>
                    <a:lnTo>
                      <a:pt x="812" y="1156"/>
                    </a:lnTo>
                    <a:lnTo>
                      <a:pt x="812" y="1158"/>
                    </a:lnTo>
                    <a:lnTo>
                      <a:pt x="810" y="1156"/>
                    </a:lnTo>
                    <a:lnTo>
                      <a:pt x="809" y="1158"/>
                    </a:lnTo>
                    <a:lnTo>
                      <a:pt x="807" y="1158"/>
                    </a:lnTo>
                    <a:lnTo>
                      <a:pt x="805" y="1158"/>
                    </a:lnTo>
                    <a:lnTo>
                      <a:pt x="807" y="1158"/>
                    </a:lnTo>
                    <a:lnTo>
                      <a:pt x="810" y="1160"/>
                    </a:lnTo>
                    <a:lnTo>
                      <a:pt x="812" y="1160"/>
                    </a:lnTo>
                    <a:lnTo>
                      <a:pt x="818" y="1164"/>
                    </a:lnTo>
                    <a:lnTo>
                      <a:pt x="818" y="1167"/>
                    </a:lnTo>
                    <a:lnTo>
                      <a:pt x="822" y="1167"/>
                    </a:lnTo>
                    <a:lnTo>
                      <a:pt x="822" y="1169"/>
                    </a:lnTo>
                    <a:lnTo>
                      <a:pt x="822" y="1173"/>
                    </a:lnTo>
                    <a:lnTo>
                      <a:pt x="826" y="1175"/>
                    </a:lnTo>
                    <a:lnTo>
                      <a:pt x="826" y="1177"/>
                    </a:lnTo>
                    <a:lnTo>
                      <a:pt x="828" y="1179"/>
                    </a:lnTo>
                    <a:lnTo>
                      <a:pt x="830" y="1179"/>
                    </a:lnTo>
                    <a:lnTo>
                      <a:pt x="835" y="1179"/>
                    </a:lnTo>
                    <a:lnTo>
                      <a:pt x="839" y="1181"/>
                    </a:lnTo>
                    <a:lnTo>
                      <a:pt x="843" y="1181"/>
                    </a:lnTo>
                    <a:lnTo>
                      <a:pt x="845" y="1183"/>
                    </a:lnTo>
                    <a:lnTo>
                      <a:pt x="843" y="1181"/>
                    </a:lnTo>
                    <a:lnTo>
                      <a:pt x="845" y="1181"/>
                    </a:lnTo>
                    <a:lnTo>
                      <a:pt x="847" y="1181"/>
                    </a:lnTo>
                    <a:lnTo>
                      <a:pt x="849" y="1181"/>
                    </a:lnTo>
                    <a:lnTo>
                      <a:pt x="850" y="1181"/>
                    </a:lnTo>
                    <a:lnTo>
                      <a:pt x="854" y="1181"/>
                    </a:lnTo>
                    <a:lnTo>
                      <a:pt x="858" y="1181"/>
                    </a:lnTo>
                    <a:lnTo>
                      <a:pt x="858" y="1183"/>
                    </a:lnTo>
                    <a:lnTo>
                      <a:pt x="860" y="1183"/>
                    </a:lnTo>
                    <a:lnTo>
                      <a:pt x="860" y="1185"/>
                    </a:lnTo>
                    <a:lnTo>
                      <a:pt x="862" y="1186"/>
                    </a:lnTo>
                    <a:lnTo>
                      <a:pt x="860" y="1186"/>
                    </a:lnTo>
                    <a:lnTo>
                      <a:pt x="860" y="1188"/>
                    </a:lnTo>
                    <a:lnTo>
                      <a:pt x="860" y="1190"/>
                    </a:lnTo>
                    <a:lnTo>
                      <a:pt x="860" y="1188"/>
                    </a:lnTo>
                    <a:lnTo>
                      <a:pt x="860" y="1190"/>
                    </a:lnTo>
                    <a:lnTo>
                      <a:pt x="858" y="1190"/>
                    </a:lnTo>
                    <a:lnTo>
                      <a:pt x="858" y="1192"/>
                    </a:lnTo>
                    <a:lnTo>
                      <a:pt x="858" y="1190"/>
                    </a:lnTo>
                    <a:lnTo>
                      <a:pt x="858" y="1192"/>
                    </a:lnTo>
                    <a:lnTo>
                      <a:pt x="856" y="1194"/>
                    </a:lnTo>
                    <a:lnTo>
                      <a:pt x="856" y="1196"/>
                    </a:lnTo>
                    <a:lnTo>
                      <a:pt x="854" y="1198"/>
                    </a:lnTo>
                    <a:lnTo>
                      <a:pt x="854" y="1200"/>
                    </a:lnTo>
                    <a:lnTo>
                      <a:pt x="854" y="1202"/>
                    </a:lnTo>
                    <a:lnTo>
                      <a:pt x="852" y="1202"/>
                    </a:lnTo>
                    <a:lnTo>
                      <a:pt x="852" y="1200"/>
                    </a:lnTo>
                    <a:lnTo>
                      <a:pt x="852" y="1206"/>
                    </a:lnTo>
                    <a:lnTo>
                      <a:pt x="850" y="1206"/>
                    </a:lnTo>
                    <a:lnTo>
                      <a:pt x="850" y="1207"/>
                    </a:lnTo>
                    <a:lnTo>
                      <a:pt x="849" y="1207"/>
                    </a:lnTo>
                    <a:lnTo>
                      <a:pt x="849" y="1209"/>
                    </a:lnTo>
                    <a:lnTo>
                      <a:pt x="847" y="1209"/>
                    </a:lnTo>
                    <a:lnTo>
                      <a:pt x="847" y="1211"/>
                    </a:lnTo>
                    <a:lnTo>
                      <a:pt x="847" y="1215"/>
                    </a:lnTo>
                    <a:lnTo>
                      <a:pt x="845" y="1217"/>
                    </a:lnTo>
                    <a:lnTo>
                      <a:pt x="843" y="1219"/>
                    </a:lnTo>
                    <a:lnTo>
                      <a:pt x="843" y="1221"/>
                    </a:lnTo>
                    <a:lnTo>
                      <a:pt x="843" y="1223"/>
                    </a:lnTo>
                    <a:lnTo>
                      <a:pt x="841" y="1223"/>
                    </a:lnTo>
                    <a:lnTo>
                      <a:pt x="843" y="1223"/>
                    </a:lnTo>
                    <a:lnTo>
                      <a:pt x="841" y="1223"/>
                    </a:lnTo>
                    <a:lnTo>
                      <a:pt x="841" y="1221"/>
                    </a:lnTo>
                    <a:lnTo>
                      <a:pt x="839" y="1223"/>
                    </a:lnTo>
                    <a:lnTo>
                      <a:pt x="839" y="1225"/>
                    </a:lnTo>
                    <a:lnTo>
                      <a:pt x="837" y="1225"/>
                    </a:lnTo>
                    <a:lnTo>
                      <a:pt x="835" y="1225"/>
                    </a:lnTo>
                    <a:lnTo>
                      <a:pt x="837" y="1225"/>
                    </a:lnTo>
                    <a:lnTo>
                      <a:pt x="835" y="1225"/>
                    </a:lnTo>
                    <a:lnTo>
                      <a:pt x="837" y="1227"/>
                    </a:lnTo>
                    <a:lnTo>
                      <a:pt x="833" y="1227"/>
                    </a:lnTo>
                    <a:lnTo>
                      <a:pt x="835" y="1227"/>
                    </a:lnTo>
                    <a:lnTo>
                      <a:pt x="833" y="1227"/>
                    </a:lnTo>
                    <a:lnTo>
                      <a:pt x="833" y="1228"/>
                    </a:lnTo>
                    <a:lnTo>
                      <a:pt x="831" y="1228"/>
                    </a:lnTo>
                    <a:lnTo>
                      <a:pt x="830" y="1228"/>
                    </a:lnTo>
                    <a:lnTo>
                      <a:pt x="831" y="1228"/>
                    </a:lnTo>
                    <a:lnTo>
                      <a:pt x="830" y="1228"/>
                    </a:lnTo>
                    <a:lnTo>
                      <a:pt x="828" y="1228"/>
                    </a:lnTo>
                    <a:lnTo>
                      <a:pt x="828" y="1227"/>
                    </a:lnTo>
                    <a:lnTo>
                      <a:pt x="824" y="1225"/>
                    </a:lnTo>
                    <a:lnTo>
                      <a:pt x="826" y="1227"/>
                    </a:lnTo>
                    <a:lnTo>
                      <a:pt x="828" y="1228"/>
                    </a:lnTo>
                    <a:lnTo>
                      <a:pt x="826" y="1228"/>
                    </a:lnTo>
                    <a:lnTo>
                      <a:pt x="828" y="1228"/>
                    </a:lnTo>
                    <a:lnTo>
                      <a:pt x="826" y="1228"/>
                    </a:lnTo>
                    <a:lnTo>
                      <a:pt x="826" y="1230"/>
                    </a:lnTo>
                    <a:lnTo>
                      <a:pt x="826" y="1228"/>
                    </a:lnTo>
                    <a:lnTo>
                      <a:pt x="824" y="1227"/>
                    </a:lnTo>
                    <a:lnTo>
                      <a:pt x="824" y="1228"/>
                    </a:lnTo>
                    <a:lnTo>
                      <a:pt x="824" y="1230"/>
                    </a:lnTo>
                    <a:lnTo>
                      <a:pt x="822" y="1227"/>
                    </a:lnTo>
                    <a:lnTo>
                      <a:pt x="820" y="1225"/>
                    </a:lnTo>
                    <a:lnTo>
                      <a:pt x="820" y="1227"/>
                    </a:lnTo>
                    <a:lnTo>
                      <a:pt x="820" y="1225"/>
                    </a:lnTo>
                    <a:lnTo>
                      <a:pt x="820" y="1227"/>
                    </a:lnTo>
                    <a:lnTo>
                      <a:pt x="820" y="1228"/>
                    </a:lnTo>
                    <a:lnTo>
                      <a:pt x="818" y="1227"/>
                    </a:lnTo>
                    <a:lnTo>
                      <a:pt x="818" y="1225"/>
                    </a:lnTo>
                    <a:lnTo>
                      <a:pt x="818" y="1227"/>
                    </a:lnTo>
                    <a:lnTo>
                      <a:pt x="818" y="1225"/>
                    </a:lnTo>
                    <a:lnTo>
                      <a:pt x="816" y="1225"/>
                    </a:lnTo>
                    <a:lnTo>
                      <a:pt x="818" y="1227"/>
                    </a:lnTo>
                    <a:lnTo>
                      <a:pt x="816" y="1227"/>
                    </a:lnTo>
                    <a:lnTo>
                      <a:pt x="816" y="1225"/>
                    </a:lnTo>
                    <a:lnTo>
                      <a:pt x="814" y="1223"/>
                    </a:lnTo>
                    <a:lnTo>
                      <a:pt x="816" y="1223"/>
                    </a:lnTo>
                    <a:lnTo>
                      <a:pt x="812" y="1223"/>
                    </a:lnTo>
                    <a:lnTo>
                      <a:pt x="814" y="1225"/>
                    </a:lnTo>
                    <a:lnTo>
                      <a:pt x="812" y="1225"/>
                    </a:lnTo>
                    <a:lnTo>
                      <a:pt x="812" y="1227"/>
                    </a:lnTo>
                    <a:lnTo>
                      <a:pt x="814" y="1225"/>
                    </a:lnTo>
                    <a:lnTo>
                      <a:pt x="814" y="1227"/>
                    </a:lnTo>
                    <a:lnTo>
                      <a:pt x="814" y="1228"/>
                    </a:lnTo>
                    <a:lnTo>
                      <a:pt x="814" y="1230"/>
                    </a:lnTo>
                    <a:lnTo>
                      <a:pt x="812" y="1230"/>
                    </a:lnTo>
                    <a:lnTo>
                      <a:pt x="812" y="1232"/>
                    </a:lnTo>
                    <a:lnTo>
                      <a:pt x="812" y="1230"/>
                    </a:lnTo>
                    <a:lnTo>
                      <a:pt x="810" y="1230"/>
                    </a:lnTo>
                    <a:lnTo>
                      <a:pt x="810" y="1228"/>
                    </a:lnTo>
                    <a:lnTo>
                      <a:pt x="810" y="1230"/>
                    </a:lnTo>
                    <a:lnTo>
                      <a:pt x="810" y="1228"/>
                    </a:lnTo>
                    <a:lnTo>
                      <a:pt x="809" y="1228"/>
                    </a:lnTo>
                    <a:lnTo>
                      <a:pt x="809" y="1230"/>
                    </a:lnTo>
                    <a:lnTo>
                      <a:pt x="810" y="1230"/>
                    </a:lnTo>
                    <a:lnTo>
                      <a:pt x="810" y="1232"/>
                    </a:lnTo>
                    <a:lnTo>
                      <a:pt x="812" y="1234"/>
                    </a:lnTo>
                    <a:lnTo>
                      <a:pt x="812" y="1236"/>
                    </a:lnTo>
                    <a:lnTo>
                      <a:pt x="810" y="1236"/>
                    </a:lnTo>
                    <a:lnTo>
                      <a:pt x="812" y="1238"/>
                    </a:lnTo>
                    <a:lnTo>
                      <a:pt x="810" y="1238"/>
                    </a:lnTo>
                    <a:lnTo>
                      <a:pt x="812" y="1238"/>
                    </a:lnTo>
                    <a:lnTo>
                      <a:pt x="810" y="1238"/>
                    </a:lnTo>
                    <a:lnTo>
                      <a:pt x="810" y="1240"/>
                    </a:lnTo>
                    <a:lnTo>
                      <a:pt x="809" y="1240"/>
                    </a:lnTo>
                    <a:lnTo>
                      <a:pt x="809" y="1242"/>
                    </a:lnTo>
                    <a:lnTo>
                      <a:pt x="810" y="1242"/>
                    </a:lnTo>
                    <a:lnTo>
                      <a:pt x="809" y="1242"/>
                    </a:lnTo>
                    <a:lnTo>
                      <a:pt x="807" y="1242"/>
                    </a:lnTo>
                    <a:lnTo>
                      <a:pt x="805" y="1242"/>
                    </a:lnTo>
                    <a:lnTo>
                      <a:pt x="803" y="1242"/>
                    </a:lnTo>
                    <a:lnTo>
                      <a:pt x="801" y="1242"/>
                    </a:lnTo>
                    <a:lnTo>
                      <a:pt x="801" y="1244"/>
                    </a:lnTo>
                    <a:lnTo>
                      <a:pt x="799" y="1244"/>
                    </a:lnTo>
                    <a:lnTo>
                      <a:pt x="797" y="1244"/>
                    </a:lnTo>
                    <a:lnTo>
                      <a:pt x="799" y="1244"/>
                    </a:lnTo>
                    <a:lnTo>
                      <a:pt x="799" y="1246"/>
                    </a:lnTo>
                    <a:lnTo>
                      <a:pt x="799" y="1244"/>
                    </a:lnTo>
                    <a:lnTo>
                      <a:pt x="801" y="1244"/>
                    </a:lnTo>
                    <a:lnTo>
                      <a:pt x="801" y="1246"/>
                    </a:lnTo>
                    <a:lnTo>
                      <a:pt x="799" y="1246"/>
                    </a:lnTo>
                    <a:lnTo>
                      <a:pt x="801" y="1246"/>
                    </a:lnTo>
                    <a:lnTo>
                      <a:pt x="803" y="1248"/>
                    </a:lnTo>
                    <a:lnTo>
                      <a:pt x="801" y="1248"/>
                    </a:lnTo>
                    <a:lnTo>
                      <a:pt x="799" y="1246"/>
                    </a:lnTo>
                    <a:lnTo>
                      <a:pt x="801" y="1246"/>
                    </a:lnTo>
                    <a:lnTo>
                      <a:pt x="799" y="1246"/>
                    </a:lnTo>
                    <a:lnTo>
                      <a:pt x="797" y="1244"/>
                    </a:lnTo>
                    <a:lnTo>
                      <a:pt x="797" y="1246"/>
                    </a:lnTo>
                    <a:lnTo>
                      <a:pt x="797" y="1244"/>
                    </a:lnTo>
                    <a:lnTo>
                      <a:pt x="795" y="1242"/>
                    </a:lnTo>
                    <a:lnTo>
                      <a:pt x="793" y="1242"/>
                    </a:lnTo>
                    <a:lnTo>
                      <a:pt x="791" y="1240"/>
                    </a:lnTo>
                    <a:lnTo>
                      <a:pt x="791" y="1242"/>
                    </a:lnTo>
                    <a:lnTo>
                      <a:pt x="791" y="1240"/>
                    </a:lnTo>
                    <a:lnTo>
                      <a:pt x="789" y="1240"/>
                    </a:lnTo>
                    <a:lnTo>
                      <a:pt x="789" y="1238"/>
                    </a:lnTo>
                    <a:lnTo>
                      <a:pt x="789" y="1240"/>
                    </a:lnTo>
                    <a:lnTo>
                      <a:pt x="788" y="1238"/>
                    </a:lnTo>
                    <a:lnTo>
                      <a:pt x="786" y="1238"/>
                    </a:lnTo>
                    <a:lnTo>
                      <a:pt x="786" y="1236"/>
                    </a:lnTo>
                    <a:lnTo>
                      <a:pt x="784" y="1236"/>
                    </a:lnTo>
                    <a:lnTo>
                      <a:pt x="786" y="1238"/>
                    </a:lnTo>
                    <a:lnTo>
                      <a:pt x="784" y="1238"/>
                    </a:lnTo>
                    <a:lnTo>
                      <a:pt x="786" y="1238"/>
                    </a:lnTo>
                    <a:lnTo>
                      <a:pt x="786" y="1240"/>
                    </a:lnTo>
                    <a:lnTo>
                      <a:pt x="788" y="1240"/>
                    </a:lnTo>
                    <a:lnTo>
                      <a:pt x="788" y="1242"/>
                    </a:lnTo>
                    <a:lnTo>
                      <a:pt x="786" y="1242"/>
                    </a:lnTo>
                    <a:lnTo>
                      <a:pt x="788" y="1242"/>
                    </a:lnTo>
                    <a:lnTo>
                      <a:pt x="786" y="1242"/>
                    </a:lnTo>
                    <a:lnTo>
                      <a:pt x="786" y="1244"/>
                    </a:lnTo>
                    <a:lnTo>
                      <a:pt x="788" y="1244"/>
                    </a:lnTo>
                    <a:lnTo>
                      <a:pt x="789" y="1246"/>
                    </a:lnTo>
                    <a:lnTo>
                      <a:pt x="789" y="1248"/>
                    </a:lnTo>
                    <a:lnTo>
                      <a:pt x="789" y="1246"/>
                    </a:lnTo>
                    <a:lnTo>
                      <a:pt x="791" y="1246"/>
                    </a:lnTo>
                    <a:lnTo>
                      <a:pt x="791" y="1248"/>
                    </a:lnTo>
                    <a:lnTo>
                      <a:pt x="791" y="1246"/>
                    </a:lnTo>
                    <a:lnTo>
                      <a:pt x="793" y="1246"/>
                    </a:lnTo>
                    <a:lnTo>
                      <a:pt x="795" y="1248"/>
                    </a:lnTo>
                    <a:lnTo>
                      <a:pt x="793" y="1248"/>
                    </a:lnTo>
                    <a:lnTo>
                      <a:pt x="795" y="1248"/>
                    </a:lnTo>
                    <a:lnTo>
                      <a:pt x="797" y="1248"/>
                    </a:lnTo>
                    <a:lnTo>
                      <a:pt x="797" y="1249"/>
                    </a:lnTo>
                    <a:lnTo>
                      <a:pt x="799" y="1249"/>
                    </a:lnTo>
                    <a:lnTo>
                      <a:pt x="801" y="1249"/>
                    </a:lnTo>
                    <a:lnTo>
                      <a:pt x="799" y="1249"/>
                    </a:lnTo>
                    <a:lnTo>
                      <a:pt x="799" y="1251"/>
                    </a:lnTo>
                    <a:lnTo>
                      <a:pt x="801" y="1251"/>
                    </a:lnTo>
                    <a:lnTo>
                      <a:pt x="801" y="1253"/>
                    </a:lnTo>
                    <a:lnTo>
                      <a:pt x="801" y="1255"/>
                    </a:lnTo>
                    <a:lnTo>
                      <a:pt x="801" y="1257"/>
                    </a:lnTo>
                    <a:lnTo>
                      <a:pt x="803" y="1257"/>
                    </a:lnTo>
                    <a:lnTo>
                      <a:pt x="803" y="1259"/>
                    </a:lnTo>
                    <a:lnTo>
                      <a:pt x="801" y="1259"/>
                    </a:lnTo>
                    <a:lnTo>
                      <a:pt x="803" y="1259"/>
                    </a:lnTo>
                    <a:lnTo>
                      <a:pt x="801" y="1259"/>
                    </a:lnTo>
                    <a:lnTo>
                      <a:pt x="803" y="1261"/>
                    </a:lnTo>
                    <a:lnTo>
                      <a:pt x="801" y="1261"/>
                    </a:lnTo>
                    <a:lnTo>
                      <a:pt x="803" y="1261"/>
                    </a:lnTo>
                    <a:lnTo>
                      <a:pt x="801" y="1261"/>
                    </a:lnTo>
                    <a:lnTo>
                      <a:pt x="803" y="1263"/>
                    </a:lnTo>
                    <a:lnTo>
                      <a:pt x="801" y="1263"/>
                    </a:lnTo>
                    <a:lnTo>
                      <a:pt x="801" y="1265"/>
                    </a:lnTo>
                    <a:lnTo>
                      <a:pt x="801" y="1263"/>
                    </a:lnTo>
                    <a:lnTo>
                      <a:pt x="801" y="1265"/>
                    </a:lnTo>
                    <a:lnTo>
                      <a:pt x="801" y="1263"/>
                    </a:lnTo>
                    <a:lnTo>
                      <a:pt x="801" y="1265"/>
                    </a:lnTo>
                    <a:lnTo>
                      <a:pt x="799" y="1267"/>
                    </a:lnTo>
                    <a:lnTo>
                      <a:pt x="797" y="1265"/>
                    </a:lnTo>
                    <a:lnTo>
                      <a:pt x="797" y="1267"/>
                    </a:lnTo>
                    <a:lnTo>
                      <a:pt x="795" y="1267"/>
                    </a:lnTo>
                    <a:lnTo>
                      <a:pt x="793" y="1267"/>
                    </a:lnTo>
                    <a:lnTo>
                      <a:pt x="793" y="1269"/>
                    </a:lnTo>
                    <a:lnTo>
                      <a:pt x="791" y="1269"/>
                    </a:lnTo>
                    <a:lnTo>
                      <a:pt x="789" y="1269"/>
                    </a:lnTo>
                    <a:lnTo>
                      <a:pt x="791" y="1270"/>
                    </a:lnTo>
                    <a:lnTo>
                      <a:pt x="789" y="1270"/>
                    </a:lnTo>
                    <a:lnTo>
                      <a:pt x="786" y="1270"/>
                    </a:lnTo>
                    <a:lnTo>
                      <a:pt x="784" y="1269"/>
                    </a:lnTo>
                    <a:lnTo>
                      <a:pt x="782" y="1270"/>
                    </a:lnTo>
                    <a:lnTo>
                      <a:pt x="778" y="1269"/>
                    </a:lnTo>
                    <a:lnTo>
                      <a:pt x="780" y="1270"/>
                    </a:lnTo>
                    <a:lnTo>
                      <a:pt x="778" y="1270"/>
                    </a:lnTo>
                    <a:lnTo>
                      <a:pt x="776" y="1269"/>
                    </a:lnTo>
                    <a:lnTo>
                      <a:pt x="776" y="1270"/>
                    </a:lnTo>
                    <a:lnTo>
                      <a:pt x="776" y="1269"/>
                    </a:lnTo>
                    <a:lnTo>
                      <a:pt x="774" y="1269"/>
                    </a:lnTo>
                    <a:lnTo>
                      <a:pt x="774" y="1270"/>
                    </a:lnTo>
                    <a:lnTo>
                      <a:pt x="776" y="1274"/>
                    </a:lnTo>
                    <a:lnTo>
                      <a:pt x="778" y="1274"/>
                    </a:lnTo>
                    <a:lnTo>
                      <a:pt x="778" y="1276"/>
                    </a:lnTo>
                    <a:lnTo>
                      <a:pt x="780" y="1276"/>
                    </a:lnTo>
                    <a:lnTo>
                      <a:pt x="782" y="1276"/>
                    </a:lnTo>
                    <a:lnTo>
                      <a:pt x="784" y="1278"/>
                    </a:lnTo>
                    <a:lnTo>
                      <a:pt x="782" y="1276"/>
                    </a:lnTo>
                    <a:lnTo>
                      <a:pt x="784" y="1278"/>
                    </a:lnTo>
                    <a:lnTo>
                      <a:pt x="782" y="1278"/>
                    </a:lnTo>
                    <a:lnTo>
                      <a:pt x="782" y="1280"/>
                    </a:lnTo>
                    <a:lnTo>
                      <a:pt x="780" y="1280"/>
                    </a:lnTo>
                    <a:lnTo>
                      <a:pt x="782" y="1280"/>
                    </a:lnTo>
                    <a:lnTo>
                      <a:pt x="780" y="1280"/>
                    </a:lnTo>
                    <a:lnTo>
                      <a:pt x="778" y="1280"/>
                    </a:lnTo>
                    <a:lnTo>
                      <a:pt x="778" y="1278"/>
                    </a:lnTo>
                    <a:lnTo>
                      <a:pt x="776" y="1278"/>
                    </a:lnTo>
                    <a:lnTo>
                      <a:pt x="774" y="1278"/>
                    </a:lnTo>
                    <a:lnTo>
                      <a:pt x="776" y="1278"/>
                    </a:lnTo>
                    <a:lnTo>
                      <a:pt x="774" y="1280"/>
                    </a:lnTo>
                    <a:lnTo>
                      <a:pt x="776" y="1280"/>
                    </a:lnTo>
                    <a:lnTo>
                      <a:pt x="774" y="1280"/>
                    </a:lnTo>
                    <a:lnTo>
                      <a:pt x="772" y="1280"/>
                    </a:lnTo>
                    <a:lnTo>
                      <a:pt x="772" y="1278"/>
                    </a:lnTo>
                    <a:lnTo>
                      <a:pt x="770" y="1278"/>
                    </a:lnTo>
                    <a:lnTo>
                      <a:pt x="772" y="1280"/>
                    </a:lnTo>
                    <a:lnTo>
                      <a:pt x="770" y="1280"/>
                    </a:lnTo>
                    <a:lnTo>
                      <a:pt x="772" y="1280"/>
                    </a:lnTo>
                    <a:lnTo>
                      <a:pt x="772" y="1282"/>
                    </a:lnTo>
                    <a:lnTo>
                      <a:pt x="770" y="1282"/>
                    </a:lnTo>
                    <a:lnTo>
                      <a:pt x="772" y="1282"/>
                    </a:lnTo>
                    <a:lnTo>
                      <a:pt x="770" y="1282"/>
                    </a:lnTo>
                    <a:lnTo>
                      <a:pt x="772" y="1282"/>
                    </a:lnTo>
                    <a:lnTo>
                      <a:pt x="774" y="1284"/>
                    </a:lnTo>
                    <a:lnTo>
                      <a:pt x="776" y="1284"/>
                    </a:lnTo>
                    <a:lnTo>
                      <a:pt x="774" y="1284"/>
                    </a:lnTo>
                    <a:lnTo>
                      <a:pt x="776" y="1284"/>
                    </a:lnTo>
                    <a:lnTo>
                      <a:pt x="778" y="1284"/>
                    </a:lnTo>
                    <a:lnTo>
                      <a:pt x="778" y="1286"/>
                    </a:lnTo>
                    <a:lnTo>
                      <a:pt x="780" y="1286"/>
                    </a:lnTo>
                    <a:lnTo>
                      <a:pt x="778" y="1286"/>
                    </a:lnTo>
                    <a:lnTo>
                      <a:pt x="776" y="1286"/>
                    </a:lnTo>
                    <a:lnTo>
                      <a:pt x="774" y="1286"/>
                    </a:lnTo>
                    <a:lnTo>
                      <a:pt x="776" y="1286"/>
                    </a:lnTo>
                    <a:lnTo>
                      <a:pt x="774" y="1284"/>
                    </a:lnTo>
                    <a:lnTo>
                      <a:pt x="774" y="1286"/>
                    </a:lnTo>
                    <a:lnTo>
                      <a:pt x="774" y="1284"/>
                    </a:lnTo>
                    <a:lnTo>
                      <a:pt x="772" y="1284"/>
                    </a:lnTo>
                    <a:lnTo>
                      <a:pt x="772" y="1286"/>
                    </a:lnTo>
                    <a:lnTo>
                      <a:pt x="770" y="1286"/>
                    </a:lnTo>
                    <a:lnTo>
                      <a:pt x="770" y="1284"/>
                    </a:lnTo>
                    <a:lnTo>
                      <a:pt x="772" y="1284"/>
                    </a:lnTo>
                    <a:lnTo>
                      <a:pt x="772" y="1282"/>
                    </a:lnTo>
                    <a:lnTo>
                      <a:pt x="770" y="1282"/>
                    </a:lnTo>
                    <a:lnTo>
                      <a:pt x="769" y="1282"/>
                    </a:lnTo>
                    <a:lnTo>
                      <a:pt x="769" y="1284"/>
                    </a:lnTo>
                    <a:lnTo>
                      <a:pt x="770" y="1286"/>
                    </a:lnTo>
                    <a:lnTo>
                      <a:pt x="769" y="1286"/>
                    </a:lnTo>
                    <a:lnTo>
                      <a:pt x="770" y="1286"/>
                    </a:lnTo>
                    <a:lnTo>
                      <a:pt x="772" y="1288"/>
                    </a:lnTo>
                    <a:lnTo>
                      <a:pt x="772" y="1290"/>
                    </a:lnTo>
                    <a:lnTo>
                      <a:pt x="770" y="1290"/>
                    </a:lnTo>
                    <a:lnTo>
                      <a:pt x="772" y="1290"/>
                    </a:lnTo>
                    <a:lnTo>
                      <a:pt x="772" y="1291"/>
                    </a:lnTo>
                    <a:lnTo>
                      <a:pt x="772" y="1293"/>
                    </a:lnTo>
                    <a:lnTo>
                      <a:pt x="772" y="1291"/>
                    </a:lnTo>
                    <a:lnTo>
                      <a:pt x="770" y="1293"/>
                    </a:lnTo>
                    <a:lnTo>
                      <a:pt x="770" y="1291"/>
                    </a:lnTo>
                    <a:lnTo>
                      <a:pt x="770" y="1290"/>
                    </a:lnTo>
                    <a:lnTo>
                      <a:pt x="769" y="1288"/>
                    </a:lnTo>
                    <a:lnTo>
                      <a:pt x="767" y="1288"/>
                    </a:lnTo>
                    <a:lnTo>
                      <a:pt x="765" y="1288"/>
                    </a:lnTo>
                    <a:lnTo>
                      <a:pt x="763" y="1288"/>
                    </a:lnTo>
                    <a:lnTo>
                      <a:pt x="765" y="1288"/>
                    </a:lnTo>
                    <a:lnTo>
                      <a:pt x="769" y="1290"/>
                    </a:lnTo>
                    <a:lnTo>
                      <a:pt x="769" y="1291"/>
                    </a:lnTo>
                    <a:lnTo>
                      <a:pt x="767" y="1291"/>
                    </a:lnTo>
                    <a:lnTo>
                      <a:pt x="765" y="1291"/>
                    </a:lnTo>
                    <a:lnTo>
                      <a:pt x="767" y="1291"/>
                    </a:lnTo>
                    <a:lnTo>
                      <a:pt x="765" y="1291"/>
                    </a:lnTo>
                    <a:lnTo>
                      <a:pt x="765" y="1293"/>
                    </a:lnTo>
                    <a:lnTo>
                      <a:pt x="765" y="1291"/>
                    </a:lnTo>
                    <a:lnTo>
                      <a:pt x="763" y="1293"/>
                    </a:lnTo>
                    <a:lnTo>
                      <a:pt x="761" y="1291"/>
                    </a:lnTo>
                    <a:lnTo>
                      <a:pt x="761" y="1293"/>
                    </a:lnTo>
                    <a:lnTo>
                      <a:pt x="763" y="1293"/>
                    </a:lnTo>
                    <a:lnTo>
                      <a:pt x="763" y="1295"/>
                    </a:lnTo>
                    <a:lnTo>
                      <a:pt x="765" y="1293"/>
                    </a:lnTo>
                    <a:lnTo>
                      <a:pt x="765" y="1295"/>
                    </a:lnTo>
                    <a:lnTo>
                      <a:pt x="763" y="1295"/>
                    </a:lnTo>
                    <a:lnTo>
                      <a:pt x="763" y="1297"/>
                    </a:lnTo>
                    <a:lnTo>
                      <a:pt x="761" y="1297"/>
                    </a:lnTo>
                    <a:lnTo>
                      <a:pt x="763" y="1299"/>
                    </a:lnTo>
                    <a:lnTo>
                      <a:pt x="761" y="1299"/>
                    </a:lnTo>
                    <a:lnTo>
                      <a:pt x="761" y="1297"/>
                    </a:lnTo>
                    <a:lnTo>
                      <a:pt x="759" y="1297"/>
                    </a:lnTo>
                    <a:lnTo>
                      <a:pt x="757" y="1297"/>
                    </a:lnTo>
                    <a:lnTo>
                      <a:pt x="759" y="1297"/>
                    </a:lnTo>
                    <a:lnTo>
                      <a:pt x="759" y="1299"/>
                    </a:lnTo>
                    <a:lnTo>
                      <a:pt x="761" y="1299"/>
                    </a:lnTo>
                    <a:lnTo>
                      <a:pt x="761" y="1301"/>
                    </a:lnTo>
                    <a:lnTo>
                      <a:pt x="759" y="1299"/>
                    </a:lnTo>
                    <a:lnTo>
                      <a:pt x="759" y="1301"/>
                    </a:lnTo>
                    <a:lnTo>
                      <a:pt x="759" y="1299"/>
                    </a:lnTo>
                    <a:lnTo>
                      <a:pt x="761" y="1301"/>
                    </a:lnTo>
                    <a:lnTo>
                      <a:pt x="759" y="1301"/>
                    </a:lnTo>
                    <a:lnTo>
                      <a:pt x="759" y="1303"/>
                    </a:lnTo>
                    <a:lnTo>
                      <a:pt x="755" y="1299"/>
                    </a:lnTo>
                    <a:lnTo>
                      <a:pt x="757" y="1301"/>
                    </a:lnTo>
                    <a:lnTo>
                      <a:pt x="755" y="1299"/>
                    </a:lnTo>
                    <a:lnTo>
                      <a:pt x="755" y="1301"/>
                    </a:lnTo>
                    <a:lnTo>
                      <a:pt x="755" y="1299"/>
                    </a:lnTo>
                    <a:lnTo>
                      <a:pt x="755" y="1301"/>
                    </a:lnTo>
                    <a:lnTo>
                      <a:pt x="757" y="1303"/>
                    </a:lnTo>
                    <a:lnTo>
                      <a:pt x="755" y="1301"/>
                    </a:lnTo>
                    <a:lnTo>
                      <a:pt x="755" y="1303"/>
                    </a:lnTo>
                    <a:lnTo>
                      <a:pt x="755" y="1301"/>
                    </a:lnTo>
                    <a:lnTo>
                      <a:pt x="755" y="1303"/>
                    </a:lnTo>
                    <a:lnTo>
                      <a:pt x="755" y="1301"/>
                    </a:lnTo>
                    <a:lnTo>
                      <a:pt x="755" y="1303"/>
                    </a:lnTo>
                    <a:lnTo>
                      <a:pt x="753" y="1303"/>
                    </a:lnTo>
                    <a:lnTo>
                      <a:pt x="755" y="1303"/>
                    </a:lnTo>
                    <a:lnTo>
                      <a:pt x="757" y="1305"/>
                    </a:lnTo>
                    <a:lnTo>
                      <a:pt x="759" y="1305"/>
                    </a:lnTo>
                    <a:lnTo>
                      <a:pt x="757" y="1305"/>
                    </a:lnTo>
                    <a:lnTo>
                      <a:pt x="759" y="1305"/>
                    </a:lnTo>
                    <a:lnTo>
                      <a:pt x="761" y="1305"/>
                    </a:lnTo>
                    <a:lnTo>
                      <a:pt x="761" y="1307"/>
                    </a:lnTo>
                    <a:lnTo>
                      <a:pt x="759" y="1307"/>
                    </a:lnTo>
                    <a:lnTo>
                      <a:pt x="757" y="1307"/>
                    </a:lnTo>
                    <a:lnTo>
                      <a:pt x="761" y="1307"/>
                    </a:lnTo>
                    <a:lnTo>
                      <a:pt x="757" y="1309"/>
                    </a:lnTo>
                    <a:lnTo>
                      <a:pt x="755" y="1309"/>
                    </a:lnTo>
                    <a:lnTo>
                      <a:pt x="755" y="1311"/>
                    </a:lnTo>
                    <a:lnTo>
                      <a:pt x="753" y="1312"/>
                    </a:lnTo>
                    <a:lnTo>
                      <a:pt x="751" y="1312"/>
                    </a:lnTo>
                    <a:lnTo>
                      <a:pt x="749" y="1314"/>
                    </a:lnTo>
                    <a:lnTo>
                      <a:pt x="749" y="1316"/>
                    </a:lnTo>
                    <a:lnTo>
                      <a:pt x="749" y="1318"/>
                    </a:lnTo>
                    <a:lnTo>
                      <a:pt x="751" y="1318"/>
                    </a:lnTo>
                    <a:lnTo>
                      <a:pt x="751" y="1320"/>
                    </a:lnTo>
                    <a:lnTo>
                      <a:pt x="751" y="1322"/>
                    </a:lnTo>
                    <a:lnTo>
                      <a:pt x="749" y="1322"/>
                    </a:lnTo>
                    <a:lnTo>
                      <a:pt x="748" y="1322"/>
                    </a:lnTo>
                    <a:lnTo>
                      <a:pt x="748" y="1324"/>
                    </a:lnTo>
                    <a:lnTo>
                      <a:pt x="748" y="1326"/>
                    </a:lnTo>
                    <a:lnTo>
                      <a:pt x="749" y="1326"/>
                    </a:lnTo>
                    <a:lnTo>
                      <a:pt x="748" y="1326"/>
                    </a:lnTo>
                    <a:lnTo>
                      <a:pt x="749" y="1328"/>
                    </a:lnTo>
                    <a:lnTo>
                      <a:pt x="748" y="1328"/>
                    </a:lnTo>
                    <a:lnTo>
                      <a:pt x="749" y="1328"/>
                    </a:lnTo>
                    <a:lnTo>
                      <a:pt x="746" y="1330"/>
                    </a:lnTo>
                    <a:lnTo>
                      <a:pt x="746" y="1335"/>
                    </a:lnTo>
                    <a:lnTo>
                      <a:pt x="744" y="1337"/>
                    </a:lnTo>
                    <a:lnTo>
                      <a:pt x="742" y="1339"/>
                    </a:lnTo>
                    <a:lnTo>
                      <a:pt x="742" y="1341"/>
                    </a:lnTo>
                    <a:lnTo>
                      <a:pt x="740" y="1343"/>
                    </a:lnTo>
                    <a:lnTo>
                      <a:pt x="740" y="1345"/>
                    </a:lnTo>
                    <a:lnTo>
                      <a:pt x="740" y="1347"/>
                    </a:lnTo>
                    <a:lnTo>
                      <a:pt x="738" y="1349"/>
                    </a:lnTo>
                    <a:lnTo>
                      <a:pt x="738" y="1351"/>
                    </a:lnTo>
                    <a:lnTo>
                      <a:pt x="738" y="1354"/>
                    </a:lnTo>
                    <a:lnTo>
                      <a:pt x="736" y="1358"/>
                    </a:lnTo>
                    <a:lnTo>
                      <a:pt x="738" y="1360"/>
                    </a:lnTo>
                    <a:lnTo>
                      <a:pt x="736" y="1362"/>
                    </a:lnTo>
                    <a:lnTo>
                      <a:pt x="734" y="1364"/>
                    </a:lnTo>
                    <a:lnTo>
                      <a:pt x="736" y="1366"/>
                    </a:lnTo>
                    <a:lnTo>
                      <a:pt x="736" y="1368"/>
                    </a:lnTo>
                    <a:lnTo>
                      <a:pt x="736" y="1370"/>
                    </a:lnTo>
                    <a:lnTo>
                      <a:pt x="736" y="1372"/>
                    </a:lnTo>
                    <a:lnTo>
                      <a:pt x="736" y="1373"/>
                    </a:lnTo>
                    <a:lnTo>
                      <a:pt x="736" y="1375"/>
                    </a:lnTo>
                    <a:lnTo>
                      <a:pt x="736" y="1377"/>
                    </a:lnTo>
                    <a:lnTo>
                      <a:pt x="736" y="1381"/>
                    </a:lnTo>
                    <a:lnTo>
                      <a:pt x="736" y="1383"/>
                    </a:lnTo>
                    <a:lnTo>
                      <a:pt x="738" y="1383"/>
                    </a:lnTo>
                    <a:lnTo>
                      <a:pt x="736" y="1385"/>
                    </a:lnTo>
                    <a:lnTo>
                      <a:pt x="738" y="1383"/>
                    </a:lnTo>
                    <a:lnTo>
                      <a:pt x="738" y="1385"/>
                    </a:lnTo>
                    <a:lnTo>
                      <a:pt x="736" y="1385"/>
                    </a:lnTo>
                    <a:lnTo>
                      <a:pt x="736" y="1387"/>
                    </a:lnTo>
                    <a:lnTo>
                      <a:pt x="736" y="1389"/>
                    </a:lnTo>
                    <a:lnTo>
                      <a:pt x="736" y="1391"/>
                    </a:lnTo>
                    <a:lnTo>
                      <a:pt x="736" y="1394"/>
                    </a:lnTo>
                    <a:lnTo>
                      <a:pt x="738" y="1396"/>
                    </a:lnTo>
                    <a:lnTo>
                      <a:pt x="740" y="1396"/>
                    </a:lnTo>
                    <a:lnTo>
                      <a:pt x="740" y="1398"/>
                    </a:lnTo>
                    <a:lnTo>
                      <a:pt x="738" y="1398"/>
                    </a:lnTo>
                    <a:lnTo>
                      <a:pt x="740" y="1400"/>
                    </a:lnTo>
                    <a:lnTo>
                      <a:pt x="742" y="1402"/>
                    </a:lnTo>
                    <a:lnTo>
                      <a:pt x="742" y="1404"/>
                    </a:lnTo>
                    <a:lnTo>
                      <a:pt x="744" y="1404"/>
                    </a:lnTo>
                    <a:lnTo>
                      <a:pt x="744" y="1402"/>
                    </a:lnTo>
                    <a:lnTo>
                      <a:pt x="746" y="1400"/>
                    </a:lnTo>
                    <a:lnTo>
                      <a:pt x="746" y="1402"/>
                    </a:lnTo>
                    <a:lnTo>
                      <a:pt x="749" y="1402"/>
                    </a:lnTo>
                    <a:lnTo>
                      <a:pt x="751" y="1402"/>
                    </a:lnTo>
                    <a:lnTo>
                      <a:pt x="753" y="1402"/>
                    </a:lnTo>
                    <a:lnTo>
                      <a:pt x="755" y="1402"/>
                    </a:lnTo>
                    <a:lnTo>
                      <a:pt x="757" y="1402"/>
                    </a:lnTo>
                    <a:lnTo>
                      <a:pt x="757" y="1404"/>
                    </a:lnTo>
                    <a:lnTo>
                      <a:pt x="759" y="1404"/>
                    </a:lnTo>
                    <a:lnTo>
                      <a:pt x="759" y="1402"/>
                    </a:lnTo>
                    <a:lnTo>
                      <a:pt x="761" y="1402"/>
                    </a:lnTo>
                    <a:lnTo>
                      <a:pt x="763" y="1404"/>
                    </a:lnTo>
                    <a:lnTo>
                      <a:pt x="763" y="1406"/>
                    </a:lnTo>
                    <a:lnTo>
                      <a:pt x="763" y="1408"/>
                    </a:lnTo>
                    <a:lnTo>
                      <a:pt x="763" y="1412"/>
                    </a:lnTo>
                    <a:lnTo>
                      <a:pt x="763" y="1414"/>
                    </a:lnTo>
                    <a:lnTo>
                      <a:pt x="765" y="1415"/>
                    </a:lnTo>
                    <a:lnTo>
                      <a:pt x="767" y="1419"/>
                    </a:lnTo>
                    <a:lnTo>
                      <a:pt x="767" y="1421"/>
                    </a:lnTo>
                    <a:lnTo>
                      <a:pt x="769" y="1425"/>
                    </a:lnTo>
                    <a:lnTo>
                      <a:pt x="767" y="1423"/>
                    </a:lnTo>
                    <a:lnTo>
                      <a:pt x="767" y="1425"/>
                    </a:lnTo>
                    <a:lnTo>
                      <a:pt x="769" y="1431"/>
                    </a:lnTo>
                    <a:lnTo>
                      <a:pt x="772" y="1438"/>
                    </a:lnTo>
                    <a:lnTo>
                      <a:pt x="772" y="1440"/>
                    </a:lnTo>
                    <a:lnTo>
                      <a:pt x="774" y="1444"/>
                    </a:lnTo>
                    <a:lnTo>
                      <a:pt x="772" y="1448"/>
                    </a:lnTo>
                    <a:lnTo>
                      <a:pt x="770" y="1454"/>
                    </a:lnTo>
                    <a:lnTo>
                      <a:pt x="770" y="1456"/>
                    </a:lnTo>
                    <a:lnTo>
                      <a:pt x="772" y="1454"/>
                    </a:lnTo>
                    <a:lnTo>
                      <a:pt x="774" y="1454"/>
                    </a:lnTo>
                    <a:lnTo>
                      <a:pt x="776" y="1454"/>
                    </a:lnTo>
                    <a:lnTo>
                      <a:pt x="778" y="1454"/>
                    </a:lnTo>
                    <a:lnTo>
                      <a:pt x="782" y="1454"/>
                    </a:lnTo>
                    <a:lnTo>
                      <a:pt x="795" y="1448"/>
                    </a:lnTo>
                    <a:lnTo>
                      <a:pt x="799" y="1448"/>
                    </a:lnTo>
                    <a:lnTo>
                      <a:pt x="801" y="1448"/>
                    </a:lnTo>
                    <a:lnTo>
                      <a:pt x="803" y="1448"/>
                    </a:lnTo>
                    <a:lnTo>
                      <a:pt x="805" y="1450"/>
                    </a:lnTo>
                    <a:lnTo>
                      <a:pt x="807" y="1450"/>
                    </a:lnTo>
                    <a:lnTo>
                      <a:pt x="812" y="1456"/>
                    </a:lnTo>
                    <a:lnTo>
                      <a:pt x="820" y="1457"/>
                    </a:lnTo>
                    <a:lnTo>
                      <a:pt x="822" y="1457"/>
                    </a:lnTo>
                    <a:lnTo>
                      <a:pt x="826" y="1459"/>
                    </a:lnTo>
                    <a:lnTo>
                      <a:pt x="828" y="1459"/>
                    </a:lnTo>
                    <a:lnTo>
                      <a:pt x="830" y="1459"/>
                    </a:lnTo>
                    <a:lnTo>
                      <a:pt x="831" y="1459"/>
                    </a:lnTo>
                    <a:lnTo>
                      <a:pt x="831" y="1461"/>
                    </a:lnTo>
                    <a:lnTo>
                      <a:pt x="833" y="1463"/>
                    </a:lnTo>
                    <a:lnTo>
                      <a:pt x="833" y="1465"/>
                    </a:lnTo>
                    <a:lnTo>
                      <a:pt x="835" y="1465"/>
                    </a:lnTo>
                    <a:lnTo>
                      <a:pt x="837" y="1467"/>
                    </a:lnTo>
                    <a:lnTo>
                      <a:pt x="839" y="1469"/>
                    </a:lnTo>
                    <a:lnTo>
                      <a:pt x="845" y="1471"/>
                    </a:lnTo>
                    <a:lnTo>
                      <a:pt x="845" y="1473"/>
                    </a:lnTo>
                    <a:lnTo>
                      <a:pt x="847" y="1475"/>
                    </a:lnTo>
                    <a:lnTo>
                      <a:pt x="849" y="1477"/>
                    </a:lnTo>
                    <a:lnTo>
                      <a:pt x="850" y="1480"/>
                    </a:lnTo>
                    <a:lnTo>
                      <a:pt x="849" y="1480"/>
                    </a:lnTo>
                    <a:lnTo>
                      <a:pt x="850" y="1482"/>
                    </a:lnTo>
                    <a:lnTo>
                      <a:pt x="852" y="1482"/>
                    </a:lnTo>
                    <a:lnTo>
                      <a:pt x="852" y="1484"/>
                    </a:lnTo>
                    <a:lnTo>
                      <a:pt x="856" y="1486"/>
                    </a:lnTo>
                    <a:lnTo>
                      <a:pt x="862" y="1486"/>
                    </a:lnTo>
                    <a:lnTo>
                      <a:pt x="866" y="1488"/>
                    </a:lnTo>
                    <a:lnTo>
                      <a:pt x="870" y="1490"/>
                    </a:lnTo>
                    <a:lnTo>
                      <a:pt x="871" y="1492"/>
                    </a:lnTo>
                    <a:lnTo>
                      <a:pt x="877" y="1494"/>
                    </a:lnTo>
                    <a:lnTo>
                      <a:pt x="881" y="1496"/>
                    </a:lnTo>
                    <a:lnTo>
                      <a:pt x="883" y="1497"/>
                    </a:lnTo>
                    <a:lnTo>
                      <a:pt x="885" y="1499"/>
                    </a:lnTo>
                    <a:lnTo>
                      <a:pt x="887" y="1501"/>
                    </a:lnTo>
                    <a:lnTo>
                      <a:pt x="889" y="1501"/>
                    </a:lnTo>
                    <a:lnTo>
                      <a:pt x="889" y="1503"/>
                    </a:lnTo>
                    <a:lnTo>
                      <a:pt x="891" y="1503"/>
                    </a:lnTo>
                    <a:lnTo>
                      <a:pt x="891" y="1505"/>
                    </a:lnTo>
                    <a:lnTo>
                      <a:pt x="892" y="1505"/>
                    </a:lnTo>
                    <a:lnTo>
                      <a:pt x="896" y="1505"/>
                    </a:lnTo>
                    <a:lnTo>
                      <a:pt x="898" y="1505"/>
                    </a:lnTo>
                    <a:lnTo>
                      <a:pt x="900" y="1505"/>
                    </a:lnTo>
                    <a:lnTo>
                      <a:pt x="902" y="1505"/>
                    </a:lnTo>
                    <a:lnTo>
                      <a:pt x="904" y="1505"/>
                    </a:lnTo>
                    <a:lnTo>
                      <a:pt x="906" y="1505"/>
                    </a:lnTo>
                    <a:lnTo>
                      <a:pt x="908" y="1503"/>
                    </a:lnTo>
                    <a:lnTo>
                      <a:pt x="910" y="1503"/>
                    </a:lnTo>
                    <a:lnTo>
                      <a:pt x="912" y="1505"/>
                    </a:lnTo>
                    <a:lnTo>
                      <a:pt x="913" y="1505"/>
                    </a:lnTo>
                    <a:lnTo>
                      <a:pt x="912" y="1505"/>
                    </a:lnTo>
                    <a:lnTo>
                      <a:pt x="913" y="1505"/>
                    </a:lnTo>
                    <a:lnTo>
                      <a:pt x="915" y="1505"/>
                    </a:lnTo>
                    <a:lnTo>
                      <a:pt x="917" y="1505"/>
                    </a:lnTo>
                    <a:lnTo>
                      <a:pt x="917" y="1507"/>
                    </a:lnTo>
                    <a:lnTo>
                      <a:pt x="919" y="1505"/>
                    </a:lnTo>
                    <a:lnTo>
                      <a:pt x="921" y="1507"/>
                    </a:lnTo>
                    <a:lnTo>
                      <a:pt x="925" y="1505"/>
                    </a:lnTo>
                    <a:lnTo>
                      <a:pt x="925" y="1507"/>
                    </a:lnTo>
                    <a:lnTo>
                      <a:pt x="925" y="1509"/>
                    </a:lnTo>
                    <a:lnTo>
                      <a:pt x="927" y="1509"/>
                    </a:lnTo>
                    <a:lnTo>
                      <a:pt x="929" y="1509"/>
                    </a:lnTo>
                    <a:lnTo>
                      <a:pt x="929" y="1507"/>
                    </a:lnTo>
                    <a:lnTo>
                      <a:pt x="929" y="1509"/>
                    </a:lnTo>
                    <a:lnTo>
                      <a:pt x="931" y="1507"/>
                    </a:lnTo>
                    <a:lnTo>
                      <a:pt x="931" y="1509"/>
                    </a:lnTo>
                    <a:lnTo>
                      <a:pt x="931" y="1507"/>
                    </a:lnTo>
                    <a:lnTo>
                      <a:pt x="932" y="1509"/>
                    </a:lnTo>
                    <a:lnTo>
                      <a:pt x="932" y="1511"/>
                    </a:lnTo>
                    <a:lnTo>
                      <a:pt x="934" y="1511"/>
                    </a:lnTo>
                    <a:lnTo>
                      <a:pt x="934" y="1509"/>
                    </a:lnTo>
                    <a:lnTo>
                      <a:pt x="934" y="1507"/>
                    </a:lnTo>
                    <a:lnTo>
                      <a:pt x="934" y="1509"/>
                    </a:lnTo>
                    <a:lnTo>
                      <a:pt x="936" y="1509"/>
                    </a:lnTo>
                    <a:lnTo>
                      <a:pt x="936" y="1511"/>
                    </a:lnTo>
                    <a:lnTo>
                      <a:pt x="934" y="1511"/>
                    </a:lnTo>
                    <a:lnTo>
                      <a:pt x="936" y="1515"/>
                    </a:lnTo>
                    <a:lnTo>
                      <a:pt x="934" y="1515"/>
                    </a:lnTo>
                    <a:lnTo>
                      <a:pt x="936" y="1517"/>
                    </a:lnTo>
                    <a:lnTo>
                      <a:pt x="936" y="1515"/>
                    </a:lnTo>
                    <a:lnTo>
                      <a:pt x="936" y="1517"/>
                    </a:lnTo>
                    <a:lnTo>
                      <a:pt x="934" y="1522"/>
                    </a:lnTo>
                    <a:lnTo>
                      <a:pt x="934" y="1526"/>
                    </a:lnTo>
                    <a:lnTo>
                      <a:pt x="932" y="1530"/>
                    </a:lnTo>
                    <a:lnTo>
                      <a:pt x="932" y="1534"/>
                    </a:lnTo>
                    <a:lnTo>
                      <a:pt x="936" y="1538"/>
                    </a:lnTo>
                    <a:lnTo>
                      <a:pt x="936" y="1539"/>
                    </a:lnTo>
                    <a:lnTo>
                      <a:pt x="936" y="1541"/>
                    </a:lnTo>
                    <a:lnTo>
                      <a:pt x="938" y="1543"/>
                    </a:lnTo>
                    <a:lnTo>
                      <a:pt x="938" y="1545"/>
                    </a:lnTo>
                    <a:lnTo>
                      <a:pt x="936" y="1549"/>
                    </a:lnTo>
                    <a:lnTo>
                      <a:pt x="936" y="1551"/>
                    </a:lnTo>
                    <a:lnTo>
                      <a:pt x="938" y="1559"/>
                    </a:lnTo>
                    <a:lnTo>
                      <a:pt x="934" y="1560"/>
                    </a:lnTo>
                    <a:lnTo>
                      <a:pt x="936" y="1560"/>
                    </a:lnTo>
                    <a:lnTo>
                      <a:pt x="934" y="1564"/>
                    </a:lnTo>
                    <a:lnTo>
                      <a:pt x="934" y="1562"/>
                    </a:lnTo>
                    <a:lnTo>
                      <a:pt x="934" y="1566"/>
                    </a:lnTo>
                    <a:lnTo>
                      <a:pt x="934" y="1568"/>
                    </a:lnTo>
                    <a:lnTo>
                      <a:pt x="936" y="1568"/>
                    </a:lnTo>
                    <a:lnTo>
                      <a:pt x="938" y="1570"/>
                    </a:lnTo>
                    <a:lnTo>
                      <a:pt x="940" y="1572"/>
                    </a:lnTo>
                    <a:lnTo>
                      <a:pt x="940" y="1574"/>
                    </a:lnTo>
                    <a:lnTo>
                      <a:pt x="942" y="1576"/>
                    </a:lnTo>
                    <a:lnTo>
                      <a:pt x="944" y="1576"/>
                    </a:lnTo>
                    <a:lnTo>
                      <a:pt x="946" y="1580"/>
                    </a:lnTo>
                    <a:lnTo>
                      <a:pt x="948" y="1581"/>
                    </a:lnTo>
                    <a:lnTo>
                      <a:pt x="946" y="1583"/>
                    </a:lnTo>
                    <a:lnTo>
                      <a:pt x="948" y="1583"/>
                    </a:lnTo>
                    <a:lnTo>
                      <a:pt x="946" y="1585"/>
                    </a:lnTo>
                    <a:lnTo>
                      <a:pt x="948" y="1585"/>
                    </a:lnTo>
                    <a:lnTo>
                      <a:pt x="948" y="1587"/>
                    </a:lnTo>
                    <a:lnTo>
                      <a:pt x="950" y="1589"/>
                    </a:lnTo>
                    <a:lnTo>
                      <a:pt x="953" y="1591"/>
                    </a:lnTo>
                    <a:lnTo>
                      <a:pt x="955" y="1593"/>
                    </a:lnTo>
                    <a:lnTo>
                      <a:pt x="957" y="1595"/>
                    </a:lnTo>
                    <a:lnTo>
                      <a:pt x="959" y="1595"/>
                    </a:lnTo>
                    <a:lnTo>
                      <a:pt x="959" y="1597"/>
                    </a:lnTo>
                    <a:lnTo>
                      <a:pt x="961" y="1597"/>
                    </a:lnTo>
                    <a:lnTo>
                      <a:pt x="961" y="1599"/>
                    </a:lnTo>
                    <a:lnTo>
                      <a:pt x="963" y="1601"/>
                    </a:lnTo>
                    <a:lnTo>
                      <a:pt x="963" y="1604"/>
                    </a:lnTo>
                    <a:lnTo>
                      <a:pt x="965" y="1606"/>
                    </a:lnTo>
                    <a:lnTo>
                      <a:pt x="965" y="1608"/>
                    </a:lnTo>
                    <a:lnTo>
                      <a:pt x="965" y="1610"/>
                    </a:lnTo>
                    <a:lnTo>
                      <a:pt x="967" y="1610"/>
                    </a:lnTo>
                    <a:lnTo>
                      <a:pt x="969" y="1610"/>
                    </a:lnTo>
                    <a:lnTo>
                      <a:pt x="971" y="1612"/>
                    </a:lnTo>
                    <a:lnTo>
                      <a:pt x="973" y="1614"/>
                    </a:lnTo>
                    <a:lnTo>
                      <a:pt x="974" y="1614"/>
                    </a:lnTo>
                    <a:lnTo>
                      <a:pt x="976" y="1610"/>
                    </a:lnTo>
                    <a:lnTo>
                      <a:pt x="974" y="1610"/>
                    </a:lnTo>
                    <a:lnTo>
                      <a:pt x="976" y="1608"/>
                    </a:lnTo>
                    <a:lnTo>
                      <a:pt x="976" y="1610"/>
                    </a:lnTo>
                    <a:lnTo>
                      <a:pt x="976" y="1608"/>
                    </a:lnTo>
                    <a:lnTo>
                      <a:pt x="976" y="1610"/>
                    </a:lnTo>
                    <a:lnTo>
                      <a:pt x="976" y="1608"/>
                    </a:lnTo>
                    <a:lnTo>
                      <a:pt x="978" y="1608"/>
                    </a:lnTo>
                    <a:lnTo>
                      <a:pt x="978" y="1606"/>
                    </a:lnTo>
                    <a:lnTo>
                      <a:pt x="980" y="1606"/>
                    </a:lnTo>
                    <a:lnTo>
                      <a:pt x="978" y="1604"/>
                    </a:lnTo>
                    <a:lnTo>
                      <a:pt x="980" y="1604"/>
                    </a:lnTo>
                    <a:lnTo>
                      <a:pt x="982" y="1602"/>
                    </a:lnTo>
                    <a:lnTo>
                      <a:pt x="982" y="1601"/>
                    </a:lnTo>
                    <a:lnTo>
                      <a:pt x="982" y="1602"/>
                    </a:lnTo>
                    <a:lnTo>
                      <a:pt x="984" y="1602"/>
                    </a:lnTo>
                    <a:lnTo>
                      <a:pt x="984" y="1604"/>
                    </a:lnTo>
                    <a:lnTo>
                      <a:pt x="986" y="1604"/>
                    </a:lnTo>
                    <a:lnTo>
                      <a:pt x="988" y="1606"/>
                    </a:lnTo>
                    <a:lnTo>
                      <a:pt x="988" y="1610"/>
                    </a:lnTo>
                    <a:lnTo>
                      <a:pt x="990" y="1610"/>
                    </a:lnTo>
                    <a:lnTo>
                      <a:pt x="990" y="1608"/>
                    </a:lnTo>
                    <a:lnTo>
                      <a:pt x="992" y="1606"/>
                    </a:lnTo>
                    <a:lnTo>
                      <a:pt x="990" y="1604"/>
                    </a:lnTo>
                    <a:lnTo>
                      <a:pt x="990" y="1602"/>
                    </a:lnTo>
                    <a:lnTo>
                      <a:pt x="988" y="1601"/>
                    </a:lnTo>
                    <a:lnTo>
                      <a:pt x="988" y="1599"/>
                    </a:lnTo>
                    <a:lnTo>
                      <a:pt x="986" y="1599"/>
                    </a:lnTo>
                    <a:lnTo>
                      <a:pt x="988" y="1597"/>
                    </a:lnTo>
                    <a:lnTo>
                      <a:pt x="990" y="1597"/>
                    </a:lnTo>
                    <a:lnTo>
                      <a:pt x="990" y="1595"/>
                    </a:lnTo>
                    <a:lnTo>
                      <a:pt x="988" y="1595"/>
                    </a:lnTo>
                    <a:lnTo>
                      <a:pt x="990" y="1595"/>
                    </a:lnTo>
                    <a:lnTo>
                      <a:pt x="992" y="1593"/>
                    </a:lnTo>
                    <a:lnTo>
                      <a:pt x="992" y="1591"/>
                    </a:lnTo>
                    <a:lnTo>
                      <a:pt x="994" y="1591"/>
                    </a:lnTo>
                    <a:lnTo>
                      <a:pt x="992" y="1591"/>
                    </a:lnTo>
                    <a:lnTo>
                      <a:pt x="994" y="1589"/>
                    </a:lnTo>
                    <a:lnTo>
                      <a:pt x="995" y="1587"/>
                    </a:lnTo>
                    <a:lnTo>
                      <a:pt x="994" y="1587"/>
                    </a:lnTo>
                    <a:lnTo>
                      <a:pt x="995" y="1585"/>
                    </a:lnTo>
                    <a:lnTo>
                      <a:pt x="994" y="1585"/>
                    </a:lnTo>
                    <a:lnTo>
                      <a:pt x="995" y="1583"/>
                    </a:lnTo>
                    <a:lnTo>
                      <a:pt x="994" y="1583"/>
                    </a:lnTo>
                    <a:lnTo>
                      <a:pt x="995" y="1583"/>
                    </a:lnTo>
                    <a:lnTo>
                      <a:pt x="995" y="1581"/>
                    </a:lnTo>
                    <a:lnTo>
                      <a:pt x="994" y="1581"/>
                    </a:lnTo>
                    <a:lnTo>
                      <a:pt x="995" y="1581"/>
                    </a:lnTo>
                    <a:lnTo>
                      <a:pt x="995" y="1580"/>
                    </a:lnTo>
                    <a:lnTo>
                      <a:pt x="994" y="1580"/>
                    </a:lnTo>
                    <a:lnTo>
                      <a:pt x="995" y="1580"/>
                    </a:lnTo>
                    <a:lnTo>
                      <a:pt x="994" y="1580"/>
                    </a:lnTo>
                    <a:lnTo>
                      <a:pt x="994" y="1578"/>
                    </a:lnTo>
                    <a:lnTo>
                      <a:pt x="994" y="1580"/>
                    </a:lnTo>
                    <a:lnTo>
                      <a:pt x="994" y="1578"/>
                    </a:lnTo>
                    <a:lnTo>
                      <a:pt x="992" y="1578"/>
                    </a:lnTo>
                    <a:lnTo>
                      <a:pt x="992" y="1576"/>
                    </a:lnTo>
                    <a:lnTo>
                      <a:pt x="990" y="1576"/>
                    </a:lnTo>
                    <a:lnTo>
                      <a:pt x="992" y="1576"/>
                    </a:lnTo>
                    <a:lnTo>
                      <a:pt x="992" y="1574"/>
                    </a:lnTo>
                    <a:lnTo>
                      <a:pt x="990" y="1574"/>
                    </a:lnTo>
                    <a:lnTo>
                      <a:pt x="992" y="1574"/>
                    </a:lnTo>
                    <a:lnTo>
                      <a:pt x="990" y="1574"/>
                    </a:lnTo>
                    <a:lnTo>
                      <a:pt x="992" y="1574"/>
                    </a:lnTo>
                    <a:lnTo>
                      <a:pt x="990" y="1574"/>
                    </a:lnTo>
                    <a:lnTo>
                      <a:pt x="990" y="1572"/>
                    </a:lnTo>
                    <a:lnTo>
                      <a:pt x="992" y="1572"/>
                    </a:lnTo>
                    <a:lnTo>
                      <a:pt x="992" y="1570"/>
                    </a:lnTo>
                    <a:lnTo>
                      <a:pt x="992" y="1572"/>
                    </a:lnTo>
                    <a:lnTo>
                      <a:pt x="990" y="1572"/>
                    </a:lnTo>
                    <a:lnTo>
                      <a:pt x="992" y="1570"/>
                    </a:lnTo>
                    <a:lnTo>
                      <a:pt x="990" y="1570"/>
                    </a:lnTo>
                    <a:lnTo>
                      <a:pt x="990" y="1568"/>
                    </a:lnTo>
                    <a:lnTo>
                      <a:pt x="988" y="1568"/>
                    </a:lnTo>
                    <a:lnTo>
                      <a:pt x="990" y="1568"/>
                    </a:lnTo>
                    <a:lnTo>
                      <a:pt x="992" y="1568"/>
                    </a:lnTo>
                    <a:lnTo>
                      <a:pt x="992" y="1566"/>
                    </a:lnTo>
                    <a:lnTo>
                      <a:pt x="990" y="1568"/>
                    </a:lnTo>
                    <a:lnTo>
                      <a:pt x="990" y="1566"/>
                    </a:lnTo>
                    <a:lnTo>
                      <a:pt x="988" y="1566"/>
                    </a:lnTo>
                    <a:lnTo>
                      <a:pt x="988" y="1564"/>
                    </a:lnTo>
                    <a:lnTo>
                      <a:pt x="988" y="1562"/>
                    </a:lnTo>
                    <a:lnTo>
                      <a:pt x="988" y="1564"/>
                    </a:lnTo>
                    <a:lnTo>
                      <a:pt x="988" y="1562"/>
                    </a:lnTo>
                    <a:lnTo>
                      <a:pt x="988" y="1560"/>
                    </a:lnTo>
                    <a:lnTo>
                      <a:pt x="990" y="1560"/>
                    </a:lnTo>
                    <a:lnTo>
                      <a:pt x="988" y="1560"/>
                    </a:lnTo>
                    <a:lnTo>
                      <a:pt x="988" y="1559"/>
                    </a:lnTo>
                    <a:lnTo>
                      <a:pt x="988" y="1557"/>
                    </a:lnTo>
                    <a:lnTo>
                      <a:pt x="988" y="1555"/>
                    </a:lnTo>
                    <a:lnTo>
                      <a:pt x="986" y="1555"/>
                    </a:lnTo>
                    <a:lnTo>
                      <a:pt x="988" y="1555"/>
                    </a:lnTo>
                    <a:lnTo>
                      <a:pt x="986" y="1555"/>
                    </a:lnTo>
                    <a:lnTo>
                      <a:pt x="986" y="1553"/>
                    </a:lnTo>
                    <a:lnTo>
                      <a:pt x="988" y="1553"/>
                    </a:lnTo>
                    <a:lnTo>
                      <a:pt x="986" y="1553"/>
                    </a:lnTo>
                    <a:lnTo>
                      <a:pt x="988" y="1551"/>
                    </a:lnTo>
                    <a:lnTo>
                      <a:pt x="986" y="1551"/>
                    </a:lnTo>
                    <a:lnTo>
                      <a:pt x="988" y="1551"/>
                    </a:lnTo>
                    <a:lnTo>
                      <a:pt x="988" y="1553"/>
                    </a:lnTo>
                    <a:lnTo>
                      <a:pt x="990" y="1551"/>
                    </a:lnTo>
                    <a:lnTo>
                      <a:pt x="988" y="1551"/>
                    </a:lnTo>
                    <a:lnTo>
                      <a:pt x="988" y="1549"/>
                    </a:lnTo>
                    <a:lnTo>
                      <a:pt x="986" y="1551"/>
                    </a:lnTo>
                    <a:lnTo>
                      <a:pt x="986" y="1549"/>
                    </a:lnTo>
                    <a:lnTo>
                      <a:pt x="988" y="1549"/>
                    </a:lnTo>
                    <a:lnTo>
                      <a:pt x="986" y="1551"/>
                    </a:lnTo>
                    <a:lnTo>
                      <a:pt x="988" y="1549"/>
                    </a:lnTo>
                    <a:lnTo>
                      <a:pt x="986" y="1549"/>
                    </a:lnTo>
                    <a:lnTo>
                      <a:pt x="988" y="1549"/>
                    </a:lnTo>
                    <a:lnTo>
                      <a:pt x="988" y="1547"/>
                    </a:lnTo>
                    <a:lnTo>
                      <a:pt x="986" y="1547"/>
                    </a:lnTo>
                    <a:lnTo>
                      <a:pt x="988" y="1547"/>
                    </a:lnTo>
                    <a:lnTo>
                      <a:pt x="986" y="1547"/>
                    </a:lnTo>
                    <a:lnTo>
                      <a:pt x="988" y="1547"/>
                    </a:lnTo>
                    <a:lnTo>
                      <a:pt x="986" y="1547"/>
                    </a:lnTo>
                    <a:lnTo>
                      <a:pt x="986" y="1545"/>
                    </a:lnTo>
                    <a:lnTo>
                      <a:pt x="986" y="1543"/>
                    </a:lnTo>
                    <a:lnTo>
                      <a:pt x="988" y="1543"/>
                    </a:lnTo>
                    <a:lnTo>
                      <a:pt x="986" y="1543"/>
                    </a:lnTo>
                    <a:lnTo>
                      <a:pt x="986" y="1541"/>
                    </a:lnTo>
                    <a:lnTo>
                      <a:pt x="986" y="1543"/>
                    </a:lnTo>
                    <a:lnTo>
                      <a:pt x="988" y="1543"/>
                    </a:lnTo>
                    <a:lnTo>
                      <a:pt x="988" y="1541"/>
                    </a:lnTo>
                    <a:lnTo>
                      <a:pt x="984" y="1541"/>
                    </a:lnTo>
                    <a:lnTo>
                      <a:pt x="986" y="1541"/>
                    </a:lnTo>
                    <a:lnTo>
                      <a:pt x="988" y="1541"/>
                    </a:lnTo>
                    <a:lnTo>
                      <a:pt x="986" y="1541"/>
                    </a:lnTo>
                    <a:lnTo>
                      <a:pt x="986" y="1539"/>
                    </a:lnTo>
                    <a:lnTo>
                      <a:pt x="988" y="1539"/>
                    </a:lnTo>
                    <a:lnTo>
                      <a:pt x="986" y="1539"/>
                    </a:lnTo>
                    <a:lnTo>
                      <a:pt x="986" y="1538"/>
                    </a:lnTo>
                    <a:lnTo>
                      <a:pt x="984" y="1538"/>
                    </a:lnTo>
                    <a:lnTo>
                      <a:pt x="986" y="1538"/>
                    </a:lnTo>
                    <a:lnTo>
                      <a:pt x="984" y="1538"/>
                    </a:lnTo>
                    <a:lnTo>
                      <a:pt x="986" y="1538"/>
                    </a:lnTo>
                    <a:lnTo>
                      <a:pt x="986" y="1536"/>
                    </a:lnTo>
                    <a:lnTo>
                      <a:pt x="984" y="1536"/>
                    </a:lnTo>
                    <a:lnTo>
                      <a:pt x="982" y="1536"/>
                    </a:lnTo>
                    <a:lnTo>
                      <a:pt x="984" y="1536"/>
                    </a:lnTo>
                    <a:lnTo>
                      <a:pt x="984" y="1534"/>
                    </a:lnTo>
                    <a:lnTo>
                      <a:pt x="982" y="1534"/>
                    </a:lnTo>
                    <a:lnTo>
                      <a:pt x="984" y="1534"/>
                    </a:lnTo>
                    <a:lnTo>
                      <a:pt x="982" y="1536"/>
                    </a:lnTo>
                    <a:lnTo>
                      <a:pt x="982" y="1534"/>
                    </a:lnTo>
                    <a:lnTo>
                      <a:pt x="982" y="1536"/>
                    </a:lnTo>
                    <a:lnTo>
                      <a:pt x="982" y="1534"/>
                    </a:lnTo>
                    <a:lnTo>
                      <a:pt x="980" y="1534"/>
                    </a:lnTo>
                    <a:lnTo>
                      <a:pt x="982" y="1534"/>
                    </a:lnTo>
                    <a:lnTo>
                      <a:pt x="980" y="1532"/>
                    </a:lnTo>
                    <a:lnTo>
                      <a:pt x="982" y="1532"/>
                    </a:lnTo>
                    <a:lnTo>
                      <a:pt x="980" y="1532"/>
                    </a:lnTo>
                    <a:lnTo>
                      <a:pt x="980" y="1530"/>
                    </a:lnTo>
                    <a:lnTo>
                      <a:pt x="978" y="1530"/>
                    </a:lnTo>
                    <a:lnTo>
                      <a:pt x="980" y="1528"/>
                    </a:lnTo>
                    <a:lnTo>
                      <a:pt x="978" y="1528"/>
                    </a:lnTo>
                    <a:lnTo>
                      <a:pt x="980" y="1528"/>
                    </a:lnTo>
                    <a:lnTo>
                      <a:pt x="978" y="1528"/>
                    </a:lnTo>
                    <a:lnTo>
                      <a:pt x="980" y="1528"/>
                    </a:lnTo>
                    <a:lnTo>
                      <a:pt x="980" y="1526"/>
                    </a:lnTo>
                    <a:lnTo>
                      <a:pt x="978" y="1526"/>
                    </a:lnTo>
                    <a:lnTo>
                      <a:pt x="980" y="1526"/>
                    </a:lnTo>
                    <a:lnTo>
                      <a:pt x="978" y="1526"/>
                    </a:lnTo>
                    <a:lnTo>
                      <a:pt x="980" y="1526"/>
                    </a:lnTo>
                    <a:lnTo>
                      <a:pt x="978" y="1526"/>
                    </a:lnTo>
                    <a:lnTo>
                      <a:pt x="978" y="1524"/>
                    </a:lnTo>
                    <a:lnTo>
                      <a:pt x="978" y="1522"/>
                    </a:lnTo>
                    <a:lnTo>
                      <a:pt x="976" y="1522"/>
                    </a:lnTo>
                    <a:lnTo>
                      <a:pt x="974" y="1522"/>
                    </a:lnTo>
                    <a:lnTo>
                      <a:pt x="976" y="1522"/>
                    </a:lnTo>
                    <a:lnTo>
                      <a:pt x="978" y="1520"/>
                    </a:lnTo>
                    <a:lnTo>
                      <a:pt x="980" y="1518"/>
                    </a:lnTo>
                    <a:lnTo>
                      <a:pt x="982" y="1518"/>
                    </a:lnTo>
                    <a:lnTo>
                      <a:pt x="984" y="1518"/>
                    </a:lnTo>
                    <a:lnTo>
                      <a:pt x="988" y="1517"/>
                    </a:lnTo>
                    <a:lnTo>
                      <a:pt x="990" y="1515"/>
                    </a:lnTo>
                    <a:lnTo>
                      <a:pt x="992" y="1515"/>
                    </a:lnTo>
                    <a:lnTo>
                      <a:pt x="994" y="1513"/>
                    </a:lnTo>
                    <a:lnTo>
                      <a:pt x="997" y="1511"/>
                    </a:lnTo>
                    <a:lnTo>
                      <a:pt x="999" y="1509"/>
                    </a:lnTo>
                    <a:lnTo>
                      <a:pt x="1001" y="1507"/>
                    </a:lnTo>
                    <a:lnTo>
                      <a:pt x="1005" y="1505"/>
                    </a:lnTo>
                    <a:lnTo>
                      <a:pt x="1007" y="1505"/>
                    </a:lnTo>
                    <a:lnTo>
                      <a:pt x="1007" y="1503"/>
                    </a:lnTo>
                    <a:lnTo>
                      <a:pt x="1009" y="1501"/>
                    </a:lnTo>
                    <a:lnTo>
                      <a:pt x="1011" y="1501"/>
                    </a:lnTo>
                    <a:lnTo>
                      <a:pt x="1014" y="1496"/>
                    </a:lnTo>
                    <a:lnTo>
                      <a:pt x="1016" y="1494"/>
                    </a:lnTo>
                    <a:lnTo>
                      <a:pt x="1018" y="1492"/>
                    </a:lnTo>
                    <a:lnTo>
                      <a:pt x="1016" y="1492"/>
                    </a:lnTo>
                    <a:lnTo>
                      <a:pt x="1016" y="1494"/>
                    </a:lnTo>
                    <a:lnTo>
                      <a:pt x="1018" y="1492"/>
                    </a:lnTo>
                    <a:lnTo>
                      <a:pt x="1018" y="1490"/>
                    </a:lnTo>
                    <a:lnTo>
                      <a:pt x="1020" y="1490"/>
                    </a:lnTo>
                    <a:lnTo>
                      <a:pt x="1020" y="1488"/>
                    </a:lnTo>
                    <a:lnTo>
                      <a:pt x="1020" y="1486"/>
                    </a:lnTo>
                    <a:lnTo>
                      <a:pt x="1022" y="1486"/>
                    </a:lnTo>
                    <a:lnTo>
                      <a:pt x="1022" y="1484"/>
                    </a:lnTo>
                    <a:lnTo>
                      <a:pt x="1024" y="1484"/>
                    </a:lnTo>
                    <a:lnTo>
                      <a:pt x="1024" y="1482"/>
                    </a:lnTo>
                    <a:lnTo>
                      <a:pt x="1024" y="1480"/>
                    </a:lnTo>
                    <a:lnTo>
                      <a:pt x="1024" y="1478"/>
                    </a:lnTo>
                    <a:lnTo>
                      <a:pt x="1024" y="1477"/>
                    </a:lnTo>
                    <a:lnTo>
                      <a:pt x="1026" y="1475"/>
                    </a:lnTo>
                    <a:lnTo>
                      <a:pt x="1026" y="1473"/>
                    </a:lnTo>
                    <a:lnTo>
                      <a:pt x="1026" y="1471"/>
                    </a:lnTo>
                    <a:lnTo>
                      <a:pt x="1026" y="1469"/>
                    </a:lnTo>
                    <a:lnTo>
                      <a:pt x="1026" y="1465"/>
                    </a:lnTo>
                    <a:lnTo>
                      <a:pt x="1026" y="1457"/>
                    </a:lnTo>
                    <a:lnTo>
                      <a:pt x="1026" y="1454"/>
                    </a:lnTo>
                    <a:lnTo>
                      <a:pt x="1026" y="1452"/>
                    </a:lnTo>
                    <a:lnTo>
                      <a:pt x="1026" y="1450"/>
                    </a:lnTo>
                    <a:lnTo>
                      <a:pt x="1024" y="1446"/>
                    </a:lnTo>
                    <a:lnTo>
                      <a:pt x="1024" y="1444"/>
                    </a:lnTo>
                    <a:lnTo>
                      <a:pt x="1024" y="1442"/>
                    </a:lnTo>
                    <a:lnTo>
                      <a:pt x="1022" y="1442"/>
                    </a:lnTo>
                    <a:lnTo>
                      <a:pt x="1020" y="1436"/>
                    </a:lnTo>
                    <a:lnTo>
                      <a:pt x="1022" y="1436"/>
                    </a:lnTo>
                    <a:lnTo>
                      <a:pt x="1018" y="1431"/>
                    </a:lnTo>
                    <a:lnTo>
                      <a:pt x="1018" y="1429"/>
                    </a:lnTo>
                    <a:lnTo>
                      <a:pt x="1018" y="1427"/>
                    </a:lnTo>
                    <a:lnTo>
                      <a:pt x="1016" y="1427"/>
                    </a:lnTo>
                    <a:lnTo>
                      <a:pt x="1016" y="1425"/>
                    </a:lnTo>
                    <a:lnTo>
                      <a:pt x="1014" y="1425"/>
                    </a:lnTo>
                    <a:lnTo>
                      <a:pt x="1014" y="1423"/>
                    </a:lnTo>
                    <a:lnTo>
                      <a:pt x="1013" y="1423"/>
                    </a:lnTo>
                    <a:lnTo>
                      <a:pt x="1013" y="1421"/>
                    </a:lnTo>
                    <a:lnTo>
                      <a:pt x="1011" y="1421"/>
                    </a:lnTo>
                    <a:lnTo>
                      <a:pt x="1013" y="1421"/>
                    </a:lnTo>
                    <a:lnTo>
                      <a:pt x="1011" y="1419"/>
                    </a:lnTo>
                    <a:lnTo>
                      <a:pt x="1011" y="1417"/>
                    </a:lnTo>
                    <a:lnTo>
                      <a:pt x="1011" y="1419"/>
                    </a:lnTo>
                    <a:lnTo>
                      <a:pt x="1009" y="1419"/>
                    </a:lnTo>
                    <a:lnTo>
                      <a:pt x="1011" y="1417"/>
                    </a:lnTo>
                    <a:lnTo>
                      <a:pt x="1009" y="1417"/>
                    </a:lnTo>
                    <a:lnTo>
                      <a:pt x="1007" y="1417"/>
                    </a:lnTo>
                    <a:lnTo>
                      <a:pt x="1007" y="1415"/>
                    </a:lnTo>
                    <a:lnTo>
                      <a:pt x="1005" y="1415"/>
                    </a:lnTo>
                    <a:lnTo>
                      <a:pt x="1003" y="1415"/>
                    </a:lnTo>
                    <a:lnTo>
                      <a:pt x="1003" y="1414"/>
                    </a:lnTo>
                    <a:lnTo>
                      <a:pt x="1001" y="1414"/>
                    </a:lnTo>
                    <a:lnTo>
                      <a:pt x="1003" y="1414"/>
                    </a:lnTo>
                    <a:lnTo>
                      <a:pt x="1001" y="1414"/>
                    </a:lnTo>
                    <a:lnTo>
                      <a:pt x="1001" y="1412"/>
                    </a:lnTo>
                    <a:lnTo>
                      <a:pt x="999" y="1410"/>
                    </a:lnTo>
                    <a:lnTo>
                      <a:pt x="997" y="1410"/>
                    </a:lnTo>
                    <a:lnTo>
                      <a:pt x="997" y="1408"/>
                    </a:lnTo>
                    <a:lnTo>
                      <a:pt x="997" y="1410"/>
                    </a:lnTo>
                    <a:lnTo>
                      <a:pt x="997" y="1408"/>
                    </a:lnTo>
                    <a:lnTo>
                      <a:pt x="997" y="1406"/>
                    </a:lnTo>
                    <a:lnTo>
                      <a:pt x="995" y="1408"/>
                    </a:lnTo>
                    <a:lnTo>
                      <a:pt x="995" y="1406"/>
                    </a:lnTo>
                    <a:lnTo>
                      <a:pt x="995" y="1408"/>
                    </a:lnTo>
                    <a:lnTo>
                      <a:pt x="997" y="1408"/>
                    </a:lnTo>
                    <a:lnTo>
                      <a:pt x="997" y="1410"/>
                    </a:lnTo>
                    <a:lnTo>
                      <a:pt x="995" y="1410"/>
                    </a:lnTo>
                    <a:lnTo>
                      <a:pt x="995" y="1408"/>
                    </a:lnTo>
                    <a:lnTo>
                      <a:pt x="995" y="1406"/>
                    </a:lnTo>
                    <a:lnTo>
                      <a:pt x="994" y="1406"/>
                    </a:lnTo>
                    <a:lnTo>
                      <a:pt x="995" y="1406"/>
                    </a:lnTo>
                    <a:lnTo>
                      <a:pt x="995" y="1404"/>
                    </a:lnTo>
                    <a:lnTo>
                      <a:pt x="994" y="1404"/>
                    </a:lnTo>
                    <a:lnTo>
                      <a:pt x="995" y="1404"/>
                    </a:lnTo>
                    <a:lnTo>
                      <a:pt x="994" y="1402"/>
                    </a:lnTo>
                    <a:lnTo>
                      <a:pt x="995" y="1402"/>
                    </a:lnTo>
                    <a:lnTo>
                      <a:pt x="995" y="1400"/>
                    </a:lnTo>
                    <a:lnTo>
                      <a:pt x="994" y="1400"/>
                    </a:lnTo>
                    <a:lnTo>
                      <a:pt x="994" y="1398"/>
                    </a:lnTo>
                    <a:lnTo>
                      <a:pt x="995" y="1396"/>
                    </a:lnTo>
                    <a:lnTo>
                      <a:pt x="994" y="1400"/>
                    </a:lnTo>
                    <a:lnTo>
                      <a:pt x="995" y="1400"/>
                    </a:lnTo>
                    <a:lnTo>
                      <a:pt x="995" y="1398"/>
                    </a:lnTo>
                    <a:lnTo>
                      <a:pt x="995" y="1400"/>
                    </a:lnTo>
                    <a:lnTo>
                      <a:pt x="995" y="1398"/>
                    </a:lnTo>
                    <a:lnTo>
                      <a:pt x="997" y="1398"/>
                    </a:lnTo>
                    <a:lnTo>
                      <a:pt x="999" y="1396"/>
                    </a:lnTo>
                    <a:lnTo>
                      <a:pt x="997" y="1396"/>
                    </a:lnTo>
                    <a:lnTo>
                      <a:pt x="999" y="1396"/>
                    </a:lnTo>
                    <a:lnTo>
                      <a:pt x="997" y="1394"/>
                    </a:lnTo>
                    <a:lnTo>
                      <a:pt x="999" y="1393"/>
                    </a:lnTo>
                    <a:lnTo>
                      <a:pt x="999" y="1394"/>
                    </a:lnTo>
                    <a:lnTo>
                      <a:pt x="999" y="1393"/>
                    </a:lnTo>
                    <a:lnTo>
                      <a:pt x="1001" y="1393"/>
                    </a:lnTo>
                    <a:lnTo>
                      <a:pt x="999" y="1391"/>
                    </a:lnTo>
                    <a:lnTo>
                      <a:pt x="1001" y="1391"/>
                    </a:lnTo>
                    <a:lnTo>
                      <a:pt x="1001" y="1389"/>
                    </a:lnTo>
                    <a:lnTo>
                      <a:pt x="1003" y="1389"/>
                    </a:lnTo>
                    <a:lnTo>
                      <a:pt x="1003" y="1387"/>
                    </a:lnTo>
                    <a:lnTo>
                      <a:pt x="1005" y="1387"/>
                    </a:lnTo>
                    <a:lnTo>
                      <a:pt x="1005" y="1385"/>
                    </a:lnTo>
                    <a:lnTo>
                      <a:pt x="1005" y="1387"/>
                    </a:lnTo>
                    <a:lnTo>
                      <a:pt x="1005" y="1385"/>
                    </a:lnTo>
                    <a:lnTo>
                      <a:pt x="1007" y="1385"/>
                    </a:lnTo>
                    <a:lnTo>
                      <a:pt x="1005" y="1385"/>
                    </a:lnTo>
                    <a:lnTo>
                      <a:pt x="1007" y="1385"/>
                    </a:lnTo>
                    <a:lnTo>
                      <a:pt x="1005" y="1383"/>
                    </a:lnTo>
                    <a:lnTo>
                      <a:pt x="1007" y="1383"/>
                    </a:lnTo>
                    <a:lnTo>
                      <a:pt x="1007" y="1385"/>
                    </a:lnTo>
                    <a:lnTo>
                      <a:pt x="1007" y="1383"/>
                    </a:lnTo>
                    <a:lnTo>
                      <a:pt x="1009" y="1383"/>
                    </a:lnTo>
                    <a:lnTo>
                      <a:pt x="1007" y="1383"/>
                    </a:lnTo>
                    <a:lnTo>
                      <a:pt x="1005" y="1383"/>
                    </a:lnTo>
                    <a:lnTo>
                      <a:pt x="1003" y="1383"/>
                    </a:lnTo>
                    <a:lnTo>
                      <a:pt x="1005" y="1383"/>
                    </a:lnTo>
                    <a:lnTo>
                      <a:pt x="1005" y="1381"/>
                    </a:lnTo>
                    <a:lnTo>
                      <a:pt x="1005" y="1379"/>
                    </a:lnTo>
                    <a:lnTo>
                      <a:pt x="1007" y="1379"/>
                    </a:lnTo>
                    <a:lnTo>
                      <a:pt x="1007" y="1377"/>
                    </a:lnTo>
                    <a:lnTo>
                      <a:pt x="1007" y="1375"/>
                    </a:lnTo>
                    <a:lnTo>
                      <a:pt x="1005" y="1373"/>
                    </a:lnTo>
                    <a:lnTo>
                      <a:pt x="1007" y="1373"/>
                    </a:lnTo>
                    <a:lnTo>
                      <a:pt x="1009" y="1373"/>
                    </a:lnTo>
                    <a:lnTo>
                      <a:pt x="1009" y="1375"/>
                    </a:lnTo>
                    <a:lnTo>
                      <a:pt x="1009" y="1373"/>
                    </a:lnTo>
                    <a:lnTo>
                      <a:pt x="1011" y="1375"/>
                    </a:lnTo>
                    <a:lnTo>
                      <a:pt x="1011" y="1373"/>
                    </a:lnTo>
                    <a:lnTo>
                      <a:pt x="1011" y="1372"/>
                    </a:lnTo>
                    <a:lnTo>
                      <a:pt x="1013" y="1370"/>
                    </a:lnTo>
                    <a:lnTo>
                      <a:pt x="1013" y="1372"/>
                    </a:lnTo>
                    <a:lnTo>
                      <a:pt x="1013" y="1370"/>
                    </a:lnTo>
                    <a:lnTo>
                      <a:pt x="1014" y="1370"/>
                    </a:lnTo>
                    <a:lnTo>
                      <a:pt x="1013" y="1370"/>
                    </a:lnTo>
                    <a:lnTo>
                      <a:pt x="1014" y="1370"/>
                    </a:lnTo>
                    <a:lnTo>
                      <a:pt x="1013" y="1370"/>
                    </a:lnTo>
                    <a:lnTo>
                      <a:pt x="1014" y="1370"/>
                    </a:lnTo>
                    <a:lnTo>
                      <a:pt x="1013" y="1368"/>
                    </a:lnTo>
                    <a:lnTo>
                      <a:pt x="1011" y="1366"/>
                    </a:lnTo>
                    <a:lnTo>
                      <a:pt x="1013" y="1366"/>
                    </a:lnTo>
                    <a:lnTo>
                      <a:pt x="1014" y="1366"/>
                    </a:lnTo>
                    <a:lnTo>
                      <a:pt x="1013" y="1366"/>
                    </a:lnTo>
                    <a:lnTo>
                      <a:pt x="1014" y="1366"/>
                    </a:lnTo>
                    <a:lnTo>
                      <a:pt x="1014" y="1364"/>
                    </a:lnTo>
                    <a:lnTo>
                      <a:pt x="1013" y="1362"/>
                    </a:lnTo>
                    <a:lnTo>
                      <a:pt x="1011" y="1362"/>
                    </a:lnTo>
                    <a:lnTo>
                      <a:pt x="1009" y="1362"/>
                    </a:lnTo>
                    <a:lnTo>
                      <a:pt x="1009" y="1360"/>
                    </a:lnTo>
                    <a:lnTo>
                      <a:pt x="1011" y="1360"/>
                    </a:lnTo>
                    <a:lnTo>
                      <a:pt x="1013" y="1360"/>
                    </a:lnTo>
                    <a:lnTo>
                      <a:pt x="1011" y="1360"/>
                    </a:lnTo>
                    <a:lnTo>
                      <a:pt x="1011" y="1358"/>
                    </a:lnTo>
                    <a:lnTo>
                      <a:pt x="1011" y="1356"/>
                    </a:lnTo>
                    <a:lnTo>
                      <a:pt x="1009" y="1356"/>
                    </a:lnTo>
                    <a:lnTo>
                      <a:pt x="1011" y="1354"/>
                    </a:lnTo>
                    <a:lnTo>
                      <a:pt x="1009" y="1354"/>
                    </a:lnTo>
                    <a:lnTo>
                      <a:pt x="1009" y="1352"/>
                    </a:lnTo>
                    <a:lnTo>
                      <a:pt x="1007" y="1352"/>
                    </a:lnTo>
                    <a:lnTo>
                      <a:pt x="1007" y="1351"/>
                    </a:lnTo>
                    <a:lnTo>
                      <a:pt x="1007" y="1349"/>
                    </a:lnTo>
                    <a:lnTo>
                      <a:pt x="1009" y="1349"/>
                    </a:lnTo>
                    <a:lnTo>
                      <a:pt x="1009" y="1347"/>
                    </a:lnTo>
                    <a:lnTo>
                      <a:pt x="1011" y="1347"/>
                    </a:lnTo>
                    <a:lnTo>
                      <a:pt x="1009" y="1345"/>
                    </a:lnTo>
                    <a:lnTo>
                      <a:pt x="1009" y="1347"/>
                    </a:lnTo>
                    <a:lnTo>
                      <a:pt x="1007" y="1345"/>
                    </a:lnTo>
                    <a:lnTo>
                      <a:pt x="1005" y="1343"/>
                    </a:lnTo>
                    <a:lnTo>
                      <a:pt x="1007" y="1341"/>
                    </a:lnTo>
                    <a:lnTo>
                      <a:pt x="1009" y="1339"/>
                    </a:lnTo>
                    <a:lnTo>
                      <a:pt x="1007" y="1339"/>
                    </a:lnTo>
                    <a:lnTo>
                      <a:pt x="1009" y="1339"/>
                    </a:lnTo>
                    <a:lnTo>
                      <a:pt x="1007" y="1339"/>
                    </a:lnTo>
                    <a:lnTo>
                      <a:pt x="1011" y="1337"/>
                    </a:lnTo>
                    <a:lnTo>
                      <a:pt x="1005" y="1339"/>
                    </a:lnTo>
                    <a:lnTo>
                      <a:pt x="1005" y="1337"/>
                    </a:lnTo>
                    <a:lnTo>
                      <a:pt x="1003" y="1339"/>
                    </a:lnTo>
                    <a:lnTo>
                      <a:pt x="1001" y="1337"/>
                    </a:lnTo>
                    <a:lnTo>
                      <a:pt x="999" y="1339"/>
                    </a:lnTo>
                    <a:lnTo>
                      <a:pt x="999" y="1337"/>
                    </a:lnTo>
                    <a:lnTo>
                      <a:pt x="1001" y="1337"/>
                    </a:lnTo>
                    <a:lnTo>
                      <a:pt x="999" y="1337"/>
                    </a:lnTo>
                    <a:lnTo>
                      <a:pt x="999" y="1335"/>
                    </a:lnTo>
                    <a:lnTo>
                      <a:pt x="1001" y="1333"/>
                    </a:lnTo>
                    <a:lnTo>
                      <a:pt x="1003" y="1333"/>
                    </a:lnTo>
                    <a:lnTo>
                      <a:pt x="1003" y="1331"/>
                    </a:lnTo>
                    <a:lnTo>
                      <a:pt x="1005" y="1330"/>
                    </a:lnTo>
                    <a:lnTo>
                      <a:pt x="1005" y="1326"/>
                    </a:lnTo>
                    <a:lnTo>
                      <a:pt x="1007" y="1326"/>
                    </a:lnTo>
                    <a:lnTo>
                      <a:pt x="1007" y="1324"/>
                    </a:lnTo>
                    <a:lnTo>
                      <a:pt x="1007" y="1322"/>
                    </a:lnTo>
                    <a:lnTo>
                      <a:pt x="1007" y="1320"/>
                    </a:lnTo>
                    <a:lnTo>
                      <a:pt x="1007" y="1318"/>
                    </a:lnTo>
                    <a:lnTo>
                      <a:pt x="1007" y="1316"/>
                    </a:lnTo>
                    <a:lnTo>
                      <a:pt x="1007" y="1318"/>
                    </a:lnTo>
                    <a:lnTo>
                      <a:pt x="1009" y="1318"/>
                    </a:lnTo>
                    <a:lnTo>
                      <a:pt x="1007" y="1318"/>
                    </a:lnTo>
                    <a:lnTo>
                      <a:pt x="1009" y="1316"/>
                    </a:lnTo>
                    <a:lnTo>
                      <a:pt x="1007" y="1316"/>
                    </a:lnTo>
                    <a:lnTo>
                      <a:pt x="1009" y="1316"/>
                    </a:lnTo>
                    <a:lnTo>
                      <a:pt x="1011" y="1316"/>
                    </a:lnTo>
                    <a:lnTo>
                      <a:pt x="1009" y="1314"/>
                    </a:lnTo>
                    <a:lnTo>
                      <a:pt x="1007" y="1314"/>
                    </a:lnTo>
                    <a:lnTo>
                      <a:pt x="1009" y="1314"/>
                    </a:lnTo>
                    <a:lnTo>
                      <a:pt x="1009" y="1312"/>
                    </a:lnTo>
                    <a:lnTo>
                      <a:pt x="1011" y="1314"/>
                    </a:lnTo>
                    <a:lnTo>
                      <a:pt x="1011" y="1312"/>
                    </a:lnTo>
                    <a:lnTo>
                      <a:pt x="1011" y="1314"/>
                    </a:lnTo>
                    <a:lnTo>
                      <a:pt x="1011" y="1312"/>
                    </a:lnTo>
                    <a:lnTo>
                      <a:pt x="1009" y="1312"/>
                    </a:lnTo>
                    <a:lnTo>
                      <a:pt x="1011" y="1312"/>
                    </a:lnTo>
                    <a:lnTo>
                      <a:pt x="1009" y="1312"/>
                    </a:lnTo>
                    <a:lnTo>
                      <a:pt x="1007" y="1312"/>
                    </a:lnTo>
                    <a:lnTo>
                      <a:pt x="1007" y="1311"/>
                    </a:lnTo>
                    <a:lnTo>
                      <a:pt x="1007" y="1309"/>
                    </a:lnTo>
                    <a:lnTo>
                      <a:pt x="1003" y="1309"/>
                    </a:lnTo>
                    <a:lnTo>
                      <a:pt x="1003" y="1305"/>
                    </a:lnTo>
                    <a:lnTo>
                      <a:pt x="1001" y="1303"/>
                    </a:lnTo>
                    <a:lnTo>
                      <a:pt x="1001" y="1301"/>
                    </a:lnTo>
                    <a:lnTo>
                      <a:pt x="1001" y="1297"/>
                    </a:lnTo>
                    <a:lnTo>
                      <a:pt x="1001" y="1293"/>
                    </a:lnTo>
                    <a:lnTo>
                      <a:pt x="999" y="1293"/>
                    </a:lnTo>
                    <a:lnTo>
                      <a:pt x="1001" y="1293"/>
                    </a:lnTo>
                    <a:lnTo>
                      <a:pt x="1001" y="1291"/>
                    </a:lnTo>
                    <a:lnTo>
                      <a:pt x="1001" y="1288"/>
                    </a:lnTo>
                    <a:lnTo>
                      <a:pt x="1001" y="1290"/>
                    </a:lnTo>
                    <a:lnTo>
                      <a:pt x="999" y="1290"/>
                    </a:lnTo>
                    <a:lnTo>
                      <a:pt x="1001" y="1288"/>
                    </a:lnTo>
                    <a:lnTo>
                      <a:pt x="1001" y="1286"/>
                    </a:lnTo>
                    <a:lnTo>
                      <a:pt x="1003" y="1286"/>
                    </a:lnTo>
                    <a:lnTo>
                      <a:pt x="1003" y="1284"/>
                    </a:lnTo>
                    <a:lnTo>
                      <a:pt x="1003" y="1286"/>
                    </a:lnTo>
                    <a:lnTo>
                      <a:pt x="1005" y="1286"/>
                    </a:lnTo>
                    <a:lnTo>
                      <a:pt x="1005" y="1284"/>
                    </a:lnTo>
                    <a:lnTo>
                      <a:pt x="1007" y="1282"/>
                    </a:lnTo>
                    <a:lnTo>
                      <a:pt x="1009" y="1280"/>
                    </a:lnTo>
                    <a:lnTo>
                      <a:pt x="1011" y="1280"/>
                    </a:lnTo>
                    <a:lnTo>
                      <a:pt x="1011" y="1278"/>
                    </a:lnTo>
                    <a:lnTo>
                      <a:pt x="1013" y="1278"/>
                    </a:lnTo>
                    <a:lnTo>
                      <a:pt x="1013" y="1280"/>
                    </a:lnTo>
                    <a:lnTo>
                      <a:pt x="1013" y="1278"/>
                    </a:lnTo>
                    <a:lnTo>
                      <a:pt x="1014" y="1280"/>
                    </a:lnTo>
                    <a:lnTo>
                      <a:pt x="1014" y="1278"/>
                    </a:lnTo>
                    <a:lnTo>
                      <a:pt x="1016" y="1280"/>
                    </a:lnTo>
                    <a:lnTo>
                      <a:pt x="1018" y="1280"/>
                    </a:lnTo>
                    <a:lnTo>
                      <a:pt x="1018" y="1282"/>
                    </a:lnTo>
                    <a:lnTo>
                      <a:pt x="1018" y="1280"/>
                    </a:lnTo>
                    <a:lnTo>
                      <a:pt x="1020" y="1280"/>
                    </a:lnTo>
                    <a:lnTo>
                      <a:pt x="1020" y="1282"/>
                    </a:lnTo>
                    <a:lnTo>
                      <a:pt x="1020" y="1280"/>
                    </a:lnTo>
                    <a:lnTo>
                      <a:pt x="1022" y="1280"/>
                    </a:lnTo>
                    <a:lnTo>
                      <a:pt x="1022" y="1282"/>
                    </a:lnTo>
                    <a:lnTo>
                      <a:pt x="1024" y="1280"/>
                    </a:lnTo>
                    <a:lnTo>
                      <a:pt x="1024" y="1282"/>
                    </a:lnTo>
                    <a:lnTo>
                      <a:pt x="1024" y="1284"/>
                    </a:lnTo>
                    <a:lnTo>
                      <a:pt x="1024" y="1282"/>
                    </a:lnTo>
                    <a:lnTo>
                      <a:pt x="1026" y="1282"/>
                    </a:lnTo>
                    <a:lnTo>
                      <a:pt x="1026" y="1284"/>
                    </a:lnTo>
                    <a:lnTo>
                      <a:pt x="1026" y="1282"/>
                    </a:lnTo>
                    <a:lnTo>
                      <a:pt x="1026" y="1284"/>
                    </a:lnTo>
                    <a:lnTo>
                      <a:pt x="1026" y="1282"/>
                    </a:lnTo>
                    <a:lnTo>
                      <a:pt x="1028" y="1282"/>
                    </a:lnTo>
                    <a:lnTo>
                      <a:pt x="1028" y="1284"/>
                    </a:lnTo>
                    <a:lnTo>
                      <a:pt x="1030" y="1284"/>
                    </a:lnTo>
                    <a:lnTo>
                      <a:pt x="1032" y="1284"/>
                    </a:lnTo>
                    <a:lnTo>
                      <a:pt x="1034" y="1286"/>
                    </a:lnTo>
                    <a:lnTo>
                      <a:pt x="1034" y="1288"/>
                    </a:lnTo>
                    <a:lnTo>
                      <a:pt x="1034" y="1286"/>
                    </a:lnTo>
                    <a:lnTo>
                      <a:pt x="1035" y="1288"/>
                    </a:lnTo>
                    <a:lnTo>
                      <a:pt x="1035" y="1286"/>
                    </a:lnTo>
                    <a:lnTo>
                      <a:pt x="1037" y="1288"/>
                    </a:lnTo>
                    <a:lnTo>
                      <a:pt x="1041" y="1290"/>
                    </a:lnTo>
                    <a:lnTo>
                      <a:pt x="1039" y="1290"/>
                    </a:lnTo>
                    <a:lnTo>
                      <a:pt x="1039" y="1291"/>
                    </a:lnTo>
                    <a:lnTo>
                      <a:pt x="1037" y="1291"/>
                    </a:lnTo>
                    <a:lnTo>
                      <a:pt x="1037" y="1293"/>
                    </a:lnTo>
                    <a:lnTo>
                      <a:pt x="1037" y="1291"/>
                    </a:lnTo>
                    <a:lnTo>
                      <a:pt x="1039" y="1291"/>
                    </a:lnTo>
                    <a:lnTo>
                      <a:pt x="1041" y="1291"/>
                    </a:lnTo>
                    <a:lnTo>
                      <a:pt x="1041" y="1290"/>
                    </a:lnTo>
                    <a:lnTo>
                      <a:pt x="1043" y="1290"/>
                    </a:lnTo>
                    <a:lnTo>
                      <a:pt x="1043" y="1288"/>
                    </a:lnTo>
                    <a:lnTo>
                      <a:pt x="1043" y="1290"/>
                    </a:lnTo>
                    <a:lnTo>
                      <a:pt x="1045" y="1290"/>
                    </a:lnTo>
                    <a:lnTo>
                      <a:pt x="1045" y="1288"/>
                    </a:lnTo>
                    <a:lnTo>
                      <a:pt x="1049" y="1288"/>
                    </a:lnTo>
                    <a:lnTo>
                      <a:pt x="1049" y="1291"/>
                    </a:lnTo>
                    <a:lnTo>
                      <a:pt x="1049" y="1290"/>
                    </a:lnTo>
                    <a:lnTo>
                      <a:pt x="1053" y="1290"/>
                    </a:lnTo>
                    <a:lnTo>
                      <a:pt x="1053" y="1291"/>
                    </a:lnTo>
                    <a:lnTo>
                      <a:pt x="1055" y="1291"/>
                    </a:lnTo>
                    <a:lnTo>
                      <a:pt x="1055" y="1293"/>
                    </a:lnTo>
                    <a:lnTo>
                      <a:pt x="1056" y="1293"/>
                    </a:lnTo>
                    <a:lnTo>
                      <a:pt x="1058" y="1293"/>
                    </a:lnTo>
                    <a:lnTo>
                      <a:pt x="1056" y="1293"/>
                    </a:lnTo>
                    <a:lnTo>
                      <a:pt x="1055" y="1291"/>
                    </a:lnTo>
                    <a:lnTo>
                      <a:pt x="1055" y="1290"/>
                    </a:lnTo>
                    <a:lnTo>
                      <a:pt x="1060" y="1290"/>
                    </a:lnTo>
                    <a:lnTo>
                      <a:pt x="1062" y="1288"/>
                    </a:lnTo>
                    <a:lnTo>
                      <a:pt x="1062" y="1290"/>
                    </a:lnTo>
                    <a:lnTo>
                      <a:pt x="1062" y="1288"/>
                    </a:lnTo>
                    <a:lnTo>
                      <a:pt x="1064" y="1288"/>
                    </a:lnTo>
                    <a:lnTo>
                      <a:pt x="1064" y="1286"/>
                    </a:lnTo>
                    <a:lnTo>
                      <a:pt x="1064" y="1288"/>
                    </a:lnTo>
                    <a:lnTo>
                      <a:pt x="1066" y="1286"/>
                    </a:lnTo>
                    <a:lnTo>
                      <a:pt x="1068" y="1286"/>
                    </a:lnTo>
                    <a:lnTo>
                      <a:pt x="1068" y="1284"/>
                    </a:lnTo>
                    <a:lnTo>
                      <a:pt x="1070" y="1282"/>
                    </a:lnTo>
                    <a:lnTo>
                      <a:pt x="1072" y="1282"/>
                    </a:lnTo>
                    <a:lnTo>
                      <a:pt x="1074" y="1284"/>
                    </a:lnTo>
                    <a:lnTo>
                      <a:pt x="1074" y="1286"/>
                    </a:lnTo>
                    <a:lnTo>
                      <a:pt x="1076" y="1286"/>
                    </a:lnTo>
                    <a:lnTo>
                      <a:pt x="1077" y="1288"/>
                    </a:lnTo>
                    <a:lnTo>
                      <a:pt x="1079" y="1288"/>
                    </a:lnTo>
                    <a:lnTo>
                      <a:pt x="1079" y="1290"/>
                    </a:lnTo>
                    <a:lnTo>
                      <a:pt x="1081" y="1291"/>
                    </a:lnTo>
                    <a:lnTo>
                      <a:pt x="1083" y="1291"/>
                    </a:lnTo>
                    <a:lnTo>
                      <a:pt x="1083" y="1293"/>
                    </a:lnTo>
                    <a:lnTo>
                      <a:pt x="1085" y="1293"/>
                    </a:lnTo>
                    <a:lnTo>
                      <a:pt x="1083" y="1293"/>
                    </a:lnTo>
                    <a:lnTo>
                      <a:pt x="1085" y="1295"/>
                    </a:lnTo>
                    <a:lnTo>
                      <a:pt x="1085" y="1293"/>
                    </a:lnTo>
                    <a:lnTo>
                      <a:pt x="1087" y="1295"/>
                    </a:lnTo>
                    <a:lnTo>
                      <a:pt x="1085" y="1293"/>
                    </a:lnTo>
                    <a:lnTo>
                      <a:pt x="1087" y="1293"/>
                    </a:lnTo>
                    <a:lnTo>
                      <a:pt x="1089" y="1293"/>
                    </a:lnTo>
                    <a:lnTo>
                      <a:pt x="1089" y="1295"/>
                    </a:lnTo>
                    <a:lnTo>
                      <a:pt x="1087" y="1295"/>
                    </a:lnTo>
                    <a:lnTo>
                      <a:pt x="1089" y="1297"/>
                    </a:lnTo>
                    <a:lnTo>
                      <a:pt x="1089" y="1299"/>
                    </a:lnTo>
                    <a:lnTo>
                      <a:pt x="1087" y="1299"/>
                    </a:lnTo>
                    <a:lnTo>
                      <a:pt x="1087" y="1301"/>
                    </a:lnTo>
                    <a:lnTo>
                      <a:pt x="1089" y="1301"/>
                    </a:lnTo>
                    <a:lnTo>
                      <a:pt x="1089" y="1299"/>
                    </a:lnTo>
                    <a:lnTo>
                      <a:pt x="1091" y="1301"/>
                    </a:lnTo>
                    <a:lnTo>
                      <a:pt x="1093" y="1301"/>
                    </a:lnTo>
                    <a:lnTo>
                      <a:pt x="1095" y="1301"/>
                    </a:lnTo>
                    <a:lnTo>
                      <a:pt x="1095" y="1303"/>
                    </a:lnTo>
                    <a:lnTo>
                      <a:pt x="1096" y="1305"/>
                    </a:lnTo>
                    <a:lnTo>
                      <a:pt x="1095" y="1305"/>
                    </a:lnTo>
                    <a:lnTo>
                      <a:pt x="1096" y="1305"/>
                    </a:lnTo>
                    <a:lnTo>
                      <a:pt x="1095" y="1307"/>
                    </a:lnTo>
                    <a:lnTo>
                      <a:pt x="1096" y="1307"/>
                    </a:lnTo>
                    <a:lnTo>
                      <a:pt x="1098" y="1307"/>
                    </a:lnTo>
                    <a:lnTo>
                      <a:pt x="1098" y="1309"/>
                    </a:lnTo>
                    <a:lnTo>
                      <a:pt x="1098" y="1311"/>
                    </a:lnTo>
                    <a:lnTo>
                      <a:pt x="1098" y="1312"/>
                    </a:lnTo>
                    <a:lnTo>
                      <a:pt x="1098" y="1311"/>
                    </a:lnTo>
                    <a:lnTo>
                      <a:pt x="1100" y="1311"/>
                    </a:lnTo>
                    <a:lnTo>
                      <a:pt x="1100" y="1309"/>
                    </a:lnTo>
                    <a:lnTo>
                      <a:pt x="1102" y="1309"/>
                    </a:lnTo>
                    <a:lnTo>
                      <a:pt x="1104" y="1311"/>
                    </a:lnTo>
                    <a:lnTo>
                      <a:pt x="1106" y="1311"/>
                    </a:lnTo>
                    <a:lnTo>
                      <a:pt x="1106" y="1312"/>
                    </a:lnTo>
                    <a:lnTo>
                      <a:pt x="1104" y="1312"/>
                    </a:lnTo>
                    <a:lnTo>
                      <a:pt x="1100" y="1314"/>
                    </a:lnTo>
                    <a:lnTo>
                      <a:pt x="1102" y="1314"/>
                    </a:lnTo>
                    <a:lnTo>
                      <a:pt x="1102" y="1316"/>
                    </a:lnTo>
                    <a:lnTo>
                      <a:pt x="1100" y="1316"/>
                    </a:lnTo>
                    <a:lnTo>
                      <a:pt x="1100" y="1318"/>
                    </a:lnTo>
                    <a:lnTo>
                      <a:pt x="1102" y="1318"/>
                    </a:lnTo>
                    <a:lnTo>
                      <a:pt x="1104" y="1318"/>
                    </a:lnTo>
                    <a:lnTo>
                      <a:pt x="1106" y="1318"/>
                    </a:lnTo>
                    <a:lnTo>
                      <a:pt x="1104" y="1318"/>
                    </a:lnTo>
                    <a:lnTo>
                      <a:pt x="1102" y="1320"/>
                    </a:lnTo>
                    <a:lnTo>
                      <a:pt x="1102" y="1318"/>
                    </a:lnTo>
                    <a:lnTo>
                      <a:pt x="1100" y="1318"/>
                    </a:lnTo>
                    <a:lnTo>
                      <a:pt x="1102" y="1320"/>
                    </a:lnTo>
                    <a:lnTo>
                      <a:pt x="1104" y="1320"/>
                    </a:lnTo>
                    <a:lnTo>
                      <a:pt x="1102" y="1320"/>
                    </a:lnTo>
                    <a:lnTo>
                      <a:pt x="1104" y="1322"/>
                    </a:lnTo>
                    <a:lnTo>
                      <a:pt x="1102" y="1322"/>
                    </a:lnTo>
                    <a:lnTo>
                      <a:pt x="1106" y="1324"/>
                    </a:lnTo>
                    <a:lnTo>
                      <a:pt x="1104" y="1324"/>
                    </a:lnTo>
                    <a:lnTo>
                      <a:pt x="1106" y="1324"/>
                    </a:lnTo>
                    <a:lnTo>
                      <a:pt x="1106" y="1326"/>
                    </a:lnTo>
                    <a:lnTo>
                      <a:pt x="1106" y="1324"/>
                    </a:lnTo>
                    <a:lnTo>
                      <a:pt x="1108" y="1324"/>
                    </a:lnTo>
                    <a:lnTo>
                      <a:pt x="1108" y="1326"/>
                    </a:lnTo>
                    <a:lnTo>
                      <a:pt x="1108" y="1328"/>
                    </a:lnTo>
                    <a:lnTo>
                      <a:pt x="1108" y="1326"/>
                    </a:lnTo>
                    <a:lnTo>
                      <a:pt x="1108" y="1328"/>
                    </a:lnTo>
                    <a:lnTo>
                      <a:pt x="1110" y="1326"/>
                    </a:lnTo>
                    <a:lnTo>
                      <a:pt x="1112" y="1326"/>
                    </a:lnTo>
                    <a:lnTo>
                      <a:pt x="1112" y="1328"/>
                    </a:lnTo>
                    <a:lnTo>
                      <a:pt x="1112" y="1326"/>
                    </a:lnTo>
                    <a:lnTo>
                      <a:pt x="1112" y="1328"/>
                    </a:lnTo>
                    <a:lnTo>
                      <a:pt x="1114" y="1328"/>
                    </a:lnTo>
                    <a:lnTo>
                      <a:pt x="1116" y="1328"/>
                    </a:lnTo>
                    <a:lnTo>
                      <a:pt x="1116" y="1330"/>
                    </a:lnTo>
                    <a:lnTo>
                      <a:pt x="1116" y="1328"/>
                    </a:lnTo>
                    <a:lnTo>
                      <a:pt x="1117" y="1330"/>
                    </a:lnTo>
                    <a:lnTo>
                      <a:pt x="1119" y="1331"/>
                    </a:lnTo>
                    <a:lnTo>
                      <a:pt x="1117" y="1330"/>
                    </a:lnTo>
                    <a:lnTo>
                      <a:pt x="1119" y="1330"/>
                    </a:lnTo>
                    <a:lnTo>
                      <a:pt x="1119" y="1331"/>
                    </a:lnTo>
                    <a:lnTo>
                      <a:pt x="1121" y="1330"/>
                    </a:lnTo>
                    <a:lnTo>
                      <a:pt x="1121" y="1331"/>
                    </a:lnTo>
                    <a:lnTo>
                      <a:pt x="1121" y="1330"/>
                    </a:lnTo>
                    <a:lnTo>
                      <a:pt x="1123" y="1330"/>
                    </a:lnTo>
                    <a:lnTo>
                      <a:pt x="1123" y="1331"/>
                    </a:lnTo>
                    <a:lnTo>
                      <a:pt x="1123" y="1330"/>
                    </a:lnTo>
                    <a:lnTo>
                      <a:pt x="1125" y="1330"/>
                    </a:lnTo>
                    <a:lnTo>
                      <a:pt x="1123" y="1328"/>
                    </a:lnTo>
                    <a:lnTo>
                      <a:pt x="1125" y="1330"/>
                    </a:lnTo>
                    <a:lnTo>
                      <a:pt x="1125" y="1328"/>
                    </a:lnTo>
                    <a:lnTo>
                      <a:pt x="1125" y="1330"/>
                    </a:lnTo>
                    <a:lnTo>
                      <a:pt x="1125" y="1328"/>
                    </a:lnTo>
                    <a:lnTo>
                      <a:pt x="1127" y="1328"/>
                    </a:lnTo>
                    <a:lnTo>
                      <a:pt x="1127" y="1330"/>
                    </a:lnTo>
                    <a:lnTo>
                      <a:pt x="1127" y="1328"/>
                    </a:lnTo>
                    <a:lnTo>
                      <a:pt x="1129" y="1328"/>
                    </a:lnTo>
                    <a:lnTo>
                      <a:pt x="1127" y="1330"/>
                    </a:lnTo>
                    <a:lnTo>
                      <a:pt x="1129" y="1330"/>
                    </a:lnTo>
                    <a:lnTo>
                      <a:pt x="1127" y="1331"/>
                    </a:lnTo>
                    <a:lnTo>
                      <a:pt x="1129" y="1331"/>
                    </a:lnTo>
                    <a:lnTo>
                      <a:pt x="1129" y="1333"/>
                    </a:lnTo>
                    <a:lnTo>
                      <a:pt x="1129" y="1331"/>
                    </a:lnTo>
                    <a:lnTo>
                      <a:pt x="1129" y="1333"/>
                    </a:lnTo>
                    <a:lnTo>
                      <a:pt x="1129" y="1335"/>
                    </a:lnTo>
                    <a:lnTo>
                      <a:pt x="1127" y="1335"/>
                    </a:lnTo>
                    <a:lnTo>
                      <a:pt x="1129" y="1335"/>
                    </a:lnTo>
                    <a:lnTo>
                      <a:pt x="1129" y="1337"/>
                    </a:lnTo>
                    <a:lnTo>
                      <a:pt x="1131" y="1337"/>
                    </a:lnTo>
                    <a:lnTo>
                      <a:pt x="1133" y="1337"/>
                    </a:lnTo>
                    <a:lnTo>
                      <a:pt x="1133" y="1335"/>
                    </a:lnTo>
                    <a:lnTo>
                      <a:pt x="1135" y="1333"/>
                    </a:lnTo>
                    <a:lnTo>
                      <a:pt x="1135" y="1335"/>
                    </a:lnTo>
                    <a:lnTo>
                      <a:pt x="1137" y="1335"/>
                    </a:lnTo>
                    <a:lnTo>
                      <a:pt x="1137" y="1333"/>
                    </a:lnTo>
                    <a:lnTo>
                      <a:pt x="1135" y="1333"/>
                    </a:lnTo>
                    <a:lnTo>
                      <a:pt x="1137" y="1331"/>
                    </a:lnTo>
                    <a:lnTo>
                      <a:pt x="1135" y="1331"/>
                    </a:lnTo>
                    <a:lnTo>
                      <a:pt x="1137" y="1331"/>
                    </a:lnTo>
                    <a:lnTo>
                      <a:pt x="1137" y="1330"/>
                    </a:lnTo>
                    <a:lnTo>
                      <a:pt x="1138" y="1330"/>
                    </a:lnTo>
                    <a:lnTo>
                      <a:pt x="1138" y="1331"/>
                    </a:lnTo>
                    <a:lnTo>
                      <a:pt x="1140" y="1333"/>
                    </a:lnTo>
                    <a:lnTo>
                      <a:pt x="1138" y="1333"/>
                    </a:lnTo>
                    <a:lnTo>
                      <a:pt x="1140" y="1333"/>
                    </a:lnTo>
                    <a:lnTo>
                      <a:pt x="1140" y="1335"/>
                    </a:lnTo>
                    <a:lnTo>
                      <a:pt x="1140" y="1337"/>
                    </a:lnTo>
                    <a:lnTo>
                      <a:pt x="1138" y="1337"/>
                    </a:lnTo>
                    <a:lnTo>
                      <a:pt x="1140" y="1339"/>
                    </a:lnTo>
                    <a:lnTo>
                      <a:pt x="1138" y="1339"/>
                    </a:lnTo>
                    <a:lnTo>
                      <a:pt x="1137" y="1339"/>
                    </a:lnTo>
                    <a:lnTo>
                      <a:pt x="1137" y="1341"/>
                    </a:lnTo>
                    <a:lnTo>
                      <a:pt x="1135" y="1341"/>
                    </a:lnTo>
                    <a:lnTo>
                      <a:pt x="1135" y="1343"/>
                    </a:lnTo>
                    <a:lnTo>
                      <a:pt x="1137" y="1343"/>
                    </a:lnTo>
                    <a:lnTo>
                      <a:pt x="1135" y="1345"/>
                    </a:lnTo>
                    <a:lnTo>
                      <a:pt x="1137" y="1345"/>
                    </a:lnTo>
                    <a:lnTo>
                      <a:pt x="1135" y="1345"/>
                    </a:lnTo>
                    <a:lnTo>
                      <a:pt x="1135" y="1347"/>
                    </a:lnTo>
                    <a:lnTo>
                      <a:pt x="1133" y="1347"/>
                    </a:lnTo>
                    <a:lnTo>
                      <a:pt x="1135" y="1349"/>
                    </a:lnTo>
                    <a:lnTo>
                      <a:pt x="1135" y="1351"/>
                    </a:lnTo>
                    <a:lnTo>
                      <a:pt x="1137" y="1352"/>
                    </a:lnTo>
                    <a:lnTo>
                      <a:pt x="1135" y="1352"/>
                    </a:lnTo>
                    <a:lnTo>
                      <a:pt x="1135" y="1354"/>
                    </a:lnTo>
                    <a:lnTo>
                      <a:pt x="1137" y="1354"/>
                    </a:lnTo>
                    <a:lnTo>
                      <a:pt x="1135" y="1354"/>
                    </a:lnTo>
                    <a:lnTo>
                      <a:pt x="1135" y="1356"/>
                    </a:lnTo>
                    <a:lnTo>
                      <a:pt x="1137" y="1354"/>
                    </a:lnTo>
                    <a:lnTo>
                      <a:pt x="1137" y="1356"/>
                    </a:lnTo>
                    <a:lnTo>
                      <a:pt x="1137" y="1358"/>
                    </a:lnTo>
                    <a:lnTo>
                      <a:pt x="1137" y="1360"/>
                    </a:lnTo>
                    <a:lnTo>
                      <a:pt x="1137" y="1362"/>
                    </a:lnTo>
                    <a:lnTo>
                      <a:pt x="1135" y="1362"/>
                    </a:lnTo>
                    <a:lnTo>
                      <a:pt x="1133" y="1362"/>
                    </a:lnTo>
                    <a:lnTo>
                      <a:pt x="1133" y="1364"/>
                    </a:lnTo>
                    <a:lnTo>
                      <a:pt x="1135" y="1364"/>
                    </a:lnTo>
                    <a:lnTo>
                      <a:pt x="1133" y="1364"/>
                    </a:lnTo>
                    <a:lnTo>
                      <a:pt x="1131" y="1364"/>
                    </a:lnTo>
                    <a:lnTo>
                      <a:pt x="1125" y="1364"/>
                    </a:lnTo>
                    <a:lnTo>
                      <a:pt x="1127" y="1364"/>
                    </a:lnTo>
                    <a:lnTo>
                      <a:pt x="1129" y="1366"/>
                    </a:lnTo>
                    <a:lnTo>
                      <a:pt x="1131" y="1364"/>
                    </a:lnTo>
                    <a:lnTo>
                      <a:pt x="1133" y="1366"/>
                    </a:lnTo>
                    <a:lnTo>
                      <a:pt x="1133" y="1364"/>
                    </a:lnTo>
                    <a:lnTo>
                      <a:pt x="1135" y="1364"/>
                    </a:lnTo>
                    <a:lnTo>
                      <a:pt x="1135" y="1366"/>
                    </a:lnTo>
                    <a:lnTo>
                      <a:pt x="1135" y="1368"/>
                    </a:lnTo>
                    <a:lnTo>
                      <a:pt x="1137" y="1368"/>
                    </a:lnTo>
                    <a:lnTo>
                      <a:pt x="1135" y="1368"/>
                    </a:lnTo>
                    <a:lnTo>
                      <a:pt x="1137" y="1368"/>
                    </a:lnTo>
                    <a:lnTo>
                      <a:pt x="1137" y="1370"/>
                    </a:lnTo>
                    <a:lnTo>
                      <a:pt x="1137" y="1372"/>
                    </a:lnTo>
                    <a:lnTo>
                      <a:pt x="1137" y="1373"/>
                    </a:lnTo>
                    <a:lnTo>
                      <a:pt x="1138" y="1373"/>
                    </a:lnTo>
                    <a:lnTo>
                      <a:pt x="1138" y="1375"/>
                    </a:lnTo>
                    <a:lnTo>
                      <a:pt x="1137" y="1377"/>
                    </a:lnTo>
                    <a:lnTo>
                      <a:pt x="1135" y="1379"/>
                    </a:lnTo>
                    <a:lnTo>
                      <a:pt x="1135" y="1381"/>
                    </a:lnTo>
                    <a:lnTo>
                      <a:pt x="1137" y="1381"/>
                    </a:lnTo>
                    <a:lnTo>
                      <a:pt x="1137" y="1383"/>
                    </a:lnTo>
                    <a:lnTo>
                      <a:pt x="1137" y="1385"/>
                    </a:lnTo>
                    <a:lnTo>
                      <a:pt x="1135" y="1385"/>
                    </a:lnTo>
                    <a:lnTo>
                      <a:pt x="1137" y="1387"/>
                    </a:lnTo>
                    <a:lnTo>
                      <a:pt x="1137" y="1385"/>
                    </a:lnTo>
                    <a:lnTo>
                      <a:pt x="1138" y="1383"/>
                    </a:lnTo>
                    <a:lnTo>
                      <a:pt x="1140" y="1385"/>
                    </a:lnTo>
                    <a:lnTo>
                      <a:pt x="1142" y="1385"/>
                    </a:lnTo>
                    <a:lnTo>
                      <a:pt x="1142" y="1389"/>
                    </a:lnTo>
                    <a:lnTo>
                      <a:pt x="1142" y="1387"/>
                    </a:lnTo>
                    <a:lnTo>
                      <a:pt x="1142" y="1389"/>
                    </a:lnTo>
                    <a:lnTo>
                      <a:pt x="1140" y="1387"/>
                    </a:lnTo>
                    <a:lnTo>
                      <a:pt x="1140" y="1389"/>
                    </a:lnTo>
                    <a:lnTo>
                      <a:pt x="1138" y="1389"/>
                    </a:lnTo>
                    <a:lnTo>
                      <a:pt x="1138" y="1391"/>
                    </a:lnTo>
                    <a:lnTo>
                      <a:pt x="1138" y="1393"/>
                    </a:lnTo>
                    <a:lnTo>
                      <a:pt x="1138" y="1391"/>
                    </a:lnTo>
                    <a:lnTo>
                      <a:pt x="1138" y="1393"/>
                    </a:lnTo>
                    <a:lnTo>
                      <a:pt x="1140" y="1391"/>
                    </a:lnTo>
                    <a:lnTo>
                      <a:pt x="1140" y="1393"/>
                    </a:lnTo>
                    <a:lnTo>
                      <a:pt x="1138" y="1394"/>
                    </a:lnTo>
                    <a:lnTo>
                      <a:pt x="1138" y="1398"/>
                    </a:lnTo>
                    <a:lnTo>
                      <a:pt x="1138" y="1400"/>
                    </a:lnTo>
                    <a:lnTo>
                      <a:pt x="1137" y="1400"/>
                    </a:lnTo>
                    <a:lnTo>
                      <a:pt x="1137" y="1402"/>
                    </a:lnTo>
                    <a:lnTo>
                      <a:pt x="1137" y="1400"/>
                    </a:lnTo>
                    <a:lnTo>
                      <a:pt x="1137" y="1402"/>
                    </a:lnTo>
                    <a:lnTo>
                      <a:pt x="1135" y="1400"/>
                    </a:lnTo>
                    <a:lnTo>
                      <a:pt x="1135" y="1398"/>
                    </a:lnTo>
                    <a:lnTo>
                      <a:pt x="1137" y="1398"/>
                    </a:lnTo>
                    <a:lnTo>
                      <a:pt x="1137" y="1396"/>
                    </a:lnTo>
                    <a:lnTo>
                      <a:pt x="1135" y="1398"/>
                    </a:lnTo>
                    <a:lnTo>
                      <a:pt x="1135" y="1394"/>
                    </a:lnTo>
                    <a:lnTo>
                      <a:pt x="1135" y="1396"/>
                    </a:lnTo>
                    <a:lnTo>
                      <a:pt x="1135" y="1394"/>
                    </a:lnTo>
                    <a:lnTo>
                      <a:pt x="1135" y="1396"/>
                    </a:lnTo>
                    <a:lnTo>
                      <a:pt x="1135" y="1394"/>
                    </a:lnTo>
                    <a:lnTo>
                      <a:pt x="1135" y="1396"/>
                    </a:lnTo>
                    <a:lnTo>
                      <a:pt x="1133" y="1393"/>
                    </a:lnTo>
                    <a:lnTo>
                      <a:pt x="1133" y="1394"/>
                    </a:lnTo>
                    <a:lnTo>
                      <a:pt x="1133" y="1396"/>
                    </a:lnTo>
                    <a:lnTo>
                      <a:pt x="1133" y="1400"/>
                    </a:lnTo>
                    <a:lnTo>
                      <a:pt x="1133" y="1398"/>
                    </a:lnTo>
                    <a:lnTo>
                      <a:pt x="1133" y="1400"/>
                    </a:lnTo>
                    <a:lnTo>
                      <a:pt x="1131" y="1400"/>
                    </a:lnTo>
                    <a:lnTo>
                      <a:pt x="1129" y="1400"/>
                    </a:lnTo>
                    <a:lnTo>
                      <a:pt x="1129" y="1402"/>
                    </a:lnTo>
                    <a:lnTo>
                      <a:pt x="1127" y="1400"/>
                    </a:lnTo>
                    <a:lnTo>
                      <a:pt x="1127" y="1402"/>
                    </a:lnTo>
                    <a:lnTo>
                      <a:pt x="1129" y="1402"/>
                    </a:lnTo>
                    <a:lnTo>
                      <a:pt x="1131" y="1404"/>
                    </a:lnTo>
                    <a:lnTo>
                      <a:pt x="1131" y="1402"/>
                    </a:lnTo>
                    <a:lnTo>
                      <a:pt x="1131" y="1404"/>
                    </a:lnTo>
                    <a:lnTo>
                      <a:pt x="1133" y="1404"/>
                    </a:lnTo>
                    <a:lnTo>
                      <a:pt x="1135" y="1404"/>
                    </a:lnTo>
                    <a:lnTo>
                      <a:pt x="1133" y="1406"/>
                    </a:lnTo>
                    <a:lnTo>
                      <a:pt x="1133" y="1408"/>
                    </a:lnTo>
                    <a:lnTo>
                      <a:pt x="1135" y="1404"/>
                    </a:lnTo>
                    <a:lnTo>
                      <a:pt x="1137" y="1406"/>
                    </a:lnTo>
                    <a:lnTo>
                      <a:pt x="1137" y="1402"/>
                    </a:lnTo>
                    <a:lnTo>
                      <a:pt x="1138" y="1402"/>
                    </a:lnTo>
                    <a:lnTo>
                      <a:pt x="1138" y="1400"/>
                    </a:lnTo>
                    <a:lnTo>
                      <a:pt x="1140" y="1400"/>
                    </a:lnTo>
                    <a:lnTo>
                      <a:pt x="1140" y="1398"/>
                    </a:lnTo>
                    <a:lnTo>
                      <a:pt x="1142" y="1398"/>
                    </a:lnTo>
                    <a:lnTo>
                      <a:pt x="1144" y="1398"/>
                    </a:lnTo>
                    <a:lnTo>
                      <a:pt x="1146" y="1398"/>
                    </a:lnTo>
                    <a:lnTo>
                      <a:pt x="1148" y="1398"/>
                    </a:lnTo>
                    <a:lnTo>
                      <a:pt x="1150" y="1398"/>
                    </a:lnTo>
                    <a:lnTo>
                      <a:pt x="1152" y="1398"/>
                    </a:lnTo>
                    <a:lnTo>
                      <a:pt x="1154" y="1398"/>
                    </a:lnTo>
                    <a:lnTo>
                      <a:pt x="1154" y="1400"/>
                    </a:lnTo>
                    <a:lnTo>
                      <a:pt x="1154" y="1398"/>
                    </a:lnTo>
                    <a:lnTo>
                      <a:pt x="1154" y="1400"/>
                    </a:lnTo>
                    <a:lnTo>
                      <a:pt x="1156" y="1400"/>
                    </a:lnTo>
                    <a:lnTo>
                      <a:pt x="1156" y="1402"/>
                    </a:lnTo>
                    <a:lnTo>
                      <a:pt x="1156" y="1404"/>
                    </a:lnTo>
                    <a:lnTo>
                      <a:pt x="1158" y="1404"/>
                    </a:lnTo>
                    <a:lnTo>
                      <a:pt x="1158" y="1408"/>
                    </a:lnTo>
                    <a:lnTo>
                      <a:pt x="1158" y="1410"/>
                    </a:lnTo>
                    <a:lnTo>
                      <a:pt x="1159" y="1408"/>
                    </a:lnTo>
                    <a:lnTo>
                      <a:pt x="1159" y="1412"/>
                    </a:lnTo>
                    <a:lnTo>
                      <a:pt x="1159" y="1410"/>
                    </a:lnTo>
                    <a:lnTo>
                      <a:pt x="1161" y="1410"/>
                    </a:lnTo>
                    <a:lnTo>
                      <a:pt x="1161" y="1408"/>
                    </a:lnTo>
                    <a:lnTo>
                      <a:pt x="1163" y="1408"/>
                    </a:lnTo>
                    <a:lnTo>
                      <a:pt x="1163" y="1410"/>
                    </a:lnTo>
                    <a:lnTo>
                      <a:pt x="1163" y="1412"/>
                    </a:lnTo>
                    <a:lnTo>
                      <a:pt x="1163" y="1414"/>
                    </a:lnTo>
                    <a:lnTo>
                      <a:pt x="1165" y="1415"/>
                    </a:lnTo>
                    <a:lnTo>
                      <a:pt x="1165" y="1414"/>
                    </a:lnTo>
                    <a:lnTo>
                      <a:pt x="1165" y="1412"/>
                    </a:lnTo>
                    <a:lnTo>
                      <a:pt x="1167" y="1412"/>
                    </a:lnTo>
                    <a:lnTo>
                      <a:pt x="1167" y="1414"/>
                    </a:lnTo>
                    <a:lnTo>
                      <a:pt x="1167" y="1415"/>
                    </a:lnTo>
                    <a:lnTo>
                      <a:pt x="1167" y="1417"/>
                    </a:lnTo>
                    <a:lnTo>
                      <a:pt x="1167" y="1421"/>
                    </a:lnTo>
                    <a:lnTo>
                      <a:pt x="1167" y="1423"/>
                    </a:lnTo>
                    <a:lnTo>
                      <a:pt x="1167" y="1425"/>
                    </a:lnTo>
                    <a:lnTo>
                      <a:pt x="1167" y="1423"/>
                    </a:lnTo>
                    <a:lnTo>
                      <a:pt x="1167" y="1421"/>
                    </a:lnTo>
                    <a:lnTo>
                      <a:pt x="1169" y="1419"/>
                    </a:lnTo>
                    <a:lnTo>
                      <a:pt x="1171" y="1417"/>
                    </a:lnTo>
                    <a:lnTo>
                      <a:pt x="1173" y="1415"/>
                    </a:lnTo>
                    <a:lnTo>
                      <a:pt x="1175" y="1415"/>
                    </a:lnTo>
                    <a:lnTo>
                      <a:pt x="1175" y="1414"/>
                    </a:lnTo>
                    <a:lnTo>
                      <a:pt x="1177" y="1415"/>
                    </a:lnTo>
                    <a:lnTo>
                      <a:pt x="1177" y="1414"/>
                    </a:lnTo>
                    <a:lnTo>
                      <a:pt x="1178" y="1414"/>
                    </a:lnTo>
                    <a:lnTo>
                      <a:pt x="1178" y="1412"/>
                    </a:lnTo>
                    <a:lnTo>
                      <a:pt x="1178" y="1410"/>
                    </a:lnTo>
                    <a:lnTo>
                      <a:pt x="1180" y="1412"/>
                    </a:lnTo>
                    <a:lnTo>
                      <a:pt x="1180" y="1410"/>
                    </a:lnTo>
                    <a:lnTo>
                      <a:pt x="1182" y="1410"/>
                    </a:lnTo>
                    <a:lnTo>
                      <a:pt x="1182" y="1412"/>
                    </a:lnTo>
                    <a:lnTo>
                      <a:pt x="1184" y="1410"/>
                    </a:lnTo>
                    <a:lnTo>
                      <a:pt x="1184" y="1412"/>
                    </a:lnTo>
                    <a:lnTo>
                      <a:pt x="1184" y="1410"/>
                    </a:lnTo>
                    <a:lnTo>
                      <a:pt x="1184" y="1406"/>
                    </a:lnTo>
                    <a:lnTo>
                      <a:pt x="1186" y="1406"/>
                    </a:lnTo>
                    <a:lnTo>
                      <a:pt x="1186" y="1404"/>
                    </a:lnTo>
                    <a:lnTo>
                      <a:pt x="1184" y="1404"/>
                    </a:lnTo>
                    <a:lnTo>
                      <a:pt x="1186" y="1404"/>
                    </a:lnTo>
                    <a:lnTo>
                      <a:pt x="1186" y="1402"/>
                    </a:lnTo>
                    <a:lnTo>
                      <a:pt x="1186" y="1400"/>
                    </a:lnTo>
                    <a:lnTo>
                      <a:pt x="1188" y="1400"/>
                    </a:lnTo>
                    <a:lnTo>
                      <a:pt x="1190" y="1400"/>
                    </a:lnTo>
                    <a:lnTo>
                      <a:pt x="1190" y="1402"/>
                    </a:lnTo>
                    <a:lnTo>
                      <a:pt x="1192" y="1404"/>
                    </a:lnTo>
                    <a:lnTo>
                      <a:pt x="1192" y="1402"/>
                    </a:lnTo>
                    <a:lnTo>
                      <a:pt x="1192" y="1404"/>
                    </a:lnTo>
                    <a:lnTo>
                      <a:pt x="1194" y="1406"/>
                    </a:lnTo>
                    <a:lnTo>
                      <a:pt x="1194" y="1404"/>
                    </a:lnTo>
                    <a:lnTo>
                      <a:pt x="1194" y="1402"/>
                    </a:lnTo>
                    <a:lnTo>
                      <a:pt x="1192" y="1402"/>
                    </a:lnTo>
                    <a:lnTo>
                      <a:pt x="1192" y="1400"/>
                    </a:lnTo>
                    <a:lnTo>
                      <a:pt x="1194" y="1400"/>
                    </a:lnTo>
                    <a:lnTo>
                      <a:pt x="1194" y="1398"/>
                    </a:lnTo>
                    <a:lnTo>
                      <a:pt x="1194" y="1400"/>
                    </a:lnTo>
                    <a:lnTo>
                      <a:pt x="1196" y="1400"/>
                    </a:lnTo>
                    <a:lnTo>
                      <a:pt x="1198" y="1402"/>
                    </a:lnTo>
                    <a:lnTo>
                      <a:pt x="1198" y="1400"/>
                    </a:lnTo>
                    <a:lnTo>
                      <a:pt x="1198" y="1398"/>
                    </a:lnTo>
                    <a:lnTo>
                      <a:pt x="1196" y="1398"/>
                    </a:lnTo>
                    <a:lnTo>
                      <a:pt x="1194" y="1398"/>
                    </a:lnTo>
                    <a:lnTo>
                      <a:pt x="1198" y="1396"/>
                    </a:lnTo>
                    <a:lnTo>
                      <a:pt x="1196" y="1394"/>
                    </a:lnTo>
                    <a:lnTo>
                      <a:pt x="1198" y="1396"/>
                    </a:lnTo>
                    <a:lnTo>
                      <a:pt x="1198" y="1394"/>
                    </a:lnTo>
                    <a:lnTo>
                      <a:pt x="1198" y="1396"/>
                    </a:lnTo>
                    <a:lnTo>
                      <a:pt x="1199" y="1396"/>
                    </a:lnTo>
                    <a:lnTo>
                      <a:pt x="1198" y="1394"/>
                    </a:lnTo>
                    <a:lnTo>
                      <a:pt x="1199" y="1394"/>
                    </a:lnTo>
                    <a:lnTo>
                      <a:pt x="1198" y="1394"/>
                    </a:lnTo>
                    <a:lnTo>
                      <a:pt x="1199" y="1393"/>
                    </a:lnTo>
                    <a:lnTo>
                      <a:pt x="1199" y="1394"/>
                    </a:lnTo>
                    <a:lnTo>
                      <a:pt x="1201" y="1394"/>
                    </a:lnTo>
                    <a:lnTo>
                      <a:pt x="1199" y="1393"/>
                    </a:lnTo>
                    <a:lnTo>
                      <a:pt x="1201" y="1393"/>
                    </a:lnTo>
                    <a:lnTo>
                      <a:pt x="1203" y="1394"/>
                    </a:lnTo>
                    <a:lnTo>
                      <a:pt x="1203" y="1393"/>
                    </a:lnTo>
                    <a:lnTo>
                      <a:pt x="1203" y="1394"/>
                    </a:lnTo>
                    <a:lnTo>
                      <a:pt x="1203" y="1393"/>
                    </a:lnTo>
                    <a:lnTo>
                      <a:pt x="1205" y="1394"/>
                    </a:lnTo>
                    <a:lnTo>
                      <a:pt x="1205" y="1393"/>
                    </a:lnTo>
                    <a:lnTo>
                      <a:pt x="1203" y="1393"/>
                    </a:lnTo>
                    <a:lnTo>
                      <a:pt x="1201" y="1393"/>
                    </a:lnTo>
                    <a:lnTo>
                      <a:pt x="1201" y="1391"/>
                    </a:lnTo>
                    <a:lnTo>
                      <a:pt x="1201" y="1393"/>
                    </a:lnTo>
                    <a:lnTo>
                      <a:pt x="1199" y="1393"/>
                    </a:lnTo>
                    <a:lnTo>
                      <a:pt x="1198" y="1389"/>
                    </a:lnTo>
                    <a:lnTo>
                      <a:pt x="1198" y="1391"/>
                    </a:lnTo>
                    <a:lnTo>
                      <a:pt x="1199" y="1389"/>
                    </a:lnTo>
                    <a:lnTo>
                      <a:pt x="1198" y="1389"/>
                    </a:lnTo>
                    <a:lnTo>
                      <a:pt x="1198" y="1387"/>
                    </a:lnTo>
                    <a:lnTo>
                      <a:pt x="1199" y="1387"/>
                    </a:lnTo>
                    <a:lnTo>
                      <a:pt x="1198" y="1387"/>
                    </a:lnTo>
                    <a:lnTo>
                      <a:pt x="1199" y="1387"/>
                    </a:lnTo>
                    <a:lnTo>
                      <a:pt x="1201" y="1391"/>
                    </a:lnTo>
                    <a:lnTo>
                      <a:pt x="1199" y="1389"/>
                    </a:lnTo>
                    <a:lnTo>
                      <a:pt x="1201" y="1389"/>
                    </a:lnTo>
                    <a:lnTo>
                      <a:pt x="1199" y="1387"/>
                    </a:lnTo>
                    <a:lnTo>
                      <a:pt x="1201" y="1387"/>
                    </a:lnTo>
                    <a:lnTo>
                      <a:pt x="1201" y="1391"/>
                    </a:lnTo>
                    <a:lnTo>
                      <a:pt x="1203" y="1391"/>
                    </a:lnTo>
                    <a:lnTo>
                      <a:pt x="1201" y="1387"/>
                    </a:lnTo>
                    <a:lnTo>
                      <a:pt x="1201" y="1385"/>
                    </a:lnTo>
                    <a:lnTo>
                      <a:pt x="1201" y="1383"/>
                    </a:lnTo>
                    <a:lnTo>
                      <a:pt x="1201" y="1385"/>
                    </a:lnTo>
                    <a:lnTo>
                      <a:pt x="1201" y="1383"/>
                    </a:lnTo>
                    <a:lnTo>
                      <a:pt x="1201" y="1385"/>
                    </a:lnTo>
                    <a:lnTo>
                      <a:pt x="1205" y="1387"/>
                    </a:lnTo>
                    <a:lnTo>
                      <a:pt x="1203" y="1385"/>
                    </a:lnTo>
                    <a:lnTo>
                      <a:pt x="1203" y="1383"/>
                    </a:lnTo>
                    <a:lnTo>
                      <a:pt x="1201" y="1381"/>
                    </a:lnTo>
                    <a:lnTo>
                      <a:pt x="1203" y="1381"/>
                    </a:lnTo>
                    <a:lnTo>
                      <a:pt x="1201" y="1381"/>
                    </a:lnTo>
                    <a:lnTo>
                      <a:pt x="1203" y="1381"/>
                    </a:lnTo>
                    <a:lnTo>
                      <a:pt x="1203" y="1377"/>
                    </a:lnTo>
                    <a:lnTo>
                      <a:pt x="1201" y="1373"/>
                    </a:lnTo>
                    <a:lnTo>
                      <a:pt x="1201" y="1375"/>
                    </a:lnTo>
                    <a:lnTo>
                      <a:pt x="1201" y="1373"/>
                    </a:lnTo>
                    <a:lnTo>
                      <a:pt x="1201" y="1372"/>
                    </a:lnTo>
                    <a:lnTo>
                      <a:pt x="1203" y="1372"/>
                    </a:lnTo>
                    <a:lnTo>
                      <a:pt x="1201" y="1370"/>
                    </a:lnTo>
                    <a:lnTo>
                      <a:pt x="1203" y="1370"/>
                    </a:lnTo>
                    <a:lnTo>
                      <a:pt x="1205" y="1370"/>
                    </a:lnTo>
                    <a:lnTo>
                      <a:pt x="1205" y="1368"/>
                    </a:lnTo>
                    <a:lnTo>
                      <a:pt x="1205" y="1370"/>
                    </a:lnTo>
                    <a:lnTo>
                      <a:pt x="1207" y="1370"/>
                    </a:lnTo>
                    <a:lnTo>
                      <a:pt x="1207" y="1368"/>
                    </a:lnTo>
                    <a:lnTo>
                      <a:pt x="1205" y="1368"/>
                    </a:lnTo>
                    <a:lnTo>
                      <a:pt x="1207" y="1368"/>
                    </a:lnTo>
                    <a:lnTo>
                      <a:pt x="1205" y="1368"/>
                    </a:lnTo>
                    <a:lnTo>
                      <a:pt x="1207" y="1368"/>
                    </a:lnTo>
                    <a:lnTo>
                      <a:pt x="1205" y="1366"/>
                    </a:lnTo>
                    <a:lnTo>
                      <a:pt x="1207" y="1366"/>
                    </a:lnTo>
                    <a:lnTo>
                      <a:pt x="1207" y="1364"/>
                    </a:lnTo>
                    <a:lnTo>
                      <a:pt x="1209" y="1368"/>
                    </a:lnTo>
                    <a:lnTo>
                      <a:pt x="1207" y="1364"/>
                    </a:lnTo>
                    <a:lnTo>
                      <a:pt x="1209" y="1364"/>
                    </a:lnTo>
                    <a:lnTo>
                      <a:pt x="1207" y="1364"/>
                    </a:lnTo>
                    <a:lnTo>
                      <a:pt x="1207" y="1362"/>
                    </a:lnTo>
                    <a:lnTo>
                      <a:pt x="1209" y="1362"/>
                    </a:lnTo>
                    <a:lnTo>
                      <a:pt x="1209" y="1360"/>
                    </a:lnTo>
                    <a:lnTo>
                      <a:pt x="1209" y="1362"/>
                    </a:lnTo>
                    <a:lnTo>
                      <a:pt x="1209" y="1360"/>
                    </a:lnTo>
                    <a:lnTo>
                      <a:pt x="1211" y="1360"/>
                    </a:lnTo>
                    <a:lnTo>
                      <a:pt x="1209" y="1358"/>
                    </a:lnTo>
                    <a:lnTo>
                      <a:pt x="1211" y="1358"/>
                    </a:lnTo>
                    <a:lnTo>
                      <a:pt x="1211" y="1356"/>
                    </a:lnTo>
                    <a:lnTo>
                      <a:pt x="1211" y="1358"/>
                    </a:lnTo>
                    <a:lnTo>
                      <a:pt x="1211" y="1356"/>
                    </a:lnTo>
                    <a:lnTo>
                      <a:pt x="1211" y="1354"/>
                    </a:lnTo>
                    <a:lnTo>
                      <a:pt x="1211" y="1356"/>
                    </a:lnTo>
                    <a:lnTo>
                      <a:pt x="1211" y="1354"/>
                    </a:lnTo>
                    <a:lnTo>
                      <a:pt x="1213" y="1354"/>
                    </a:lnTo>
                    <a:lnTo>
                      <a:pt x="1213" y="1352"/>
                    </a:lnTo>
                    <a:lnTo>
                      <a:pt x="1215" y="1352"/>
                    </a:lnTo>
                    <a:lnTo>
                      <a:pt x="1217" y="1354"/>
                    </a:lnTo>
                    <a:lnTo>
                      <a:pt x="1215" y="1352"/>
                    </a:lnTo>
                    <a:lnTo>
                      <a:pt x="1217" y="1352"/>
                    </a:lnTo>
                    <a:lnTo>
                      <a:pt x="1219" y="1354"/>
                    </a:lnTo>
                    <a:lnTo>
                      <a:pt x="1219" y="1356"/>
                    </a:lnTo>
                    <a:lnTo>
                      <a:pt x="1220" y="1356"/>
                    </a:lnTo>
                    <a:lnTo>
                      <a:pt x="1219" y="1354"/>
                    </a:lnTo>
                    <a:lnTo>
                      <a:pt x="1217" y="1354"/>
                    </a:lnTo>
                    <a:lnTo>
                      <a:pt x="1215" y="1354"/>
                    </a:lnTo>
                    <a:lnTo>
                      <a:pt x="1215" y="1356"/>
                    </a:lnTo>
                    <a:lnTo>
                      <a:pt x="1213" y="1356"/>
                    </a:lnTo>
                    <a:lnTo>
                      <a:pt x="1215" y="1356"/>
                    </a:lnTo>
                    <a:lnTo>
                      <a:pt x="1215" y="1354"/>
                    </a:lnTo>
                    <a:lnTo>
                      <a:pt x="1217" y="1354"/>
                    </a:lnTo>
                    <a:lnTo>
                      <a:pt x="1217" y="1356"/>
                    </a:lnTo>
                    <a:lnTo>
                      <a:pt x="1219" y="1356"/>
                    </a:lnTo>
                    <a:lnTo>
                      <a:pt x="1217" y="1358"/>
                    </a:lnTo>
                    <a:lnTo>
                      <a:pt x="1219" y="1358"/>
                    </a:lnTo>
                    <a:lnTo>
                      <a:pt x="1220" y="1356"/>
                    </a:lnTo>
                    <a:lnTo>
                      <a:pt x="1219" y="1358"/>
                    </a:lnTo>
                    <a:lnTo>
                      <a:pt x="1220" y="1358"/>
                    </a:lnTo>
                    <a:lnTo>
                      <a:pt x="1219" y="1360"/>
                    </a:lnTo>
                    <a:lnTo>
                      <a:pt x="1219" y="1362"/>
                    </a:lnTo>
                    <a:lnTo>
                      <a:pt x="1217" y="1360"/>
                    </a:lnTo>
                    <a:lnTo>
                      <a:pt x="1217" y="1362"/>
                    </a:lnTo>
                    <a:lnTo>
                      <a:pt x="1219" y="1362"/>
                    </a:lnTo>
                    <a:lnTo>
                      <a:pt x="1219" y="1360"/>
                    </a:lnTo>
                    <a:lnTo>
                      <a:pt x="1220" y="1360"/>
                    </a:lnTo>
                    <a:lnTo>
                      <a:pt x="1220" y="1362"/>
                    </a:lnTo>
                    <a:lnTo>
                      <a:pt x="1219" y="1360"/>
                    </a:lnTo>
                    <a:lnTo>
                      <a:pt x="1219" y="1362"/>
                    </a:lnTo>
                    <a:lnTo>
                      <a:pt x="1220" y="1362"/>
                    </a:lnTo>
                    <a:lnTo>
                      <a:pt x="1220" y="1364"/>
                    </a:lnTo>
                    <a:lnTo>
                      <a:pt x="1219" y="1364"/>
                    </a:lnTo>
                    <a:lnTo>
                      <a:pt x="1217" y="1364"/>
                    </a:lnTo>
                    <a:lnTo>
                      <a:pt x="1219" y="1364"/>
                    </a:lnTo>
                    <a:lnTo>
                      <a:pt x="1219" y="1366"/>
                    </a:lnTo>
                    <a:lnTo>
                      <a:pt x="1217" y="1368"/>
                    </a:lnTo>
                    <a:lnTo>
                      <a:pt x="1219" y="1368"/>
                    </a:lnTo>
                    <a:lnTo>
                      <a:pt x="1219" y="1366"/>
                    </a:lnTo>
                    <a:lnTo>
                      <a:pt x="1220" y="1366"/>
                    </a:lnTo>
                    <a:lnTo>
                      <a:pt x="1220" y="1364"/>
                    </a:lnTo>
                    <a:lnTo>
                      <a:pt x="1222" y="1364"/>
                    </a:lnTo>
                    <a:lnTo>
                      <a:pt x="1220" y="1364"/>
                    </a:lnTo>
                    <a:lnTo>
                      <a:pt x="1220" y="1362"/>
                    </a:lnTo>
                    <a:lnTo>
                      <a:pt x="1222" y="1362"/>
                    </a:lnTo>
                    <a:lnTo>
                      <a:pt x="1222" y="1364"/>
                    </a:lnTo>
                    <a:lnTo>
                      <a:pt x="1222" y="1362"/>
                    </a:lnTo>
                    <a:lnTo>
                      <a:pt x="1222" y="1364"/>
                    </a:lnTo>
                    <a:lnTo>
                      <a:pt x="1220" y="1366"/>
                    </a:lnTo>
                    <a:lnTo>
                      <a:pt x="1222" y="1366"/>
                    </a:lnTo>
                    <a:lnTo>
                      <a:pt x="1224" y="1366"/>
                    </a:lnTo>
                    <a:lnTo>
                      <a:pt x="1222" y="1368"/>
                    </a:lnTo>
                    <a:lnTo>
                      <a:pt x="1222" y="1370"/>
                    </a:lnTo>
                    <a:lnTo>
                      <a:pt x="1224" y="1370"/>
                    </a:lnTo>
                    <a:lnTo>
                      <a:pt x="1224" y="1368"/>
                    </a:lnTo>
                    <a:lnTo>
                      <a:pt x="1224" y="1370"/>
                    </a:lnTo>
                    <a:lnTo>
                      <a:pt x="1226" y="1370"/>
                    </a:lnTo>
                    <a:lnTo>
                      <a:pt x="1224" y="1370"/>
                    </a:lnTo>
                    <a:lnTo>
                      <a:pt x="1226" y="1372"/>
                    </a:lnTo>
                    <a:lnTo>
                      <a:pt x="1226" y="1373"/>
                    </a:lnTo>
                    <a:lnTo>
                      <a:pt x="1224" y="1373"/>
                    </a:lnTo>
                    <a:lnTo>
                      <a:pt x="1222" y="1373"/>
                    </a:lnTo>
                    <a:lnTo>
                      <a:pt x="1224" y="1373"/>
                    </a:lnTo>
                    <a:lnTo>
                      <a:pt x="1222" y="1372"/>
                    </a:lnTo>
                    <a:lnTo>
                      <a:pt x="1224" y="1370"/>
                    </a:lnTo>
                    <a:lnTo>
                      <a:pt x="1222" y="1372"/>
                    </a:lnTo>
                    <a:lnTo>
                      <a:pt x="1222" y="1370"/>
                    </a:lnTo>
                    <a:lnTo>
                      <a:pt x="1222" y="1372"/>
                    </a:lnTo>
                    <a:lnTo>
                      <a:pt x="1222" y="1373"/>
                    </a:lnTo>
                    <a:lnTo>
                      <a:pt x="1224" y="1373"/>
                    </a:lnTo>
                    <a:lnTo>
                      <a:pt x="1226" y="1373"/>
                    </a:lnTo>
                    <a:lnTo>
                      <a:pt x="1226" y="1375"/>
                    </a:lnTo>
                    <a:lnTo>
                      <a:pt x="1226" y="1373"/>
                    </a:lnTo>
                    <a:lnTo>
                      <a:pt x="1226" y="1375"/>
                    </a:lnTo>
                    <a:lnTo>
                      <a:pt x="1224" y="1375"/>
                    </a:lnTo>
                    <a:lnTo>
                      <a:pt x="1224" y="1377"/>
                    </a:lnTo>
                    <a:lnTo>
                      <a:pt x="1224" y="1379"/>
                    </a:lnTo>
                    <a:lnTo>
                      <a:pt x="1224" y="1377"/>
                    </a:lnTo>
                    <a:lnTo>
                      <a:pt x="1226" y="1375"/>
                    </a:lnTo>
                    <a:lnTo>
                      <a:pt x="1228" y="1375"/>
                    </a:lnTo>
                    <a:lnTo>
                      <a:pt x="1228" y="1377"/>
                    </a:lnTo>
                    <a:lnTo>
                      <a:pt x="1230" y="1379"/>
                    </a:lnTo>
                    <a:lnTo>
                      <a:pt x="1228" y="1383"/>
                    </a:lnTo>
                    <a:lnTo>
                      <a:pt x="1226" y="1381"/>
                    </a:lnTo>
                    <a:lnTo>
                      <a:pt x="1224" y="1383"/>
                    </a:lnTo>
                    <a:lnTo>
                      <a:pt x="1228" y="1383"/>
                    </a:lnTo>
                    <a:lnTo>
                      <a:pt x="1230" y="1383"/>
                    </a:lnTo>
                    <a:lnTo>
                      <a:pt x="1230" y="1385"/>
                    </a:lnTo>
                    <a:lnTo>
                      <a:pt x="1230" y="1383"/>
                    </a:lnTo>
                    <a:lnTo>
                      <a:pt x="1230" y="1387"/>
                    </a:lnTo>
                    <a:lnTo>
                      <a:pt x="1228" y="1387"/>
                    </a:lnTo>
                    <a:lnTo>
                      <a:pt x="1230" y="1387"/>
                    </a:lnTo>
                    <a:lnTo>
                      <a:pt x="1230" y="1385"/>
                    </a:lnTo>
                    <a:lnTo>
                      <a:pt x="1232" y="1385"/>
                    </a:lnTo>
                    <a:lnTo>
                      <a:pt x="1232" y="1383"/>
                    </a:lnTo>
                    <a:lnTo>
                      <a:pt x="1232" y="1385"/>
                    </a:lnTo>
                    <a:lnTo>
                      <a:pt x="1234" y="1385"/>
                    </a:lnTo>
                    <a:lnTo>
                      <a:pt x="1234" y="1387"/>
                    </a:lnTo>
                    <a:lnTo>
                      <a:pt x="1232" y="1389"/>
                    </a:lnTo>
                    <a:lnTo>
                      <a:pt x="1234" y="1387"/>
                    </a:lnTo>
                    <a:lnTo>
                      <a:pt x="1236" y="1387"/>
                    </a:lnTo>
                    <a:lnTo>
                      <a:pt x="1236" y="1389"/>
                    </a:lnTo>
                    <a:lnTo>
                      <a:pt x="1234" y="1387"/>
                    </a:lnTo>
                    <a:lnTo>
                      <a:pt x="1234" y="1389"/>
                    </a:lnTo>
                    <a:lnTo>
                      <a:pt x="1236" y="1389"/>
                    </a:lnTo>
                    <a:lnTo>
                      <a:pt x="1236" y="1391"/>
                    </a:lnTo>
                    <a:lnTo>
                      <a:pt x="1234" y="1393"/>
                    </a:lnTo>
                    <a:lnTo>
                      <a:pt x="1232" y="1393"/>
                    </a:lnTo>
                    <a:lnTo>
                      <a:pt x="1230" y="1394"/>
                    </a:lnTo>
                    <a:lnTo>
                      <a:pt x="1226" y="1393"/>
                    </a:lnTo>
                    <a:lnTo>
                      <a:pt x="1224" y="1394"/>
                    </a:lnTo>
                    <a:lnTo>
                      <a:pt x="1226" y="1394"/>
                    </a:lnTo>
                    <a:lnTo>
                      <a:pt x="1226" y="1393"/>
                    </a:lnTo>
                    <a:lnTo>
                      <a:pt x="1228" y="1396"/>
                    </a:lnTo>
                    <a:lnTo>
                      <a:pt x="1228" y="1394"/>
                    </a:lnTo>
                    <a:lnTo>
                      <a:pt x="1230" y="1394"/>
                    </a:lnTo>
                    <a:lnTo>
                      <a:pt x="1232" y="1394"/>
                    </a:lnTo>
                    <a:lnTo>
                      <a:pt x="1234" y="1394"/>
                    </a:lnTo>
                    <a:lnTo>
                      <a:pt x="1234" y="1393"/>
                    </a:lnTo>
                    <a:lnTo>
                      <a:pt x="1236" y="1393"/>
                    </a:lnTo>
                    <a:lnTo>
                      <a:pt x="1238" y="1393"/>
                    </a:lnTo>
                    <a:lnTo>
                      <a:pt x="1240" y="1393"/>
                    </a:lnTo>
                    <a:lnTo>
                      <a:pt x="1240" y="1394"/>
                    </a:lnTo>
                    <a:lnTo>
                      <a:pt x="1238" y="1394"/>
                    </a:lnTo>
                    <a:lnTo>
                      <a:pt x="1236" y="1394"/>
                    </a:lnTo>
                    <a:lnTo>
                      <a:pt x="1238" y="1394"/>
                    </a:lnTo>
                    <a:lnTo>
                      <a:pt x="1236" y="1396"/>
                    </a:lnTo>
                    <a:lnTo>
                      <a:pt x="1238" y="1396"/>
                    </a:lnTo>
                    <a:lnTo>
                      <a:pt x="1240" y="1396"/>
                    </a:lnTo>
                    <a:lnTo>
                      <a:pt x="1238" y="1396"/>
                    </a:lnTo>
                    <a:lnTo>
                      <a:pt x="1240" y="1396"/>
                    </a:lnTo>
                    <a:lnTo>
                      <a:pt x="1240" y="1398"/>
                    </a:lnTo>
                    <a:lnTo>
                      <a:pt x="1238" y="1398"/>
                    </a:lnTo>
                    <a:lnTo>
                      <a:pt x="1236" y="1400"/>
                    </a:lnTo>
                    <a:lnTo>
                      <a:pt x="1238" y="1400"/>
                    </a:lnTo>
                    <a:lnTo>
                      <a:pt x="1240" y="1398"/>
                    </a:lnTo>
                    <a:lnTo>
                      <a:pt x="1240" y="1400"/>
                    </a:lnTo>
                    <a:lnTo>
                      <a:pt x="1240" y="1402"/>
                    </a:lnTo>
                    <a:lnTo>
                      <a:pt x="1240" y="1400"/>
                    </a:lnTo>
                    <a:lnTo>
                      <a:pt x="1240" y="1398"/>
                    </a:lnTo>
                    <a:lnTo>
                      <a:pt x="1241" y="1398"/>
                    </a:lnTo>
                    <a:lnTo>
                      <a:pt x="1241" y="1400"/>
                    </a:lnTo>
                    <a:lnTo>
                      <a:pt x="1243" y="1400"/>
                    </a:lnTo>
                    <a:lnTo>
                      <a:pt x="1243" y="1402"/>
                    </a:lnTo>
                    <a:lnTo>
                      <a:pt x="1243" y="1404"/>
                    </a:lnTo>
                    <a:lnTo>
                      <a:pt x="1241" y="1404"/>
                    </a:lnTo>
                    <a:lnTo>
                      <a:pt x="1240" y="1406"/>
                    </a:lnTo>
                    <a:lnTo>
                      <a:pt x="1241" y="1404"/>
                    </a:lnTo>
                    <a:lnTo>
                      <a:pt x="1243" y="1404"/>
                    </a:lnTo>
                    <a:lnTo>
                      <a:pt x="1243" y="1406"/>
                    </a:lnTo>
                    <a:lnTo>
                      <a:pt x="1243" y="1408"/>
                    </a:lnTo>
                    <a:lnTo>
                      <a:pt x="1241" y="1408"/>
                    </a:lnTo>
                    <a:lnTo>
                      <a:pt x="1240" y="1408"/>
                    </a:lnTo>
                    <a:lnTo>
                      <a:pt x="1240" y="1410"/>
                    </a:lnTo>
                    <a:lnTo>
                      <a:pt x="1238" y="1410"/>
                    </a:lnTo>
                    <a:lnTo>
                      <a:pt x="1236" y="1412"/>
                    </a:lnTo>
                    <a:lnTo>
                      <a:pt x="1236" y="1410"/>
                    </a:lnTo>
                    <a:lnTo>
                      <a:pt x="1234" y="1410"/>
                    </a:lnTo>
                    <a:lnTo>
                      <a:pt x="1234" y="1412"/>
                    </a:lnTo>
                    <a:lnTo>
                      <a:pt x="1236" y="1412"/>
                    </a:lnTo>
                    <a:lnTo>
                      <a:pt x="1236" y="1414"/>
                    </a:lnTo>
                    <a:lnTo>
                      <a:pt x="1232" y="1415"/>
                    </a:lnTo>
                    <a:lnTo>
                      <a:pt x="1232" y="1417"/>
                    </a:lnTo>
                    <a:lnTo>
                      <a:pt x="1236" y="1414"/>
                    </a:lnTo>
                    <a:lnTo>
                      <a:pt x="1238" y="1412"/>
                    </a:lnTo>
                    <a:lnTo>
                      <a:pt x="1240" y="1412"/>
                    </a:lnTo>
                    <a:lnTo>
                      <a:pt x="1240" y="1415"/>
                    </a:lnTo>
                    <a:lnTo>
                      <a:pt x="1240" y="1414"/>
                    </a:lnTo>
                    <a:lnTo>
                      <a:pt x="1241" y="1412"/>
                    </a:lnTo>
                    <a:lnTo>
                      <a:pt x="1241" y="1414"/>
                    </a:lnTo>
                    <a:lnTo>
                      <a:pt x="1243" y="1412"/>
                    </a:lnTo>
                    <a:lnTo>
                      <a:pt x="1245" y="1412"/>
                    </a:lnTo>
                    <a:lnTo>
                      <a:pt x="1245" y="1410"/>
                    </a:lnTo>
                    <a:lnTo>
                      <a:pt x="1245" y="1412"/>
                    </a:lnTo>
                    <a:lnTo>
                      <a:pt x="1245" y="1410"/>
                    </a:lnTo>
                    <a:lnTo>
                      <a:pt x="1245" y="1412"/>
                    </a:lnTo>
                    <a:lnTo>
                      <a:pt x="1247" y="1412"/>
                    </a:lnTo>
                    <a:lnTo>
                      <a:pt x="1247" y="1410"/>
                    </a:lnTo>
                    <a:lnTo>
                      <a:pt x="1249" y="1412"/>
                    </a:lnTo>
                    <a:lnTo>
                      <a:pt x="1247" y="1412"/>
                    </a:lnTo>
                    <a:lnTo>
                      <a:pt x="1249" y="1412"/>
                    </a:lnTo>
                    <a:lnTo>
                      <a:pt x="1247" y="1414"/>
                    </a:lnTo>
                    <a:lnTo>
                      <a:pt x="1247" y="1415"/>
                    </a:lnTo>
                    <a:lnTo>
                      <a:pt x="1247" y="1417"/>
                    </a:lnTo>
                    <a:lnTo>
                      <a:pt x="1243" y="1417"/>
                    </a:lnTo>
                    <a:lnTo>
                      <a:pt x="1243" y="1419"/>
                    </a:lnTo>
                    <a:lnTo>
                      <a:pt x="1243" y="1417"/>
                    </a:lnTo>
                    <a:lnTo>
                      <a:pt x="1245" y="1419"/>
                    </a:lnTo>
                    <a:lnTo>
                      <a:pt x="1247" y="1417"/>
                    </a:lnTo>
                    <a:lnTo>
                      <a:pt x="1247" y="1419"/>
                    </a:lnTo>
                    <a:lnTo>
                      <a:pt x="1247" y="1417"/>
                    </a:lnTo>
                    <a:lnTo>
                      <a:pt x="1249" y="1419"/>
                    </a:lnTo>
                    <a:lnTo>
                      <a:pt x="1247" y="1419"/>
                    </a:lnTo>
                    <a:lnTo>
                      <a:pt x="1247" y="1421"/>
                    </a:lnTo>
                    <a:lnTo>
                      <a:pt x="1245" y="1419"/>
                    </a:lnTo>
                    <a:lnTo>
                      <a:pt x="1243" y="1421"/>
                    </a:lnTo>
                    <a:lnTo>
                      <a:pt x="1241" y="1421"/>
                    </a:lnTo>
                    <a:lnTo>
                      <a:pt x="1241" y="1423"/>
                    </a:lnTo>
                    <a:lnTo>
                      <a:pt x="1240" y="1423"/>
                    </a:lnTo>
                    <a:lnTo>
                      <a:pt x="1238" y="1423"/>
                    </a:lnTo>
                    <a:lnTo>
                      <a:pt x="1238" y="1425"/>
                    </a:lnTo>
                    <a:lnTo>
                      <a:pt x="1240" y="1423"/>
                    </a:lnTo>
                    <a:lnTo>
                      <a:pt x="1240" y="1425"/>
                    </a:lnTo>
                    <a:lnTo>
                      <a:pt x="1238" y="1425"/>
                    </a:lnTo>
                    <a:lnTo>
                      <a:pt x="1236" y="1427"/>
                    </a:lnTo>
                    <a:lnTo>
                      <a:pt x="1238" y="1425"/>
                    </a:lnTo>
                    <a:lnTo>
                      <a:pt x="1240" y="1425"/>
                    </a:lnTo>
                    <a:lnTo>
                      <a:pt x="1240" y="1423"/>
                    </a:lnTo>
                    <a:lnTo>
                      <a:pt x="1241" y="1423"/>
                    </a:lnTo>
                    <a:lnTo>
                      <a:pt x="1243" y="1421"/>
                    </a:lnTo>
                    <a:lnTo>
                      <a:pt x="1243" y="1423"/>
                    </a:lnTo>
                    <a:lnTo>
                      <a:pt x="1245" y="1421"/>
                    </a:lnTo>
                    <a:lnTo>
                      <a:pt x="1245" y="1423"/>
                    </a:lnTo>
                    <a:lnTo>
                      <a:pt x="1245" y="1421"/>
                    </a:lnTo>
                    <a:lnTo>
                      <a:pt x="1247" y="1421"/>
                    </a:lnTo>
                    <a:lnTo>
                      <a:pt x="1249" y="1421"/>
                    </a:lnTo>
                    <a:lnTo>
                      <a:pt x="1249" y="1423"/>
                    </a:lnTo>
                    <a:lnTo>
                      <a:pt x="1249" y="1419"/>
                    </a:lnTo>
                    <a:lnTo>
                      <a:pt x="1251" y="1421"/>
                    </a:lnTo>
                    <a:lnTo>
                      <a:pt x="1249" y="1421"/>
                    </a:lnTo>
                    <a:lnTo>
                      <a:pt x="1249" y="1423"/>
                    </a:lnTo>
                    <a:lnTo>
                      <a:pt x="1251" y="1423"/>
                    </a:lnTo>
                    <a:lnTo>
                      <a:pt x="1251" y="1425"/>
                    </a:lnTo>
                    <a:lnTo>
                      <a:pt x="1253" y="1423"/>
                    </a:lnTo>
                    <a:lnTo>
                      <a:pt x="1253" y="1425"/>
                    </a:lnTo>
                    <a:lnTo>
                      <a:pt x="1251" y="1425"/>
                    </a:lnTo>
                    <a:lnTo>
                      <a:pt x="1249" y="1425"/>
                    </a:lnTo>
                    <a:lnTo>
                      <a:pt x="1249" y="1427"/>
                    </a:lnTo>
                    <a:lnTo>
                      <a:pt x="1247" y="1427"/>
                    </a:lnTo>
                    <a:lnTo>
                      <a:pt x="1249" y="1427"/>
                    </a:lnTo>
                    <a:lnTo>
                      <a:pt x="1251" y="1427"/>
                    </a:lnTo>
                    <a:lnTo>
                      <a:pt x="1251" y="1431"/>
                    </a:lnTo>
                    <a:lnTo>
                      <a:pt x="1251" y="1429"/>
                    </a:lnTo>
                    <a:lnTo>
                      <a:pt x="1251" y="1427"/>
                    </a:lnTo>
                    <a:lnTo>
                      <a:pt x="1253" y="1427"/>
                    </a:lnTo>
                    <a:lnTo>
                      <a:pt x="1253" y="1429"/>
                    </a:lnTo>
                    <a:lnTo>
                      <a:pt x="1251" y="1429"/>
                    </a:lnTo>
                    <a:lnTo>
                      <a:pt x="1253" y="1429"/>
                    </a:lnTo>
                    <a:lnTo>
                      <a:pt x="1253" y="1427"/>
                    </a:lnTo>
                    <a:lnTo>
                      <a:pt x="1255" y="1429"/>
                    </a:lnTo>
                    <a:lnTo>
                      <a:pt x="1255" y="1427"/>
                    </a:lnTo>
                    <a:lnTo>
                      <a:pt x="1257" y="1427"/>
                    </a:lnTo>
                    <a:lnTo>
                      <a:pt x="1257" y="1429"/>
                    </a:lnTo>
                    <a:lnTo>
                      <a:pt x="1259" y="1429"/>
                    </a:lnTo>
                    <a:lnTo>
                      <a:pt x="1259" y="1431"/>
                    </a:lnTo>
                    <a:lnTo>
                      <a:pt x="1259" y="1433"/>
                    </a:lnTo>
                    <a:lnTo>
                      <a:pt x="1257" y="1431"/>
                    </a:lnTo>
                    <a:lnTo>
                      <a:pt x="1255" y="1431"/>
                    </a:lnTo>
                    <a:lnTo>
                      <a:pt x="1257" y="1429"/>
                    </a:lnTo>
                    <a:lnTo>
                      <a:pt x="1255" y="1431"/>
                    </a:lnTo>
                    <a:lnTo>
                      <a:pt x="1257" y="1433"/>
                    </a:lnTo>
                    <a:lnTo>
                      <a:pt x="1259" y="1433"/>
                    </a:lnTo>
                    <a:lnTo>
                      <a:pt x="1259" y="1435"/>
                    </a:lnTo>
                    <a:lnTo>
                      <a:pt x="1257" y="1435"/>
                    </a:lnTo>
                    <a:lnTo>
                      <a:pt x="1259" y="1435"/>
                    </a:lnTo>
                    <a:lnTo>
                      <a:pt x="1259" y="1436"/>
                    </a:lnTo>
                    <a:lnTo>
                      <a:pt x="1257" y="1438"/>
                    </a:lnTo>
                    <a:lnTo>
                      <a:pt x="1257" y="1436"/>
                    </a:lnTo>
                    <a:lnTo>
                      <a:pt x="1257" y="1438"/>
                    </a:lnTo>
                    <a:lnTo>
                      <a:pt x="1255" y="1440"/>
                    </a:lnTo>
                    <a:lnTo>
                      <a:pt x="1253" y="1438"/>
                    </a:lnTo>
                    <a:lnTo>
                      <a:pt x="1253" y="1440"/>
                    </a:lnTo>
                    <a:lnTo>
                      <a:pt x="1253" y="1442"/>
                    </a:lnTo>
                    <a:lnTo>
                      <a:pt x="1251" y="1442"/>
                    </a:lnTo>
                    <a:lnTo>
                      <a:pt x="1251" y="1440"/>
                    </a:lnTo>
                    <a:lnTo>
                      <a:pt x="1249" y="1440"/>
                    </a:lnTo>
                    <a:lnTo>
                      <a:pt x="1249" y="1442"/>
                    </a:lnTo>
                    <a:lnTo>
                      <a:pt x="1251" y="1442"/>
                    </a:lnTo>
                    <a:lnTo>
                      <a:pt x="1253" y="1442"/>
                    </a:lnTo>
                    <a:lnTo>
                      <a:pt x="1255" y="1442"/>
                    </a:lnTo>
                    <a:lnTo>
                      <a:pt x="1257" y="1442"/>
                    </a:lnTo>
                    <a:lnTo>
                      <a:pt x="1259" y="1442"/>
                    </a:lnTo>
                    <a:lnTo>
                      <a:pt x="1259" y="1444"/>
                    </a:lnTo>
                    <a:lnTo>
                      <a:pt x="1260" y="1444"/>
                    </a:lnTo>
                    <a:lnTo>
                      <a:pt x="1259" y="1444"/>
                    </a:lnTo>
                    <a:lnTo>
                      <a:pt x="1259" y="1446"/>
                    </a:lnTo>
                    <a:lnTo>
                      <a:pt x="1260" y="1446"/>
                    </a:lnTo>
                    <a:lnTo>
                      <a:pt x="1259" y="1448"/>
                    </a:lnTo>
                    <a:lnTo>
                      <a:pt x="1260" y="1448"/>
                    </a:lnTo>
                    <a:lnTo>
                      <a:pt x="1259" y="1448"/>
                    </a:lnTo>
                    <a:lnTo>
                      <a:pt x="1260" y="1448"/>
                    </a:lnTo>
                    <a:lnTo>
                      <a:pt x="1259" y="1448"/>
                    </a:lnTo>
                    <a:lnTo>
                      <a:pt x="1257" y="1448"/>
                    </a:lnTo>
                    <a:lnTo>
                      <a:pt x="1259" y="1448"/>
                    </a:lnTo>
                    <a:lnTo>
                      <a:pt x="1259" y="1450"/>
                    </a:lnTo>
                    <a:lnTo>
                      <a:pt x="1259" y="1448"/>
                    </a:lnTo>
                    <a:lnTo>
                      <a:pt x="1260" y="1450"/>
                    </a:lnTo>
                    <a:lnTo>
                      <a:pt x="1262" y="1450"/>
                    </a:lnTo>
                    <a:lnTo>
                      <a:pt x="1262" y="1448"/>
                    </a:lnTo>
                    <a:lnTo>
                      <a:pt x="1264" y="1450"/>
                    </a:lnTo>
                    <a:lnTo>
                      <a:pt x="1262" y="1450"/>
                    </a:lnTo>
                    <a:lnTo>
                      <a:pt x="1262" y="1452"/>
                    </a:lnTo>
                    <a:lnTo>
                      <a:pt x="1264" y="1450"/>
                    </a:lnTo>
                    <a:lnTo>
                      <a:pt x="1266" y="1450"/>
                    </a:lnTo>
                    <a:lnTo>
                      <a:pt x="1266" y="1452"/>
                    </a:lnTo>
                    <a:lnTo>
                      <a:pt x="1268" y="1452"/>
                    </a:lnTo>
                    <a:lnTo>
                      <a:pt x="1268" y="1454"/>
                    </a:lnTo>
                    <a:lnTo>
                      <a:pt x="1268" y="1456"/>
                    </a:lnTo>
                    <a:lnTo>
                      <a:pt x="1268" y="1457"/>
                    </a:lnTo>
                    <a:lnTo>
                      <a:pt x="1266" y="1456"/>
                    </a:lnTo>
                    <a:lnTo>
                      <a:pt x="1264" y="1456"/>
                    </a:lnTo>
                    <a:lnTo>
                      <a:pt x="1264" y="1457"/>
                    </a:lnTo>
                    <a:lnTo>
                      <a:pt x="1262" y="1459"/>
                    </a:lnTo>
                    <a:lnTo>
                      <a:pt x="1262" y="1461"/>
                    </a:lnTo>
                    <a:lnTo>
                      <a:pt x="1260" y="1461"/>
                    </a:lnTo>
                    <a:lnTo>
                      <a:pt x="1259" y="1461"/>
                    </a:lnTo>
                    <a:lnTo>
                      <a:pt x="1259" y="1463"/>
                    </a:lnTo>
                    <a:lnTo>
                      <a:pt x="1262" y="1463"/>
                    </a:lnTo>
                    <a:lnTo>
                      <a:pt x="1260" y="1465"/>
                    </a:lnTo>
                    <a:lnTo>
                      <a:pt x="1260" y="1463"/>
                    </a:lnTo>
                    <a:lnTo>
                      <a:pt x="1260" y="1465"/>
                    </a:lnTo>
                    <a:lnTo>
                      <a:pt x="1262" y="1465"/>
                    </a:lnTo>
                    <a:lnTo>
                      <a:pt x="1262" y="1467"/>
                    </a:lnTo>
                    <a:lnTo>
                      <a:pt x="1260" y="1465"/>
                    </a:lnTo>
                    <a:lnTo>
                      <a:pt x="1260" y="1467"/>
                    </a:lnTo>
                    <a:lnTo>
                      <a:pt x="1260" y="1465"/>
                    </a:lnTo>
                    <a:lnTo>
                      <a:pt x="1259" y="1465"/>
                    </a:lnTo>
                    <a:lnTo>
                      <a:pt x="1257" y="1465"/>
                    </a:lnTo>
                    <a:lnTo>
                      <a:pt x="1255" y="1465"/>
                    </a:lnTo>
                    <a:lnTo>
                      <a:pt x="1257" y="1465"/>
                    </a:lnTo>
                    <a:lnTo>
                      <a:pt x="1255" y="1465"/>
                    </a:lnTo>
                    <a:lnTo>
                      <a:pt x="1257" y="1467"/>
                    </a:lnTo>
                    <a:lnTo>
                      <a:pt x="1259" y="1465"/>
                    </a:lnTo>
                    <a:lnTo>
                      <a:pt x="1259" y="1467"/>
                    </a:lnTo>
                    <a:lnTo>
                      <a:pt x="1253" y="1467"/>
                    </a:lnTo>
                    <a:lnTo>
                      <a:pt x="1259" y="1467"/>
                    </a:lnTo>
                    <a:lnTo>
                      <a:pt x="1260" y="1467"/>
                    </a:lnTo>
                    <a:lnTo>
                      <a:pt x="1260" y="1469"/>
                    </a:lnTo>
                    <a:lnTo>
                      <a:pt x="1260" y="1467"/>
                    </a:lnTo>
                    <a:lnTo>
                      <a:pt x="1262" y="1467"/>
                    </a:lnTo>
                    <a:lnTo>
                      <a:pt x="1262" y="1469"/>
                    </a:lnTo>
                    <a:lnTo>
                      <a:pt x="1260" y="1471"/>
                    </a:lnTo>
                    <a:lnTo>
                      <a:pt x="1259" y="1469"/>
                    </a:lnTo>
                    <a:lnTo>
                      <a:pt x="1257" y="1469"/>
                    </a:lnTo>
                    <a:lnTo>
                      <a:pt x="1259" y="1469"/>
                    </a:lnTo>
                    <a:lnTo>
                      <a:pt x="1259" y="1471"/>
                    </a:lnTo>
                    <a:lnTo>
                      <a:pt x="1257" y="1469"/>
                    </a:lnTo>
                    <a:lnTo>
                      <a:pt x="1255" y="1471"/>
                    </a:lnTo>
                    <a:lnTo>
                      <a:pt x="1259" y="1471"/>
                    </a:lnTo>
                    <a:lnTo>
                      <a:pt x="1257" y="1471"/>
                    </a:lnTo>
                    <a:lnTo>
                      <a:pt x="1255" y="1471"/>
                    </a:lnTo>
                    <a:lnTo>
                      <a:pt x="1257" y="1473"/>
                    </a:lnTo>
                    <a:lnTo>
                      <a:pt x="1259" y="1473"/>
                    </a:lnTo>
                    <a:lnTo>
                      <a:pt x="1259" y="1471"/>
                    </a:lnTo>
                    <a:lnTo>
                      <a:pt x="1259" y="1473"/>
                    </a:lnTo>
                    <a:lnTo>
                      <a:pt x="1260" y="1473"/>
                    </a:lnTo>
                    <a:lnTo>
                      <a:pt x="1260" y="1475"/>
                    </a:lnTo>
                    <a:lnTo>
                      <a:pt x="1259" y="1475"/>
                    </a:lnTo>
                    <a:lnTo>
                      <a:pt x="1262" y="1475"/>
                    </a:lnTo>
                    <a:lnTo>
                      <a:pt x="1260" y="1475"/>
                    </a:lnTo>
                    <a:lnTo>
                      <a:pt x="1262" y="1475"/>
                    </a:lnTo>
                    <a:lnTo>
                      <a:pt x="1264" y="1475"/>
                    </a:lnTo>
                    <a:lnTo>
                      <a:pt x="1262" y="1475"/>
                    </a:lnTo>
                    <a:lnTo>
                      <a:pt x="1262" y="1477"/>
                    </a:lnTo>
                    <a:lnTo>
                      <a:pt x="1264" y="1475"/>
                    </a:lnTo>
                    <a:lnTo>
                      <a:pt x="1264" y="1477"/>
                    </a:lnTo>
                    <a:lnTo>
                      <a:pt x="1260" y="1475"/>
                    </a:lnTo>
                    <a:lnTo>
                      <a:pt x="1260" y="1477"/>
                    </a:lnTo>
                    <a:lnTo>
                      <a:pt x="1262" y="1477"/>
                    </a:lnTo>
                    <a:lnTo>
                      <a:pt x="1260" y="1477"/>
                    </a:lnTo>
                    <a:lnTo>
                      <a:pt x="1262" y="1477"/>
                    </a:lnTo>
                    <a:lnTo>
                      <a:pt x="1260" y="1477"/>
                    </a:lnTo>
                    <a:lnTo>
                      <a:pt x="1259" y="1475"/>
                    </a:lnTo>
                    <a:lnTo>
                      <a:pt x="1259" y="1477"/>
                    </a:lnTo>
                    <a:lnTo>
                      <a:pt x="1257" y="1475"/>
                    </a:lnTo>
                    <a:lnTo>
                      <a:pt x="1257" y="1477"/>
                    </a:lnTo>
                    <a:lnTo>
                      <a:pt x="1259" y="1477"/>
                    </a:lnTo>
                    <a:lnTo>
                      <a:pt x="1257" y="1477"/>
                    </a:lnTo>
                    <a:lnTo>
                      <a:pt x="1257" y="1478"/>
                    </a:lnTo>
                    <a:lnTo>
                      <a:pt x="1259" y="1478"/>
                    </a:lnTo>
                    <a:lnTo>
                      <a:pt x="1259" y="1477"/>
                    </a:lnTo>
                    <a:lnTo>
                      <a:pt x="1260" y="1478"/>
                    </a:lnTo>
                    <a:lnTo>
                      <a:pt x="1259" y="1478"/>
                    </a:lnTo>
                    <a:lnTo>
                      <a:pt x="1260" y="1478"/>
                    </a:lnTo>
                    <a:lnTo>
                      <a:pt x="1262" y="1478"/>
                    </a:lnTo>
                    <a:lnTo>
                      <a:pt x="1264" y="1478"/>
                    </a:lnTo>
                    <a:lnTo>
                      <a:pt x="1268" y="1477"/>
                    </a:lnTo>
                    <a:lnTo>
                      <a:pt x="1268" y="1478"/>
                    </a:lnTo>
                    <a:lnTo>
                      <a:pt x="1266" y="1478"/>
                    </a:lnTo>
                    <a:lnTo>
                      <a:pt x="1266" y="1480"/>
                    </a:lnTo>
                    <a:lnTo>
                      <a:pt x="1268" y="1480"/>
                    </a:lnTo>
                    <a:lnTo>
                      <a:pt x="1266" y="1482"/>
                    </a:lnTo>
                    <a:lnTo>
                      <a:pt x="1268" y="1482"/>
                    </a:lnTo>
                    <a:lnTo>
                      <a:pt x="1270" y="1482"/>
                    </a:lnTo>
                    <a:lnTo>
                      <a:pt x="1268" y="1482"/>
                    </a:lnTo>
                    <a:lnTo>
                      <a:pt x="1268" y="1484"/>
                    </a:lnTo>
                    <a:lnTo>
                      <a:pt x="1266" y="1482"/>
                    </a:lnTo>
                    <a:lnTo>
                      <a:pt x="1266" y="1484"/>
                    </a:lnTo>
                    <a:lnTo>
                      <a:pt x="1268" y="1484"/>
                    </a:lnTo>
                    <a:lnTo>
                      <a:pt x="1266" y="1484"/>
                    </a:lnTo>
                    <a:lnTo>
                      <a:pt x="1266" y="1486"/>
                    </a:lnTo>
                    <a:lnTo>
                      <a:pt x="1270" y="1484"/>
                    </a:lnTo>
                    <a:lnTo>
                      <a:pt x="1270" y="1486"/>
                    </a:lnTo>
                    <a:lnTo>
                      <a:pt x="1270" y="1484"/>
                    </a:lnTo>
                    <a:lnTo>
                      <a:pt x="1272" y="1484"/>
                    </a:lnTo>
                    <a:lnTo>
                      <a:pt x="1272" y="1486"/>
                    </a:lnTo>
                    <a:lnTo>
                      <a:pt x="1272" y="1488"/>
                    </a:lnTo>
                    <a:lnTo>
                      <a:pt x="1270" y="1488"/>
                    </a:lnTo>
                    <a:lnTo>
                      <a:pt x="1272" y="1488"/>
                    </a:lnTo>
                    <a:lnTo>
                      <a:pt x="1274" y="1488"/>
                    </a:lnTo>
                    <a:lnTo>
                      <a:pt x="1276" y="1488"/>
                    </a:lnTo>
                    <a:lnTo>
                      <a:pt x="1278" y="1488"/>
                    </a:lnTo>
                    <a:lnTo>
                      <a:pt x="1278" y="1490"/>
                    </a:lnTo>
                    <a:lnTo>
                      <a:pt x="1276" y="1492"/>
                    </a:lnTo>
                    <a:lnTo>
                      <a:pt x="1276" y="1490"/>
                    </a:lnTo>
                    <a:lnTo>
                      <a:pt x="1276" y="1492"/>
                    </a:lnTo>
                    <a:lnTo>
                      <a:pt x="1274" y="1492"/>
                    </a:lnTo>
                    <a:lnTo>
                      <a:pt x="1276" y="1492"/>
                    </a:lnTo>
                    <a:lnTo>
                      <a:pt x="1278" y="1492"/>
                    </a:lnTo>
                    <a:lnTo>
                      <a:pt x="1280" y="1488"/>
                    </a:lnTo>
                    <a:lnTo>
                      <a:pt x="1280" y="1490"/>
                    </a:lnTo>
                    <a:lnTo>
                      <a:pt x="1280" y="1492"/>
                    </a:lnTo>
                    <a:lnTo>
                      <a:pt x="1278" y="1494"/>
                    </a:lnTo>
                    <a:lnTo>
                      <a:pt x="1280" y="1494"/>
                    </a:lnTo>
                    <a:lnTo>
                      <a:pt x="1278" y="1496"/>
                    </a:lnTo>
                    <a:lnTo>
                      <a:pt x="1280" y="1496"/>
                    </a:lnTo>
                    <a:lnTo>
                      <a:pt x="1281" y="1490"/>
                    </a:lnTo>
                    <a:lnTo>
                      <a:pt x="1283" y="1490"/>
                    </a:lnTo>
                    <a:lnTo>
                      <a:pt x="1283" y="1492"/>
                    </a:lnTo>
                    <a:lnTo>
                      <a:pt x="1283" y="1490"/>
                    </a:lnTo>
                    <a:lnTo>
                      <a:pt x="1283" y="1492"/>
                    </a:lnTo>
                    <a:lnTo>
                      <a:pt x="1283" y="1494"/>
                    </a:lnTo>
                    <a:lnTo>
                      <a:pt x="1281" y="1494"/>
                    </a:lnTo>
                    <a:lnTo>
                      <a:pt x="1281" y="1496"/>
                    </a:lnTo>
                    <a:lnTo>
                      <a:pt x="1281" y="1494"/>
                    </a:lnTo>
                    <a:lnTo>
                      <a:pt x="1283" y="1496"/>
                    </a:lnTo>
                    <a:lnTo>
                      <a:pt x="1283" y="1497"/>
                    </a:lnTo>
                    <a:lnTo>
                      <a:pt x="1281" y="1497"/>
                    </a:lnTo>
                    <a:lnTo>
                      <a:pt x="1283" y="1496"/>
                    </a:lnTo>
                    <a:lnTo>
                      <a:pt x="1285" y="1496"/>
                    </a:lnTo>
                    <a:lnTo>
                      <a:pt x="1283" y="1497"/>
                    </a:lnTo>
                    <a:lnTo>
                      <a:pt x="1283" y="1499"/>
                    </a:lnTo>
                    <a:lnTo>
                      <a:pt x="1281" y="1499"/>
                    </a:lnTo>
                    <a:lnTo>
                      <a:pt x="1281" y="1501"/>
                    </a:lnTo>
                    <a:lnTo>
                      <a:pt x="1281" y="1503"/>
                    </a:lnTo>
                    <a:lnTo>
                      <a:pt x="1283" y="1501"/>
                    </a:lnTo>
                    <a:lnTo>
                      <a:pt x="1281" y="1501"/>
                    </a:lnTo>
                    <a:lnTo>
                      <a:pt x="1283" y="1499"/>
                    </a:lnTo>
                    <a:lnTo>
                      <a:pt x="1283" y="1497"/>
                    </a:lnTo>
                    <a:lnTo>
                      <a:pt x="1285" y="1499"/>
                    </a:lnTo>
                    <a:lnTo>
                      <a:pt x="1283" y="1499"/>
                    </a:lnTo>
                    <a:lnTo>
                      <a:pt x="1283" y="1501"/>
                    </a:lnTo>
                    <a:lnTo>
                      <a:pt x="1283" y="1499"/>
                    </a:lnTo>
                    <a:lnTo>
                      <a:pt x="1285" y="1499"/>
                    </a:lnTo>
                    <a:lnTo>
                      <a:pt x="1283" y="1499"/>
                    </a:lnTo>
                    <a:lnTo>
                      <a:pt x="1285" y="1499"/>
                    </a:lnTo>
                    <a:lnTo>
                      <a:pt x="1285" y="1497"/>
                    </a:lnTo>
                    <a:lnTo>
                      <a:pt x="1285" y="1499"/>
                    </a:lnTo>
                    <a:lnTo>
                      <a:pt x="1285" y="1501"/>
                    </a:lnTo>
                    <a:lnTo>
                      <a:pt x="1285" y="1499"/>
                    </a:lnTo>
                    <a:lnTo>
                      <a:pt x="1285" y="1501"/>
                    </a:lnTo>
                    <a:lnTo>
                      <a:pt x="1283" y="1499"/>
                    </a:lnTo>
                    <a:lnTo>
                      <a:pt x="1283" y="1501"/>
                    </a:lnTo>
                    <a:lnTo>
                      <a:pt x="1283" y="1503"/>
                    </a:lnTo>
                    <a:lnTo>
                      <a:pt x="1283" y="1505"/>
                    </a:lnTo>
                    <a:lnTo>
                      <a:pt x="1281" y="1505"/>
                    </a:lnTo>
                    <a:lnTo>
                      <a:pt x="1281" y="1503"/>
                    </a:lnTo>
                    <a:lnTo>
                      <a:pt x="1281" y="1505"/>
                    </a:lnTo>
                    <a:lnTo>
                      <a:pt x="1281" y="1507"/>
                    </a:lnTo>
                    <a:lnTo>
                      <a:pt x="1280" y="1507"/>
                    </a:lnTo>
                    <a:lnTo>
                      <a:pt x="1281" y="1505"/>
                    </a:lnTo>
                    <a:lnTo>
                      <a:pt x="1281" y="1507"/>
                    </a:lnTo>
                    <a:lnTo>
                      <a:pt x="1283" y="1505"/>
                    </a:lnTo>
                    <a:lnTo>
                      <a:pt x="1281" y="1507"/>
                    </a:lnTo>
                    <a:lnTo>
                      <a:pt x="1281" y="1509"/>
                    </a:lnTo>
                    <a:lnTo>
                      <a:pt x="1280" y="1511"/>
                    </a:lnTo>
                    <a:lnTo>
                      <a:pt x="1278" y="1511"/>
                    </a:lnTo>
                    <a:lnTo>
                      <a:pt x="1280" y="1511"/>
                    </a:lnTo>
                    <a:lnTo>
                      <a:pt x="1281" y="1509"/>
                    </a:lnTo>
                    <a:lnTo>
                      <a:pt x="1281" y="1507"/>
                    </a:lnTo>
                    <a:lnTo>
                      <a:pt x="1283" y="1507"/>
                    </a:lnTo>
                    <a:lnTo>
                      <a:pt x="1283" y="1509"/>
                    </a:lnTo>
                    <a:lnTo>
                      <a:pt x="1285" y="1505"/>
                    </a:lnTo>
                    <a:lnTo>
                      <a:pt x="1287" y="1505"/>
                    </a:lnTo>
                    <a:lnTo>
                      <a:pt x="1285" y="1505"/>
                    </a:lnTo>
                    <a:lnTo>
                      <a:pt x="1287" y="1505"/>
                    </a:lnTo>
                    <a:lnTo>
                      <a:pt x="1285" y="1509"/>
                    </a:lnTo>
                    <a:lnTo>
                      <a:pt x="1287" y="1507"/>
                    </a:lnTo>
                    <a:lnTo>
                      <a:pt x="1287" y="1505"/>
                    </a:lnTo>
                    <a:lnTo>
                      <a:pt x="1289" y="1505"/>
                    </a:lnTo>
                    <a:lnTo>
                      <a:pt x="1287" y="1505"/>
                    </a:lnTo>
                    <a:lnTo>
                      <a:pt x="1287" y="1507"/>
                    </a:lnTo>
                    <a:lnTo>
                      <a:pt x="1287" y="1509"/>
                    </a:lnTo>
                    <a:lnTo>
                      <a:pt x="1285" y="1509"/>
                    </a:lnTo>
                    <a:lnTo>
                      <a:pt x="1285" y="1511"/>
                    </a:lnTo>
                    <a:lnTo>
                      <a:pt x="1287" y="1509"/>
                    </a:lnTo>
                    <a:lnTo>
                      <a:pt x="1289" y="1507"/>
                    </a:lnTo>
                    <a:lnTo>
                      <a:pt x="1289" y="1505"/>
                    </a:lnTo>
                    <a:lnTo>
                      <a:pt x="1291" y="1505"/>
                    </a:lnTo>
                    <a:lnTo>
                      <a:pt x="1291" y="1503"/>
                    </a:lnTo>
                    <a:lnTo>
                      <a:pt x="1293" y="1503"/>
                    </a:lnTo>
                    <a:lnTo>
                      <a:pt x="1293" y="1505"/>
                    </a:lnTo>
                    <a:lnTo>
                      <a:pt x="1293" y="1503"/>
                    </a:lnTo>
                    <a:lnTo>
                      <a:pt x="1293" y="1505"/>
                    </a:lnTo>
                    <a:lnTo>
                      <a:pt x="1293" y="1507"/>
                    </a:lnTo>
                    <a:lnTo>
                      <a:pt x="1291" y="1509"/>
                    </a:lnTo>
                    <a:lnTo>
                      <a:pt x="1289" y="1507"/>
                    </a:lnTo>
                    <a:lnTo>
                      <a:pt x="1289" y="1509"/>
                    </a:lnTo>
                    <a:lnTo>
                      <a:pt x="1291" y="1509"/>
                    </a:lnTo>
                    <a:lnTo>
                      <a:pt x="1293" y="1509"/>
                    </a:lnTo>
                    <a:lnTo>
                      <a:pt x="1293" y="1507"/>
                    </a:lnTo>
                    <a:lnTo>
                      <a:pt x="1295" y="1509"/>
                    </a:lnTo>
                    <a:lnTo>
                      <a:pt x="1295" y="1507"/>
                    </a:lnTo>
                    <a:lnTo>
                      <a:pt x="1295" y="1509"/>
                    </a:lnTo>
                    <a:lnTo>
                      <a:pt x="1297" y="1507"/>
                    </a:lnTo>
                    <a:lnTo>
                      <a:pt x="1297" y="1505"/>
                    </a:lnTo>
                    <a:lnTo>
                      <a:pt x="1297" y="1507"/>
                    </a:lnTo>
                    <a:lnTo>
                      <a:pt x="1297" y="1509"/>
                    </a:lnTo>
                    <a:lnTo>
                      <a:pt x="1299" y="1507"/>
                    </a:lnTo>
                    <a:lnTo>
                      <a:pt x="1299" y="1509"/>
                    </a:lnTo>
                    <a:lnTo>
                      <a:pt x="1297" y="1509"/>
                    </a:lnTo>
                    <a:lnTo>
                      <a:pt x="1297" y="1511"/>
                    </a:lnTo>
                    <a:lnTo>
                      <a:pt x="1295" y="1513"/>
                    </a:lnTo>
                    <a:lnTo>
                      <a:pt x="1293" y="1513"/>
                    </a:lnTo>
                    <a:lnTo>
                      <a:pt x="1293" y="1515"/>
                    </a:lnTo>
                    <a:lnTo>
                      <a:pt x="1291" y="1515"/>
                    </a:lnTo>
                    <a:lnTo>
                      <a:pt x="1291" y="1517"/>
                    </a:lnTo>
                    <a:lnTo>
                      <a:pt x="1293" y="1517"/>
                    </a:lnTo>
                    <a:lnTo>
                      <a:pt x="1293" y="1515"/>
                    </a:lnTo>
                    <a:lnTo>
                      <a:pt x="1295" y="1515"/>
                    </a:lnTo>
                    <a:lnTo>
                      <a:pt x="1295" y="1513"/>
                    </a:lnTo>
                    <a:lnTo>
                      <a:pt x="1297" y="1513"/>
                    </a:lnTo>
                    <a:lnTo>
                      <a:pt x="1299" y="1511"/>
                    </a:lnTo>
                    <a:lnTo>
                      <a:pt x="1301" y="1509"/>
                    </a:lnTo>
                    <a:lnTo>
                      <a:pt x="1301" y="1507"/>
                    </a:lnTo>
                    <a:lnTo>
                      <a:pt x="1302" y="1505"/>
                    </a:lnTo>
                    <a:lnTo>
                      <a:pt x="1301" y="1507"/>
                    </a:lnTo>
                    <a:lnTo>
                      <a:pt x="1302" y="1507"/>
                    </a:lnTo>
                    <a:lnTo>
                      <a:pt x="1302" y="1505"/>
                    </a:lnTo>
                    <a:lnTo>
                      <a:pt x="1302" y="1507"/>
                    </a:lnTo>
                    <a:lnTo>
                      <a:pt x="1302" y="1509"/>
                    </a:lnTo>
                    <a:lnTo>
                      <a:pt x="1301" y="1509"/>
                    </a:lnTo>
                    <a:lnTo>
                      <a:pt x="1301" y="1511"/>
                    </a:lnTo>
                    <a:lnTo>
                      <a:pt x="1301" y="1513"/>
                    </a:lnTo>
                    <a:lnTo>
                      <a:pt x="1302" y="1511"/>
                    </a:lnTo>
                    <a:lnTo>
                      <a:pt x="1301" y="1511"/>
                    </a:lnTo>
                    <a:lnTo>
                      <a:pt x="1301" y="1509"/>
                    </a:lnTo>
                    <a:lnTo>
                      <a:pt x="1302" y="1509"/>
                    </a:lnTo>
                    <a:lnTo>
                      <a:pt x="1302" y="1511"/>
                    </a:lnTo>
                    <a:lnTo>
                      <a:pt x="1302" y="1509"/>
                    </a:lnTo>
                    <a:lnTo>
                      <a:pt x="1304" y="1509"/>
                    </a:lnTo>
                    <a:lnTo>
                      <a:pt x="1302" y="1511"/>
                    </a:lnTo>
                    <a:lnTo>
                      <a:pt x="1304" y="1511"/>
                    </a:lnTo>
                    <a:lnTo>
                      <a:pt x="1304" y="1509"/>
                    </a:lnTo>
                    <a:lnTo>
                      <a:pt x="1304" y="1507"/>
                    </a:lnTo>
                    <a:lnTo>
                      <a:pt x="1306" y="1509"/>
                    </a:lnTo>
                    <a:lnTo>
                      <a:pt x="1306" y="1511"/>
                    </a:lnTo>
                    <a:lnTo>
                      <a:pt x="1304" y="1513"/>
                    </a:lnTo>
                    <a:lnTo>
                      <a:pt x="1306" y="1511"/>
                    </a:lnTo>
                    <a:lnTo>
                      <a:pt x="1306" y="1513"/>
                    </a:lnTo>
                    <a:lnTo>
                      <a:pt x="1306" y="1515"/>
                    </a:lnTo>
                    <a:lnTo>
                      <a:pt x="1304" y="1515"/>
                    </a:lnTo>
                    <a:lnTo>
                      <a:pt x="1306" y="1515"/>
                    </a:lnTo>
                    <a:lnTo>
                      <a:pt x="1306" y="1517"/>
                    </a:lnTo>
                    <a:lnTo>
                      <a:pt x="1308" y="1517"/>
                    </a:lnTo>
                    <a:lnTo>
                      <a:pt x="1308" y="1518"/>
                    </a:lnTo>
                    <a:lnTo>
                      <a:pt x="1310" y="1517"/>
                    </a:lnTo>
                    <a:lnTo>
                      <a:pt x="1312" y="1518"/>
                    </a:lnTo>
                    <a:lnTo>
                      <a:pt x="1312" y="1517"/>
                    </a:lnTo>
                    <a:lnTo>
                      <a:pt x="1312" y="1518"/>
                    </a:lnTo>
                    <a:lnTo>
                      <a:pt x="1314" y="1517"/>
                    </a:lnTo>
                    <a:lnTo>
                      <a:pt x="1312" y="1518"/>
                    </a:lnTo>
                    <a:lnTo>
                      <a:pt x="1314" y="1518"/>
                    </a:lnTo>
                    <a:lnTo>
                      <a:pt x="1314" y="1520"/>
                    </a:lnTo>
                    <a:lnTo>
                      <a:pt x="1316" y="1518"/>
                    </a:lnTo>
                    <a:lnTo>
                      <a:pt x="1314" y="1518"/>
                    </a:lnTo>
                    <a:lnTo>
                      <a:pt x="1318" y="1518"/>
                    </a:lnTo>
                    <a:lnTo>
                      <a:pt x="1318" y="1517"/>
                    </a:lnTo>
                    <a:lnTo>
                      <a:pt x="1318" y="1515"/>
                    </a:lnTo>
                    <a:lnTo>
                      <a:pt x="1318" y="1517"/>
                    </a:lnTo>
                    <a:lnTo>
                      <a:pt x="1320" y="1515"/>
                    </a:lnTo>
                    <a:lnTo>
                      <a:pt x="1322" y="1515"/>
                    </a:lnTo>
                    <a:lnTo>
                      <a:pt x="1322" y="1517"/>
                    </a:lnTo>
                    <a:lnTo>
                      <a:pt x="1322" y="1518"/>
                    </a:lnTo>
                    <a:lnTo>
                      <a:pt x="1322" y="1517"/>
                    </a:lnTo>
                    <a:lnTo>
                      <a:pt x="1323" y="1518"/>
                    </a:lnTo>
                    <a:lnTo>
                      <a:pt x="1323" y="1517"/>
                    </a:lnTo>
                    <a:lnTo>
                      <a:pt x="1323" y="1518"/>
                    </a:lnTo>
                    <a:lnTo>
                      <a:pt x="1322" y="1518"/>
                    </a:lnTo>
                    <a:lnTo>
                      <a:pt x="1320" y="1518"/>
                    </a:lnTo>
                    <a:lnTo>
                      <a:pt x="1318" y="1518"/>
                    </a:lnTo>
                    <a:lnTo>
                      <a:pt x="1320" y="1518"/>
                    </a:lnTo>
                    <a:lnTo>
                      <a:pt x="1318" y="1518"/>
                    </a:lnTo>
                    <a:lnTo>
                      <a:pt x="1320" y="1518"/>
                    </a:lnTo>
                    <a:lnTo>
                      <a:pt x="1320" y="1520"/>
                    </a:lnTo>
                    <a:lnTo>
                      <a:pt x="1322" y="1518"/>
                    </a:lnTo>
                    <a:lnTo>
                      <a:pt x="1322" y="1520"/>
                    </a:lnTo>
                    <a:lnTo>
                      <a:pt x="1322" y="1518"/>
                    </a:lnTo>
                    <a:lnTo>
                      <a:pt x="1323" y="1518"/>
                    </a:lnTo>
                    <a:lnTo>
                      <a:pt x="1325" y="1520"/>
                    </a:lnTo>
                    <a:lnTo>
                      <a:pt x="1325" y="1522"/>
                    </a:lnTo>
                    <a:lnTo>
                      <a:pt x="1327" y="1522"/>
                    </a:lnTo>
                    <a:lnTo>
                      <a:pt x="1329" y="1520"/>
                    </a:lnTo>
                    <a:lnTo>
                      <a:pt x="1329" y="1522"/>
                    </a:lnTo>
                    <a:lnTo>
                      <a:pt x="1331" y="1522"/>
                    </a:lnTo>
                    <a:lnTo>
                      <a:pt x="1329" y="1522"/>
                    </a:lnTo>
                    <a:lnTo>
                      <a:pt x="1331" y="1524"/>
                    </a:lnTo>
                    <a:lnTo>
                      <a:pt x="1331" y="1522"/>
                    </a:lnTo>
                    <a:lnTo>
                      <a:pt x="1331" y="1524"/>
                    </a:lnTo>
                    <a:lnTo>
                      <a:pt x="1331" y="1526"/>
                    </a:lnTo>
                    <a:lnTo>
                      <a:pt x="1329" y="1526"/>
                    </a:lnTo>
                    <a:lnTo>
                      <a:pt x="1325" y="1526"/>
                    </a:lnTo>
                    <a:lnTo>
                      <a:pt x="1329" y="1526"/>
                    </a:lnTo>
                    <a:lnTo>
                      <a:pt x="1331" y="1526"/>
                    </a:lnTo>
                    <a:lnTo>
                      <a:pt x="1329" y="1528"/>
                    </a:lnTo>
                    <a:lnTo>
                      <a:pt x="1329" y="1526"/>
                    </a:lnTo>
                    <a:lnTo>
                      <a:pt x="1329" y="1528"/>
                    </a:lnTo>
                    <a:lnTo>
                      <a:pt x="1327" y="1528"/>
                    </a:lnTo>
                    <a:lnTo>
                      <a:pt x="1327" y="1530"/>
                    </a:lnTo>
                    <a:lnTo>
                      <a:pt x="1325" y="1530"/>
                    </a:lnTo>
                    <a:lnTo>
                      <a:pt x="1323" y="1528"/>
                    </a:lnTo>
                    <a:lnTo>
                      <a:pt x="1323" y="1530"/>
                    </a:lnTo>
                    <a:lnTo>
                      <a:pt x="1323" y="1528"/>
                    </a:lnTo>
                    <a:lnTo>
                      <a:pt x="1320" y="1530"/>
                    </a:lnTo>
                    <a:lnTo>
                      <a:pt x="1320" y="1528"/>
                    </a:lnTo>
                    <a:lnTo>
                      <a:pt x="1318" y="1530"/>
                    </a:lnTo>
                    <a:lnTo>
                      <a:pt x="1316" y="1532"/>
                    </a:lnTo>
                    <a:lnTo>
                      <a:pt x="1318" y="1530"/>
                    </a:lnTo>
                    <a:lnTo>
                      <a:pt x="1320" y="1530"/>
                    </a:lnTo>
                    <a:lnTo>
                      <a:pt x="1318" y="1532"/>
                    </a:lnTo>
                    <a:lnTo>
                      <a:pt x="1314" y="1534"/>
                    </a:lnTo>
                    <a:lnTo>
                      <a:pt x="1316" y="1534"/>
                    </a:lnTo>
                    <a:lnTo>
                      <a:pt x="1314" y="1536"/>
                    </a:lnTo>
                    <a:lnTo>
                      <a:pt x="1316" y="1534"/>
                    </a:lnTo>
                    <a:lnTo>
                      <a:pt x="1318" y="1534"/>
                    </a:lnTo>
                    <a:lnTo>
                      <a:pt x="1320" y="1534"/>
                    </a:lnTo>
                    <a:lnTo>
                      <a:pt x="1322" y="1534"/>
                    </a:lnTo>
                    <a:lnTo>
                      <a:pt x="1323" y="1534"/>
                    </a:lnTo>
                    <a:lnTo>
                      <a:pt x="1325" y="1534"/>
                    </a:lnTo>
                    <a:lnTo>
                      <a:pt x="1327" y="1534"/>
                    </a:lnTo>
                    <a:lnTo>
                      <a:pt x="1329" y="1534"/>
                    </a:lnTo>
                    <a:lnTo>
                      <a:pt x="1329" y="1536"/>
                    </a:lnTo>
                    <a:lnTo>
                      <a:pt x="1329" y="1534"/>
                    </a:lnTo>
                    <a:lnTo>
                      <a:pt x="1331" y="1534"/>
                    </a:lnTo>
                    <a:lnTo>
                      <a:pt x="1329" y="1534"/>
                    </a:lnTo>
                    <a:lnTo>
                      <a:pt x="1331" y="1536"/>
                    </a:lnTo>
                    <a:lnTo>
                      <a:pt x="1329" y="1536"/>
                    </a:lnTo>
                    <a:lnTo>
                      <a:pt x="1331" y="1536"/>
                    </a:lnTo>
                    <a:lnTo>
                      <a:pt x="1333" y="1539"/>
                    </a:lnTo>
                    <a:lnTo>
                      <a:pt x="1333" y="1541"/>
                    </a:lnTo>
                    <a:lnTo>
                      <a:pt x="1335" y="1541"/>
                    </a:lnTo>
                    <a:lnTo>
                      <a:pt x="1333" y="1541"/>
                    </a:lnTo>
                    <a:lnTo>
                      <a:pt x="1333" y="1543"/>
                    </a:lnTo>
                    <a:lnTo>
                      <a:pt x="1335" y="1543"/>
                    </a:lnTo>
                    <a:lnTo>
                      <a:pt x="1337" y="1545"/>
                    </a:lnTo>
                    <a:lnTo>
                      <a:pt x="1335" y="1543"/>
                    </a:lnTo>
                    <a:lnTo>
                      <a:pt x="1335" y="1545"/>
                    </a:lnTo>
                    <a:lnTo>
                      <a:pt x="1335" y="1547"/>
                    </a:lnTo>
                    <a:lnTo>
                      <a:pt x="1335" y="1545"/>
                    </a:lnTo>
                    <a:lnTo>
                      <a:pt x="1335" y="1547"/>
                    </a:lnTo>
                    <a:lnTo>
                      <a:pt x="1333" y="1549"/>
                    </a:lnTo>
                    <a:lnTo>
                      <a:pt x="1331" y="1549"/>
                    </a:lnTo>
                    <a:lnTo>
                      <a:pt x="1329" y="1549"/>
                    </a:lnTo>
                    <a:lnTo>
                      <a:pt x="1329" y="1551"/>
                    </a:lnTo>
                    <a:lnTo>
                      <a:pt x="1331" y="1549"/>
                    </a:lnTo>
                    <a:lnTo>
                      <a:pt x="1331" y="1551"/>
                    </a:lnTo>
                    <a:lnTo>
                      <a:pt x="1331" y="1549"/>
                    </a:lnTo>
                    <a:lnTo>
                      <a:pt x="1333" y="1551"/>
                    </a:lnTo>
                    <a:lnTo>
                      <a:pt x="1331" y="1551"/>
                    </a:lnTo>
                    <a:lnTo>
                      <a:pt x="1331" y="1553"/>
                    </a:lnTo>
                    <a:lnTo>
                      <a:pt x="1333" y="1551"/>
                    </a:lnTo>
                    <a:lnTo>
                      <a:pt x="1333" y="1555"/>
                    </a:lnTo>
                    <a:lnTo>
                      <a:pt x="1331" y="1555"/>
                    </a:lnTo>
                    <a:lnTo>
                      <a:pt x="1333" y="1555"/>
                    </a:lnTo>
                    <a:lnTo>
                      <a:pt x="1333" y="1553"/>
                    </a:lnTo>
                    <a:lnTo>
                      <a:pt x="1335" y="1553"/>
                    </a:lnTo>
                    <a:lnTo>
                      <a:pt x="1335" y="1551"/>
                    </a:lnTo>
                    <a:lnTo>
                      <a:pt x="1335" y="1549"/>
                    </a:lnTo>
                    <a:lnTo>
                      <a:pt x="1337" y="1549"/>
                    </a:lnTo>
                    <a:lnTo>
                      <a:pt x="1337" y="1547"/>
                    </a:lnTo>
                    <a:lnTo>
                      <a:pt x="1339" y="1547"/>
                    </a:lnTo>
                    <a:lnTo>
                      <a:pt x="1341" y="1547"/>
                    </a:lnTo>
                    <a:lnTo>
                      <a:pt x="1342" y="1545"/>
                    </a:lnTo>
                    <a:lnTo>
                      <a:pt x="1342" y="1547"/>
                    </a:lnTo>
                    <a:lnTo>
                      <a:pt x="1344" y="1547"/>
                    </a:lnTo>
                    <a:lnTo>
                      <a:pt x="1342" y="1545"/>
                    </a:lnTo>
                    <a:lnTo>
                      <a:pt x="1344" y="1547"/>
                    </a:lnTo>
                    <a:lnTo>
                      <a:pt x="1344" y="1545"/>
                    </a:lnTo>
                    <a:lnTo>
                      <a:pt x="1346" y="1545"/>
                    </a:lnTo>
                    <a:lnTo>
                      <a:pt x="1346" y="1547"/>
                    </a:lnTo>
                    <a:lnTo>
                      <a:pt x="1344" y="1547"/>
                    </a:lnTo>
                    <a:lnTo>
                      <a:pt x="1342" y="1549"/>
                    </a:lnTo>
                    <a:lnTo>
                      <a:pt x="1342" y="1547"/>
                    </a:lnTo>
                    <a:lnTo>
                      <a:pt x="1342" y="1549"/>
                    </a:lnTo>
                    <a:lnTo>
                      <a:pt x="1342" y="1547"/>
                    </a:lnTo>
                    <a:lnTo>
                      <a:pt x="1341" y="1549"/>
                    </a:lnTo>
                    <a:lnTo>
                      <a:pt x="1342" y="1549"/>
                    </a:lnTo>
                    <a:lnTo>
                      <a:pt x="1344" y="1549"/>
                    </a:lnTo>
                    <a:lnTo>
                      <a:pt x="1346" y="1549"/>
                    </a:lnTo>
                    <a:lnTo>
                      <a:pt x="1346" y="1551"/>
                    </a:lnTo>
                    <a:lnTo>
                      <a:pt x="1348" y="1549"/>
                    </a:lnTo>
                    <a:lnTo>
                      <a:pt x="1348" y="1551"/>
                    </a:lnTo>
                    <a:lnTo>
                      <a:pt x="1346" y="1551"/>
                    </a:lnTo>
                    <a:lnTo>
                      <a:pt x="1350" y="1551"/>
                    </a:lnTo>
                    <a:lnTo>
                      <a:pt x="1352" y="1551"/>
                    </a:lnTo>
                    <a:lnTo>
                      <a:pt x="1354" y="1551"/>
                    </a:lnTo>
                    <a:lnTo>
                      <a:pt x="1352" y="1553"/>
                    </a:lnTo>
                    <a:lnTo>
                      <a:pt x="1354" y="1553"/>
                    </a:lnTo>
                    <a:lnTo>
                      <a:pt x="1352" y="1553"/>
                    </a:lnTo>
                    <a:lnTo>
                      <a:pt x="1352" y="1551"/>
                    </a:lnTo>
                    <a:lnTo>
                      <a:pt x="1350" y="1553"/>
                    </a:lnTo>
                    <a:lnTo>
                      <a:pt x="1350" y="1551"/>
                    </a:lnTo>
                    <a:lnTo>
                      <a:pt x="1348" y="1551"/>
                    </a:lnTo>
                    <a:lnTo>
                      <a:pt x="1348" y="1553"/>
                    </a:lnTo>
                    <a:lnTo>
                      <a:pt x="1350" y="1553"/>
                    </a:lnTo>
                    <a:lnTo>
                      <a:pt x="1352" y="1553"/>
                    </a:lnTo>
                    <a:lnTo>
                      <a:pt x="1352" y="1555"/>
                    </a:lnTo>
                    <a:lnTo>
                      <a:pt x="1354" y="1555"/>
                    </a:lnTo>
                    <a:lnTo>
                      <a:pt x="1352" y="1555"/>
                    </a:lnTo>
                    <a:lnTo>
                      <a:pt x="1354" y="1555"/>
                    </a:lnTo>
                    <a:lnTo>
                      <a:pt x="1352" y="1557"/>
                    </a:lnTo>
                    <a:lnTo>
                      <a:pt x="1354" y="1557"/>
                    </a:lnTo>
                    <a:lnTo>
                      <a:pt x="1354" y="1555"/>
                    </a:lnTo>
                    <a:lnTo>
                      <a:pt x="1356" y="1557"/>
                    </a:lnTo>
                    <a:lnTo>
                      <a:pt x="1354" y="1557"/>
                    </a:lnTo>
                    <a:lnTo>
                      <a:pt x="1356" y="1557"/>
                    </a:lnTo>
                    <a:lnTo>
                      <a:pt x="1354" y="1557"/>
                    </a:lnTo>
                    <a:lnTo>
                      <a:pt x="1356" y="1557"/>
                    </a:lnTo>
                    <a:lnTo>
                      <a:pt x="1356" y="1559"/>
                    </a:lnTo>
                    <a:lnTo>
                      <a:pt x="1354" y="1559"/>
                    </a:lnTo>
                    <a:lnTo>
                      <a:pt x="1356" y="1559"/>
                    </a:lnTo>
                    <a:lnTo>
                      <a:pt x="1356" y="1560"/>
                    </a:lnTo>
                    <a:lnTo>
                      <a:pt x="1356" y="1559"/>
                    </a:lnTo>
                    <a:lnTo>
                      <a:pt x="1358" y="1560"/>
                    </a:lnTo>
                    <a:lnTo>
                      <a:pt x="1356" y="1560"/>
                    </a:lnTo>
                    <a:lnTo>
                      <a:pt x="1356" y="1562"/>
                    </a:lnTo>
                    <a:lnTo>
                      <a:pt x="1358" y="1562"/>
                    </a:lnTo>
                    <a:lnTo>
                      <a:pt x="1356" y="1562"/>
                    </a:lnTo>
                    <a:lnTo>
                      <a:pt x="1358" y="1562"/>
                    </a:lnTo>
                    <a:lnTo>
                      <a:pt x="1356" y="1562"/>
                    </a:lnTo>
                    <a:lnTo>
                      <a:pt x="1356" y="1564"/>
                    </a:lnTo>
                    <a:lnTo>
                      <a:pt x="1354" y="1564"/>
                    </a:lnTo>
                    <a:lnTo>
                      <a:pt x="1354" y="1566"/>
                    </a:lnTo>
                    <a:lnTo>
                      <a:pt x="1352" y="1566"/>
                    </a:lnTo>
                    <a:lnTo>
                      <a:pt x="1354" y="1566"/>
                    </a:lnTo>
                    <a:lnTo>
                      <a:pt x="1356" y="1566"/>
                    </a:lnTo>
                    <a:lnTo>
                      <a:pt x="1354" y="1566"/>
                    </a:lnTo>
                    <a:lnTo>
                      <a:pt x="1356" y="1568"/>
                    </a:lnTo>
                    <a:lnTo>
                      <a:pt x="1354" y="1568"/>
                    </a:lnTo>
                    <a:lnTo>
                      <a:pt x="1356" y="1568"/>
                    </a:lnTo>
                    <a:lnTo>
                      <a:pt x="1356" y="1570"/>
                    </a:lnTo>
                    <a:lnTo>
                      <a:pt x="1354" y="1570"/>
                    </a:lnTo>
                    <a:lnTo>
                      <a:pt x="1354" y="1572"/>
                    </a:lnTo>
                    <a:lnTo>
                      <a:pt x="1354" y="1570"/>
                    </a:lnTo>
                    <a:lnTo>
                      <a:pt x="1354" y="1572"/>
                    </a:lnTo>
                    <a:lnTo>
                      <a:pt x="1352" y="1572"/>
                    </a:lnTo>
                    <a:lnTo>
                      <a:pt x="1354" y="1572"/>
                    </a:lnTo>
                    <a:lnTo>
                      <a:pt x="1352" y="1572"/>
                    </a:lnTo>
                    <a:lnTo>
                      <a:pt x="1350" y="1572"/>
                    </a:lnTo>
                    <a:lnTo>
                      <a:pt x="1350" y="1570"/>
                    </a:lnTo>
                    <a:lnTo>
                      <a:pt x="1350" y="1572"/>
                    </a:lnTo>
                    <a:lnTo>
                      <a:pt x="1352" y="1572"/>
                    </a:lnTo>
                    <a:lnTo>
                      <a:pt x="1352" y="1574"/>
                    </a:lnTo>
                    <a:lnTo>
                      <a:pt x="1354" y="1574"/>
                    </a:lnTo>
                    <a:lnTo>
                      <a:pt x="1356" y="1574"/>
                    </a:lnTo>
                    <a:lnTo>
                      <a:pt x="1356" y="1576"/>
                    </a:lnTo>
                    <a:lnTo>
                      <a:pt x="1358" y="1576"/>
                    </a:lnTo>
                    <a:lnTo>
                      <a:pt x="1356" y="1576"/>
                    </a:lnTo>
                    <a:lnTo>
                      <a:pt x="1358" y="1576"/>
                    </a:lnTo>
                    <a:lnTo>
                      <a:pt x="1356" y="1576"/>
                    </a:lnTo>
                    <a:lnTo>
                      <a:pt x="1356" y="1578"/>
                    </a:lnTo>
                    <a:lnTo>
                      <a:pt x="1356" y="1576"/>
                    </a:lnTo>
                    <a:lnTo>
                      <a:pt x="1356" y="1578"/>
                    </a:lnTo>
                    <a:lnTo>
                      <a:pt x="1354" y="1576"/>
                    </a:lnTo>
                    <a:lnTo>
                      <a:pt x="1356" y="1576"/>
                    </a:lnTo>
                    <a:lnTo>
                      <a:pt x="1354" y="1576"/>
                    </a:lnTo>
                    <a:lnTo>
                      <a:pt x="1350" y="1576"/>
                    </a:lnTo>
                    <a:lnTo>
                      <a:pt x="1352" y="1576"/>
                    </a:lnTo>
                    <a:lnTo>
                      <a:pt x="1354" y="1576"/>
                    </a:lnTo>
                    <a:lnTo>
                      <a:pt x="1354" y="1578"/>
                    </a:lnTo>
                    <a:lnTo>
                      <a:pt x="1352" y="1578"/>
                    </a:lnTo>
                    <a:lnTo>
                      <a:pt x="1354" y="1578"/>
                    </a:lnTo>
                    <a:lnTo>
                      <a:pt x="1352" y="1578"/>
                    </a:lnTo>
                    <a:lnTo>
                      <a:pt x="1354" y="1578"/>
                    </a:lnTo>
                    <a:lnTo>
                      <a:pt x="1354" y="1576"/>
                    </a:lnTo>
                    <a:lnTo>
                      <a:pt x="1356" y="1578"/>
                    </a:lnTo>
                    <a:lnTo>
                      <a:pt x="1354" y="1578"/>
                    </a:lnTo>
                    <a:lnTo>
                      <a:pt x="1352" y="1578"/>
                    </a:lnTo>
                    <a:lnTo>
                      <a:pt x="1350" y="1578"/>
                    </a:lnTo>
                    <a:lnTo>
                      <a:pt x="1350" y="1580"/>
                    </a:lnTo>
                    <a:lnTo>
                      <a:pt x="1350" y="1578"/>
                    </a:lnTo>
                    <a:lnTo>
                      <a:pt x="1352" y="1578"/>
                    </a:lnTo>
                    <a:lnTo>
                      <a:pt x="1352" y="1580"/>
                    </a:lnTo>
                    <a:lnTo>
                      <a:pt x="1354" y="1580"/>
                    </a:lnTo>
                    <a:lnTo>
                      <a:pt x="1356" y="1580"/>
                    </a:lnTo>
                    <a:lnTo>
                      <a:pt x="1358" y="1580"/>
                    </a:lnTo>
                    <a:lnTo>
                      <a:pt x="1356" y="1580"/>
                    </a:lnTo>
                    <a:lnTo>
                      <a:pt x="1358" y="1580"/>
                    </a:lnTo>
                    <a:lnTo>
                      <a:pt x="1356" y="1580"/>
                    </a:lnTo>
                    <a:lnTo>
                      <a:pt x="1358" y="1580"/>
                    </a:lnTo>
                    <a:lnTo>
                      <a:pt x="1356" y="1581"/>
                    </a:lnTo>
                    <a:lnTo>
                      <a:pt x="1358" y="1580"/>
                    </a:lnTo>
                    <a:lnTo>
                      <a:pt x="1358" y="1581"/>
                    </a:lnTo>
                    <a:lnTo>
                      <a:pt x="1358" y="1580"/>
                    </a:lnTo>
                    <a:lnTo>
                      <a:pt x="1360" y="1581"/>
                    </a:lnTo>
                    <a:lnTo>
                      <a:pt x="1358" y="1581"/>
                    </a:lnTo>
                    <a:lnTo>
                      <a:pt x="1360" y="1581"/>
                    </a:lnTo>
                    <a:lnTo>
                      <a:pt x="1358" y="1581"/>
                    </a:lnTo>
                    <a:lnTo>
                      <a:pt x="1360" y="1581"/>
                    </a:lnTo>
                    <a:lnTo>
                      <a:pt x="1358" y="1581"/>
                    </a:lnTo>
                    <a:lnTo>
                      <a:pt x="1360" y="1581"/>
                    </a:lnTo>
                    <a:lnTo>
                      <a:pt x="1358" y="1583"/>
                    </a:lnTo>
                    <a:lnTo>
                      <a:pt x="1360" y="1583"/>
                    </a:lnTo>
                    <a:lnTo>
                      <a:pt x="1358" y="1583"/>
                    </a:lnTo>
                    <a:lnTo>
                      <a:pt x="1358" y="1581"/>
                    </a:lnTo>
                    <a:lnTo>
                      <a:pt x="1356" y="1581"/>
                    </a:lnTo>
                    <a:lnTo>
                      <a:pt x="1356" y="1583"/>
                    </a:lnTo>
                    <a:lnTo>
                      <a:pt x="1354" y="1583"/>
                    </a:lnTo>
                    <a:lnTo>
                      <a:pt x="1356" y="1583"/>
                    </a:lnTo>
                    <a:lnTo>
                      <a:pt x="1350" y="1581"/>
                    </a:lnTo>
                    <a:lnTo>
                      <a:pt x="1348" y="1581"/>
                    </a:lnTo>
                    <a:lnTo>
                      <a:pt x="1350" y="1581"/>
                    </a:lnTo>
                    <a:lnTo>
                      <a:pt x="1354" y="1583"/>
                    </a:lnTo>
                    <a:lnTo>
                      <a:pt x="1356" y="1583"/>
                    </a:lnTo>
                    <a:lnTo>
                      <a:pt x="1356" y="1585"/>
                    </a:lnTo>
                    <a:lnTo>
                      <a:pt x="1358" y="1585"/>
                    </a:lnTo>
                    <a:lnTo>
                      <a:pt x="1356" y="1585"/>
                    </a:lnTo>
                    <a:lnTo>
                      <a:pt x="1358" y="1585"/>
                    </a:lnTo>
                    <a:lnTo>
                      <a:pt x="1358" y="1587"/>
                    </a:lnTo>
                    <a:lnTo>
                      <a:pt x="1360" y="1587"/>
                    </a:lnTo>
                    <a:lnTo>
                      <a:pt x="1358" y="1587"/>
                    </a:lnTo>
                    <a:lnTo>
                      <a:pt x="1356" y="1587"/>
                    </a:lnTo>
                    <a:lnTo>
                      <a:pt x="1358" y="1587"/>
                    </a:lnTo>
                    <a:lnTo>
                      <a:pt x="1358" y="1589"/>
                    </a:lnTo>
                    <a:lnTo>
                      <a:pt x="1358" y="1591"/>
                    </a:lnTo>
                    <a:lnTo>
                      <a:pt x="1356" y="1591"/>
                    </a:lnTo>
                    <a:lnTo>
                      <a:pt x="1356" y="1589"/>
                    </a:lnTo>
                    <a:lnTo>
                      <a:pt x="1356" y="1591"/>
                    </a:lnTo>
                    <a:lnTo>
                      <a:pt x="1356" y="1593"/>
                    </a:lnTo>
                    <a:lnTo>
                      <a:pt x="1354" y="1591"/>
                    </a:lnTo>
                    <a:lnTo>
                      <a:pt x="1354" y="1593"/>
                    </a:lnTo>
                    <a:lnTo>
                      <a:pt x="1354" y="1591"/>
                    </a:lnTo>
                    <a:lnTo>
                      <a:pt x="1352" y="1591"/>
                    </a:lnTo>
                    <a:lnTo>
                      <a:pt x="1354" y="1593"/>
                    </a:lnTo>
                    <a:lnTo>
                      <a:pt x="1352" y="1597"/>
                    </a:lnTo>
                    <a:lnTo>
                      <a:pt x="1350" y="1597"/>
                    </a:lnTo>
                    <a:lnTo>
                      <a:pt x="1350" y="1599"/>
                    </a:lnTo>
                    <a:lnTo>
                      <a:pt x="1348" y="1599"/>
                    </a:lnTo>
                    <a:lnTo>
                      <a:pt x="1346" y="1599"/>
                    </a:lnTo>
                    <a:lnTo>
                      <a:pt x="1346" y="1601"/>
                    </a:lnTo>
                    <a:lnTo>
                      <a:pt x="1342" y="1602"/>
                    </a:lnTo>
                    <a:lnTo>
                      <a:pt x="1342" y="1601"/>
                    </a:lnTo>
                    <a:lnTo>
                      <a:pt x="1342" y="1602"/>
                    </a:lnTo>
                    <a:lnTo>
                      <a:pt x="1341" y="1604"/>
                    </a:lnTo>
                    <a:lnTo>
                      <a:pt x="1341" y="1606"/>
                    </a:lnTo>
                    <a:lnTo>
                      <a:pt x="1339" y="1606"/>
                    </a:lnTo>
                    <a:lnTo>
                      <a:pt x="1337" y="1606"/>
                    </a:lnTo>
                    <a:lnTo>
                      <a:pt x="1337" y="1608"/>
                    </a:lnTo>
                    <a:lnTo>
                      <a:pt x="1337" y="1606"/>
                    </a:lnTo>
                    <a:lnTo>
                      <a:pt x="1335" y="1608"/>
                    </a:lnTo>
                    <a:lnTo>
                      <a:pt x="1335" y="1606"/>
                    </a:lnTo>
                    <a:lnTo>
                      <a:pt x="1335" y="1608"/>
                    </a:lnTo>
                    <a:lnTo>
                      <a:pt x="1333" y="1608"/>
                    </a:lnTo>
                    <a:lnTo>
                      <a:pt x="1333" y="1606"/>
                    </a:lnTo>
                    <a:lnTo>
                      <a:pt x="1333" y="1604"/>
                    </a:lnTo>
                    <a:lnTo>
                      <a:pt x="1333" y="1606"/>
                    </a:lnTo>
                    <a:lnTo>
                      <a:pt x="1333" y="1604"/>
                    </a:lnTo>
                    <a:lnTo>
                      <a:pt x="1331" y="1606"/>
                    </a:lnTo>
                    <a:lnTo>
                      <a:pt x="1329" y="1606"/>
                    </a:lnTo>
                    <a:lnTo>
                      <a:pt x="1327" y="1608"/>
                    </a:lnTo>
                    <a:lnTo>
                      <a:pt x="1327" y="1606"/>
                    </a:lnTo>
                    <a:lnTo>
                      <a:pt x="1325" y="1608"/>
                    </a:lnTo>
                    <a:lnTo>
                      <a:pt x="1325" y="1606"/>
                    </a:lnTo>
                    <a:lnTo>
                      <a:pt x="1325" y="1604"/>
                    </a:lnTo>
                    <a:lnTo>
                      <a:pt x="1325" y="1606"/>
                    </a:lnTo>
                    <a:lnTo>
                      <a:pt x="1325" y="1608"/>
                    </a:lnTo>
                    <a:lnTo>
                      <a:pt x="1323" y="1608"/>
                    </a:lnTo>
                    <a:lnTo>
                      <a:pt x="1325" y="1608"/>
                    </a:lnTo>
                    <a:lnTo>
                      <a:pt x="1323" y="1608"/>
                    </a:lnTo>
                    <a:lnTo>
                      <a:pt x="1325" y="1606"/>
                    </a:lnTo>
                    <a:lnTo>
                      <a:pt x="1323" y="1608"/>
                    </a:lnTo>
                    <a:lnTo>
                      <a:pt x="1322" y="1610"/>
                    </a:lnTo>
                    <a:lnTo>
                      <a:pt x="1320" y="1610"/>
                    </a:lnTo>
                    <a:lnTo>
                      <a:pt x="1318" y="1612"/>
                    </a:lnTo>
                    <a:lnTo>
                      <a:pt x="1318" y="1610"/>
                    </a:lnTo>
                    <a:lnTo>
                      <a:pt x="1316" y="1610"/>
                    </a:lnTo>
                    <a:lnTo>
                      <a:pt x="1316" y="1608"/>
                    </a:lnTo>
                    <a:lnTo>
                      <a:pt x="1318" y="1608"/>
                    </a:lnTo>
                    <a:lnTo>
                      <a:pt x="1316" y="1608"/>
                    </a:lnTo>
                    <a:lnTo>
                      <a:pt x="1316" y="1610"/>
                    </a:lnTo>
                    <a:lnTo>
                      <a:pt x="1316" y="1608"/>
                    </a:lnTo>
                    <a:lnTo>
                      <a:pt x="1316" y="1610"/>
                    </a:lnTo>
                    <a:lnTo>
                      <a:pt x="1318" y="1610"/>
                    </a:lnTo>
                    <a:lnTo>
                      <a:pt x="1316" y="1610"/>
                    </a:lnTo>
                    <a:lnTo>
                      <a:pt x="1316" y="1612"/>
                    </a:lnTo>
                    <a:lnTo>
                      <a:pt x="1316" y="1610"/>
                    </a:lnTo>
                    <a:lnTo>
                      <a:pt x="1314" y="1610"/>
                    </a:lnTo>
                    <a:lnTo>
                      <a:pt x="1312" y="1612"/>
                    </a:lnTo>
                    <a:lnTo>
                      <a:pt x="1312" y="1610"/>
                    </a:lnTo>
                    <a:lnTo>
                      <a:pt x="1310" y="1610"/>
                    </a:lnTo>
                    <a:lnTo>
                      <a:pt x="1312" y="1612"/>
                    </a:lnTo>
                    <a:lnTo>
                      <a:pt x="1310" y="1612"/>
                    </a:lnTo>
                    <a:lnTo>
                      <a:pt x="1312" y="1614"/>
                    </a:lnTo>
                    <a:lnTo>
                      <a:pt x="1310" y="1614"/>
                    </a:lnTo>
                    <a:lnTo>
                      <a:pt x="1310" y="1616"/>
                    </a:lnTo>
                    <a:lnTo>
                      <a:pt x="1308" y="1616"/>
                    </a:lnTo>
                    <a:lnTo>
                      <a:pt x="1308" y="1618"/>
                    </a:lnTo>
                    <a:lnTo>
                      <a:pt x="1308" y="1616"/>
                    </a:lnTo>
                    <a:lnTo>
                      <a:pt x="1308" y="1618"/>
                    </a:lnTo>
                    <a:lnTo>
                      <a:pt x="1306" y="1618"/>
                    </a:lnTo>
                    <a:lnTo>
                      <a:pt x="1306" y="1620"/>
                    </a:lnTo>
                    <a:lnTo>
                      <a:pt x="1306" y="1618"/>
                    </a:lnTo>
                    <a:lnTo>
                      <a:pt x="1306" y="1616"/>
                    </a:lnTo>
                    <a:lnTo>
                      <a:pt x="1306" y="1618"/>
                    </a:lnTo>
                    <a:lnTo>
                      <a:pt x="1306" y="1616"/>
                    </a:lnTo>
                    <a:lnTo>
                      <a:pt x="1306" y="1618"/>
                    </a:lnTo>
                    <a:lnTo>
                      <a:pt x="1304" y="1618"/>
                    </a:lnTo>
                    <a:lnTo>
                      <a:pt x="1306" y="1618"/>
                    </a:lnTo>
                    <a:lnTo>
                      <a:pt x="1304" y="1618"/>
                    </a:lnTo>
                    <a:lnTo>
                      <a:pt x="1304" y="1620"/>
                    </a:lnTo>
                    <a:lnTo>
                      <a:pt x="1306" y="1618"/>
                    </a:lnTo>
                    <a:lnTo>
                      <a:pt x="1306" y="1620"/>
                    </a:lnTo>
                    <a:lnTo>
                      <a:pt x="1306" y="1622"/>
                    </a:lnTo>
                    <a:lnTo>
                      <a:pt x="1306" y="1623"/>
                    </a:lnTo>
                    <a:lnTo>
                      <a:pt x="1304" y="1623"/>
                    </a:lnTo>
                    <a:lnTo>
                      <a:pt x="1304" y="1625"/>
                    </a:lnTo>
                    <a:lnTo>
                      <a:pt x="1304" y="1623"/>
                    </a:lnTo>
                    <a:lnTo>
                      <a:pt x="1302" y="1623"/>
                    </a:lnTo>
                    <a:lnTo>
                      <a:pt x="1302" y="1625"/>
                    </a:lnTo>
                    <a:lnTo>
                      <a:pt x="1301" y="1623"/>
                    </a:lnTo>
                    <a:lnTo>
                      <a:pt x="1301" y="1625"/>
                    </a:lnTo>
                    <a:lnTo>
                      <a:pt x="1301" y="1623"/>
                    </a:lnTo>
                    <a:lnTo>
                      <a:pt x="1301" y="1625"/>
                    </a:lnTo>
                    <a:lnTo>
                      <a:pt x="1301" y="1627"/>
                    </a:lnTo>
                    <a:lnTo>
                      <a:pt x="1299" y="1627"/>
                    </a:lnTo>
                    <a:lnTo>
                      <a:pt x="1297" y="1629"/>
                    </a:lnTo>
                    <a:lnTo>
                      <a:pt x="1297" y="1631"/>
                    </a:lnTo>
                    <a:lnTo>
                      <a:pt x="1297" y="1629"/>
                    </a:lnTo>
                    <a:lnTo>
                      <a:pt x="1297" y="1631"/>
                    </a:lnTo>
                    <a:lnTo>
                      <a:pt x="1295" y="1631"/>
                    </a:lnTo>
                    <a:lnTo>
                      <a:pt x="1293" y="1631"/>
                    </a:lnTo>
                    <a:lnTo>
                      <a:pt x="1293" y="1633"/>
                    </a:lnTo>
                    <a:lnTo>
                      <a:pt x="1293" y="1631"/>
                    </a:lnTo>
                    <a:lnTo>
                      <a:pt x="1293" y="1633"/>
                    </a:lnTo>
                    <a:lnTo>
                      <a:pt x="1291" y="1633"/>
                    </a:lnTo>
                    <a:lnTo>
                      <a:pt x="1291" y="1635"/>
                    </a:lnTo>
                    <a:lnTo>
                      <a:pt x="1293" y="1635"/>
                    </a:lnTo>
                    <a:lnTo>
                      <a:pt x="1291" y="1635"/>
                    </a:lnTo>
                    <a:lnTo>
                      <a:pt x="1293" y="1635"/>
                    </a:lnTo>
                    <a:lnTo>
                      <a:pt x="1291" y="1635"/>
                    </a:lnTo>
                    <a:lnTo>
                      <a:pt x="1293" y="1635"/>
                    </a:lnTo>
                    <a:lnTo>
                      <a:pt x="1291" y="1637"/>
                    </a:lnTo>
                    <a:lnTo>
                      <a:pt x="1291" y="1635"/>
                    </a:lnTo>
                    <a:lnTo>
                      <a:pt x="1291" y="1637"/>
                    </a:lnTo>
                    <a:lnTo>
                      <a:pt x="1289" y="1637"/>
                    </a:lnTo>
                    <a:lnTo>
                      <a:pt x="1291" y="1637"/>
                    </a:lnTo>
                    <a:lnTo>
                      <a:pt x="1289" y="1635"/>
                    </a:lnTo>
                    <a:lnTo>
                      <a:pt x="1289" y="1637"/>
                    </a:lnTo>
                    <a:lnTo>
                      <a:pt x="1289" y="1635"/>
                    </a:lnTo>
                    <a:lnTo>
                      <a:pt x="1289" y="1637"/>
                    </a:lnTo>
                    <a:lnTo>
                      <a:pt x="1287" y="1637"/>
                    </a:lnTo>
                    <a:lnTo>
                      <a:pt x="1287" y="1639"/>
                    </a:lnTo>
                    <a:lnTo>
                      <a:pt x="1287" y="1637"/>
                    </a:lnTo>
                    <a:lnTo>
                      <a:pt x="1287" y="1639"/>
                    </a:lnTo>
                    <a:lnTo>
                      <a:pt x="1287" y="1637"/>
                    </a:lnTo>
                    <a:lnTo>
                      <a:pt x="1285" y="1637"/>
                    </a:lnTo>
                    <a:lnTo>
                      <a:pt x="1283" y="1637"/>
                    </a:lnTo>
                    <a:lnTo>
                      <a:pt x="1283" y="1639"/>
                    </a:lnTo>
                    <a:lnTo>
                      <a:pt x="1283" y="1637"/>
                    </a:lnTo>
                    <a:lnTo>
                      <a:pt x="1283" y="1639"/>
                    </a:lnTo>
                    <a:lnTo>
                      <a:pt x="1283" y="1637"/>
                    </a:lnTo>
                    <a:lnTo>
                      <a:pt x="1281" y="1637"/>
                    </a:lnTo>
                    <a:lnTo>
                      <a:pt x="1281" y="1639"/>
                    </a:lnTo>
                    <a:lnTo>
                      <a:pt x="1280" y="1637"/>
                    </a:lnTo>
                    <a:lnTo>
                      <a:pt x="1280" y="1639"/>
                    </a:lnTo>
                    <a:lnTo>
                      <a:pt x="1280" y="1637"/>
                    </a:lnTo>
                    <a:lnTo>
                      <a:pt x="1280" y="1639"/>
                    </a:lnTo>
                    <a:lnTo>
                      <a:pt x="1278" y="1637"/>
                    </a:lnTo>
                    <a:lnTo>
                      <a:pt x="1278" y="1639"/>
                    </a:lnTo>
                    <a:lnTo>
                      <a:pt x="1278" y="1637"/>
                    </a:lnTo>
                    <a:lnTo>
                      <a:pt x="1276" y="1639"/>
                    </a:lnTo>
                    <a:lnTo>
                      <a:pt x="1276" y="1637"/>
                    </a:lnTo>
                    <a:lnTo>
                      <a:pt x="1276" y="1639"/>
                    </a:lnTo>
                    <a:lnTo>
                      <a:pt x="1276" y="1637"/>
                    </a:lnTo>
                    <a:lnTo>
                      <a:pt x="1276" y="1639"/>
                    </a:lnTo>
                    <a:lnTo>
                      <a:pt x="1276" y="1637"/>
                    </a:lnTo>
                    <a:lnTo>
                      <a:pt x="1276" y="1639"/>
                    </a:lnTo>
                    <a:lnTo>
                      <a:pt x="1276" y="1637"/>
                    </a:lnTo>
                    <a:lnTo>
                      <a:pt x="1274" y="1639"/>
                    </a:lnTo>
                    <a:lnTo>
                      <a:pt x="1274" y="1637"/>
                    </a:lnTo>
                    <a:lnTo>
                      <a:pt x="1274" y="1639"/>
                    </a:lnTo>
                    <a:lnTo>
                      <a:pt x="1274" y="1637"/>
                    </a:lnTo>
                    <a:lnTo>
                      <a:pt x="1274" y="1639"/>
                    </a:lnTo>
                    <a:lnTo>
                      <a:pt x="1274" y="1637"/>
                    </a:lnTo>
                    <a:lnTo>
                      <a:pt x="1272" y="1637"/>
                    </a:lnTo>
                    <a:lnTo>
                      <a:pt x="1272" y="1639"/>
                    </a:lnTo>
                    <a:lnTo>
                      <a:pt x="1270" y="1639"/>
                    </a:lnTo>
                    <a:lnTo>
                      <a:pt x="1268" y="1639"/>
                    </a:lnTo>
                    <a:lnTo>
                      <a:pt x="1266" y="1639"/>
                    </a:lnTo>
                    <a:lnTo>
                      <a:pt x="1262" y="1641"/>
                    </a:lnTo>
                    <a:lnTo>
                      <a:pt x="1260" y="1641"/>
                    </a:lnTo>
                    <a:lnTo>
                      <a:pt x="1260" y="1639"/>
                    </a:lnTo>
                    <a:lnTo>
                      <a:pt x="1260" y="1637"/>
                    </a:lnTo>
                    <a:lnTo>
                      <a:pt x="1259" y="1637"/>
                    </a:lnTo>
                    <a:lnTo>
                      <a:pt x="1257" y="1639"/>
                    </a:lnTo>
                    <a:lnTo>
                      <a:pt x="1257" y="1637"/>
                    </a:lnTo>
                    <a:lnTo>
                      <a:pt x="1255" y="1637"/>
                    </a:lnTo>
                    <a:lnTo>
                      <a:pt x="1253" y="1637"/>
                    </a:lnTo>
                    <a:lnTo>
                      <a:pt x="1251" y="1637"/>
                    </a:lnTo>
                    <a:lnTo>
                      <a:pt x="1251" y="1635"/>
                    </a:lnTo>
                    <a:lnTo>
                      <a:pt x="1251" y="1637"/>
                    </a:lnTo>
                    <a:lnTo>
                      <a:pt x="1249" y="1637"/>
                    </a:lnTo>
                    <a:lnTo>
                      <a:pt x="1247" y="1637"/>
                    </a:lnTo>
                    <a:lnTo>
                      <a:pt x="1245" y="1637"/>
                    </a:lnTo>
                    <a:lnTo>
                      <a:pt x="1247" y="1635"/>
                    </a:lnTo>
                    <a:lnTo>
                      <a:pt x="1245" y="1635"/>
                    </a:lnTo>
                    <a:lnTo>
                      <a:pt x="1245" y="1637"/>
                    </a:lnTo>
                    <a:lnTo>
                      <a:pt x="1245" y="1635"/>
                    </a:lnTo>
                    <a:lnTo>
                      <a:pt x="1245" y="1637"/>
                    </a:lnTo>
                    <a:lnTo>
                      <a:pt x="1243" y="1637"/>
                    </a:lnTo>
                    <a:lnTo>
                      <a:pt x="1243" y="1635"/>
                    </a:lnTo>
                    <a:lnTo>
                      <a:pt x="1243" y="1637"/>
                    </a:lnTo>
                    <a:lnTo>
                      <a:pt x="1241" y="1637"/>
                    </a:lnTo>
                    <a:lnTo>
                      <a:pt x="1241" y="1635"/>
                    </a:lnTo>
                    <a:lnTo>
                      <a:pt x="1241" y="1637"/>
                    </a:lnTo>
                    <a:lnTo>
                      <a:pt x="1240" y="1637"/>
                    </a:lnTo>
                    <a:lnTo>
                      <a:pt x="1240" y="1635"/>
                    </a:lnTo>
                    <a:lnTo>
                      <a:pt x="1238" y="1637"/>
                    </a:lnTo>
                    <a:lnTo>
                      <a:pt x="1240" y="1637"/>
                    </a:lnTo>
                    <a:lnTo>
                      <a:pt x="1238" y="1637"/>
                    </a:lnTo>
                    <a:lnTo>
                      <a:pt x="1236" y="1637"/>
                    </a:lnTo>
                    <a:lnTo>
                      <a:pt x="1236" y="1639"/>
                    </a:lnTo>
                    <a:lnTo>
                      <a:pt x="1234" y="1639"/>
                    </a:lnTo>
                    <a:lnTo>
                      <a:pt x="1234" y="1637"/>
                    </a:lnTo>
                    <a:lnTo>
                      <a:pt x="1232" y="1637"/>
                    </a:lnTo>
                    <a:lnTo>
                      <a:pt x="1230" y="1637"/>
                    </a:lnTo>
                    <a:lnTo>
                      <a:pt x="1230" y="1635"/>
                    </a:lnTo>
                    <a:lnTo>
                      <a:pt x="1230" y="1637"/>
                    </a:lnTo>
                    <a:lnTo>
                      <a:pt x="1228" y="1635"/>
                    </a:lnTo>
                    <a:lnTo>
                      <a:pt x="1226" y="1635"/>
                    </a:lnTo>
                    <a:lnTo>
                      <a:pt x="1224" y="1635"/>
                    </a:lnTo>
                    <a:lnTo>
                      <a:pt x="1222" y="1637"/>
                    </a:lnTo>
                    <a:lnTo>
                      <a:pt x="1220" y="1637"/>
                    </a:lnTo>
                    <a:lnTo>
                      <a:pt x="1219" y="1635"/>
                    </a:lnTo>
                    <a:lnTo>
                      <a:pt x="1217" y="1637"/>
                    </a:lnTo>
                    <a:lnTo>
                      <a:pt x="1215" y="1637"/>
                    </a:lnTo>
                    <a:lnTo>
                      <a:pt x="1213" y="1637"/>
                    </a:lnTo>
                    <a:lnTo>
                      <a:pt x="1211" y="1637"/>
                    </a:lnTo>
                    <a:lnTo>
                      <a:pt x="1203" y="1635"/>
                    </a:lnTo>
                    <a:lnTo>
                      <a:pt x="1201" y="1637"/>
                    </a:lnTo>
                    <a:lnTo>
                      <a:pt x="1199" y="1637"/>
                    </a:lnTo>
                    <a:lnTo>
                      <a:pt x="1198" y="1637"/>
                    </a:lnTo>
                    <a:lnTo>
                      <a:pt x="1196" y="1637"/>
                    </a:lnTo>
                    <a:lnTo>
                      <a:pt x="1194" y="1635"/>
                    </a:lnTo>
                    <a:lnTo>
                      <a:pt x="1194" y="1637"/>
                    </a:lnTo>
                    <a:lnTo>
                      <a:pt x="1194" y="1639"/>
                    </a:lnTo>
                    <a:lnTo>
                      <a:pt x="1192" y="1639"/>
                    </a:lnTo>
                    <a:lnTo>
                      <a:pt x="1190" y="1637"/>
                    </a:lnTo>
                    <a:lnTo>
                      <a:pt x="1188" y="1639"/>
                    </a:lnTo>
                    <a:lnTo>
                      <a:pt x="1188" y="1637"/>
                    </a:lnTo>
                    <a:lnTo>
                      <a:pt x="1186" y="1637"/>
                    </a:lnTo>
                    <a:lnTo>
                      <a:pt x="1186" y="1639"/>
                    </a:lnTo>
                    <a:lnTo>
                      <a:pt x="1188" y="1639"/>
                    </a:lnTo>
                    <a:lnTo>
                      <a:pt x="1186" y="1641"/>
                    </a:lnTo>
                    <a:lnTo>
                      <a:pt x="1184" y="1639"/>
                    </a:lnTo>
                    <a:lnTo>
                      <a:pt x="1182" y="1641"/>
                    </a:lnTo>
                    <a:lnTo>
                      <a:pt x="1182" y="1643"/>
                    </a:lnTo>
                    <a:lnTo>
                      <a:pt x="1180" y="1643"/>
                    </a:lnTo>
                    <a:lnTo>
                      <a:pt x="1178" y="1643"/>
                    </a:lnTo>
                    <a:lnTo>
                      <a:pt x="1178" y="1644"/>
                    </a:lnTo>
                    <a:lnTo>
                      <a:pt x="1177" y="1648"/>
                    </a:lnTo>
                    <a:lnTo>
                      <a:pt x="1177" y="1646"/>
                    </a:lnTo>
                    <a:lnTo>
                      <a:pt x="1175" y="1648"/>
                    </a:lnTo>
                    <a:lnTo>
                      <a:pt x="1175" y="1650"/>
                    </a:lnTo>
                    <a:lnTo>
                      <a:pt x="1175" y="1652"/>
                    </a:lnTo>
                    <a:lnTo>
                      <a:pt x="1175" y="1656"/>
                    </a:lnTo>
                    <a:lnTo>
                      <a:pt x="1173" y="1658"/>
                    </a:lnTo>
                    <a:lnTo>
                      <a:pt x="1173" y="1660"/>
                    </a:lnTo>
                    <a:lnTo>
                      <a:pt x="1169" y="1660"/>
                    </a:lnTo>
                    <a:lnTo>
                      <a:pt x="1167" y="1660"/>
                    </a:lnTo>
                    <a:lnTo>
                      <a:pt x="1165" y="1660"/>
                    </a:lnTo>
                    <a:lnTo>
                      <a:pt x="1165" y="1662"/>
                    </a:lnTo>
                    <a:lnTo>
                      <a:pt x="1163" y="1660"/>
                    </a:lnTo>
                    <a:lnTo>
                      <a:pt x="1161" y="1662"/>
                    </a:lnTo>
                    <a:lnTo>
                      <a:pt x="1161" y="1660"/>
                    </a:lnTo>
                    <a:lnTo>
                      <a:pt x="1161" y="1662"/>
                    </a:lnTo>
                    <a:lnTo>
                      <a:pt x="1159" y="1662"/>
                    </a:lnTo>
                    <a:lnTo>
                      <a:pt x="1159" y="1663"/>
                    </a:lnTo>
                    <a:lnTo>
                      <a:pt x="1158" y="1663"/>
                    </a:lnTo>
                    <a:lnTo>
                      <a:pt x="1159" y="1663"/>
                    </a:lnTo>
                    <a:lnTo>
                      <a:pt x="1159" y="1665"/>
                    </a:lnTo>
                    <a:lnTo>
                      <a:pt x="1158" y="1665"/>
                    </a:lnTo>
                    <a:lnTo>
                      <a:pt x="1156" y="1667"/>
                    </a:lnTo>
                    <a:lnTo>
                      <a:pt x="1156" y="1665"/>
                    </a:lnTo>
                    <a:lnTo>
                      <a:pt x="1154" y="1665"/>
                    </a:lnTo>
                    <a:lnTo>
                      <a:pt x="1152" y="1667"/>
                    </a:lnTo>
                    <a:lnTo>
                      <a:pt x="1152" y="1669"/>
                    </a:lnTo>
                    <a:lnTo>
                      <a:pt x="1150" y="1669"/>
                    </a:lnTo>
                    <a:lnTo>
                      <a:pt x="1148" y="1671"/>
                    </a:lnTo>
                    <a:lnTo>
                      <a:pt x="1146" y="1671"/>
                    </a:lnTo>
                    <a:lnTo>
                      <a:pt x="1148" y="1673"/>
                    </a:lnTo>
                    <a:lnTo>
                      <a:pt x="1146" y="1673"/>
                    </a:lnTo>
                    <a:lnTo>
                      <a:pt x="1144" y="1673"/>
                    </a:lnTo>
                    <a:lnTo>
                      <a:pt x="1146" y="1673"/>
                    </a:lnTo>
                    <a:lnTo>
                      <a:pt x="1144" y="1675"/>
                    </a:lnTo>
                    <a:lnTo>
                      <a:pt x="1144" y="1677"/>
                    </a:lnTo>
                    <a:lnTo>
                      <a:pt x="1144" y="1679"/>
                    </a:lnTo>
                    <a:lnTo>
                      <a:pt x="1142" y="1677"/>
                    </a:lnTo>
                    <a:lnTo>
                      <a:pt x="1142" y="1679"/>
                    </a:lnTo>
                    <a:lnTo>
                      <a:pt x="1142" y="1681"/>
                    </a:lnTo>
                    <a:lnTo>
                      <a:pt x="1140" y="1681"/>
                    </a:lnTo>
                    <a:lnTo>
                      <a:pt x="1140" y="1683"/>
                    </a:lnTo>
                    <a:lnTo>
                      <a:pt x="1138" y="1684"/>
                    </a:lnTo>
                    <a:lnTo>
                      <a:pt x="1138" y="1686"/>
                    </a:lnTo>
                    <a:lnTo>
                      <a:pt x="1137" y="1686"/>
                    </a:lnTo>
                    <a:lnTo>
                      <a:pt x="1137" y="1688"/>
                    </a:lnTo>
                    <a:lnTo>
                      <a:pt x="1135" y="1688"/>
                    </a:lnTo>
                    <a:lnTo>
                      <a:pt x="1135" y="1690"/>
                    </a:lnTo>
                    <a:lnTo>
                      <a:pt x="1135" y="1692"/>
                    </a:lnTo>
                    <a:lnTo>
                      <a:pt x="1133" y="1694"/>
                    </a:lnTo>
                    <a:lnTo>
                      <a:pt x="1131" y="1698"/>
                    </a:lnTo>
                    <a:lnTo>
                      <a:pt x="1129" y="1700"/>
                    </a:lnTo>
                    <a:lnTo>
                      <a:pt x="1127" y="1700"/>
                    </a:lnTo>
                    <a:lnTo>
                      <a:pt x="1129" y="1700"/>
                    </a:lnTo>
                    <a:lnTo>
                      <a:pt x="1127" y="1702"/>
                    </a:lnTo>
                    <a:lnTo>
                      <a:pt x="1127" y="1704"/>
                    </a:lnTo>
                    <a:lnTo>
                      <a:pt x="1123" y="1705"/>
                    </a:lnTo>
                    <a:lnTo>
                      <a:pt x="1121" y="1707"/>
                    </a:lnTo>
                    <a:lnTo>
                      <a:pt x="1121" y="1709"/>
                    </a:lnTo>
                    <a:lnTo>
                      <a:pt x="1119" y="1713"/>
                    </a:lnTo>
                    <a:lnTo>
                      <a:pt x="1117" y="1713"/>
                    </a:lnTo>
                    <a:lnTo>
                      <a:pt x="1117" y="1715"/>
                    </a:lnTo>
                    <a:lnTo>
                      <a:pt x="1116" y="1717"/>
                    </a:lnTo>
                    <a:lnTo>
                      <a:pt x="1117" y="1717"/>
                    </a:lnTo>
                    <a:lnTo>
                      <a:pt x="1119" y="1717"/>
                    </a:lnTo>
                    <a:lnTo>
                      <a:pt x="1119" y="1715"/>
                    </a:lnTo>
                    <a:lnTo>
                      <a:pt x="1121" y="1715"/>
                    </a:lnTo>
                    <a:lnTo>
                      <a:pt x="1123" y="1715"/>
                    </a:lnTo>
                    <a:lnTo>
                      <a:pt x="1125" y="1711"/>
                    </a:lnTo>
                    <a:lnTo>
                      <a:pt x="1127" y="1707"/>
                    </a:lnTo>
                    <a:lnTo>
                      <a:pt x="1129" y="1707"/>
                    </a:lnTo>
                    <a:lnTo>
                      <a:pt x="1129" y="1705"/>
                    </a:lnTo>
                    <a:lnTo>
                      <a:pt x="1131" y="1704"/>
                    </a:lnTo>
                    <a:lnTo>
                      <a:pt x="1129" y="1704"/>
                    </a:lnTo>
                    <a:lnTo>
                      <a:pt x="1131" y="1704"/>
                    </a:lnTo>
                    <a:lnTo>
                      <a:pt x="1131" y="1702"/>
                    </a:lnTo>
                    <a:lnTo>
                      <a:pt x="1131" y="1704"/>
                    </a:lnTo>
                    <a:lnTo>
                      <a:pt x="1133" y="1704"/>
                    </a:lnTo>
                    <a:lnTo>
                      <a:pt x="1133" y="1702"/>
                    </a:lnTo>
                    <a:lnTo>
                      <a:pt x="1135" y="1700"/>
                    </a:lnTo>
                    <a:lnTo>
                      <a:pt x="1137" y="1698"/>
                    </a:lnTo>
                    <a:lnTo>
                      <a:pt x="1137" y="1696"/>
                    </a:lnTo>
                    <a:lnTo>
                      <a:pt x="1138" y="1696"/>
                    </a:lnTo>
                    <a:lnTo>
                      <a:pt x="1137" y="1694"/>
                    </a:lnTo>
                    <a:lnTo>
                      <a:pt x="1137" y="1696"/>
                    </a:lnTo>
                    <a:lnTo>
                      <a:pt x="1138" y="1694"/>
                    </a:lnTo>
                    <a:lnTo>
                      <a:pt x="1138" y="1692"/>
                    </a:lnTo>
                    <a:lnTo>
                      <a:pt x="1140" y="1690"/>
                    </a:lnTo>
                    <a:lnTo>
                      <a:pt x="1142" y="1690"/>
                    </a:lnTo>
                    <a:lnTo>
                      <a:pt x="1142" y="1688"/>
                    </a:lnTo>
                    <a:lnTo>
                      <a:pt x="1144" y="1688"/>
                    </a:lnTo>
                    <a:lnTo>
                      <a:pt x="1144" y="1686"/>
                    </a:lnTo>
                    <a:lnTo>
                      <a:pt x="1146" y="1684"/>
                    </a:lnTo>
                    <a:lnTo>
                      <a:pt x="1150" y="1683"/>
                    </a:lnTo>
                    <a:lnTo>
                      <a:pt x="1148" y="1683"/>
                    </a:lnTo>
                    <a:lnTo>
                      <a:pt x="1150" y="1683"/>
                    </a:lnTo>
                    <a:lnTo>
                      <a:pt x="1154" y="1681"/>
                    </a:lnTo>
                    <a:lnTo>
                      <a:pt x="1156" y="1679"/>
                    </a:lnTo>
                    <a:lnTo>
                      <a:pt x="1154" y="1679"/>
                    </a:lnTo>
                    <a:lnTo>
                      <a:pt x="1156" y="1679"/>
                    </a:lnTo>
                    <a:lnTo>
                      <a:pt x="1159" y="1677"/>
                    </a:lnTo>
                    <a:lnTo>
                      <a:pt x="1161" y="1677"/>
                    </a:lnTo>
                    <a:lnTo>
                      <a:pt x="1161" y="1675"/>
                    </a:lnTo>
                    <a:lnTo>
                      <a:pt x="1165" y="1673"/>
                    </a:lnTo>
                    <a:lnTo>
                      <a:pt x="1169" y="1671"/>
                    </a:lnTo>
                    <a:lnTo>
                      <a:pt x="1171" y="1671"/>
                    </a:lnTo>
                    <a:lnTo>
                      <a:pt x="1173" y="1669"/>
                    </a:lnTo>
                    <a:lnTo>
                      <a:pt x="1177" y="1669"/>
                    </a:lnTo>
                    <a:lnTo>
                      <a:pt x="1178" y="1667"/>
                    </a:lnTo>
                    <a:lnTo>
                      <a:pt x="1180" y="1665"/>
                    </a:lnTo>
                    <a:lnTo>
                      <a:pt x="1182" y="1665"/>
                    </a:lnTo>
                    <a:lnTo>
                      <a:pt x="1184" y="1663"/>
                    </a:lnTo>
                    <a:lnTo>
                      <a:pt x="1186" y="1663"/>
                    </a:lnTo>
                    <a:lnTo>
                      <a:pt x="1188" y="1663"/>
                    </a:lnTo>
                    <a:lnTo>
                      <a:pt x="1190" y="1663"/>
                    </a:lnTo>
                    <a:lnTo>
                      <a:pt x="1194" y="1662"/>
                    </a:lnTo>
                    <a:lnTo>
                      <a:pt x="1196" y="1662"/>
                    </a:lnTo>
                    <a:lnTo>
                      <a:pt x="1198" y="1662"/>
                    </a:lnTo>
                    <a:lnTo>
                      <a:pt x="1199" y="1662"/>
                    </a:lnTo>
                    <a:lnTo>
                      <a:pt x="1201" y="1662"/>
                    </a:lnTo>
                    <a:lnTo>
                      <a:pt x="1205" y="1662"/>
                    </a:lnTo>
                    <a:lnTo>
                      <a:pt x="1209" y="1662"/>
                    </a:lnTo>
                    <a:lnTo>
                      <a:pt x="1211" y="1662"/>
                    </a:lnTo>
                    <a:lnTo>
                      <a:pt x="1213" y="1663"/>
                    </a:lnTo>
                    <a:lnTo>
                      <a:pt x="1215" y="1663"/>
                    </a:lnTo>
                    <a:lnTo>
                      <a:pt x="1217" y="1665"/>
                    </a:lnTo>
                    <a:lnTo>
                      <a:pt x="1219" y="1665"/>
                    </a:lnTo>
                    <a:lnTo>
                      <a:pt x="1219" y="1667"/>
                    </a:lnTo>
                    <a:lnTo>
                      <a:pt x="1222" y="1671"/>
                    </a:lnTo>
                    <a:lnTo>
                      <a:pt x="1222" y="1673"/>
                    </a:lnTo>
                    <a:lnTo>
                      <a:pt x="1220" y="1671"/>
                    </a:lnTo>
                    <a:lnTo>
                      <a:pt x="1217" y="1671"/>
                    </a:lnTo>
                    <a:lnTo>
                      <a:pt x="1219" y="1671"/>
                    </a:lnTo>
                    <a:lnTo>
                      <a:pt x="1217" y="1671"/>
                    </a:lnTo>
                    <a:lnTo>
                      <a:pt x="1219" y="1671"/>
                    </a:lnTo>
                    <a:lnTo>
                      <a:pt x="1220" y="1673"/>
                    </a:lnTo>
                    <a:lnTo>
                      <a:pt x="1222" y="1675"/>
                    </a:lnTo>
                    <a:lnTo>
                      <a:pt x="1222" y="1677"/>
                    </a:lnTo>
                    <a:lnTo>
                      <a:pt x="1220" y="1677"/>
                    </a:lnTo>
                    <a:lnTo>
                      <a:pt x="1220" y="1679"/>
                    </a:lnTo>
                    <a:lnTo>
                      <a:pt x="1222" y="1679"/>
                    </a:lnTo>
                    <a:lnTo>
                      <a:pt x="1220" y="1681"/>
                    </a:lnTo>
                    <a:lnTo>
                      <a:pt x="1219" y="1683"/>
                    </a:lnTo>
                    <a:lnTo>
                      <a:pt x="1215" y="1683"/>
                    </a:lnTo>
                    <a:lnTo>
                      <a:pt x="1215" y="1684"/>
                    </a:lnTo>
                    <a:lnTo>
                      <a:pt x="1215" y="1683"/>
                    </a:lnTo>
                    <a:lnTo>
                      <a:pt x="1215" y="1684"/>
                    </a:lnTo>
                    <a:lnTo>
                      <a:pt x="1213" y="1686"/>
                    </a:lnTo>
                    <a:lnTo>
                      <a:pt x="1211" y="1686"/>
                    </a:lnTo>
                    <a:lnTo>
                      <a:pt x="1211" y="1688"/>
                    </a:lnTo>
                    <a:lnTo>
                      <a:pt x="1205" y="1690"/>
                    </a:lnTo>
                    <a:lnTo>
                      <a:pt x="1205" y="1692"/>
                    </a:lnTo>
                    <a:lnTo>
                      <a:pt x="1203" y="1692"/>
                    </a:lnTo>
                    <a:lnTo>
                      <a:pt x="1201" y="1690"/>
                    </a:lnTo>
                    <a:lnTo>
                      <a:pt x="1198" y="1688"/>
                    </a:lnTo>
                    <a:lnTo>
                      <a:pt x="1196" y="1688"/>
                    </a:lnTo>
                    <a:lnTo>
                      <a:pt x="1196" y="1686"/>
                    </a:lnTo>
                    <a:lnTo>
                      <a:pt x="1194" y="1686"/>
                    </a:lnTo>
                    <a:lnTo>
                      <a:pt x="1194" y="1688"/>
                    </a:lnTo>
                    <a:lnTo>
                      <a:pt x="1192" y="1690"/>
                    </a:lnTo>
                    <a:lnTo>
                      <a:pt x="1192" y="1688"/>
                    </a:lnTo>
                    <a:lnTo>
                      <a:pt x="1192" y="1690"/>
                    </a:lnTo>
                    <a:lnTo>
                      <a:pt x="1192" y="1688"/>
                    </a:lnTo>
                    <a:lnTo>
                      <a:pt x="1190" y="1688"/>
                    </a:lnTo>
                    <a:lnTo>
                      <a:pt x="1190" y="1690"/>
                    </a:lnTo>
                    <a:lnTo>
                      <a:pt x="1188" y="1688"/>
                    </a:lnTo>
                    <a:lnTo>
                      <a:pt x="1186" y="1688"/>
                    </a:lnTo>
                    <a:lnTo>
                      <a:pt x="1186" y="1690"/>
                    </a:lnTo>
                    <a:lnTo>
                      <a:pt x="1184" y="1690"/>
                    </a:lnTo>
                    <a:lnTo>
                      <a:pt x="1182" y="1690"/>
                    </a:lnTo>
                    <a:lnTo>
                      <a:pt x="1180" y="1692"/>
                    </a:lnTo>
                    <a:lnTo>
                      <a:pt x="1182" y="1692"/>
                    </a:lnTo>
                    <a:lnTo>
                      <a:pt x="1184" y="1690"/>
                    </a:lnTo>
                    <a:lnTo>
                      <a:pt x="1184" y="1692"/>
                    </a:lnTo>
                    <a:lnTo>
                      <a:pt x="1186" y="1690"/>
                    </a:lnTo>
                    <a:lnTo>
                      <a:pt x="1188" y="1690"/>
                    </a:lnTo>
                    <a:lnTo>
                      <a:pt x="1190" y="1692"/>
                    </a:lnTo>
                    <a:lnTo>
                      <a:pt x="1192" y="1692"/>
                    </a:lnTo>
                    <a:lnTo>
                      <a:pt x="1192" y="1694"/>
                    </a:lnTo>
                    <a:lnTo>
                      <a:pt x="1196" y="1694"/>
                    </a:lnTo>
                    <a:lnTo>
                      <a:pt x="1198" y="1696"/>
                    </a:lnTo>
                    <a:lnTo>
                      <a:pt x="1199" y="1698"/>
                    </a:lnTo>
                    <a:lnTo>
                      <a:pt x="1199" y="1700"/>
                    </a:lnTo>
                    <a:lnTo>
                      <a:pt x="1203" y="1700"/>
                    </a:lnTo>
                    <a:lnTo>
                      <a:pt x="1203" y="1698"/>
                    </a:lnTo>
                    <a:lnTo>
                      <a:pt x="1205" y="1698"/>
                    </a:lnTo>
                    <a:lnTo>
                      <a:pt x="1207" y="1696"/>
                    </a:lnTo>
                    <a:lnTo>
                      <a:pt x="1209" y="1696"/>
                    </a:lnTo>
                    <a:lnTo>
                      <a:pt x="1211" y="1696"/>
                    </a:lnTo>
                    <a:lnTo>
                      <a:pt x="1209" y="1696"/>
                    </a:lnTo>
                    <a:lnTo>
                      <a:pt x="1207" y="1696"/>
                    </a:lnTo>
                    <a:lnTo>
                      <a:pt x="1209" y="1696"/>
                    </a:lnTo>
                    <a:lnTo>
                      <a:pt x="1209" y="1698"/>
                    </a:lnTo>
                    <a:lnTo>
                      <a:pt x="1207" y="1698"/>
                    </a:lnTo>
                    <a:lnTo>
                      <a:pt x="1209" y="1698"/>
                    </a:lnTo>
                    <a:lnTo>
                      <a:pt x="1209" y="1696"/>
                    </a:lnTo>
                    <a:lnTo>
                      <a:pt x="1211" y="1696"/>
                    </a:lnTo>
                    <a:lnTo>
                      <a:pt x="1213" y="1696"/>
                    </a:lnTo>
                    <a:lnTo>
                      <a:pt x="1213" y="1698"/>
                    </a:lnTo>
                    <a:lnTo>
                      <a:pt x="1215" y="1698"/>
                    </a:lnTo>
                    <a:lnTo>
                      <a:pt x="1213" y="1698"/>
                    </a:lnTo>
                    <a:lnTo>
                      <a:pt x="1215" y="1698"/>
                    </a:lnTo>
                    <a:lnTo>
                      <a:pt x="1213" y="1700"/>
                    </a:lnTo>
                    <a:lnTo>
                      <a:pt x="1213" y="1702"/>
                    </a:lnTo>
                    <a:lnTo>
                      <a:pt x="1211" y="1702"/>
                    </a:lnTo>
                    <a:lnTo>
                      <a:pt x="1211" y="1704"/>
                    </a:lnTo>
                    <a:lnTo>
                      <a:pt x="1211" y="1705"/>
                    </a:lnTo>
                    <a:lnTo>
                      <a:pt x="1211" y="1707"/>
                    </a:lnTo>
                    <a:lnTo>
                      <a:pt x="1211" y="1709"/>
                    </a:lnTo>
                    <a:lnTo>
                      <a:pt x="1209" y="1709"/>
                    </a:lnTo>
                    <a:lnTo>
                      <a:pt x="1207" y="1709"/>
                    </a:lnTo>
                    <a:lnTo>
                      <a:pt x="1209" y="1709"/>
                    </a:lnTo>
                    <a:lnTo>
                      <a:pt x="1207" y="1711"/>
                    </a:lnTo>
                    <a:lnTo>
                      <a:pt x="1205" y="1713"/>
                    </a:lnTo>
                    <a:lnTo>
                      <a:pt x="1203" y="1713"/>
                    </a:lnTo>
                    <a:lnTo>
                      <a:pt x="1205" y="1713"/>
                    </a:lnTo>
                    <a:lnTo>
                      <a:pt x="1207" y="1713"/>
                    </a:lnTo>
                    <a:lnTo>
                      <a:pt x="1205" y="1715"/>
                    </a:lnTo>
                    <a:lnTo>
                      <a:pt x="1207" y="1715"/>
                    </a:lnTo>
                    <a:lnTo>
                      <a:pt x="1207" y="1713"/>
                    </a:lnTo>
                    <a:lnTo>
                      <a:pt x="1209" y="1713"/>
                    </a:lnTo>
                    <a:lnTo>
                      <a:pt x="1209" y="1715"/>
                    </a:lnTo>
                    <a:lnTo>
                      <a:pt x="1211" y="1713"/>
                    </a:lnTo>
                    <a:lnTo>
                      <a:pt x="1213" y="1713"/>
                    </a:lnTo>
                    <a:lnTo>
                      <a:pt x="1213" y="1715"/>
                    </a:lnTo>
                    <a:lnTo>
                      <a:pt x="1211" y="1717"/>
                    </a:lnTo>
                    <a:lnTo>
                      <a:pt x="1211" y="1719"/>
                    </a:lnTo>
                    <a:lnTo>
                      <a:pt x="1211" y="1717"/>
                    </a:lnTo>
                    <a:lnTo>
                      <a:pt x="1211" y="1719"/>
                    </a:lnTo>
                    <a:lnTo>
                      <a:pt x="1209" y="1719"/>
                    </a:lnTo>
                    <a:lnTo>
                      <a:pt x="1211" y="1719"/>
                    </a:lnTo>
                    <a:lnTo>
                      <a:pt x="1211" y="1721"/>
                    </a:lnTo>
                    <a:lnTo>
                      <a:pt x="1213" y="1721"/>
                    </a:lnTo>
                    <a:lnTo>
                      <a:pt x="1213" y="1723"/>
                    </a:lnTo>
                    <a:lnTo>
                      <a:pt x="1213" y="1721"/>
                    </a:lnTo>
                    <a:lnTo>
                      <a:pt x="1211" y="1721"/>
                    </a:lnTo>
                    <a:lnTo>
                      <a:pt x="1211" y="1723"/>
                    </a:lnTo>
                    <a:lnTo>
                      <a:pt x="1213" y="1721"/>
                    </a:lnTo>
                    <a:lnTo>
                      <a:pt x="1211" y="1723"/>
                    </a:lnTo>
                    <a:lnTo>
                      <a:pt x="1213" y="1723"/>
                    </a:lnTo>
                    <a:lnTo>
                      <a:pt x="1211" y="1723"/>
                    </a:lnTo>
                    <a:lnTo>
                      <a:pt x="1213" y="1723"/>
                    </a:lnTo>
                    <a:lnTo>
                      <a:pt x="1211" y="1723"/>
                    </a:lnTo>
                    <a:lnTo>
                      <a:pt x="1213" y="1723"/>
                    </a:lnTo>
                    <a:lnTo>
                      <a:pt x="1211" y="1723"/>
                    </a:lnTo>
                    <a:lnTo>
                      <a:pt x="1213" y="1723"/>
                    </a:lnTo>
                    <a:lnTo>
                      <a:pt x="1215" y="1723"/>
                    </a:lnTo>
                    <a:lnTo>
                      <a:pt x="1213" y="1723"/>
                    </a:lnTo>
                    <a:lnTo>
                      <a:pt x="1215" y="1723"/>
                    </a:lnTo>
                    <a:lnTo>
                      <a:pt x="1213" y="1723"/>
                    </a:lnTo>
                    <a:lnTo>
                      <a:pt x="1215" y="1723"/>
                    </a:lnTo>
                    <a:lnTo>
                      <a:pt x="1215" y="1725"/>
                    </a:lnTo>
                    <a:lnTo>
                      <a:pt x="1217" y="1726"/>
                    </a:lnTo>
                    <a:lnTo>
                      <a:pt x="1217" y="1728"/>
                    </a:lnTo>
                    <a:lnTo>
                      <a:pt x="1217" y="1726"/>
                    </a:lnTo>
                    <a:lnTo>
                      <a:pt x="1215" y="1726"/>
                    </a:lnTo>
                    <a:lnTo>
                      <a:pt x="1215" y="1728"/>
                    </a:lnTo>
                    <a:lnTo>
                      <a:pt x="1217" y="1728"/>
                    </a:lnTo>
                    <a:lnTo>
                      <a:pt x="1217" y="1730"/>
                    </a:lnTo>
                    <a:lnTo>
                      <a:pt x="1217" y="1732"/>
                    </a:lnTo>
                    <a:lnTo>
                      <a:pt x="1217" y="1730"/>
                    </a:lnTo>
                    <a:lnTo>
                      <a:pt x="1217" y="1732"/>
                    </a:lnTo>
                    <a:lnTo>
                      <a:pt x="1217" y="1734"/>
                    </a:lnTo>
                    <a:lnTo>
                      <a:pt x="1217" y="1732"/>
                    </a:lnTo>
                    <a:lnTo>
                      <a:pt x="1219" y="1732"/>
                    </a:lnTo>
                    <a:lnTo>
                      <a:pt x="1220" y="1734"/>
                    </a:lnTo>
                    <a:lnTo>
                      <a:pt x="1220" y="1732"/>
                    </a:lnTo>
                    <a:lnTo>
                      <a:pt x="1222" y="1732"/>
                    </a:lnTo>
                    <a:lnTo>
                      <a:pt x="1224" y="1734"/>
                    </a:lnTo>
                    <a:lnTo>
                      <a:pt x="1222" y="1734"/>
                    </a:lnTo>
                    <a:lnTo>
                      <a:pt x="1224" y="1734"/>
                    </a:lnTo>
                    <a:lnTo>
                      <a:pt x="1226" y="1734"/>
                    </a:lnTo>
                    <a:lnTo>
                      <a:pt x="1228" y="1734"/>
                    </a:lnTo>
                    <a:lnTo>
                      <a:pt x="1230" y="1736"/>
                    </a:lnTo>
                    <a:lnTo>
                      <a:pt x="1228" y="1736"/>
                    </a:lnTo>
                    <a:lnTo>
                      <a:pt x="1226" y="1738"/>
                    </a:lnTo>
                    <a:lnTo>
                      <a:pt x="1226" y="1736"/>
                    </a:lnTo>
                    <a:lnTo>
                      <a:pt x="1224" y="1738"/>
                    </a:lnTo>
                    <a:lnTo>
                      <a:pt x="1224" y="1736"/>
                    </a:lnTo>
                    <a:lnTo>
                      <a:pt x="1224" y="1738"/>
                    </a:lnTo>
                    <a:lnTo>
                      <a:pt x="1226" y="1738"/>
                    </a:lnTo>
                    <a:lnTo>
                      <a:pt x="1228" y="1740"/>
                    </a:lnTo>
                    <a:lnTo>
                      <a:pt x="1230" y="1742"/>
                    </a:lnTo>
                    <a:lnTo>
                      <a:pt x="1232" y="1742"/>
                    </a:lnTo>
                    <a:lnTo>
                      <a:pt x="1230" y="1742"/>
                    </a:lnTo>
                    <a:lnTo>
                      <a:pt x="1234" y="1742"/>
                    </a:lnTo>
                    <a:lnTo>
                      <a:pt x="1236" y="1742"/>
                    </a:lnTo>
                    <a:lnTo>
                      <a:pt x="1234" y="1742"/>
                    </a:lnTo>
                    <a:lnTo>
                      <a:pt x="1236" y="1742"/>
                    </a:lnTo>
                    <a:lnTo>
                      <a:pt x="1234" y="1742"/>
                    </a:lnTo>
                    <a:lnTo>
                      <a:pt x="1232" y="1742"/>
                    </a:lnTo>
                    <a:lnTo>
                      <a:pt x="1234" y="1742"/>
                    </a:lnTo>
                    <a:lnTo>
                      <a:pt x="1234" y="1744"/>
                    </a:lnTo>
                    <a:lnTo>
                      <a:pt x="1234" y="1742"/>
                    </a:lnTo>
                    <a:lnTo>
                      <a:pt x="1236" y="1744"/>
                    </a:lnTo>
                    <a:lnTo>
                      <a:pt x="1234" y="1742"/>
                    </a:lnTo>
                    <a:lnTo>
                      <a:pt x="1236" y="1742"/>
                    </a:lnTo>
                    <a:lnTo>
                      <a:pt x="1236" y="1744"/>
                    </a:lnTo>
                    <a:lnTo>
                      <a:pt x="1238" y="1742"/>
                    </a:lnTo>
                    <a:lnTo>
                      <a:pt x="1238" y="1744"/>
                    </a:lnTo>
                    <a:lnTo>
                      <a:pt x="1236" y="1744"/>
                    </a:lnTo>
                    <a:lnTo>
                      <a:pt x="1238" y="1746"/>
                    </a:lnTo>
                    <a:lnTo>
                      <a:pt x="1238" y="1744"/>
                    </a:lnTo>
                    <a:lnTo>
                      <a:pt x="1240" y="1744"/>
                    </a:lnTo>
                    <a:lnTo>
                      <a:pt x="1238" y="1744"/>
                    </a:lnTo>
                    <a:lnTo>
                      <a:pt x="1240" y="1744"/>
                    </a:lnTo>
                    <a:lnTo>
                      <a:pt x="1241" y="1744"/>
                    </a:lnTo>
                    <a:lnTo>
                      <a:pt x="1240" y="1744"/>
                    </a:lnTo>
                    <a:lnTo>
                      <a:pt x="1240" y="1742"/>
                    </a:lnTo>
                    <a:lnTo>
                      <a:pt x="1243" y="1744"/>
                    </a:lnTo>
                    <a:lnTo>
                      <a:pt x="1247" y="1744"/>
                    </a:lnTo>
                    <a:lnTo>
                      <a:pt x="1245" y="1744"/>
                    </a:lnTo>
                    <a:lnTo>
                      <a:pt x="1247" y="1744"/>
                    </a:lnTo>
                    <a:lnTo>
                      <a:pt x="1247" y="1746"/>
                    </a:lnTo>
                    <a:lnTo>
                      <a:pt x="1245" y="1746"/>
                    </a:lnTo>
                    <a:lnTo>
                      <a:pt x="1245" y="1747"/>
                    </a:lnTo>
                    <a:lnTo>
                      <a:pt x="1245" y="1746"/>
                    </a:lnTo>
                    <a:lnTo>
                      <a:pt x="1245" y="1747"/>
                    </a:lnTo>
                    <a:lnTo>
                      <a:pt x="1245" y="1746"/>
                    </a:lnTo>
                    <a:lnTo>
                      <a:pt x="1247" y="1747"/>
                    </a:lnTo>
                    <a:lnTo>
                      <a:pt x="1247" y="1746"/>
                    </a:lnTo>
                    <a:lnTo>
                      <a:pt x="1249" y="1746"/>
                    </a:lnTo>
                    <a:lnTo>
                      <a:pt x="1251" y="1746"/>
                    </a:lnTo>
                    <a:lnTo>
                      <a:pt x="1253" y="1746"/>
                    </a:lnTo>
                    <a:lnTo>
                      <a:pt x="1255" y="1744"/>
                    </a:lnTo>
                    <a:lnTo>
                      <a:pt x="1257" y="1744"/>
                    </a:lnTo>
                    <a:lnTo>
                      <a:pt x="1259" y="1742"/>
                    </a:lnTo>
                    <a:lnTo>
                      <a:pt x="1259" y="1740"/>
                    </a:lnTo>
                    <a:lnTo>
                      <a:pt x="1259" y="1742"/>
                    </a:lnTo>
                    <a:lnTo>
                      <a:pt x="1259" y="1744"/>
                    </a:lnTo>
                    <a:lnTo>
                      <a:pt x="1259" y="1746"/>
                    </a:lnTo>
                    <a:lnTo>
                      <a:pt x="1259" y="1747"/>
                    </a:lnTo>
                    <a:lnTo>
                      <a:pt x="1259" y="1746"/>
                    </a:lnTo>
                    <a:lnTo>
                      <a:pt x="1259" y="1747"/>
                    </a:lnTo>
                    <a:lnTo>
                      <a:pt x="1259" y="1746"/>
                    </a:lnTo>
                    <a:lnTo>
                      <a:pt x="1260" y="1746"/>
                    </a:lnTo>
                    <a:lnTo>
                      <a:pt x="1259" y="1746"/>
                    </a:lnTo>
                    <a:lnTo>
                      <a:pt x="1260" y="1746"/>
                    </a:lnTo>
                    <a:lnTo>
                      <a:pt x="1262" y="1747"/>
                    </a:lnTo>
                    <a:lnTo>
                      <a:pt x="1262" y="1746"/>
                    </a:lnTo>
                    <a:lnTo>
                      <a:pt x="1264" y="1746"/>
                    </a:lnTo>
                    <a:lnTo>
                      <a:pt x="1266" y="1746"/>
                    </a:lnTo>
                    <a:lnTo>
                      <a:pt x="1266" y="1747"/>
                    </a:lnTo>
                    <a:lnTo>
                      <a:pt x="1268" y="1747"/>
                    </a:lnTo>
                    <a:lnTo>
                      <a:pt x="1268" y="1749"/>
                    </a:lnTo>
                    <a:lnTo>
                      <a:pt x="1270" y="1749"/>
                    </a:lnTo>
                    <a:lnTo>
                      <a:pt x="1268" y="1751"/>
                    </a:lnTo>
                    <a:lnTo>
                      <a:pt x="1266" y="1751"/>
                    </a:lnTo>
                    <a:lnTo>
                      <a:pt x="1266" y="1753"/>
                    </a:lnTo>
                    <a:lnTo>
                      <a:pt x="1268" y="1753"/>
                    </a:lnTo>
                    <a:lnTo>
                      <a:pt x="1270" y="1753"/>
                    </a:lnTo>
                    <a:lnTo>
                      <a:pt x="1272" y="1753"/>
                    </a:lnTo>
                    <a:lnTo>
                      <a:pt x="1274" y="1753"/>
                    </a:lnTo>
                    <a:lnTo>
                      <a:pt x="1274" y="1755"/>
                    </a:lnTo>
                    <a:lnTo>
                      <a:pt x="1274" y="1753"/>
                    </a:lnTo>
                    <a:lnTo>
                      <a:pt x="1274" y="1755"/>
                    </a:lnTo>
                    <a:lnTo>
                      <a:pt x="1272" y="1753"/>
                    </a:lnTo>
                    <a:lnTo>
                      <a:pt x="1274" y="1755"/>
                    </a:lnTo>
                    <a:lnTo>
                      <a:pt x="1272" y="1755"/>
                    </a:lnTo>
                    <a:lnTo>
                      <a:pt x="1270" y="1757"/>
                    </a:lnTo>
                    <a:lnTo>
                      <a:pt x="1270" y="1755"/>
                    </a:lnTo>
                    <a:lnTo>
                      <a:pt x="1272" y="1755"/>
                    </a:lnTo>
                    <a:lnTo>
                      <a:pt x="1270" y="1755"/>
                    </a:lnTo>
                    <a:lnTo>
                      <a:pt x="1272" y="1755"/>
                    </a:lnTo>
                    <a:lnTo>
                      <a:pt x="1270" y="1755"/>
                    </a:lnTo>
                    <a:lnTo>
                      <a:pt x="1270" y="1753"/>
                    </a:lnTo>
                    <a:lnTo>
                      <a:pt x="1270" y="1755"/>
                    </a:lnTo>
                    <a:lnTo>
                      <a:pt x="1270" y="1757"/>
                    </a:lnTo>
                    <a:lnTo>
                      <a:pt x="1270" y="1755"/>
                    </a:lnTo>
                    <a:lnTo>
                      <a:pt x="1268" y="1755"/>
                    </a:lnTo>
                    <a:lnTo>
                      <a:pt x="1270" y="1755"/>
                    </a:lnTo>
                    <a:lnTo>
                      <a:pt x="1268" y="1755"/>
                    </a:lnTo>
                    <a:lnTo>
                      <a:pt x="1268" y="1757"/>
                    </a:lnTo>
                    <a:lnTo>
                      <a:pt x="1266" y="1757"/>
                    </a:lnTo>
                    <a:lnTo>
                      <a:pt x="1264" y="1757"/>
                    </a:lnTo>
                    <a:lnTo>
                      <a:pt x="1262" y="1757"/>
                    </a:lnTo>
                    <a:lnTo>
                      <a:pt x="1262" y="1755"/>
                    </a:lnTo>
                    <a:lnTo>
                      <a:pt x="1260" y="1755"/>
                    </a:lnTo>
                    <a:lnTo>
                      <a:pt x="1262" y="1755"/>
                    </a:lnTo>
                    <a:lnTo>
                      <a:pt x="1262" y="1757"/>
                    </a:lnTo>
                    <a:lnTo>
                      <a:pt x="1262" y="1759"/>
                    </a:lnTo>
                    <a:lnTo>
                      <a:pt x="1260" y="1759"/>
                    </a:lnTo>
                    <a:lnTo>
                      <a:pt x="1262" y="1759"/>
                    </a:lnTo>
                    <a:lnTo>
                      <a:pt x="1260" y="1759"/>
                    </a:lnTo>
                    <a:lnTo>
                      <a:pt x="1260" y="1761"/>
                    </a:lnTo>
                    <a:lnTo>
                      <a:pt x="1259" y="1759"/>
                    </a:lnTo>
                    <a:lnTo>
                      <a:pt x="1259" y="1761"/>
                    </a:lnTo>
                    <a:lnTo>
                      <a:pt x="1259" y="1759"/>
                    </a:lnTo>
                    <a:lnTo>
                      <a:pt x="1259" y="1761"/>
                    </a:lnTo>
                    <a:lnTo>
                      <a:pt x="1257" y="1761"/>
                    </a:lnTo>
                    <a:lnTo>
                      <a:pt x="1259" y="1761"/>
                    </a:lnTo>
                    <a:lnTo>
                      <a:pt x="1257" y="1761"/>
                    </a:lnTo>
                    <a:lnTo>
                      <a:pt x="1257" y="1763"/>
                    </a:lnTo>
                    <a:lnTo>
                      <a:pt x="1257" y="1761"/>
                    </a:lnTo>
                    <a:lnTo>
                      <a:pt x="1255" y="1761"/>
                    </a:lnTo>
                    <a:lnTo>
                      <a:pt x="1257" y="1763"/>
                    </a:lnTo>
                    <a:lnTo>
                      <a:pt x="1255" y="1761"/>
                    </a:lnTo>
                    <a:lnTo>
                      <a:pt x="1255" y="1763"/>
                    </a:lnTo>
                    <a:lnTo>
                      <a:pt x="1255" y="1761"/>
                    </a:lnTo>
                    <a:lnTo>
                      <a:pt x="1255" y="1763"/>
                    </a:lnTo>
                    <a:lnTo>
                      <a:pt x="1255" y="1761"/>
                    </a:lnTo>
                    <a:lnTo>
                      <a:pt x="1255" y="1763"/>
                    </a:lnTo>
                    <a:lnTo>
                      <a:pt x="1253" y="1761"/>
                    </a:lnTo>
                    <a:lnTo>
                      <a:pt x="1253" y="1763"/>
                    </a:lnTo>
                    <a:lnTo>
                      <a:pt x="1251" y="1763"/>
                    </a:lnTo>
                    <a:lnTo>
                      <a:pt x="1251" y="1765"/>
                    </a:lnTo>
                    <a:lnTo>
                      <a:pt x="1251" y="1763"/>
                    </a:lnTo>
                    <a:lnTo>
                      <a:pt x="1251" y="1765"/>
                    </a:lnTo>
                    <a:lnTo>
                      <a:pt x="1249" y="1765"/>
                    </a:lnTo>
                    <a:lnTo>
                      <a:pt x="1249" y="1763"/>
                    </a:lnTo>
                    <a:lnTo>
                      <a:pt x="1249" y="1765"/>
                    </a:lnTo>
                    <a:lnTo>
                      <a:pt x="1249" y="1767"/>
                    </a:lnTo>
                    <a:lnTo>
                      <a:pt x="1249" y="1765"/>
                    </a:lnTo>
                    <a:lnTo>
                      <a:pt x="1247" y="1765"/>
                    </a:lnTo>
                    <a:lnTo>
                      <a:pt x="1247" y="1767"/>
                    </a:lnTo>
                    <a:lnTo>
                      <a:pt x="1247" y="1765"/>
                    </a:lnTo>
                    <a:lnTo>
                      <a:pt x="1245" y="1767"/>
                    </a:lnTo>
                    <a:lnTo>
                      <a:pt x="1245" y="1765"/>
                    </a:lnTo>
                    <a:lnTo>
                      <a:pt x="1243" y="1765"/>
                    </a:lnTo>
                    <a:lnTo>
                      <a:pt x="1245" y="1767"/>
                    </a:lnTo>
                    <a:lnTo>
                      <a:pt x="1243" y="1767"/>
                    </a:lnTo>
                    <a:lnTo>
                      <a:pt x="1245" y="1767"/>
                    </a:lnTo>
                    <a:lnTo>
                      <a:pt x="1243" y="1768"/>
                    </a:lnTo>
                    <a:lnTo>
                      <a:pt x="1243" y="1767"/>
                    </a:lnTo>
                    <a:lnTo>
                      <a:pt x="1243" y="1768"/>
                    </a:lnTo>
                    <a:lnTo>
                      <a:pt x="1243" y="1767"/>
                    </a:lnTo>
                    <a:lnTo>
                      <a:pt x="1241" y="1768"/>
                    </a:lnTo>
                    <a:lnTo>
                      <a:pt x="1241" y="1767"/>
                    </a:lnTo>
                    <a:lnTo>
                      <a:pt x="1240" y="1767"/>
                    </a:lnTo>
                    <a:lnTo>
                      <a:pt x="1241" y="1767"/>
                    </a:lnTo>
                    <a:lnTo>
                      <a:pt x="1241" y="1768"/>
                    </a:lnTo>
                    <a:lnTo>
                      <a:pt x="1240" y="1768"/>
                    </a:lnTo>
                    <a:lnTo>
                      <a:pt x="1241" y="1767"/>
                    </a:lnTo>
                    <a:lnTo>
                      <a:pt x="1240" y="1767"/>
                    </a:lnTo>
                    <a:lnTo>
                      <a:pt x="1240" y="1765"/>
                    </a:lnTo>
                    <a:lnTo>
                      <a:pt x="1240" y="1767"/>
                    </a:lnTo>
                    <a:lnTo>
                      <a:pt x="1240" y="1768"/>
                    </a:lnTo>
                    <a:lnTo>
                      <a:pt x="1240" y="1767"/>
                    </a:lnTo>
                    <a:lnTo>
                      <a:pt x="1240" y="1768"/>
                    </a:lnTo>
                    <a:lnTo>
                      <a:pt x="1238" y="1768"/>
                    </a:lnTo>
                    <a:lnTo>
                      <a:pt x="1238" y="1767"/>
                    </a:lnTo>
                    <a:lnTo>
                      <a:pt x="1238" y="1768"/>
                    </a:lnTo>
                    <a:lnTo>
                      <a:pt x="1236" y="1768"/>
                    </a:lnTo>
                    <a:lnTo>
                      <a:pt x="1234" y="1768"/>
                    </a:lnTo>
                    <a:lnTo>
                      <a:pt x="1236" y="1768"/>
                    </a:lnTo>
                    <a:lnTo>
                      <a:pt x="1236" y="1770"/>
                    </a:lnTo>
                    <a:lnTo>
                      <a:pt x="1234" y="1770"/>
                    </a:lnTo>
                    <a:lnTo>
                      <a:pt x="1234" y="1768"/>
                    </a:lnTo>
                    <a:lnTo>
                      <a:pt x="1234" y="1770"/>
                    </a:lnTo>
                    <a:lnTo>
                      <a:pt x="1234" y="1768"/>
                    </a:lnTo>
                    <a:lnTo>
                      <a:pt x="1232" y="1768"/>
                    </a:lnTo>
                    <a:lnTo>
                      <a:pt x="1232" y="1767"/>
                    </a:lnTo>
                    <a:lnTo>
                      <a:pt x="1230" y="1767"/>
                    </a:lnTo>
                    <a:lnTo>
                      <a:pt x="1232" y="1768"/>
                    </a:lnTo>
                    <a:lnTo>
                      <a:pt x="1232" y="1770"/>
                    </a:lnTo>
                    <a:lnTo>
                      <a:pt x="1232" y="1768"/>
                    </a:lnTo>
                    <a:lnTo>
                      <a:pt x="1232" y="1770"/>
                    </a:lnTo>
                    <a:lnTo>
                      <a:pt x="1234" y="1772"/>
                    </a:lnTo>
                    <a:lnTo>
                      <a:pt x="1232" y="1772"/>
                    </a:lnTo>
                    <a:lnTo>
                      <a:pt x="1232" y="1774"/>
                    </a:lnTo>
                    <a:lnTo>
                      <a:pt x="1232" y="1772"/>
                    </a:lnTo>
                    <a:lnTo>
                      <a:pt x="1230" y="1772"/>
                    </a:lnTo>
                    <a:lnTo>
                      <a:pt x="1228" y="1772"/>
                    </a:lnTo>
                    <a:lnTo>
                      <a:pt x="1230" y="1772"/>
                    </a:lnTo>
                    <a:lnTo>
                      <a:pt x="1228" y="1770"/>
                    </a:lnTo>
                    <a:lnTo>
                      <a:pt x="1228" y="1772"/>
                    </a:lnTo>
                    <a:lnTo>
                      <a:pt x="1226" y="1772"/>
                    </a:lnTo>
                    <a:lnTo>
                      <a:pt x="1226" y="1770"/>
                    </a:lnTo>
                    <a:lnTo>
                      <a:pt x="1226" y="1768"/>
                    </a:lnTo>
                    <a:lnTo>
                      <a:pt x="1228" y="1768"/>
                    </a:lnTo>
                    <a:lnTo>
                      <a:pt x="1226" y="1768"/>
                    </a:lnTo>
                    <a:lnTo>
                      <a:pt x="1224" y="1768"/>
                    </a:lnTo>
                    <a:lnTo>
                      <a:pt x="1224" y="1770"/>
                    </a:lnTo>
                    <a:lnTo>
                      <a:pt x="1226" y="1772"/>
                    </a:lnTo>
                    <a:lnTo>
                      <a:pt x="1224" y="1772"/>
                    </a:lnTo>
                    <a:lnTo>
                      <a:pt x="1224" y="1770"/>
                    </a:lnTo>
                    <a:lnTo>
                      <a:pt x="1222" y="1770"/>
                    </a:lnTo>
                    <a:lnTo>
                      <a:pt x="1222" y="1772"/>
                    </a:lnTo>
                    <a:lnTo>
                      <a:pt x="1222" y="1770"/>
                    </a:lnTo>
                    <a:lnTo>
                      <a:pt x="1220" y="1770"/>
                    </a:lnTo>
                    <a:lnTo>
                      <a:pt x="1220" y="1772"/>
                    </a:lnTo>
                    <a:lnTo>
                      <a:pt x="1220" y="1774"/>
                    </a:lnTo>
                    <a:lnTo>
                      <a:pt x="1220" y="1772"/>
                    </a:lnTo>
                    <a:lnTo>
                      <a:pt x="1220" y="1774"/>
                    </a:lnTo>
                    <a:lnTo>
                      <a:pt x="1222" y="1774"/>
                    </a:lnTo>
                    <a:lnTo>
                      <a:pt x="1220" y="1774"/>
                    </a:lnTo>
                    <a:lnTo>
                      <a:pt x="1222" y="1774"/>
                    </a:lnTo>
                    <a:lnTo>
                      <a:pt x="1220" y="1774"/>
                    </a:lnTo>
                    <a:lnTo>
                      <a:pt x="1222" y="1774"/>
                    </a:lnTo>
                    <a:lnTo>
                      <a:pt x="1222" y="1776"/>
                    </a:lnTo>
                    <a:lnTo>
                      <a:pt x="1220" y="1774"/>
                    </a:lnTo>
                    <a:lnTo>
                      <a:pt x="1220" y="1776"/>
                    </a:lnTo>
                    <a:lnTo>
                      <a:pt x="1220" y="1774"/>
                    </a:lnTo>
                    <a:lnTo>
                      <a:pt x="1220" y="1776"/>
                    </a:lnTo>
                    <a:lnTo>
                      <a:pt x="1222" y="1776"/>
                    </a:lnTo>
                    <a:lnTo>
                      <a:pt x="1220" y="1776"/>
                    </a:lnTo>
                    <a:lnTo>
                      <a:pt x="1222" y="1776"/>
                    </a:lnTo>
                    <a:lnTo>
                      <a:pt x="1222" y="1778"/>
                    </a:lnTo>
                    <a:lnTo>
                      <a:pt x="1220" y="1778"/>
                    </a:lnTo>
                    <a:lnTo>
                      <a:pt x="1220" y="1776"/>
                    </a:lnTo>
                    <a:lnTo>
                      <a:pt x="1219" y="1778"/>
                    </a:lnTo>
                    <a:lnTo>
                      <a:pt x="1220" y="1778"/>
                    </a:lnTo>
                    <a:lnTo>
                      <a:pt x="1219" y="1778"/>
                    </a:lnTo>
                    <a:lnTo>
                      <a:pt x="1219" y="1780"/>
                    </a:lnTo>
                    <a:lnTo>
                      <a:pt x="1217" y="1780"/>
                    </a:lnTo>
                    <a:lnTo>
                      <a:pt x="1219" y="1780"/>
                    </a:lnTo>
                    <a:lnTo>
                      <a:pt x="1217" y="1780"/>
                    </a:lnTo>
                    <a:lnTo>
                      <a:pt x="1217" y="1782"/>
                    </a:lnTo>
                    <a:lnTo>
                      <a:pt x="1217" y="1780"/>
                    </a:lnTo>
                    <a:lnTo>
                      <a:pt x="1217" y="1782"/>
                    </a:lnTo>
                    <a:lnTo>
                      <a:pt x="1215" y="1782"/>
                    </a:lnTo>
                    <a:lnTo>
                      <a:pt x="1215" y="1784"/>
                    </a:lnTo>
                    <a:lnTo>
                      <a:pt x="1213" y="1784"/>
                    </a:lnTo>
                    <a:lnTo>
                      <a:pt x="1213" y="1786"/>
                    </a:lnTo>
                    <a:lnTo>
                      <a:pt x="1213" y="1784"/>
                    </a:lnTo>
                    <a:lnTo>
                      <a:pt x="1213" y="1786"/>
                    </a:lnTo>
                    <a:lnTo>
                      <a:pt x="1213" y="1788"/>
                    </a:lnTo>
                    <a:lnTo>
                      <a:pt x="1211" y="1786"/>
                    </a:lnTo>
                    <a:lnTo>
                      <a:pt x="1211" y="1788"/>
                    </a:lnTo>
                    <a:lnTo>
                      <a:pt x="1211" y="1786"/>
                    </a:lnTo>
                    <a:lnTo>
                      <a:pt x="1211" y="1788"/>
                    </a:lnTo>
                    <a:lnTo>
                      <a:pt x="1211" y="1789"/>
                    </a:lnTo>
                    <a:lnTo>
                      <a:pt x="1209" y="1788"/>
                    </a:lnTo>
                    <a:lnTo>
                      <a:pt x="1209" y="1789"/>
                    </a:lnTo>
                    <a:lnTo>
                      <a:pt x="1207" y="1789"/>
                    </a:lnTo>
                    <a:lnTo>
                      <a:pt x="1209" y="1789"/>
                    </a:lnTo>
                    <a:lnTo>
                      <a:pt x="1207" y="1789"/>
                    </a:lnTo>
                    <a:lnTo>
                      <a:pt x="1207" y="1791"/>
                    </a:lnTo>
                    <a:lnTo>
                      <a:pt x="1207" y="1789"/>
                    </a:lnTo>
                    <a:lnTo>
                      <a:pt x="1205" y="1788"/>
                    </a:lnTo>
                    <a:lnTo>
                      <a:pt x="1207" y="1789"/>
                    </a:lnTo>
                    <a:lnTo>
                      <a:pt x="1205" y="1789"/>
                    </a:lnTo>
                    <a:lnTo>
                      <a:pt x="1205" y="1791"/>
                    </a:lnTo>
                    <a:lnTo>
                      <a:pt x="1205" y="1789"/>
                    </a:lnTo>
                    <a:lnTo>
                      <a:pt x="1205" y="1788"/>
                    </a:lnTo>
                    <a:lnTo>
                      <a:pt x="1205" y="1789"/>
                    </a:lnTo>
                    <a:lnTo>
                      <a:pt x="1203" y="1789"/>
                    </a:lnTo>
                    <a:lnTo>
                      <a:pt x="1205" y="1789"/>
                    </a:lnTo>
                    <a:lnTo>
                      <a:pt x="1205" y="1791"/>
                    </a:lnTo>
                    <a:lnTo>
                      <a:pt x="1203" y="1791"/>
                    </a:lnTo>
                    <a:lnTo>
                      <a:pt x="1205" y="1791"/>
                    </a:lnTo>
                    <a:lnTo>
                      <a:pt x="1203" y="1791"/>
                    </a:lnTo>
                    <a:lnTo>
                      <a:pt x="1205" y="1793"/>
                    </a:lnTo>
                    <a:lnTo>
                      <a:pt x="1203" y="1793"/>
                    </a:lnTo>
                    <a:lnTo>
                      <a:pt x="1205" y="1793"/>
                    </a:lnTo>
                    <a:lnTo>
                      <a:pt x="1203" y="1793"/>
                    </a:lnTo>
                    <a:lnTo>
                      <a:pt x="1203" y="1791"/>
                    </a:lnTo>
                    <a:lnTo>
                      <a:pt x="1203" y="1793"/>
                    </a:lnTo>
                    <a:lnTo>
                      <a:pt x="1203" y="1795"/>
                    </a:lnTo>
                    <a:lnTo>
                      <a:pt x="1203" y="1793"/>
                    </a:lnTo>
                    <a:lnTo>
                      <a:pt x="1201" y="1793"/>
                    </a:lnTo>
                    <a:lnTo>
                      <a:pt x="1201" y="1795"/>
                    </a:lnTo>
                    <a:lnTo>
                      <a:pt x="1203" y="1795"/>
                    </a:lnTo>
                    <a:lnTo>
                      <a:pt x="1201" y="1795"/>
                    </a:lnTo>
                    <a:lnTo>
                      <a:pt x="1201" y="1793"/>
                    </a:lnTo>
                    <a:lnTo>
                      <a:pt x="1199" y="1793"/>
                    </a:lnTo>
                    <a:lnTo>
                      <a:pt x="1199" y="1795"/>
                    </a:lnTo>
                    <a:lnTo>
                      <a:pt x="1199" y="1793"/>
                    </a:lnTo>
                    <a:lnTo>
                      <a:pt x="1198" y="1795"/>
                    </a:lnTo>
                    <a:lnTo>
                      <a:pt x="1198" y="1793"/>
                    </a:lnTo>
                    <a:lnTo>
                      <a:pt x="1198" y="1791"/>
                    </a:lnTo>
                    <a:lnTo>
                      <a:pt x="1198" y="1789"/>
                    </a:lnTo>
                    <a:lnTo>
                      <a:pt x="1198" y="1791"/>
                    </a:lnTo>
                    <a:lnTo>
                      <a:pt x="1198" y="1789"/>
                    </a:lnTo>
                    <a:lnTo>
                      <a:pt x="1196" y="1789"/>
                    </a:lnTo>
                    <a:lnTo>
                      <a:pt x="1196" y="1788"/>
                    </a:lnTo>
                    <a:lnTo>
                      <a:pt x="1196" y="1789"/>
                    </a:lnTo>
                    <a:lnTo>
                      <a:pt x="1196" y="1788"/>
                    </a:lnTo>
                    <a:lnTo>
                      <a:pt x="1196" y="1789"/>
                    </a:lnTo>
                    <a:lnTo>
                      <a:pt x="1196" y="1788"/>
                    </a:lnTo>
                    <a:lnTo>
                      <a:pt x="1196" y="1789"/>
                    </a:lnTo>
                    <a:lnTo>
                      <a:pt x="1194" y="1788"/>
                    </a:lnTo>
                    <a:lnTo>
                      <a:pt x="1194" y="1786"/>
                    </a:lnTo>
                    <a:lnTo>
                      <a:pt x="1194" y="1788"/>
                    </a:lnTo>
                    <a:lnTo>
                      <a:pt x="1194" y="1789"/>
                    </a:lnTo>
                    <a:lnTo>
                      <a:pt x="1192" y="1788"/>
                    </a:lnTo>
                    <a:lnTo>
                      <a:pt x="1192" y="1789"/>
                    </a:lnTo>
                    <a:lnTo>
                      <a:pt x="1192" y="1788"/>
                    </a:lnTo>
                    <a:lnTo>
                      <a:pt x="1192" y="1786"/>
                    </a:lnTo>
                    <a:lnTo>
                      <a:pt x="1192" y="1788"/>
                    </a:lnTo>
                    <a:lnTo>
                      <a:pt x="1192" y="1786"/>
                    </a:lnTo>
                    <a:lnTo>
                      <a:pt x="1192" y="1784"/>
                    </a:lnTo>
                    <a:lnTo>
                      <a:pt x="1192" y="1782"/>
                    </a:lnTo>
                    <a:lnTo>
                      <a:pt x="1190" y="1782"/>
                    </a:lnTo>
                    <a:lnTo>
                      <a:pt x="1190" y="1780"/>
                    </a:lnTo>
                    <a:lnTo>
                      <a:pt x="1192" y="1778"/>
                    </a:lnTo>
                    <a:lnTo>
                      <a:pt x="1192" y="1776"/>
                    </a:lnTo>
                    <a:lnTo>
                      <a:pt x="1194" y="1774"/>
                    </a:lnTo>
                    <a:lnTo>
                      <a:pt x="1194" y="1772"/>
                    </a:lnTo>
                    <a:lnTo>
                      <a:pt x="1196" y="1772"/>
                    </a:lnTo>
                    <a:lnTo>
                      <a:pt x="1196" y="1770"/>
                    </a:lnTo>
                    <a:lnTo>
                      <a:pt x="1194" y="1770"/>
                    </a:lnTo>
                    <a:lnTo>
                      <a:pt x="1192" y="1772"/>
                    </a:lnTo>
                    <a:lnTo>
                      <a:pt x="1192" y="1774"/>
                    </a:lnTo>
                    <a:lnTo>
                      <a:pt x="1190" y="1774"/>
                    </a:lnTo>
                    <a:lnTo>
                      <a:pt x="1194" y="1770"/>
                    </a:lnTo>
                    <a:lnTo>
                      <a:pt x="1196" y="1770"/>
                    </a:lnTo>
                    <a:lnTo>
                      <a:pt x="1198" y="1768"/>
                    </a:lnTo>
                    <a:lnTo>
                      <a:pt x="1198" y="1770"/>
                    </a:lnTo>
                    <a:lnTo>
                      <a:pt x="1199" y="1770"/>
                    </a:lnTo>
                    <a:lnTo>
                      <a:pt x="1199" y="1768"/>
                    </a:lnTo>
                    <a:lnTo>
                      <a:pt x="1201" y="1767"/>
                    </a:lnTo>
                    <a:lnTo>
                      <a:pt x="1199" y="1767"/>
                    </a:lnTo>
                    <a:lnTo>
                      <a:pt x="1199" y="1768"/>
                    </a:lnTo>
                    <a:lnTo>
                      <a:pt x="1198" y="1768"/>
                    </a:lnTo>
                    <a:lnTo>
                      <a:pt x="1198" y="1767"/>
                    </a:lnTo>
                    <a:lnTo>
                      <a:pt x="1211" y="1759"/>
                    </a:lnTo>
                    <a:lnTo>
                      <a:pt x="1213" y="1757"/>
                    </a:lnTo>
                    <a:lnTo>
                      <a:pt x="1219" y="1755"/>
                    </a:lnTo>
                    <a:lnTo>
                      <a:pt x="1219" y="1753"/>
                    </a:lnTo>
                    <a:lnTo>
                      <a:pt x="1220" y="1753"/>
                    </a:lnTo>
                    <a:lnTo>
                      <a:pt x="1220" y="1755"/>
                    </a:lnTo>
                    <a:lnTo>
                      <a:pt x="1219" y="1757"/>
                    </a:lnTo>
                    <a:lnTo>
                      <a:pt x="1220" y="1757"/>
                    </a:lnTo>
                    <a:lnTo>
                      <a:pt x="1219" y="1757"/>
                    </a:lnTo>
                    <a:lnTo>
                      <a:pt x="1220" y="1757"/>
                    </a:lnTo>
                    <a:lnTo>
                      <a:pt x="1219" y="1757"/>
                    </a:lnTo>
                    <a:lnTo>
                      <a:pt x="1219" y="1759"/>
                    </a:lnTo>
                    <a:lnTo>
                      <a:pt x="1220" y="1759"/>
                    </a:lnTo>
                    <a:lnTo>
                      <a:pt x="1220" y="1757"/>
                    </a:lnTo>
                    <a:lnTo>
                      <a:pt x="1220" y="1759"/>
                    </a:lnTo>
                    <a:lnTo>
                      <a:pt x="1222" y="1759"/>
                    </a:lnTo>
                    <a:lnTo>
                      <a:pt x="1224" y="1761"/>
                    </a:lnTo>
                    <a:lnTo>
                      <a:pt x="1224" y="1759"/>
                    </a:lnTo>
                    <a:lnTo>
                      <a:pt x="1222" y="1759"/>
                    </a:lnTo>
                    <a:lnTo>
                      <a:pt x="1222" y="1757"/>
                    </a:lnTo>
                    <a:lnTo>
                      <a:pt x="1224" y="1755"/>
                    </a:lnTo>
                    <a:lnTo>
                      <a:pt x="1226" y="1755"/>
                    </a:lnTo>
                    <a:lnTo>
                      <a:pt x="1228" y="1755"/>
                    </a:lnTo>
                    <a:lnTo>
                      <a:pt x="1230" y="1753"/>
                    </a:lnTo>
                    <a:lnTo>
                      <a:pt x="1230" y="1755"/>
                    </a:lnTo>
                    <a:lnTo>
                      <a:pt x="1230" y="1753"/>
                    </a:lnTo>
                    <a:lnTo>
                      <a:pt x="1232" y="1753"/>
                    </a:lnTo>
                    <a:lnTo>
                      <a:pt x="1234" y="1753"/>
                    </a:lnTo>
                    <a:lnTo>
                      <a:pt x="1236" y="1753"/>
                    </a:lnTo>
                    <a:lnTo>
                      <a:pt x="1230" y="1751"/>
                    </a:lnTo>
                    <a:lnTo>
                      <a:pt x="1228" y="1753"/>
                    </a:lnTo>
                    <a:lnTo>
                      <a:pt x="1226" y="1753"/>
                    </a:lnTo>
                    <a:lnTo>
                      <a:pt x="1226" y="1751"/>
                    </a:lnTo>
                    <a:lnTo>
                      <a:pt x="1224" y="1751"/>
                    </a:lnTo>
                    <a:lnTo>
                      <a:pt x="1222" y="1751"/>
                    </a:lnTo>
                    <a:lnTo>
                      <a:pt x="1222" y="1753"/>
                    </a:lnTo>
                    <a:lnTo>
                      <a:pt x="1220" y="1751"/>
                    </a:lnTo>
                    <a:lnTo>
                      <a:pt x="1220" y="1753"/>
                    </a:lnTo>
                    <a:lnTo>
                      <a:pt x="1219" y="1753"/>
                    </a:lnTo>
                    <a:lnTo>
                      <a:pt x="1219" y="1751"/>
                    </a:lnTo>
                    <a:lnTo>
                      <a:pt x="1217" y="1751"/>
                    </a:lnTo>
                    <a:lnTo>
                      <a:pt x="1215" y="1753"/>
                    </a:lnTo>
                    <a:lnTo>
                      <a:pt x="1213" y="1753"/>
                    </a:lnTo>
                    <a:lnTo>
                      <a:pt x="1213" y="1755"/>
                    </a:lnTo>
                    <a:lnTo>
                      <a:pt x="1213" y="1753"/>
                    </a:lnTo>
                    <a:lnTo>
                      <a:pt x="1211" y="1753"/>
                    </a:lnTo>
                    <a:lnTo>
                      <a:pt x="1211" y="1751"/>
                    </a:lnTo>
                    <a:lnTo>
                      <a:pt x="1213" y="1751"/>
                    </a:lnTo>
                    <a:lnTo>
                      <a:pt x="1213" y="1749"/>
                    </a:lnTo>
                    <a:lnTo>
                      <a:pt x="1215" y="1749"/>
                    </a:lnTo>
                    <a:lnTo>
                      <a:pt x="1217" y="1747"/>
                    </a:lnTo>
                    <a:lnTo>
                      <a:pt x="1217" y="1746"/>
                    </a:lnTo>
                    <a:lnTo>
                      <a:pt x="1219" y="1746"/>
                    </a:lnTo>
                    <a:lnTo>
                      <a:pt x="1219" y="1744"/>
                    </a:lnTo>
                    <a:lnTo>
                      <a:pt x="1220" y="1744"/>
                    </a:lnTo>
                    <a:lnTo>
                      <a:pt x="1220" y="1742"/>
                    </a:lnTo>
                    <a:lnTo>
                      <a:pt x="1220" y="1744"/>
                    </a:lnTo>
                    <a:lnTo>
                      <a:pt x="1222" y="1744"/>
                    </a:lnTo>
                    <a:lnTo>
                      <a:pt x="1220" y="1744"/>
                    </a:lnTo>
                    <a:lnTo>
                      <a:pt x="1222" y="1742"/>
                    </a:lnTo>
                    <a:lnTo>
                      <a:pt x="1220" y="1742"/>
                    </a:lnTo>
                    <a:lnTo>
                      <a:pt x="1220" y="1740"/>
                    </a:lnTo>
                    <a:lnTo>
                      <a:pt x="1220" y="1742"/>
                    </a:lnTo>
                    <a:lnTo>
                      <a:pt x="1220" y="1740"/>
                    </a:lnTo>
                    <a:lnTo>
                      <a:pt x="1220" y="1742"/>
                    </a:lnTo>
                    <a:lnTo>
                      <a:pt x="1219" y="1742"/>
                    </a:lnTo>
                    <a:lnTo>
                      <a:pt x="1219" y="1744"/>
                    </a:lnTo>
                    <a:lnTo>
                      <a:pt x="1217" y="1744"/>
                    </a:lnTo>
                    <a:lnTo>
                      <a:pt x="1219" y="1742"/>
                    </a:lnTo>
                    <a:lnTo>
                      <a:pt x="1217" y="1742"/>
                    </a:lnTo>
                    <a:lnTo>
                      <a:pt x="1215" y="1744"/>
                    </a:lnTo>
                    <a:lnTo>
                      <a:pt x="1215" y="1746"/>
                    </a:lnTo>
                    <a:lnTo>
                      <a:pt x="1215" y="1744"/>
                    </a:lnTo>
                    <a:lnTo>
                      <a:pt x="1215" y="1746"/>
                    </a:lnTo>
                    <a:lnTo>
                      <a:pt x="1213" y="1747"/>
                    </a:lnTo>
                    <a:lnTo>
                      <a:pt x="1211" y="1747"/>
                    </a:lnTo>
                    <a:lnTo>
                      <a:pt x="1209" y="1749"/>
                    </a:lnTo>
                    <a:lnTo>
                      <a:pt x="1207" y="1749"/>
                    </a:lnTo>
                    <a:lnTo>
                      <a:pt x="1205" y="1749"/>
                    </a:lnTo>
                    <a:lnTo>
                      <a:pt x="1203" y="1751"/>
                    </a:lnTo>
                    <a:lnTo>
                      <a:pt x="1201" y="1753"/>
                    </a:lnTo>
                    <a:lnTo>
                      <a:pt x="1199" y="1755"/>
                    </a:lnTo>
                    <a:lnTo>
                      <a:pt x="1198" y="1755"/>
                    </a:lnTo>
                    <a:lnTo>
                      <a:pt x="1196" y="1755"/>
                    </a:lnTo>
                    <a:lnTo>
                      <a:pt x="1196" y="1757"/>
                    </a:lnTo>
                    <a:lnTo>
                      <a:pt x="1194" y="1755"/>
                    </a:lnTo>
                    <a:lnTo>
                      <a:pt x="1194" y="1757"/>
                    </a:lnTo>
                    <a:lnTo>
                      <a:pt x="1194" y="1755"/>
                    </a:lnTo>
                    <a:lnTo>
                      <a:pt x="1192" y="1755"/>
                    </a:lnTo>
                    <a:lnTo>
                      <a:pt x="1194" y="1755"/>
                    </a:lnTo>
                    <a:lnTo>
                      <a:pt x="1192" y="1755"/>
                    </a:lnTo>
                    <a:lnTo>
                      <a:pt x="1192" y="1757"/>
                    </a:lnTo>
                    <a:lnTo>
                      <a:pt x="1192" y="1755"/>
                    </a:lnTo>
                    <a:lnTo>
                      <a:pt x="1192" y="1757"/>
                    </a:lnTo>
                    <a:lnTo>
                      <a:pt x="1190" y="1757"/>
                    </a:lnTo>
                    <a:lnTo>
                      <a:pt x="1188" y="1759"/>
                    </a:lnTo>
                    <a:lnTo>
                      <a:pt x="1188" y="1757"/>
                    </a:lnTo>
                    <a:lnTo>
                      <a:pt x="1188" y="1759"/>
                    </a:lnTo>
                    <a:lnTo>
                      <a:pt x="1186" y="1759"/>
                    </a:lnTo>
                    <a:lnTo>
                      <a:pt x="1188" y="1759"/>
                    </a:lnTo>
                    <a:lnTo>
                      <a:pt x="1186" y="1759"/>
                    </a:lnTo>
                    <a:lnTo>
                      <a:pt x="1186" y="1757"/>
                    </a:lnTo>
                    <a:lnTo>
                      <a:pt x="1186" y="1759"/>
                    </a:lnTo>
                    <a:lnTo>
                      <a:pt x="1186" y="1757"/>
                    </a:lnTo>
                    <a:lnTo>
                      <a:pt x="1184" y="1759"/>
                    </a:lnTo>
                    <a:lnTo>
                      <a:pt x="1182" y="1759"/>
                    </a:lnTo>
                    <a:lnTo>
                      <a:pt x="1182" y="1761"/>
                    </a:lnTo>
                    <a:lnTo>
                      <a:pt x="1182" y="1759"/>
                    </a:lnTo>
                    <a:lnTo>
                      <a:pt x="1180" y="1761"/>
                    </a:lnTo>
                    <a:lnTo>
                      <a:pt x="1180" y="1759"/>
                    </a:lnTo>
                    <a:lnTo>
                      <a:pt x="1182" y="1759"/>
                    </a:lnTo>
                    <a:lnTo>
                      <a:pt x="1180" y="1759"/>
                    </a:lnTo>
                    <a:lnTo>
                      <a:pt x="1182" y="1759"/>
                    </a:lnTo>
                    <a:lnTo>
                      <a:pt x="1180" y="1759"/>
                    </a:lnTo>
                    <a:lnTo>
                      <a:pt x="1180" y="1761"/>
                    </a:lnTo>
                    <a:lnTo>
                      <a:pt x="1178" y="1759"/>
                    </a:lnTo>
                    <a:lnTo>
                      <a:pt x="1180" y="1759"/>
                    </a:lnTo>
                    <a:lnTo>
                      <a:pt x="1178" y="1757"/>
                    </a:lnTo>
                    <a:lnTo>
                      <a:pt x="1177" y="1757"/>
                    </a:lnTo>
                    <a:lnTo>
                      <a:pt x="1177" y="1759"/>
                    </a:lnTo>
                    <a:lnTo>
                      <a:pt x="1177" y="1757"/>
                    </a:lnTo>
                    <a:lnTo>
                      <a:pt x="1177" y="1759"/>
                    </a:lnTo>
                    <a:lnTo>
                      <a:pt x="1177" y="1757"/>
                    </a:lnTo>
                    <a:lnTo>
                      <a:pt x="1177" y="1755"/>
                    </a:lnTo>
                    <a:lnTo>
                      <a:pt x="1175" y="1757"/>
                    </a:lnTo>
                    <a:lnTo>
                      <a:pt x="1175" y="1755"/>
                    </a:lnTo>
                    <a:lnTo>
                      <a:pt x="1175" y="1757"/>
                    </a:lnTo>
                    <a:lnTo>
                      <a:pt x="1173" y="1757"/>
                    </a:lnTo>
                    <a:close/>
                    <a:moveTo>
                      <a:pt x="875" y="784"/>
                    </a:moveTo>
                    <a:lnTo>
                      <a:pt x="883" y="786"/>
                    </a:lnTo>
                    <a:lnTo>
                      <a:pt x="885" y="786"/>
                    </a:lnTo>
                    <a:lnTo>
                      <a:pt x="891" y="786"/>
                    </a:lnTo>
                    <a:lnTo>
                      <a:pt x="894" y="790"/>
                    </a:lnTo>
                    <a:lnTo>
                      <a:pt x="892" y="793"/>
                    </a:lnTo>
                    <a:lnTo>
                      <a:pt x="885" y="803"/>
                    </a:lnTo>
                    <a:lnTo>
                      <a:pt x="883" y="803"/>
                    </a:lnTo>
                    <a:lnTo>
                      <a:pt x="883" y="805"/>
                    </a:lnTo>
                    <a:lnTo>
                      <a:pt x="877" y="811"/>
                    </a:lnTo>
                    <a:lnTo>
                      <a:pt x="873" y="818"/>
                    </a:lnTo>
                    <a:lnTo>
                      <a:pt x="871" y="830"/>
                    </a:lnTo>
                    <a:lnTo>
                      <a:pt x="866" y="839"/>
                    </a:lnTo>
                    <a:lnTo>
                      <a:pt x="864" y="847"/>
                    </a:lnTo>
                    <a:lnTo>
                      <a:pt x="866" y="849"/>
                    </a:lnTo>
                    <a:lnTo>
                      <a:pt x="864" y="849"/>
                    </a:lnTo>
                    <a:lnTo>
                      <a:pt x="870" y="856"/>
                    </a:lnTo>
                    <a:lnTo>
                      <a:pt x="871" y="862"/>
                    </a:lnTo>
                    <a:lnTo>
                      <a:pt x="870" y="870"/>
                    </a:lnTo>
                    <a:lnTo>
                      <a:pt x="868" y="874"/>
                    </a:lnTo>
                    <a:lnTo>
                      <a:pt x="870" y="875"/>
                    </a:lnTo>
                    <a:lnTo>
                      <a:pt x="870" y="883"/>
                    </a:lnTo>
                    <a:lnTo>
                      <a:pt x="873" y="895"/>
                    </a:lnTo>
                    <a:lnTo>
                      <a:pt x="877" y="898"/>
                    </a:lnTo>
                    <a:lnTo>
                      <a:pt x="885" y="908"/>
                    </a:lnTo>
                    <a:lnTo>
                      <a:pt x="885" y="910"/>
                    </a:lnTo>
                    <a:lnTo>
                      <a:pt x="887" y="910"/>
                    </a:lnTo>
                    <a:lnTo>
                      <a:pt x="889" y="912"/>
                    </a:lnTo>
                    <a:lnTo>
                      <a:pt x="889" y="914"/>
                    </a:lnTo>
                    <a:lnTo>
                      <a:pt x="891" y="912"/>
                    </a:lnTo>
                    <a:lnTo>
                      <a:pt x="892" y="914"/>
                    </a:lnTo>
                    <a:lnTo>
                      <a:pt x="892" y="916"/>
                    </a:lnTo>
                    <a:lnTo>
                      <a:pt x="894" y="916"/>
                    </a:lnTo>
                    <a:lnTo>
                      <a:pt x="894" y="914"/>
                    </a:lnTo>
                    <a:lnTo>
                      <a:pt x="896" y="914"/>
                    </a:lnTo>
                    <a:lnTo>
                      <a:pt x="896" y="912"/>
                    </a:lnTo>
                    <a:lnTo>
                      <a:pt x="898" y="914"/>
                    </a:lnTo>
                    <a:lnTo>
                      <a:pt x="898" y="912"/>
                    </a:lnTo>
                    <a:lnTo>
                      <a:pt x="898" y="914"/>
                    </a:lnTo>
                    <a:lnTo>
                      <a:pt x="900" y="912"/>
                    </a:lnTo>
                    <a:lnTo>
                      <a:pt x="898" y="908"/>
                    </a:lnTo>
                    <a:lnTo>
                      <a:pt x="896" y="906"/>
                    </a:lnTo>
                    <a:lnTo>
                      <a:pt x="898" y="900"/>
                    </a:lnTo>
                    <a:lnTo>
                      <a:pt x="894" y="900"/>
                    </a:lnTo>
                    <a:lnTo>
                      <a:pt x="894" y="902"/>
                    </a:lnTo>
                    <a:lnTo>
                      <a:pt x="887" y="900"/>
                    </a:lnTo>
                    <a:lnTo>
                      <a:pt x="885" y="896"/>
                    </a:lnTo>
                    <a:lnTo>
                      <a:pt x="883" y="896"/>
                    </a:lnTo>
                    <a:lnTo>
                      <a:pt x="883" y="895"/>
                    </a:lnTo>
                    <a:lnTo>
                      <a:pt x="885" y="895"/>
                    </a:lnTo>
                    <a:lnTo>
                      <a:pt x="883" y="889"/>
                    </a:lnTo>
                    <a:lnTo>
                      <a:pt x="879" y="887"/>
                    </a:lnTo>
                    <a:lnTo>
                      <a:pt x="875" y="885"/>
                    </a:lnTo>
                    <a:lnTo>
                      <a:pt x="875" y="883"/>
                    </a:lnTo>
                    <a:lnTo>
                      <a:pt x="877" y="885"/>
                    </a:lnTo>
                    <a:lnTo>
                      <a:pt x="875" y="883"/>
                    </a:lnTo>
                    <a:lnTo>
                      <a:pt x="881" y="885"/>
                    </a:lnTo>
                    <a:lnTo>
                      <a:pt x="881" y="883"/>
                    </a:lnTo>
                    <a:lnTo>
                      <a:pt x="879" y="883"/>
                    </a:lnTo>
                    <a:lnTo>
                      <a:pt x="879" y="881"/>
                    </a:lnTo>
                    <a:lnTo>
                      <a:pt x="879" y="883"/>
                    </a:lnTo>
                    <a:lnTo>
                      <a:pt x="881" y="881"/>
                    </a:lnTo>
                    <a:lnTo>
                      <a:pt x="883" y="881"/>
                    </a:lnTo>
                    <a:lnTo>
                      <a:pt x="885" y="879"/>
                    </a:lnTo>
                    <a:lnTo>
                      <a:pt x="883" y="877"/>
                    </a:lnTo>
                    <a:lnTo>
                      <a:pt x="885" y="879"/>
                    </a:lnTo>
                    <a:lnTo>
                      <a:pt x="885" y="877"/>
                    </a:lnTo>
                    <a:lnTo>
                      <a:pt x="887" y="877"/>
                    </a:lnTo>
                    <a:lnTo>
                      <a:pt x="883" y="875"/>
                    </a:lnTo>
                    <a:lnTo>
                      <a:pt x="885" y="875"/>
                    </a:lnTo>
                    <a:lnTo>
                      <a:pt x="883" y="872"/>
                    </a:lnTo>
                    <a:lnTo>
                      <a:pt x="885" y="874"/>
                    </a:lnTo>
                    <a:lnTo>
                      <a:pt x="885" y="872"/>
                    </a:lnTo>
                    <a:lnTo>
                      <a:pt x="885" y="874"/>
                    </a:lnTo>
                    <a:lnTo>
                      <a:pt x="883" y="872"/>
                    </a:lnTo>
                    <a:lnTo>
                      <a:pt x="885" y="872"/>
                    </a:lnTo>
                    <a:lnTo>
                      <a:pt x="887" y="872"/>
                    </a:lnTo>
                    <a:lnTo>
                      <a:pt x="887" y="870"/>
                    </a:lnTo>
                    <a:lnTo>
                      <a:pt x="889" y="870"/>
                    </a:lnTo>
                    <a:lnTo>
                      <a:pt x="889" y="872"/>
                    </a:lnTo>
                    <a:lnTo>
                      <a:pt x="889" y="870"/>
                    </a:lnTo>
                    <a:lnTo>
                      <a:pt x="891" y="872"/>
                    </a:lnTo>
                    <a:lnTo>
                      <a:pt x="891" y="874"/>
                    </a:lnTo>
                    <a:lnTo>
                      <a:pt x="891" y="872"/>
                    </a:lnTo>
                    <a:lnTo>
                      <a:pt x="892" y="872"/>
                    </a:lnTo>
                    <a:lnTo>
                      <a:pt x="894" y="874"/>
                    </a:lnTo>
                    <a:lnTo>
                      <a:pt x="894" y="875"/>
                    </a:lnTo>
                    <a:lnTo>
                      <a:pt x="896" y="877"/>
                    </a:lnTo>
                    <a:lnTo>
                      <a:pt x="898" y="877"/>
                    </a:lnTo>
                    <a:lnTo>
                      <a:pt x="900" y="877"/>
                    </a:lnTo>
                    <a:lnTo>
                      <a:pt x="900" y="881"/>
                    </a:lnTo>
                    <a:lnTo>
                      <a:pt x="902" y="881"/>
                    </a:lnTo>
                    <a:lnTo>
                      <a:pt x="904" y="883"/>
                    </a:lnTo>
                    <a:lnTo>
                      <a:pt x="904" y="887"/>
                    </a:lnTo>
                    <a:lnTo>
                      <a:pt x="906" y="887"/>
                    </a:lnTo>
                    <a:lnTo>
                      <a:pt x="904" y="885"/>
                    </a:lnTo>
                    <a:lnTo>
                      <a:pt x="906" y="885"/>
                    </a:lnTo>
                    <a:lnTo>
                      <a:pt x="904" y="885"/>
                    </a:lnTo>
                    <a:lnTo>
                      <a:pt x="906" y="883"/>
                    </a:lnTo>
                    <a:lnTo>
                      <a:pt x="904" y="881"/>
                    </a:lnTo>
                    <a:lnTo>
                      <a:pt x="902" y="881"/>
                    </a:lnTo>
                    <a:lnTo>
                      <a:pt x="902" y="877"/>
                    </a:lnTo>
                    <a:lnTo>
                      <a:pt x="900" y="877"/>
                    </a:lnTo>
                    <a:lnTo>
                      <a:pt x="900" y="875"/>
                    </a:lnTo>
                    <a:lnTo>
                      <a:pt x="898" y="875"/>
                    </a:lnTo>
                    <a:lnTo>
                      <a:pt x="894" y="870"/>
                    </a:lnTo>
                    <a:lnTo>
                      <a:pt x="892" y="870"/>
                    </a:lnTo>
                    <a:lnTo>
                      <a:pt x="892" y="868"/>
                    </a:lnTo>
                    <a:lnTo>
                      <a:pt x="894" y="868"/>
                    </a:lnTo>
                    <a:lnTo>
                      <a:pt x="894" y="866"/>
                    </a:lnTo>
                    <a:lnTo>
                      <a:pt x="892" y="868"/>
                    </a:lnTo>
                    <a:lnTo>
                      <a:pt x="891" y="866"/>
                    </a:lnTo>
                    <a:lnTo>
                      <a:pt x="892" y="866"/>
                    </a:lnTo>
                    <a:lnTo>
                      <a:pt x="894" y="866"/>
                    </a:lnTo>
                    <a:lnTo>
                      <a:pt x="894" y="864"/>
                    </a:lnTo>
                    <a:lnTo>
                      <a:pt x="896" y="862"/>
                    </a:lnTo>
                    <a:lnTo>
                      <a:pt x="894" y="862"/>
                    </a:lnTo>
                    <a:lnTo>
                      <a:pt x="894" y="860"/>
                    </a:lnTo>
                    <a:lnTo>
                      <a:pt x="891" y="864"/>
                    </a:lnTo>
                    <a:lnTo>
                      <a:pt x="892" y="864"/>
                    </a:lnTo>
                    <a:lnTo>
                      <a:pt x="889" y="866"/>
                    </a:lnTo>
                    <a:lnTo>
                      <a:pt x="891" y="864"/>
                    </a:lnTo>
                    <a:lnTo>
                      <a:pt x="889" y="864"/>
                    </a:lnTo>
                    <a:lnTo>
                      <a:pt x="883" y="860"/>
                    </a:lnTo>
                    <a:lnTo>
                      <a:pt x="881" y="856"/>
                    </a:lnTo>
                    <a:lnTo>
                      <a:pt x="883" y="854"/>
                    </a:lnTo>
                    <a:lnTo>
                      <a:pt x="885" y="854"/>
                    </a:lnTo>
                    <a:lnTo>
                      <a:pt x="881" y="853"/>
                    </a:lnTo>
                    <a:lnTo>
                      <a:pt x="881" y="851"/>
                    </a:lnTo>
                    <a:lnTo>
                      <a:pt x="881" y="837"/>
                    </a:lnTo>
                    <a:lnTo>
                      <a:pt x="883" y="835"/>
                    </a:lnTo>
                    <a:lnTo>
                      <a:pt x="883" y="833"/>
                    </a:lnTo>
                    <a:lnTo>
                      <a:pt x="887" y="833"/>
                    </a:lnTo>
                    <a:lnTo>
                      <a:pt x="891" y="833"/>
                    </a:lnTo>
                    <a:lnTo>
                      <a:pt x="892" y="837"/>
                    </a:lnTo>
                    <a:lnTo>
                      <a:pt x="898" y="837"/>
                    </a:lnTo>
                    <a:lnTo>
                      <a:pt x="902" y="839"/>
                    </a:lnTo>
                    <a:lnTo>
                      <a:pt x="904" y="843"/>
                    </a:lnTo>
                    <a:lnTo>
                      <a:pt x="906" y="843"/>
                    </a:lnTo>
                    <a:lnTo>
                      <a:pt x="904" y="841"/>
                    </a:lnTo>
                    <a:lnTo>
                      <a:pt x="898" y="837"/>
                    </a:lnTo>
                    <a:lnTo>
                      <a:pt x="894" y="835"/>
                    </a:lnTo>
                    <a:lnTo>
                      <a:pt x="892" y="833"/>
                    </a:lnTo>
                    <a:lnTo>
                      <a:pt x="891" y="832"/>
                    </a:lnTo>
                    <a:lnTo>
                      <a:pt x="891" y="830"/>
                    </a:lnTo>
                    <a:lnTo>
                      <a:pt x="889" y="830"/>
                    </a:lnTo>
                    <a:lnTo>
                      <a:pt x="889" y="832"/>
                    </a:lnTo>
                    <a:lnTo>
                      <a:pt x="883" y="830"/>
                    </a:lnTo>
                    <a:lnTo>
                      <a:pt x="885" y="826"/>
                    </a:lnTo>
                    <a:lnTo>
                      <a:pt x="885" y="824"/>
                    </a:lnTo>
                    <a:lnTo>
                      <a:pt x="889" y="828"/>
                    </a:lnTo>
                    <a:lnTo>
                      <a:pt x="891" y="830"/>
                    </a:lnTo>
                    <a:lnTo>
                      <a:pt x="889" y="824"/>
                    </a:lnTo>
                    <a:lnTo>
                      <a:pt x="891" y="824"/>
                    </a:lnTo>
                    <a:lnTo>
                      <a:pt x="894" y="828"/>
                    </a:lnTo>
                    <a:lnTo>
                      <a:pt x="904" y="828"/>
                    </a:lnTo>
                    <a:lnTo>
                      <a:pt x="906" y="830"/>
                    </a:lnTo>
                    <a:lnTo>
                      <a:pt x="910" y="830"/>
                    </a:lnTo>
                    <a:lnTo>
                      <a:pt x="913" y="832"/>
                    </a:lnTo>
                    <a:lnTo>
                      <a:pt x="912" y="830"/>
                    </a:lnTo>
                    <a:lnTo>
                      <a:pt x="910" y="828"/>
                    </a:lnTo>
                    <a:lnTo>
                      <a:pt x="904" y="828"/>
                    </a:lnTo>
                    <a:lnTo>
                      <a:pt x="900" y="826"/>
                    </a:lnTo>
                    <a:lnTo>
                      <a:pt x="896" y="824"/>
                    </a:lnTo>
                    <a:lnTo>
                      <a:pt x="892" y="822"/>
                    </a:lnTo>
                    <a:lnTo>
                      <a:pt x="891" y="820"/>
                    </a:lnTo>
                    <a:lnTo>
                      <a:pt x="889" y="818"/>
                    </a:lnTo>
                    <a:lnTo>
                      <a:pt x="891" y="814"/>
                    </a:lnTo>
                    <a:lnTo>
                      <a:pt x="896" y="811"/>
                    </a:lnTo>
                    <a:lnTo>
                      <a:pt x="896" y="814"/>
                    </a:lnTo>
                    <a:lnTo>
                      <a:pt x="900" y="816"/>
                    </a:lnTo>
                    <a:lnTo>
                      <a:pt x="902" y="818"/>
                    </a:lnTo>
                    <a:lnTo>
                      <a:pt x="902" y="816"/>
                    </a:lnTo>
                    <a:lnTo>
                      <a:pt x="898" y="814"/>
                    </a:lnTo>
                    <a:lnTo>
                      <a:pt x="898" y="809"/>
                    </a:lnTo>
                    <a:lnTo>
                      <a:pt x="906" y="805"/>
                    </a:lnTo>
                    <a:lnTo>
                      <a:pt x="912" y="809"/>
                    </a:lnTo>
                    <a:lnTo>
                      <a:pt x="913" y="812"/>
                    </a:lnTo>
                    <a:lnTo>
                      <a:pt x="913" y="814"/>
                    </a:lnTo>
                    <a:lnTo>
                      <a:pt x="913" y="807"/>
                    </a:lnTo>
                    <a:lnTo>
                      <a:pt x="908" y="803"/>
                    </a:lnTo>
                    <a:lnTo>
                      <a:pt x="913" y="799"/>
                    </a:lnTo>
                    <a:lnTo>
                      <a:pt x="919" y="795"/>
                    </a:lnTo>
                    <a:lnTo>
                      <a:pt x="921" y="795"/>
                    </a:lnTo>
                    <a:lnTo>
                      <a:pt x="923" y="795"/>
                    </a:lnTo>
                    <a:lnTo>
                      <a:pt x="927" y="790"/>
                    </a:lnTo>
                    <a:lnTo>
                      <a:pt x="934" y="792"/>
                    </a:lnTo>
                    <a:lnTo>
                      <a:pt x="946" y="792"/>
                    </a:lnTo>
                    <a:lnTo>
                      <a:pt x="948" y="793"/>
                    </a:lnTo>
                    <a:lnTo>
                      <a:pt x="948" y="795"/>
                    </a:lnTo>
                    <a:lnTo>
                      <a:pt x="952" y="799"/>
                    </a:lnTo>
                    <a:lnTo>
                      <a:pt x="952" y="803"/>
                    </a:lnTo>
                    <a:lnTo>
                      <a:pt x="953" y="811"/>
                    </a:lnTo>
                    <a:lnTo>
                      <a:pt x="952" y="816"/>
                    </a:lnTo>
                    <a:lnTo>
                      <a:pt x="961" y="824"/>
                    </a:lnTo>
                    <a:lnTo>
                      <a:pt x="963" y="826"/>
                    </a:lnTo>
                    <a:lnTo>
                      <a:pt x="963" y="830"/>
                    </a:lnTo>
                    <a:lnTo>
                      <a:pt x="961" y="832"/>
                    </a:lnTo>
                    <a:lnTo>
                      <a:pt x="961" y="833"/>
                    </a:lnTo>
                    <a:lnTo>
                      <a:pt x="961" y="835"/>
                    </a:lnTo>
                    <a:lnTo>
                      <a:pt x="963" y="837"/>
                    </a:lnTo>
                    <a:lnTo>
                      <a:pt x="963" y="841"/>
                    </a:lnTo>
                    <a:lnTo>
                      <a:pt x="967" y="843"/>
                    </a:lnTo>
                    <a:lnTo>
                      <a:pt x="967" y="847"/>
                    </a:lnTo>
                    <a:lnTo>
                      <a:pt x="963" y="851"/>
                    </a:lnTo>
                    <a:lnTo>
                      <a:pt x="963" y="854"/>
                    </a:lnTo>
                    <a:lnTo>
                      <a:pt x="959" y="856"/>
                    </a:lnTo>
                    <a:lnTo>
                      <a:pt x="955" y="860"/>
                    </a:lnTo>
                    <a:lnTo>
                      <a:pt x="953" y="866"/>
                    </a:lnTo>
                    <a:lnTo>
                      <a:pt x="952" y="870"/>
                    </a:lnTo>
                    <a:lnTo>
                      <a:pt x="950" y="872"/>
                    </a:lnTo>
                    <a:lnTo>
                      <a:pt x="952" y="872"/>
                    </a:lnTo>
                    <a:lnTo>
                      <a:pt x="953" y="866"/>
                    </a:lnTo>
                    <a:lnTo>
                      <a:pt x="957" y="862"/>
                    </a:lnTo>
                    <a:lnTo>
                      <a:pt x="957" y="860"/>
                    </a:lnTo>
                    <a:lnTo>
                      <a:pt x="959" y="860"/>
                    </a:lnTo>
                    <a:lnTo>
                      <a:pt x="963" y="858"/>
                    </a:lnTo>
                    <a:lnTo>
                      <a:pt x="963" y="860"/>
                    </a:lnTo>
                    <a:lnTo>
                      <a:pt x="963" y="864"/>
                    </a:lnTo>
                    <a:lnTo>
                      <a:pt x="961" y="866"/>
                    </a:lnTo>
                    <a:lnTo>
                      <a:pt x="959" y="870"/>
                    </a:lnTo>
                    <a:lnTo>
                      <a:pt x="957" y="874"/>
                    </a:lnTo>
                    <a:lnTo>
                      <a:pt x="959" y="874"/>
                    </a:lnTo>
                    <a:lnTo>
                      <a:pt x="955" y="874"/>
                    </a:lnTo>
                    <a:lnTo>
                      <a:pt x="963" y="879"/>
                    </a:lnTo>
                    <a:lnTo>
                      <a:pt x="963" y="881"/>
                    </a:lnTo>
                    <a:lnTo>
                      <a:pt x="961" y="881"/>
                    </a:lnTo>
                    <a:lnTo>
                      <a:pt x="959" y="879"/>
                    </a:lnTo>
                    <a:lnTo>
                      <a:pt x="955" y="879"/>
                    </a:lnTo>
                    <a:lnTo>
                      <a:pt x="955" y="881"/>
                    </a:lnTo>
                    <a:lnTo>
                      <a:pt x="953" y="881"/>
                    </a:lnTo>
                    <a:lnTo>
                      <a:pt x="957" y="883"/>
                    </a:lnTo>
                    <a:lnTo>
                      <a:pt x="957" y="881"/>
                    </a:lnTo>
                    <a:lnTo>
                      <a:pt x="959" y="883"/>
                    </a:lnTo>
                    <a:lnTo>
                      <a:pt x="957" y="887"/>
                    </a:lnTo>
                    <a:lnTo>
                      <a:pt x="955" y="891"/>
                    </a:lnTo>
                    <a:lnTo>
                      <a:pt x="957" y="891"/>
                    </a:lnTo>
                    <a:lnTo>
                      <a:pt x="959" y="889"/>
                    </a:lnTo>
                    <a:lnTo>
                      <a:pt x="959" y="885"/>
                    </a:lnTo>
                    <a:lnTo>
                      <a:pt x="963" y="885"/>
                    </a:lnTo>
                    <a:lnTo>
                      <a:pt x="963" y="883"/>
                    </a:lnTo>
                    <a:lnTo>
                      <a:pt x="965" y="881"/>
                    </a:lnTo>
                    <a:lnTo>
                      <a:pt x="967" y="879"/>
                    </a:lnTo>
                    <a:lnTo>
                      <a:pt x="963" y="875"/>
                    </a:lnTo>
                    <a:lnTo>
                      <a:pt x="965" y="874"/>
                    </a:lnTo>
                    <a:lnTo>
                      <a:pt x="965" y="875"/>
                    </a:lnTo>
                    <a:lnTo>
                      <a:pt x="967" y="875"/>
                    </a:lnTo>
                    <a:lnTo>
                      <a:pt x="967" y="874"/>
                    </a:lnTo>
                    <a:lnTo>
                      <a:pt x="969" y="874"/>
                    </a:lnTo>
                    <a:lnTo>
                      <a:pt x="967" y="870"/>
                    </a:lnTo>
                    <a:lnTo>
                      <a:pt x="967" y="868"/>
                    </a:lnTo>
                    <a:lnTo>
                      <a:pt x="969" y="870"/>
                    </a:lnTo>
                    <a:lnTo>
                      <a:pt x="971" y="875"/>
                    </a:lnTo>
                    <a:lnTo>
                      <a:pt x="976" y="877"/>
                    </a:lnTo>
                    <a:lnTo>
                      <a:pt x="973" y="874"/>
                    </a:lnTo>
                    <a:lnTo>
                      <a:pt x="971" y="870"/>
                    </a:lnTo>
                    <a:lnTo>
                      <a:pt x="969" y="868"/>
                    </a:lnTo>
                    <a:lnTo>
                      <a:pt x="971" y="864"/>
                    </a:lnTo>
                    <a:lnTo>
                      <a:pt x="973" y="862"/>
                    </a:lnTo>
                    <a:lnTo>
                      <a:pt x="974" y="860"/>
                    </a:lnTo>
                    <a:lnTo>
                      <a:pt x="973" y="860"/>
                    </a:lnTo>
                    <a:lnTo>
                      <a:pt x="974" y="858"/>
                    </a:lnTo>
                    <a:lnTo>
                      <a:pt x="976" y="860"/>
                    </a:lnTo>
                    <a:lnTo>
                      <a:pt x="974" y="862"/>
                    </a:lnTo>
                    <a:lnTo>
                      <a:pt x="976" y="864"/>
                    </a:lnTo>
                    <a:lnTo>
                      <a:pt x="976" y="866"/>
                    </a:lnTo>
                    <a:lnTo>
                      <a:pt x="978" y="866"/>
                    </a:lnTo>
                    <a:lnTo>
                      <a:pt x="974" y="872"/>
                    </a:lnTo>
                    <a:lnTo>
                      <a:pt x="976" y="874"/>
                    </a:lnTo>
                    <a:lnTo>
                      <a:pt x="976" y="872"/>
                    </a:lnTo>
                    <a:lnTo>
                      <a:pt x="976" y="870"/>
                    </a:lnTo>
                    <a:lnTo>
                      <a:pt x="978" y="870"/>
                    </a:lnTo>
                    <a:lnTo>
                      <a:pt x="980" y="872"/>
                    </a:lnTo>
                    <a:lnTo>
                      <a:pt x="980" y="874"/>
                    </a:lnTo>
                    <a:lnTo>
                      <a:pt x="980" y="872"/>
                    </a:lnTo>
                    <a:lnTo>
                      <a:pt x="978" y="870"/>
                    </a:lnTo>
                    <a:lnTo>
                      <a:pt x="980" y="868"/>
                    </a:lnTo>
                    <a:lnTo>
                      <a:pt x="982" y="866"/>
                    </a:lnTo>
                    <a:lnTo>
                      <a:pt x="982" y="862"/>
                    </a:lnTo>
                    <a:lnTo>
                      <a:pt x="986" y="868"/>
                    </a:lnTo>
                    <a:lnTo>
                      <a:pt x="988" y="870"/>
                    </a:lnTo>
                    <a:lnTo>
                      <a:pt x="986" y="866"/>
                    </a:lnTo>
                    <a:lnTo>
                      <a:pt x="988" y="866"/>
                    </a:lnTo>
                    <a:lnTo>
                      <a:pt x="990" y="870"/>
                    </a:lnTo>
                    <a:lnTo>
                      <a:pt x="988" y="872"/>
                    </a:lnTo>
                    <a:lnTo>
                      <a:pt x="988" y="874"/>
                    </a:lnTo>
                    <a:lnTo>
                      <a:pt x="988" y="879"/>
                    </a:lnTo>
                    <a:lnTo>
                      <a:pt x="986" y="885"/>
                    </a:lnTo>
                    <a:lnTo>
                      <a:pt x="984" y="885"/>
                    </a:lnTo>
                    <a:lnTo>
                      <a:pt x="984" y="887"/>
                    </a:lnTo>
                    <a:lnTo>
                      <a:pt x="986" y="887"/>
                    </a:lnTo>
                    <a:lnTo>
                      <a:pt x="986" y="885"/>
                    </a:lnTo>
                    <a:lnTo>
                      <a:pt x="992" y="889"/>
                    </a:lnTo>
                    <a:lnTo>
                      <a:pt x="994" y="891"/>
                    </a:lnTo>
                    <a:lnTo>
                      <a:pt x="995" y="891"/>
                    </a:lnTo>
                    <a:lnTo>
                      <a:pt x="994" y="889"/>
                    </a:lnTo>
                    <a:lnTo>
                      <a:pt x="994" y="887"/>
                    </a:lnTo>
                    <a:lnTo>
                      <a:pt x="990" y="885"/>
                    </a:lnTo>
                    <a:lnTo>
                      <a:pt x="988" y="883"/>
                    </a:lnTo>
                    <a:lnTo>
                      <a:pt x="990" y="879"/>
                    </a:lnTo>
                    <a:lnTo>
                      <a:pt x="990" y="875"/>
                    </a:lnTo>
                    <a:lnTo>
                      <a:pt x="995" y="879"/>
                    </a:lnTo>
                    <a:lnTo>
                      <a:pt x="997" y="885"/>
                    </a:lnTo>
                    <a:lnTo>
                      <a:pt x="997" y="887"/>
                    </a:lnTo>
                    <a:lnTo>
                      <a:pt x="999" y="893"/>
                    </a:lnTo>
                    <a:lnTo>
                      <a:pt x="1005" y="896"/>
                    </a:lnTo>
                    <a:lnTo>
                      <a:pt x="1001" y="893"/>
                    </a:lnTo>
                    <a:lnTo>
                      <a:pt x="999" y="887"/>
                    </a:lnTo>
                    <a:lnTo>
                      <a:pt x="1001" y="885"/>
                    </a:lnTo>
                    <a:lnTo>
                      <a:pt x="1001" y="887"/>
                    </a:lnTo>
                    <a:lnTo>
                      <a:pt x="1003" y="889"/>
                    </a:lnTo>
                    <a:lnTo>
                      <a:pt x="1003" y="893"/>
                    </a:lnTo>
                    <a:lnTo>
                      <a:pt x="1007" y="895"/>
                    </a:lnTo>
                    <a:lnTo>
                      <a:pt x="1007" y="896"/>
                    </a:lnTo>
                    <a:lnTo>
                      <a:pt x="1009" y="893"/>
                    </a:lnTo>
                    <a:lnTo>
                      <a:pt x="1005" y="893"/>
                    </a:lnTo>
                    <a:lnTo>
                      <a:pt x="1003" y="889"/>
                    </a:lnTo>
                    <a:lnTo>
                      <a:pt x="1001" y="887"/>
                    </a:lnTo>
                    <a:lnTo>
                      <a:pt x="1001" y="885"/>
                    </a:lnTo>
                    <a:lnTo>
                      <a:pt x="999" y="885"/>
                    </a:lnTo>
                    <a:lnTo>
                      <a:pt x="995" y="877"/>
                    </a:lnTo>
                    <a:lnTo>
                      <a:pt x="990" y="874"/>
                    </a:lnTo>
                    <a:lnTo>
                      <a:pt x="990" y="872"/>
                    </a:lnTo>
                    <a:lnTo>
                      <a:pt x="992" y="870"/>
                    </a:lnTo>
                    <a:lnTo>
                      <a:pt x="990" y="868"/>
                    </a:lnTo>
                    <a:lnTo>
                      <a:pt x="990" y="866"/>
                    </a:lnTo>
                    <a:lnTo>
                      <a:pt x="992" y="868"/>
                    </a:lnTo>
                    <a:lnTo>
                      <a:pt x="994" y="866"/>
                    </a:lnTo>
                    <a:lnTo>
                      <a:pt x="995" y="866"/>
                    </a:lnTo>
                    <a:lnTo>
                      <a:pt x="995" y="872"/>
                    </a:lnTo>
                    <a:lnTo>
                      <a:pt x="995" y="874"/>
                    </a:lnTo>
                    <a:lnTo>
                      <a:pt x="997" y="875"/>
                    </a:lnTo>
                    <a:lnTo>
                      <a:pt x="997" y="872"/>
                    </a:lnTo>
                    <a:lnTo>
                      <a:pt x="995" y="870"/>
                    </a:lnTo>
                    <a:lnTo>
                      <a:pt x="995" y="868"/>
                    </a:lnTo>
                    <a:lnTo>
                      <a:pt x="1003" y="870"/>
                    </a:lnTo>
                    <a:lnTo>
                      <a:pt x="1003" y="872"/>
                    </a:lnTo>
                    <a:lnTo>
                      <a:pt x="1003" y="870"/>
                    </a:lnTo>
                    <a:lnTo>
                      <a:pt x="1009" y="874"/>
                    </a:lnTo>
                    <a:lnTo>
                      <a:pt x="1009" y="875"/>
                    </a:lnTo>
                    <a:lnTo>
                      <a:pt x="1009" y="877"/>
                    </a:lnTo>
                    <a:lnTo>
                      <a:pt x="1009" y="879"/>
                    </a:lnTo>
                    <a:lnTo>
                      <a:pt x="1009" y="877"/>
                    </a:lnTo>
                    <a:lnTo>
                      <a:pt x="1009" y="875"/>
                    </a:lnTo>
                    <a:lnTo>
                      <a:pt x="1014" y="875"/>
                    </a:lnTo>
                    <a:lnTo>
                      <a:pt x="1018" y="877"/>
                    </a:lnTo>
                    <a:lnTo>
                      <a:pt x="1014" y="874"/>
                    </a:lnTo>
                    <a:lnTo>
                      <a:pt x="1011" y="874"/>
                    </a:lnTo>
                    <a:lnTo>
                      <a:pt x="1005" y="870"/>
                    </a:lnTo>
                    <a:lnTo>
                      <a:pt x="999" y="866"/>
                    </a:lnTo>
                    <a:lnTo>
                      <a:pt x="995" y="864"/>
                    </a:lnTo>
                    <a:lnTo>
                      <a:pt x="994" y="862"/>
                    </a:lnTo>
                    <a:lnTo>
                      <a:pt x="994" y="858"/>
                    </a:lnTo>
                    <a:lnTo>
                      <a:pt x="997" y="853"/>
                    </a:lnTo>
                    <a:lnTo>
                      <a:pt x="999" y="851"/>
                    </a:lnTo>
                    <a:lnTo>
                      <a:pt x="1003" y="849"/>
                    </a:lnTo>
                    <a:lnTo>
                      <a:pt x="1003" y="847"/>
                    </a:lnTo>
                    <a:lnTo>
                      <a:pt x="1007" y="847"/>
                    </a:lnTo>
                    <a:lnTo>
                      <a:pt x="1009" y="845"/>
                    </a:lnTo>
                    <a:lnTo>
                      <a:pt x="1018" y="845"/>
                    </a:lnTo>
                    <a:lnTo>
                      <a:pt x="1024" y="847"/>
                    </a:lnTo>
                    <a:lnTo>
                      <a:pt x="1024" y="849"/>
                    </a:lnTo>
                    <a:lnTo>
                      <a:pt x="1024" y="851"/>
                    </a:lnTo>
                    <a:lnTo>
                      <a:pt x="1034" y="853"/>
                    </a:lnTo>
                    <a:lnTo>
                      <a:pt x="1032" y="856"/>
                    </a:lnTo>
                    <a:lnTo>
                      <a:pt x="1034" y="860"/>
                    </a:lnTo>
                    <a:lnTo>
                      <a:pt x="1034" y="858"/>
                    </a:lnTo>
                    <a:lnTo>
                      <a:pt x="1034" y="856"/>
                    </a:lnTo>
                    <a:lnTo>
                      <a:pt x="1035" y="854"/>
                    </a:lnTo>
                    <a:lnTo>
                      <a:pt x="1037" y="854"/>
                    </a:lnTo>
                    <a:lnTo>
                      <a:pt x="1041" y="854"/>
                    </a:lnTo>
                    <a:lnTo>
                      <a:pt x="1043" y="856"/>
                    </a:lnTo>
                    <a:lnTo>
                      <a:pt x="1047" y="858"/>
                    </a:lnTo>
                    <a:lnTo>
                      <a:pt x="1049" y="864"/>
                    </a:lnTo>
                    <a:lnTo>
                      <a:pt x="1053" y="872"/>
                    </a:lnTo>
                    <a:lnTo>
                      <a:pt x="1047" y="877"/>
                    </a:lnTo>
                    <a:lnTo>
                      <a:pt x="1049" y="879"/>
                    </a:lnTo>
                    <a:lnTo>
                      <a:pt x="1051" y="877"/>
                    </a:lnTo>
                    <a:lnTo>
                      <a:pt x="1056" y="879"/>
                    </a:lnTo>
                    <a:lnTo>
                      <a:pt x="1062" y="881"/>
                    </a:lnTo>
                    <a:lnTo>
                      <a:pt x="1064" y="887"/>
                    </a:lnTo>
                    <a:lnTo>
                      <a:pt x="1064" y="889"/>
                    </a:lnTo>
                    <a:lnTo>
                      <a:pt x="1064" y="891"/>
                    </a:lnTo>
                    <a:lnTo>
                      <a:pt x="1062" y="893"/>
                    </a:lnTo>
                    <a:lnTo>
                      <a:pt x="1060" y="895"/>
                    </a:lnTo>
                    <a:lnTo>
                      <a:pt x="1058" y="893"/>
                    </a:lnTo>
                    <a:lnTo>
                      <a:pt x="1058" y="895"/>
                    </a:lnTo>
                    <a:lnTo>
                      <a:pt x="1056" y="896"/>
                    </a:lnTo>
                    <a:lnTo>
                      <a:pt x="1055" y="898"/>
                    </a:lnTo>
                    <a:lnTo>
                      <a:pt x="1053" y="898"/>
                    </a:lnTo>
                    <a:lnTo>
                      <a:pt x="1053" y="900"/>
                    </a:lnTo>
                    <a:lnTo>
                      <a:pt x="1049" y="898"/>
                    </a:lnTo>
                    <a:lnTo>
                      <a:pt x="1045" y="900"/>
                    </a:lnTo>
                    <a:lnTo>
                      <a:pt x="1049" y="900"/>
                    </a:lnTo>
                    <a:lnTo>
                      <a:pt x="1051" y="900"/>
                    </a:lnTo>
                    <a:lnTo>
                      <a:pt x="1053" y="902"/>
                    </a:lnTo>
                    <a:lnTo>
                      <a:pt x="1049" y="904"/>
                    </a:lnTo>
                    <a:lnTo>
                      <a:pt x="1047" y="906"/>
                    </a:lnTo>
                    <a:lnTo>
                      <a:pt x="1045" y="908"/>
                    </a:lnTo>
                    <a:lnTo>
                      <a:pt x="1045" y="910"/>
                    </a:lnTo>
                    <a:lnTo>
                      <a:pt x="1047" y="908"/>
                    </a:lnTo>
                    <a:lnTo>
                      <a:pt x="1049" y="908"/>
                    </a:lnTo>
                    <a:lnTo>
                      <a:pt x="1049" y="906"/>
                    </a:lnTo>
                    <a:lnTo>
                      <a:pt x="1053" y="904"/>
                    </a:lnTo>
                    <a:lnTo>
                      <a:pt x="1055" y="900"/>
                    </a:lnTo>
                    <a:lnTo>
                      <a:pt x="1056" y="900"/>
                    </a:lnTo>
                    <a:lnTo>
                      <a:pt x="1056" y="902"/>
                    </a:lnTo>
                    <a:lnTo>
                      <a:pt x="1055" y="906"/>
                    </a:lnTo>
                    <a:lnTo>
                      <a:pt x="1053" y="908"/>
                    </a:lnTo>
                    <a:lnTo>
                      <a:pt x="1051" y="908"/>
                    </a:lnTo>
                    <a:lnTo>
                      <a:pt x="1049" y="912"/>
                    </a:lnTo>
                    <a:lnTo>
                      <a:pt x="1051" y="910"/>
                    </a:lnTo>
                    <a:lnTo>
                      <a:pt x="1051" y="908"/>
                    </a:lnTo>
                    <a:lnTo>
                      <a:pt x="1053" y="908"/>
                    </a:lnTo>
                    <a:lnTo>
                      <a:pt x="1055" y="910"/>
                    </a:lnTo>
                    <a:lnTo>
                      <a:pt x="1053" y="912"/>
                    </a:lnTo>
                    <a:lnTo>
                      <a:pt x="1055" y="914"/>
                    </a:lnTo>
                    <a:lnTo>
                      <a:pt x="1056" y="916"/>
                    </a:lnTo>
                    <a:lnTo>
                      <a:pt x="1051" y="923"/>
                    </a:lnTo>
                    <a:lnTo>
                      <a:pt x="1049" y="923"/>
                    </a:lnTo>
                    <a:lnTo>
                      <a:pt x="1051" y="925"/>
                    </a:lnTo>
                    <a:lnTo>
                      <a:pt x="1056" y="916"/>
                    </a:lnTo>
                    <a:lnTo>
                      <a:pt x="1056" y="914"/>
                    </a:lnTo>
                    <a:lnTo>
                      <a:pt x="1055" y="912"/>
                    </a:lnTo>
                    <a:lnTo>
                      <a:pt x="1055" y="910"/>
                    </a:lnTo>
                    <a:lnTo>
                      <a:pt x="1055" y="908"/>
                    </a:lnTo>
                    <a:lnTo>
                      <a:pt x="1056" y="906"/>
                    </a:lnTo>
                    <a:lnTo>
                      <a:pt x="1056" y="908"/>
                    </a:lnTo>
                    <a:lnTo>
                      <a:pt x="1058" y="902"/>
                    </a:lnTo>
                    <a:lnTo>
                      <a:pt x="1062" y="900"/>
                    </a:lnTo>
                    <a:lnTo>
                      <a:pt x="1062" y="898"/>
                    </a:lnTo>
                    <a:lnTo>
                      <a:pt x="1066" y="898"/>
                    </a:lnTo>
                    <a:lnTo>
                      <a:pt x="1064" y="902"/>
                    </a:lnTo>
                    <a:lnTo>
                      <a:pt x="1062" y="902"/>
                    </a:lnTo>
                    <a:lnTo>
                      <a:pt x="1062" y="904"/>
                    </a:lnTo>
                    <a:lnTo>
                      <a:pt x="1064" y="902"/>
                    </a:lnTo>
                    <a:lnTo>
                      <a:pt x="1066" y="902"/>
                    </a:lnTo>
                    <a:lnTo>
                      <a:pt x="1066" y="898"/>
                    </a:lnTo>
                    <a:lnTo>
                      <a:pt x="1068" y="896"/>
                    </a:lnTo>
                    <a:lnTo>
                      <a:pt x="1072" y="896"/>
                    </a:lnTo>
                    <a:lnTo>
                      <a:pt x="1072" y="898"/>
                    </a:lnTo>
                    <a:lnTo>
                      <a:pt x="1074" y="896"/>
                    </a:lnTo>
                    <a:lnTo>
                      <a:pt x="1074" y="898"/>
                    </a:lnTo>
                    <a:lnTo>
                      <a:pt x="1070" y="900"/>
                    </a:lnTo>
                    <a:lnTo>
                      <a:pt x="1070" y="904"/>
                    </a:lnTo>
                    <a:lnTo>
                      <a:pt x="1068" y="904"/>
                    </a:lnTo>
                    <a:lnTo>
                      <a:pt x="1068" y="906"/>
                    </a:lnTo>
                    <a:lnTo>
                      <a:pt x="1066" y="908"/>
                    </a:lnTo>
                    <a:lnTo>
                      <a:pt x="1068" y="908"/>
                    </a:lnTo>
                    <a:lnTo>
                      <a:pt x="1066" y="910"/>
                    </a:lnTo>
                    <a:lnTo>
                      <a:pt x="1068" y="912"/>
                    </a:lnTo>
                    <a:lnTo>
                      <a:pt x="1064" y="912"/>
                    </a:lnTo>
                    <a:lnTo>
                      <a:pt x="1062" y="914"/>
                    </a:lnTo>
                    <a:lnTo>
                      <a:pt x="1064" y="912"/>
                    </a:lnTo>
                    <a:lnTo>
                      <a:pt x="1066" y="912"/>
                    </a:lnTo>
                    <a:lnTo>
                      <a:pt x="1066" y="916"/>
                    </a:lnTo>
                    <a:lnTo>
                      <a:pt x="1066" y="917"/>
                    </a:lnTo>
                    <a:lnTo>
                      <a:pt x="1064" y="919"/>
                    </a:lnTo>
                    <a:lnTo>
                      <a:pt x="1066" y="919"/>
                    </a:lnTo>
                    <a:lnTo>
                      <a:pt x="1064" y="923"/>
                    </a:lnTo>
                    <a:lnTo>
                      <a:pt x="1064" y="925"/>
                    </a:lnTo>
                    <a:lnTo>
                      <a:pt x="1068" y="917"/>
                    </a:lnTo>
                    <a:lnTo>
                      <a:pt x="1068" y="914"/>
                    </a:lnTo>
                    <a:lnTo>
                      <a:pt x="1068" y="912"/>
                    </a:lnTo>
                    <a:lnTo>
                      <a:pt x="1068" y="910"/>
                    </a:lnTo>
                    <a:lnTo>
                      <a:pt x="1070" y="908"/>
                    </a:lnTo>
                    <a:lnTo>
                      <a:pt x="1070" y="906"/>
                    </a:lnTo>
                    <a:lnTo>
                      <a:pt x="1072" y="904"/>
                    </a:lnTo>
                    <a:lnTo>
                      <a:pt x="1074" y="906"/>
                    </a:lnTo>
                    <a:lnTo>
                      <a:pt x="1074" y="908"/>
                    </a:lnTo>
                    <a:lnTo>
                      <a:pt x="1072" y="912"/>
                    </a:lnTo>
                    <a:lnTo>
                      <a:pt x="1074" y="916"/>
                    </a:lnTo>
                    <a:lnTo>
                      <a:pt x="1072" y="917"/>
                    </a:lnTo>
                    <a:lnTo>
                      <a:pt x="1074" y="917"/>
                    </a:lnTo>
                    <a:lnTo>
                      <a:pt x="1076" y="916"/>
                    </a:lnTo>
                    <a:lnTo>
                      <a:pt x="1074" y="914"/>
                    </a:lnTo>
                    <a:lnTo>
                      <a:pt x="1076" y="912"/>
                    </a:lnTo>
                    <a:lnTo>
                      <a:pt x="1076" y="916"/>
                    </a:lnTo>
                    <a:lnTo>
                      <a:pt x="1074" y="916"/>
                    </a:lnTo>
                    <a:lnTo>
                      <a:pt x="1076" y="917"/>
                    </a:lnTo>
                    <a:lnTo>
                      <a:pt x="1072" y="921"/>
                    </a:lnTo>
                    <a:lnTo>
                      <a:pt x="1072" y="929"/>
                    </a:lnTo>
                    <a:lnTo>
                      <a:pt x="1070" y="931"/>
                    </a:lnTo>
                    <a:lnTo>
                      <a:pt x="1070" y="933"/>
                    </a:lnTo>
                    <a:lnTo>
                      <a:pt x="1072" y="931"/>
                    </a:lnTo>
                    <a:lnTo>
                      <a:pt x="1074" y="923"/>
                    </a:lnTo>
                    <a:lnTo>
                      <a:pt x="1074" y="919"/>
                    </a:lnTo>
                    <a:lnTo>
                      <a:pt x="1076" y="919"/>
                    </a:lnTo>
                    <a:lnTo>
                      <a:pt x="1076" y="917"/>
                    </a:lnTo>
                    <a:lnTo>
                      <a:pt x="1077" y="917"/>
                    </a:lnTo>
                    <a:lnTo>
                      <a:pt x="1079" y="919"/>
                    </a:lnTo>
                    <a:lnTo>
                      <a:pt x="1079" y="921"/>
                    </a:lnTo>
                    <a:lnTo>
                      <a:pt x="1081" y="919"/>
                    </a:lnTo>
                    <a:lnTo>
                      <a:pt x="1081" y="921"/>
                    </a:lnTo>
                    <a:lnTo>
                      <a:pt x="1079" y="923"/>
                    </a:lnTo>
                    <a:lnTo>
                      <a:pt x="1079" y="927"/>
                    </a:lnTo>
                    <a:lnTo>
                      <a:pt x="1077" y="931"/>
                    </a:lnTo>
                    <a:lnTo>
                      <a:pt x="1076" y="933"/>
                    </a:lnTo>
                    <a:lnTo>
                      <a:pt x="1077" y="935"/>
                    </a:lnTo>
                    <a:lnTo>
                      <a:pt x="1076" y="933"/>
                    </a:lnTo>
                    <a:lnTo>
                      <a:pt x="1079" y="931"/>
                    </a:lnTo>
                    <a:lnTo>
                      <a:pt x="1079" y="927"/>
                    </a:lnTo>
                    <a:lnTo>
                      <a:pt x="1079" y="923"/>
                    </a:lnTo>
                    <a:lnTo>
                      <a:pt x="1083" y="923"/>
                    </a:lnTo>
                    <a:lnTo>
                      <a:pt x="1083" y="921"/>
                    </a:lnTo>
                    <a:lnTo>
                      <a:pt x="1083" y="917"/>
                    </a:lnTo>
                    <a:lnTo>
                      <a:pt x="1083" y="914"/>
                    </a:lnTo>
                    <a:lnTo>
                      <a:pt x="1087" y="914"/>
                    </a:lnTo>
                    <a:lnTo>
                      <a:pt x="1085" y="910"/>
                    </a:lnTo>
                    <a:lnTo>
                      <a:pt x="1087" y="908"/>
                    </a:lnTo>
                    <a:lnTo>
                      <a:pt x="1089" y="902"/>
                    </a:lnTo>
                    <a:lnTo>
                      <a:pt x="1091" y="904"/>
                    </a:lnTo>
                    <a:lnTo>
                      <a:pt x="1096" y="906"/>
                    </a:lnTo>
                    <a:lnTo>
                      <a:pt x="1100" y="906"/>
                    </a:lnTo>
                    <a:lnTo>
                      <a:pt x="1100" y="908"/>
                    </a:lnTo>
                    <a:lnTo>
                      <a:pt x="1106" y="910"/>
                    </a:lnTo>
                    <a:lnTo>
                      <a:pt x="1108" y="912"/>
                    </a:lnTo>
                    <a:lnTo>
                      <a:pt x="1108" y="914"/>
                    </a:lnTo>
                    <a:lnTo>
                      <a:pt x="1110" y="916"/>
                    </a:lnTo>
                    <a:lnTo>
                      <a:pt x="1112" y="921"/>
                    </a:lnTo>
                    <a:lnTo>
                      <a:pt x="1112" y="923"/>
                    </a:lnTo>
                    <a:lnTo>
                      <a:pt x="1110" y="925"/>
                    </a:lnTo>
                    <a:lnTo>
                      <a:pt x="1106" y="931"/>
                    </a:lnTo>
                    <a:lnTo>
                      <a:pt x="1100" y="929"/>
                    </a:lnTo>
                    <a:lnTo>
                      <a:pt x="1096" y="931"/>
                    </a:lnTo>
                    <a:lnTo>
                      <a:pt x="1096" y="937"/>
                    </a:lnTo>
                    <a:lnTo>
                      <a:pt x="1095" y="937"/>
                    </a:lnTo>
                    <a:lnTo>
                      <a:pt x="1093" y="937"/>
                    </a:lnTo>
                    <a:lnTo>
                      <a:pt x="1093" y="940"/>
                    </a:lnTo>
                    <a:lnTo>
                      <a:pt x="1091" y="942"/>
                    </a:lnTo>
                    <a:lnTo>
                      <a:pt x="1085" y="942"/>
                    </a:lnTo>
                    <a:lnTo>
                      <a:pt x="1085" y="944"/>
                    </a:lnTo>
                    <a:lnTo>
                      <a:pt x="1087" y="944"/>
                    </a:lnTo>
                    <a:lnTo>
                      <a:pt x="1091" y="942"/>
                    </a:lnTo>
                    <a:lnTo>
                      <a:pt x="1095" y="940"/>
                    </a:lnTo>
                    <a:lnTo>
                      <a:pt x="1095" y="942"/>
                    </a:lnTo>
                    <a:lnTo>
                      <a:pt x="1093" y="946"/>
                    </a:lnTo>
                    <a:lnTo>
                      <a:pt x="1093" y="950"/>
                    </a:lnTo>
                    <a:lnTo>
                      <a:pt x="1089" y="952"/>
                    </a:lnTo>
                    <a:lnTo>
                      <a:pt x="1089" y="954"/>
                    </a:lnTo>
                    <a:lnTo>
                      <a:pt x="1091" y="954"/>
                    </a:lnTo>
                    <a:lnTo>
                      <a:pt x="1093" y="950"/>
                    </a:lnTo>
                    <a:lnTo>
                      <a:pt x="1096" y="946"/>
                    </a:lnTo>
                    <a:lnTo>
                      <a:pt x="1100" y="944"/>
                    </a:lnTo>
                    <a:lnTo>
                      <a:pt x="1100" y="942"/>
                    </a:lnTo>
                    <a:lnTo>
                      <a:pt x="1106" y="940"/>
                    </a:lnTo>
                    <a:lnTo>
                      <a:pt x="1110" y="940"/>
                    </a:lnTo>
                    <a:lnTo>
                      <a:pt x="1112" y="942"/>
                    </a:lnTo>
                    <a:lnTo>
                      <a:pt x="1112" y="940"/>
                    </a:lnTo>
                    <a:lnTo>
                      <a:pt x="1110" y="938"/>
                    </a:lnTo>
                    <a:lnTo>
                      <a:pt x="1112" y="935"/>
                    </a:lnTo>
                    <a:lnTo>
                      <a:pt x="1114" y="933"/>
                    </a:lnTo>
                    <a:lnTo>
                      <a:pt x="1117" y="929"/>
                    </a:lnTo>
                    <a:lnTo>
                      <a:pt x="1121" y="931"/>
                    </a:lnTo>
                    <a:lnTo>
                      <a:pt x="1121" y="938"/>
                    </a:lnTo>
                    <a:lnTo>
                      <a:pt x="1119" y="942"/>
                    </a:lnTo>
                    <a:lnTo>
                      <a:pt x="1117" y="946"/>
                    </a:lnTo>
                    <a:lnTo>
                      <a:pt x="1116" y="950"/>
                    </a:lnTo>
                    <a:lnTo>
                      <a:pt x="1114" y="950"/>
                    </a:lnTo>
                    <a:lnTo>
                      <a:pt x="1112" y="954"/>
                    </a:lnTo>
                    <a:lnTo>
                      <a:pt x="1108" y="954"/>
                    </a:lnTo>
                    <a:lnTo>
                      <a:pt x="1104" y="954"/>
                    </a:lnTo>
                    <a:lnTo>
                      <a:pt x="1104" y="956"/>
                    </a:lnTo>
                    <a:lnTo>
                      <a:pt x="1102" y="959"/>
                    </a:lnTo>
                    <a:lnTo>
                      <a:pt x="1102" y="961"/>
                    </a:lnTo>
                    <a:lnTo>
                      <a:pt x="1098" y="963"/>
                    </a:lnTo>
                    <a:lnTo>
                      <a:pt x="1100" y="961"/>
                    </a:lnTo>
                    <a:lnTo>
                      <a:pt x="1102" y="963"/>
                    </a:lnTo>
                    <a:lnTo>
                      <a:pt x="1102" y="965"/>
                    </a:lnTo>
                    <a:lnTo>
                      <a:pt x="1100" y="969"/>
                    </a:lnTo>
                    <a:lnTo>
                      <a:pt x="1102" y="969"/>
                    </a:lnTo>
                    <a:lnTo>
                      <a:pt x="1102" y="967"/>
                    </a:lnTo>
                    <a:lnTo>
                      <a:pt x="1104" y="959"/>
                    </a:lnTo>
                    <a:lnTo>
                      <a:pt x="1106" y="958"/>
                    </a:lnTo>
                    <a:lnTo>
                      <a:pt x="1106" y="954"/>
                    </a:lnTo>
                    <a:lnTo>
                      <a:pt x="1108" y="956"/>
                    </a:lnTo>
                    <a:lnTo>
                      <a:pt x="1112" y="956"/>
                    </a:lnTo>
                    <a:lnTo>
                      <a:pt x="1110" y="967"/>
                    </a:lnTo>
                    <a:lnTo>
                      <a:pt x="1110" y="969"/>
                    </a:lnTo>
                    <a:lnTo>
                      <a:pt x="1108" y="975"/>
                    </a:lnTo>
                    <a:lnTo>
                      <a:pt x="1108" y="977"/>
                    </a:lnTo>
                    <a:lnTo>
                      <a:pt x="1106" y="978"/>
                    </a:lnTo>
                    <a:lnTo>
                      <a:pt x="1106" y="980"/>
                    </a:lnTo>
                    <a:lnTo>
                      <a:pt x="1104" y="980"/>
                    </a:lnTo>
                    <a:lnTo>
                      <a:pt x="1104" y="982"/>
                    </a:lnTo>
                    <a:lnTo>
                      <a:pt x="1104" y="980"/>
                    </a:lnTo>
                    <a:lnTo>
                      <a:pt x="1106" y="980"/>
                    </a:lnTo>
                    <a:lnTo>
                      <a:pt x="1108" y="978"/>
                    </a:lnTo>
                    <a:lnTo>
                      <a:pt x="1110" y="975"/>
                    </a:lnTo>
                    <a:lnTo>
                      <a:pt x="1114" y="958"/>
                    </a:lnTo>
                    <a:lnTo>
                      <a:pt x="1114" y="956"/>
                    </a:lnTo>
                    <a:lnTo>
                      <a:pt x="1114" y="952"/>
                    </a:lnTo>
                    <a:lnTo>
                      <a:pt x="1117" y="952"/>
                    </a:lnTo>
                    <a:lnTo>
                      <a:pt x="1121" y="948"/>
                    </a:lnTo>
                    <a:lnTo>
                      <a:pt x="1125" y="944"/>
                    </a:lnTo>
                    <a:lnTo>
                      <a:pt x="1127" y="944"/>
                    </a:lnTo>
                    <a:lnTo>
                      <a:pt x="1133" y="940"/>
                    </a:lnTo>
                    <a:lnTo>
                      <a:pt x="1135" y="940"/>
                    </a:lnTo>
                    <a:lnTo>
                      <a:pt x="1133" y="944"/>
                    </a:lnTo>
                    <a:lnTo>
                      <a:pt x="1131" y="948"/>
                    </a:lnTo>
                    <a:lnTo>
                      <a:pt x="1127" y="952"/>
                    </a:lnTo>
                    <a:lnTo>
                      <a:pt x="1125" y="952"/>
                    </a:lnTo>
                    <a:lnTo>
                      <a:pt x="1123" y="952"/>
                    </a:lnTo>
                    <a:lnTo>
                      <a:pt x="1123" y="956"/>
                    </a:lnTo>
                    <a:lnTo>
                      <a:pt x="1123" y="958"/>
                    </a:lnTo>
                    <a:lnTo>
                      <a:pt x="1121" y="959"/>
                    </a:lnTo>
                    <a:lnTo>
                      <a:pt x="1125" y="958"/>
                    </a:lnTo>
                    <a:lnTo>
                      <a:pt x="1125" y="959"/>
                    </a:lnTo>
                    <a:lnTo>
                      <a:pt x="1125" y="958"/>
                    </a:lnTo>
                    <a:lnTo>
                      <a:pt x="1123" y="954"/>
                    </a:lnTo>
                    <a:lnTo>
                      <a:pt x="1129" y="954"/>
                    </a:lnTo>
                    <a:lnTo>
                      <a:pt x="1129" y="952"/>
                    </a:lnTo>
                    <a:lnTo>
                      <a:pt x="1129" y="954"/>
                    </a:lnTo>
                    <a:lnTo>
                      <a:pt x="1131" y="952"/>
                    </a:lnTo>
                    <a:lnTo>
                      <a:pt x="1133" y="950"/>
                    </a:lnTo>
                    <a:lnTo>
                      <a:pt x="1133" y="948"/>
                    </a:lnTo>
                    <a:lnTo>
                      <a:pt x="1135" y="948"/>
                    </a:lnTo>
                    <a:lnTo>
                      <a:pt x="1135" y="950"/>
                    </a:lnTo>
                    <a:lnTo>
                      <a:pt x="1137" y="946"/>
                    </a:lnTo>
                    <a:lnTo>
                      <a:pt x="1138" y="944"/>
                    </a:lnTo>
                    <a:lnTo>
                      <a:pt x="1140" y="946"/>
                    </a:lnTo>
                    <a:lnTo>
                      <a:pt x="1142" y="944"/>
                    </a:lnTo>
                    <a:lnTo>
                      <a:pt x="1144" y="948"/>
                    </a:lnTo>
                    <a:lnTo>
                      <a:pt x="1156" y="954"/>
                    </a:lnTo>
                    <a:lnTo>
                      <a:pt x="1158" y="956"/>
                    </a:lnTo>
                    <a:lnTo>
                      <a:pt x="1158" y="958"/>
                    </a:lnTo>
                    <a:lnTo>
                      <a:pt x="1156" y="963"/>
                    </a:lnTo>
                    <a:lnTo>
                      <a:pt x="1156" y="965"/>
                    </a:lnTo>
                    <a:lnTo>
                      <a:pt x="1154" y="965"/>
                    </a:lnTo>
                    <a:lnTo>
                      <a:pt x="1154" y="963"/>
                    </a:lnTo>
                    <a:lnTo>
                      <a:pt x="1154" y="959"/>
                    </a:lnTo>
                    <a:lnTo>
                      <a:pt x="1152" y="961"/>
                    </a:lnTo>
                    <a:lnTo>
                      <a:pt x="1152" y="965"/>
                    </a:lnTo>
                    <a:lnTo>
                      <a:pt x="1152" y="967"/>
                    </a:lnTo>
                    <a:lnTo>
                      <a:pt x="1148" y="969"/>
                    </a:lnTo>
                    <a:lnTo>
                      <a:pt x="1146" y="969"/>
                    </a:lnTo>
                    <a:lnTo>
                      <a:pt x="1140" y="971"/>
                    </a:lnTo>
                    <a:lnTo>
                      <a:pt x="1133" y="975"/>
                    </a:lnTo>
                    <a:lnTo>
                      <a:pt x="1133" y="978"/>
                    </a:lnTo>
                    <a:lnTo>
                      <a:pt x="1129" y="978"/>
                    </a:lnTo>
                    <a:lnTo>
                      <a:pt x="1127" y="980"/>
                    </a:lnTo>
                    <a:lnTo>
                      <a:pt x="1127" y="982"/>
                    </a:lnTo>
                    <a:lnTo>
                      <a:pt x="1129" y="980"/>
                    </a:lnTo>
                    <a:lnTo>
                      <a:pt x="1131" y="978"/>
                    </a:lnTo>
                    <a:lnTo>
                      <a:pt x="1133" y="980"/>
                    </a:lnTo>
                    <a:lnTo>
                      <a:pt x="1133" y="982"/>
                    </a:lnTo>
                    <a:lnTo>
                      <a:pt x="1131" y="982"/>
                    </a:lnTo>
                    <a:lnTo>
                      <a:pt x="1127" y="984"/>
                    </a:lnTo>
                    <a:lnTo>
                      <a:pt x="1125" y="988"/>
                    </a:lnTo>
                    <a:lnTo>
                      <a:pt x="1123" y="988"/>
                    </a:lnTo>
                    <a:lnTo>
                      <a:pt x="1123" y="990"/>
                    </a:lnTo>
                    <a:lnTo>
                      <a:pt x="1125" y="990"/>
                    </a:lnTo>
                    <a:lnTo>
                      <a:pt x="1129" y="984"/>
                    </a:lnTo>
                    <a:lnTo>
                      <a:pt x="1131" y="984"/>
                    </a:lnTo>
                    <a:lnTo>
                      <a:pt x="1133" y="984"/>
                    </a:lnTo>
                    <a:lnTo>
                      <a:pt x="1135" y="982"/>
                    </a:lnTo>
                    <a:lnTo>
                      <a:pt x="1133" y="978"/>
                    </a:lnTo>
                    <a:lnTo>
                      <a:pt x="1137" y="975"/>
                    </a:lnTo>
                    <a:lnTo>
                      <a:pt x="1138" y="975"/>
                    </a:lnTo>
                    <a:lnTo>
                      <a:pt x="1142" y="973"/>
                    </a:lnTo>
                    <a:lnTo>
                      <a:pt x="1144" y="975"/>
                    </a:lnTo>
                    <a:lnTo>
                      <a:pt x="1146" y="973"/>
                    </a:lnTo>
                    <a:lnTo>
                      <a:pt x="1144" y="973"/>
                    </a:lnTo>
                    <a:lnTo>
                      <a:pt x="1144" y="971"/>
                    </a:lnTo>
                    <a:lnTo>
                      <a:pt x="1148" y="973"/>
                    </a:lnTo>
                    <a:lnTo>
                      <a:pt x="1152" y="973"/>
                    </a:lnTo>
                    <a:lnTo>
                      <a:pt x="1152" y="975"/>
                    </a:lnTo>
                    <a:lnTo>
                      <a:pt x="1150" y="977"/>
                    </a:lnTo>
                    <a:lnTo>
                      <a:pt x="1150" y="978"/>
                    </a:lnTo>
                    <a:lnTo>
                      <a:pt x="1148" y="980"/>
                    </a:lnTo>
                    <a:lnTo>
                      <a:pt x="1144" y="982"/>
                    </a:lnTo>
                    <a:lnTo>
                      <a:pt x="1138" y="990"/>
                    </a:lnTo>
                    <a:lnTo>
                      <a:pt x="1137" y="990"/>
                    </a:lnTo>
                    <a:lnTo>
                      <a:pt x="1133" y="990"/>
                    </a:lnTo>
                    <a:lnTo>
                      <a:pt x="1133" y="992"/>
                    </a:lnTo>
                    <a:lnTo>
                      <a:pt x="1133" y="994"/>
                    </a:lnTo>
                    <a:lnTo>
                      <a:pt x="1131" y="996"/>
                    </a:lnTo>
                    <a:lnTo>
                      <a:pt x="1131" y="999"/>
                    </a:lnTo>
                    <a:lnTo>
                      <a:pt x="1131" y="998"/>
                    </a:lnTo>
                    <a:lnTo>
                      <a:pt x="1133" y="996"/>
                    </a:lnTo>
                    <a:lnTo>
                      <a:pt x="1133" y="992"/>
                    </a:lnTo>
                    <a:lnTo>
                      <a:pt x="1135" y="992"/>
                    </a:lnTo>
                    <a:lnTo>
                      <a:pt x="1137" y="990"/>
                    </a:lnTo>
                    <a:lnTo>
                      <a:pt x="1138" y="992"/>
                    </a:lnTo>
                    <a:lnTo>
                      <a:pt x="1140" y="992"/>
                    </a:lnTo>
                    <a:lnTo>
                      <a:pt x="1142" y="988"/>
                    </a:lnTo>
                    <a:lnTo>
                      <a:pt x="1144" y="984"/>
                    </a:lnTo>
                    <a:lnTo>
                      <a:pt x="1148" y="984"/>
                    </a:lnTo>
                    <a:lnTo>
                      <a:pt x="1150" y="984"/>
                    </a:lnTo>
                    <a:lnTo>
                      <a:pt x="1152" y="984"/>
                    </a:lnTo>
                    <a:lnTo>
                      <a:pt x="1152" y="982"/>
                    </a:lnTo>
                    <a:lnTo>
                      <a:pt x="1154" y="980"/>
                    </a:lnTo>
                    <a:lnTo>
                      <a:pt x="1156" y="980"/>
                    </a:lnTo>
                    <a:lnTo>
                      <a:pt x="1156" y="978"/>
                    </a:lnTo>
                    <a:lnTo>
                      <a:pt x="1158" y="977"/>
                    </a:lnTo>
                    <a:lnTo>
                      <a:pt x="1159" y="977"/>
                    </a:lnTo>
                    <a:lnTo>
                      <a:pt x="1158" y="975"/>
                    </a:lnTo>
                    <a:lnTo>
                      <a:pt x="1156" y="975"/>
                    </a:lnTo>
                    <a:lnTo>
                      <a:pt x="1156" y="973"/>
                    </a:lnTo>
                    <a:lnTo>
                      <a:pt x="1158" y="973"/>
                    </a:lnTo>
                    <a:lnTo>
                      <a:pt x="1158" y="971"/>
                    </a:lnTo>
                    <a:lnTo>
                      <a:pt x="1159" y="969"/>
                    </a:lnTo>
                    <a:lnTo>
                      <a:pt x="1159" y="967"/>
                    </a:lnTo>
                    <a:lnTo>
                      <a:pt x="1161" y="967"/>
                    </a:lnTo>
                    <a:lnTo>
                      <a:pt x="1165" y="969"/>
                    </a:lnTo>
                    <a:lnTo>
                      <a:pt x="1167" y="973"/>
                    </a:lnTo>
                    <a:lnTo>
                      <a:pt x="1169" y="975"/>
                    </a:lnTo>
                    <a:lnTo>
                      <a:pt x="1171" y="978"/>
                    </a:lnTo>
                    <a:lnTo>
                      <a:pt x="1173" y="982"/>
                    </a:lnTo>
                    <a:lnTo>
                      <a:pt x="1175" y="984"/>
                    </a:lnTo>
                    <a:lnTo>
                      <a:pt x="1177" y="994"/>
                    </a:lnTo>
                    <a:lnTo>
                      <a:pt x="1175" y="996"/>
                    </a:lnTo>
                    <a:lnTo>
                      <a:pt x="1171" y="996"/>
                    </a:lnTo>
                    <a:lnTo>
                      <a:pt x="1165" y="992"/>
                    </a:lnTo>
                    <a:lnTo>
                      <a:pt x="1163" y="992"/>
                    </a:lnTo>
                    <a:lnTo>
                      <a:pt x="1159" y="994"/>
                    </a:lnTo>
                    <a:lnTo>
                      <a:pt x="1158" y="999"/>
                    </a:lnTo>
                    <a:lnTo>
                      <a:pt x="1154" y="999"/>
                    </a:lnTo>
                    <a:lnTo>
                      <a:pt x="1150" y="998"/>
                    </a:lnTo>
                    <a:lnTo>
                      <a:pt x="1146" y="1001"/>
                    </a:lnTo>
                    <a:lnTo>
                      <a:pt x="1140" y="1003"/>
                    </a:lnTo>
                    <a:lnTo>
                      <a:pt x="1135" y="1001"/>
                    </a:lnTo>
                    <a:lnTo>
                      <a:pt x="1131" y="1003"/>
                    </a:lnTo>
                    <a:lnTo>
                      <a:pt x="1129" y="1003"/>
                    </a:lnTo>
                    <a:lnTo>
                      <a:pt x="1131" y="1005"/>
                    </a:lnTo>
                    <a:lnTo>
                      <a:pt x="1133" y="1005"/>
                    </a:lnTo>
                    <a:lnTo>
                      <a:pt x="1133" y="1003"/>
                    </a:lnTo>
                    <a:lnTo>
                      <a:pt x="1135" y="1003"/>
                    </a:lnTo>
                    <a:lnTo>
                      <a:pt x="1140" y="1005"/>
                    </a:lnTo>
                    <a:lnTo>
                      <a:pt x="1142" y="1005"/>
                    </a:lnTo>
                    <a:lnTo>
                      <a:pt x="1150" y="1001"/>
                    </a:lnTo>
                    <a:lnTo>
                      <a:pt x="1154" y="1001"/>
                    </a:lnTo>
                    <a:lnTo>
                      <a:pt x="1161" y="1007"/>
                    </a:lnTo>
                    <a:lnTo>
                      <a:pt x="1163" y="1007"/>
                    </a:lnTo>
                    <a:lnTo>
                      <a:pt x="1165" y="1005"/>
                    </a:lnTo>
                    <a:lnTo>
                      <a:pt x="1175" y="1007"/>
                    </a:lnTo>
                    <a:lnTo>
                      <a:pt x="1180" y="1011"/>
                    </a:lnTo>
                    <a:lnTo>
                      <a:pt x="1182" y="1015"/>
                    </a:lnTo>
                    <a:lnTo>
                      <a:pt x="1182" y="1019"/>
                    </a:lnTo>
                    <a:lnTo>
                      <a:pt x="1182" y="1020"/>
                    </a:lnTo>
                    <a:lnTo>
                      <a:pt x="1177" y="1019"/>
                    </a:lnTo>
                    <a:lnTo>
                      <a:pt x="1175" y="1019"/>
                    </a:lnTo>
                    <a:lnTo>
                      <a:pt x="1175" y="1020"/>
                    </a:lnTo>
                    <a:lnTo>
                      <a:pt x="1173" y="1019"/>
                    </a:lnTo>
                    <a:lnTo>
                      <a:pt x="1171" y="1020"/>
                    </a:lnTo>
                    <a:lnTo>
                      <a:pt x="1167" y="1020"/>
                    </a:lnTo>
                    <a:lnTo>
                      <a:pt x="1159" y="1013"/>
                    </a:lnTo>
                    <a:lnTo>
                      <a:pt x="1156" y="1015"/>
                    </a:lnTo>
                    <a:lnTo>
                      <a:pt x="1146" y="1011"/>
                    </a:lnTo>
                    <a:lnTo>
                      <a:pt x="1144" y="1013"/>
                    </a:lnTo>
                    <a:lnTo>
                      <a:pt x="1142" y="1015"/>
                    </a:lnTo>
                    <a:lnTo>
                      <a:pt x="1142" y="1017"/>
                    </a:lnTo>
                    <a:lnTo>
                      <a:pt x="1144" y="1015"/>
                    </a:lnTo>
                    <a:lnTo>
                      <a:pt x="1146" y="1013"/>
                    </a:lnTo>
                    <a:lnTo>
                      <a:pt x="1148" y="1013"/>
                    </a:lnTo>
                    <a:lnTo>
                      <a:pt x="1156" y="1015"/>
                    </a:lnTo>
                    <a:lnTo>
                      <a:pt x="1159" y="1015"/>
                    </a:lnTo>
                    <a:lnTo>
                      <a:pt x="1161" y="1017"/>
                    </a:lnTo>
                    <a:lnTo>
                      <a:pt x="1159" y="1019"/>
                    </a:lnTo>
                    <a:lnTo>
                      <a:pt x="1154" y="1017"/>
                    </a:lnTo>
                    <a:lnTo>
                      <a:pt x="1150" y="1019"/>
                    </a:lnTo>
                    <a:lnTo>
                      <a:pt x="1146" y="1017"/>
                    </a:lnTo>
                    <a:lnTo>
                      <a:pt x="1146" y="1019"/>
                    </a:lnTo>
                    <a:lnTo>
                      <a:pt x="1148" y="1019"/>
                    </a:lnTo>
                    <a:lnTo>
                      <a:pt x="1154" y="1019"/>
                    </a:lnTo>
                    <a:lnTo>
                      <a:pt x="1150" y="1020"/>
                    </a:lnTo>
                    <a:lnTo>
                      <a:pt x="1148" y="1022"/>
                    </a:lnTo>
                    <a:lnTo>
                      <a:pt x="1146" y="1022"/>
                    </a:lnTo>
                    <a:lnTo>
                      <a:pt x="1144" y="1022"/>
                    </a:lnTo>
                    <a:lnTo>
                      <a:pt x="1146" y="1022"/>
                    </a:lnTo>
                    <a:lnTo>
                      <a:pt x="1148" y="1022"/>
                    </a:lnTo>
                    <a:lnTo>
                      <a:pt x="1146" y="1028"/>
                    </a:lnTo>
                    <a:lnTo>
                      <a:pt x="1148" y="1028"/>
                    </a:lnTo>
                    <a:lnTo>
                      <a:pt x="1148" y="1024"/>
                    </a:lnTo>
                    <a:lnTo>
                      <a:pt x="1148" y="1022"/>
                    </a:lnTo>
                    <a:lnTo>
                      <a:pt x="1152" y="1022"/>
                    </a:lnTo>
                    <a:lnTo>
                      <a:pt x="1156" y="1019"/>
                    </a:lnTo>
                    <a:lnTo>
                      <a:pt x="1161" y="1022"/>
                    </a:lnTo>
                    <a:lnTo>
                      <a:pt x="1167" y="1026"/>
                    </a:lnTo>
                    <a:lnTo>
                      <a:pt x="1161" y="1028"/>
                    </a:lnTo>
                    <a:lnTo>
                      <a:pt x="1158" y="1026"/>
                    </a:lnTo>
                    <a:lnTo>
                      <a:pt x="1154" y="1028"/>
                    </a:lnTo>
                    <a:lnTo>
                      <a:pt x="1154" y="1030"/>
                    </a:lnTo>
                    <a:lnTo>
                      <a:pt x="1158" y="1028"/>
                    </a:lnTo>
                    <a:lnTo>
                      <a:pt x="1158" y="1030"/>
                    </a:lnTo>
                    <a:lnTo>
                      <a:pt x="1159" y="1030"/>
                    </a:lnTo>
                    <a:lnTo>
                      <a:pt x="1161" y="1030"/>
                    </a:lnTo>
                    <a:lnTo>
                      <a:pt x="1161" y="1032"/>
                    </a:lnTo>
                    <a:lnTo>
                      <a:pt x="1159" y="1032"/>
                    </a:lnTo>
                    <a:lnTo>
                      <a:pt x="1161" y="1032"/>
                    </a:lnTo>
                    <a:lnTo>
                      <a:pt x="1163" y="1034"/>
                    </a:lnTo>
                    <a:lnTo>
                      <a:pt x="1159" y="1034"/>
                    </a:lnTo>
                    <a:lnTo>
                      <a:pt x="1156" y="1032"/>
                    </a:lnTo>
                    <a:lnTo>
                      <a:pt x="1154" y="1032"/>
                    </a:lnTo>
                    <a:lnTo>
                      <a:pt x="1158" y="1034"/>
                    </a:lnTo>
                    <a:lnTo>
                      <a:pt x="1159" y="1034"/>
                    </a:lnTo>
                    <a:lnTo>
                      <a:pt x="1159" y="1036"/>
                    </a:lnTo>
                    <a:lnTo>
                      <a:pt x="1165" y="1036"/>
                    </a:lnTo>
                    <a:lnTo>
                      <a:pt x="1163" y="1036"/>
                    </a:lnTo>
                    <a:lnTo>
                      <a:pt x="1165" y="1036"/>
                    </a:lnTo>
                    <a:lnTo>
                      <a:pt x="1165" y="1038"/>
                    </a:lnTo>
                    <a:lnTo>
                      <a:pt x="1163" y="1038"/>
                    </a:lnTo>
                    <a:lnTo>
                      <a:pt x="1156" y="1034"/>
                    </a:lnTo>
                    <a:lnTo>
                      <a:pt x="1152" y="1034"/>
                    </a:lnTo>
                    <a:lnTo>
                      <a:pt x="1154" y="1036"/>
                    </a:lnTo>
                    <a:lnTo>
                      <a:pt x="1152" y="1036"/>
                    </a:lnTo>
                    <a:lnTo>
                      <a:pt x="1152" y="1038"/>
                    </a:lnTo>
                    <a:lnTo>
                      <a:pt x="1150" y="1036"/>
                    </a:lnTo>
                    <a:lnTo>
                      <a:pt x="1148" y="1036"/>
                    </a:lnTo>
                    <a:lnTo>
                      <a:pt x="1146" y="1036"/>
                    </a:lnTo>
                    <a:lnTo>
                      <a:pt x="1144" y="1034"/>
                    </a:lnTo>
                    <a:lnTo>
                      <a:pt x="1142" y="1034"/>
                    </a:lnTo>
                    <a:lnTo>
                      <a:pt x="1140" y="1034"/>
                    </a:lnTo>
                    <a:lnTo>
                      <a:pt x="1144" y="1036"/>
                    </a:lnTo>
                    <a:lnTo>
                      <a:pt x="1140" y="1034"/>
                    </a:lnTo>
                    <a:lnTo>
                      <a:pt x="1140" y="1036"/>
                    </a:lnTo>
                    <a:lnTo>
                      <a:pt x="1146" y="1038"/>
                    </a:lnTo>
                    <a:lnTo>
                      <a:pt x="1148" y="1038"/>
                    </a:lnTo>
                    <a:lnTo>
                      <a:pt x="1146" y="1038"/>
                    </a:lnTo>
                    <a:lnTo>
                      <a:pt x="1146" y="1040"/>
                    </a:lnTo>
                    <a:lnTo>
                      <a:pt x="1148" y="1038"/>
                    </a:lnTo>
                    <a:lnTo>
                      <a:pt x="1150" y="1038"/>
                    </a:lnTo>
                    <a:lnTo>
                      <a:pt x="1152" y="1040"/>
                    </a:lnTo>
                    <a:lnTo>
                      <a:pt x="1154" y="1040"/>
                    </a:lnTo>
                    <a:lnTo>
                      <a:pt x="1156" y="1040"/>
                    </a:lnTo>
                    <a:lnTo>
                      <a:pt x="1159" y="1041"/>
                    </a:lnTo>
                    <a:lnTo>
                      <a:pt x="1161" y="1041"/>
                    </a:lnTo>
                    <a:lnTo>
                      <a:pt x="1159" y="1041"/>
                    </a:lnTo>
                    <a:lnTo>
                      <a:pt x="1161" y="1043"/>
                    </a:lnTo>
                    <a:lnTo>
                      <a:pt x="1159" y="1043"/>
                    </a:lnTo>
                    <a:lnTo>
                      <a:pt x="1156" y="1043"/>
                    </a:lnTo>
                    <a:lnTo>
                      <a:pt x="1152" y="1043"/>
                    </a:lnTo>
                    <a:lnTo>
                      <a:pt x="1150" y="1043"/>
                    </a:lnTo>
                    <a:lnTo>
                      <a:pt x="1148" y="1045"/>
                    </a:lnTo>
                    <a:lnTo>
                      <a:pt x="1150" y="1045"/>
                    </a:lnTo>
                    <a:lnTo>
                      <a:pt x="1152" y="1043"/>
                    </a:lnTo>
                    <a:lnTo>
                      <a:pt x="1154" y="1043"/>
                    </a:lnTo>
                    <a:lnTo>
                      <a:pt x="1154" y="1045"/>
                    </a:lnTo>
                    <a:lnTo>
                      <a:pt x="1150" y="1047"/>
                    </a:lnTo>
                    <a:lnTo>
                      <a:pt x="1156" y="1047"/>
                    </a:lnTo>
                    <a:lnTo>
                      <a:pt x="1156" y="1045"/>
                    </a:lnTo>
                    <a:lnTo>
                      <a:pt x="1158" y="1045"/>
                    </a:lnTo>
                    <a:lnTo>
                      <a:pt x="1159" y="1045"/>
                    </a:lnTo>
                    <a:lnTo>
                      <a:pt x="1159" y="1047"/>
                    </a:lnTo>
                    <a:lnTo>
                      <a:pt x="1159" y="1045"/>
                    </a:lnTo>
                    <a:lnTo>
                      <a:pt x="1159" y="1047"/>
                    </a:lnTo>
                    <a:lnTo>
                      <a:pt x="1159" y="1049"/>
                    </a:lnTo>
                    <a:lnTo>
                      <a:pt x="1161" y="1047"/>
                    </a:lnTo>
                    <a:lnTo>
                      <a:pt x="1161" y="1049"/>
                    </a:lnTo>
                    <a:lnTo>
                      <a:pt x="1163" y="1047"/>
                    </a:lnTo>
                    <a:lnTo>
                      <a:pt x="1163" y="1051"/>
                    </a:lnTo>
                    <a:lnTo>
                      <a:pt x="1163" y="1053"/>
                    </a:lnTo>
                    <a:lnTo>
                      <a:pt x="1163" y="1051"/>
                    </a:lnTo>
                    <a:lnTo>
                      <a:pt x="1163" y="1047"/>
                    </a:lnTo>
                    <a:lnTo>
                      <a:pt x="1165" y="1047"/>
                    </a:lnTo>
                    <a:lnTo>
                      <a:pt x="1167" y="1047"/>
                    </a:lnTo>
                    <a:lnTo>
                      <a:pt x="1169" y="1047"/>
                    </a:lnTo>
                    <a:lnTo>
                      <a:pt x="1169" y="1049"/>
                    </a:lnTo>
                    <a:lnTo>
                      <a:pt x="1167" y="1049"/>
                    </a:lnTo>
                    <a:lnTo>
                      <a:pt x="1169" y="1055"/>
                    </a:lnTo>
                    <a:lnTo>
                      <a:pt x="1169" y="1053"/>
                    </a:lnTo>
                    <a:lnTo>
                      <a:pt x="1169" y="1049"/>
                    </a:lnTo>
                    <a:lnTo>
                      <a:pt x="1171" y="1049"/>
                    </a:lnTo>
                    <a:lnTo>
                      <a:pt x="1171" y="1051"/>
                    </a:lnTo>
                    <a:lnTo>
                      <a:pt x="1173" y="1049"/>
                    </a:lnTo>
                    <a:lnTo>
                      <a:pt x="1173" y="1051"/>
                    </a:lnTo>
                    <a:lnTo>
                      <a:pt x="1175" y="1051"/>
                    </a:lnTo>
                    <a:lnTo>
                      <a:pt x="1175" y="1053"/>
                    </a:lnTo>
                    <a:lnTo>
                      <a:pt x="1173" y="1053"/>
                    </a:lnTo>
                    <a:lnTo>
                      <a:pt x="1175" y="1053"/>
                    </a:lnTo>
                    <a:lnTo>
                      <a:pt x="1177" y="1053"/>
                    </a:lnTo>
                    <a:lnTo>
                      <a:pt x="1177" y="1051"/>
                    </a:lnTo>
                    <a:lnTo>
                      <a:pt x="1178" y="1053"/>
                    </a:lnTo>
                    <a:lnTo>
                      <a:pt x="1180" y="1051"/>
                    </a:lnTo>
                    <a:lnTo>
                      <a:pt x="1182" y="1051"/>
                    </a:lnTo>
                    <a:lnTo>
                      <a:pt x="1180" y="1051"/>
                    </a:lnTo>
                    <a:lnTo>
                      <a:pt x="1182" y="1051"/>
                    </a:lnTo>
                    <a:lnTo>
                      <a:pt x="1182" y="1053"/>
                    </a:lnTo>
                    <a:lnTo>
                      <a:pt x="1180" y="1053"/>
                    </a:lnTo>
                    <a:lnTo>
                      <a:pt x="1178" y="1053"/>
                    </a:lnTo>
                    <a:lnTo>
                      <a:pt x="1178" y="1055"/>
                    </a:lnTo>
                    <a:lnTo>
                      <a:pt x="1175" y="1055"/>
                    </a:lnTo>
                    <a:lnTo>
                      <a:pt x="1171" y="1053"/>
                    </a:lnTo>
                    <a:lnTo>
                      <a:pt x="1171" y="1055"/>
                    </a:lnTo>
                    <a:lnTo>
                      <a:pt x="1165" y="1057"/>
                    </a:lnTo>
                    <a:lnTo>
                      <a:pt x="1163" y="1059"/>
                    </a:lnTo>
                    <a:lnTo>
                      <a:pt x="1165" y="1059"/>
                    </a:lnTo>
                    <a:lnTo>
                      <a:pt x="1167" y="1057"/>
                    </a:lnTo>
                    <a:lnTo>
                      <a:pt x="1169" y="1057"/>
                    </a:lnTo>
                    <a:lnTo>
                      <a:pt x="1169" y="1059"/>
                    </a:lnTo>
                    <a:lnTo>
                      <a:pt x="1167" y="1061"/>
                    </a:lnTo>
                    <a:lnTo>
                      <a:pt x="1169" y="1061"/>
                    </a:lnTo>
                    <a:lnTo>
                      <a:pt x="1169" y="1059"/>
                    </a:lnTo>
                    <a:lnTo>
                      <a:pt x="1173" y="1055"/>
                    </a:lnTo>
                    <a:lnTo>
                      <a:pt x="1173" y="1057"/>
                    </a:lnTo>
                    <a:lnTo>
                      <a:pt x="1175" y="1055"/>
                    </a:lnTo>
                    <a:lnTo>
                      <a:pt x="1178" y="1057"/>
                    </a:lnTo>
                    <a:lnTo>
                      <a:pt x="1175" y="1059"/>
                    </a:lnTo>
                    <a:lnTo>
                      <a:pt x="1173" y="1061"/>
                    </a:lnTo>
                    <a:lnTo>
                      <a:pt x="1173" y="1062"/>
                    </a:lnTo>
                    <a:lnTo>
                      <a:pt x="1173" y="1061"/>
                    </a:lnTo>
                    <a:lnTo>
                      <a:pt x="1177" y="1059"/>
                    </a:lnTo>
                    <a:lnTo>
                      <a:pt x="1178" y="1059"/>
                    </a:lnTo>
                    <a:lnTo>
                      <a:pt x="1178" y="1061"/>
                    </a:lnTo>
                    <a:lnTo>
                      <a:pt x="1182" y="1061"/>
                    </a:lnTo>
                    <a:lnTo>
                      <a:pt x="1180" y="1064"/>
                    </a:lnTo>
                    <a:lnTo>
                      <a:pt x="1178" y="1064"/>
                    </a:lnTo>
                    <a:lnTo>
                      <a:pt x="1180" y="1066"/>
                    </a:lnTo>
                    <a:lnTo>
                      <a:pt x="1178" y="1068"/>
                    </a:lnTo>
                    <a:lnTo>
                      <a:pt x="1178" y="1070"/>
                    </a:lnTo>
                    <a:lnTo>
                      <a:pt x="1177" y="1072"/>
                    </a:lnTo>
                    <a:lnTo>
                      <a:pt x="1178" y="1072"/>
                    </a:lnTo>
                    <a:lnTo>
                      <a:pt x="1178" y="1068"/>
                    </a:lnTo>
                    <a:lnTo>
                      <a:pt x="1180" y="1066"/>
                    </a:lnTo>
                    <a:lnTo>
                      <a:pt x="1182" y="1066"/>
                    </a:lnTo>
                    <a:lnTo>
                      <a:pt x="1182" y="1064"/>
                    </a:lnTo>
                    <a:lnTo>
                      <a:pt x="1182" y="1074"/>
                    </a:lnTo>
                    <a:lnTo>
                      <a:pt x="1184" y="1070"/>
                    </a:lnTo>
                    <a:lnTo>
                      <a:pt x="1184" y="1064"/>
                    </a:lnTo>
                    <a:lnTo>
                      <a:pt x="1186" y="1064"/>
                    </a:lnTo>
                    <a:lnTo>
                      <a:pt x="1188" y="1066"/>
                    </a:lnTo>
                    <a:lnTo>
                      <a:pt x="1188" y="1068"/>
                    </a:lnTo>
                    <a:lnTo>
                      <a:pt x="1186" y="1068"/>
                    </a:lnTo>
                    <a:lnTo>
                      <a:pt x="1188" y="1068"/>
                    </a:lnTo>
                    <a:lnTo>
                      <a:pt x="1190" y="1068"/>
                    </a:lnTo>
                    <a:lnTo>
                      <a:pt x="1190" y="1070"/>
                    </a:lnTo>
                    <a:lnTo>
                      <a:pt x="1192" y="1070"/>
                    </a:lnTo>
                    <a:lnTo>
                      <a:pt x="1188" y="1072"/>
                    </a:lnTo>
                    <a:lnTo>
                      <a:pt x="1188" y="1078"/>
                    </a:lnTo>
                    <a:lnTo>
                      <a:pt x="1186" y="1078"/>
                    </a:lnTo>
                    <a:lnTo>
                      <a:pt x="1182" y="1076"/>
                    </a:lnTo>
                    <a:lnTo>
                      <a:pt x="1180" y="1076"/>
                    </a:lnTo>
                    <a:lnTo>
                      <a:pt x="1182" y="1076"/>
                    </a:lnTo>
                    <a:lnTo>
                      <a:pt x="1186" y="1078"/>
                    </a:lnTo>
                    <a:lnTo>
                      <a:pt x="1184" y="1080"/>
                    </a:lnTo>
                    <a:lnTo>
                      <a:pt x="1188" y="1078"/>
                    </a:lnTo>
                    <a:lnTo>
                      <a:pt x="1188" y="1082"/>
                    </a:lnTo>
                    <a:lnTo>
                      <a:pt x="1188" y="1080"/>
                    </a:lnTo>
                    <a:lnTo>
                      <a:pt x="1188" y="1076"/>
                    </a:lnTo>
                    <a:lnTo>
                      <a:pt x="1190" y="1074"/>
                    </a:lnTo>
                    <a:lnTo>
                      <a:pt x="1190" y="1072"/>
                    </a:lnTo>
                    <a:lnTo>
                      <a:pt x="1192" y="1072"/>
                    </a:lnTo>
                    <a:lnTo>
                      <a:pt x="1194" y="1070"/>
                    </a:lnTo>
                    <a:lnTo>
                      <a:pt x="1196" y="1070"/>
                    </a:lnTo>
                    <a:lnTo>
                      <a:pt x="1194" y="1072"/>
                    </a:lnTo>
                    <a:lnTo>
                      <a:pt x="1192" y="1074"/>
                    </a:lnTo>
                    <a:lnTo>
                      <a:pt x="1194" y="1074"/>
                    </a:lnTo>
                    <a:lnTo>
                      <a:pt x="1196" y="1076"/>
                    </a:lnTo>
                    <a:lnTo>
                      <a:pt x="1194" y="1080"/>
                    </a:lnTo>
                    <a:lnTo>
                      <a:pt x="1194" y="1082"/>
                    </a:lnTo>
                    <a:lnTo>
                      <a:pt x="1194" y="1087"/>
                    </a:lnTo>
                    <a:lnTo>
                      <a:pt x="1194" y="1085"/>
                    </a:lnTo>
                    <a:lnTo>
                      <a:pt x="1196" y="1080"/>
                    </a:lnTo>
                    <a:lnTo>
                      <a:pt x="1198" y="1078"/>
                    </a:lnTo>
                    <a:lnTo>
                      <a:pt x="1198" y="1076"/>
                    </a:lnTo>
                    <a:lnTo>
                      <a:pt x="1198" y="1072"/>
                    </a:lnTo>
                    <a:lnTo>
                      <a:pt x="1198" y="1074"/>
                    </a:lnTo>
                    <a:lnTo>
                      <a:pt x="1199" y="1072"/>
                    </a:lnTo>
                    <a:lnTo>
                      <a:pt x="1203" y="1072"/>
                    </a:lnTo>
                    <a:lnTo>
                      <a:pt x="1201" y="1076"/>
                    </a:lnTo>
                    <a:lnTo>
                      <a:pt x="1201" y="1080"/>
                    </a:lnTo>
                    <a:lnTo>
                      <a:pt x="1199" y="1080"/>
                    </a:lnTo>
                    <a:lnTo>
                      <a:pt x="1201" y="1082"/>
                    </a:lnTo>
                    <a:lnTo>
                      <a:pt x="1203" y="1083"/>
                    </a:lnTo>
                    <a:lnTo>
                      <a:pt x="1203" y="1089"/>
                    </a:lnTo>
                    <a:lnTo>
                      <a:pt x="1205" y="1089"/>
                    </a:lnTo>
                    <a:lnTo>
                      <a:pt x="1203" y="1083"/>
                    </a:lnTo>
                    <a:lnTo>
                      <a:pt x="1201" y="1080"/>
                    </a:lnTo>
                    <a:lnTo>
                      <a:pt x="1203" y="1074"/>
                    </a:lnTo>
                    <a:lnTo>
                      <a:pt x="1207" y="1074"/>
                    </a:lnTo>
                    <a:lnTo>
                      <a:pt x="1207" y="1072"/>
                    </a:lnTo>
                    <a:lnTo>
                      <a:pt x="1207" y="1070"/>
                    </a:lnTo>
                    <a:lnTo>
                      <a:pt x="1209" y="1070"/>
                    </a:lnTo>
                    <a:lnTo>
                      <a:pt x="1211" y="1070"/>
                    </a:lnTo>
                    <a:lnTo>
                      <a:pt x="1215" y="1072"/>
                    </a:lnTo>
                    <a:lnTo>
                      <a:pt x="1213" y="1074"/>
                    </a:lnTo>
                    <a:lnTo>
                      <a:pt x="1209" y="1074"/>
                    </a:lnTo>
                    <a:lnTo>
                      <a:pt x="1211" y="1074"/>
                    </a:lnTo>
                    <a:lnTo>
                      <a:pt x="1209" y="1078"/>
                    </a:lnTo>
                    <a:lnTo>
                      <a:pt x="1207" y="1078"/>
                    </a:lnTo>
                    <a:lnTo>
                      <a:pt x="1207" y="1080"/>
                    </a:lnTo>
                    <a:lnTo>
                      <a:pt x="1209" y="1080"/>
                    </a:lnTo>
                    <a:lnTo>
                      <a:pt x="1209" y="1082"/>
                    </a:lnTo>
                    <a:lnTo>
                      <a:pt x="1207" y="1082"/>
                    </a:lnTo>
                    <a:lnTo>
                      <a:pt x="1207" y="1083"/>
                    </a:lnTo>
                    <a:lnTo>
                      <a:pt x="1207" y="1085"/>
                    </a:lnTo>
                    <a:lnTo>
                      <a:pt x="1207" y="1087"/>
                    </a:lnTo>
                    <a:lnTo>
                      <a:pt x="1207" y="1083"/>
                    </a:lnTo>
                    <a:lnTo>
                      <a:pt x="1209" y="1082"/>
                    </a:lnTo>
                    <a:lnTo>
                      <a:pt x="1211" y="1082"/>
                    </a:lnTo>
                    <a:lnTo>
                      <a:pt x="1211" y="1080"/>
                    </a:lnTo>
                    <a:lnTo>
                      <a:pt x="1213" y="1080"/>
                    </a:lnTo>
                    <a:lnTo>
                      <a:pt x="1213" y="1082"/>
                    </a:lnTo>
                    <a:lnTo>
                      <a:pt x="1213" y="1083"/>
                    </a:lnTo>
                    <a:lnTo>
                      <a:pt x="1211" y="1085"/>
                    </a:lnTo>
                    <a:lnTo>
                      <a:pt x="1213" y="1083"/>
                    </a:lnTo>
                    <a:lnTo>
                      <a:pt x="1213" y="1080"/>
                    </a:lnTo>
                    <a:lnTo>
                      <a:pt x="1215" y="1078"/>
                    </a:lnTo>
                    <a:lnTo>
                      <a:pt x="1215" y="1080"/>
                    </a:lnTo>
                    <a:lnTo>
                      <a:pt x="1215" y="1078"/>
                    </a:lnTo>
                    <a:lnTo>
                      <a:pt x="1217" y="1080"/>
                    </a:lnTo>
                    <a:lnTo>
                      <a:pt x="1219" y="1080"/>
                    </a:lnTo>
                    <a:lnTo>
                      <a:pt x="1219" y="1082"/>
                    </a:lnTo>
                    <a:lnTo>
                      <a:pt x="1217" y="1082"/>
                    </a:lnTo>
                    <a:lnTo>
                      <a:pt x="1220" y="1082"/>
                    </a:lnTo>
                    <a:lnTo>
                      <a:pt x="1219" y="1083"/>
                    </a:lnTo>
                    <a:lnTo>
                      <a:pt x="1217" y="1085"/>
                    </a:lnTo>
                    <a:lnTo>
                      <a:pt x="1215" y="1085"/>
                    </a:lnTo>
                    <a:lnTo>
                      <a:pt x="1217" y="1085"/>
                    </a:lnTo>
                    <a:lnTo>
                      <a:pt x="1220" y="1083"/>
                    </a:lnTo>
                    <a:lnTo>
                      <a:pt x="1222" y="1085"/>
                    </a:lnTo>
                    <a:lnTo>
                      <a:pt x="1222" y="1087"/>
                    </a:lnTo>
                    <a:lnTo>
                      <a:pt x="1220" y="1087"/>
                    </a:lnTo>
                    <a:lnTo>
                      <a:pt x="1222" y="1087"/>
                    </a:lnTo>
                    <a:lnTo>
                      <a:pt x="1224" y="1087"/>
                    </a:lnTo>
                    <a:lnTo>
                      <a:pt x="1224" y="1089"/>
                    </a:lnTo>
                    <a:lnTo>
                      <a:pt x="1224" y="1091"/>
                    </a:lnTo>
                    <a:lnTo>
                      <a:pt x="1222" y="1093"/>
                    </a:lnTo>
                    <a:lnTo>
                      <a:pt x="1219" y="1093"/>
                    </a:lnTo>
                    <a:lnTo>
                      <a:pt x="1220" y="1095"/>
                    </a:lnTo>
                    <a:lnTo>
                      <a:pt x="1222" y="1095"/>
                    </a:lnTo>
                    <a:lnTo>
                      <a:pt x="1222" y="1093"/>
                    </a:lnTo>
                    <a:lnTo>
                      <a:pt x="1224" y="1093"/>
                    </a:lnTo>
                    <a:lnTo>
                      <a:pt x="1226" y="1095"/>
                    </a:lnTo>
                    <a:lnTo>
                      <a:pt x="1226" y="1099"/>
                    </a:lnTo>
                    <a:lnTo>
                      <a:pt x="1224" y="1101"/>
                    </a:lnTo>
                    <a:lnTo>
                      <a:pt x="1220" y="1099"/>
                    </a:lnTo>
                    <a:lnTo>
                      <a:pt x="1219" y="1099"/>
                    </a:lnTo>
                    <a:lnTo>
                      <a:pt x="1213" y="1097"/>
                    </a:lnTo>
                    <a:lnTo>
                      <a:pt x="1213" y="1099"/>
                    </a:lnTo>
                    <a:lnTo>
                      <a:pt x="1215" y="1099"/>
                    </a:lnTo>
                    <a:lnTo>
                      <a:pt x="1219" y="1101"/>
                    </a:lnTo>
                    <a:lnTo>
                      <a:pt x="1222" y="1101"/>
                    </a:lnTo>
                    <a:lnTo>
                      <a:pt x="1220" y="1103"/>
                    </a:lnTo>
                    <a:lnTo>
                      <a:pt x="1215" y="1103"/>
                    </a:lnTo>
                    <a:lnTo>
                      <a:pt x="1213" y="1104"/>
                    </a:lnTo>
                    <a:lnTo>
                      <a:pt x="1217" y="1103"/>
                    </a:lnTo>
                    <a:lnTo>
                      <a:pt x="1220" y="1103"/>
                    </a:lnTo>
                    <a:lnTo>
                      <a:pt x="1222" y="1103"/>
                    </a:lnTo>
                    <a:lnTo>
                      <a:pt x="1226" y="1101"/>
                    </a:lnTo>
                    <a:lnTo>
                      <a:pt x="1226" y="1103"/>
                    </a:lnTo>
                    <a:lnTo>
                      <a:pt x="1226" y="1104"/>
                    </a:lnTo>
                    <a:lnTo>
                      <a:pt x="1222" y="1104"/>
                    </a:lnTo>
                    <a:lnTo>
                      <a:pt x="1217" y="1106"/>
                    </a:lnTo>
                    <a:lnTo>
                      <a:pt x="1215" y="1108"/>
                    </a:lnTo>
                    <a:lnTo>
                      <a:pt x="1215" y="1112"/>
                    </a:lnTo>
                    <a:lnTo>
                      <a:pt x="1217" y="1108"/>
                    </a:lnTo>
                    <a:lnTo>
                      <a:pt x="1220" y="1106"/>
                    </a:lnTo>
                    <a:lnTo>
                      <a:pt x="1222" y="1104"/>
                    </a:lnTo>
                    <a:lnTo>
                      <a:pt x="1226" y="1106"/>
                    </a:lnTo>
                    <a:lnTo>
                      <a:pt x="1228" y="1103"/>
                    </a:lnTo>
                    <a:lnTo>
                      <a:pt x="1228" y="1104"/>
                    </a:lnTo>
                    <a:lnTo>
                      <a:pt x="1228" y="1103"/>
                    </a:lnTo>
                    <a:lnTo>
                      <a:pt x="1230" y="1104"/>
                    </a:lnTo>
                    <a:lnTo>
                      <a:pt x="1230" y="1103"/>
                    </a:lnTo>
                    <a:lnTo>
                      <a:pt x="1234" y="1103"/>
                    </a:lnTo>
                    <a:lnTo>
                      <a:pt x="1234" y="1104"/>
                    </a:lnTo>
                    <a:lnTo>
                      <a:pt x="1234" y="1103"/>
                    </a:lnTo>
                    <a:lnTo>
                      <a:pt x="1234" y="1106"/>
                    </a:lnTo>
                    <a:lnTo>
                      <a:pt x="1234" y="1108"/>
                    </a:lnTo>
                    <a:lnTo>
                      <a:pt x="1232" y="1110"/>
                    </a:lnTo>
                    <a:lnTo>
                      <a:pt x="1230" y="1110"/>
                    </a:lnTo>
                    <a:lnTo>
                      <a:pt x="1228" y="1112"/>
                    </a:lnTo>
                    <a:lnTo>
                      <a:pt x="1228" y="1114"/>
                    </a:lnTo>
                    <a:lnTo>
                      <a:pt x="1230" y="1116"/>
                    </a:lnTo>
                    <a:lnTo>
                      <a:pt x="1228" y="1118"/>
                    </a:lnTo>
                    <a:lnTo>
                      <a:pt x="1228" y="1116"/>
                    </a:lnTo>
                    <a:lnTo>
                      <a:pt x="1230" y="1116"/>
                    </a:lnTo>
                    <a:lnTo>
                      <a:pt x="1230" y="1112"/>
                    </a:lnTo>
                    <a:lnTo>
                      <a:pt x="1232" y="1110"/>
                    </a:lnTo>
                    <a:lnTo>
                      <a:pt x="1234" y="1110"/>
                    </a:lnTo>
                    <a:lnTo>
                      <a:pt x="1236" y="1106"/>
                    </a:lnTo>
                    <a:lnTo>
                      <a:pt x="1236" y="1104"/>
                    </a:lnTo>
                    <a:lnTo>
                      <a:pt x="1236" y="1101"/>
                    </a:lnTo>
                    <a:lnTo>
                      <a:pt x="1238" y="1101"/>
                    </a:lnTo>
                    <a:lnTo>
                      <a:pt x="1240" y="1101"/>
                    </a:lnTo>
                    <a:lnTo>
                      <a:pt x="1240" y="1099"/>
                    </a:lnTo>
                    <a:lnTo>
                      <a:pt x="1241" y="1101"/>
                    </a:lnTo>
                    <a:lnTo>
                      <a:pt x="1241" y="1104"/>
                    </a:lnTo>
                    <a:lnTo>
                      <a:pt x="1241" y="1106"/>
                    </a:lnTo>
                    <a:lnTo>
                      <a:pt x="1240" y="1106"/>
                    </a:lnTo>
                    <a:lnTo>
                      <a:pt x="1238" y="1108"/>
                    </a:lnTo>
                    <a:lnTo>
                      <a:pt x="1238" y="1112"/>
                    </a:lnTo>
                    <a:lnTo>
                      <a:pt x="1238" y="1114"/>
                    </a:lnTo>
                    <a:lnTo>
                      <a:pt x="1234" y="1116"/>
                    </a:lnTo>
                    <a:lnTo>
                      <a:pt x="1232" y="1118"/>
                    </a:lnTo>
                    <a:lnTo>
                      <a:pt x="1234" y="1118"/>
                    </a:lnTo>
                    <a:lnTo>
                      <a:pt x="1232" y="1120"/>
                    </a:lnTo>
                    <a:lnTo>
                      <a:pt x="1230" y="1120"/>
                    </a:lnTo>
                    <a:lnTo>
                      <a:pt x="1228" y="1120"/>
                    </a:lnTo>
                    <a:lnTo>
                      <a:pt x="1230" y="1120"/>
                    </a:lnTo>
                    <a:lnTo>
                      <a:pt x="1232" y="1120"/>
                    </a:lnTo>
                    <a:lnTo>
                      <a:pt x="1234" y="1120"/>
                    </a:lnTo>
                    <a:lnTo>
                      <a:pt x="1234" y="1118"/>
                    </a:lnTo>
                    <a:lnTo>
                      <a:pt x="1234" y="1116"/>
                    </a:lnTo>
                    <a:lnTo>
                      <a:pt x="1236" y="1116"/>
                    </a:lnTo>
                    <a:lnTo>
                      <a:pt x="1236" y="1120"/>
                    </a:lnTo>
                    <a:lnTo>
                      <a:pt x="1234" y="1124"/>
                    </a:lnTo>
                    <a:lnTo>
                      <a:pt x="1236" y="1125"/>
                    </a:lnTo>
                    <a:lnTo>
                      <a:pt x="1238" y="1120"/>
                    </a:lnTo>
                    <a:lnTo>
                      <a:pt x="1236" y="1118"/>
                    </a:lnTo>
                    <a:lnTo>
                      <a:pt x="1238" y="1118"/>
                    </a:lnTo>
                    <a:lnTo>
                      <a:pt x="1240" y="1114"/>
                    </a:lnTo>
                    <a:lnTo>
                      <a:pt x="1241" y="1116"/>
                    </a:lnTo>
                    <a:lnTo>
                      <a:pt x="1241" y="1114"/>
                    </a:lnTo>
                    <a:lnTo>
                      <a:pt x="1243" y="1114"/>
                    </a:lnTo>
                    <a:lnTo>
                      <a:pt x="1243" y="1118"/>
                    </a:lnTo>
                    <a:lnTo>
                      <a:pt x="1245" y="1120"/>
                    </a:lnTo>
                    <a:lnTo>
                      <a:pt x="1243" y="1124"/>
                    </a:lnTo>
                    <a:lnTo>
                      <a:pt x="1243" y="1125"/>
                    </a:lnTo>
                    <a:lnTo>
                      <a:pt x="1243" y="1127"/>
                    </a:lnTo>
                    <a:lnTo>
                      <a:pt x="1245" y="1125"/>
                    </a:lnTo>
                    <a:lnTo>
                      <a:pt x="1245" y="1124"/>
                    </a:lnTo>
                    <a:lnTo>
                      <a:pt x="1245" y="1122"/>
                    </a:lnTo>
                    <a:lnTo>
                      <a:pt x="1245" y="1120"/>
                    </a:lnTo>
                    <a:lnTo>
                      <a:pt x="1245" y="1118"/>
                    </a:lnTo>
                    <a:lnTo>
                      <a:pt x="1245" y="1116"/>
                    </a:lnTo>
                    <a:lnTo>
                      <a:pt x="1247" y="1114"/>
                    </a:lnTo>
                    <a:lnTo>
                      <a:pt x="1247" y="1116"/>
                    </a:lnTo>
                    <a:lnTo>
                      <a:pt x="1249" y="1114"/>
                    </a:lnTo>
                    <a:lnTo>
                      <a:pt x="1249" y="1118"/>
                    </a:lnTo>
                    <a:lnTo>
                      <a:pt x="1251" y="1120"/>
                    </a:lnTo>
                    <a:lnTo>
                      <a:pt x="1253" y="1124"/>
                    </a:lnTo>
                    <a:lnTo>
                      <a:pt x="1253" y="1122"/>
                    </a:lnTo>
                    <a:lnTo>
                      <a:pt x="1251" y="1118"/>
                    </a:lnTo>
                    <a:lnTo>
                      <a:pt x="1251" y="1116"/>
                    </a:lnTo>
                    <a:lnTo>
                      <a:pt x="1253" y="1114"/>
                    </a:lnTo>
                    <a:lnTo>
                      <a:pt x="1253" y="1116"/>
                    </a:lnTo>
                    <a:lnTo>
                      <a:pt x="1253" y="1112"/>
                    </a:lnTo>
                    <a:lnTo>
                      <a:pt x="1253" y="1110"/>
                    </a:lnTo>
                    <a:lnTo>
                      <a:pt x="1255" y="1112"/>
                    </a:lnTo>
                    <a:lnTo>
                      <a:pt x="1255" y="1110"/>
                    </a:lnTo>
                    <a:lnTo>
                      <a:pt x="1257" y="1110"/>
                    </a:lnTo>
                    <a:lnTo>
                      <a:pt x="1259" y="1112"/>
                    </a:lnTo>
                    <a:lnTo>
                      <a:pt x="1257" y="1112"/>
                    </a:lnTo>
                    <a:lnTo>
                      <a:pt x="1257" y="1116"/>
                    </a:lnTo>
                    <a:lnTo>
                      <a:pt x="1255" y="1116"/>
                    </a:lnTo>
                    <a:lnTo>
                      <a:pt x="1257" y="1118"/>
                    </a:lnTo>
                    <a:lnTo>
                      <a:pt x="1257" y="1116"/>
                    </a:lnTo>
                    <a:lnTo>
                      <a:pt x="1259" y="1114"/>
                    </a:lnTo>
                    <a:lnTo>
                      <a:pt x="1260" y="1114"/>
                    </a:lnTo>
                    <a:lnTo>
                      <a:pt x="1260" y="1116"/>
                    </a:lnTo>
                    <a:lnTo>
                      <a:pt x="1260" y="1114"/>
                    </a:lnTo>
                    <a:lnTo>
                      <a:pt x="1262" y="1116"/>
                    </a:lnTo>
                    <a:lnTo>
                      <a:pt x="1260" y="1118"/>
                    </a:lnTo>
                    <a:lnTo>
                      <a:pt x="1259" y="1118"/>
                    </a:lnTo>
                    <a:lnTo>
                      <a:pt x="1257" y="1118"/>
                    </a:lnTo>
                    <a:lnTo>
                      <a:pt x="1259" y="1118"/>
                    </a:lnTo>
                    <a:lnTo>
                      <a:pt x="1260" y="1118"/>
                    </a:lnTo>
                    <a:lnTo>
                      <a:pt x="1262" y="1118"/>
                    </a:lnTo>
                    <a:lnTo>
                      <a:pt x="1264" y="1118"/>
                    </a:lnTo>
                    <a:lnTo>
                      <a:pt x="1262" y="1120"/>
                    </a:lnTo>
                    <a:lnTo>
                      <a:pt x="1260" y="1120"/>
                    </a:lnTo>
                    <a:lnTo>
                      <a:pt x="1264" y="1120"/>
                    </a:lnTo>
                    <a:lnTo>
                      <a:pt x="1266" y="1122"/>
                    </a:lnTo>
                    <a:lnTo>
                      <a:pt x="1266" y="1124"/>
                    </a:lnTo>
                    <a:lnTo>
                      <a:pt x="1268" y="1125"/>
                    </a:lnTo>
                    <a:lnTo>
                      <a:pt x="1268" y="1127"/>
                    </a:lnTo>
                    <a:lnTo>
                      <a:pt x="1270" y="1127"/>
                    </a:lnTo>
                    <a:lnTo>
                      <a:pt x="1268" y="1129"/>
                    </a:lnTo>
                    <a:lnTo>
                      <a:pt x="1268" y="1131"/>
                    </a:lnTo>
                    <a:lnTo>
                      <a:pt x="1266" y="1131"/>
                    </a:lnTo>
                    <a:lnTo>
                      <a:pt x="1264" y="1131"/>
                    </a:lnTo>
                    <a:lnTo>
                      <a:pt x="1262" y="1127"/>
                    </a:lnTo>
                    <a:lnTo>
                      <a:pt x="1259" y="1127"/>
                    </a:lnTo>
                    <a:lnTo>
                      <a:pt x="1259" y="1125"/>
                    </a:lnTo>
                    <a:lnTo>
                      <a:pt x="1257" y="1125"/>
                    </a:lnTo>
                    <a:lnTo>
                      <a:pt x="1259" y="1125"/>
                    </a:lnTo>
                    <a:lnTo>
                      <a:pt x="1257" y="1127"/>
                    </a:lnTo>
                    <a:lnTo>
                      <a:pt x="1255" y="1127"/>
                    </a:lnTo>
                    <a:lnTo>
                      <a:pt x="1257" y="1129"/>
                    </a:lnTo>
                    <a:lnTo>
                      <a:pt x="1259" y="1127"/>
                    </a:lnTo>
                    <a:lnTo>
                      <a:pt x="1260" y="1127"/>
                    </a:lnTo>
                    <a:lnTo>
                      <a:pt x="1262" y="1131"/>
                    </a:lnTo>
                    <a:lnTo>
                      <a:pt x="1264" y="1133"/>
                    </a:lnTo>
                    <a:lnTo>
                      <a:pt x="1264" y="1135"/>
                    </a:lnTo>
                    <a:lnTo>
                      <a:pt x="1262" y="1135"/>
                    </a:lnTo>
                    <a:lnTo>
                      <a:pt x="1260" y="1135"/>
                    </a:lnTo>
                    <a:lnTo>
                      <a:pt x="1259" y="1137"/>
                    </a:lnTo>
                    <a:lnTo>
                      <a:pt x="1260" y="1137"/>
                    </a:lnTo>
                    <a:lnTo>
                      <a:pt x="1262" y="1137"/>
                    </a:lnTo>
                    <a:lnTo>
                      <a:pt x="1264" y="1137"/>
                    </a:lnTo>
                    <a:lnTo>
                      <a:pt x="1266" y="1137"/>
                    </a:lnTo>
                    <a:lnTo>
                      <a:pt x="1266" y="1139"/>
                    </a:lnTo>
                    <a:lnTo>
                      <a:pt x="1264" y="1139"/>
                    </a:lnTo>
                    <a:lnTo>
                      <a:pt x="1262" y="1141"/>
                    </a:lnTo>
                    <a:lnTo>
                      <a:pt x="1260" y="1139"/>
                    </a:lnTo>
                    <a:lnTo>
                      <a:pt x="1259" y="1141"/>
                    </a:lnTo>
                    <a:lnTo>
                      <a:pt x="1257" y="1141"/>
                    </a:lnTo>
                    <a:lnTo>
                      <a:pt x="1257" y="1139"/>
                    </a:lnTo>
                    <a:lnTo>
                      <a:pt x="1255" y="1141"/>
                    </a:lnTo>
                    <a:lnTo>
                      <a:pt x="1255" y="1139"/>
                    </a:lnTo>
                    <a:lnTo>
                      <a:pt x="1255" y="1137"/>
                    </a:lnTo>
                    <a:lnTo>
                      <a:pt x="1249" y="1137"/>
                    </a:lnTo>
                    <a:lnTo>
                      <a:pt x="1247" y="1135"/>
                    </a:lnTo>
                    <a:lnTo>
                      <a:pt x="1249" y="1137"/>
                    </a:lnTo>
                    <a:lnTo>
                      <a:pt x="1247" y="1137"/>
                    </a:lnTo>
                    <a:lnTo>
                      <a:pt x="1249" y="1137"/>
                    </a:lnTo>
                    <a:lnTo>
                      <a:pt x="1251" y="1139"/>
                    </a:lnTo>
                    <a:lnTo>
                      <a:pt x="1253" y="1141"/>
                    </a:lnTo>
                    <a:lnTo>
                      <a:pt x="1247" y="1145"/>
                    </a:lnTo>
                    <a:lnTo>
                      <a:pt x="1245" y="1143"/>
                    </a:lnTo>
                    <a:lnTo>
                      <a:pt x="1245" y="1141"/>
                    </a:lnTo>
                    <a:lnTo>
                      <a:pt x="1243" y="1139"/>
                    </a:lnTo>
                    <a:lnTo>
                      <a:pt x="1243" y="1141"/>
                    </a:lnTo>
                    <a:lnTo>
                      <a:pt x="1245" y="1141"/>
                    </a:lnTo>
                    <a:lnTo>
                      <a:pt x="1245" y="1143"/>
                    </a:lnTo>
                    <a:lnTo>
                      <a:pt x="1245" y="1145"/>
                    </a:lnTo>
                    <a:lnTo>
                      <a:pt x="1247" y="1145"/>
                    </a:lnTo>
                    <a:lnTo>
                      <a:pt x="1249" y="1145"/>
                    </a:lnTo>
                    <a:lnTo>
                      <a:pt x="1251" y="1146"/>
                    </a:lnTo>
                    <a:lnTo>
                      <a:pt x="1253" y="1146"/>
                    </a:lnTo>
                    <a:lnTo>
                      <a:pt x="1257" y="1146"/>
                    </a:lnTo>
                    <a:lnTo>
                      <a:pt x="1255" y="1148"/>
                    </a:lnTo>
                    <a:lnTo>
                      <a:pt x="1255" y="1150"/>
                    </a:lnTo>
                    <a:lnTo>
                      <a:pt x="1257" y="1148"/>
                    </a:lnTo>
                    <a:lnTo>
                      <a:pt x="1257" y="1150"/>
                    </a:lnTo>
                    <a:lnTo>
                      <a:pt x="1257" y="1152"/>
                    </a:lnTo>
                    <a:lnTo>
                      <a:pt x="1257" y="1150"/>
                    </a:lnTo>
                    <a:lnTo>
                      <a:pt x="1259" y="1150"/>
                    </a:lnTo>
                    <a:lnTo>
                      <a:pt x="1259" y="1152"/>
                    </a:lnTo>
                    <a:lnTo>
                      <a:pt x="1257" y="1152"/>
                    </a:lnTo>
                    <a:lnTo>
                      <a:pt x="1255" y="1152"/>
                    </a:lnTo>
                    <a:lnTo>
                      <a:pt x="1253" y="1154"/>
                    </a:lnTo>
                    <a:lnTo>
                      <a:pt x="1251" y="1152"/>
                    </a:lnTo>
                    <a:lnTo>
                      <a:pt x="1249" y="1152"/>
                    </a:lnTo>
                    <a:lnTo>
                      <a:pt x="1247" y="1152"/>
                    </a:lnTo>
                    <a:lnTo>
                      <a:pt x="1245" y="1152"/>
                    </a:lnTo>
                    <a:lnTo>
                      <a:pt x="1243" y="1150"/>
                    </a:lnTo>
                    <a:lnTo>
                      <a:pt x="1243" y="1146"/>
                    </a:lnTo>
                    <a:lnTo>
                      <a:pt x="1241" y="1148"/>
                    </a:lnTo>
                    <a:lnTo>
                      <a:pt x="1243" y="1148"/>
                    </a:lnTo>
                    <a:lnTo>
                      <a:pt x="1243" y="1150"/>
                    </a:lnTo>
                    <a:lnTo>
                      <a:pt x="1245" y="1152"/>
                    </a:lnTo>
                    <a:lnTo>
                      <a:pt x="1249" y="1152"/>
                    </a:lnTo>
                    <a:lnTo>
                      <a:pt x="1249" y="1154"/>
                    </a:lnTo>
                    <a:lnTo>
                      <a:pt x="1251" y="1154"/>
                    </a:lnTo>
                    <a:lnTo>
                      <a:pt x="1251" y="1156"/>
                    </a:lnTo>
                    <a:lnTo>
                      <a:pt x="1249" y="1156"/>
                    </a:lnTo>
                    <a:lnTo>
                      <a:pt x="1251" y="1156"/>
                    </a:lnTo>
                    <a:lnTo>
                      <a:pt x="1251" y="1158"/>
                    </a:lnTo>
                    <a:lnTo>
                      <a:pt x="1251" y="1156"/>
                    </a:lnTo>
                    <a:lnTo>
                      <a:pt x="1251" y="1158"/>
                    </a:lnTo>
                    <a:lnTo>
                      <a:pt x="1253" y="1160"/>
                    </a:lnTo>
                    <a:lnTo>
                      <a:pt x="1249" y="1162"/>
                    </a:lnTo>
                    <a:lnTo>
                      <a:pt x="1249" y="1160"/>
                    </a:lnTo>
                    <a:lnTo>
                      <a:pt x="1247" y="1160"/>
                    </a:lnTo>
                    <a:lnTo>
                      <a:pt x="1243" y="1158"/>
                    </a:lnTo>
                    <a:lnTo>
                      <a:pt x="1245" y="1160"/>
                    </a:lnTo>
                    <a:lnTo>
                      <a:pt x="1247" y="1160"/>
                    </a:lnTo>
                    <a:lnTo>
                      <a:pt x="1249" y="1162"/>
                    </a:lnTo>
                    <a:lnTo>
                      <a:pt x="1249" y="1164"/>
                    </a:lnTo>
                    <a:lnTo>
                      <a:pt x="1247" y="1164"/>
                    </a:lnTo>
                    <a:lnTo>
                      <a:pt x="1243" y="1162"/>
                    </a:lnTo>
                    <a:lnTo>
                      <a:pt x="1245" y="1164"/>
                    </a:lnTo>
                    <a:lnTo>
                      <a:pt x="1247" y="1164"/>
                    </a:lnTo>
                    <a:lnTo>
                      <a:pt x="1247" y="1165"/>
                    </a:lnTo>
                    <a:lnTo>
                      <a:pt x="1247" y="1169"/>
                    </a:lnTo>
                    <a:lnTo>
                      <a:pt x="1247" y="1167"/>
                    </a:lnTo>
                    <a:lnTo>
                      <a:pt x="1245" y="1167"/>
                    </a:lnTo>
                    <a:lnTo>
                      <a:pt x="1245" y="1169"/>
                    </a:lnTo>
                    <a:lnTo>
                      <a:pt x="1245" y="1167"/>
                    </a:lnTo>
                    <a:lnTo>
                      <a:pt x="1245" y="1169"/>
                    </a:lnTo>
                    <a:lnTo>
                      <a:pt x="1243" y="1167"/>
                    </a:lnTo>
                    <a:lnTo>
                      <a:pt x="1243" y="1164"/>
                    </a:lnTo>
                    <a:lnTo>
                      <a:pt x="1243" y="1162"/>
                    </a:lnTo>
                    <a:lnTo>
                      <a:pt x="1241" y="1164"/>
                    </a:lnTo>
                    <a:lnTo>
                      <a:pt x="1243" y="1164"/>
                    </a:lnTo>
                    <a:lnTo>
                      <a:pt x="1243" y="1167"/>
                    </a:lnTo>
                    <a:lnTo>
                      <a:pt x="1241" y="1169"/>
                    </a:lnTo>
                    <a:lnTo>
                      <a:pt x="1241" y="1167"/>
                    </a:lnTo>
                    <a:lnTo>
                      <a:pt x="1240" y="1167"/>
                    </a:lnTo>
                    <a:lnTo>
                      <a:pt x="1240" y="1165"/>
                    </a:lnTo>
                    <a:lnTo>
                      <a:pt x="1238" y="1165"/>
                    </a:lnTo>
                    <a:lnTo>
                      <a:pt x="1240" y="1167"/>
                    </a:lnTo>
                    <a:lnTo>
                      <a:pt x="1238" y="1167"/>
                    </a:lnTo>
                    <a:lnTo>
                      <a:pt x="1238" y="1165"/>
                    </a:lnTo>
                    <a:lnTo>
                      <a:pt x="1236" y="1164"/>
                    </a:lnTo>
                    <a:lnTo>
                      <a:pt x="1234" y="1156"/>
                    </a:lnTo>
                    <a:lnTo>
                      <a:pt x="1234" y="1154"/>
                    </a:lnTo>
                    <a:lnTo>
                      <a:pt x="1234" y="1156"/>
                    </a:lnTo>
                    <a:lnTo>
                      <a:pt x="1234" y="1158"/>
                    </a:lnTo>
                    <a:lnTo>
                      <a:pt x="1236" y="1162"/>
                    </a:lnTo>
                    <a:lnTo>
                      <a:pt x="1236" y="1164"/>
                    </a:lnTo>
                    <a:lnTo>
                      <a:pt x="1236" y="1165"/>
                    </a:lnTo>
                    <a:lnTo>
                      <a:pt x="1234" y="1165"/>
                    </a:lnTo>
                    <a:lnTo>
                      <a:pt x="1232" y="1165"/>
                    </a:lnTo>
                    <a:lnTo>
                      <a:pt x="1230" y="1165"/>
                    </a:lnTo>
                    <a:lnTo>
                      <a:pt x="1236" y="1167"/>
                    </a:lnTo>
                    <a:lnTo>
                      <a:pt x="1236" y="1169"/>
                    </a:lnTo>
                    <a:lnTo>
                      <a:pt x="1236" y="1171"/>
                    </a:lnTo>
                    <a:lnTo>
                      <a:pt x="1234" y="1171"/>
                    </a:lnTo>
                    <a:lnTo>
                      <a:pt x="1232" y="1167"/>
                    </a:lnTo>
                    <a:lnTo>
                      <a:pt x="1232" y="1169"/>
                    </a:lnTo>
                    <a:lnTo>
                      <a:pt x="1232" y="1171"/>
                    </a:lnTo>
                    <a:lnTo>
                      <a:pt x="1230" y="1169"/>
                    </a:lnTo>
                    <a:lnTo>
                      <a:pt x="1232" y="1171"/>
                    </a:lnTo>
                    <a:lnTo>
                      <a:pt x="1234" y="1171"/>
                    </a:lnTo>
                    <a:lnTo>
                      <a:pt x="1234" y="1173"/>
                    </a:lnTo>
                    <a:lnTo>
                      <a:pt x="1238" y="1175"/>
                    </a:lnTo>
                    <a:lnTo>
                      <a:pt x="1236" y="1175"/>
                    </a:lnTo>
                    <a:lnTo>
                      <a:pt x="1234" y="1175"/>
                    </a:lnTo>
                    <a:lnTo>
                      <a:pt x="1232" y="1173"/>
                    </a:lnTo>
                    <a:lnTo>
                      <a:pt x="1230" y="1173"/>
                    </a:lnTo>
                    <a:lnTo>
                      <a:pt x="1232" y="1173"/>
                    </a:lnTo>
                    <a:lnTo>
                      <a:pt x="1232" y="1175"/>
                    </a:lnTo>
                    <a:lnTo>
                      <a:pt x="1232" y="1173"/>
                    </a:lnTo>
                    <a:lnTo>
                      <a:pt x="1232" y="1175"/>
                    </a:lnTo>
                    <a:lnTo>
                      <a:pt x="1234" y="1175"/>
                    </a:lnTo>
                    <a:lnTo>
                      <a:pt x="1236" y="1177"/>
                    </a:lnTo>
                    <a:lnTo>
                      <a:pt x="1234" y="1177"/>
                    </a:lnTo>
                    <a:lnTo>
                      <a:pt x="1236" y="1177"/>
                    </a:lnTo>
                    <a:lnTo>
                      <a:pt x="1236" y="1179"/>
                    </a:lnTo>
                    <a:lnTo>
                      <a:pt x="1236" y="1181"/>
                    </a:lnTo>
                    <a:lnTo>
                      <a:pt x="1234" y="1181"/>
                    </a:lnTo>
                    <a:lnTo>
                      <a:pt x="1236" y="1181"/>
                    </a:lnTo>
                    <a:lnTo>
                      <a:pt x="1236" y="1183"/>
                    </a:lnTo>
                    <a:lnTo>
                      <a:pt x="1234" y="1181"/>
                    </a:lnTo>
                    <a:lnTo>
                      <a:pt x="1234" y="1183"/>
                    </a:lnTo>
                    <a:lnTo>
                      <a:pt x="1236" y="1183"/>
                    </a:lnTo>
                    <a:lnTo>
                      <a:pt x="1236" y="1185"/>
                    </a:lnTo>
                    <a:lnTo>
                      <a:pt x="1236" y="1183"/>
                    </a:lnTo>
                    <a:lnTo>
                      <a:pt x="1236" y="1185"/>
                    </a:lnTo>
                    <a:lnTo>
                      <a:pt x="1236" y="1183"/>
                    </a:lnTo>
                    <a:lnTo>
                      <a:pt x="1236" y="1185"/>
                    </a:lnTo>
                    <a:lnTo>
                      <a:pt x="1234" y="1183"/>
                    </a:lnTo>
                    <a:lnTo>
                      <a:pt x="1234" y="1185"/>
                    </a:lnTo>
                    <a:lnTo>
                      <a:pt x="1234" y="1186"/>
                    </a:lnTo>
                    <a:lnTo>
                      <a:pt x="1236" y="1185"/>
                    </a:lnTo>
                    <a:lnTo>
                      <a:pt x="1236" y="1186"/>
                    </a:lnTo>
                    <a:lnTo>
                      <a:pt x="1234" y="1188"/>
                    </a:lnTo>
                    <a:lnTo>
                      <a:pt x="1236" y="1188"/>
                    </a:lnTo>
                    <a:lnTo>
                      <a:pt x="1234" y="1188"/>
                    </a:lnTo>
                    <a:lnTo>
                      <a:pt x="1236" y="1190"/>
                    </a:lnTo>
                    <a:lnTo>
                      <a:pt x="1234" y="1190"/>
                    </a:lnTo>
                    <a:lnTo>
                      <a:pt x="1234" y="1192"/>
                    </a:lnTo>
                    <a:lnTo>
                      <a:pt x="1234" y="1190"/>
                    </a:lnTo>
                    <a:lnTo>
                      <a:pt x="1234" y="1188"/>
                    </a:lnTo>
                    <a:lnTo>
                      <a:pt x="1232" y="1188"/>
                    </a:lnTo>
                    <a:lnTo>
                      <a:pt x="1234" y="1190"/>
                    </a:lnTo>
                    <a:lnTo>
                      <a:pt x="1232" y="1190"/>
                    </a:lnTo>
                    <a:lnTo>
                      <a:pt x="1234" y="1190"/>
                    </a:lnTo>
                    <a:lnTo>
                      <a:pt x="1232" y="1190"/>
                    </a:lnTo>
                    <a:lnTo>
                      <a:pt x="1234" y="1192"/>
                    </a:lnTo>
                    <a:lnTo>
                      <a:pt x="1234" y="1194"/>
                    </a:lnTo>
                    <a:lnTo>
                      <a:pt x="1232" y="1194"/>
                    </a:lnTo>
                    <a:lnTo>
                      <a:pt x="1234" y="1194"/>
                    </a:lnTo>
                    <a:lnTo>
                      <a:pt x="1234" y="1196"/>
                    </a:lnTo>
                    <a:lnTo>
                      <a:pt x="1232" y="1194"/>
                    </a:lnTo>
                    <a:lnTo>
                      <a:pt x="1230" y="1194"/>
                    </a:lnTo>
                    <a:lnTo>
                      <a:pt x="1232" y="1194"/>
                    </a:lnTo>
                    <a:lnTo>
                      <a:pt x="1230" y="1194"/>
                    </a:lnTo>
                    <a:lnTo>
                      <a:pt x="1232" y="1192"/>
                    </a:lnTo>
                    <a:lnTo>
                      <a:pt x="1232" y="1190"/>
                    </a:lnTo>
                    <a:lnTo>
                      <a:pt x="1232" y="1192"/>
                    </a:lnTo>
                    <a:lnTo>
                      <a:pt x="1230" y="1190"/>
                    </a:lnTo>
                    <a:lnTo>
                      <a:pt x="1230" y="1192"/>
                    </a:lnTo>
                    <a:lnTo>
                      <a:pt x="1228" y="1192"/>
                    </a:lnTo>
                    <a:lnTo>
                      <a:pt x="1228" y="1190"/>
                    </a:lnTo>
                    <a:lnTo>
                      <a:pt x="1230" y="1190"/>
                    </a:lnTo>
                    <a:lnTo>
                      <a:pt x="1232" y="1190"/>
                    </a:lnTo>
                    <a:lnTo>
                      <a:pt x="1230" y="1188"/>
                    </a:lnTo>
                    <a:lnTo>
                      <a:pt x="1230" y="1190"/>
                    </a:lnTo>
                    <a:lnTo>
                      <a:pt x="1228" y="1190"/>
                    </a:lnTo>
                    <a:lnTo>
                      <a:pt x="1228" y="1188"/>
                    </a:lnTo>
                    <a:lnTo>
                      <a:pt x="1228" y="1185"/>
                    </a:lnTo>
                    <a:lnTo>
                      <a:pt x="1228" y="1186"/>
                    </a:lnTo>
                    <a:lnTo>
                      <a:pt x="1226" y="1185"/>
                    </a:lnTo>
                    <a:lnTo>
                      <a:pt x="1226" y="1188"/>
                    </a:lnTo>
                    <a:lnTo>
                      <a:pt x="1224" y="1186"/>
                    </a:lnTo>
                    <a:lnTo>
                      <a:pt x="1224" y="1188"/>
                    </a:lnTo>
                    <a:lnTo>
                      <a:pt x="1222" y="1186"/>
                    </a:lnTo>
                    <a:lnTo>
                      <a:pt x="1222" y="1188"/>
                    </a:lnTo>
                    <a:lnTo>
                      <a:pt x="1222" y="1186"/>
                    </a:lnTo>
                    <a:lnTo>
                      <a:pt x="1222" y="1185"/>
                    </a:lnTo>
                    <a:lnTo>
                      <a:pt x="1224" y="1183"/>
                    </a:lnTo>
                    <a:lnTo>
                      <a:pt x="1224" y="1181"/>
                    </a:lnTo>
                    <a:lnTo>
                      <a:pt x="1222" y="1183"/>
                    </a:lnTo>
                    <a:lnTo>
                      <a:pt x="1220" y="1186"/>
                    </a:lnTo>
                    <a:lnTo>
                      <a:pt x="1220" y="1185"/>
                    </a:lnTo>
                    <a:lnTo>
                      <a:pt x="1219" y="1181"/>
                    </a:lnTo>
                    <a:lnTo>
                      <a:pt x="1220" y="1181"/>
                    </a:lnTo>
                    <a:lnTo>
                      <a:pt x="1220" y="1179"/>
                    </a:lnTo>
                    <a:lnTo>
                      <a:pt x="1219" y="1181"/>
                    </a:lnTo>
                    <a:lnTo>
                      <a:pt x="1219" y="1179"/>
                    </a:lnTo>
                    <a:lnTo>
                      <a:pt x="1222" y="1177"/>
                    </a:lnTo>
                    <a:lnTo>
                      <a:pt x="1222" y="1175"/>
                    </a:lnTo>
                    <a:lnTo>
                      <a:pt x="1220" y="1175"/>
                    </a:lnTo>
                    <a:lnTo>
                      <a:pt x="1222" y="1175"/>
                    </a:lnTo>
                    <a:lnTo>
                      <a:pt x="1222" y="1173"/>
                    </a:lnTo>
                    <a:lnTo>
                      <a:pt x="1222" y="1175"/>
                    </a:lnTo>
                    <a:lnTo>
                      <a:pt x="1220" y="1175"/>
                    </a:lnTo>
                    <a:lnTo>
                      <a:pt x="1220" y="1177"/>
                    </a:lnTo>
                    <a:lnTo>
                      <a:pt x="1219" y="1179"/>
                    </a:lnTo>
                    <a:lnTo>
                      <a:pt x="1219" y="1183"/>
                    </a:lnTo>
                    <a:lnTo>
                      <a:pt x="1219" y="1185"/>
                    </a:lnTo>
                    <a:lnTo>
                      <a:pt x="1217" y="1188"/>
                    </a:lnTo>
                    <a:lnTo>
                      <a:pt x="1217" y="1186"/>
                    </a:lnTo>
                    <a:lnTo>
                      <a:pt x="1215" y="1186"/>
                    </a:lnTo>
                    <a:lnTo>
                      <a:pt x="1217" y="1185"/>
                    </a:lnTo>
                    <a:lnTo>
                      <a:pt x="1217" y="1183"/>
                    </a:lnTo>
                    <a:lnTo>
                      <a:pt x="1215" y="1185"/>
                    </a:lnTo>
                    <a:lnTo>
                      <a:pt x="1215" y="1183"/>
                    </a:lnTo>
                    <a:lnTo>
                      <a:pt x="1217" y="1181"/>
                    </a:lnTo>
                    <a:lnTo>
                      <a:pt x="1215" y="1181"/>
                    </a:lnTo>
                    <a:lnTo>
                      <a:pt x="1213" y="1183"/>
                    </a:lnTo>
                    <a:lnTo>
                      <a:pt x="1213" y="1181"/>
                    </a:lnTo>
                    <a:lnTo>
                      <a:pt x="1211" y="1181"/>
                    </a:lnTo>
                    <a:lnTo>
                      <a:pt x="1213" y="1181"/>
                    </a:lnTo>
                    <a:lnTo>
                      <a:pt x="1211" y="1179"/>
                    </a:lnTo>
                    <a:lnTo>
                      <a:pt x="1213" y="1179"/>
                    </a:lnTo>
                    <a:lnTo>
                      <a:pt x="1215" y="1179"/>
                    </a:lnTo>
                    <a:lnTo>
                      <a:pt x="1213" y="1179"/>
                    </a:lnTo>
                    <a:lnTo>
                      <a:pt x="1215" y="1179"/>
                    </a:lnTo>
                    <a:lnTo>
                      <a:pt x="1211" y="1179"/>
                    </a:lnTo>
                    <a:lnTo>
                      <a:pt x="1213" y="1177"/>
                    </a:lnTo>
                    <a:lnTo>
                      <a:pt x="1215" y="1177"/>
                    </a:lnTo>
                    <a:lnTo>
                      <a:pt x="1217" y="1175"/>
                    </a:lnTo>
                    <a:lnTo>
                      <a:pt x="1219" y="1175"/>
                    </a:lnTo>
                    <a:lnTo>
                      <a:pt x="1219" y="1173"/>
                    </a:lnTo>
                    <a:lnTo>
                      <a:pt x="1219" y="1175"/>
                    </a:lnTo>
                    <a:lnTo>
                      <a:pt x="1217" y="1175"/>
                    </a:lnTo>
                    <a:lnTo>
                      <a:pt x="1219" y="1173"/>
                    </a:lnTo>
                    <a:lnTo>
                      <a:pt x="1217" y="1173"/>
                    </a:lnTo>
                    <a:lnTo>
                      <a:pt x="1215" y="1173"/>
                    </a:lnTo>
                    <a:lnTo>
                      <a:pt x="1215" y="1175"/>
                    </a:lnTo>
                    <a:lnTo>
                      <a:pt x="1213" y="1175"/>
                    </a:lnTo>
                    <a:lnTo>
                      <a:pt x="1211" y="1175"/>
                    </a:lnTo>
                    <a:lnTo>
                      <a:pt x="1211" y="1177"/>
                    </a:lnTo>
                    <a:lnTo>
                      <a:pt x="1209" y="1177"/>
                    </a:lnTo>
                    <a:lnTo>
                      <a:pt x="1207" y="1175"/>
                    </a:lnTo>
                    <a:lnTo>
                      <a:pt x="1209" y="1175"/>
                    </a:lnTo>
                    <a:lnTo>
                      <a:pt x="1207" y="1175"/>
                    </a:lnTo>
                    <a:lnTo>
                      <a:pt x="1207" y="1173"/>
                    </a:lnTo>
                    <a:lnTo>
                      <a:pt x="1207" y="1171"/>
                    </a:lnTo>
                    <a:lnTo>
                      <a:pt x="1209" y="1173"/>
                    </a:lnTo>
                    <a:lnTo>
                      <a:pt x="1209" y="1171"/>
                    </a:lnTo>
                    <a:lnTo>
                      <a:pt x="1211" y="1171"/>
                    </a:lnTo>
                    <a:lnTo>
                      <a:pt x="1211" y="1169"/>
                    </a:lnTo>
                    <a:lnTo>
                      <a:pt x="1213" y="1169"/>
                    </a:lnTo>
                    <a:lnTo>
                      <a:pt x="1211" y="1169"/>
                    </a:lnTo>
                    <a:lnTo>
                      <a:pt x="1213" y="1169"/>
                    </a:lnTo>
                    <a:lnTo>
                      <a:pt x="1215" y="1169"/>
                    </a:lnTo>
                    <a:lnTo>
                      <a:pt x="1213" y="1167"/>
                    </a:lnTo>
                    <a:lnTo>
                      <a:pt x="1215" y="1165"/>
                    </a:lnTo>
                    <a:lnTo>
                      <a:pt x="1213" y="1165"/>
                    </a:lnTo>
                    <a:lnTo>
                      <a:pt x="1211" y="1169"/>
                    </a:lnTo>
                    <a:lnTo>
                      <a:pt x="1209" y="1169"/>
                    </a:lnTo>
                    <a:lnTo>
                      <a:pt x="1209" y="1171"/>
                    </a:lnTo>
                    <a:lnTo>
                      <a:pt x="1207" y="1169"/>
                    </a:lnTo>
                    <a:lnTo>
                      <a:pt x="1207" y="1167"/>
                    </a:lnTo>
                    <a:lnTo>
                      <a:pt x="1205" y="1169"/>
                    </a:lnTo>
                    <a:lnTo>
                      <a:pt x="1205" y="1167"/>
                    </a:lnTo>
                    <a:lnTo>
                      <a:pt x="1207" y="1167"/>
                    </a:lnTo>
                    <a:lnTo>
                      <a:pt x="1209" y="1165"/>
                    </a:lnTo>
                    <a:lnTo>
                      <a:pt x="1209" y="1164"/>
                    </a:lnTo>
                    <a:lnTo>
                      <a:pt x="1213" y="1164"/>
                    </a:lnTo>
                    <a:lnTo>
                      <a:pt x="1209" y="1164"/>
                    </a:lnTo>
                    <a:lnTo>
                      <a:pt x="1207" y="1165"/>
                    </a:lnTo>
                    <a:lnTo>
                      <a:pt x="1203" y="1165"/>
                    </a:lnTo>
                    <a:lnTo>
                      <a:pt x="1203" y="1162"/>
                    </a:lnTo>
                    <a:lnTo>
                      <a:pt x="1201" y="1162"/>
                    </a:lnTo>
                    <a:lnTo>
                      <a:pt x="1203" y="1160"/>
                    </a:lnTo>
                    <a:lnTo>
                      <a:pt x="1203" y="1156"/>
                    </a:lnTo>
                    <a:lnTo>
                      <a:pt x="1211" y="1152"/>
                    </a:lnTo>
                    <a:lnTo>
                      <a:pt x="1215" y="1154"/>
                    </a:lnTo>
                    <a:lnTo>
                      <a:pt x="1213" y="1152"/>
                    </a:lnTo>
                    <a:lnTo>
                      <a:pt x="1213" y="1148"/>
                    </a:lnTo>
                    <a:lnTo>
                      <a:pt x="1215" y="1146"/>
                    </a:lnTo>
                    <a:lnTo>
                      <a:pt x="1213" y="1146"/>
                    </a:lnTo>
                    <a:lnTo>
                      <a:pt x="1215" y="1145"/>
                    </a:lnTo>
                    <a:lnTo>
                      <a:pt x="1217" y="1143"/>
                    </a:lnTo>
                    <a:lnTo>
                      <a:pt x="1217" y="1141"/>
                    </a:lnTo>
                    <a:lnTo>
                      <a:pt x="1219" y="1141"/>
                    </a:lnTo>
                    <a:lnTo>
                      <a:pt x="1220" y="1139"/>
                    </a:lnTo>
                    <a:lnTo>
                      <a:pt x="1219" y="1139"/>
                    </a:lnTo>
                    <a:lnTo>
                      <a:pt x="1217" y="1141"/>
                    </a:lnTo>
                    <a:lnTo>
                      <a:pt x="1215" y="1141"/>
                    </a:lnTo>
                    <a:lnTo>
                      <a:pt x="1213" y="1145"/>
                    </a:lnTo>
                    <a:lnTo>
                      <a:pt x="1213" y="1148"/>
                    </a:lnTo>
                    <a:lnTo>
                      <a:pt x="1211" y="1150"/>
                    </a:lnTo>
                    <a:lnTo>
                      <a:pt x="1209" y="1150"/>
                    </a:lnTo>
                    <a:lnTo>
                      <a:pt x="1205" y="1152"/>
                    </a:lnTo>
                    <a:lnTo>
                      <a:pt x="1205" y="1150"/>
                    </a:lnTo>
                    <a:lnTo>
                      <a:pt x="1205" y="1152"/>
                    </a:lnTo>
                    <a:lnTo>
                      <a:pt x="1203" y="1154"/>
                    </a:lnTo>
                    <a:lnTo>
                      <a:pt x="1198" y="1154"/>
                    </a:lnTo>
                    <a:lnTo>
                      <a:pt x="1196" y="1154"/>
                    </a:lnTo>
                    <a:lnTo>
                      <a:pt x="1194" y="1154"/>
                    </a:lnTo>
                    <a:lnTo>
                      <a:pt x="1194" y="1150"/>
                    </a:lnTo>
                    <a:lnTo>
                      <a:pt x="1196" y="1148"/>
                    </a:lnTo>
                    <a:lnTo>
                      <a:pt x="1198" y="1148"/>
                    </a:lnTo>
                    <a:lnTo>
                      <a:pt x="1199" y="1146"/>
                    </a:lnTo>
                    <a:lnTo>
                      <a:pt x="1199" y="1145"/>
                    </a:lnTo>
                    <a:lnTo>
                      <a:pt x="1199" y="1146"/>
                    </a:lnTo>
                    <a:lnTo>
                      <a:pt x="1199" y="1145"/>
                    </a:lnTo>
                    <a:lnTo>
                      <a:pt x="1201" y="1143"/>
                    </a:lnTo>
                    <a:lnTo>
                      <a:pt x="1201" y="1141"/>
                    </a:lnTo>
                    <a:lnTo>
                      <a:pt x="1201" y="1139"/>
                    </a:lnTo>
                    <a:lnTo>
                      <a:pt x="1201" y="1137"/>
                    </a:lnTo>
                    <a:lnTo>
                      <a:pt x="1201" y="1139"/>
                    </a:lnTo>
                    <a:lnTo>
                      <a:pt x="1201" y="1141"/>
                    </a:lnTo>
                    <a:lnTo>
                      <a:pt x="1201" y="1143"/>
                    </a:lnTo>
                    <a:lnTo>
                      <a:pt x="1198" y="1146"/>
                    </a:lnTo>
                    <a:lnTo>
                      <a:pt x="1194" y="1148"/>
                    </a:lnTo>
                    <a:lnTo>
                      <a:pt x="1192" y="1146"/>
                    </a:lnTo>
                    <a:lnTo>
                      <a:pt x="1192" y="1148"/>
                    </a:lnTo>
                    <a:lnTo>
                      <a:pt x="1192" y="1146"/>
                    </a:lnTo>
                    <a:lnTo>
                      <a:pt x="1190" y="1146"/>
                    </a:lnTo>
                    <a:lnTo>
                      <a:pt x="1192" y="1145"/>
                    </a:lnTo>
                    <a:lnTo>
                      <a:pt x="1190" y="1145"/>
                    </a:lnTo>
                    <a:lnTo>
                      <a:pt x="1190" y="1143"/>
                    </a:lnTo>
                    <a:lnTo>
                      <a:pt x="1192" y="1143"/>
                    </a:lnTo>
                    <a:lnTo>
                      <a:pt x="1190" y="1143"/>
                    </a:lnTo>
                    <a:lnTo>
                      <a:pt x="1188" y="1143"/>
                    </a:lnTo>
                    <a:lnTo>
                      <a:pt x="1186" y="1141"/>
                    </a:lnTo>
                    <a:lnTo>
                      <a:pt x="1188" y="1145"/>
                    </a:lnTo>
                    <a:lnTo>
                      <a:pt x="1186" y="1145"/>
                    </a:lnTo>
                    <a:lnTo>
                      <a:pt x="1186" y="1143"/>
                    </a:lnTo>
                    <a:lnTo>
                      <a:pt x="1186" y="1141"/>
                    </a:lnTo>
                    <a:lnTo>
                      <a:pt x="1186" y="1139"/>
                    </a:lnTo>
                    <a:lnTo>
                      <a:pt x="1184" y="1139"/>
                    </a:lnTo>
                    <a:lnTo>
                      <a:pt x="1186" y="1137"/>
                    </a:lnTo>
                    <a:lnTo>
                      <a:pt x="1184" y="1139"/>
                    </a:lnTo>
                    <a:lnTo>
                      <a:pt x="1182" y="1137"/>
                    </a:lnTo>
                    <a:lnTo>
                      <a:pt x="1184" y="1135"/>
                    </a:lnTo>
                    <a:lnTo>
                      <a:pt x="1182" y="1135"/>
                    </a:lnTo>
                    <a:lnTo>
                      <a:pt x="1180" y="1135"/>
                    </a:lnTo>
                    <a:lnTo>
                      <a:pt x="1182" y="1133"/>
                    </a:lnTo>
                    <a:lnTo>
                      <a:pt x="1180" y="1131"/>
                    </a:lnTo>
                    <a:lnTo>
                      <a:pt x="1182" y="1129"/>
                    </a:lnTo>
                    <a:lnTo>
                      <a:pt x="1180" y="1129"/>
                    </a:lnTo>
                    <a:lnTo>
                      <a:pt x="1177" y="1125"/>
                    </a:lnTo>
                    <a:lnTo>
                      <a:pt x="1175" y="1125"/>
                    </a:lnTo>
                    <a:lnTo>
                      <a:pt x="1178" y="1127"/>
                    </a:lnTo>
                    <a:lnTo>
                      <a:pt x="1180" y="1129"/>
                    </a:lnTo>
                    <a:lnTo>
                      <a:pt x="1178" y="1131"/>
                    </a:lnTo>
                    <a:lnTo>
                      <a:pt x="1177" y="1131"/>
                    </a:lnTo>
                    <a:lnTo>
                      <a:pt x="1175" y="1131"/>
                    </a:lnTo>
                    <a:lnTo>
                      <a:pt x="1177" y="1133"/>
                    </a:lnTo>
                    <a:lnTo>
                      <a:pt x="1175" y="1133"/>
                    </a:lnTo>
                    <a:lnTo>
                      <a:pt x="1175" y="1131"/>
                    </a:lnTo>
                    <a:lnTo>
                      <a:pt x="1173" y="1129"/>
                    </a:lnTo>
                    <a:lnTo>
                      <a:pt x="1171" y="1129"/>
                    </a:lnTo>
                    <a:lnTo>
                      <a:pt x="1171" y="1127"/>
                    </a:lnTo>
                    <a:lnTo>
                      <a:pt x="1169" y="1127"/>
                    </a:lnTo>
                    <a:lnTo>
                      <a:pt x="1171" y="1129"/>
                    </a:lnTo>
                    <a:lnTo>
                      <a:pt x="1169" y="1129"/>
                    </a:lnTo>
                    <a:lnTo>
                      <a:pt x="1169" y="1131"/>
                    </a:lnTo>
                    <a:lnTo>
                      <a:pt x="1167" y="1129"/>
                    </a:lnTo>
                    <a:lnTo>
                      <a:pt x="1169" y="1129"/>
                    </a:lnTo>
                    <a:lnTo>
                      <a:pt x="1167" y="1129"/>
                    </a:lnTo>
                    <a:lnTo>
                      <a:pt x="1163" y="1127"/>
                    </a:lnTo>
                    <a:lnTo>
                      <a:pt x="1167" y="1131"/>
                    </a:lnTo>
                    <a:lnTo>
                      <a:pt x="1173" y="1131"/>
                    </a:lnTo>
                    <a:lnTo>
                      <a:pt x="1175" y="1133"/>
                    </a:lnTo>
                    <a:lnTo>
                      <a:pt x="1173" y="1133"/>
                    </a:lnTo>
                    <a:lnTo>
                      <a:pt x="1177" y="1135"/>
                    </a:lnTo>
                    <a:lnTo>
                      <a:pt x="1175" y="1135"/>
                    </a:lnTo>
                    <a:lnTo>
                      <a:pt x="1175" y="1137"/>
                    </a:lnTo>
                    <a:lnTo>
                      <a:pt x="1177" y="1137"/>
                    </a:lnTo>
                    <a:lnTo>
                      <a:pt x="1175" y="1139"/>
                    </a:lnTo>
                    <a:lnTo>
                      <a:pt x="1173" y="1135"/>
                    </a:lnTo>
                    <a:lnTo>
                      <a:pt x="1175" y="1137"/>
                    </a:lnTo>
                    <a:lnTo>
                      <a:pt x="1173" y="1137"/>
                    </a:lnTo>
                    <a:lnTo>
                      <a:pt x="1173" y="1135"/>
                    </a:lnTo>
                    <a:lnTo>
                      <a:pt x="1171" y="1135"/>
                    </a:lnTo>
                    <a:lnTo>
                      <a:pt x="1173" y="1137"/>
                    </a:lnTo>
                    <a:lnTo>
                      <a:pt x="1175" y="1139"/>
                    </a:lnTo>
                    <a:lnTo>
                      <a:pt x="1177" y="1141"/>
                    </a:lnTo>
                    <a:lnTo>
                      <a:pt x="1175" y="1141"/>
                    </a:lnTo>
                    <a:lnTo>
                      <a:pt x="1175" y="1143"/>
                    </a:lnTo>
                    <a:lnTo>
                      <a:pt x="1173" y="1141"/>
                    </a:lnTo>
                    <a:lnTo>
                      <a:pt x="1173" y="1143"/>
                    </a:lnTo>
                    <a:lnTo>
                      <a:pt x="1173" y="1141"/>
                    </a:lnTo>
                    <a:lnTo>
                      <a:pt x="1171" y="1141"/>
                    </a:lnTo>
                    <a:lnTo>
                      <a:pt x="1171" y="1139"/>
                    </a:lnTo>
                    <a:lnTo>
                      <a:pt x="1171" y="1137"/>
                    </a:lnTo>
                    <a:lnTo>
                      <a:pt x="1169" y="1137"/>
                    </a:lnTo>
                    <a:lnTo>
                      <a:pt x="1167" y="1135"/>
                    </a:lnTo>
                    <a:lnTo>
                      <a:pt x="1165" y="1133"/>
                    </a:lnTo>
                    <a:lnTo>
                      <a:pt x="1167" y="1133"/>
                    </a:lnTo>
                    <a:lnTo>
                      <a:pt x="1167" y="1135"/>
                    </a:lnTo>
                    <a:lnTo>
                      <a:pt x="1165" y="1135"/>
                    </a:lnTo>
                    <a:lnTo>
                      <a:pt x="1165" y="1133"/>
                    </a:lnTo>
                    <a:lnTo>
                      <a:pt x="1163" y="1133"/>
                    </a:lnTo>
                    <a:lnTo>
                      <a:pt x="1165" y="1133"/>
                    </a:lnTo>
                    <a:lnTo>
                      <a:pt x="1163" y="1133"/>
                    </a:lnTo>
                    <a:lnTo>
                      <a:pt x="1163" y="1131"/>
                    </a:lnTo>
                    <a:lnTo>
                      <a:pt x="1161" y="1133"/>
                    </a:lnTo>
                    <a:lnTo>
                      <a:pt x="1163" y="1135"/>
                    </a:lnTo>
                    <a:lnTo>
                      <a:pt x="1163" y="1137"/>
                    </a:lnTo>
                    <a:lnTo>
                      <a:pt x="1167" y="1139"/>
                    </a:lnTo>
                    <a:lnTo>
                      <a:pt x="1167" y="1141"/>
                    </a:lnTo>
                    <a:lnTo>
                      <a:pt x="1165" y="1143"/>
                    </a:lnTo>
                    <a:lnTo>
                      <a:pt x="1167" y="1145"/>
                    </a:lnTo>
                    <a:lnTo>
                      <a:pt x="1167" y="1143"/>
                    </a:lnTo>
                    <a:lnTo>
                      <a:pt x="1169" y="1145"/>
                    </a:lnTo>
                    <a:lnTo>
                      <a:pt x="1171" y="1146"/>
                    </a:lnTo>
                    <a:lnTo>
                      <a:pt x="1175" y="1148"/>
                    </a:lnTo>
                    <a:lnTo>
                      <a:pt x="1175" y="1150"/>
                    </a:lnTo>
                    <a:lnTo>
                      <a:pt x="1175" y="1152"/>
                    </a:lnTo>
                    <a:lnTo>
                      <a:pt x="1175" y="1150"/>
                    </a:lnTo>
                    <a:lnTo>
                      <a:pt x="1177" y="1152"/>
                    </a:lnTo>
                    <a:lnTo>
                      <a:pt x="1175" y="1152"/>
                    </a:lnTo>
                    <a:lnTo>
                      <a:pt x="1175" y="1154"/>
                    </a:lnTo>
                    <a:lnTo>
                      <a:pt x="1175" y="1156"/>
                    </a:lnTo>
                    <a:lnTo>
                      <a:pt x="1173" y="1156"/>
                    </a:lnTo>
                    <a:lnTo>
                      <a:pt x="1171" y="1154"/>
                    </a:lnTo>
                    <a:lnTo>
                      <a:pt x="1171" y="1156"/>
                    </a:lnTo>
                    <a:lnTo>
                      <a:pt x="1169" y="1156"/>
                    </a:lnTo>
                    <a:lnTo>
                      <a:pt x="1167" y="1156"/>
                    </a:lnTo>
                    <a:lnTo>
                      <a:pt x="1167" y="1154"/>
                    </a:lnTo>
                    <a:lnTo>
                      <a:pt x="1167" y="1152"/>
                    </a:lnTo>
                    <a:lnTo>
                      <a:pt x="1165" y="1152"/>
                    </a:lnTo>
                    <a:lnTo>
                      <a:pt x="1165" y="1154"/>
                    </a:lnTo>
                    <a:lnTo>
                      <a:pt x="1165" y="1156"/>
                    </a:lnTo>
                    <a:lnTo>
                      <a:pt x="1165" y="1154"/>
                    </a:lnTo>
                    <a:lnTo>
                      <a:pt x="1165" y="1156"/>
                    </a:lnTo>
                    <a:lnTo>
                      <a:pt x="1167" y="1156"/>
                    </a:lnTo>
                    <a:lnTo>
                      <a:pt x="1165" y="1158"/>
                    </a:lnTo>
                    <a:lnTo>
                      <a:pt x="1165" y="1156"/>
                    </a:lnTo>
                    <a:lnTo>
                      <a:pt x="1163" y="1156"/>
                    </a:lnTo>
                    <a:lnTo>
                      <a:pt x="1163" y="1154"/>
                    </a:lnTo>
                    <a:lnTo>
                      <a:pt x="1161" y="1154"/>
                    </a:lnTo>
                    <a:lnTo>
                      <a:pt x="1163" y="1152"/>
                    </a:lnTo>
                    <a:lnTo>
                      <a:pt x="1161" y="1152"/>
                    </a:lnTo>
                    <a:lnTo>
                      <a:pt x="1159" y="1154"/>
                    </a:lnTo>
                    <a:lnTo>
                      <a:pt x="1158" y="1150"/>
                    </a:lnTo>
                    <a:lnTo>
                      <a:pt x="1158" y="1152"/>
                    </a:lnTo>
                    <a:lnTo>
                      <a:pt x="1159" y="1154"/>
                    </a:lnTo>
                    <a:lnTo>
                      <a:pt x="1158" y="1154"/>
                    </a:lnTo>
                    <a:lnTo>
                      <a:pt x="1158" y="1156"/>
                    </a:lnTo>
                    <a:lnTo>
                      <a:pt x="1159" y="1156"/>
                    </a:lnTo>
                    <a:lnTo>
                      <a:pt x="1159" y="1154"/>
                    </a:lnTo>
                    <a:lnTo>
                      <a:pt x="1159" y="1156"/>
                    </a:lnTo>
                    <a:lnTo>
                      <a:pt x="1159" y="1158"/>
                    </a:lnTo>
                    <a:lnTo>
                      <a:pt x="1159" y="1160"/>
                    </a:lnTo>
                    <a:lnTo>
                      <a:pt x="1161" y="1158"/>
                    </a:lnTo>
                    <a:lnTo>
                      <a:pt x="1161" y="1160"/>
                    </a:lnTo>
                    <a:lnTo>
                      <a:pt x="1159" y="1160"/>
                    </a:lnTo>
                    <a:lnTo>
                      <a:pt x="1158" y="1162"/>
                    </a:lnTo>
                    <a:lnTo>
                      <a:pt x="1159" y="1160"/>
                    </a:lnTo>
                    <a:lnTo>
                      <a:pt x="1161" y="1162"/>
                    </a:lnTo>
                    <a:lnTo>
                      <a:pt x="1163" y="1160"/>
                    </a:lnTo>
                    <a:lnTo>
                      <a:pt x="1163" y="1162"/>
                    </a:lnTo>
                    <a:lnTo>
                      <a:pt x="1165" y="1160"/>
                    </a:lnTo>
                    <a:lnTo>
                      <a:pt x="1165" y="1162"/>
                    </a:lnTo>
                    <a:lnTo>
                      <a:pt x="1163" y="1162"/>
                    </a:lnTo>
                    <a:lnTo>
                      <a:pt x="1163" y="1164"/>
                    </a:lnTo>
                    <a:lnTo>
                      <a:pt x="1161" y="1164"/>
                    </a:lnTo>
                    <a:lnTo>
                      <a:pt x="1163" y="1164"/>
                    </a:lnTo>
                    <a:lnTo>
                      <a:pt x="1165" y="1165"/>
                    </a:lnTo>
                    <a:lnTo>
                      <a:pt x="1163" y="1165"/>
                    </a:lnTo>
                    <a:lnTo>
                      <a:pt x="1165" y="1167"/>
                    </a:lnTo>
                    <a:lnTo>
                      <a:pt x="1163" y="1169"/>
                    </a:lnTo>
                    <a:lnTo>
                      <a:pt x="1163" y="1167"/>
                    </a:lnTo>
                    <a:lnTo>
                      <a:pt x="1161" y="1169"/>
                    </a:lnTo>
                    <a:lnTo>
                      <a:pt x="1163" y="1169"/>
                    </a:lnTo>
                    <a:lnTo>
                      <a:pt x="1161" y="1171"/>
                    </a:lnTo>
                    <a:lnTo>
                      <a:pt x="1163" y="1171"/>
                    </a:lnTo>
                    <a:lnTo>
                      <a:pt x="1165" y="1167"/>
                    </a:lnTo>
                    <a:lnTo>
                      <a:pt x="1167" y="1167"/>
                    </a:lnTo>
                    <a:lnTo>
                      <a:pt x="1167" y="1165"/>
                    </a:lnTo>
                    <a:lnTo>
                      <a:pt x="1169" y="1165"/>
                    </a:lnTo>
                    <a:lnTo>
                      <a:pt x="1169" y="1167"/>
                    </a:lnTo>
                    <a:lnTo>
                      <a:pt x="1169" y="1165"/>
                    </a:lnTo>
                    <a:lnTo>
                      <a:pt x="1171" y="1167"/>
                    </a:lnTo>
                    <a:lnTo>
                      <a:pt x="1171" y="1165"/>
                    </a:lnTo>
                    <a:lnTo>
                      <a:pt x="1173" y="1165"/>
                    </a:lnTo>
                    <a:lnTo>
                      <a:pt x="1173" y="1167"/>
                    </a:lnTo>
                    <a:lnTo>
                      <a:pt x="1175" y="1165"/>
                    </a:lnTo>
                    <a:lnTo>
                      <a:pt x="1175" y="1169"/>
                    </a:lnTo>
                    <a:lnTo>
                      <a:pt x="1173" y="1169"/>
                    </a:lnTo>
                    <a:lnTo>
                      <a:pt x="1175" y="1169"/>
                    </a:lnTo>
                    <a:lnTo>
                      <a:pt x="1173" y="1171"/>
                    </a:lnTo>
                    <a:lnTo>
                      <a:pt x="1173" y="1169"/>
                    </a:lnTo>
                    <a:lnTo>
                      <a:pt x="1171" y="1169"/>
                    </a:lnTo>
                    <a:lnTo>
                      <a:pt x="1171" y="1171"/>
                    </a:lnTo>
                    <a:lnTo>
                      <a:pt x="1173" y="1171"/>
                    </a:lnTo>
                    <a:lnTo>
                      <a:pt x="1171" y="1171"/>
                    </a:lnTo>
                    <a:lnTo>
                      <a:pt x="1173" y="1173"/>
                    </a:lnTo>
                    <a:lnTo>
                      <a:pt x="1173" y="1175"/>
                    </a:lnTo>
                    <a:lnTo>
                      <a:pt x="1173" y="1173"/>
                    </a:lnTo>
                    <a:lnTo>
                      <a:pt x="1175" y="1173"/>
                    </a:lnTo>
                    <a:lnTo>
                      <a:pt x="1177" y="1173"/>
                    </a:lnTo>
                    <a:lnTo>
                      <a:pt x="1177" y="1175"/>
                    </a:lnTo>
                    <a:lnTo>
                      <a:pt x="1177" y="1177"/>
                    </a:lnTo>
                    <a:lnTo>
                      <a:pt x="1173" y="1177"/>
                    </a:lnTo>
                    <a:lnTo>
                      <a:pt x="1173" y="1179"/>
                    </a:lnTo>
                    <a:lnTo>
                      <a:pt x="1171" y="1179"/>
                    </a:lnTo>
                    <a:lnTo>
                      <a:pt x="1173" y="1179"/>
                    </a:lnTo>
                    <a:lnTo>
                      <a:pt x="1175" y="1177"/>
                    </a:lnTo>
                    <a:lnTo>
                      <a:pt x="1175" y="1179"/>
                    </a:lnTo>
                    <a:lnTo>
                      <a:pt x="1177" y="1179"/>
                    </a:lnTo>
                    <a:lnTo>
                      <a:pt x="1175" y="1179"/>
                    </a:lnTo>
                    <a:lnTo>
                      <a:pt x="1177" y="1181"/>
                    </a:lnTo>
                    <a:lnTo>
                      <a:pt x="1175" y="1181"/>
                    </a:lnTo>
                    <a:lnTo>
                      <a:pt x="1177" y="1181"/>
                    </a:lnTo>
                    <a:lnTo>
                      <a:pt x="1177" y="1183"/>
                    </a:lnTo>
                    <a:lnTo>
                      <a:pt x="1175" y="1183"/>
                    </a:lnTo>
                    <a:lnTo>
                      <a:pt x="1175" y="1185"/>
                    </a:lnTo>
                    <a:lnTo>
                      <a:pt x="1177" y="1183"/>
                    </a:lnTo>
                    <a:lnTo>
                      <a:pt x="1178" y="1183"/>
                    </a:lnTo>
                    <a:lnTo>
                      <a:pt x="1178" y="1185"/>
                    </a:lnTo>
                    <a:lnTo>
                      <a:pt x="1178" y="1183"/>
                    </a:lnTo>
                    <a:lnTo>
                      <a:pt x="1178" y="1186"/>
                    </a:lnTo>
                    <a:lnTo>
                      <a:pt x="1177" y="1186"/>
                    </a:lnTo>
                    <a:lnTo>
                      <a:pt x="1177" y="1188"/>
                    </a:lnTo>
                    <a:lnTo>
                      <a:pt x="1178" y="1186"/>
                    </a:lnTo>
                    <a:lnTo>
                      <a:pt x="1178" y="1188"/>
                    </a:lnTo>
                    <a:lnTo>
                      <a:pt x="1180" y="1186"/>
                    </a:lnTo>
                    <a:lnTo>
                      <a:pt x="1180" y="1185"/>
                    </a:lnTo>
                    <a:lnTo>
                      <a:pt x="1182" y="1185"/>
                    </a:lnTo>
                    <a:lnTo>
                      <a:pt x="1182" y="1186"/>
                    </a:lnTo>
                    <a:lnTo>
                      <a:pt x="1180" y="1186"/>
                    </a:lnTo>
                    <a:lnTo>
                      <a:pt x="1180" y="1188"/>
                    </a:lnTo>
                    <a:lnTo>
                      <a:pt x="1178" y="1188"/>
                    </a:lnTo>
                    <a:lnTo>
                      <a:pt x="1180" y="1190"/>
                    </a:lnTo>
                    <a:lnTo>
                      <a:pt x="1180" y="1192"/>
                    </a:lnTo>
                    <a:lnTo>
                      <a:pt x="1180" y="1190"/>
                    </a:lnTo>
                    <a:lnTo>
                      <a:pt x="1182" y="1188"/>
                    </a:lnTo>
                    <a:lnTo>
                      <a:pt x="1180" y="1190"/>
                    </a:lnTo>
                    <a:lnTo>
                      <a:pt x="1182" y="1190"/>
                    </a:lnTo>
                    <a:lnTo>
                      <a:pt x="1180" y="1190"/>
                    </a:lnTo>
                    <a:lnTo>
                      <a:pt x="1182" y="1190"/>
                    </a:lnTo>
                    <a:lnTo>
                      <a:pt x="1182" y="1192"/>
                    </a:lnTo>
                    <a:lnTo>
                      <a:pt x="1180" y="1192"/>
                    </a:lnTo>
                    <a:lnTo>
                      <a:pt x="1180" y="1194"/>
                    </a:lnTo>
                    <a:lnTo>
                      <a:pt x="1182" y="1192"/>
                    </a:lnTo>
                    <a:lnTo>
                      <a:pt x="1182" y="1194"/>
                    </a:lnTo>
                    <a:lnTo>
                      <a:pt x="1182" y="1196"/>
                    </a:lnTo>
                    <a:lnTo>
                      <a:pt x="1182" y="1198"/>
                    </a:lnTo>
                    <a:lnTo>
                      <a:pt x="1182" y="1200"/>
                    </a:lnTo>
                    <a:lnTo>
                      <a:pt x="1184" y="1200"/>
                    </a:lnTo>
                    <a:lnTo>
                      <a:pt x="1182" y="1200"/>
                    </a:lnTo>
                    <a:lnTo>
                      <a:pt x="1182" y="1202"/>
                    </a:lnTo>
                    <a:lnTo>
                      <a:pt x="1182" y="1200"/>
                    </a:lnTo>
                    <a:lnTo>
                      <a:pt x="1184" y="1198"/>
                    </a:lnTo>
                    <a:lnTo>
                      <a:pt x="1182" y="1198"/>
                    </a:lnTo>
                    <a:lnTo>
                      <a:pt x="1184" y="1194"/>
                    </a:lnTo>
                    <a:lnTo>
                      <a:pt x="1184" y="1190"/>
                    </a:lnTo>
                    <a:lnTo>
                      <a:pt x="1182" y="1190"/>
                    </a:lnTo>
                    <a:lnTo>
                      <a:pt x="1184" y="1190"/>
                    </a:lnTo>
                    <a:lnTo>
                      <a:pt x="1186" y="1190"/>
                    </a:lnTo>
                    <a:lnTo>
                      <a:pt x="1186" y="1194"/>
                    </a:lnTo>
                    <a:lnTo>
                      <a:pt x="1186" y="1192"/>
                    </a:lnTo>
                    <a:lnTo>
                      <a:pt x="1186" y="1194"/>
                    </a:lnTo>
                    <a:lnTo>
                      <a:pt x="1188" y="1194"/>
                    </a:lnTo>
                    <a:lnTo>
                      <a:pt x="1190" y="1194"/>
                    </a:lnTo>
                    <a:lnTo>
                      <a:pt x="1188" y="1196"/>
                    </a:lnTo>
                    <a:lnTo>
                      <a:pt x="1190" y="1196"/>
                    </a:lnTo>
                    <a:lnTo>
                      <a:pt x="1190" y="1194"/>
                    </a:lnTo>
                    <a:lnTo>
                      <a:pt x="1192" y="1196"/>
                    </a:lnTo>
                    <a:lnTo>
                      <a:pt x="1192" y="1198"/>
                    </a:lnTo>
                    <a:lnTo>
                      <a:pt x="1192" y="1200"/>
                    </a:lnTo>
                    <a:lnTo>
                      <a:pt x="1188" y="1200"/>
                    </a:lnTo>
                    <a:lnTo>
                      <a:pt x="1186" y="1202"/>
                    </a:lnTo>
                    <a:lnTo>
                      <a:pt x="1188" y="1206"/>
                    </a:lnTo>
                    <a:lnTo>
                      <a:pt x="1188" y="1204"/>
                    </a:lnTo>
                    <a:lnTo>
                      <a:pt x="1188" y="1202"/>
                    </a:lnTo>
                    <a:lnTo>
                      <a:pt x="1188" y="1200"/>
                    </a:lnTo>
                    <a:lnTo>
                      <a:pt x="1192" y="1200"/>
                    </a:lnTo>
                    <a:lnTo>
                      <a:pt x="1190" y="1202"/>
                    </a:lnTo>
                    <a:lnTo>
                      <a:pt x="1192" y="1202"/>
                    </a:lnTo>
                    <a:lnTo>
                      <a:pt x="1190" y="1202"/>
                    </a:lnTo>
                    <a:lnTo>
                      <a:pt x="1192" y="1202"/>
                    </a:lnTo>
                    <a:lnTo>
                      <a:pt x="1192" y="1200"/>
                    </a:lnTo>
                    <a:lnTo>
                      <a:pt x="1194" y="1196"/>
                    </a:lnTo>
                    <a:lnTo>
                      <a:pt x="1194" y="1198"/>
                    </a:lnTo>
                    <a:lnTo>
                      <a:pt x="1194" y="1200"/>
                    </a:lnTo>
                    <a:lnTo>
                      <a:pt x="1194" y="1202"/>
                    </a:lnTo>
                    <a:lnTo>
                      <a:pt x="1194" y="1200"/>
                    </a:lnTo>
                    <a:lnTo>
                      <a:pt x="1196" y="1200"/>
                    </a:lnTo>
                    <a:lnTo>
                      <a:pt x="1196" y="1202"/>
                    </a:lnTo>
                    <a:lnTo>
                      <a:pt x="1196" y="1204"/>
                    </a:lnTo>
                    <a:lnTo>
                      <a:pt x="1198" y="1206"/>
                    </a:lnTo>
                    <a:lnTo>
                      <a:pt x="1196" y="1202"/>
                    </a:lnTo>
                    <a:lnTo>
                      <a:pt x="1196" y="1200"/>
                    </a:lnTo>
                    <a:lnTo>
                      <a:pt x="1198" y="1200"/>
                    </a:lnTo>
                    <a:lnTo>
                      <a:pt x="1196" y="1198"/>
                    </a:lnTo>
                    <a:lnTo>
                      <a:pt x="1196" y="1196"/>
                    </a:lnTo>
                    <a:lnTo>
                      <a:pt x="1196" y="1194"/>
                    </a:lnTo>
                    <a:lnTo>
                      <a:pt x="1196" y="1196"/>
                    </a:lnTo>
                    <a:lnTo>
                      <a:pt x="1198" y="1196"/>
                    </a:lnTo>
                    <a:lnTo>
                      <a:pt x="1198" y="1198"/>
                    </a:lnTo>
                    <a:lnTo>
                      <a:pt x="1199" y="1196"/>
                    </a:lnTo>
                    <a:lnTo>
                      <a:pt x="1199" y="1198"/>
                    </a:lnTo>
                    <a:lnTo>
                      <a:pt x="1198" y="1200"/>
                    </a:lnTo>
                    <a:lnTo>
                      <a:pt x="1199" y="1204"/>
                    </a:lnTo>
                    <a:lnTo>
                      <a:pt x="1199" y="1200"/>
                    </a:lnTo>
                    <a:lnTo>
                      <a:pt x="1201" y="1202"/>
                    </a:lnTo>
                    <a:lnTo>
                      <a:pt x="1201" y="1204"/>
                    </a:lnTo>
                    <a:lnTo>
                      <a:pt x="1199" y="1206"/>
                    </a:lnTo>
                    <a:lnTo>
                      <a:pt x="1198" y="1206"/>
                    </a:lnTo>
                    <a:lnTo>
                      <a:pt x="1199" y="1207"/>
                    </a:lnTo>
                    <a:lnTo>
                      <a:pt x="1199" y="1209"/>
                    </a:lnTo>
                    <a:lnTo>
                      <a:pt x="1203" y="1209"/>
                    </a:lnTo>
                    <a:lnTo>
                      <a:pt x="1201" y="1211"/>
                    </a:lnTo>
                    <a:lnTo>
                      <a:pt x="1203" y="1209"/>
                    </a:lnTo>
                    <a:lnTo>
                      <a:pt x="1205" y="1207"/>
                    </a:lnTo>
                    <a:lnTo>
                      <a:pt x="1205" y="1209"/>
                    </a:lnTo>
                    <a:lnTo>
                      <a:pt x="1203" y="1211"/>
                    </a:lnTo>
                    <a:lnTo>
                      <a:pt x="1203" y="1213"/>
                    </a:lnTo>
                    <a:lnTo>
                      <a:pt x="1203" y="1211"/>
                    </a:lnTo>
                    <a:lnTo>
                      <a:pt x="1205" y="1209"/>
                    </a:lnTo>
                    <a:lnTo>
                      <a:pt x="1205" y="1211"/>
                    </a:lnTo>
                    <a:lnTo>
                      <a:pt x="1205" y="1209"/>
                    </a:lnTo>
                    <a:lnTo>
                      <a:pt x="1207" y="1207"/>
                    </a:lnTo>
                    <a:lnTo>
                      <a:pt x="1207" y="1209"/>
                    </a:lnTo>
                    <a:lnTo>
                      <a:pt x="1205" y="1211"/>
                    </a:lnTo>
                    <a:lnTo>
                      <a:pt x="1207" y="1209"/>
                    </a:lnTo>
                    <a:lnTo>
                      <a:pt x="1209" y="1209"/>
                    </a:lnTo>
                    <a:lnTo>
                      <a:pt x="1207" y="1211"/>
                    </a:lnTo>
                    <a:lnTo>
                      <a:pt x="1209" y="1209"/>
                    </a:lnTo>
                    <a:lnTo>
                      <a:pt x="1209" y="1211"/>
                    </a:lnTo>
                    <a:lnTo>
                      <a:pt x="1209" y="1213"/>
                    </a:lnTo>
                    <a:lnTo>
                      <a:pt x="1207" y="1213"/>
                    </a:lnTo>
                    <a:lnTo>
                      <a:pt x="1205" y="1213"/>
                    </a:lnTo>
                    <a:lnTo>
                      <a:pt x="1207" y="1215"/>
                    </a:lnTo>
                    <a:lnTo>
                      <a:pt x="1205" y="1215"/>
                    </a:lnTo>
                    <a:lnTo>
                      <a:pt x="1207" y="1215"/>
                    </a:lnTo>
                    <a:lnTo>
                      <a:pt x="1207" y="1217"/>
                    </a:lnTo>
                    <a:lnTo>
                      <a:pt x="1205" y="1217"/>
                    </a:lnTo>
                    <a:lnTo>
                      <a:pt x="1201" y="1215"/>
                    </a:lnTo>
                    <a:lnTo>
                      <a:pt x="1199" y="1217"/>
                    </a:lnTo>
                    <a:lnTo>
                      <a:pt x="1203" y="1217"/>
                    </a:lnTo>
                    <a:lnTo>
                      <a:pt x="1203" y="1219"/>
                    </a:lnTo>
                    <a:lnTo>
                      <a:pt x="1201" y="1219"/>
                    </a:lnTo>
                    <a:lnTo>
                      <a:pt x="1205" y="1219"/>
                    </a:lnTo>
                    <a:lnTo>
                      <a:pt x="1203" y="1221"/>
                    </a:lnTo>
                    <a:lnTo>
                      <a:pt x="1205" y="1219"/>
                    </a:lnTo>
                    <a:lnTo>
                      <a:pt x="1207" y="1221"/>
                    </a:lnTo>
                    <a:lnTo>
                      <a:pt x="1205" y="1221"/>
                    </a:lnTo>
                    <a:lnTo>
                      <a:pt x="1205" y="1223"/>
                    </a:lnTo>
                    <a:lnTo>
                      <a:pt x="1203" y="1223"/>
                    </a:lnTo>
                    <a:lnTo>
                      <a:pt x="1205" y="1223"/>
                    </a:lnTo>
                    <a:lnTo>
                      <a:pt x="1205" y="1221"/>
                    </a:lnTo>
                    <a:lnTo>
                      <a:pt x="1207" y="1223"/>
                    </a:lnTo>
                    <a:lnTo>
                      <a:pt x="1207" y="1225"/>
                    </a:lnTo>
                    <a:lnTo>
                      <a:pt x="1209" y="1225"/>
                    </a:lnTo>
                    <a:lnTo>
                      <a:pt x="1207" y="1227"/>
                    </a:lnTo>
                    <a:lnTo>
                      <a:pt x="1209" y="1225"/>
                    </a:lnTo>
                    <a:lnTo>
                      <a:pt x="1209" y="1227"/>
                    </a:lnTo>
                    <a:lnTo>
                      <a:pt x="1207" y="1227"/>
                    </a:lnTo>
                    <a:lnTo>
                      <a:pt x="1207" y="1228"/>
                    </a:lnTo>
                    <a:lnTo>
                      <a:pt x="1209" y="1228"/>
                    </a:lnTo>
                    <a:lnTo>
                      <a:pt x="1211" y="1227"/>
                    </a:lnTo>
                    <a:lnTo>
                      <a:pt x="1213" y="1228"/>
                    </a:lnTo>
                    <a:lnTo>
                      <a:pt x="1213" y="1227"/>
                    </a:lnTo>
                    <a:lnTo>
                      <a:pt x="1215" y="1228"/>
                    </a:lnTo>
                    <a:lnTo>
                      <a:pt x="1215" y="1227"/>
                    </a:lnTo>
                    <a:lnTo>
                      <a:pt x="1217" y="1228"/>
                    </a:lnTo>
                    <a:lnTo>
                      <a:pt x="1215" y="1228"/>
                    </a:lnTo>
                    <a:lnTo>
                      <a:pt x="1215" y="1230"/>
                    </a:lnTo>
                    <a:lnTo>
                      <a:pt x="1213" y="1230"/>
                    </a:lnTo>
                    <a:lnTo>
                      <a:pt x="1211" y="1232"/>
                    </a:lnTo>
                    <a:lnTo>
                      <a:pt x="1213" y="1232"/>
                    </a:lnTo>
                    <a:lnTo>
                      <a:pt x="1211" y="1234"/>
                    </a:lnTo>
                    <a:lnTo>
                      <a:pt x="1211" y="1232"/>
                    </a:lnTo>
                    <a:lnTo>
                      <a:pt x="1211" y="1234"/>
                    </a:lnTo>
                    <a:lnTo>
                      <a:pt x="1211" y="1236"/>
                    </a:lnTo>
                    <a:lnTo>
                      <a:pt x="1213" y="1236"/>
                    </a:lnTo>
                    <a:lnTo>
                      <a:pt x="1215" y="1238"/>
                    </a:lnTo>
                    <a:lnTo>
                      <a:pt x="1215" y="1236"/>
                    </a:lnTo>
                    <a:lnTo>
                      <a:pt x="1217" y="1238"/>
                    </a:lnTo>
                    <a:lnTo>
                      <a:pt x="1215" y="1238"/>
                    </a:lnTo>
                    <a:lnTo>
                      <a:pt x="1217" y="1238"/>
                    </a:lnTo>
                    <a:lnTo>
                      <a:pt x="1219" y="1240"/>
                    </a:lnTo>
                    <a:lnTo>
                      <a:pt x="1219" y="1242"/>
                    </a:lnTo>
                    <a:lnTo>
                      <a:pt x="1217" y="1242"/>
                    </a:lnTo>
                    <a:lnTo>
                      <a:pt x="1215" y="1240"/>
                    </a:lnTo>
                    <a:lnTo>
                      <a:pt x="1219" y="1244"/>
                    </a:lnTo>
                    <a:lnTo>
                      <a:pt x="1217" y="1246"/>
                    </a:lnTo>
                    <a:lnTo>
                      <a:pt x="1219" y="1248"/>
                    </a:lnTo>
                    <a:lnTo>
                      <a:pt x="1217" y="1248"/>
                    </a:lnTo>
                    <a:lnTo>
                      <a:pt x="1219" y="1248"/>
                    </a:lnTo>
                    <a:lnTo>
                      <a:pt x="1219" y="1249"/>
                    </a:lnTo>
                    <a:lnTo>
                      <a:pt x="1217" y="1249"/>
                    </a:lnTo>
                    <a:lnTo>
                      <a:pt x="1215" y="1249"/>
                    </a:lnTo>
                    <a:lnTo>
                      <a:pt x="1217" y="1249"/>
                    </a:lnTo>
                    <a:lnTo>
                      <a:pt x="1219" y="1249"/>
                    </a:lnTo>
                    <a:lnTo>
                      <a:pt x="1219" y="1253"/>
                    </a:lnTo>
                    <a:lnTo>
                      <a:pt x="1217" y="1251"/>
                    </a:lnTo>
                    <a:lnTo>
                      <a:pt x="1219" y="1253"/>
                    </a:lnTo>
                    <a:lnTo>
                      <a:pt x="1217" y="1253"/>
                    </a:lnTo>
                    <a:lnTo>
                      <a:pt x="1217" y="1251"/>
                    </a:lnTo>
                    <a:lnTo>
                      <a:pt x="1217" y="1253"/>
                    </a:lnTo>
                    <a:lnTo>
                      <a:pt x="1219" y="1253"/>
                    </a:lnTo>
                    <a:lnTo>
                      <a:pt x="1217" y="1255"/>
                    </a:lnTo>
                    <a:lnTo>
                      <a:pt x="1215" y="1253"/>
                    </a:lnTo>
                    <a:lnTo>
                      <a:pt x="1215" y="1251"/>
                    </a:lnTo>
                    <a:lnTo>
                      <a:pt x="1213" y="1251"/>
                    </a:lnTo>
                    <a:lnTo>
                      <a:pt x="1215" y="1251"/>
                    </a:lnTo>
                    <a:lnTo>
                      <a:pt x="1213" y="1251"/>
                    </a:lnTo>
                    <a:lnTo>
                      <a:pt x="1215" y="1249"/>
                    </a:lnTo>
                    <a:lnTo>
                      <a:pt x="1213" y="1249"/>
                    </a:lnTo>
                    <a:lnTo>
                      <a:pt x="1213" y="1244"/>
                    </a:lnTo>
                    <a:lnTo>
                      <a:pt x="1211" y="1244"/>
                    </a:lnTo>
                    <a:lnTo>
                      <a:pt x="1211" y="1240"/>
                    </a:lnTo>
                    <a:lnTo>
                      <a:pt x="1209" y="1240"/>
                    </a:lnTo>
                    <a:lnTo>
                      <a:pt x="1209" y="1238"/>
                    </a:lnTo>
                    <a:lnTo>
                      <a:pt x="1207" y="1238"/>
                    </a:lnTo>
                    <a:lnTo>
                      <a:pt x="1207" y="1236"/>
                    </a:lnTo>
                    <a:lnTo>
                      <a:pt x="1207" y="1234"/>
                    </a:lnTo>
                    <a:lnTo>
                      <a:pt x="1205" y="1234"/>
                    </a:lnTo>
                    <a:lnTo>
                      <a:pt x="1205" y="1236"/>
                    </a:lnTo>
                    <a:lnTo>
                      <a:pt x="1205" y="1234"/>
                    </a:lnTo>
                    <a:lnTo>
                      <a:pt x="1205" y="1236"/>
                    </a:lnTo>
                    <a:lnTo>
                      <a:pt x="1207" y="1236"/>
                    </a:lnTo>
                    <a:lnTo>
                      <a:pt x="1209" y="1240"/>
                    </a:lnTo>
                    <a:lnTo>
                      <a:pt x="1211" y="1242"/>
                    </a:lnTo>
                    <a:lnTo>
                      <a:pt x="1209" y="1244"/>
                    </a:lnTo>
                    <a:lnTo>
                      <a:pt x="1209" y="1248"/>
                    </a:lnTo>
                    <a:lnTo>
                      <a:pt x="1207" y="1248"/>
                    </a:lnTo>
                    <a:lnTo>
                      <a:pt x="1209" y="1248"/>
                    </a:lnTo>
                    <a:lnTo>
                      <a:pt x="1209" y="1249"/>
                    </a:lnTo>
                    <a:lnTo>
                      <a:pt x="1207" y="1249"/>
                    </a:lnTo>
                    <a:lnTo>
                      <a:pt x="1209" y="1249"/>
                    </a:lnTo>
                    <a:lnTo>
                      <a:pt x="1211" y="1249"/>
                    </a:lnTo>
                    <a:lnTo>
                      <a:pt x="1211" y="1251"/>
                    </a:lnTo>
                    <a:lnTo>
                      <a:pt x="1211" y="1253"/>
                    </a:lnTo>
                    <a:lnTo>
                      <a:pt x="1211" y="1255"/>
                    </a:lnTo>
                    <a:lnTo>
                      <a:pt x="1209" y="1253"/>
                    </a:lnTo>
                    <a:lnTo>
                      <a:pt x="1211" y="1255"/>
                    </a:lnTo>
                    <a:lnTo>
                      <a:pt x="1209" y="1255"/>
                    </a:lnTo>
                    <a:lnTo>
                      <a:pt x="1207" y="1253"/>
                    </a:lnTo>
                    <a:lnTo>
                      <a:pt x="1209" y="1255"/>
                    </a:lnTo>
                    <a:lnTo>
                      <a:pt x="1211" y="1255"/>
                    </a:lnTo>
                    <a:lnTo>
                      <a:pt x="1211" y="1257"/>
                    </a:lnTo>
                    <a:lnTo>
                      <a:pt x="1209" y="1255"/>
                    </a:lnTo>
                    <a:lnTo>
                      <a:pt x="1209" y="1257"/>
                    </a:lnTo>
                    <a:lnTo>
                      <a:pt x="1211" y="1257"/>
                    </a:lnTo>
                    <a:lnTo>
                      <a:pt x="1213" y="1257"/>
                    </a:lnTo>
                    <a:lnTo>
                      <a:pt x="1211" y="1257"/>
                    </a:lnTo>
                    <a:lnTo>
                      <a:pt x="1211" y="1259"/>
                    </a:lnTo>
                    <a:lnTo>
                      <a:pt x="1213" y="1259"/>
                    </a:lnTo>
                    <a:lnTo>
                      <a:pt x="1215" y="1261"/>
                    </a:lnTo>
                    <a:lnTo>
                      <a:pt x="1211" y="1261"/>
                    </a:lnTo>
                    <a:lnTo>
                      <a:pt x="1213" y="1261"/>
                    </a:lnTo>
                    <a:lnTo>
                      <a:pt x="1211" y="1261"/>
                    </a:lnTo>
                    <a:lnTo>
                      <a:pt x="1213" y="1261"/>
                    </a:lnTo>
                    <a:lnTo>
                      <a:pt x="1215" y="1261"/>
                    </a:lnTo>
                    <a:lnTo>
                      <a:pt x="1213" y="1263"/>
                    </a:lnTo>
                    <a:lnTo>
                      <a:pt x="1213" y="1261"/>
                    </a:lnTo>
                    <a:lnTo>
                      <a:pt x="1213" y="1263"/>
                    </a:lnTo>
                    <a:lnTo>
                      <a:pt x="1213" y="1265"/>
                    </a:lnTo>
                    <a:lnTo>
                      <a:pt x="1215" y="1265"/>
                    </a:lnTo>
                    <a:lnTo>
                      <a:pt x="1215" y="1267"/>
                    </a:lnTo>
                    <a:lnTo>
                      <a:pt x="1215" y="1265"/>
                    </a:lnTo>
                    <a:lnTo>
                      <a:pt x="1215" y="1267"/>
                    </a:lnTo>
                    <a:lnTo>
                      <a:pt x="1217" y="1267"/>
                    </a:lnTo>
                    <a:lnTo>
                      <a:pt x="1215" y="1267"/>
                    </a:lnTo>
                    <a:lnTo>
                      <a:pt x="1217" y="1267"/>
                    </a:lnTo>
                    <a:lnTo>
                      <a:pt x="1215" y="1267"/>
                    </a:lnTo>
                    <a:lnTo>
                      <a:pt x="1215" y="1269"/>
                    </a:lnTo>
                    <a:lnTo>
                      <a:pt x="1213" y="1269"/>
                    </a:lnTo>
                    <a:lnTo>
                      <a:pt x="1215" y="1269"/>
                    </a:lnTo>
                    <a:lnTo>
                      <a:pt x="1213" y="1269"/>
                    </a:lnTo>
                    <a:lnTo>
                      <a:pt x="1211" y="1269"/>
                    </a:lnTo>
                    <a:lnTo>
                      <a:pt x="1211" y="1267"/>
                    </a:lnTo>
                    <a:lnTo>
                      <a:pt x="1209" y="1265"/>
                    </a:lnTo>
                    <a:lnTo>
                      <a:pt x="1209" y="1263"/>
                    </a:lnTo>
                    <a:lnTo>
                      <a:pt x="1207" y="1265"/>
                    </a:lnTo>
                    <a:lnTo>
                      <a:pt x="1209" y="1267"/>
                    </a:lnTo>
                    <a:lnTo>
                      <a:pt x="1207" y="1265"/>
                    </a:lnTo>
                    <a:lnTo>
                      <a:pt x="1207" y="1267"/>
                    </a:lnTo>
                    <a:lnTo>
                      <a:pt x="1207" y="1269"/>
                    </a:lnTo>
                    <a:lnTo>
                      <a:pt x="1209" y="1270"/>
                    </a:lnTo>
                    <a:lnTo>
                      <a:pt x="1209" y="1272"/>
                    </a:lnTo>
                    <a:lnTo>
                      <a:pt x="1211" y="1272"/>
                    </a:lnTo>
                    <a:lnTo>
                      <a:pt x="1211" y="1274"/>
                    </a:lnTo>
                    <a:lnTo>
                      <a:pt x="1211" y="1276"/>
                    </a:lnTo>
                    <a:lnTo>
                      <a:pt x="1209" y="1278"/>
                    </a:lnTo>
                    <a:lnTo>
                      <a:pt x="1207" y="1278"/>
                    </a:lnTo>
                    <a:lnTo>
                      <a:pt x="1205" y="1274"/>
                    </a:lnTo>
                    <a:lnTo>
                      <a:pt x="1203" y="1274"/>
                    </a:lnTo>
                    <a:lnTo>
                      <a:pt x="1205" y="1272"/>
                    </a:lnTo>
                    <a:lnTo>
                      <a:pt x="1207" y="1270"/>
                    </a:lnTo>
                    <a:lnTo>
                      <a:pt x="1205" y="1270"/>
                    </a:lnTo>
                    <a:lnTo>
                      <a:pt x="1205" y="1272"/>
                    </a:lnTo>
                    <a:lnTo>
                      <a:pt x="1205" y="1270"/>
                    </a:lnTo>
                    <a:lnTo>
                      <a:pt x="1207" y="1269"/>
                    </a:lnTo>
                    <a:lnTo>
                      <a:pt x="1205" y="1269"/>
                    </a:lnTo>
                    <a:lnTo>
                      <a:pt x="1205" y="1267"/>
                    </a:lnTo>
                    <a:lnTo>
                      <a:pt x="1205" y="1265"/>
                    </a:lnTo>
                    <a:lnTo>
                      <a:pt x="1205" y="1267"/>
                    </a:lnTo>
                    <a:lnTo>
                      <a:pt x="1205" y="1269"/>
                    </a:lnTo>
                    <a:lnTo>
                      <a:pt x="1203" y="1269"/>
                    </a:lnTo>
                    <a:lnTo>
                      <a:pt x="1203" y="1270"/>
                    </a:lnTo>
                    <a:lnTo>
                      <a:pt x="1203" y="1269"/>
                    </a:lnTo>
                    <a:lnTo>
                      <a:pt x="1203" y="1270"/>
                    </a:lnTo>
                    <a:lnTo>
                      <a:pt x="1203" y="1269"/>
                    </a:lnTo>
                    <a:lnTo>
                      <a:pt x="1201" y="1270"/>
                    </a:lnTo>
                    <a:lnTo>
                      <a:pt x="1199" y="1269"/>
                    </a:lnTo>
                    <a:lnTo>
                      <a:pt x="1199" y="1267"/>
                    </a:lnTo>
                    <a:lnTo>
                      <a:pt x="1198" y="1267"/>
                    </a:lnTo>
                    <a:lnTo>
                      <a:pt x="1199" y="1265"/>
                    </a:lnTo>
                    <a:lnTo>
                      <a:pt x="1199" y="1263"/>
                    </a:lnTo>
                    <a:lnTo>
                      <a:pt x="1199" y="1261"/>
                    </a:lnTo>
                    <a:lnTo>
                      <a:pt x="1198" y="1263"/>
                    </a:lnTo>
                    <a:lnTo>
                      <a:pt x="1199" y="1265"/>
                    </a:lnTo>
                    <a:lnTo>
                      <a:pt x="1198" y="1265"/>
                    </a:lnTo>
                    <a:lnTo>
                      <a:pt x="1198" y="1267"/>
                    </a:lnTo>
                    <a:lnTo>
                      <a:pt x="1198" y="1269"/>
                    </a:lnTo>
                    <a:lnTo>
                      <a:pt x="1196" y="1267"/>
                    </a:lnTo>
                    <a:lnTo>
                      <a:pt x="1196" y="1265"/>
                    </a:lnTo>
                    <a:lnTo>
                      <a:pt x="1196" y="1263"/>
                    </a:lnTo>
                    <a:lnTo>
                      <a:pt x="1198" y="1263"/>
                    </a:lnTo>
                    <a:lnTo>
                      <a:pt x="1196" y="1263"/>
                    </a:lnTo>
                    <a:lnTo>
                      <a:pt x="1196" y="1261"/>
                    </a:lnTo>
                    <a:lnTo>
                      <a:pt x="1196" y="1263"/>
                    </a:lnTo>
                    <a:lnTo>
                      <a:pt x="1196" y="1265"/>
                    </a:lnTo>
                    <a:lnTo>
                      <a:pt x="1194" y="1263"/>
                    </a:lnTo>
                    <a:lnTo>
                      <a:pt x="1194" y="1261"/>
                    </a:lnTo>
                    <a:lnTo>
                      <a:pt x="1192" y="1263"/>
                    </a:lnTo>
                    <a:lnTo>
                      <a:pt x="1192" y="1261"/>
                    </a:lnTo>
                    <a:lnTo>
                      <a:pt x="1192" y="1263"/>
                    </a:lnTo>
                    <a:lnTo>
                      <a:pt x="1192" y="1259"/>
                    </a:lnTo>
                    <a:lnTo>
                      <a:pt x="1190" y="1259"/>
                    </a:lnTo>
                    <a:lnTo>
                      <a:pt x="1190" y="1255"/>
                    </a:lnTo>
                    <a:lnTo>
                      <a:pt x="1190" y="1259"/>
                    </a:lnTo>
                    <a:lnTo>
                      <a:pt x="1192" y="1261"/>
                    </a:lnTo>
                    <a:lnTo>
                      <a:pt x="1192" y="1263"/>
                    </a:lnTo>
                    <a:lnTo>
                      <a:pt x="1194" y="1265"/>
                    </a:lnTo>
                    <a:lnTo>
                      <a:pt x="1192" y="1267"/>
                    </a:lnTo>
                    <a:lnTo>
                      <a:pt x="1190" y="1265"/>
                    </a:lnTo>
                    <a:lnTo>
                      <a:pt x="1190" y="1263"/>
                    </a:lnTo>
                    <a:lnTo>
                      <a:pt x="1190" y="1265"/>
                    </a:lnTo>
                    <a:lnTo>
                      <a:pt x="1190" y="1263"/>
                    </a:lnTo>
                    <a:lnTo>
                      <a:pt x="1188" y="1263"/>
                    </a:lnTo>
                    <a:lnTo>
                      <a:pt x="1186" y="1261"/>
                    </a:lnTo>
                    <a:lnTo>
                      <a:pt x="1186" y="1259"/>
                    </a:lnTo>
                    <a:lnTo>
                      <a:pt x="1184" y="1257"/>
                    </a:lnTo>
                    <a:lnTo>
                      <a:pt x="1186" y="1257"/>
                    </a:lnTo>
                    <a:lnTo>
                      <a:pt x="1184" y="1253"/>
                    </a:lnTo>
                    <a:lnTo>
                      <a:pt x="1184" y="1251"/>
                    </a:lnTo>
                    <a:lnTo>
                      <a:pt x="1184" y="1249"/>
                    </a:lnTo>
                    <a:lnTo>
                      <a:pt x="1182" y="1253"/>
                    </a:lnTo>
                    <a:lnTo>
                      <a:pt x="1184" y="1257"/>
                    </a:lnTo>
                    <a:lnTo>
                      <a:pt x="1186" y="1259"/>
                    </a:lnTo>
                    <a:lnTo>
                      <a:pt x="1186" y="1261"/>
                    </a:lnTo>
                    <a:lnTo>
                      <a:pt x="1184" y="1261"/>
                    </a:lnTo>
                    <a:lnTo>
                      <a:pt x="1186" y="1263"/>
                    </a:lnTo>
                    <a:lnTo>
                      <a:pt x="1184" y="1261"/>
                    </a:lnTo>
                    <a:lnTo>
                      <a:pt x="1184" y="1263"/>
                    </a:lnTo>
                    <a:lnTo>
                      <a:pt x="1184" y="1261"/>
                    </a:lnTo>
                    <a:lnTo>
                      <a:pt x="1182" y="1261"/>
                    </a:lnTo>
                    <a:lnTo>
                      <a:pt x="1182" y="1259"/>
                    </a:lnTo>
                    <a:lnTo>
                      <a:pt x="1182" y="1257"/>
                    </a:lnTo>
                    <a:lnTo>
                      <a:pt x="1180" y="1255"/>
                    </a:lnTo>
                    <a:lnTo>
                      <a:pt x="1182" y="1253"/>
                    </a:lnTo>
                    <a:lnTo>
                      <a:pt x="1180" y="1255"/>
                    </a:lnTo>
                    <a:lnTo>
                      <a:pt x="1182" y="1257"/>
                    </a:lnTo>
                    <a:lnTo>
                      <a:pt x="1180" y="1259"/>
                    </a:lnTo>
                    <a:lnTo>
                      <a:pt x="1178" y="1255"/>
                    </a:lnTo>
                    <a:lnTo>
                      <a:pt x="1180" y="1253"/>
                    </a:lnTo>
                    <a:lnTo>
                      <a:pt x="1178" y="1253"/>
                    </a:lnTo>
                    <a:lnTo>
                      <a:pt x="1178" y="1251"/>
                    </a:lnTo>
                    <a:lnTo>
                      <a:pt x="1178" y="1249"/>
                    </a:lnTo>
                    <a:lnTo>
                      <a:pt x="1178" y="1251"/>
                    </a:lnTo>
                    <a:lnTo>
                      <a:pt x="1178" y="1253"/>
                    </a:lnTo>
                    <a:lnTo>
                      <a:pt x="1177" y="1253"/>
                    </a:lnTo>
                    <a:lnTo>
                      <a:pt x="1177" y="1251"/>
                    </a:lnTo>
                    <a:lnTo>
                      <a:pt x="1177" y="1253"/>
                    </a:lnTo>
                    <a:lnTo>
                      <a:pt x="1175" y="1253"/>
                    </a:lnTo>
                    <a:lnTo>
                      <a:pt x="1173" y="1251"/>
                    </a:lnTo>
                    <a:lnTo>
                      <a:pt x="1173" y="1248"/>
                    </a:lnTo>
                    <a:lnTo>
                      <a:pt x="1173" y="1249"/>
                    </a:lnTo>
                    <a:lnTo>
                      <a:pt x="1171" y="1248"/>
                    </a:lnTo>
                    <a:lnTo>
                      <a:pt x="1171" y="1246"/>
                    </a:lnTo>
                    <a:lnTo>
                      <a:pt x="1169" y="1244"/>
                    </a:lnTo>
                    <a:lnTo>
                      <a:pt x="1169" y="1246"/>
                    </a:lnTo>
                    <a:lnTo>
                      <a:pt x="1169" y="1244"/>
                    </a:lnTo>
                    <a:lnTo>
                      <a:pt x="1167" y="1242"/>
                    </a:lnTo>
                    <a:lnTo>
                      <a:pt x="1167" y="1240"/>
                    </a:lnTo>
                    <a:lnTo>
                      <a:pt x="1167" y="1242"/>
                    </a:lnTo>
                    <a:lnTo>
                      <a:pt x="1165" y="1238"/>
                    </a:lnTo>
                    <a:lnTo>
                      <a:pt x="1165" y="1240"/>
                    </a:lnTo>
                    <a:lnTo>
                      <a:pt x="1165" y="1238"/>
                    </a:lnTo>
                    <a:lnTo>
                      <a:pt x="1165" y="1240"/>
                    </a:lnTo>
                    <a:lnTo>
                      <a:pt x="1165" y="1242"/>
                    </a:lnTo>
                    <a:lnTo>
                      <a:pt x="1165" y="1244"/>
                    </a:lnTo>
                    <a:lnTo>
                      <a:pt x="1167" y="1246"/>
                    </a:lnTo>
                    <a:lnTo>
                      <a:pt x="1167" y="1248"/>
                    </a:lnTo>
                    <a:lnTo>
                      <a:pt x="1169" y="1249"/>
                    </a:lnTo>
                    <a:lnTo>
                      <a:pt x="1167" y="1249"/>
                    </a:lnTo>
                    <a:lnTo>
                      <a:pt x="1167" y="1251"/>
                    </a:lnTo>
                    <a:lnTo>
                      <a:pt x="1167" y="1249"/>
                    </a:lnTo>
                    <a:lnTo>
                      <a:pt x="1165" y="1249"/>
                    </a:lnTo>
                    <a:lnTo>
                      <a:pt x="1165" y="1248"/>
                    </a:lnTo>
                    <a:lnTo>
                      <a:pt x="1163" y="1246"/>
                    </a:lnTo>
                    <a:lnTo>
                      <a:pt x="1163" y="1244"/>
                    </a:lnTo>
                    <a:lnTo>
                      <a:pt x="1161" y="1244"/>
                    </a:lnTo>
                    <a:lnTo>
                      <a:pt x="1161" y="1242"/>
                    </a:lnTo>
                    <a:lnTo>
                      <a:pt x="1159" y="1242"/>
                    </a:lnTo>
                    <a:lnTo>
                      <a:pt x="1161" y="1242"/>
                    </a:lnTo>
                    <a:lnTo>
                      <a:pt x="1159" y="1244"/>
                    </a:lnTo>
                    <a:lnTo>
                      <a:pt x="1159" y="1242"/>
                    </a:lnTo>
                    <a:lnTo>
                      <a:pt x="1158" y="1240"/>
                    </a:lnTo>
                    <a:lnTo>
                      <a:pt x="1159" y="1240"/>
                    </a:lnTo>
                    <a:lnTo>
                      <a:pt x="1158" y="1238"/>
                    </a:lnTo>
                    <a:lnTo>
                      <a:pt x="1158" y="1240"/>
                    </a:lnTo>
                    <a:lnTo>
                      <a:pt x="1158" y="1242"/>
                    </a:lnTo>
                    <a:lnTo>
                      <a:pt x="1158" y="1240"/>
                    </a:lnTo>
                    <a:lnTo>
                      <a:pt x="1158" y="1242"/>
                    </a:lnTo>
                    <a:lnTo>
                      <a:pt x="1158" y="1240"/>
                    </a:lnTo>
                    <a:lnTo>
                      <a:pt x="1158" y="1242"/>
                    </a:lnTo>
                    <a:lnTo>
                      <a:pt x="1156" y="1240"/>
                    </a:lnTo>
                    <a:lnTo>
                      <a:pt x="1156" y="1238"/>
                    </a:lnTo>
                    <a:lnTo>
                      <a:pt x="1154" y="1236"/>
                    </a:lnTo>
                    <a:lnTo>
                      <a:pt x="1154" y="1238"/>
                    </a:lnTo>
                    <a:lnTo>
                      <a:pt x="1154" y="1236"/>
                    </a:lnTo>
                    <a:lnTo>
                      <a:pt x="1154" y="1238"/>
                    </a:lnTo>
                    <a:lnTo>
                      <a:pt x="1150" y="1236"/>
                    </a:lnTo>
                    <a:lnTo>
                      <a:pt x="1152" y="1238"/>
                    </a:lnTo>
                    <a:lnTo>
                      <a:pt x="1150" y="1238"/>
                    </a:lnTo>
                    <a:lnTo>
                      <a:pt x="1150" y="1236"/>
                    </a:lnTo>
                    <a:lnTo>
                      <a:pt x="1148" y="1238"/>
                    </a:lnTo>
                    <a:lnTo>
                      <a:pt x="1148" y="1236"/>
                    </a:lnTo>
                    <a:lnTo>
                      <a:pt x="1146" y="1236"/>
                    </a:lnTo>
                    <a:lnTo>
                      <a:pt x="1150" y="1242"/>
                    </a:lnTo>
                    <a:lnTo>
                      <a:pt x="1148" y="1242"/>
                    </a:lnTo>
                    <a:lnTo>
                      <a:pt x="1150" y="1242"/>
                    </a:lnTo>
                    <a:lnTo>
                      <a:pt x="1150" y="1244"/>
                    </a:lnTo>
                    <a:lnTo>
                      <a:pt x="1152" y="1246"/>
                    </a:lnTo>
                    <a:lnTo>
                      <a:pt x="1154" y="1248"/>
                    </a:lnTo>
                    <a:lnTo>
                      <a:pt x="1156" y="1248"/>
                    </a:lnTo>
                    <a:lnTo>
                      <a:pt x="1156" y="1249"/>
                    </a:lnTo>
                    <a:lnTo>
                      <a:pt x="1154" y="1248"/>
                    </a:lnTo>
                    <a:lnTo>
                      <a:pt x="1156" y="1249"/>
                    </a:lnTo>
                    <a:lnTo>
                      <a:pt x="1156" y="1251"/>
                    </a:lnTo>
                    <a:lnTo>
                      <a:pt x="1158" y="1251"/>
                    </a:lnTo>
                    <a:lnTo>
                      <a:pt x="1156" y="1251"/>
                    </a:lnTo>
                    <a:lnTo>
                      <a:pt x="1158" y="1253"/>
                    </a:lnTo>
                    <a:lnTo>
                      <a:pt x="1159" y="1255"/>
                    </a:lnTo>
                    <a:lnTo>
                      <a:pt x="1159" y="1257"/>
                    </a:lnTo>
                    <a:lnTo>
                      <a:pt x="1159" y="1255"/>
                    </a:lnTo>
                    <a:lnTo>
                      <a:pt x="1159" y="1257"/>
                    </a:lnTo>
                    <a:lnTo>
                      <a:pt x="1161" y="1257"/>
                    </a:lnTo>
                    <a:lnTo>
                      <a:pt x="1161" y="1259"/>
                    </a:lnTo>
                    <a:lnTo>
                      <a:pt x="1161" y="1257"/>
                    </a:lnTo>
                    <a:lnTo>
                      <a:pt x="1165" y="1259"/>
                    </a:lnTo>
                    <a:lnTo>
                      <a:pt x="1163" y="1261"/>
                    </a:lnTo>
                    <a:lnTo>
                      <a:pt x="1163" y="1263"/>
                    </a:lnTo>
                    <a:lnTo>
                      <a:pt x="1163" y="1261"/>
                    </a:lnTo>
                    <a:lnTo>
                      <a:pt x="1165" y="1259"/>
                    </a:lnTo>
                    <a:lnTo>
                      <a:pt x="1165" y="1261"/>
                    </a:lnTo>
                    <a:lnTo>
                      <a:pt x="1169" y="1261"/>
                    </a:lnTo>
                    <a:lnTo>
                      <a:pt x="1167" y="1261"/>
                    </a:lnTo>
                    <a:lnTo>
                      <a:pt x="1165" y="1263"/>
                    </a:lnTo>
                    <a:lnTo>
                      <a:pt x="1167" y="1263"/>
                    </a:lnTo>
                    <a:lnTo>
                      <a:pt x="1169" y="1263"/>
                    </a:lnTo>
                    <a:lnTo>
                      <a:pt x="1171" y="1263"/>
                    </a:lnTo>
                    <a:lnTo>
                      <a:pt x="1169" y="1263"/>
                    </a:lnTo>
                    <a:lnTo>
                      <a:pt x="1171" y="1263"/>
                    </a:lnTo>
                    <a:lnTo>
                      <a:pt x="1167" y="1265"/>
                    </a:lnTo>
                    <a:lnTo>
                      <a:pt x="1169" y="1265"/>
                    </a:lnTo>
                    <a:lnTo>
                      <a:pt x="1167" y="1267"/>
                    </a:lnTo>
                    <a:lnTo>
                      <a:pt x="1169" y="1265"/>
                    </a:lnTo>
                    <a:lnTo>
                      <a:pt x="1171" y="1265"/>
                    </a:lnTo>
                    <a:lnTo>
                      <a:pt x="1173" y="1265"/>
                    </a:lnTo>
                    <a:lnTo>
                      <a:pt x="1171" y="1267"/>
                    </a:lnTo>
                    <a:lnTo>
                      <a:pt x="1173" y="1265"/>
                    </a:lnTo>
                    <a:lnTo>
                      <a:pt x="1173" y="1267"/>
                    </a:lnTo>
                    <a:lnTo>
                      <a:pt x="1175" y="1267"/>
                    </a:lnTo>
                    <a:lnTo>
                      <a:pt x="1175" y="1269"/>
                    </a:lnTo>
                    <a:lnTo>
                      <a:pt x="1173" y="1269"/>
                    </a:lnTo>
                    <a:lnTo>
                      <a:pt x="1175" y="1269"/>
                    </a:lnTo>
                    <a:lnTo>
                      <a:pt x="1177" y="1269"/>
                    </a:lnTo>
                    <a:lnTo>
                      <a:pt x="1175" y="1270"/>
                    </a:lnTo>
                    <a:lnTo>
                      <a:pt x="1177" y="1270"/>
                    </a:lnTo>
                    <a:lnTo>
                      <a:pt x="1177" y="1272"/>
                    </a:lnTo>
                    <a:lnTo>
                      <a:pt x="1178" y="1272"/>
                    </a:lnTo>
                    <a:lnTo>
                      <a:pt x="1177" y="1272"/>
                    </a:lnTo>
                    <a:lnTo>
                      <a:pt x="1178" y="1272"/>
                    </a:lnTo>
                    <a:lnTo>
                      <a:pt x="1177" y="1274"/>
                    </a:lnTo>
                    <a:lnTo>
                      <a:pt x="1178" y="1274"/>
                    </a:lnTo>
                    <a:lnTo>
                      <a:pt x="1180" y="1274"/>
                    </a:lnTo>
                    <a:lnTo>
                      <a:pt x="1178" y="1274"/>
                    </a:lnTo>
                    <a:lnTo>
                      <a:pt x="1178" y="1276"/>
                    </a:lnTo>
                    <a:lnTo>
                      <a:pt x="1180" y="1274"/>
                    </a:lnTo>
                    <a:lnTo>
                      <a:pt x="1180" y="1276"/>
                    </a:lnTo>
                    <a:lnTo>
                      <a:pt x="1180" y="1274"/>
                    </a:lnTo>
                    <a:lnTo>
                      <a:pt x="1182" y="1276"/>
                    </a:lnTo>
                    <a:lnTo>
                      <a:pt x="1184" y="1276"/>
                    </a:lnTo>
                    <a:lnTo>
                      <a:pt x="1182" y="1278"/>
                    </a:lnTo>
                    <a:lnTo>
                      <a:pt x="1184" y="1276"/>
                    </a:lnTo>
                    <a:lnTo>
                      <a:pt x="1184" y="1278"/>
                    </a:lnTo>
                    <a:lnTo>
                      <a:pt x="1186" y="1278"/>
                    </a:lnTo>
                    <a:lnTo>
                      <a:pt x="1184" y="1280"/>
                    </a:lnTo>
                    <a:lnTo>
                      <a:pt x="1186" y="1280"/>
                    </a:lnTo>
                    <a:lnTo>
                      <a:pt x="1186" y="1282"/>
                    </a:lnTo>
                    <a:lnTo>
                      <a:pt x="1186" y="1280"/>
                    </a:lnTo>
                    <a:lnTo>
                      <a:pt x="1186" y="1282"/>
                    </a:lnTo>
                    <a:lnTo>
                      <a:pt x="1186" y="1284"/>
                    </a:lnTo>
                    <a:lnTo>
                      <a:pt x="1188" y="1284"/>
                    </a:lnTo>
                    <a:lnTo>
                      <a:pt x="1190" y="1286"/>
                    </a:lnTo>
                    <a:lnTo>
                      <a:pt x="1188" y="1286"/>
                    </a:lnTo>
                    <a:lnTo>
                      <a:pt x="1186" y="1286"/>
                    </a:lnTo>
                    <a:lnTo>
                      <a:pt x="1186" y="1288"/>
                    </a:lnTo>
                    <a:lnTo>
                      <a:pt x="1188" y="1290"/>
                    </a:lnTo>
                    <a:lnTo>
                      <a:pt x="1190" y="1290"/>
                    </a:lnTo>
                    <a:lnTo>
                      <a:pt x="1188" y="1288"/>
                    </a:lnTo>
                    <a:lnTo>
                      <a:pt x="1188" y="1286"/>
                    </a:lnTo>
                    <a:lnTo>
                      <a:pt x="1190" y="1286"/>
                    </a:lnTo>
                    <a:lnTo>
                      <a:pt x="1190" y="1288"/>
                    </a:lnTo>
                    <a:lnTo>
                      <a:pt x="1190" y="1286"/>
                    </a:lnTo>
                    <a:lnTo>
                      <a:pt x="1192" y="1288"/>
                    </a:lnTo>
                    <a:lnTo>
                      <a:pt x="1190" y="1288"/>
                    </a:lnTo>
                    <a:lnTo>
                      <a:pt x="1192" y="1288"/>
                    </a:lnTo>
                    <a:lnTo>
                      <a:pt x="1192" y="1290"/>
                    </a:lnTo>
                    <a:lnTo>
                      <a:pt x="1194" y="1291"/>
                    </a:lnTo>
                    <a:lnTo>
                      <a:pt x="1194" y="1290"/>
                    </a:lnTo>
                    <a:lnTo>
                      <a:pt x="1196" y="1291"/>
                    </a:lnTo>
                    <a:lnTo>
                      <a:pt x="1194" y="1291"/>
                    </a:lnTo>
                    <a:lnTo>
                      <a:pt x="1196" y="1291"/>
                    </a:lnTo>
                    <a:lnTo>
                      <a:pt x="1194" y="1293"/>
                    </a:lnTo>
                    <a:lnTo>
                      <a:pt x="1194" y="1295"/>
                    </a:lnTo>
                    <a:lnTo>
                      <a:pt x="1194" y="1297"/>
                    </a:lnTo>
                    <a:lnTo>
                      <a:pt x="1192" y="1295"/>
                    </a:lnTo>
                    <a:lnTo>
                      <a:pt x="1192" y="1293"/>
                    </a:lnTo>
                    <a:lnTo>
                      <a:pt x="1192" y="1295"/>
                    </a:lnTo>
                    <a:lnTo>
                      <a:pt x="1194" y="1297"/>
                    </a:lnTo>
                    <a:lnTo>
                      <a:pt x="1192" y="1297"/>
                    </a:lnTo>
                    <a:lnTo>
                      <a:pt x="1194" y="1299"/>
                    </a:lnTo>
                    <a:lnTo>
                      <a:pt x="1196" y="1301"/>
                    </a:lnTo>
                    <a:lnTo>
                      <a:pt x="1194" y="1303"/>
                    </a:lnTo>
                    <a:lnTo>
                      <a:pt x="1194" y="1301"/>
                    </a:lnTo>
                    <a:lnTo>
                      <a:pt x="1194" y="1303"/>
                    </a:lnTo>
                    <a:lnTo>
                      <a:pt x="1192" y="1303"/>
                    </a:lnTo>
                    <a:lnTo>
                      <a:pt x="1190" y="1303"/>
                    </a:lnTo>
                    <a:lnTo>
                      <a:pt x="1188" y="1303"/>
                    </a:lnTo>
                    <a:lnTo>
                      <a:pt x="1188" y="1301"/>
                    </a:lnTo>
                    <a:lnTo>
                      <a:pt x="1186" y="1301"/>
                    </a:lnTo>
                    <a:lnTo>
                      <a:pt x="1184" y="1301"/>
                    </a:lnTo>
                    <a:lnTo>
                      <a:pt x="1184" y="1299"/>
                    </a:lnTo>
                    <a:lnTo>
                      <a:pt x="1182" y="1299"/>
                    </a:lnTo>
                    <a:lnTo>
                      <a:pt x="1184" y="1299"/>
                    </a:lnTo>
                    <a:lnTo>
                      <a:pt x="1182" y="1299"/>
                    </a:lnTo>
                    <a:lnTo>
                      <a:pt x="1182" y="1297"/>
                    </a:lnTo>
                    <a:lnTo>
                      <a:pt x="1180" y="1297"/>
                    </a:lnTo>
                    <a:lnTo>
                      <a:pt x="1178" y="1297"/>
                    </a:lnTo>
                    <a:lnTo>
                      <a:pt x="1177" y="1297"/>
                    </a:lnTo>
                    <a:lnTo>
                      <a:pt x="1177" y="1295"/>
                    </a:lnTo>
                    <a:lnTo>
                      <a:pt x="1177" y="1297"/>
                    </a:lnTo>
                    <a:lnTo>
                      <a:pt x="1177" y="1295"/>
                    </a:lnTo>
                    <a:lnTo>
                      <a:pt x="1175" y="1295"/>
                    </a:lnTo>
                    <a:lnTo>
                      <a:pt x="1175" y="1293"/>
                    </a:lnTo>
                    <a:lnTo>
                      <a:pt x="1175" y="1295"/>
                    </a:lnTo>
                    <a:lnTo>
                      <a:pt x="1175" y="1293"/>
                    </a:lnTo>
                    <a:lnTo>
                      <a:pt x="1175" y="1295"/>
                    </a:lnTo>
                    <a:lnTo>
                      <a:pt x="1173" y="1295"/>
                    </a:lnTo>
                    <a:lnTo>
                      <a:pt x="1173" y="1293"/>
                    </a:lnTo>
                    <a:lnTo>
                      <a:pt x="1171" y="1293"/>
                    </a:lnTo>
                    <a:lnTo>
                      <a:pt x="1169" y="1291"/>
                    </a:lnTo>
                    <a:lnTo>
                      <a:pt x="1169" y="1293"/>
                    </a:lnTo>
                    <a:lnTo>
                      <a:pt x="1167" y="1291"/>
                    </a:lnTo>
                    <a:lnTo>
                      <a:pt x="1167" y="1293"/>
                    </a:lnTo>
                    <a:lnTo>
                      <a:pt x="1167" y="1291"/>
                    </a:lnTo>
                    <a:lnTo>
                      <a:pt x="1167" y="1293"/>
                    </a:lnTo>
                    <a:lnTo>
                      <a:pt x="1165" y="1293"/>
                    </a:lnTo>
                    <a:lnTo>
                      <a:pt x="1165" y="1291"/>
                    </a:lnTo>
                    <a:lnTo>
                      <a:pt x="1167" y="1291"/>
                    </a:lnTo>
                    <a:lnTo>
                      <a:pt x="1167" y="1290"/>
                    </a:lnTo>
                    <a:lnTo>
                      <a:pt x="1167" y="1291"/>
                    </a:lnTo>
                    <a:lnTo>
                      <a:pt x="1165" y="1291"/>
                    </a:lnTo>
                    <a:lnTo>
                      <a:pt x="1163" y="1291"/>
                    </a:lnTo>
                    <a:lnTo>
                      <a:pt x="1161" y="1291"/>
                    </a:lnTo>
                    <a:lnTo>
                      <a:pt x="1161" y="1290"/>
                    </a:lnTo>
                    <a:lnTo>
                      <a:pt x="1161" y="1291"/>
                    </a:lnTo>
                    <a:lnTo>
                      <a:pt x="1159" y="1290"/>
                    </a:lnTo>
                    <a:lnTo>
                      <a:pt x="1159" y="1291"/>
                    </a:lnTo>
                    <a:lnTo>
                      <a:pt x="1158" y="1290"/>
                    </a:lnTo>
                    <a:lnTo>
                      <a:pt x="1158" y="1291"/>
                    </a:lnTo>
                    <a:lnTo>
                      <a:pt x="1158" y="1290"/>
                    </a:lnTo>
                    <a:lnTo>
                      <a:pt x="1156" y="1290"/>
                    </a:lnTo>
                    <a:lnTo>
                      <a:pt x="1154" y="1290"/>
                    </a:lnTo>
                    <a:lnTo>
                      <a:pt x="1154" y="1288"/>
                    </a:lnTo>
                    <a:lnTo>
                      <a:pt x="1154" y="1290"/>
                    </a:lnTo>
                    <a:lnTo>
                      <a:pt x="1152" y="1290"/>
                    </a:lnTo>
                    <a:lnTo>
                      <a:pt x="1152" y="1288"/>
                    </a:lnTo>
                    <a:lnTo>
                      <a:pt x="1150" y="1288"/>
                    </a:lnTo>
                    <a:lnTo>
                      <a:pt x="1152" y="1288"/>
                    </a:lnTo>
                    <a:lnTo>
                      <a:pt x="1152" y="1286"/>
                    </a:lnTo>
                    <a:lnTo>
                      <a:pt x="1150" y="1286"/>
                    </a:lnTo>
                    <a:lnTo>
                      <a:pt x="1152" y="1288"/>
                    </a:lnTo>
                    <a:lnTo>
                      <a:pt x="1150" y="1288"/>
                    </a:lnTo>
                    <a:lnTo>
                      <a:pt x="1150" y="1286"/>
                    </a:lnTo>
                    <a:lnTo>
                      <a:pt x="1148" y="1284"/>
                    </a:lnTo>
                    <a:lnTo>
                      <a:pt x="1148" y="1286"/>
                    </a:lnTo>
                    <a:lnTo>
                      <a:pt x="1146" y="1286"/>
                    </a:lnTo>
                    <a:lnTo>
                      <a:pt x="1146" y="1284"/>
                    </a:lnTo>
                    <a:lnTo>
                      <a:pt x="1144" y="1284"/>
                    </a:lnTo>
                    <a:lnTo>
                      <a:pt x="1144" y="1282"/>
                    </a:lnTo>
                    <a:lnTo>
                      <a:pt x="1142" y="1284"/>
                    </a:lnTo>
                    <a:lnTo>
                      <a:pt x="1142" y="1282"/>
                    </a:lnTo>
                    <a:lnTo>
                      <a:pt x="1142" y="1280"/>
                    </a:lnTo>
                    <a:lnTo>
                      <a:pt x="1142" y="1276"/>
                    </a:lnTo>
                    <a:lnTo>
                      <a:pt x="1142" y="1278"/>
                    </a:lnTo>
                    <a:lnTo>
                      <a:pt x="1140" y="1278"/>
                    </a:lnTo>
                    <a:lnTo>
                      <a:pt x="1140" y="1280"/>
                    </a:lnTo>
                    <a:lnTo>
                      <a:pt x="1140" y="1278"/>
                    </a:lnTo>
                    <a:lnTo>
                      <a:pt x="1140" y="1276"/>
                    </a:lnTo>
                    <a:lnTo>
                      <a:pt x="1138" y="1276"/>
                    </a:lnTo>
                    <a:lnTo>
                      <a:pt x="1140" y="1278"/>
                    </a:lnTo>
                    <a:lnTo>
                      <a:pt x="1140" y="1280"/>
                    </a:lnTo>
                    <a:lnTo>
                      <a:pt x="1138" y="1278"/>
                    </a:lnTo>
                    <a:lnTo>
                      <a:pt x="1138" y="1276"/>
                    </a:lnTo>
                    <a:lnTo>
                      <a:pt x="1137" y="1276"/>
                    </a:lnTo>
                    <a:lnTo>
                      <a:pt x="1138" y="1274"/>
                    </a:lnTo>
                    <a:lnTo>
                      <a:pt x="1140" y="1274"/>
                    </a:lnTo>
                    <a:lnTo>
                      <a:pt x="1138" y="1274"/>
                    </a:lnTo>
                    <a:lnTo>
                      <a:pt x="1138" y="1272"/>
                    </a:lnTo>
                    <a:lnTo>
                      <a:pt x="1138" y="1274"/>
                    </a:lnTo>
                    <a:lnTo>
                      <a:pt x="1138" y="1272"/>
                    </a:lnTo>
                    <a:lnTo>
                      <a:pt x="1140" y="1272"/>
                    </a:lnTo>
                    <a:lnTo>
                      <a:pt x="1138" y="1272"/>
                    </a:lnTo>
                    <a:lnTo>
                      <a:pt x="1138" y="1270"/>
                    </a:lnTo>
                    <a:lnTo>
                      <a:pt x="1138" y="1272"/>
                    </a:lnTo>
                    <a:lnTo>
                      <a:pt x="1137" y="1272"/>
                    </a:lnTo>
                    <a:lnTo>
                      <a:pt x="1137" y="1270"/>
                    </a:lnTo>
                    <a:lnTo>
                      <a:pt x="1137" y="1272"/>
                    </a:lnTo>
                    <a:lnTo>
                      <a:pt x="1135" y="1272"/>
                    </a:lnTo>
                    <a:lnTo>
                      <a:pt x="1137" y="1272"/>
                    </a:lnTo>
                    <a:lnTo>
                      <a:pt x="1137" y="1270"/>
                    </a:lnTo>
                    <a:lnTo>
                      <a:pt x="1135" y="1272"/>
                    </a:lnTo>
                    <a:lnTo>
                      <a:pt x="1135" y="1270"/>
                    </a:lnTo>
                    <a:lnTo>
                      <a:pt x="1133" y="1270"/>
                    </a:lnTo>
                    <a:lnTo>
                      <a:pt x="1133" y="1269"/>
                    </a:lnTo>
                    <a:lnTo>
                      <a:pt x="1133" y="1270"/>
                    </a:lnTo>
                    <a:lnTo>
                      <a:pt x="1133" y="1269"/>
                    </a:lnTo>
                    <a:lnTo>
                      <a:pt x="1133" y="1270"/>
                    </a:lnTo>
                    <a:lnTo>
                      <a:pt x="1135" y="1272"/>
                    </a:lnTo>
                    <a:lnTo>
                      <a:pt x="1133" y="1272"/>
                    </a:lnTo>
                    <a:lnTo>
                      <a:pt x="1133" y="1270"/>
                    </a:lnTo>
                    <a:lnTo>
                      <a:pt x="1133" y="1272"/>
                    </a:lnTo>
                    <a:lnTo>
                      <a:pt x="1133" y="1270"/>
                    </a:lnTo>
                    <a:lnTo>
                      <a:pt x="1133" y="1272"/>
                    </a:lnTo>
                    <a:lnTo>
                      <a:pt x="1131" y="1270"/>
                    </a:lnTo>
                    <a:lnTo>
                      <a:pt x="1131" y="1269"/>
                    </a:lnTo>
                    <a:lnTo>
                      <a:pt x="1131" y="1270"/>
                    </a:lnTo>
                    <a:lnTo>
                      <a:pt x="1129" y="1270"/>
                    </a:lnTo>
                    <a:lnTo>
                      <a:pt x="1131" y="1270"/>
                    </a:lnTo>
                    <a:lnTo>
                      <a:pt x="1131" y="1272"/>
                    </a:lnTo>
                    <a:lnTo>
                      <a:pt x="1129" y="1272"/>
                    </a:lnTo>
                    <a:lnTo>
                      <a:pt x="1127" y="1272"/>
                    </a:lnTo>
                    <a:lnTo>
                      <a:pt x="1129" y="1272"/>
                    </a:lnTo>
                    <a:lnTo>
                      <a:pt x="1127" y="1272"/>
                    </a:lnTo>
                    <a:lnTo>
                      <a:pt x="1125" y="1270"/>
                    </a:lnTo>
                    <a:lnTo>
                      <a:pt x="1123" y="1269"/>
                    </a:lnTo>
                    <a:lnTo>
                      <a:pt x="1121" y="1269"/>
                    </a:lnTo>
                    <a:lnTo>
                      <a:pt x="1121" y="1267"/>
                    </a:lnTo>
                    <a:lnTo>
                      <a:pt x="1117" y="1267"/>
                    </a:lnTo>
                    <a:lnTo>
                      <a:pt x="1116" y="1267"/>
                    </a:lnTo>
                    <a:lnTo>
                      <a:pt x="1117" y="1267"/>
                    </a:lnTo>
                    <a:lnTo>
                      <a:pt x="1119" y="1267"/>
                    </a:lnTo>
                    <a:lnTo>
                      <a:pt x="1117" y="1267"/>
                    </a:lnTo>
                    <a:lnTo>
                      <a:pt x="1117" y="1265"/>
                    </a:lnTo>
                    <a:lnTo>
                      <a:pt x="1116" y="1265"/>
                    </a:lnTo>
                    <a:lnTo>
                      <a:pt x="1117" y="1265"/>
                    </a:lnTo>
                    <a:lnTo>
                      <a:pt x="1116" y="1265"/>
                    </a:lnTo>
                    <a:lnTo>
                      <a:pt x="1116" y="1267"/>
                    </a:lnTo>
                    <a:lnTo>
                      <a:pt x="1116" y="1265"/>
                    </a:lnTo>
                    <a:lnTo>
                      <a:pt x="1114" y="1265"/>
                    </a:lnTo>
                    <a:lnTo>
                      <a:pt x="1116" y="1265"/>
                    </a:lnTo>
                    <a:lnTo>
                      <a:pt x="1116" y="1263"/>
                    </a:lnTo>
                    <a:lnTo>
                      <a:pt x="1117" y="1263"/>
                    </a:lnTo>
                    <a:lnTo>
                      <a:pt x="1117" y="1261"/>
                    </a:lnTo>
                    <a:lnTo>
                      <a:pt x="1117" y="1263"/>
                    </a:lnTo>
                    <a:lnTo>
                      <a:pt x="1116" y="1263"/>
                    </a:lnTo>
                    <a:lnTo>
                      <a:pt x="1114" y="1263"/>
                    </a:lnTo>
                    <a:lnTo>
                      <a:pt x="1116" y="1265"/>
                    </a:lnTo>
                    <a:lnTo>
                      <a:pt x="1114" y="1265"/>
                    </a:lnTo>
                    <a:lnTo>
                      <a:pt x="1112" y="1263"/>
                    </a:lnTo>
                    <a:lnTo>
                      <a:pt x="1114" y="1263"/>
                    </a:lnTo>
                    <a:lnTo>
                      <a:pt x="1116" y="1261"/>
                    </a:lnTo>
                    <a:lnTo>
                      <a:pt x="1117" y="1259"/>
                    </a:lnTo>
                    <a:lnTo>
                      <a:pt x="1116" y="1259"/>
                    </a:lnTo>
                    <a:lnTo>
                      <a:pt x="1116" y="1257"/>
                    </a:lnTo>
                    <a:lnTo>
                      <a:pt x="1116" y="1259"/>
                    </a:lnTo>
                    <a:lnTo>
                      <a:pt x="1116" y="1261"/>
                    </a:lnTo>
                    <a:lnTo>
                      <a:pt x="1114" y="1261"/>
                    </a:lnTo>
                    <a:lnTo>
                      <a:pt x="1112" y="1261"/>
                    </a:lnTo>
                    <a:lnTo>
                      <a:pt x="1112" y="1263"/>
                    </a:lnTo>
                    <a:lnTo>
                      <a:pt x="1110" y="1263"/>
                    </a:lnTo>
                    <a:lnTo>
                      <a:pt x="1108" y="1263"/>
                    </a:lnTo>
                    <a:lnTo>
                      <a:pt x="1108" y="1261"/>
                    </a:lnTo>
                    <a:lnTo>
                      <a:pt x="1108" y="1259"/>
                    </a:lnTo>
                    <a:lnTo>
                      <a:pt x="1108" y="1261"/>
                    </a:lnTo>
                    <a:lnTo>
                      <a:pt x="1106" y="1259"/>
                    </a:lnTo>
                    <a:lnTo>
                      <a:pt x="1104" y="1259"/>
                    </a:lnTo>
                    <a:lnTo>
                      <a:pt x="1102" y="1257"/>
                    </a:lnTo>
                    <a:lnTo>
                      <a:pt x="1104" y="1257"/>
                    </a:lnTo>
                    <a:lnTo>
                      <a:pt x="1104" y="1255"/>
                    </a:lnTo>
                    <a:lnTo>
                      <a:pt x="1102" y="1255"/>
                    </a:lnTo>
                    <a:lnTo>
                      <a:pt x="1104" y="1253"/>
                    </a:lnTo>
                    <a:lnTo>
                      <a:pt x="1102" y="1253"/>
                    </a:lnTo>
                    <a:lnTo>
                      <a:pt x="1100" y="1251"/>
                    </a:lnTo>
                    <a:lnTo>
                      <a:pt x="1104" y="1251"/>
                    </a:lnTo>
                    <a:lnTo>
                      <a:pt x="1102" y="1251"/>
                    </a:lnTo>
                    <a:lnTo>
                      <a:pt x="1104" y="1251"/>
                    </a:lnTo>
                    <a:lnTo>
                      <a:pt x="1100" y="1249"/>
                    </a:lnTo>
                    <a:lnTo>
                      <a:pt x="1098" y="1249"/>
                    </a:lnTo>
                    <a:lnTo>
                      <a:pt x="1096" y="1248"/>
                    </a:lnTo>
                    <a:lnTo>
                      <a:pt x="1098" y="1248"/>
                    </a:lnTo>
                    <a:lnTo>
                      <a:pt x="1098" y="1249"/>
                    </a:lnTo>
                    <a:lnTo>
                      <a:pt x="1098" y="1248"/>
                    </a:lnTo>
                    <a:lnTo>
                      <a:pt x="1100" y="1248"/>
                    </a:lnTo>
                    <a:lnTo>
                      <a:pt x="1104" y="1249"/>
                    </a:lnTo>
                    <a:lnTo>
                      <a:pt x="1106" y="1249"/>
                    </a:lnTo>
                    <a:lnTo>
                      <a:pt x="1104" y="1248"/>
                    </a:lnTo>
                    <a:lnTo>
                      <a:pt x="1106" y="1248"/>
                    </a:lnTo>
                    <a:lnTo>
                      <a:pt x="1108" y="1248"/>
                    </a:lnTo>
                    <a:lnTo>
                      <a:pt x="1108" y="1246"/>
                    </a:lnTo>
                    <a:lnTo>
                      <a:pt x="1106" y="1246"/>
                    </a:lnTo>
                    <a:lnTo>
                      <a:pt x="1108" y="1246"/>
                    </a:lnTo>
                    <a:lnTo>
                      <a:pt x="1106" y="1244"/>
                    </a:lnTo>
                    <a:lnTo>
                      <a:pt x="1108" y="1244"/>
                    </a:lnTo>
                    <a:lnTo>
                      <a:pt x="1108" y="1246"/>
                    </a:lnTo>
                    <a:lnTo>
                      <a:pt x="1110" y="1246"/>
                    </a:lnTo>
                    <a:lnTo>
                      <a:pt x="1110" y="1244"/>
                    </a:lnTo>
                    <a:lnTo>
                      <a:pt x="1110" y="1242"/>
                    </a:lnTo>
                    <a:lnTo>
                      <a:pt x="1112" y="1242"/>
                    </a:lnTo>
                    <a:lnTo>
                      <a:pt x="1110" y="1242"/>
                    </a:lnTo>
                    <a:lnTo>
                      <a:pt x="1110" y="1244"/>
                    </a:lnTo>
                    <a:lnTo>
                      <a:pt x="1108" y="1244"/>
                    </a:lnTo>
                    <a:lnTo>
                      <a:pt x="1110" y="1244"/>
                    </a:lnTo>
                    <a:lnTo>
                      <a:pt x="1108" y="1242"/>
                    </a:lnTo>
                    <a:lnTo>
                      <a:pt x="1108" y="1244"/>
                    </a:lnTo>
                    <a:lnTo>
                      <a:pt x="1108" y="1242"/>
                    </a:lnTo>
                    <a:lnTo>
                      <a:pt x="1108" y="1244"/>
                    </a:lnTo>
                    <a:lnTo>
                      <a:pt x="1106" y="1244"/>
                    </a:lnTo>
                    <a:lnTo>
                      <a:pt x="1106" y="1242"/>
                    </a:lnTo>
                    <a:lnTo>
                      <a:pt x="1106" y="1240"/>
                    </a:lnTo>
                    <a:lnTo>
                      <a:pt x="1106" y="1238"/>
                    </a:lnTo>
                    <a:lnTo>
                      <a:pt x="1106" y="1240"/>
                    </a:lnTo>
                    <a:lnTo>
                      <a:pt x="1104" y="1238"/>
                    </a:lnTo>
                    <a:lnTo>
                      <a:pt x="1106" y="1238"/>
                    </a:lnTo>
                    <a:lnTo>
                      <a:pt x="1104" y="1238"/>
                    </a:lnTo>
                    <a:lnTo>
                      <a:pt x="1104" y="1240"/>
                    </a:lnTo>
                    <a:lnTo>
                      <a:pt x="1104" y="1242"/>
                    </a:lnTo>
                    <a:lnTo>
                      <a:pt x="1104" y="1240"/>
                    </a:lnTo>
                    <a:lnTo>
                      <a:pt x="1104" y="1238"/>
                    </a:lnTo>
                    <a:lnTo>
                      <a:pt x="1102" y="1238"/>
                    </a:lnTo>
                    <a:lnTo>
                      <a:pt x="1102" y="1236"/>
                    </a:lnTo>
                    <a:lnTo>
                      <a:pt x="1100" y="1236"/>
                    </a:lnTo>
                    <a:lnTo>
                      <a:pt x="1100" y="1232"/>
                    </a:lnTo>
                    <a:lnTo>
                      <a:pt x="1100" y="1236"/>
                    </a:lnTo>
                    <a:lnTo>
                      <a:pt x="1098" y="1236"/>
                    </a:lnTo>
                    <a:lnTo>
                      <a:pt x="1100" y="1236"/>
                    </a:lnTo>
                    <a:lnTo>
                      <a:pt x="1100" y="1238"/>
                    </a:lnTo>
                    <a:lnTo>
                      <a:pt x="1102" y="1236"/>
                    </a:lnTo>
                    <a:lnTo>
                      <a:pt x="1100" y="1238"/>
                    </a:lnTo>
                    <a:lnTo>
                      <a:pt x="1100" y="1240"/>
                    </a:lnTo>
                    <a:lnTo>
                      <a:pt x="1100" y="1242"/>
                    </a:lnTo>
                    <a:lnTo>
                      <a:pt x="1098" y="1240"/>
                    </a:lnTo>
                    <a:lnTo>
                      <a:pt x="1100" y="1240"/>
                    </a:lnTo>
                    <a:lnTo>
                      <a:pt x="1100" y="1238"/>
                    </a:lnTo>
                    <a:lnTo>
                      <a:pt x="1098" y="1240"/>
                    </a:lnTo>
                    <a:lnTo>
                      <a:pt x="1098" y="1238"/>
                    </a:lnTo>
                    <a:lnTo>
                      <a:pt x="1096" y="1240"/>
                    </a:lnTo>
                    <a:lnTo>
                      <a:pt x="1096" y="1238"/>
                    </a:lnTo>
                    <a:lnTo>
                      <a:pt x="1096" y="1236"/>
                    </a:lnTo>
                    <a:lnTo>
                      <a:pt x="1095" y="1236"/>
                    </a:lnTo>
                    <a:lnTo>
                      <a:pt x="1096" y="1238"/>
                    </a:lnTo>
                    <a:lnTo>
                      <a:pt x="1095" y="1238"/>
                    </a:lnTo>
                    <a:lnTo>
                      <a:pt x="1095" y="1240"/>
                    </a:lnTo>
                    <a:lnTo>
                      <a:pt x="1095" y="1238"/>
                    </a:lnTo>
                    <a:lnTo>
                      <a:pt x="1093" y="1240"/>
                    </a:lnTo>
                    <a:lnTo>
                      <a:pt x="1095" y="1238"/>
                    </a:lnTo>
                    <a:lnTo>
                      <a:pt x="1093" y="1238"/>
                    </a:lnTo>
                    <a:lnTo>
                      <a:pt x="1095" y="1236"/>
                    </a:lnTo>
                    <a:lnTo>
                      <a:pt x="1093" y="1236"/>
                    </a:lnTo>
                    <a:lnTo>
                      <a:pt x="1095" y="1236"/>
                    </a:lnTo>
                    <a:lnTo>
                      <a:pt x="1093" y="1236"/>
                    </a:lnTo>
                    <a:lnTo>
                      <a:pt x="1095" y="1234"/>
                    </a:lnTo>
                    <a:lnTo>
                      <a:pt x="1093" y="1234"/>
                    </a:lnTo>
                    <a:lnTo>
                      <a:pt x="1093" y="1236"/>
                    </a:lnTo>
                    <a:lnTo>
                      <a:pt x="1091" y="1236"/>
                    </a:lnTo>
                    <a:lnTo>
                      <a:pt x="1091" y="1234"/>
                    </a:lnTo>
                    <a:lnTo>
                      <a:pt x="1089" y="1232"/>
                    </a:lnTo>
                    <a:lnTo>
                      <a:pt x="1089" y="1234"/>
                    </a:lnTo>
                    <a:lnTo>
                      <a:pt x="1089" y="1232"/>
                    </a:lnTo>
                    <a:lnTo>
                      <a:pt x="1089" y="1230"/>
                    </a:lnTo>
                    <a:lnTo>
                      <a:pt x="1089" y="1228"/>
                    </a:lnTo>
                    <a:lnTo>
                      <a:pt x="1089" y="1227"/>
                    </a:lnTo>
                    <a:lnTo>
                      <a:pt x="1089" y="1228"/>
                    </a:lnTo>
                    <a:lnTo>
                      <a:pt x="1087" y="1230"/>
                    </a:lnTo>
                    <a:lnTo>
                      <a:pt x="1087" y="1228"/>
                    </a:lnTo>
                    <a:lnTo>
                      <a:pt x="1085" y="1227"/>
                    </a:lnTo>
                    <a:lnTo>
                      <a:pt x="1085" y="1228"/>
                    </a:lnTo>
                    <a:lnTo>
                      <a:pt x="1085" y="1227"/>
                    </a:lnTo>
                    <a:lnTo>
                      <a:pt x="1083" y="1227"/>
                    </a:lnTo>
                    <a:lnTo>
                      <a:pt x="1083" y="1225"/>
                    </a:lnTo>
                    <a:lnTo>
                      <a:pt x="1085" y="1225"/>
                    </a:lnTo>
                    <a:lnTo>
                      <a:pt x="1085" y="1223"/>
                    </a:lnTo>
                    <a:lnTo>
                      <a:pt x="1085" y="1225"/>
                    </a:lnTo>
                    <a:lnTo>
                      <a:pt x="1083" y="1225"/>
                    </a:lnTo>
                    <a:lnTo>
                      <a:pt x="1085" y="1223"/>
                    </a:lnTo>
                    <a:lnTo>
                      <a:pt x="1081" y="1221"/>
                    </a:lnTo>
                    <a:lnTo>
                      <a:pt x="1081" y="1219"/>
                    </a:lnTo>
                    <a:lnTo>
                      <a:pt x="1081" y="1217"/>
                    </a:lnTo>
                    <a:lnTo>
                      <a:pt x="1079" y="1217"/>
                    </a:lnTo>
                    <a:lnTo>
                      <a:pt x="1079" y="1215"/>
                    </a:lnTo>
                    <a:lnTo>
                      <a:pt x="1079" y="1217"/>
                    </a:lnTo>
                    <a:lnTo>
                      <a:pt x="1077" y="1217"/>
                    </a:lnTo>
                    <a:lnTo>
                      <a:pt x="1079" y="1217"/>
                    </a:lnTo>
                    <a:lnTo>
                      <a:pt x="1079" y="1219"/>
                    </a:lnTo>
                    <a:lnTo>
                      <a:pt x="1077" y="1219"/>
                    </a:lnTo>
                    <a:lnTo>
                      <a:pt x="1077" y="1217"/>
                    </a:lnTo>
                    <a:lnTo>
                      <a:pt x="1076" y="1217"/>
                    </a:lnTo>
                    <a:lnTo>
                      <a:pt x="1077" y="1215"/>
                    </a:lnTo>
                    <a:lnTo>
                      <a:pt x="1077" y="1213"/>
                    </a:lnTo>
                    <a:lnTo>
                      <a:pt x="1079" y="1215"/>
                    </a:lnTo>
                    <a:lnTo>
                      <a:pt x="1077" y="1213"/>
                    </a:lnTo>
                    <a:lnTo>
                      <a:pt x="1077" y="1215"/>
                    </a:lnTo>
                    <a:lnTo>
                      <a:pt x="1076" y="1215"/>
                    </a:lnTo>
                    <a:lnTo>
                      <a:pt x="1076" y="1213"/>
                    </a:lnTo>
                    <a:lnTo>
                      <a:pt x="1076" y="1211"/>
                    </a:lnTo>
                    <a:lnTo>
                      <a:pt x="1076" y="1209"/>
                    </a:lnTo>
                    <a:lnTo>
                      <a:pt x="1077" y="1209"/>
                    </a:lnTo>
                    <a:lnTo>
                      <a:pt x="1079" y="1207"/>
                    </a:lnTo>
                    <a:lnTo>
                      <a:pt x="1077" y="1207"/>
                    </a:lnTo>
                    <a:lnTo>
                      <a:pt x="1076" y="1209"/>
                    </a:lnTo>
                    <a:lnTo>
                      <a:pt x="1074" y="1209"/>
                    </a:lnTo>
                    <a:lnTo>
                      <a:pt x="1076" y="1209"/>
                    </a:lnTo>
                    <a:lnTo>
                      <a:pt x="1076" y="1211"/>
                    </a:lnTo>
                    <a:lnTo>
                      <a:pt x="1074" y="1213"/>
                    </a:lnTo>
                    <a:lnTo>
                      <a:pt x="1074" y="1215"/>
                    </a:lnTo>
                    <a:lnTo>
                      <a:pt x="1074" y="1217"/>
                    </a:lnTo>
                    <a:lnTo>
                      <a:pt x="1072" y="1215"/>
                    </a:lnTo>
                    <a:lnTo>
                      <a:pt x="1074" y="1215"/>
                    </a:lnTo>
                    <a:lnTo>
                      <a:pt x="1072" y="1215"/>
                    </a:lnTo>
                    <a:lnTo>
                      <a:pt x="1072" y="1211"/>
                    </a:lnTo>
                    <a:lnTo>
                      <a:pt x="1074" y="1211"/>
                    </a:lnTo>
                    <a:lnTo>
                      <a:pt x="1074" y="1209"/>
                    </a:lnTo>
                    <a:lnTo>
                      <a:pt x="1072" y="1209"/>
                    </a:lnTo>
                    <a:lnTo>
                      <a:pt x="1072" y="1211"/>
                    </a:lnTo>
                    <a:lnTo>
                      <a:pt x="1072" y="1213"/>
                    </a:lnTo>
                    <a:lnTo>
                      <a:pt x="1070" y="1213"/>
                    </a:lnTo>
                    <a:lnTo>
                      <a:pt x="1070" y="1211"/>
                    </a:lnTo>
                    <a:lnTo>
                      <a:pt x="1068" y="1209"/>
                    </a:lnTo>
                    <a:lnTo>
                      <a:pt x="1068" y="1211"/>
                    </a:lnTo>
                    <a:lnTo>
                      <a:pt x="1068" y="1209"/>
                    </a:lnTo>
                    <a:lnTo>
                      <a:pt x="1068" y="1211"/>
                    </a:lnTo>
                    <a:lnTo>
                      <a:pt x="1068" y="1213"/>
                    </a:lnTo>
                    <a:lnTo>
                      <a:pt x="1066" y="1213"/>
                    </a:lnTo>
                    <a:lnTo>
                      <a:pt x="1066" y="1215"/>
                    </a:lnTo>
                    <a:lnTo>
                      <a:pt x="1064" y="1215"/>
                    </a:lnTo>
                    <a:lnTo>
                      <a:pt x="1066" y="1215"/>
                    </a:lnTo>
                    <a:lnTo>
                      <a:pt x="1064" y="1215"/>
                    </a:lnTo>
                    <a:lnTo>
                      <a:pt x="1066" y="1215"/>
                    </a:lnTo>
                    <a:lnTo>
                      <a:pt x="1066" y="1213"/>
                    </a:lnTo>
                    <a:lnTo>
                      <a:pt x="1064" y="1213"/>
                    </a:lnTo>
                    <a:lnTo>
                      <a:pt x="1066" y="1213"/>
                    </a:lnTo>
                    <a:lnTo>
                      <a:pt x="1066" y="1215"/>
                    </a:lnTo>
                    <a:lnTo>
                      <a:pt x="1066" y="1213"/>
                    </a:lnTo>
                    <a:lnTo>
                      <a:pt x="1066" y="1211"/>
                    </a:lnTo>
                    <a:lnTo>
                      <a:pt x="1066" y="1213"/>
                    </a:lnTo>
                    <a:lnTo>
                      <a:pt x="1066" y="1211"/>
                    </a:lnTo>
                    <a:lnTo>
                      <a:pt x="1066" y="1209"/>
                    </a:lnTo>
                    <a:lnTo>
                      <a:pt x="1064" y="1209"/>
                    </a:lnTo>
                    <a:lnTo>
                      <a:pt x="1064" y="1207"/>
                    </a:lnTo>
                    <a:lnTo>
                      <a:pt x="1064" y="1206"/>
                    </a:lnTo>
                    <a:lnTo>
                      <a:pt x="1066" y="1207"/>
                    </a:lnTo>
                    <a:lnTo>
                      <a:pt x="1066" y="1206"/>
                    </a:lnTo>
                    <a:lnTo>
                      <a:pt x="1066" y="1207"/>
                    </a:lnTo>
                    <a:lnTo>
                      <a:pt x="1066" y="1206"/>
                    </a:lnTo>
                    <a:lnTo>
                      <a:pt x="1066" y="1204"/>
                    </a:lnTo>
                    <a:lnTo>
                      <a:pt x="1066" y="1202"/>
                    </a:lnTo>
                    <a:lnTo>
                      <a:pt x="1066" y="1200"/>
                    </a:lnTo>
                    <a:lnTo>
                      <a:pt x="1064" y="1200"/>
                    </a:lnTo>
                    <a:lnTo>
                      <a:pt x="1066" y="1202"/>
                    </a:lnTo>
                    <a:lnTo>
                      <a:pt x="1066" y="1204"/>
                    </a:lnTo>
                    <a:lnTo>
                      <a:pt x="1064" y="1204"/>
                    </a:lnTo>
                    <a:lnTo>
                      <a:pt x="1062" y="1204"/>
                    </a:lnTo>
                    <a:lnTo>
                      <a:pt x="1064" y="1206"/>
                    </a:lnTo>
                    <a:lnTo>
                      <a:pt x="1062" y="1207"/>
                    </a:lnTo>
                    <a:lnTo>
                      <a:pt x="1062" y="1206"/>
                    </a:lnTo>
                    <a:lnTo>
                      <a:pt x="1062" y="1204"/>
                    </a:lnTo>
                    <a:lnTo>
                      <a:pt x="1062" y="1206"/>
                    </a:lnTo>
                    <a:lnTo>
                      <a:pt x="1060" y="1204"/>
                    </a:lnTo>
                    <a:lnTo>
                      <a:pt x="1062" y="1206"/>
                    </a:lnTo>
                    <a:lnTo>
                      <a:pt x="1060" y="1207"/>
                    </a:lnTo>
                    <a:lnTo>
                      <a:pt x="1060" y="1206"/>
                    </a:lnTo>
                    <a:lnTo>
                      <a:pt x="1058" y="1206"/>
                    </a:lnTo>
                    <a:lnTo>
                      <a:pt x="1058" y="1204"/>
                    </a:lnTo>
                    <a:lnTo>
                      <a:pt x="1056" y="1202"/>
                    </a:lnTo>
                    <a:lnTo>
                      <a:pt x="1056" y="1200"/>
                    </a:lnTo>
                    <a:lnTo>
                      <a:pt x="1056" y="1198"/>
                    </a:lnTo>
                    <a:lnTo>
                      <a:pt x="1058" y="1198"/>
                    </a:lnTo>
                    <a:lnTo>
                      <a:pt x="1058" y="1196"/>
                    </a:lnTo>
                    <a:lnTo>
                      <a:pt x="1056" y="1194"/>
                    </a:lnTo>
                    <a:lnTo>
                      <a:pt x="1056" y="1196"/>
                    </a:lnTo>
                    <a:lnTo>
                      <a:pt x="1055" y="1196"/>
                    </a:lnTo>
                    <a:lnTo>
                      <a:pt x="1055" y="1198"/>
                    </a:lnTo>
                    <a:lnTo>
                      <a:pt x="1056" y="1198"/>
                    </a:lnTo>
                    <a:lnTo>
                      <a:pt x="1056" y="1200"/>
                    </a:lnTo>
                    <a:lnTo>
                      <a:pt x="1055" y="1200"/>
                    </a:lnTo>
                    <a:lnTo>
                      <a:pt x="1055" y="1198"/>
                    </a:lnTo>
                    <a:lnTo>
                      <a:pt x="1055" y="1200"/>
                    </a:lnTo>
                    <a:lnTo>
                      <a:pt x="1053" y="1198"/>
                    </a:lnTo>
                    <a:lnTo>
                      <a:pt x="1051" y="1198"/>
                    </a:lnTo>
                    <a:lnTo>
                      <a:pt x="1051" y="1200"/>
                    </a:lnTo>
                    <a:lnTo>
                      <a:pt x="1053" y="1200"/>
                    </a:lnTo>
                    <a:lnTo>
                      <a:pt x="1055" y="1202"/>
                    </a:lnTo>
                    <a:lnTo>
                      <a:pt x="1056" y="1204"/>
                    </a:lnTo>
                    <a:lnTo>
                      <a:pt x="1058" y="1206"/>
                    </a:lnTo>
                    <a:lnTo>
                      <a:pt x="1060" y="1207"/>
                    </a:lnTo>
                    <a:lnTo>
                      <a:pt x="1058" y="1207"/>
                    </a:lnTo>
                    <a:lnTo>
                      <a:pt x="1058" y="1209"/>
                    </a:lnTo>
                    <a:lnTo>
                      <a:pt x="1056" y="1207"/>
                    </a:lnTo>
                    <a:lnTo>
                      <a:pt x="1056" y="1209"/>
                    </a:lnTo>
                    <a:lnTo>
                      <a:pt x="1058" y="1209"/>
                    </a:lnTo>
                    <a:lnTo>
                      <a:pt x="1056" y="1209"/>
                    </a:lnTo>
                    <a:lnTo>
                      <a:pt x="1058" y="1211"/>
                    </a:lnTo>
                    <a:lnTo>
                      <a:pt x="1058" y="1213"/>
                    </a:lnTo>
                    <a:lnTo>
                      <a:pt x="1058" y="1211"/>
                    </a:lnTo>
                    <a:lnTo>
                      <a:pt x="1056" y="1213"/>
                    </a:lnTo>
                    <a:lnTo>
                      <a:pt x="1056" y="1211"/>
                    </a:lnTo>
                    <a:lnTo>
                      <a:pt x="1058" y="1213"/>
                    </a:lnTo>
                    <a:lnTo>
                      <a:pt x="1056" y="1213"/>
                    </a:lnTo>
                    <a:lnTo>
                      <a:pt x="1056" y="1215"/>
                    </a:lnTo>
                    <a:lnTo>
                      <a:pt x="1055" y="1213"/>
                    </a:lnTo>
                    <a:lnTo>
                      <a:pt x="1053" y="1213"/>
                    </a:lnTo>
                    <a:lnTo>
                      <a:pt x="1051" y="1211"/>
                    </a:lnTo>
                    <a:lnTo>
                      <a:pt x="1051" y="1213"/>
                    </a:lnTo>
                    <a:lnTo>
                      <a:pt x="1051" y="1211"/>
                    </a:lnTo>
                    <a:lnTo>
                      <a:pt x="1049" y="1211"/>
                    </a:lnTo>
                    <a:lnTo>
                      <a:pt x="1047" y="1209"/>
                    </a:lnTo>
                    <a:lnTo>
                      <a:pt x="1049" y="1211"/>
                    </a:lnTo>
                    <a:lnTo>
                      <a:pt x="1047" y="1211"/>
                    </a:lnTo>
                    <a:lnTo>
                      <a:pt x="1049" y="1211"/>
                    </a:lnTo>
                    <a:lnTo>
                      <a:pt x="1047" y="1213"/>
                    </a:lnTo>
                    <a:lnTo>
                      <a:pt x="1047" y="1209"/>
                    </a:lnTo>
                    <a:lnTo>
                      <a:pt x="1043" y="1207"/>
                    </a:lnTo>
                    <a:lnTo>
                      <a:pt x="1043" y="1209"/>
                    </a:lnTo>
                    <a:lnTo>
                      <a:pt x="1043" y="1207"/>
                    </a:lnTo>
                    <a:lnTo>
                      <a:pt x="1041" y="1207"/>
                    </a:lnTo>
                    <a:lnTo>
                      <a:pt x="1039" y="1207"/>
                    </a:lnTo>
                    <a:lnTo>
                      <a:pt x="1039" y="1206"/>
                    </a:lnTo>
                    <a:lnTo>
                      <a:pt x="1037" y="1206"/>
                    </a:lnTo>
                    <a:lnTo>
                      <a:pt x="1039" y="1206"/>
                    </a:lnTo>
                    <a:lnTo>
                      <a:pt x="1037" y="1206"/>
                    </a:lnTo>
                    <a:lnTo>
                      <a:pt x="1039" y="1207"/>
                    </a:lnTo>
                    <a:lnTo>
                      <a:pt x="1037" y="1207"/>
                    </a:lnTo>
                    <a:lnTo>
                      <a:pt x="1039" y="1209"/>
                    </a:lnTo>
                    <a:lnTo>
                      <a:pt x="1037" y="1207"/>
                    </a:lnTo>
                    <a:lnTo>
                      <a:pt x="1041" y="1211"/>
                    </a:lnTo>
                    <a:lnTo>
                      <a:pt x="1039" y="1211"/>
                    </a:lnTo>
                    <a:lnTo>
                      <a:pt x="1037" y="1209"/>
                    </a:lnTo>
                    <a:lnTo>
                      <a:pt x="1037" y="1211"/>
                    </a:lnTo>
                    <a:lnTo>
                      <a:pt x="1039" y="1211"/>
                    </a:lnTo>
                    <a:lnTo>
                      <a:pt x="1037" y="1211"/>
                    </a:lnTo>
                    <a:lnTo>
                      <a:pt x="1037" y="1213"/>
                    </a:lnTo>
                    <a:lnTo>
                      <a:pt x="1039" y="1215"/>
                    </a:lnTo>
                    <a:lnTo>
                      <a:pt x="1037" y="1213"/>
                    </a:lnTo>
                    <a:lnTo>
                      <a:pt x="1037" y="1215"/>
                    </a:lnTo>
                    <a:lnTo>
                      <a:pt x="1037" y="1213"/>
                    </a:lnTo>
                    <a:lnTo>
                      <a:pt x="1035" y="1215"/>
                    </a:lnTo>
                    <a:lnTo>
                      <a:pt x="1035" y="1213"/>
                    </a:lnTo>
                    <a:lnTo>
                      <a:pt x="1034" y="1213"/>
                    </a:lnTo>
                    <a:lnTo>
                      <a:pt x="1034" y="1215"/>
                    </a:lnTo>
                    <a:lnTo>
                      <a:pt x="1034" y="1213"/>
                    </a:lnTo>
                    <a:lnTo>
                      <a:pt x="1034" y="1215"/>
                    </a:lnTo>
                    <a:lnTo>
                      <a:pt x="1032" y="1215"/>
                    </a:lnTo>
                    <a:lnTo>
                      <a:pt x="1034" y="1215"/>
                    </a:lnTo>
                    <a:lnTo>
                      <a:pt x="1032" y="1215"/>
                    </a:lnTo>
                    <a:lnTo>
                      <a:pt x="1030" y="1215"/>
                    </a:lnTo>
                    <a:lnTo>
                      <a:pt x="1030" y="1217"/>
                    </a:lnTo>
                    <a:lnTo>
                      <a:pt x="1032" y="1217"/>
                    </a:lnTo>
                    <a:lnTo>
                      <a:pt x="1030" y="1219"/>
                    </a:lnTo>
                    <a:lnTo>
                      <a:pt x="1030" y="1217"/>
                    </a:lnTo>
                    <a:lnTo>
                      <a:pt x="1028" y="1217"/>
                    </a:lnTo>
                    <a:lnTo>
                      <a:pt x="1030" y="1217"/>
                    </a:lnTo>
                    <a:lnTo>
                      <a:pt x="1028" y="1219"/>
                    </a:lnTo>
                    <a:lnTo>
                      <a:pt x="1028" y="1217"/>
                    </a:lnTo>
                    <a:lnTo>
                      <a:pt x="1026" y="1217"/>
                    </a:lnTo>
                    <a:lnTo>
                      <a:pt x="1024" y="1217"/>
                    </a:lnTo>
                    <a:lnTo>
                      <a:pt x="1024" y="1219"/>
                    </a:lnTo>
                    <a:lnTo>
                      <a:pt x="1024" y="1221"/>
                    </a:lnTo>
                    <a:lnTo>
                      <a:pt x="1022" y="1221"/>
                    </a:lnTo>
                    <a:lnTo>
                      <a:pt x="1022" y="1219"/>
                    </a:lnTo>
                    <a:lnTo>
                      <a:pt x="1020" y="1219"/>
                    </a:lnTo>
                    <a:lnTo>
                      <a:pt x="1018" y="1217"/>
                    </a:lnTo>
                    <a:lnTo>
                      <a:pt x="1020" y="1219"/>
                    </a:lnTo>
                    <a:lnTo>
                      <a:pt x="1018" y="1219"/>
                    </a:lnTo>
                    <a:lnTo>
                      <a:pt x="1016" y="1217"/>
                    </a:lnTo>
                    <a:lnTo>
                      <a:pt x="1013" y="1219"/>
                    </a:lnTo>
                    <a:lnTo>
                      <a:pt x="1013" y="1217"/>
                    </a:lnTo>
                    <a:lnTo>
                      <a:pt x="1013" y="1215"/>
                    </a:lnTo>
                    <a:lnTo>
                      <a:pt x="1011" y="1217"/>
                    </a:lnTo>
                    <a:lnTo>
                      <a:pt x="1011" y="1215"/>
                    </a:lnTo>
                    <a:lnTo>
                      <a:pt x="1011" y="1217"/>
                    </a:lnTo>
                    <a:lnTo>
                      <a:pt x="1011" y="1215"/>
                    </a:lnTo>
                    <a:lnTo>
                      <a:pt x="1009" y="1215"/>
                    </a:lnTo>
                    <a:lnTo>
                      <a:pt x="1009" y="1213"/>
                    </a:lnTo>
                    <a:lnTo>
                      <a:pt x="1009" y="1215"/>
                    </a:lnTo>
                    <a:lnTo>
                      <a:pt x="1009" y="1213"/>
                    </a:lnTo>
                    <a:lnTo>
                      <a:pt x="1009" y="1215"/>
                    </a:lnTo>
                    <a:lnTo>
                      <a:pt x="1009" y="1217"/>
                    </a:lnTo>
                    <a:lnTo>
                      <a:pt x="1009" y="1215"/>
                    </a:lnTo>
                    <a:lnTo>
                      <a:pt x="1007" y="1215"/>
                    </a:lnTo>
                    <a:lnTo>
                      <a:pt x="1005" y="1213"/>
                    </a:lnTo>
                    <a:lnTo>
                      <a:pt x="1005" y="1215"/>
                    </a:lnTo>
                    <a:lnTo>
                      <a:pt x="1005" y="1213"/>
                    </a:lnTo>
                    <a:lnTo>
                      <a:pt x="1005" y="1211"/>
                    </a:lnTo>
                    <a:lnTo>
                      <a:pt x="1003" y="1213"/>
                    </a:lnTo>
                    <a:lnTo>
                      <a:pt x="1003" y="1211"/>
                    </a:lnTo>
                    <a:lnTo>
                      <a:pt x="1001" y="1209"/>
                    </a:lnTo>
                    <a:lnTo>
                      <a:pt x="1003" y="1209"/>
                    </a:lnTo>
                    <a:lnTo>
                      <a:pt x="999" y="1207"/>
                    </a:lnTo>
                    <a:lnTo>
                      <a:pt x="1001" y="1206"/>
                    </a:lnTo>
                    <a:lnTo>
                      <a:pt x="999" y="1206"/>
                    </a:lnTo>
                    <a:lnTo>
                      <a:pt x="1001" y="1204"/>
                    </a:lnTo>
                    <a:lnTo>
                      <a:pt x="999" y="1204"/>
                    </a:lnTo>
                    <a:lnTo>
                      <a:pt x="1001" y="1204"/>
                    </a:lnTo>
                    <a:lnTo>
                      <a:pt x="999" y="1204"/>
                    </a:lnTo>
                    <a:lnTo>
                      <a:pt x="1001" y="1202"/>
                    </a:lnTo>
                    <a:lnTo>
                      <a:pt x="999" y="1202"/>
                    </a:lnTo>
                    <a:lnTo>
                      <a:pt x="1001" y="1202"/>
                    </a:lnTo>
                    <a:lnTo>
                      <a:pt x="1001" y="1200"/>
                    </a:lnTo>
                    <a:lnTo>
                      <a:pt x="1001" y="1198"/>
                    </a:lnTo>
                    <a:lnTo>
                      <a:pt x="1001" y="1196"/>
                    </a:lnTo>
                    <a:lnTo>
                      <a:pt x="1001" y="1194"/>
                    </a:lnTo>
                    <a:lnTo>
                      <a:pt x="1001" y="1192"/>
                    </a:lnTo>
                    <a:lnTo>
                      <a:pt x="1003" y="1190"/>
                    </a:lnTo>
                    <a:lnTo>
                      <a:pt x="1003" y="1188"/>
                    </a:lnTo>
                    <a:lnTo>
                      <a:pt x="1005" y="1188"/>
                    </a:lnTo>
                    <a:lnTo>
                      <a:pt x="1007" y="1188"/>
                    </a:lnTo>
                    <a:lnTo>
                      <a:pt x="1007" y="1186"/>
                    </a:lnTo>
                    <a:lnTo>
                      <a:pt x="1009" y="1186"/>
                    </a:lnTo>
                    <a:lnTo>
                      <a:pt x="1011" y="1186"/>
                    </a:lnTo>
                    <a:lnTo>
                      <a:pt x="1013" y="1185"/>
                    </a:lnTo>
                    <a:lnTo>
                      <a:pt x="1014" y="1185"/>
                    </a:lnTo>
                    <a:lnTo>
                      <a:pt x="1013" y="1181"/>
                    </a:lnTo>
                    <a:lnTo>
                      <a:pt x="1011" y="1179"/>
                    </a:lnTo>
                    <a:lnTo>
                      <a:pt x="1011" y="1177"/>
                    </a:lnTo>
                    <a:lnTo>
                      <a:pt x="1013" y="1177"/>
                    </a:lnTo>
                    <a:lnTo>
                      <a:pt x="1014" y="1177"/>
                    </a:lnTo>
                    <a:lnTo>
                      <a:pt x="1013" y="1175"/>
                    </a:lnTo>
                    <a:lnTo>
                      <a:pt x="1013" y="1173"/>
                    </a:lnTo>
                    <a:lnTo>
                      <a:pt x="1014" y="1173"/>
                    </a:lnTo>
                    <a:lnTo>
                      <a:pt x="1016" y="1173"/>
                    </a:lnTo>
                    <a:lnTo>
                      <a:pt x="1018" y="1175"/>
                    </a:lnTo>
                    <a:lnTo>
                      <a:pt x="1020" y="1175"/>
                    </a:lnTo>
                    <a:lnTo>
                      <a:pt x="1022" y="1175"/>
                    </a:lnTo>
                    <a:lnTo>
                      <a:pt x="1024" y="1175"/>
                    </a:lnTo>
                    <a:lnTo>
                      <a:pt x="1034" y="1181"/>
                    </a:lnTo>
                    <a:lnTo>
                      <a:pt x="1032" y="1181"/>
                    </a:lnTo>
                    <a:lnTo>
                      <a:pt x="1034" y="1181"/>
                    </a:lnTo>
                    <a:lnTo>
                      <a:pt x="1035" y="1181"/>
                    </a:lnTo>
                    <a:lnTo>
                      <a:pt x="1034" y="1181"/>
                    </a:lnTo>
                    <a:lnTo>
                      <a:pt x="1035" y="1181"/>
                    </a:lnTo>
                    <a:lnTo>
                      <a:pt x="1037" y="1181"/>
                    </a:lnTo>
                    <a:lnTo>
                      <a:pt x="1035" y="1181"/>
                    </a:lnTo>
                    <a:lnTo>
                      <a:pt x="1035" y="1179"/>
                    </a:lnTo>
                    <a:lnTo>
                      <a:pt x="1037" y="1179"/>
                    </a:lnTo>
                    <a:lnTo>
                      <a:pt x="1039" y="1179"/>
                    </a:lnTo>
                    <a:lnTo>
                      <a:pt x="1041" y="1179"/>
                    </a:lnTo>
                    <a:lnTo>
                      <a:pt x="1041" y="1181"/>
                    </a:lnTo>
                    <a:lnTo>
                      <a:pt x="1043" y="1181"/>
                    </a:lnTo>
                    <a:lnTo>
                      <a:pt x="1047" y="1181"/>
                    </a:lnTo>
                    <a:lnTo>
                      <a:pt x="1049" y="1181"/>
                    </a:lnTo>
                    <a:lnTo>
                      <a:pt x="1049" y="1179"/>
                    </a:lnTo>
                    <a:lnTo>
                      <a:pt x="1049" y="1177"/>
                    </a:lnTo>
                    <a:lnTo>
                      <a:pt x="1051" y="1177"/>
                    </a:lnTo>
                    <a:lnTo>
                      <a:pt x="1053" y="1177"/>
                    </a:lnTo>
                    <a:lnTo>
                      <a:pt x="1055" y="1177"/>
                    </a:lnTo>
                    <a:lnTo>
                      <a:pt x="1055" y="1175"/>
                    </a:lnTo>
                    <a:lnTo>
                      <a:pt x="1056" y="1175"/>
                    </a:lnTo>
                    <a:lnTo>
                      <a:pt x="1055" y="1177"/>
                    </a:lnTo>
                    <a:lnTo>
                      <a:pt x="1056" y="1175"/>
                    </a:lnTo>
                    <a:lnTo>
                      <a:pt x="1056" y="1177"/>
                    </a:lnTo>
                    <a:lnTo>
                      <a:pt x="1056" y="1179"/>
                    </a:lnTo>
                    <a:lnTo>
                      <a:pt x="1058" y="1179"/>
                    </a:lnTo>
                    <a:lnTo>
                      <a:pt x="1060" y="1175"/>
                    </a:lnTo>
                    <a:lnTo>
                      <a:pt x="1062" y="1173"/>
                    </a:lnTo>
                    <a:lnTo>
                      <a:pt x="1064" y="1173"/>
                    </a:lnTo>
                    <a:lnTo>
                      <a:pt x="1064" y="1171"/>
                    </a:lnTo>
                    <a:lnTo>
                      <a:pt x="1066" y="1171"/>
                    </a:lnTo>
                    <a:lnTo>
                      <a:pt x="1068" y="1171"/>
                    </a:lnTo>
                    <a:lnTo>
                      <a:pt x="1070" y="1171"/>
                    </a:lnTo>
                    <a:lnTo>
                      <a:pt x="1070" y="1173"/>
                    </a:lnTo>
                    <a:lnTo>
                      <a:pt x="1072" y="1173"/>
                    </a:lnTo>
                    <a:lnTo>
                      <a:pt x="1074" y="1173"/>
                    </a:lnTo>
                    <a:lnTo>
                      <a:pt x="1074" y="1175"/>
                    </a:lnTo>
                    <a:lnTo>
                      <a:pt x="1074" y="1173"/>
                    </a:lnTo>
                    <a:lnTo>
                      <a:pt x="1076" y="1173"/>
                    </a:lnTo>
                    <a:lnTo>
                      <a:pt x="1074" y="1173"/>
                    </a:lnTo>
                    <a:lnTo>
                      <a:pt x="1074" y="1171"/>
                    </a:lnTo>
                    <a:lnTo>
                      <a:pt x="1072" y="1167"/>
                    </a:lnTo>
                    <a:lnTo>
                      <a:pt x="1074" y="1167"/>
                    </a:lnTo>
                    <a:lnTo>
                      <a:pt x="1072" y="1165"/>
                    </a:lnTo>
                    <a:lnTo>
                      <a:pt x="1072" y="1164"/>
                    </a:lnTo>
                    <a:lnTo>
                      <a:pt x="1072" y="1162"/>
                    </a:lnTo>
                    <a:lnTo>
                      <a:pt x="1068" y="1160"/>
                    </a:lnTo>
                    <a:lnTo>
                      <a:pt x="1066" y="1160"/>
                    </a:lnTo>
                    <a:lnTo>
                      <a:pt x="1066" y="1158"/>
                    </a:lnTo>
                    <a:lnTo>
                      <a:pt x="1064" y="1154"/>
                    </a:lnTo>
                    <a:lnTo>
                      <a:pt x="1060" y="1150"/>
                    </a:lnTo>
                    <a:lnTo>
                      <a:pt x="1060" y="1146"/>
                    </a:lnTo>
                    <a:lnTo>
                      <a:pt x="1060" y="1145"/>
                    </a:lnTo>
                    <a:lnTo>
                      <a:pt x="1068" y="1139"/>
                    </a:lnTo>
                    <a:lnTo>
                      <a:pt x="1072" y="1135"/>
                    </a:lnTo>
                    <a:lnTo>
                      <a:pt x="1074" y="1133"/>
                    </a:lnTo>
                    <a:lnTo>
                      <a:pt x="1076" y="1131"/>
                    </a:lnTo>
                    <a:lnTo>
                      <a:pt x="1076" y="1129"/>
                    </a:lnTo>
                    <a:lnTo>
                      <a:pt x="1077" y="1127"/>
                    </a:lnTo>
                    <a:lnTo>
                      <a:pt x="1081" y="1124"/>
                    </a:lnTo>
                    <a:lnTo>
                      <a:pt x="1083" y="1124"/>
                    </a:lnTo>
                    <a:lnTo>
                      <a:pt x="1083" y="1118"/>
                    </a:lnTo>
                    <a:lnTo>
                      <a:pt x="1085" y="1116"/>
                    </a:lnTo>
                    <a:lnTo>
                      <a:pt x="1085" y="1112"/>
                    </a:lnTo>
                    <a:lnTo>
                      <a:pt x="1089" y="1110"/>
                    </a:lnTo>
                    <a:lnTo>
                      <a:pt x="1091" y="1110"/>
                    </a:lnTo>
                    <a:lnTo>
                      <a:pt x="1093" y="1108"/>
                    </a:lnTo>
                    <a:lnTo>
                      <a:pt x="1095" y="1106"/>
                    </a:lnTo>
                    <a:lnTo>
                      <a:pt x="1095" y="1103"/>
                    </a:lnTo>
                    <a:lnTo>
                      <a:pt x="1096" y="1103"/>
                    </a:lnTo>
                    <a:lnTo>
                      <a:pt x="1095" y="1101"/>
                    </a:lnTo>
                    <a:lnTo>
                      <a:pt x="1093" y="1099"/>
                    </a:lnTo>
                    <a:lnTo>
                      <a:pt x="1093" y="1095"/>
                    </a:lnTo>
                    <a:lnTo>
                      <a:pt x="1093" y="1093"/>
                    </a:lnTo>
                    <a:lnTo>
                      <a:pt x="1091" y="1093"/>
                    </a:lnTo>
                    <a:lnTo>
                      <a:pt x="1091" y="1091"/>
                    </a:lnTo>
                    <a:lnTo>
                      <a:pt x="1093" y="1091"/>
                    </a:lnTo>
                    <a:lnTo>
                      <a:pt x="1091" y="1089"/>
                    </a:lnTo>
                    <a:lnTo>
                      <a:pt x="1091" y="1087"/>
                    </a:lnTo>
                    <a:lnTo>
                      <a:pt x="1089" y="1087"/>
                    </a:lnTo>
                    <a:lnTo>
                      <a:pt x="1089" y="1085"/>
                    </a:lnTo>
                    <a:lnTo>
                      <a:pt x="1089" y="1082"/>
                    </a:lnTo>
                    <a:lnTo>
                      <a:pt x="1087" y="1078"/>
                    </a:lnTo>
                    <a:lnTo>
                      <a:pt x="1087" y="1076"/>
                    </a:lnTo>
                    <a:lnTo>
                      <a:pt x="1085" y="1078"/>
                    </a:lnTo>
                    <a:lnTo>
                      <a:pt x="1083" y="1074"/>
                    </a:lnTo>
                    <a:lnTo>
                      <a:pt x="1085" y="1074"/>
                    </a:lnTo>
                    <a:lnTo>
                      <a:pt x="1083" y="1074"/>
                    </a:lnTo>
                    <a:lnTo>
                      <a:pt x="1085" y="1072"/>
                    </a:lnTo>
                    <a:lnTo>
                      <a:pt x="1083" y="1072"/>
                    </a:lnTo>
                    <a:lnTo>
                      <a:pt x="1085" y="1070"/>
                    </a:lnTo>
                    <a:lnTo>
                      <a:pt x="1083" y="1070"/>
                    </a:lnTo>
                    <a:lnTo>
                      <a:pt x="1085" y="1068"/>
                    </a:lnTo>
                    <a:lnTo>
                      <a:pt x="1083" y="1066"/>
                    </a:lnTo>
                    <a:lnTo>
                      <a:pt x="1083" y="1061"/>
                    </a:lnTo>
                    <a:lnTo>
                      <a:pt x="1081" y="1061"/>
                    </a:lnTo>
                    <a:lnTo>
                      <a:pt x="1081" y="1062"/>
                    </a:lnTo>
                    <a:lnTo>
                      <a:pt x="1081" y="1061"/>
                    </a:lnTo>
                    <a:lnTo>
                      <a:pt x="1079" y="1062"/>
                    </a:lnTo>
                    <a:lnTo>
                      <a:pt x="1079" y="1061"/>
                    </a:lnTo>
                    <a:lnTo>
                      <a:pt x="1079" y="1059"/>
                    </a:lnTo>
                    <a:lnTo>
                      <a:pt x="1077" y="1059"/>
                    </a:lnTo>
                    <a:lnTo>
                      <a:pt x="1077" y="1061"/>
                    </a:lnTo>
                    <a:lnTo>
                      <a:pt x="1076" y="1059"/>
                    </a:lnTo>
                    <a:lnTo>
                      <a:pt x="1074" y="1059"/>
                    </a:lnTo>
                    <a:lnTo>
                      <a:pt x="1072" y="1059"/>
                    </a:lnTo>
                    <a:lnTo>
                      <a:pt x="1074" y="1061"/>
                    </a:lnTo>
                    <a:lnTo>
                      <a:pt x="1072" y="1061"/>
                    </a:lnTo>
                    <a:lnTo>
                      <a:pt x="1072" y="1059"/>
                    </a:lnTo>
                    <a:lnTo>
                      <a:pt x="1068" y="1057"/>
                    </a:lnTo>
                    <a:lnTo>
                      <a:pt x="1070" y="1055"/>
                    </a:lnTo>
                    <a:lnTo>
                      <a:pt x="1068" y="1053"/>
                    </a:lnTo>
                    <a:lnTo>
                      <a:pt x="1070" y="1049"/>
                    </a:lnTo>
                    <a:lnTo>
                      <a:pt x="1068" y="1049"/>
                    </a:lnTo>
                    <a:lnTo>
                      <a:pt x="1066" y="1049"/>
                    </a:lnTo>
                    <a:lnTo>
                      <a:pt x="1066" y="1047"/>
                    </a:lnTo>
                    <a:lnTo>
                      <a:pt x="1064" y="1049"/>
                    </a:lnTo>
                    <a:lnTo>
                      <a:pt x="1064" y="1047"/>
                    </a:lnTo>
                    <a:lnTo>
                      <a:pt x="1064" y="1049"/>
                    </a:lnTo>
                    <a:lnTo>
                      <a:pt x="1062" y="1049"/>
                    </a:lnTo>
                    <a:lnTo>
                      <a:pt x="1064" y="1047"/>
                    </a:lnTo>
                    <a:lnTo>
                      <a:pt x="1060" y="1047"/>
                    </a:lnTo>
                    <a:lnTo>
                      <a:pt x="1060" y="1045"/>
                    </a:lnTo>
                    <a:lnTo>
                      <a:pt x="1058" y="1045"/>
                    </a:lnTo>
                    <a:lnTo>
                      <a:pt x="1058" y="1043"/>
                    </a:lnTo>
                    <a:lnTo>
                      <a:pt x="1055" y="1040"/>
                    </a:lnTo>
                    <a:lnTo>
                      <a:pt x="1055" y="1038"/>
                    </a:lnTo>
                    <a:lnTo>
                      <a:pt x="1056" y="1038"/>
                    </a:lnTo>
                    <a:lnTo>
                      <a:pt x="1055" y="1038"/>
                    </a:lnTo>
                    <a:lnTo>
                      <a:pt x="1051" y="1036"/>
                    </a:lnTo>
                    <a:lnTo>
                      <a:pt x="1053" y="1036"/>
                    </a:lnTo>
                    <a:lnTo>
                      <a:pt x="1055" y="1034"/>
                    </a:lnTo>
                    <a:lnTo>
                      <a:pt x="1056" y="1034"/>
                    </a:lnTo>
                    <a:lnTo>
                      <a:pt x="1056" y="1030"/>
                    </a:lnTo>
                    <a:lnTo>
                      <a:pt x="1055" y="1030"/>
                    </a:lnTo>
                    <a:lnTo>
                      <a:pt x="1051" y="1032"/>
                    </a:lnTo>
                    <a:lnTo>
                      <a:pt x="1053" y="1030"/>
                    </a:lnTo>
                    <a:lnTo>
                      <a:pt x="1049" y="1030"/>
                    </a:lnTo>
                    <a:lnTo>
                      <a:pt x="1049" y="1032"/>
                    </a:lnTo>
                    <a:lnTo>
                      <a:pt x="1045" y="1030"/>
                    </a:lnTo>
                    <a:lnTo>
                      <a:pt x="1043" y="1026"/>
                    </a:lnTo>
                    <a:lnTo>
                      <a:pt x="1041" y="1028"/>
                    </a:lnTo>
                    <a:lnTo>
                      <a:pt x="1043" y="1030"/>
                    </a:lnTo>
                    <a:lnTo>
                      <a:pt x="1041" y="1034"/>
                    </a:lnTo>
                    <a:lnTo>
                      <a:pt x="1035" y="1036"/>
                    </a:lnTo>
                    <a:lnTo>
                      <a:pt x="1034" y="1038"/>
                    </a:lnTo>
                    <a:lnTo>
                      <a:pt x="1030" y="1041"/>
                    </a:lnTo>
                    <a:lnTo>
                      <a:pt x="1026" y="1041"/>
                    </a:lnTo>
                    <a:lnTo>
                      <a:pt x="1024" y="1041"/>
                    </a:lnTo>
                    <a:lnTo>
                      <a:pt x="1024" y="1040"/>
                    </a:lnTo>
                    <a:lnTo>
                      <a:pt x="1024" y="1038"/>
                    </a:lnTo>
                    <a:lnTo>
                      <a:pt x="1028" y="1034"/>
                    </a:lnTo>
                    <a:lnTo>
                      <a:pt x="1026" y="1032"/>
                    </a:lnTo>
                    <a:lnTo>
                      <a:pt x="1024" y="1032"/>
                    </a:lnTo>
                    <a:lnTo>
                      <a:pt x="1024" y="1028"/>
                    </a:lnTo>
                    <a:lnTo>
                      <a:pt x="1026" y="1026"/>
                    </a:lnTo>
                    <a:lnTo>
                      <a:pt x="1030" y="1024"/>
                    </a:lnTo>
                    <a:lnTo>
                      <a:pt x="1034" y="1026"/>
                    </a:lnTo>
                    <a:lnTo>
                      <a:pt x="1034" y="1028"/>
                    </a:lnTo>
                    <a:lnTo>
                      <a:pt x="1035" y="1028"/>
                    </a:lnTo>
                    <a:lnTo>
                      <a:pt x="1037" y="1026"/>
                    </a:lnTo>
                    <a:lnTo>
                      <a:pt x="1037" y="1024"/>
                    </a:lnTo>
                    <a:lnTo>
                      <a:pt x="1039" y="1024"/>
                    </a:lnTo>
                    <a:lnTo>
                      <a:pt x="1041" y="1022"/>
                    </a:lnTo>
                    <a:lnTo>
                      <a:pt x="1041" y="1017"/>
                    </a:lnTo>
                    <a:lnTo>
                      <a:pt x="1039" y="1013"/>
                    </a:lnTo>
                    <a:lnTo>
                      <a:pt x="1037" y="1013"/>
                    </a:lnTo>
                    <a:lnTo>
                      <a:pt x="1035" y="1011"/>
                    </a:lnTo>
                    <a:lnTo>
                      <a:pt x="1032" y="1009"/>
                    </a:lnTo>
                    <a:lnTo>
                      <a:pt x="1028" y="1009"/>
                    </a:lnTo>
                    <a:lnTo>
                      <a:pt x="1028" y="1007"/>
                    </a:lnTo>
                    <a:lnTo>
                      <a:pt x="1028" y="1005"/>
                    </a:lnTo>
                    <a:lnTo>
                      <a:pt x="1024" y="1003"/>
                    </a:lnTo>
                    <a:lnTo>
                      <a:pt x="1024" y="999"/>
                    </a:lnTo>
                    <a:lnTo>
                      <a:pt x="1024" y="1001"/>
                    </a:lnTo>
                    <a:lnTo>
                      <a:pt x="1020" y="1001"/>
                    </a:lnTo>
                    <a:lnTo>
                      <a:pt x="1022" y="999"/>
                    </a:lnTo>
                    <a:lnTo>
                      <a:pt x="1020" y="999"/>
                    </a:lnTo>
                    <a:lnTo>
                      <a:pt x="1020" y="1001"/>
                    </a:lnTo>
                    <a:lnTo>
                      <a:pt x="1020" y="999"/>
                    </a:lnTo>
                    <a:lnTo>
                      <a:pt x="1020" y="1001"/>
                    </a:lnTo>
                    <a:lnTo>
                      <a:pt x="1018" y="999"/>
                    </a:lnTo>
                    <a:lnTo>
                      <a:pt x="1016" y="999"/>
                    </a:lnTo>
                    <a:lnTo>
                      <a:pt x="1016" y="998"/>
                    </a:lnTo>
                    <a:lnTo>
                      <a:pt x="1016" y="996"/>
                    </a:lnTo>
                    <a:lnTo>
                      <a:pt x="1018" y="998"/>
                    </a:lnTo>
                    <a:lnTo>
                      <a:pt x="1018" y="996"/>
                    </a:lnTo>
                    <a:lnTo>
                      <a:pt x="1020" y="996"/>
                    </a:lnTo>
                    <a:lnTo>
                      <a:pt x="1020" y="998"/>
                    </a:lnTo>
                    <a:lnTo>
                      <a:pt x="1022" y="996"/>
                    </a:lnTo>
                    <a:lnTo>
                      <a:pt x="1020" y="994"/>
                    </a:lnTo>
                    <a:lnTo>
                      <a:pt x="1018" y="994"/>
                    </a:lnTo>
                    <a:lnTo>
                      <a:pt x="1018" y="992"/>
                    </a:lnTo>
                    <a:lnTo>
                      <a:pt x="1020" y="994"/>
                    </a:lnTo>
                    <a:lnTo>
                      <a:pt x="1020" y="992"/>
                    </a:lnTo>
                    <a:lnTo>
                      <a:pt x="1022" y="990"/>
                    </a:lnTo>
                    <a:lnTo>
                      <a:pt x="1020" y="990"/>
                    </a:lnTo>
                    <a:lnTo>
                      <a:pt x="1018" y="992"/>
                    </a:lnTo>
                    <a:lnTo>
                      <a:pt x="1018" y="988"/>
                    </a:lnTo>
                    <a:lnTo>
                      <a:pt x="1016" y="990"/>
                    </a:lnTo>
                    <a:lnTo>
                      <a:pt x="1014" y="990"/>
                    </a:lnTo>
                    <a:lnTo>
                      <a:pt x="1014" y="988"/>
                    </a:lnTo>
                    <a:lnTo>
                      <a:pt x="1013" y="988"/>
                    </a:lnTo>
                    <a:lnTo>
                      <a:pt x="1011" y="988"/>
                    </a:lnTo>
                    <a:lnTo>
                      <a:pt x="1011" y="990"/>
                    </a:lnTo>
                    <a:lnTo>
                      <a:pt x="1011" y="992"/>
                    </a:lnTo>
                    <a:lnTo>
                      <a:pt x="1011" y="990"/>
                    </a:lnTo>
                    <a:lnTo>
                      <a:pt x="1013" y="992"/>
                    </a:lnTo>
                    <a:lnTo>
                      <a:pt x="1011" y="992"/>
                    </a:lnTo>
                    <a:lnTo>
                      <a:pt x="1011" y="994"/>
                    </a:lnTo>
                    <a:lnTo>
                      <a:pt x="1009" y="994"/>
                    </a:lnTo>
                    <a:lnTo>
                      <a:pt x="1009" y="990"/>
                    </a:lnTo>
                    <a:lnTo>
                      <a:pt x="1009" y="982"/>
                    </a:lnTo>
                    <a:lnTo>
                      <a:pt x="1009" y="978"/>
                    </a:lnTo>
                    <a:lnTo>
                      <a:pt x="1009" y="977"/>
                    </a:lnTo>
                    <a:lnTo>
                      <a:pt x="1009" y="975"/>
                    </a:lnTo>
                    <a:lnTo>
                      <a:pt x="1009" y="973"/>
                    </a:lnTo>
                    <a:lnTo>
                      <a:pt x="1007" y="971"/>
                    </a:lnTo>
                    <a:lnTo>
                      <a:pt x="1007" y="973"/>
                    </a:lnTo>
                    <a:lnTo>
                      <a:pt x="1007" y="971"/>
                    </a:lnTo>
                    <a:lnTo>
                      <a:pt x="1005" y="971"/>
                    </a:lnTo>
                    <a:lnTo>
                      <a:pt x="1005" y="969"/>
                    </a:lnTo>
                    <a:lnTo>
                      <a:pt x="1003" y="971"/>
                    </a:lnTo>
                    <a:lnTo>
                      <a:pt x="1003" y="973"/>
                    </a:lnTo>
                    <a:lnTo>
                      <a:pt x="1003" y="971"/>
                    </a:lnTo>
                    <a:lnTo>
                      <a:pt x="1001" y="971"/>
                    </a:lnTo>
                    <a:lnTo>
                      <a:pt x="1001" y="973"/>
                    </a:lnTo>
                    <a:lnTo>
                      <a:pt x="999" y="973"/>
                    </a:lnTo>
                    <a:lnTo>
                      <a:pt x="999" y="971"/>
                    </a:lnTo>
                    <a:lnTo>
                      <a:pt x="997" y="973"/>
                    </a:lnTo>
                    <a:lnTo>
                      <a:pt x="995" y="969"/>
                    </a:lnTo>
                    <a:lnTo>
                      <a:pt x="992" y="965"/>
                    </a:lnTo>
                    <a:lnTo>
                      <a:pt x="994" y="965"/>
                    </a:lnTo>
                    <a:lnTo>
                      <a:pt x="992" y="965"/>
                    </a:lnTo>
                    <a:lnTo>
                      <a:pt x="992" y="961"/>
                    </a:lnTo>
                    <a:lnTo>
                      <a:pt x="988" y="961"/>
                    </a:lnTo>
                    <a:lnTo>
                      <a:pt x="990" y="963"/>
                    </a:lnTo>
                    <a:lnTo>
                      <a:pt x="988" y="961"/>
                    </a:lnTo>
                    <a:lnTo>
                      <a:pt x="988" y="959"/>
                    </a:lnTo>
                    <a:lnTo>
                      <a:pt x="988" y="961"/>
                    </a:lnTo>
                    <a:lnTo>
                      <a:pt x="986" y="959"/>
                    </a:lnTo>
                    <a:lnTo>
                      <a:pt x="988" y="958"/>
                    </a:lnTo>
                    <a:lnTo>
                      <a:pt x="986" y="958"/>
                    </a:lnTo>
                    <a:lnTo>
                      <a:pt x="986" y="956"/>
                    </a:lnTo>
                    <a:lnTo>
                      <a:pt x="984" y="958"/>
                    </a:lnTo>
                    <a:lnTo>
                      <a:pt x="984" y="963"/>
                    </a:lnTo>
                    <a:lnTo>
                      <a:pt x="982" y="961"/>
                    </a:lnTo>
                    <a:lnTo>
                      <a:pt x="982" y="959"/>
                    </a:lnTo>
                    <a:lnTo>
                      <a:pt x="980" y="959"/>
                    </a:lnTo>
                    <a:lnTo>
                      <a:pt x="982" y="959"/>
                    </a:lnTo>
                    <a:lnTo>
                      <a:pt x="980" y="961"/>
                    </a:lnTo>
                    <a:lnTo>
                      <a:pt x="980" y="959"/>
                    </a:lnTo>
                    <a:lnTo>
                      <a:pt x="978" y="961"/>
                    </a:lnTo>
                    <a:lnTo>
                      <a:pt x="978" y="963"/>
                    </a:lnTo>
                    <a:lnTo>
                      <a:pt x="980" y="965"/>
                    </a:lnTo>
                    <a:lnTo>
                      <a:pt x="982" y="965"/>
                    </a:lnTo>
                    <a:lnTo>
                      <a:pt x="984" y="967"/>
                    </a:lnTo>
                    <a:lnTo>
                      <a:pt x="986" y="967"/>
                    </a:lnTo>
                    <a:lnTo>
                      <a:pt x="986" y="965"/>
                    </a:lnTo>
                    <a:lnTo>
                      <a:pt x="988" y="967"/>
                    </a:lnTo>
                    <a:lnTo>
                      <a:pt x="992" y="975"/>
                    </a:lnTo>
                    <a:lnTo>
                      <a:pt x="992" y="978"/>
                    </a:lnTo>
                    <a:lnTo>
                      <a:pt x="992" y="980"/>
                    </a:lnTo>
                    <a:lnTo>
                      <a:pt x="994" y="984"/>
                    </a:lnTo>
                    <a:lnTo>
                      <a:pt x="992" y="986"/>
                    </a:lnTo>
                    <a:lnTo>
                      <a:pt x="990" y="988"/>
                    </a:lnTo>
                    <a:lnTo>
                      <a:pt x="980" y="986"/>
                    </a:lnTo>
                    <a:lnTo>
                      <a:pt x="978" y="988"/>
                    </a:lnTo>
                    <a:lnTo>
                      <a:pt x="976" y="988"/>
                    </a:lnTo>
                    <a:lnTo>
                      <a:pt x="974" y="988"/>
                    </a:lnTo>
                    <a:lnTo>
                      <a:pt x="974" y="984"/>
                    </a:lnTo>
                    <a:lnTo>
                      <a:pt x="973" y="984"/>
                    </a:lnTo>
                    <a:lnTo>
                      <a:pt x="973" y="982"/>
                    </a:lnTo>
                    <a:lnTo>
                      <a:pt x="971" y="984"/>
                    </a:lnTo>
                    <a:lnTo>
                      <a:pt x="969" y="982"/>
                    </a:lnTo>
                    <a:lnTo>
                      <a:pt x="967" y="980"/>
                    </a:lnTo>
                    <a:lnTo>
                      <a:pt x="967" y="982"/>
                    </a:lnTo>
                    <a:lnTo>
                      <a:pt x="965" y="982"/>
                    </a:lnTo>
                    <a:lnTo>
                      <a:pt x="963" y="980"/>
                    </a:lnTo>
                    <a:lnTo>
                      <a:pt x="961" y="980"/>
                    </a:lnTo>
                    <a:lnTo>
                      <a:pt x="959" y="978"/>
                    </a:lnTo>
                    <a:lnTo>
                      <a:pt x="957" y="980"/>
                    </a:lnTo>
                    <a:lnTo>
                      <a:pt x="957" y="978"/>
                    </a:lnTo>
                    <a:lnTo>
                      <a:pt x="955" y="978"/>
                    </a:lnTo>
                    <a:lnTo>
                      <a:pt x="955" y="977"/>
                    </a:lnTo>
                    <a:lnTo>
                      <a:pt x="953" y="977"/>
                    </a:lnTo>
                    <a:lnTo>
                      <a:pt x="953" y="978"/>
                    </a:lnTo>
                    <a:lnTo>
                      <a:pt x="952" y="977"/>
                    </a:lnTo>
                    <a:lnTo>
                      <a:pt x="950" y="978"/>
                    </a:lnTo>
                    <a:lnTo>
                      <a:pt x="944" y="977"/>
                    </a:lnTo>
                    <a:lnTo>
                      <a:pt x="944" y="978"/>
                    </a:lnTo>
                    <a:lnTo>
                      <a:pt x="948" y="980"/>
                    </a:lnTo>
                    <a:lnTo>
                      <a:pt x="948" y="982"/>
                    </a:lnTo>
                    <a:lnTo>
                      <a:pt x="950" y="980"/>
                    </a:lnTo>
                    <a:lnTo>
                      <a:pt x="950" y="982"/>
                    </a:lnTo>
                    <a:lnTo>
                      <a:pt x="950" y="980"/>
                    </a:lnTo>
                    <a:lnTo>
                      <a:pt x="952" y="982"/>
                    </a:lnTo>
                    <a:lnTo>
                      <a:pt x="953" y="984"/>
                    </a:lnTo>
                    <a:lnTo>
                      <a:pt x="959" y="992"/>
                    </a:lnTo>
                    <a:lnTo>
                      <a:pt x="959" y="994"/>
                    </a:lnTo>
                    <a:lnTo>
                      <a:pt x="957" y="996"/>
                    </a:lnTo>
                    <a:lnTo>
                      <a:pt x="957" y="994"/>
                    </a:lnTo>
                    <a:lnTo>
                      <a:pt x="953" y="992"/>
                    </a:lnTo>
                    <a:lnTo>
                      <a:pt x="953" y="990"/>
                    </a:lnTo>
                    <a:lnTo>
                      <a:pt x="950" y="990"/>
                    </a:lnTo>
                    <a:lnTo>
                      <a:pt x="950" y="988"/>
                    </a:lnTo>
                    <a:lnTo>
                      <a:pt x="948" y="986"/>
                    </a:lnTo>
                    <a:lnTo>
                      <a:pt x="948" y="984"/>
                    </a:lnTo>
                    <a:lnTo>
                      <a:pt x="946" y="986"/>
                    </a:lnTo>
                    <a:lnTo>
                      <a:pt x="946" y="984"/>
                    </a:lnTo>
                    <a:lnTo>
                      <a:pt x="946" y="982"/>
                    </a:lnTo>
                    <a:lnTo>
                      <a:pt x="946" y="984"/>
                    </a:lnTo>
                    <a:lnTo>
                      <a:pt x="944" y="982"/>
                    </a:lnTo>
                    <a:lnTo>
                      <a:pt x="940" y="980"/>
                    </a:lnTo>
                    <a:lnTo>
                      <a:pt x="940" y="978"/>
                    </a:lnTo>
                    <a:lnTo>
                      <a:pt x="938" y="977"/>
                    </a:lnTo>
                    <a:lnTo>
                      <a:pt x="936" y="977"/>
                    </a:lnTo>
                    <a:lnTo>
                      <a:pt x="936" y="975"/>
                    </a:lnTo>
                    <a:lnTo>
                      <a:pt x="934" y="975"/>
                    </a:lnTo>
                    <a:lnTo>
                      <a:pt x="931" y="973"/>
                    </a:lnTo>
                    <a:lnTo>
                      <a:pt x="927" y="971"/>
                    </a:lnTo>
                    <a:lnTo>
                      <a:pt x="929" y="971"/>
                    </a:lnTo>
                    <a:lnTo>
                      <a:pt x="927" y="971"/>
                    </a:lnTo>
                    <a:lnTo>
                      <a:pt x="923" y="967"/>
                    </a:lnTo>
                    <a:lnTo>
                      <a:pt x="927" y="971"/>
                    </a:lnTo>
                    <a:lnTo>
                      <a:pt x="927" y="973"/>
                    </a:lnTo>
                    <a:lnTo>
                      <a:pt x="929" y="973"/>
                    </a:lnTo>
                    <a:lnTo>
                      <a:pt x="936" y="977"/>
                    </a:lnTo>
                    <a:lnTo>
                      <a:pt x="936" y="978"/>
                    </a:lnTo>
                    <a:lnTo>
                      <a:pt x="938" y="978"/>
                    </a:lnTo>
                    <a:lnTo>
                      <a:pt x="938" y="980"/>
                    </a:lnTo>
                    <a:lnTo>
                      <a:pt x="940" y="982"/>
                    </a:lnTo>
                    <a:lnTo>
                      <a:pt x="944" y="984"/>
                    </a:lnTo>
                    <a:lnTo>
                      <a:pt x="942" y="986"/>
                    </a:lnTo>
                    <a:lnTo>
                      <a:pt x="944" y="986"/>
                    </a:lnTo>
                    <a:lnTo>
                      <a:pt x="944" y="988"/>
                    </a:lnTo>
                    <a:lnTo>
                      <a:pt x="942" y="986"/>
                    </a:lnTo>
                    <a:lnTo>
                      <a:pt x="942" y="988"/>
                    </a:lnTo>
                    <a:lnTo>
                      <a:pt x="942" y="986"/>
                    </a:lnTo>
                    <a:lnTo>
                      <a:pt x="942" y="988"/>
                    </a:lnTo>
                    <a:lnTo>
                      <a:pt x="940" y="990"/>
                    </a:lnTo>
                    <a:lnTo>
                      <a:pt x="940" y="988"/>
                    </a:lnTo>
                    <a:lnTo>
                      <a:pt x="938" y="988"/>
                    </a:lnTo>
                    <a:lnTo>
                      <a:pt x="938" y="990"/>
                    </a:lnTo>
                    <a:lnTo>
                      <a:pt x="936" y="990"/>
                    </a:lnTo>
                    <a:lnTo>
                      <a:pt x="938" y="992"/>
                    </a:lnTo>
                    <a:lnTo>
                      <a:pt x="936" y="992"/>
                    </a:lnTo>
                    <a:lnTo>
                      <a:pt x="934" y="990"/>
                    </a:lnTo>
                    <a:lnTo>
                      <a:pt x="934" y="992"/>
                    </a:lnTo>
                    <a:lnTo>
                      <a:pt x="934" y="990"/>
                    </a:lnTo>
                    <a:lnTo>
                      <a:pt x="936" y="990"/>
                    </a:lnTo>
                    <a:lnTo>
                      <a:pt x="932" y="988"/>
                    </a:lnTo>
                    <a:lnTo>
                      <a:pt x="934" y="988"/>
                    </a:lnTo>
                    <a:lnTo>
                      <a:pt x="932" y="988"/>
                    </a:lnTo>
                    <a:lnTo>
                      <a:pt x="932" y="990"/>
                    </a:lnTo>
                    <a:lnTo>
                      <a:pt x="932" y="988"/>
                    </a:lnTo>
                    <a:lnTo>
                      <a:pt x="931" y="990"/>
                    </a:lnTo>
                    <a:lnTo>
                      <a:pt x="932" y="990"/>
                    </a:lnTo>
                    <a:lnTo>
                      <a:pt x="932" y="992"/>
                    </a:lnTo>
                    <a:lnTo>
                      <a:pt x="931" y="992"/>
                    </a:lnTo>
                    <a:lnTo>
                      <a:pt x="929" y="988"/>
                    </a:lnTo>
                    <a:lnTo>
                      <a:pt x="929" y="986"/>
                    </a:lnTo>
                    <a:lnTo>
                      <a:pt x="931" y="986"/>
                    </a:lnTo>
                    <a:lnTo>
                      <a:pt x="929" y="986"/>
                    </a:lnTo>
                    <a:lnTo>
                      <a:pt x="927" y="984"/>
                    </a:lnTo>
                    <a:lnTo>
                      <a:pt x="927" y="986"/>
                    </a:lnTo>
                    <a:lnTo>
                      <a:pt x="927" y="984"/>
                    </a:lnTo>
                    <a:lnTo>
                      <a:pt x="925" y="984"/>
                    </a:lnTo>
                    <a:lnTo>
                      <a:pt x="923" y="982"/>
                    </a:lnTo>
                    <a:lnTo>
                      <a:pt x="921" y="980"/>
                    </a:lnTo>
                    <a:lnTo>
                      <a:pt x="919" y="982"/>
                    </a:lnTo>
                    <a:lnTo>
                      <a:pt x="919" y="980"/>
                    </a:lnTo>
                    <a:lnTo>
                      <a:pt x="917" y="982"/>
                    </a:lnTo>
                    <a:lnTo>
                      <a:pt x="913" y="984"/>
                    </a:lnTo>
                    <a:lnTo>
                      <a:pt x="906" y="982"/>
                    </a:lnTo>
                    <a:lnTo>
                      <a:pt x="902" y="982"/>
                    </a:lnTo>
                    <a:lnTo>
                      <a:pt x="900" y="982"/>
                    </a:lnTo>
                    <a:lnTo>
                      <a:pt x="896" y="982"/>
                    </a:lnTo>
                    <a:lnTo>
                      <a:pt x="894" y="980"/>
                    </a:lnTo>
                    <a:lnTo>
                      <a:pt x="894" y="978"/>
                    </a:lnTo>
                    <a:lnTo>
                      <a:pt x="894" y="977"/>
                    </a:lnTo>
                    <a:lnTo>
                      <a:pt x="892" y="978"/>
                    </a:lnTo>
                    <a:lnTo>
                      <a:pt x="889" y="978"/>
                    </a:lnTo>
                    <a:lnTo>
                      <a:pt x="887" y="977"/>
                    </a:lnTo>
                    <a:lnTo>
                      <a:pt x="885" y="978"/>
                    </a:lnTo>
                    <a:lnTo>
                      <a:pt x="879" y="977"/>
                    </a:lnTo>
                    <a:lnTo>
                      <a:pt x="877" y="978"/>
                    </a:lnTo>
                    <a:lnTo>
                      <a:pt x="879" y="980"/>
                    </a:lnTo>
                    <a:lnTo>
                      <a:pt x="879" y="978"/>
                    </a:lnTo>
                    <a:lnTo>
                      <a:pt x="883" y="978"/>
                    </a:lnTo>
                    <a:lnTo>
                      <a:pt x="887" y="980"/>
                    </a:lnTo>
                    <a:lnTo>
                      <a:pt x="889" y="982"/>
                    </a:lnTo>
                    <a:lnTo>
                      <a:pt x="883" y="980"/>
                    </a:lnTo>
                    <a:lnTo>
                      <a:pt x="881" y="982"/>
                    </a:lnTo>
                    <a:lnTo>
                      <a:pt x="879" y="982"/>
                    </a:lnTo>
                    <a:lnTo>
                      <a:pt x="877" y="978"/>
                    </a:lnTo>
                    <a:lnTo>
                      <a:pt x="871" y="977"/>
                    </a:lnTo>
                    <a:lnTo>
                      <a:pt x="868" y="971"/>
                    </a:lnTo>
                    <a:lnTo>
                      <a:pt x="868" y="969"/>
                    </a:lnTo>
                    <a:lnTo>
                      <a:pt x="866" y="967"/>
                    </a:lnTo>
                    <a:lnTo>
                      <a:pt x="868" y="965"/>
                    </a:lnTo>
                    <a:lnTo>
                      <a:pt x="866" y="965"/>
                    </a:lnTo>
                    <a:lnTo>
                      <a:pt x="868" y="963"/>
                    </a:lnTo>
                    <a:lnTo>
                      <a:pt x="871" y="959"/>
                    </a:lnTo>
                    <a:lnTo>
                      <a:pt x="870" y="958"/>
                    </a:lnTo>
                    <a:lnTo>
                      <a:pt x="870" y="959"/>
                    </a:lnTo>
                    <a:lnTo>
                      <a:pt x="868" y="963"/>
                    </a:lnTo>
                    <a:lnTo>
                      <a:pt x="866" y="963"/>
                    </a:lnTo>
                    <a:lnTo>
                      <a:pt x="866" y="965"/>
                    </a:lnTo>
                    <a:lnTo>
                      <a:pt x="864" y="965"/>
                    </a:lnTo>
                    <a:lnTo>
                      <a:pt x="866" y="967"/>
                    </a:lnTo>
                    <a:lnTo>
                      <a:pt x="864" y="967"/>
                    </a:lnTo>
                    <a:lnTo>
                      <a:pt x="862" y="967"/>
                    </a:lnTo>
                    <a:lnTo>
                      <a:pt x="862" y="965"/>
                    </a:lnTo>
                    <a:lnTo>
                      <a:pt x="864" y="965"/>
                    </a:lnTo>
                    <a:lnTo>
                      <a:pt x="864" y="963"/>
                    </a:lnTo>
                    <a:lnTo>
                      <a:pt x="862" y="965"/>
                    </a:lnTo>
                    <a:lnTo>
                      <a:pt x="860" y="963"/>
                    </a:lnTo>
                    <a:lnTo>
                      <a:pt x="862" y="963"/>
                    </a:lnTo>
                    <a:lnTo>
                      <a:pt x="860" y="963"/>
                    </a:lnTo>
                    <a:lnTo>
                      <a:pt x="860" y="961"/>
                    </a:lnTo>
                    <a:lnTo>
                      <a:pt x="862" y="961"/>
                    </a:lnTo>
                    <a:lnTo>
                      <a:pt x="860" y="959"/>
                    </a:lnTo>
                    <a:lnTo>
                      <a:pt x="858" y="961"/>
                    </a:lnTo>
                    <a:lnTo>
                      <a:pt x="858" y="963"/>
                    </a:lnTo>
                    <a:lnTo>
                      <a:pt x="856" y="963"/>
                    </a:lnTo>
                    <a:lnTo>
                      <a:pt x="856" y="965"/>
                    </a:lnTo>
                    <a:lnTo>
                      <a:pt x="856" y="963"/>
                    </a:lnTo>
                    <a:lnTo>
                      <a:pt x="860" y="965"/>
                    </a:lnTo>
                    <a:lnTo>
                      <a:pt x="860" y="969"/>
                    </a:lnTo>
                    <a:lnTo>
                      <a:pt x="856" y="967"/>
                    </a:lnTo>
                    <a:lnTo>
                      <a:pt x="852" y="967"/>
                    </a:lnTo>
                    <a:lnTo>
                      <a:pt x="849" y="967"/>
                    </a:lnTo>
                    <a:lnTo>
                      <a:pt x="847" y="967"/>
                    </a:lnTo>
                    <a:lnTo>
                      <a:pt x="850" y="969"/>
                    </a:lnTo>
                    <a:lnTo>
                      <a:pt x="849" y="971"/>
                    </a:lnTo>
                    <a:lnTo>
                      <a:pt x="847" y="971"/>
                    </a:lnTo>
                    <a:lnTo>
                      <a:pt x="845" y="971"/>
                    </a:lnTo>
                    <a:lnTo>
                      <a:pt x="845" y="969"/>
                    </a:lnTo>
                    <a:lnTo>
                      <a:pt x="843" y="967"/>
                    </a:lnTo>
                    <a:lnTo>
                      <a:pt x="843" y="969"/>
                    </a:lnTo>
                    <a:lnTo>
                      <a:pt x="839" y="967"/>
                    </a:lnTo>
                    <a:lnTo>
                      <a:pt x="841" y="965"/>
                    </a:lnTo>
                    <a:lnTo>
                      <a:pt x="841" y="967"/>
                    </a:lnTo>
                    <a:lnTo>
                      <a:pt x="843" y="967"/>
                    </a:lnTo>
                    <a:lnTo>
                      <a:pt x="845" y="969"/>
                    </a:lnTo>
                    <a:lnTo>
                      <a:pt x="847" y="967"/>
                    </a:lnTo>
                    <a:lnTo>
                      <a:pt x="845" y="967"/>
                    </a:lnTo>
                    <a:lnTo>
                      <a:pt x="845" y="965"/>
                    </a:lnTo>
                    <a:lnTo>
                      <a:pt x="841" y="963"/>
                    </a:lnTo>
                    <a:lnTo>
                      <a:pt x="837" y="961"/>
                    </a:lnTo>
                    <a:lnTo>
                      <a:pt x="835" y="961"/>
                    </a:lnTo>
                    <a:lnTo>
                      <a:pt x="831" y="959"/>
                    </a:lnTo>
                    <a:lnTo>
                      <a:pt x="828" y="952"/>
                    </a:lnTo>
                    <a:lnTo>
                      <a:pt x="828" y="950"/>
                    </a:lnTo>
                    <a:lnTo>
                      <a:pt x="828" y="948"/>
                    </a:lnTo>
                    <a:lnTo>
                      <a:pt x="824" y="944"/>
                    </a:lnTo>
                    <a:lnTo>
                      <a:pt x="822" y="942"/>
                    </a:lnTo>
                    <a:lnTo>
                      <a:pt x="822" y="938"/>
                    </a:lnTo>
                    <a:lnTo>
                      <a:pt x="826" y="937"/>
                    </a:lnTo>
                    <a:lnTo>
                      <a:pt x="824" y="935"/>
                    </a:lnTo>
                    <a:lnTo>
                      <a:pt x="822" y="935"/>
                    </a:lnTo>
                    <a:lnTo>
                      <a:pt x="820" y="931"/>
                    </a:lnTo>
                    <a:lnTo>
                      <a:pt x="824" y="931"/>
                    </a:lnTo>
                    <a:lnTo>
                      <a:pt x="826" y="933"/>
                    </a:lnTo>
                    <a:lnTo>
                      <a:pt x="830" y="933"/>
                    </a:lnTo>
                    <a:lnTo>
                      <a:pt x="831" y="933"/>
                    </a:lnTo>
                    <a:lnTo>
                      <a:pt x="833" y="933"/>
                    </a:lnTo>
                    <a:lnTo>
                      <a:pt x="837" y="933"/>
                    </a:lnTo>
                    <a:lnTo>
                      <a:pt x="839" y="935"/>
                    </a:lnTo>
                    <a:lnTo>
                      <a:pt x="839" y="937"/>
                    </a:lnTo>
                    <a:lnTo>
                      <a:pt x="843" y="938"/>
                    </a:lnTo>
                    <a:lnTo>
                      <a:pt x="849" y="937"/>
                    </a:lnTo>
                    <a:lnTo>
                      <a:pt x="854" y="937"/>
                    </a:lnTo>
                    <a:lnTo>
                      <a:pt x="856" y="935"/>
                    </a:lnTo>
                    <a:lnTo>
                      <a:pt x="860" y="935"/>
                    </a:lnTo>
                    <a:lnTo>
                      <a:pt x="856" y="933"/>
                    </a:lnTo>
                    <a:lnTo>
                      <a:pt x="854" y="933"/>
                    </a:lnTo>
                    <a:lnTo>
                      <a:pt x="854" y="931"/>
                    </a:lnTo>
                    <a:lnTo>
                      <a:pt x="849" y="927"/>
                    </a:lnTo>
                    <a:lnTo>
                      <a:pt x="847" y="925"/>
                    </a:lnTo>
                    <a:lnTo>
                      <a:pt x="847" y="923"/>
                    </a:lnTo>
                    <a:lnTo>
                      <a:pt x="847" y="921"/>
                    </a:lnTo>
                    <a:lnTo>
                      <a:pt x="845" y="921"/>
                    </a:lnTo>
                    <a:lnTo>
                      <a:pt x="843" y="925"/>
                    </a:lnTo>
                    <a:lnTo>
                      <a:pt x="841" y="923"/>
                    </a:lnTo>
                    <a:lnTo>
                      <a:pt x="835" y="923"/>
                    </a:lnTo>
                    <a:lnTo>
                      <a:pt x="826" y="921"/>
                    </a:lnTo>
                    <a:lnTo>
                      <a:pt x="826" y="919"/>
                    </a:lnTo>
                    <a:lnTo>
                      <a:pt x="824" y="921"/>
                    </a:lnTo>
                    <a:lnTo>
                      <a:pt x="818" y="919"/>
                    </a:lnTo>
                    <a:lnTo>
                      <a:pt x="814" y="917"/>
                    </a:lnTo>
                    <a:lnTo>
                      <a:pt x="814" y="916"/>
                    </a:lnTo>
                    <a:lnTo>
                      <a:pt x="812" y="912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10"/>
                    </a:lnTo>
                    <a:lnTo>
                      <a:pt x="812" y="904"/>
                    </a:lnTo>
                    <a:lnTo>
                      <a:pt x="812" y="902"/>
                    </a:lnTo>
                    <a:lnTo>
                      <a:pt x="814" y="900"/>
                    </a:lnTo>
                    <a:lnTo>
                      <a:pt x="814" y="896"/>
                    </a:lnTo>
                    <a:lnTo>
                      <a:pt x="816" y="896"/>
                    </a:lnTo>
                    <a:lnTo>
                      <a:pt x="814" y="896"/>
                    </a:lnTo>
                    <a:lnTo>
                      <a:pt x="814" y="895"/>
                    </a:lnTo>
                    <a:lnTo>
                      <a:pt x="812" y="893"/>
                    </a:lnTo>
                    <a:lnTo>
                      <a:pt x="814" y="893"/>
                    </a:lnTo>
                    <a:lnTo>
                      <a:pt x="810" y="887"/>
                    </a:lnTo>
                    <a:lnTo>
                      <a:pt x="812" y="887"/>
                    </a:lnTo>
                    <a:lnTo>
                      <a:pt x="812" y="885"/>
                    </a:lnTo>
                    <a:lnTo>
                      <a:pt x="812" y="883"/>
                    </a:lnTo>
                    <a:lnTo>
                      <a:pt x="812" y="881"/>
                    </a:lnTo>
                    <a:lnTo>
                      <a:pt x="814" y="879"/>
                    </a:lnTo>
                    <a:lnTo>
                      <a:pt x="816" y="877"/>
                    </a:lnTo>
                    <a:lnTo>
                      <a:pt x="818" y="879"/>
                    </a:lnTo>
                    <a:lnTo>
                      <a:pt x="818" y="877"/>
                    </a:lnTo>
                    <a:lnTo>
                      <a:pt x="820" y="875"/>
                    </a:lnTo>
                    <a:lnTo>
                      <a:pt x="818" y="875"/>
                    </a:lnTo>
                    <a:lnTo>
                      <a:pt x="816" y="875"/>
                    </a:lnTo>
                    <a:lnTo>
                      <a:pt x="814" y="874"/>
                    </a:lnTo>
                    <a:lnTo>
                      <a:pt x="812" y="866"/>
                    </a:lnTo>
                    <a:lnTo>
                      <a:pt x="814" y="864"/>
                    </a:lnTo>
                    <a:lnTo>
                      <a:pt x="814" y="862"/>
                    </a:lnTo>
                    <a:lnTo>
                      <a:pt x="816" y="858"/>
                    </a:lnTo>
                    <a:lnTo>
                      <a:pt x="814" y="858"/>
                    </a:lnTo>
                    <a:lnTo>
                      <a:pt x="816" y="858"/>
                    </a:lnTo>
                    <a:lnTo>
                      <a:pt x="816" y="853"/>
                    </a:lnTo>
                    <a:lnTo>
                      <a:pt x="818" y="851"/>
                    </a:lnTo>
                    <a:lnTo>
                      <a:pt x="818" y="853"/>
                    </a:lnTo>
                    <a:lnTo>
                      <a:pt x="820" y="851"/>
                    </a:lnTo>
                    <a:lnTo>
                      <a:pt x="818" y="849"/>
                    </a:lnTo>
                    <a:lnTo>
                      <a:pt x="820" y="849"/>
                    </a:lnTo>
                    <a:lnTo>
                      <a:pt x="818" y="847"/>
                    </a:lnTo>
                    <a:lnTo>
                      <a:pt x="820" y="843"/>
                    </a:lnTo>
                    <a:lnTo>
                      <a:pt x="824" y="845"/>
                    </a:lnTo>
                    <a:lnTo>
                      <a:pt x="824" y="843"/>
                    </a:lnTo>
                    <a:lnTo>
                      <a:pt x="822" y="843"/>
                    </a:lnTo>
                    <a:lnTo>
                      <a:pt x="822" y="841"/>
                    </a:lnTo>
                    <a:lnTo>
                      <a:pt x="824" y="837"/>
                    </a:lnTo>
                    <a:lnTo>
                      <a:pt x="822" y="837"/>
                    </a:lnTo>
                    <a:lnTo>
                      <a:pt x="824" y="835"/>
                    </a:lnTo>
                    <a:lnTo>
                      <a:pt x="822" y="832"/>
                    </a:lnTo>
                    <a:lnTo>
                      <a:pt x="824" y="830"/>
                    </a:lnTo>
                    <a:lnTo>
                      <a:pt x="824" y="828"/>
                    </a:lnTo>
                    <a:lnTo>
                      <a:pt x="824" y="824"/>
                    </a:lnTo>
                    <a:lnTo>
                      <a:pt x="826" y="824"/>
                    </a:lnTo>
                    <a:lnTo>
                      <a:pt x="826" y="822"/>
                    </a:lnTo>
                    <a:lnTo>
                      <a:pt x="828" y="822"/>
                    </a:lnTo>
                    <a:lnTo>
                      <a:pt x="828" y="820"/>
                    </a:lnTo>
                    <a:lnTo>
                      <a:pt x="830" y="820"/>
                    </a:lnTo>
                    <a:lnTo>
                      <a:pt x="828" y="818"/>
                    </a:lnTo>
                    <a:lnTo>
                      <a:pt x="830" y="814"/>
                    </a:lnTo>
                    <a:lnTo>
                      <a:pt x="835" y="816"/>
                    </a:lnTo>
                    <a:lnTo>
                      <a:pt x="831" y="814"/>
                    </a:lnTo>
                    <a:lnTo>
                      <a:pt x="830" y="812"/>
                    </a:lnTo>
                    <a:lnTo>
                      <a:pt x="833" y="807"/>
                    </a:lnTo>
                    <a:lnTo>
                      <a:pt x="835" y="807"/>
                    </a:lnTo>
                    <a:lnTo>
                      <a:pt x="837" y="805"/>
                    </a:lnTo>
                    <a:lnTo>
                      <a:pt x="839" y="799"/>
                    </a:lnTo>
                    <a:lnTo>
                      <a:pt x="847" y="793"/>
                    </a:lnTo>
                    <a:lnTo>
                      <a:pt x="852" y="790"/>
                    </a:lnTo>
                    <a:lnTo>
                      <a:pt x="868" y="784"/>
                    </a:lnTo>
                    <a:lnTo>
                      <a:pt x="875" y="784"/>
                    </a:lnTo>
                    <a:close/>
                    <a:moveTo>
                      <a:pt x="1131" y="2"/>
                    </a:moveTo>
                    <a:lnTo>
                      <a:pt x="1137" y="3"/>
                    </a:lnTo>
                    <a:lnTo>
                      <a:pt x="1133" y="3"/>
                    </a:lnTo>
                    <a:lnTo>
                      <a:pt x="1137" y="7"/>
                    </a:lnTo>
                    <a:lnTo>
                      <a:pt x="1135" y="11"/>
                    </a:lnTo>
                    <a:lnTo>
                      <a:pt x="1138" y="13"/>
                    </a:lnTo>
                    <a:lnTo>
                      <a:pt x="1138" y="17"/>
                    </a:lnTo>
                    <a:lnTo>
                      <a:pt x="1135" y="19"/>
                    </a:lnTo>
                    <a:lnTo>
                      <a:pt x="1146" y="13"/>
                    </a:lnTo>
                    <a:lnTo>
                      <a:pt x="1148" y="26"/>
                    </a:lnTo>
                    <a:lnTo>
                      <a:pt x="1150" y="23"/>
                    </a:lnTo>
                    <a:lnTo>
                      <a:pt x="1148" y="19"/>
                    </a:lnTo>
                    <a:lnTo>
                      <a:pt x="1152" y="21"/>
                    </a:lnTo>
                    <a:lnTo>
                      <a:pt x="1154" y="15"/>
                    </a:lnTo>
                    <a:lnTo>
                      <a:pt x="1159" y="19"/>
                    </a:lnTo>
                    <a:lnTo>
                      <a:pt x="1161" y="26"/>
                    </a:lnTo>
                    <a:lnTo>
                      <a:pt x="1161" y="23"/>
                    </a:lnTo>
                    <a:lnTo>
                      <a:pt x="1169" y="21"/>
                    </a:lnTo>
                    <a:lnTo>
                      <a:pt x="1175" y="26"/>
                    </a:lnTo>
                    <a:lnTo>
                      <a:pt x="1177" y="23"/>
                    </a:lnTo>
                    <a:lnTo>
                      <a:pt x="1178" y="23"/>
                    </a:lnTo>
                    <a:lnTo>
                      <a:pt x="1178" y="26"/>
                    </a:lnTo>
                    <a:lnTo>
                      <a:pt x="1180" y="26"/>
                    </a:lnTo>
                    <a:lnTo>
                      <a:pt x="1180" y="23"/>
                    </a:lnTo>
                    <a:lnTo>
                      <a:pt x="1182" y="26"/>
                    </a:lnTo>
                    <a:lnTo>
                      <a:pt x="1188" y="26"/>
                    </a:lnTo>
                    <a:lnTo>
                      <a:pt x="1186" y="28"/>
                    </a:lnTo>
                    <a:lnTo>
                      <a:pt x="1188" y="30"/>
                    </a:lnTo>
                    <a:lnTo>
                      <a:pt x="1180" y="42"/>
                    </a:lnTo>
                    <a:lnTo>
                      <a:pt x="1163" y="53"/>
                    </a:lnTo>
                    <a:lnTo>
                      <a:pt x="1161" y="57"/>
                    </a:lnTo>
                    <a:lnTo>
                      <a:pt x="1158" y="57"/>
                    </a:lnTo>
                    <a:lnTo>
                      <a:pt x="1152" y="65"/>
                    </a:lnTo>
                    <a:lnTo>
                      <a:pt x="1154" y="65"/>
                    </a:lnTo>
                    <a:lnTo>
                      <a:pt x="1158" y="61"/>
                    </a:lnTo>
                    <a:lnTo>
                      <a:pt x="1171" y="61"/>
                    </a:lnTo>
                    <a:lnTo>
                      <a:pt x="1178" y="53"/>
                    </a:lnTo>
                    <a:lnTo>
                      <a:pt x="1182" y="53"/>
                    </a:lnTo>
                    <a:lnTo>
                      <a:pt x="1184" y="55"/>
                    </a:lnTo>
                    <a:lnTo>
                      <a:pt x="1182" y="51"/>
                    </a:lnTo>
                    <a:lnTo>
                      <a:pt x="1186" y="45"/>
                    </a:lnTo>
                    <a:lnTo>
                      <a:pt x="1198" y="36"/>
                    </a:lnTo>
                    <a:lnTo>
                      <a:pt x="1203" y="38"/>
                    </a:lnTo>
                    <a:lnTo>
                      <a:pt x="1201" y="45"/>
                    </a:lnTo>
                    <a:lnTo>
                      <a:pt x="1207" y="49"/>
                    </a:lnTo>
                    <a:lnTo>
                      <a:pt x="1203" y="44"/>
                    </a:lnTo>
                    <a:lnTo>
                      <a:pt x="1207" y="36"/>
                    </a:lnTo>
                    <a:lnTo>
                      <a:pt x="1209" y="38"/>
                    </a:lnTo>
                    <a:lnTo>
                      <a:pt x="1207" y="34"/>
                    </a:lnTo>
                    <a:lnTo>
                      <a:pt x="1205" y="34"/>
                    </a:lnTo>
                    <a:lnTo>
                      <a:pt x="1205" y="32"/>
                    </a:lnTo>
                    <a:lnTo>
                      <a:pt x="1213" y="28"/>
                    </a:lnTo>
                    <a:lnTo>
                      <a:pt x="1215" y="30"/>
                    </a:lnTo>
                    <a:lnTo>
                      <a:pt x="1215" y="34"/>
                    </a:lnTo>
                    <a:lnTo>
                      <a:pt x="1213" y="32"/>
                    </a:lnTo>
                    <a:lnTo>
                      <a:pt x="1211" y="36"/>
                    </a:lnTo>
                    <a:lnTo>
                      <a:pt x="1215" y="34"/>
                    </a:lnTo>
                    <a:lnTo>
                      <a:pt x="1215" y="40"/>
                    </a:lnTo>
                    <a:lnTo>
                      <a:pt x="1219" y="47"/>
                    </a:lnTo>
                    <a:lnTo>
                      <a:pt x="1219" y="45"/>
                    </a:lnTo>
                    <a:lnTo>
                      <a:pt x="1220" y="44"/>
                    </a:lnTo>
                    <a:lnTo>
                      <a:pt x="1226" y="38"/>
                    </a:lnTo>
                    <a:lnTo>
                      <a:pt x="1232" y="38"/>
                    </a:lnTo>
                    <a:lnTo>
                      <a:pt x="1234" y="42"/>
                    </a:lnTo>
                    <a:lnTo>
                      <a:pt x="1234" y="47"/>
                    </a:lnTo>
                    <a:lnTo>
                      <a:pt x="1232" y="51"/>
                    </a:lnTo>
                    <a:lnTo>
                      <a:pt x="1226" y="53"/>
                    </a:lnTo>
                    <a:lnTo>
                      <a:pt x="1230" y="53"/>
                    </a:lnTo>
                    <a:lnTo>
                      <a:pt x="1232" y="57"/>
                    </a:lnTo>
                    <a:lnTo>
                      <a:pt x="1232" y="59"/>
                    </a:lnTo>
                    <a:lnTo>
                      <a:pt x="1238" y="63"/>
                    </a:lnTo>
                    <a:lnTo>
                      <a:pt x="1236" y="66"/>
                    </a:lnTo>
                    <a:lnTo>
                      <a:pt x="1243" y="70"/>
                    </a:lnTo>
                    <a:lnTo>
                      <a:pt x="1240" y="76"/>
                    </a:lnTo>
                    <a:lnTo>
                      <a:pt x="1241" y="74"/>
                    </a:lnTo>
                    <a:lnTo>
                      <a:pt x="1240" y="80"/>
                    </a:lnTo>
                    <a:lnTo>
                      <a:pt x="1238" y="84"/>
                    </a:lnTo>
                    <a:lnTo>
                      <a:pt x="1240" y="86"/>
                    </a:lnTo>
                    <a:lnTo>
                      <a:pt x="1236" y="87"/>
                    </a:lnTo>
                    <a:lnTo>
                      <a:pt x="1240" y="86"/>
                    </a:lnTo>
                    <a:lnTo>
                      <a:pt x="1243" y="78"/>
                    </a:lnTo>
                    <a:lnTo>
                      <a:pt x="1245" y="82"/>
                    </a:lnTo>
                    <a:lnTo>
                      <a:pt x="1245" y="78"/>
                    </a:lnTo>
                    <a:lnTo>
                      <a:pt x="1253" y="76"/>
                    </a:lnTo>
                    <a:lnTo>
                      <a:pt x="1255" y="78"/>
                    </a:lnTo>
                    <a:lnTo>
                      <a:pt x="1253" y="80"/>
                    </a:lnTo>
                    <a:lnTo>
                      <a:pt x="1257" y="80"/>
                    </a:lnTo>
                    <a:lnTo>
                      <a:pt x="1255" y="82"/>
                    </a:lnTo>
                    <a:lnTo>
                      <a:pt x="1259" y="82"/>
                    </a:lnTo>
                    <a:lnTo>
                      <a:pt x="1259" y="80"/>
                    </a:lnTo>
                    <a:lnTo>
                      <a:pt x="1264" y="84"/>
                    </a:lnTo>
                    <a:lnTo>
                      <a:pt x="1272" y="97"/>
                    </a:lnTo>
                    <a:lnTo>
                      <a:pt x="1270" y="114"/>
                    </a:lnTo>
                    <a:lnTo>
                      <a:pt x="1264" y="122"/>
                    </a:lnTo>
                    <a:lnTo>
                      <a:pt x="1257" y="124"/>
                    </a:lnTo>
                    <a:lnTo>
                      <a:pt x="1260" y="128"/>
                    </a:lnTo>
                    <a:lnTo>
                      <a:pt x="1255" y="135"/>
                    </a:lnTo>
                    <a:lnTo>
                      <a:pt x="1253" y="139"/>
                    </a:lnTo>
                    <a:lnTo>
                      <a:pt x="1249" y="137"/>
                    </a:lnTo>
                    <a:lnTo>
                      <a:pt x="1249" y="141"/>
                    </a:lnTo>
                    <a:lnTo>
                      <a:pt x="1241" y="150"/>
                    </a:lnTo>
                    <a:lnTo>
                      <a:pt x="1232" y="156"/>
                    </a:lnTo>
                    <a:lnTo>
                      <a:pt x="1230" y="162"/>
                    </a:lnTo>
                    <a:lnTo>
                      <a:pt x="1226" y="164"/>
                    </a:lnTo>
                    <a:lnTo>
                      <a:pt x="1222" y="160"/>
                    </a:lnTo>
                    <a:lnTo>
                      <a:pt x="1220" y="160"/>
                    </a:lnTo>
                    <a:lnTo>
                      <a:pt x="1224" y="166"/>
                    </a:lnTo>
                    <a:lnTo>
                      <a:pt x="1220" y="171"/>
                    </a:lnTo>
                    <a:lnTo>
                      <a:pt x="1215" y="169"/>
                    </a:lnTo>
                    <a:lnTo>
                      <a:pt x="1213" y="168"/>
                    </a:lnTo>
                    <a:lnTo>
                      <a:pt x="1207" y="168"/>
                    </a:lnTo>
                    <a:lnTo>
                      <a:pt x="1205" y="166"/>
                    </a:lnTo>
                    <a:lnTo>
                      <a:pt x="1205" y="169"/>
                    </a:lnTo>
                    <a:lnTo>
                      <a:pt x="1199" y="173"/>
                    </a:lnTo>
                    <a:lnTo>
                      <a:pt x="1194" y="173"/>
                    </a:lnTo>
                    <a:lnTo>
                      <a:pt x="1194" y="175"/>
                    </a:lnTo>
                    <a:lnTo>
                      <a:pt x="1196" y="173"/>
                    </a:lnTo>
                    <a:lnTo>
                      <a:pt x="1199" y="175"/>
                    </a:lnTo>
                    <a:lnTo>
                      <a:pt x="1205" y="173"/>
                    </a:lnTo>
                    <a:lnTo>
                      <a:pt x="1205" y="175"/>
                    </a:lnTo>
                    <a:lnTo>
                      <a:pt x="1198" y="181"/>
                    </a:lnTo>
                    <a:lnTo>
                      <a:pt x="1196" y="181"/>
                    </a:lnTo>
                    <a:lnTo>
                      <a:pt x="1194" y="179"/>
                    </a:lnTo>
                    <a:lnTo>
                      <a:pt x="1194" y="177"/>
                    </a:lnTo>
                    <a:lnTo>
                      <a:pt x="1192" y="181"/>
                    </a:lnTo>
                    <a:lnTo>
                      <a:pt x="1186" y="181"/>
                    </a:lnTo>
                    <a:lnTo>
                      <a:pt x="1165" y="185"/>
                    </a:lnTo>
                    <a:lnTo>
                      <a:pt x="1158" y="189"/>
                    </a:lnTo>
                    <a:lnTo>
                      <a:pt x="1146" y="175"/>
                    </a:lnTo>
                    <a:lnTo>
                      <a:pt x="1142" y="171"/>
                    </a:lnTo>
                    <a:lnTo>
                      <a:pt x="1156" y="189"/>
                    </a:lnTo>
                    <a:lnTo>
                      <a:pt x="1156" y="192"/>
                    </a:lnTo>
                    <a:lnTo>
                      <a:pt x="1152" y="192"/>
                    </a:lnTo>
                    <a:lnTo>
                      <a:pt x="1154" y="194"/>
                    </a:lnTo>
                    <a:lnTo>
                      <a:pt x="1165" y="189"/>
                    </a:lnTo>
                    <a:lnTo>
                      <a:pt x="1175" y="189"/>
                    </a:lnTo>
                    <a:lnTo>
                      <a:pt x="1182" y="190"/>
                    </a:lnTo>
                    <a:lnTo>
                      <a:pt x="1184" y="192"/>
                    </a:lnTo>
                    <a:lnTo>
                      <a:pt x="1152" y="217"/>
                    </a:lnTo>
                    <a:lnTo>
                      <a:pt x="1144" y="221"/>
                    </a:lnTo>
                    <a:lnTo>
                      <a:pt x="1140" y="219"/>
                    </a:lnTo>
                    <a:lnTo>
                      <a:pt x="1138" y="219"/>
                    </a:lnTo>
                    <a:lnTo>
                      <a:pt x="1142" y="223"/>
                    </a:lnTo>
                    <a:lnTo>
                      <a:pt x="1138" y="225"/>
                    </a:lnTo>
                    <a:lnTo>
                      <a:pt x="1131" y="229"/>
                    </a:lnTo>
                    <a:lnTo>
                      <a:pt x="1127" y="229"/>
                    </a:lnTo>
                    <a:lnTo>
                      <a:pt x="1131" y="231"/>
                    </a:lnTo>
                    <a:lnTo>
                      <a:pt x="1137" y="229"/>
                    </a:lnTo>
                    <a:lnTo>
                      <a:pt x="1131" y="236"/>
                    </a:lnTo>
                    <a:lnTo>
                      <a:pt x="1131" y="238"/>
                    </a:lnTo>
                    <a:lnTo>
                      <a:pt x="1142" y="227"/>
                    </a:lnTo>
                    <a:lnTo>
                      <a:pt x="1161" y="217"/>
                    </a:lnTo>
                    <a:lnTo>
                      <a:pt x="1173" y="210"/>
                    </a:lnTo>
                    <a:lnTo>
                      <a:pt x="1180" y="206"/>
                    </a:lnTo>
                    <a:lnTo>
                      <a:pt x="1209" y="190"/>
                    </a:lnTo>
                    <a:lnTo>
                      <a:pt x="1219" y="189"/>
                    </a:lnTo>
                    <a:lnTo>
                      <a:pt x="1219" y="198"/>
                    </a:lnTo>
                    <a:lnTo>
                      <a:pt x="1215" y="206"/>
                    </a:lnTo>
                    <a:lnTo>
                      <a:pt x="1205" y="219"/>
                    </a:lnTo>
                    <a:lnTo>
                      <a:pt x="1198" y="225"/>
                    </a:lnTo>
                    <a:lnTo>
                      <a:pt x="1194" y="223"/>
                    </a:lnTo>
                    <a:lnTo>
                      <a:pt x="1190" y="231"/>
                    </a:lnTo>
                    <a:lnTo>
                      <a:pt x="1190" y="232"/>
                    </a:lnTo>
                    <a:lnTo>
                      <a:pt x="1186" y="236"/>
                    </a:lnTo>
                    <a:lnTo>
                      <a:pt x="1184" y="242"/>
                    </a:lnTo>
                    <a:lnTo>
                      <a:pt x="1180" y="248"/>
                    </a:lnTo>
                    <a:lnTo>
                      <a:pt x="1173" y="253"/>
                    </a:lnTo>
                    <a:lnTo>
                      <a:pt x="1167" y="253"/>
                    </a:lnTo>
                    <a:lnTo>
                      <a:pt x="1171" y="257"/>
                    </a:lnTo>
                    <a:lnTo>
                      <a:pt x="1165" y="263"/>
                    </a:lnTo>
                    <a:lnTo>
                      <a:pt x="1163" y="267"/>
                    </a:lnTo>
                    <a:lnTo>
                      <a:pt x="1159" y="269"/>
                    </a:lnTo>
                    <a:lnTo>
                      <a:pt x="1150" y="284"/>
                    </a:lnTo>
                    <a:lnTo>
                      <a:pt x="1146" y="286"/>
                    </a:lnTo>
                    <a:lnTo>
                      <a:pt x="1148" y="288"/>
                    </a:lnTo>
                    <a:lnTo>
                      <a:pt x="1144" y="294"/>
                    </a:lnTo>
                    <a:lnTo>
                      <a:pt x="1142" y="303"/>
                    </a:lnTo>
                    <a:lnTo>
                      <a:pt x="1138" y="309"/>
                    </a:lnTo>
                    <a:lnTo>
                      <a:pt x="1135" y="311"/>
                    </a:lnTo>
                    <a:lnTo>
                      <a:pt x="1127" y="311"/>
                    </a:lnTo>
                    <a:lnTo>
                      <a:pt x="1127" y="303"/>
                    </a:lnTo>
                    <a:lnTo>
                      <a:pt x="1121" y="294"/>
                    </a:lnTo>
                    <a:lnTo>
                      <a:pt x="1117" y="290"/>
                    </a:lnTo>
                    <a:lnTo>
                      <a:pt x="1117" y="292"/>
                    </a:lnTo>
                    <a:lnTo>
                      <a:pt x="1121" y="295"/>
                    </a:lnTo>
                    <a:lnTo>
                      <a:pt x="1125" y="305"/>
                    </a:lnTo>
                    <a:lnTo>
                      <a:pt x="1123" y="309"/>
                    </a:lnTo>
                    <a:lnTo>
                      <a:pt x="1123" y="311"/>
                    </a:lnTo>
                    <a:lnTo>
                      <a:pt x="1131" y="318"/>
                    </a:lnTo>
                    <a:lnTo>
                      <a:pt x="1129" y="322"/>
                    </a:lnTo>
                    <a:lnTo>
                      <a:pt x="1129" y="326"/>
                    </a:lnTo>
                    <a:lnTo>
                      <a:pt x="1117" y="324"/>
                    </a:lnTo>
                    <a:lnTo>
                      <a:pt x="1104" y="334"/>
                    </a:lnTo>
                    <a:lnTo>
                      <a:pt x="1102" y="332"/>
                    </a:lnTo>
                    <a:lnTo>
                      <a:pt x="1100" y="330"/>
                    </a:lnTo>
                    <a:lnTo>
                      <a:pt x="1098" y="326"/>
                    </a:lnTo>
                    <a:lnTo>
                      <a:pt x="1096" y="326"/>
                    </a:lnTo>
                    <a:lnTo>
                      <a:pt x="1095" y="322"/>
                    </a:lnTo>
                    <a:lnTo>
                      <a:pt x="1093" y="322"/>
                    </a:lnTo>
                    <a:lnTo>
                      <a:pt x="1093" y="324"/>
                    </a:lnTo>
                    <a:lnTo>
                      <a:pt x="1100" y="334"/>
                    </a:lnTo>
                    <a:lnTo>
                      <a:pt x="1098" y="335"/>
                    </a:lnTo>
                    <a:lnTo>
                      <a:pt x="1093" y="335"/>
                    </a:lnTo>
                    <a:lnTo>
                      <a:pt x="1093" y="337"/>
                    </a:lnTo>
                    <a:lnTo>
                      <a:pt x="1095" y="335"/>
                    </a:lnTo>
                    <a:lnTo>
                      <a:pt x="1095" y="337"/>
                    </a:lnTo>
                    <a:lnTo>
                      <a:pt x="1108" y="337"/>
                    </a:lnTo>
                    <a:lnTo>
                      <a:pt x="1119" y="332"/>
                    </a:lnTo>
                    <a:lnTo>
                      <a:pt x="1121" y="332"/>
                    </a:lnTo>
                    <a:lnTo>
                      <a:pt x="1123" y="335"/>
                    </a:lnTo>
                    <a:lnTo>
                      <a:pt x="1123" y="339"/>
                    </a:lnTo>
                    <a:lnTo>
                      <a:pt x="1119" y="341"/>
                    </a:lnTo>
                    <a:lnTo>
                      <a:pt x="1119" y="345"/>
                    </a:lnTo>
                    <a:lnTo>
                      <a:pt x="1110" y="347"/>
                    </a:lnTo>
                    <a:lnTo>
                      <a:pt x="1110" y="349"/>
                    </a:lnTo>
                    <a:lnTo>
                      <a:pt x="1108" y="351"/>
                    </a:lnTo>
                    <a:lnTo>
                      <a:pt x="1108" y="355"/>
                    </a:lnTo>
                    <a:lnTo>
                      <a:pt x="1114" y="351"/>
                    </a:lnTo>
                    <a:lnTo>
                      <a:pt x="1117" y="353"/>
                    </a:lnTo>
                    <a:lnTo>
                      <a:pt x="1114" y="360"/>
                    </a:lnTo>
                    <a:lnTo>
                      <a:pt x="1112" y="360"/>
                    </a:lnTo>
                    <a:lnTo>
                      <a:pt x="1114" y="362"/>
                    </a:lnTo>
                    <a:lnTo>
                      <a:pt x="1108" y="366"/>
                    </a:lnTo>
                    <a:lnTo>
                      <a:pt x="1106" y="368"/>
                    </a:lnTo>
                    <a:lnTo>
                      <a:pt x="1100" y="370"/>
                    </a:lnTo>
                    <a:lnTo>
                      <a:pt x="1095" y="376"/>
                    </a:lnTo>
                    <a:lnTo>
                      <a:pt x="1093" y="372"/>
                    </a:lnTo>
                    <a:lnTo>
                      <a:pt x="1087" y="374"/>
                    </a:lnTo>
                    <a:lnTo>
                      <a:pt x="1083" y="370"/>
                    </a:lnTo>
                    <a:lnTo>
                      <a:pt x="1081" y="360"/>
                    </a:lnTo>
                    <a:lnTo>
                      <a:pt x="1083" y="360"/>
                    </a:lnTo>
                    <a:lnTo>
                      <a:pt x="1085" y="360"/>
                    </a:lnTo>
                    <a:lnTo>
                      <a:pt x="1079" y="360"/>
                    </a:lnTo>
                    <a:lnTo>
                      <a:pt x="1076" y="358"/>
                    </a:lnTo>
                    <a:lnTo>
                      <a:pt x="1068" y="360"/>
                    </a:lnTo>
                    <a:lnTo>
                      <a:pt x="1072" y="356"/>
                    </a:lnTo>
                    <a:lnTo>
                      <a:pt x="1070" y="356"/>
                    </a:lnTo>
                    <a:lnTo>
                      <a:pt x="1068" y="355"/>
                    </a:lnTo>
                    <a:lnTo>
                      <a:pt x="1062" y="353"/>
                    </a:lnTo>
                    <a:lnTo>
                      <a:pt x="1060" y="356"/>
                    </a:lnTo>
                    <a:lnTo>
                      <a:pt x="1053" y="358"/>
                    </a:lnTo>
                    <a:lnTo>
                      <a:pt x="1055" y="358"/>
                    </a:lnTo>
                    <a:lnTo>
                      <a:pt x="1056" y="362"/>
                    </a:lnTo>
                    <a:lnTo>
                      <a:pt x="1066" y="362"/>
                    </a:lnTo>
                    <a:lnTo>
                      <a:pt x="1074" y="366"/>
                    </a:lnTo>
                    <a:lnTo>
                      <a:pt x="1077" y="364"/>
                    </a:lnTo>
                    <a:lnTo>
                      <a:pt x="1077" y="366"/>
                    </a:lnTo>
                    <a:lnTo>
                      <a:pt x="1081" y="377"/>
                    </a:lnTo>
                    <a:lnTo>
                      <a:pt x="1079" y="379"/>
                    </a:lnTo>
                    <a:lnTo>
                      <a:pt x="1081" y="385"/>
                    </a:lnTo>
                    <a:lnTo>
                      <a:pt x="1079" y="387"/>
                    </a:lnTo>
                    <a:lnTo>
                      <a:pt x="1072" y="389"/>
                    </a:lnTo>
                    <a:lnTo>
                      <a:pt x="1068" y="383"/>
                    </a:lnTo>
                    <a:lnTo>
                      <a:pt x="1068" y="391"/>
                    </a:lnTo>
                    <a:lnTo>
                      <a:pt x="1066" y="393"/>
                    </a:lnTo>
                    <a:lnTo>
                      <a:pt x="1064" y="395"/>
                    </a:lnTo>
                    <a:lnTo>
                      <a:pt x="1060" y="393"/>
                    </a:lnTo>
                    <a:lnTo>
                      <a:pt x="1056" y="393"/>
                    </a:lnTo>
                    <a:lnTo>
                      <a:pt x="1051" y="387"/>
                    </a:lnTo>
                    <a:lnTo>
                      <a:pt x="1051" y="389"/>
                    </a:lnTo>
                    <a:lnTo>
                      <a:pt x="1053" y="397"/>
                    </a:lnTo>
                    <a:lnTo>
                      <a:pt x="1053" y="398"/>
                    </a:lnTo>
                    <a:lnTo>
                      <a:pt x="1049" y="398"/>
                    </a:lnTo>
                    <a:lnTo>
                      <a:pt x="1043" y="398"/>
                    </a:lnTo>
                    <a:lnTo>
                      <a:pt x="1041" y="395"/>
                    </a:lnTo>
                    <a:lnTo>
                      <a:pt x="1039" y="397"/>
                    </a:lnTo>
                    <a:lnTo>
                      <a:pt x="1037" y="395"/>
                    </a:lnTo>
                    <a:lnTo>
                      <a:pt x="1037" y="393"/>
                    </a:lnTo>
                    <a:lnTo>
                      <a:pt x="1035" y="395"/>
                    </a:lnTo>
                    <a:lnTo>
                      <a:pt x="1032" y="389"/>
                    </a:lnTo>
                    <a:lnTo>
                      <a:pt x="1024" y="387"/>
                    </a:lnTo>
                    <a:lnTo>
                      <a:pt x="1020" y="387"/>
                    </a:lnTo>
                    <a:lnTo>
                      <a:pt x="1018" y="387"/>
                    </a:lnTo>
                    <a:lnTo>
                      <a:pt x="1018" y="383"/>
                    </a:lnTo>
                    <a:lnTo>
                      <a:pt x="1016" y="383"/>
                    </a:lnTo>
                    <a:lnTo>
                      <a:pt x="1016" y="387"/>
                    </a:lnTo>
                    <a:lnTo>
                      <a:pt x="1018" y="389"/>
                    </a:lnTo>
                    <a:lnTo>
                      <a:pt x="1022" y="389"/>
                    </a:lnTo>
                    <a:lnTo>
                      <a:pt x="1024" y="389"/>
                    </a:lnTo>
                    <a:lnTo>
                      <a:pt x="1026" y="391"/>
                    </a:lnTo>
                    <a:lnTo>
                      <a:pt x="1032" y="391"/>
                    </a:lnTo>
                    <a:lnTo>
                      <a:pt x="1032" y="393"/>
                    </a:lnTo>
                    <a:lnTo>
                      <a:pt x="1032" y="395"/>
                    </a:lnTo>
                    <a:lnTo>
                      <a:pt x="1032" y="397"/>
                    </a:lnTo>
                    <a:lnTo>
                      <a:pt x="1037" y="402"/>
                    </a:lnTo>
                    <a:lnTo>
                      <a:pt x="1035" y="400"/>
                    </a:lnTo>
                    <a:lnTo>
                      <a:pt x="1034" y="402"/>
                    </a:lnTo>
                    <a:lnTo>
                      <a:pt x="1032" y="400"/>
                    </a:lnTo>
                    <a:lnTo>
                      <a:pt x="1022" y="400"/>
                    </a:lnTo>
                    <a:lnTo>
                      <a:pt x="1018" y="397"/>
                    </a:lnTo>
                    <a:lnTo>
                      <a:pt x="1016" y="391"/>
                    </a:lnTo>
                    <a:lnTo>
                      <a:pt x="1014" y="393"/>
                    </a:lnTo>
                    <a:lnTo>
                      <a:pt x="1013" y="393"/>
                    </a:lnTo>
                    <a:lnTo>
                      <a:pt x="1014" y="395"/>
                    </a:lnTo>
                    <a:lnTo>
                      <a:pt x="1016" y="404"/>
                    </a:lnTo>
                    <a:lnTo>
                      <a:pt x="1013" y="402"/>
                    </a:lnTo>
                    <a:lnTo>
                      <a:pt x="1007" y="402"/>
                    </a:lnTo>
                    <a:lnTo>
                      <a:pt x="1005" y="400"/>
                    </a:lnTo>
                    <a:lnTo>
                      <a:pt x="1003" y="400"/>
                    </a:lnTo>
                    <a:lnTo>
                      <a:pt x="1005" y="404"/>
                    </a:lnTo>
                    <a:lnTo>
                      <a:pt x="1011" y="404"/>
                    </a:lnTo>
                    <a:lnTo>
                      <a:pt x="1014" y="408"/>
                    </a:lnTo>
                    <a:lnTo>
                      <a:pt x="1009" y="410"/>
                    </a:lnTo>
                    <a:lnTo>
                      <a:pt x="1022" y="406"/>
                    </a:lnTo>
                    <a:lnTo>
                      <a:pt x="1034" y="408"/>
                    </a:lnTo>
                    <a:lnTo>
                      <a:pt x="1035" y="410"/>
                    </a:lnTo>
                    <a:lnTo>
                      <a:pt x="1039" y="412"/>
                    </a:lnTo>
                    <a:lnTo>
                      <a:pt x="1041" y="410"/>
                    </a:lnTo>
                    <a:lnTo>
                      <a:pt x="1058" y="412"/>
                    </a:lnTo>
                    <a:lnTo>
                      <a:pt x="1058" y="414"/>
                    </a:lnTo>
                    <a:lnTo>
                      <a:pt x="1055" y="416"/>
                    </a:lnTo>
                    <a:lnTo>
                      <a:pt x="1055" y="418"/>
                    </a:lnTo>
                    <a:lnTo>
                      <a:pt x="1058" y="418"/>
                    </a:lnTo>
                    <a:lnTo>
                      <a:pt x="1056" y="419"/>
                    </a:lnTo>
                    <a:lnTo>
                      <a:pt x="1060" y="427"/>
                    </a:lnTo>
                    <a:lnTo>
                      <a:pt x="1058" y="429"/>
                    </a:lnTo>
                    <a:lnTo>
                      <a:pt x="1056" y="429"/>
                    </a:lnTo>
                    <a:lnTo>
                      <a:pt x="1039" y="425"/>
                    </a:lnTo>
                    <a:lnTo>
                      <a:pt x="1039" y="421"/>
                    </a:lnTo>
                    <a:lnTo>
                      <a:pt x="1037" y="421"/>
                    </a:lnTo>
                    <a:lnTo>
                      <a:pt x="1037" y="418"/>
                    </a:lnTo>
                    <a:lnTo>
                      <a:pt x="1032" y="414"/>
                    </a:lnTo>
                    <a:lnTo>
                      <a:pt x="1018" y="416"/>
                    </a:lnTo>
                    <a:lnTo>
                      <a:pt x="1014" y="414"/>
                    </a:lnTo>
                    <a:lnTo>
                      <a:pt x="1005" y="414"/>
                    </a:lnTo>
                    <a:lnTo>
                      <a:pt x="999" y="416"/>
                    </a:lnTo>
                    <a:lnTo>
                      <a:pt x="999" y="418"/>
                    </a:lnTo>
                    <a:lnTo>
                      <a:pt x="1005" y="416"/>
                    </a:lnTo>
                    <a:lnTo>
                      <a:pt x="1014" y="416"/>
                    </a:lnTo>
                    <a:lnTo>
                      <a:pt x="1020" y="418"/>
                    </a:lnTo>
                    <a:lnTo>
                      <a:pt x="1026" y="418"/>
                    </a:lnTo>
                    <a:lnTo>
                      <a:pt x="1030" y="421"/>
                    </a:lnTo>
                    <a:lnTo>
                      <a:pt x="1032" y="419"/>
                    </a:lnTo>
                    <a:lnTo>
                      <a:pt x="1034" y="421"/>
                    </a:lnTo>
                    <a:lnTo>
                      <a:pt x="1034" y="423"/>
                    </a:lnTo>
                    <a:lnTo>
                      <a:pt x="1026" y="423"/>
                    </a:lnTo>
                    <a:lnTo>
                      <a:pt x="1020" y="423"/>
                    </a:lnTo>
                    <a:lnTo>
                      <a:pt x="1016" y="425"/>
                    </a:lnTo>
                    <a:lnTo>
                      <a:pt x="1011" y="429"/>
                    </a:lnTo>
                    <a:lnTo>
                      <a:pt x="1009" y="427"/>
                    </a:lnTo>
                    <a:lnTo>
                      <a:pt x="1007" y="425"/>
                    </a:lnTo>
                    <a:lnTo>
                      <a:pt x="1001" y="425"/>
                    </a:lnTo>
                    <a:lnTo>
                      <a:pt x="999" y="423"/>
                    </a:lnTo>
                    <a:lnTo>
                      <a:pt x="990" y="425"/>
                    </a:lnTo>
                    <a:lnTo>
                      <a:pt x="999" y="425"/>
                    </a:lnTo>
                    <a:lnTo>
                      <a:pt x="1001" y="427"/>
                    </a:lnTo>
                    <a:lnTo>
                      <a:pt x="1007" y="425"/>
                    </a:lnTo>
                    <a:lnTo>
                      <a:pt x="1009" y="429"/>
                    </a:lnTo>
                    <a:lnTo>
                      <a:pt x="1005" y="433"/>
                    </a:lnTo>
                    <a:lnTo>
                      <a:pt x="999" y="444"/>
                    </a:lnTo>
                    <a:lnTo>
                      <a:pt x="999" y="450"/>
                    </a:lnTo>
                    <a:lnTo>
                      <a:pt x="1001" y="450"/>
                    </a:lnTo>
                    <a:lnTo>
                      <a:pt x="1003" y="440"/>
                    </a:lnTo>
                    <a:lnTo>
                      <a:pt x="1007" y="433"/>
                    </a:lnTo>
                    <a:lnTo>
                      <a:pt x="1011" y="433"/>
                    </a:lnTo>
                    <a:lnTo>
                      <a:pt x="1016" y="431"/>
                    </a:lnTo>
                    <a:lnTo>
                      <a:pt x="1024" y="429"/>
                    </a:lnTo>
                    <a:lnTo>
                      <a:pt x="1035" y="431"/>
                    </a:lnTo>
                    <a:lnTo>
                      <a:pt x="1035" y="433"/>
                    </a:lnTo>
                    <a:lnTo>
                      <a:pt x="1039" y="433"/>
                    </a:lnTo>
                    <a:lnTo>
                      <a:pt x="1037" y="437"/>
                    </a:lnTo>
                    <a:lnTo>
                      <a:pt x="1030" y="440"/>
                    </a:lnTo>
                    <a:lnTo>
                      <a:pt x="1028" y="444"/>
                    </a:lnTo>
                    <a:lnTo>
                      <a:pt x="1032" y="440"/>
                    </a:lnTo>
                    <a:lnTo>
                      <a:pt x="1035" y="440"/>
                    </a:lnTo>
                    <a:lnTo>
                      <a:pt x="1039" y="439"/>
                    </a:lnTo>
                    <a:lnTo>
                      <a:pt x="1041" y="440"/>
                    </a:lnTo>
                    <a:lnTo>
                      <a:pt x="1045" y="439"/>
                    </a:lnTo>
                    <a:lnTo>
                      <a:pt x="1051" y="442"/>
                    </a:lnTo>
                    <a:lnTo>
                      <a:pt x="1053" y="442"/>
                    </a:lnTo>
                    <a:lnTo>
                      <a:pt x="1055" y="446"/>
                    </a:lnTo>
                    <a:lnTo>
                      <a:pt x="1055" y="448"/>
                    </a:lnTo>
                    <a:lnTo>
                      <a:pt x="1053" y="448"/>
                    </a:lnTo>
                    <a:lnTo>
                      <a:pt x="1056" y="450"/>
                    </a:lnTo>
                    <a:lnTo>
                      <a:pt x="1055" y="452"/>
                    </a:lnTo>
                    <a:lnTo>
                      <a:pt x="1056" y="456"/>
                    </a:lnTo>
                    <a:lnTo>
                      <a:pt x="1055" y="456"/>
                    </a:lnTo>
                    <a:lnTo>
                      <a:pt x="1055" y="460"/>
                    </a:lnTo>
                    <a:lnTo>
                      <a:pt x="1055" y="461"/>
                    </a:lnTo>
                    <a:lnTo>
                      <a:pt x="1056" y="461"/>
                    </a:lnTo>
                    <a:lnTo>
                      <a:pt x="1058" y="465"/>
                    </a:lnTo>
                    <a:lnTo>
                      <a:pt x="1055" y="463"/>
                    </a:lnTo>
                    <a:lnTo>
                      <a:pt x="1053" y="465"/>
                    </a:lnTo>
                    <a:lnTo>
                      <a:pt x="1055" y="467"/>
                    </a:lnTo>
                    <a:lnTo>
                      <a:pt x="1051" y="469"/>
                    </a:lnTo>
                    <a:lnTo>
                      <a:pt x="1047" y="469"/>
                    </a:lnTo>
                    <a:lnTo>
                      <a:pt x="1043" y="471"/>
                    </a:lnTo>
                    <a:lnTo>
                      <a:pt x="1037" y="471"/>
                    </a:lnTo>
                    <a:lnTo>
                      <a:pt x="1035" y="471"/>
                    </a:lnTo>
                    <a:lnTo>
                      <a:pt x="1034" y="469"/>
                    </a:lnTo>
                    <a:lnTo>
                      <a:pt x="1030" y="467"/>
                    </a:lnTo>
                    <a:lnTo>
                      <a:pt x="1024" y="471"/>
                    </a:lnTo>
                    <a:lnTo>
                      <a:pt x="1032" y="471"/>
                    </a:lnTo>
                    <a:lnTo>
                      <a:pt x="1034" y="475"/>
                    </a:lnTo>
                    <a:lnTo>
                      <a:pt x="1043" y="477"/>
                    </a:lnTo>
                    <a:lnTo>
                      <a:pt x="1045" y="479"/>
                    </a:lnTo>
                    <a:lnTo>
                      <a:pt x="1047" y="479"/>
                    </a:lnTo>
                    <a:lnTo>
                      <a:pt x="1049" y="482"/>
                    </a:lnTo>
                    <a:lnTo>
                      <a:pt x="1051" y="484"/>
                    </a:lnTo>
                    <a:lnTo>
                      <a:pt x="1049" y="486"/>
                    </a:lnTo>
                    <a:lnTo>
                      <a:pt x="1045" y="488"/>
                    </a:lnTo>
                    <a:lnTo>
                      <a:pt x="1043" y="494"/>
                    </a:lnTo>
                    <a:lnTo>
                      <a:pt x="1041" y="496"/>
                    </a:lnTo>
                    <a:lnTo>
                      <a:pt x="1037" y="494"/>
                    </a:lnTo>
                    <a:lnTo>
                      <a:pt x="1026" y="492"/>
                    </a:lnTo>
                    <a:lnTo>
                      <a:pt x="1020" y="494"/>
                    </a:lnTo>
                    <a:lnTo>
                      <a:pt x="1020" y="496"/>
                    </a:lnTo>
                    <a:lnTo>
                      <a:pt x="1024" y="498"/>
                    </a:lnTo>
                    <a:lnTo>
                      <a:pt x="1030" y="500"/>
                    </a:lnTo>
                    <a:lnTo>
                      <a:pt x="1032" y="501"/>
                    </a:lnTo>
                    <a:lnTo>
                      <a:pt x="1034" y="500"/>
                    </a:lnTo>
                    <a:lnTo>
                      <a:pt x="1041" y="501"/>
                    </a:lnTo>
                    <a:lnTo>
                      <a:pt x="1039" y="505"/>
                    </a:lnTo>
                    <a:lnTo>
                      <a:pt x="1041" y="507"/>
                    </a:lnTo>
                    <a:lnTo>
                      <a:pt x="1037" y="513"/>
                    </a:lnTo>
                    <a:lnTo>
                      <a:pt x="1035" y="513"/>
                    </a:lnTo>
                    <a:lnTo>
                      <a:pt x="1034" y="511"/>
                    </a:lnTo>
                    <a:lnTo>
                      <a:pt x="1028" y="511"/>
                    </a:lnTo>
                    <a:lnTo>
                      <a:pt x="1026" y="515"/>
                    </a:lnTo>
                    <a:lnTo>
                      <a:pt x="1024" y="515"/>
                    </a:lnTo>
                    <a:lnTo>
                      <a:pt x="1022" y="519"/>
                    </a:lnTo>
                    <a:lnTo>
                      <a:pt x="1020" y="519"/>
                    </a:lnTo>
                    <a:lnTo>
                      <a:pt x="1016" y="515"/>
                    </a:lnTo>
                    <a:lnTo>
                      <a:pt x="1014" y="515"/>
                    </a:lnTo>
                    <a:lnTo>
                      <a:pt x="1013" y="515"/>
                    </a:lnTo>
                    <a:lnTo>
                      <a:pt x="1014" y="515"/>
                    </a:lnTo>
                    <a:lnTo>
                      <a:pt x="1011" y="515"/>
                    </a:lnTo>
                    <a:lnTo>
                      <a:pt x="1009" y="515"/>
                    </a:lnTo>
                    <a:lnTo>
                      <a:pt x="1005" y="513"/>
                    </a:lnTo>
                    <a:lnTo>
                      <a:pt x="1005" y="515"/>
                    </a:lnTo>
                    <a:lnTo>
                      <a:pt x="999" y="513"/>
                    </a:lnTo>
                    <a:lnTo>
                      <a:pt x="1001" y="515"/>
                    </a:lnTo>
                    <a:lnTo>
                      <a:pt x="997" y="515"/>
                    </a:lnTo>
                    <a:lnTo>
                      <a:pt x="997" y="517"/>
                    </a:lnTo>
                    <a:lnTo>
                      <a:pt x="997" y="521"/>
                    </a:lnTo>
                    <a:lnTo>
                      <a:pt x="1001" y="521"/>
                    </a:lnTo>
                    <a:lnTo>
                      <a:pt x="1001" y="524"/>
                    </a:lnTo>
                    <a:lnTo>
                      <a:pt x="1003" y="524"/>
                    </a:lnTo>
                    <a:lnTo>
                      <a:pt x="1003" y="526"/>
                    </a:lnTo>
                    <a:lnTo>
                      <a:pt x="1003" y="530"/>
                    </a:lnTo>
                    <a:lnTo>
                      <a:pt x="1003" y="532"/>
                    </a:lnTo>
                    <a:lnTo>
                      <a:pt x="1003" y="534"/>
                    </a:lnTo>
                    <a:lnTo>
                      <a:pt x="1001" y="536"/>
                    </a:lnTo>
                    <a:lnTo>
                      <a:pt x="1003" y="536"/>
                    </a:lnTo>
                    <a:lnTo>
                      <a:pt x="1005" y="538"/>
                    </a:lnTo>
                    <a:lnTo>
                      <a:pt x="1005" y="536"/>
                    </a:lnTo>
                    <a:lnTo>
                      <a:pt x="1005" y="540"/>
                    </a:lnTo>
                    <a:lnTo>
                      <a:pt x="1007" y="538"/>
                    </a:lnTo>
                    <a:lnTo>
                      <a:pt x="1009" y="542"/>
                    </a:lnTo>
                    <a:lnTo>
                      <a:pt x="1005" y="543"/>
                    </a:lnTo>
                    <a:lnTo>
                      <a:pt x="1003" y="543"/>
                    </a:lnTo>
                    <a:lnTo>
                      <a:pt x="1003" y="549"/>
                    </a:lnTo>
                    <a:lnTo>
                      <a:pt x="1003" y="551"/>
                    </a:lnTo>
                    <a:lnTo>
                      <a:pt x="999" y="551"/>
                    </a:lnTo>
                    <a:lnTo>
                      <a:pt x="997" y="553"/>
                    </a:lnTo>
                    <a:lnTo>
                      <a:pt x="999" y="555"/>
                    </a:lnTo>
                    <a:lnTo>
                      <a:pt x="997" y="557"/>
                    </a:lnTo>
                    <a:lnTo>
                      <a:pt x="995" y="557"/>
                    </a:lnTo>
                    <a:lnTo>
                      <a:pt x="994" y="561"/>
                    </a:lnTo>
                    <a:lnTo>
                      <a:pt x="990" y="563"/>
                    </a:lnTo>
                    <a:lnTo>
                      <a:pt x="992" y="557"/>
                    </a:lnTo>
                    <a:lnTo>
                      <a:pt x="990" y="557"/>
                    </a:lnTo>
                    <a:lnTo>
                      <a:pt x="988" y="559"/>
                    </a:lnTo>
                    <a:lnTo>
                      <a:pt x="988" y="561"/>
                    </a:lnTo>
                    <a:lnTo>
                      <a:pt x="984" y="563"/>
                    </a:lnTo>
                    <a:lnTo>
                      <a:pt x="976" y="561"/>
                    </a:lnTo>
                    <a:lnTo>
                      <a:pt x="971" y="564"/>
                    </a:lnTo>
                    <a:lnTo>
                      <a:pt x="959" y="561"/>
                    </a:lnTo>
                    <a:lnTo>
                      <a:pt x="955" y="557"/>
                    </a:lnTo>
                    <a:lnTo>
                      <a:pt x="955" y="555"/>
                    </a:lnTo>
                    <a:lnTo>
                      <a:pt x="950" y="553"/>
                    </a:lnTo>
                    <a:lnTo>
                      <a:pt x="950" y="551"/>
                    </a:lnTo>
                    <a:lnTo>
                      <a:pt x="946" y="547"/>
                    </a:lnTo>
                    <a:lnTo>
                      <a:pt x="946" y="543"/>
                    </a:lnTo>
                    <a:lnTo>
                      <a:pt x="944" y="543"/>
                    </a:lnTo>
                    <a:lnTo>
                      <a:pt x="946" y="542"/>
                    </a:lnTo>
                    <a:lnTo>
                      <a:pt x="942" y="540"/>
                    </a:lnTo>
                    <a:lnTo>
                      <a:pt x="942" y="536"/>
                    </a:lnTo>
                    <a:lnTo>
                      <a:pt x="940" y="534"/>
                    </a:lnTo>
                    <a:lnTo>
                      <a:pt x="940" y="540"/>
                    </a:lnTo>
                    <a:lnTo>
                      <a:pt x="942" y="540"/>
                    </a:lnTo>
                    <a:lnTo>
                      <a:pt x="944" y="545"/>
                    </a:lnTo>
                    <a:lnTo>
                      <a:pt x="942" y="553"/>
                    </a:lnTo>
                    <a:lnTo>
                      <a:pt x="948" y="557"/>
                    </a:lnTo>
                    <a:lnTo>
                      <a:pt x="952" y="557"/>
                    </a:lnTo>
                    <a:lnTo>
                      <a:pt x="953" y="561"/>
                    </a:lnTo>
                    <a:lnTo>
                      <a:pt x="948" y="563"/>
                    </a:lnTo>
                    <a:lnTo>
                      <a:pt x="944" y="563"/>
                    </a:lnTo>
                    <a:lnTo>
                      <a:pt x="942" y="564"/>
                    </a:lnTo>
                    <a:lnTo>
                      <a:pt x="938" y="561"/>
                    </a:lnTo>
                    <a:lnTo>
                      <a:pt x="936" y="563"/>
                    </a:lnTo>
                    <a:lnTo>
                      <a:pt x="942" y="566"/>
                    </a:lnTo>
                    <a:lnTo>
                      <a:pt x="940" y="570"/>
                    </a:lnTo>
                    <a:lnTo>
                      <a:pt x="942" y="572"/>
                    </a:lnTo>
                    <a:lnTo>
                      <a:pt x="953" y="564"/>
                    </a:lnTo>
                    <a:lnTo>
                      <a:pt x="971" y="570"/>
                    </a:lnTo>
                    <a:lnTo>
                      <a:pt x="965" y="578"/>
                    </a:lnTo>
                    <a:lnTo>
                      <a:pt x="965" y="580"/>
                    </a:lnTo>
                    <a:lnTo>
                      <a:pt x="969" y="576"/>
                    </a:lnTo>
                    <a:lnTo>
                      <a:pt x="973" y="570"/>
                    </a:lnTo>
                    <a:lnTo>
                      <a:pt x="976" y="566"/>
                    </a:lnTo>
                    <a:lnTo>
                      <a:pt x="982" y="568"/>
                    </a:lnTo>
                    <a:lnTo>
                      <a:pt x="988" y="574"/>
                    </a:lnTo>
                    <a:lnTo>
                      <a:pt x="986" y="574"/>
                    </a:lnTo>
                    <a:lnTo>
                      <a:pt x="988" y="578"/>
                    </a:lnTo>
                    <a:lnTo>
                      <a:pt x="986" y="578"/>
                    </a:lnTo>
                    <a:lnTo>
                      <a:pt x="984" y="584"/>
                    </a:lnTo>
                    <a:lnTo>
                      <a:pt x="982" y="585"/>
                    </a:lnTo>
                    <a:lnTo>
                      <a:pt x="980" y="589"/>
                    </a:lnTo>
                    <a:lnTo>
                      <a:pt x="982" y="589"/>
                    </a:lnTo>
                    <a:lnTo>
                      <a:pt x="984" y="589"/>
                    </a:lnTo>
                    <a:lnTo>
                      <a:pt x="986" y="589"/>
                    </a:lnTo>
                    <a:lnTo>
                      <a:pt x="988" y="587"/>
                    </a:lnTo>
                    <a:lnTo>
                      <a:pt x="990" y="589"/>
                    </a:lnTo>
                    <a:lnTo>
                      <a:pt x="988" y="595"/>
                    </a:lnTo>
                    <a:lnTo>
                      <a:pt x="992" y="597"/>
                    </a:lnTo>
                    <a:lnTo>
                      <a:pt x="992" y="593"/>
                    </a:lnTo>
                    <a:lnTo>
                      <a:pt x="994" y="593"/>
                    </a:lnTo>
                    <a:lnTo>
                      <a:pt x="994" y="591"/>
                    </a:lnTo>
                    <a:lnTo>
                      <a:pt x="994" y="587"/>
                    </a:lnTo>
                    <a:lnTo>
                      <a:pt x="997" y="585"/>
                    </a:lnTo>
                    <a:lnTo>
                      <a:pt x="995" y="584"/>
                    </a:lnTo>
                    <a:lnTo>
                      <a:pt x="999" y="582"/>
                    </a:lnTo>
                    <a:lnTo>
                      <a:pt x="1001" y="584"/>
                    </a:lnTo>
                    <a:lnTo>
                      <a:pt x="1005" y="587"/>
                    </a:lnTo>
                    <a:lnTo>
                      <a:pt x="1005" y="589"/>
                    </a:lnTo>
                    <a:lnTo>
                      <a:pt x="1005" y="591"/>
                    </a:lnTo>
                    <a:lnTo>
                      <a:pt x="1005" y="593"/>
                    </a:lnTo>
                    <a:lnTo>
                      <a:pt x="1007" y="597"/>
                    </a:lnTo>
                    <a:lnTo>
                      <a:pt x="1007" y="599"/>
                    </a:lnTo>
                    <a:lnTo>
                      <a:pt x="1007" y="603"/>
                    </a:lnTo>
                    <a:lnTo>
                      <a:pt x="1005" y="605"/>
                    </a:lnTo>
                    <a:lnTo>
                      <a:pt x="1007" y="606"/>
                    </a:lnTo>
                    <a:lnTo>
                      <a:pt x="1007" y="608"/>
                    </a:lnTo>
                    <a:lnTo>
                      <a:pt x="1005" y="610"/>
                    </a:lnTo>
                    <a:lnTo>
                      <a:pt x="1001" y="610"/>
                    </a:lnTo>
                    <a:lnTo>
                      <a:pt x="999" y="614"/>
                    </a:lnTo>
                    <a:lnTo>
                      <a:pt x="1001" y="618"/>
                    </a:lnTo>
                    <a:lnTo>
                      <a:pt x="997" y="618"/>
                    </a:lnTo>
                    <a:lnTo>
                      <a:pt x="997" y="622"/>
                    </a:lnTo>
                    <a:lnTo>
                      <a:pt x="995" y="622"/>
                    </a:lnTo>
                    <a:lnTo>
                      <a:pt x="994" y="622"/>
                    </a:lnTo>
                    <a:lnTo>
                      <a:pt x="994" y="620"/>
                    </a:lnTo>
                    <a:lnTo>
                      <a:pt x="994" y="616"/>
                    </a:lnTo>
                    <a:lnTo>
                      <a:pt x="994" y="614"/>
                    </a:lnTo>
                    <a:lnTo>
                      <a:pt x="990" y="614"/>
                    </a:lnTo>
                    <a:lnTo>
                      <a:pt x="988" y="624"/>
                    </a:lnTo>
                    <a:lnTo>
                      <a:pt x="984" y="626"/>
                    </a:lnTo>
                    <a:lnTo>
                      <a:pt x="984" y="627"/>
                    </a:lnTo>
                    <a:lnTo>
                      <a:pt x="982" y="629"/>
                    </a:lnTo>
                    <a:lnTo>
                      <a:pt x="984" y="631"/>
                    </a:lnTo>
                    <a:lnTo>
                      <a:pt x="982" y="633"/>
                    </a:lnTo>
                    <a:lnTo>
                      <a:pt x="978" y="631"/>
                    </a:lnTo>
                    <a:lnTo>
                      <a:pt x="976" y="633"/>
                    </a:lnTo>
                    <a:lnTo>
                      <a:pt x="973" y="635"/>
                    </a:lnTo>
                    <a:lnTo>
                      <a:pt x="971" y="637"/>
                    </a:lnTo>
                    <a:lnTo>
                      <a:pt x="969" y="637"/>
                    </a:lnTo>
                    <a:lnTo>
                      <a:pt x="969" y="635"/>
                    </a:lnTo>
                    <a:lnTo>
                      <a:pt x="965" y="639"/>
                    </a:lnTo>
                    <a:lnTo>
                      <a:pt x="963" y="641"/>
                    </a:lnTo>
                    <a:lnTo>
                      <a:pt x="961" y="639"/>
                    </a:lnTo>
                    <a:lnTo>
                      <a:pt x="959" y="643"/>
                    </a:lnTo>
                    <a:lnTo>
                      <a:pt x="957" y="641"/>
                    </a:lnTo>
                    <a:lnTo>
                      <a:pt x="957" y="643"/>
                    </a:lnTo>
                    <a:lnTo>
                      <a:pt x="955" y="643"/>
                    </a:lnTo>
                    <a:lnTo>
                      <a:pt x="953" y="643"/>
                    </a:lnTo>
                    <a:lnTo>
                      <a:pt x="955" y="639"/>
                    </a:lnTo>
                    <a:lnTo>
                      <a:pt x="953" y="637"/>
                    </a:lnTo>
                    <a:lnTo>
                      <a:pt x="955" y="635"/>
                    </a:lnTo>
                    <a:lnTo>
                      <a:pt x="957" y="629"/>
                    </a:lnTo>
                    <a:lnTo>
                      <a:pt x="959" y="627"/>
                    </a:lnTo>
                    <a:lnTo>
                      <a:pt x="959" y="624"/>
                    </a:lnTo>
                    <a:lnTo>
                      <a:pt x="957" y="622"/>
                    </a:lnTo>
                    <a:lnTo>
                      <a:pt x="955" y="620"/>
                    </a:lnTo>
                    <a:lnTo>
                      <a:pt x="953" y="618"/>
                    </a:lnTo>
                    <a:lnTo>
                      <a:pt x="952" y="620"/>
                    </a:lnTo>
                    <a:lnTo>
                      <a:pt x="952" y="616"/>
                    </a:lnTo>
                    <a:lnTo>
                      <a:pt x="950" y="620"/>
                    </a:lnTo>
                    <a:lnTo>
                      <a:pt x="948" y="622"/>
                    </a:lnTo>
                    <a:lnTo>
                      <a:pt x="942" y="620"/>
                    </a:lnTo>
                    <a:lnTo>
                      <a:pt x="938" y="618"/>
                    </a:lnTo>
                    <a:lnTo>
                      <a:pt x="940" y="612"/>
                    </a:lnTo>
                    <a:lnTo>
                      <a:pt x="938" y="610"/>
                    </a:lnTo>
                    <a:lnTo>
                      <a:pt x="940" y="608"/>
                    </a:lnTo>
                    <a:lnTo>
                      <a:pt x="942" y="606"/>
                    </a:lnTo>
                    <a:lnTo>
                      <a:pt x="942" y="608"/>
                    </a:lnTo>
                    <a:lnTo>
                      <a:pt x="936" y="610"/>
                    </a:lnTo>
                    <a:lnTo>
                      <a:pt x="934" y="610"/>
                    </a:lnTo>
                    <a:lnTo>
                      <a:pt x="932" y="608"/>
                    </a:lnTo>
                    <a:lnTo>
                      <a:pt x="931" y="605"/>
                    </a:lnTo>
                    <a:lnTo>
                      <a:pt x="932" y="603"/>
                    </a:lnTo>
                    <a:lnTo>
                      <a:pt x="929" y="597"/>
                    </a:lnTo>
                    <a:lnTo>
                      <a:pt x="927" y="597"/>
                    </a:lnTo>
                    <a:lnTo>
                      <a:pt x="931" y="603"/>
                    </a:lnTo>
                    <a:lnTo>
                      <a:pt x="931" y="605"/>
                    </a:lnTo>
                    <a:lnTo>
                      <a:pt x="931" y="608"/>
                    </a:lnTo>
                    <a:lnTo>
                      <a:pt x="938" y="614"/>
                    </a:lnTo>
                    <a:lnTo>
                      <a:pt x="936" y="616"/>
                    </a:lnTo>
                    <a:lnTo>
                      <a:pt x="936" y="624"/>
                    </a:lnTo>
                    <a:lnTo>
                      <a:pt x="934" y="626"/>
                    </a:lnTo>
                    <a:lnTo>
                      <a:pt x="931" y="626"/>
                    </a:lnTo>
                    <a:lnTo>
                      <a:pt x="927" y="627"/>
                    </a:lnTo>
                    <a:lnTo>
                      <a:pt x="925" y="624"/>
                    </a:lnTo>
                    <a:lnTo>
                      <a:pt x="923" y="624"/>
                    </a:lnTo>
                    <a:lnTo>
                      <a:pt x="921" y="622"/>
                    </a:lnTo>
                    <a:lnTo>
                      <a:pt x="923" y="618"/>
                    </a:lnTo>
                    <a:lnTo>
                      <a:pt x="921" y="614"/>
                    </a:lnTo>
                    <a:lnTo>
                      <a:pt x="921" y="610"/>
                    </a:lnTo>
                    <a:lnTo>
                      <a:pt x="917" y="606"/>
                    </a:lnTo>
                    <a:lnTo>
                      <a:pt x="917" y="608"/>
                    </a:lnTo>
                    <a:lnTo>
                      <a:pt x="919" y="614"/>
                    </a:lnTo>
                    <a:lnTo>
                      <a:pt x="921" y="620"/>
                    </a:lnTo>
                    <a:lnTo>
                      <a:pt x="919" y="622"/>
                    </a:lnTo>
                    <a:lnTo>
                      <a:pt x="921" y="624"/>
                    </a:lnTo>
                    <a:lnTo>
                      <a:pt x="919" y="626"/>
                    </a:lnTo>
                    <a:lnTo>
                      <a:pt x="912" y="624"/>
                    </a:lnTo>
                    <a:lnTo>
                      <a:pt x="912" y="622"/>
                    </a:lnTo>
                    <a:lnTo>
                      <a:pt x="908" y="616"/>
                    </a:lnTo>
                    <a:lnTo>
                      <a:pt x="906" y="610"/>
                    </a:lnTo>
                    <a:lnTo>
                      <a:pt x="902" y="608"/>
                    </a:lnTo>
                    <a:lnTo>
                      <a:pt x="906" y="610"/>
                    </a:lnTo>
                    <a:lnTo>
                      <a:pt x="904" y="610"/>
                    </a:lnTo>
                    <a:lnTo>
                      <a:pt x="904" y="616"/>
                    </a:lnTo>
                    <a:lnTo>
                      <a:pt x="906" y="620"/>
                    </a:lnTo>
                    <a:lnTo>
                      <a:pt x="904" y="622"/>
                    </a:lnTo>
                    <a:lnTo>
                      <a:pt x="902" y="622"/>
                    </a:lnTo>
                    <a:lnTo>
                      <a:pt x="900" y="624"/>
                    </a:lnTo>
                    <a:lnTo>
                      <a:pt x="898" y="624"/>
                    </a:lnTo>
                    <a:lnTo>
                      <a:pt x="894" y="622"/>
                    </a:lnTo>
                    <a:lnTo>
                      <a:pt x="894" y="616"/>
                    </a:lnTo>
                    <a:lnTo>
                      <a:pt x="891" y="612"/>
                    </a:lnTo>
                    <a:lnTo>
                      <a:pt x="891" y="614"/>
                    </a:lnTo>
                    <a:lnTo>
                      <a:pt x="892" y="624"/>
                    </a:lnTo>
                    <a:lnTo>
                      <a:pt x="902" y="631"/>
                    </a:lnTo>
                    <a:lnTo>
                      <a:pt x="900" y="633"/>
                    </a:lnTo>
                    <a:lnTo>
                      <a:pt x="896" y="631"/>
                    </a:lnTo>
                    <a:lnTo>
                      <a:pt x="892" y="633"/>
                    </a:lnTo>
                    <a:lnTo>
                      <a:pt x="889" y="633"/>
                    </a:lnTo>
                    <a:lnTo>
                      <a:pt x="887" y="631"/>
                    </a:lnTo>
                    <a:lnTo>
                      <a:pt x="885" y="631"/>
                    </a:lnTo>
                    <a:lnTo>
                      <a:pt x="879" y="629"/>
                    </a:lnTo>
                    <a:lnTo>
                      <a:pt x="877" y="629"/>
                    </a:lnTo>
                    <a:lnTo>
                      <a:pt x="875" y="627"/>
                    </a:lnTo>
                    <a:lnTo>
                      <a:pt x="870" y="626"/>
                    </a:lnTo>
                    <a:lnTo>
                      <a:pt x="870" y="622"/>
                    </a:lnTo>
                    <a:lnTo>
                      <a:pt x="871" y="618"/>
                    </a:lnTo>
                    <a:lnTo>
                      <a:pt x="866" y="608"/>
                    </a:lnTo>
                    <a:lnTo>
                      <a:pt x="866" y="610"/>
                    </a:lnTo>
                    <a:lnTo>
                      <a:pt x="871" y="618"/>
                    </a:lnTo>
                    <a:lnTo>
                      <a:pt x="866" y="620"/>
                    </a:lnTo>
                    <a:lnTo>
                      <a:pt x="866" y="622"/>
                    </a:lnTo>
                    <a:lnTo>
                      <a:pt x="866" y="629"/>
                    </a:lnTo>
                    <a:lnTo>
                      <a:pt x="858" y="627"/>
                    </a:lnTo>
                    <a:lnTo>
                      <a:pt x="856" y="626"/>
                    </a:lnTo>
                    <a:lnTo>
                      <a:pt x="858" y="624"/>
                    </a:lnTo>
                    <a:lnTo>
                      <a:pt x="852" y="622"/>
                    </a:lnTo>
                    <a:lnTo>
                      <a:pt x="854" y="618"/>
                    </a:lnTo>
                    <a:lnTo>
                      <a:pt x="852" y="616"/>
                    </a:lnTo>
                    <a:lnTo>
                      <a:pt x="852" y="612"/>
                    </a:lnTo>
                    <a:lnTo>
                      <a:pt x="850" y="610"/>
                    </a:lnTo>
                    <a:lnTo>
                      <a:pt x="850" y="616"/>
                    </a:lnTo>
                    <a:lnTo>
                      <a:pt x="852" y="620"/>
                    </a:lnTo>
                    <a:lnTo>
                      <a:pt x="850" y="622"/>
                    </a:lnTo>
                    <a:lnTo>
                      <a:pt x="852" y="624"/>
                    </a:lnTo>
                    <a:lnTo>
                      <a:pt x="852" y="627"/>
                    </a:lnTo>
                    <a:lnTo>
                      <a:pt x="854" y="629"/>
                    </a:lnTo>
                    <a:lnTo>
                      <a:pt x="850" y="627"/>
                    </a:lnTo>
                    <a:lnTo>
                      <a:pt x="850" y="629"/>
                    </a:lnTo>
                    <a:lnTo>
                      <a:pt x="847" y="627"/>
                    </a:lnTo>
                    <a:lnTo>
                      <a:pt x="847" y="626"/>
                    </a:lnTo>
                    <a:lnTo>
                      <a:pt x="845" y="627"/>
                    </a:lnTo>
                    <a:lnTo>
                      <a:pt x="839" y="627"/>
                    </a:lnTo>
                    <a:lnTo>
                      <a:pt x="837" y="626"/>
                    </a:lnTo>
                    <a:lnTo>
                      <a:pt x="839" y="624"/>
                    </a:lnTo>
                    <a:lnTo>
                      <a:pt x="839" y="622"/>
                    </a:lnTo>
                    <a:lnTo>
                      <a:pt x="837" y="620"/>
                    </a:lnTo>
                    <a:lnTo>
                      <a:pt x="839" y="620"/>
                    </a:lnTo>
                    <a:lnTo>
                      <a:pt x="837" y="614"/>
                    </a:lnTo>
                    <a:lnTo>
                      <a:pt x="835" y="610"/>
                    </a:lnTo>
                    <a:lnTo>
                      <a:pt x="837" y="608"/>
                    </a:lnTo>
                    <a:lnTo>
                      <a:pt x="835" y="603"/>
                    </a:lnTo>
                    <a:lnTo>
                      <a:pt x="837" y="601"/>
                    </a:lnTo>
                    <a:lnTo>
                      <a:pt x="835" y="597"/>
                    </a:lnTo>
                    <a:lnTo>
                      <a:pt x="833" y="605"/>
                    </a:lnTo>
                    <a:lnTo>
                      <a:pt x="835" y="610"/>
                    </a:lnTo>
                    <a:lnTo>
                      <a:pt x="833" y="612"/>
                    </a:lnTo>
                    <a:lnTo>
                      <a:pt x="835" y="612"/>
                    </a:lnTo>
                    <a:lnTo>
                      <a:pt x="835" y="614"/>
                    </a:lnTo>
                    <a:lnTo>
                      <a:pt x="837" y="618"/>
                    </a:lnTo>
                    <a:lnTo>
                      <a:pt x="835" y="620"/>
                    </a:lnTo>
                    <a:lnTo>
                      <a:pt x="833" y="622"/>
                    </a:lnTo>
                    <a:lnTo>
                      <a:pt x="835" y="626"/>
                    </a:lnTo>
                    <a:lnTo>
                      <a:pt x="833" y="626"/>
                    </a:lnTo>
                    <a:lnTo>
                      <a:pt x="833" y="614"/>
                    </a:lnTo>
                    <a:lnTo>
                      <a:pt x="833" y="612"/>
                    </a:lnTo>
                    <a:lnTo>
                      <a:pt x="831" y="618"/>
                    </a:lnTo>
                    <a:lnTo>
                      <a:pt x="831" y="622"/>
                    </a:lnTo>
                    <a:lnTo>
                      <a:pt x="830" y="626"/>
                    </a:lnTo>
                    <a:lnTo>
                      <a:pt x="828" y="626"/>
                    </a:lnTo>
                    <a:lnTo>
                      <a:pt x="828" y="622"/>
                    </a:lnTo>
                    <a:lnTo>
                      <a:pt x="826" y="622"/>
                    </a:lnTo>
                    <a:lnTo>
                      <a:pt x="828" y="624"/>
                    </a:lnTo>
                    <a:lnTo>
                      <a:pt x="826" y="624"/>
                    </a:lnTo>
                    <a:lnTo>
                      <a:pt x="824" y="624"/>
                    </a:lnTo>
                    <a:lnTo>
                      <a:pt x="824" y="622"/>
                    </a:lnTo>
                    <a:lnTo>
                      <a:pt x="822" y="620"/>
                    </a:lnTo>
                    <a:lnTo>
                      <a:pt x="822" y="616"/>
                    </a:lnTo>
                    <a:lnTo>
                      <a:pt x="820" y="614"/>
                    </a:lnTo>
                    <a:lnTo>
                      <a:pt x="820" y="616"/>
                    </a:lnTo>
                    <a:lnTo>
                      <a:pt x="818" y="614"/>
                    </a:lnTo>
                    <a:lnTo>
                      <a:pt x="818" y="610"/>
                    </a:lnTo>
                    <a:lnTo>
                      <a:pt x="822" y="606"/>
                    </a:lnTo>
                    <a:lnTo>
                      <a:pt x="820" y="605"/>
                    </a:lnTo>
                    <a:lnTo>
                      <a:pt x="822" y="603"/>
                    </a:lnTo>
                    <a:lnTo>
                      <a:pt x="820" y="603"/>
                    </a:lnTo>
                    <a:lnTo>
                      <a:pt x="820" y="595"/>
                    </a:lnTo>
                    <a:lnTo>
                      <a:pt x="820" y="593"/>
                    </a:lnTo>
                    <a:lnTo>
                      <a:pt x="822" y="591"/>
                    </a:lnTo>
                    <a:lnTo>
                      <a:pt x="828" y="587"/>
                    </a:lnTo>
                    <a:lnTo>
                      <a:pt x="830" y="585"/>
                    </a:lnTo>
                    <a:lnTo>
                      <a:pt x="831" y="584"/>
                    </a:lnTo>
                    <a:lnTo>
                      <a:pt x="833" y="582"/>
                    </a:lnTo>
                    <a:lnTo>
                      <a:pt x="835" y="580"/>
                    </a:lnTo>
                    <a:lnTo>
                      <a:pt x="837" y="580"/>
                    </a:lnTo>
                    <a:lnTo>
                      <a:pt x="837" y="578"/>
                    </a:lnTo>
                    <a:lnTo>
                      <a:pt x="835" y="578"/>
                    </a:lnTo>
                    <a:lnTo>
                      <a:pt x="837" y="576"/>
                    </a:lnTo>
                    <a:lnTo>
                      <a:pt x="843" y="574"/>
                    </a:lnTo>
                    <a:lnTo>
                      <a:pt x="843" y="576"/>
                    </a:lnTo>
                    <a:lnTo>
                      <a:pt x="845" y="574"/>
                    </a:lnTo>
                    <a:lnTo>
                      <a:pt x="849" y="576"/>
                    </a:lnTo>
                    <a:lnTo>
                      <a:pt x="850" y="574"/>
                    </a:lnTo>
                    <a:lnTo>
                      <a:pt x="850" y="578"/>
                    </a:lnTo>
                    <a:lnTo>
                      <a:pt x="850" y="576"/>
                    </a:lnTo>
                    <a:lnTo>
                      <a:pt x="854" y="576"/>
                    </a:lnTo>
                    <a:lnTo>
                      <a:pt x="852" y="576"/>
                    </a:lnTo>
                    <a:lnTo>
                      <a:pt x="854" y="570"/>
                    </a:lnTo>
                    <a:lnTo>
                      <a:pt x="856" y="572"/>
                    </a:lnTo>
                    <a:lnTo>
                      <a:pt x="860" y="570"/>
                    </a:lnTo>
                    <a:lnTo>
                      <a:pt x="860" y="572"/>
                    </a:lnTo>
                    <a:lnTo>
                      <a:pt x="862" y="576"/>
                    </a:lnTo>
                    <a:lnTo>
                      <a:pt x="864" y="574"/>
                    </a:lnTo>
                    <a:lnTo>
                      <a:pt x="862" y="572"/>
                    </a:lnTo>
                    <a:lnTo>
                      <a:pt x="866" y="570"/>
                    </a:lnTo>
                    <a:lnTo>
                      <a:pt x="864" y="570"/>
                    </a:lnTo>
                    <a:lnTo>
                      <a:pt x="862" y="572"/>
                    </a:lnTo>
                    <a:lnTo>
                      <a:pt x="858" y="568"/>
                    </a:lnTo>
                    <a:lnTo>
                      <a:pt x="858" y="570"/>
                    </a:lnTo>
                    <a:lnTo>
                      <a:pt x="856" y="570"/>
                    </a:lnTo>
                    <a:lnTo>
                      <a:pt x="858" y="568"/>
                    </a:lnTo>
                    <a:lnTo>
                      <a:pt x="858" y="566"/>
                    </a:lnTo>
                    <a:lnTo>
                      <a:pt x="862" y="564"/>
                    </a:lnTo>
                    <a:lnTo>
                      <a:pt x="860" y="564"/>
                    </a:lnTo>
                    <a:lnTo>
                      <a:pt x="856" y="564"/>
                    </a:lnTo>
                    <a:lnTo>
                      <a:pt x="856" y="563"/>
                    </a:lnTo>
                    <a:lnTo>
                      <a:pt x="858" y="559"/>
                    </a:lnTo>
                    <a:lnTo>
                      <a:pt x="862" y="559"/>
                    </a:lnTo>
                    <a:lnTo>
                      <a:pt x="862" y="557"/>
                    </a:lnTo>
                    <a:lnTo>
                      <a:pt x="858" y="557"/>
                    </a:lnTo>
                    <a:lnTo>
                      <a:pt x="854" y="561"/>
                    </a:lnTo>
                    <a:lnTo>
                      <a:pt x="849" y="559"/>
                    </a:lnTo>
                    <a:lnTo>
                      <a:pt x="849" y="555"/>
                    </a:lnTo>
                    <a:lnTo>
                      <a:pt x="847" y="553"/>
                    </a:lnTo>
                    <a:lnTo>
                      <a:pt x="850" y="549"/>
                    </a:lnTo>
                    <a:lnTo>
                      <a:pt x="849" y="547"/>
                    </a:lnTo>
                    <a:lnTo>
                      <a:pt x="849" y="545"/>
                    </a:lnTo>
                    <a:lnTo>
                      <a:pt x="847" y="543"/>
                    </a:lnTo>
                    <a:lnTo>
                      <a:pt x="847" y="542"/>
                    </a:lnTo>
                    <a:lnTo>
                      <a:pt x="845" y="542"/>
                    </a:lnTo>
                    <a:lnTo>
                      <a:pt x="845" y="540"/>
                    </a:lnTo>
                    <a:lnTo>
                      <a:pt x="841" y="538"/>
                    </a:lnTo>
                    <a:lnTo>
                      <a:pt x="841" y="536"/>
                    </a:lnTo>
                    <a:lnTo>
                      <a:pt x="841" y="528"/>
                    </a:lnTo>
                    <a:lnTo>
                      <a:pt x="841" y="530"/>
                    </a:lnTo>
                    <a:lnTo>
                      <a:pt x="841" y="528"/>
                    </a:lnTo>
                    <a:lnTo>
                      <a:pt x="843" y="524"/>
                    </a:lnTo>
                    <a:lnTo>
                      <a:pt x="841" y="522"/>
                    </a:lnTo>
                    <a:lnTo>
                      <a:pt x="843" y="522"/>
                    </a:lnTo>
                    <a:lnTo>
                      <a:pt x="843" y="524"/>
                    </a:lnTo>
                    <a:lnTo>
                      <a:pt x="845" y="524"/>
                    </a:lnTo>
                    <a:lnTo>
                      <a:pt x="854" y="519"/>
                    </a:lnTo>
                    <a:lnTo>
                      <a:pt x="862" y="519"/>
                    </a:lnTo>
                    <a:lnTo>
                      <a:pt x="870" y="522"/>
                    </a:lnTo>
                    <a:lnTo>
                      <a:pt x="873" y="526"/>
                    </a:lnTo>
                    <a:lnTo>
                      <a:pt x="875" y="530"/>
                    </a:lnTo>
                    <a:lnTo>
                      <a:pt x="877" y="532"/>
                    </a:lnTo>
                    <a:lnTo>
                      <a:pt x="879" y="547"/>
                    </a:lnTo>
                    <a:lnTo>
                      <a:pt x="881" y="549"/>
                    </a:lnTo>
                    <a:lnTo>
                      <a:pt x="879" y="553"/>
                    </a:lnTo>
                    <a:lnTo>
                      <a:pt x="883" y="551"/>
                    </a:lnTo>
                    <a:lnTo>
                      <a:pt x="885" y="557"/>
                    </a:lnTo>
                    <a:lnTo>
                      <a:pt x="892" y="557"/>
                    </a:lnTo>
                    <a:lnTo>
                      <a:pt x="896" y="561"/>
                    </a:lnTo>
                    <a:lnTo>
                      <a:pt x="900" y="563"/>
                    </a:lnTo>
                    <a:lnTo>
                      <a:pt x="898" y="557"/>
                    </a:lnTo>
                    <a:lnTo>
                      <a:pt x="898" y="555"/>
                    </a:lnTo>
                    <a:lnTo>
                      <a:pt x="902" y="557"/>
                    </a:lnTo>
                    <a:lnTo>
                      <a:pt x="908" y="555"/>
                    </a:lnTo>
                    <a:lnTo>
                      <a:pt x="910" y="557"/>
                    </a:lnTo>
                    <a:lnTo>
                      <a:pt x="915" y="559"/>
                    </a:lnTo>
                    <a:lnTo>
                      <a:pt x="915" y="557"/>
                    </a:lnTo>
                    <a:lnTo>
                      <a:pt x="913" y="555"/>
                    </a:lnTo>
                    <a:lnTo>
                      <a:pt x="910" y="551"/>
                    </a:lnTo>
                    <a:lnTo>
                      <a:pt x="915" y="549"/>
                    </a:lnTo>
                    <a:lnTo>
                      <a:pt x="919" y="543"/>
                    </a:lnTo>
                    <a:lnTo>
                      <a:pt x="923" y="534"/>
                    </a:lnTo>
                    <a:lnTo>
                      <a:pt x="923" y="532"/>
                    </a:lnTo>
                    <a:lnTo>
                      <a:pt x="925" y="532"/>
                    </a:lnTo>
                    <a:lnTo>
                      <a:pt x="927" y="526"/>
                    </a:lnTo>
                    <a:lnTo>
                      <a:pt x="929" y="524"/>
                    </a:lnTo>
                    <a:lnTo>
                      <a:pt x="929" y="519"/>
                    </a:lnTo>
                    <a:lnTo>
                      <a:pt x="931" y="517"/>
                    </a:lnTo>
                    <a:lnTo>
                      <a:pt x="931" y="509"/>
                    </a:lnTo>
                    <a:lnTo>
                      <a:pt x="931" y="507"/>
                    </a:lnTo>
                    <a:lnTo>
                      <a:pt x="932" y="507"/>
                    </a:lnTo>
                    <a:lnTo>
                      <a:pt x="934" y="505"/>
                    </a:lnTo>
                    <a:lnTo>
                      <a:pt x="931" y="505"/>
                    </a:lnTo>
                    <a:lnTo>
                      <a:pt x="927" y="509"/>
                    </a:lnTo>
                    <a:lnTo>
                      <a:pt x="927" y="517"/>
                    </a:lnTo>
                    <a:lnTo>
                      <a:pt x="925" y="521"/>
                    </a:lnTo>
                    <a:lnTo>
                      <a:pt x="923" y="522"/>
                    </a:lnTo>
                    <a:lnTo>
                      <a:pt x="921" y="526"/>
                    </a:lnTo>
                    <a:lnTo>
                      <a:pt x="921" y="532"/>
                    </a:lnTo>
                    <a:lnTo>
                      <a:pt x="917" y="540"/>
                    </a:lnTo>
                    <a:lnTo>
                      <a:pt x="910" y="549"/>
                    </a:lnTo>
                    <a:lnTo>
                      <a:pt x="900" y="545"/>
                    </a:lnTo>
                    <a:lnTo>
                      <a:pt x="898" y="547"/>
                    </a:lnTo>
                    <a:lnTo>
                      <a:pt x="896" y="545"/>
                    </a:lnTo>
                    <a:lnTo>
                      <a:pt x="894" y="547"/>
                    </a:lnTo>
                    <a:lnTo>
                      <a:pt x="894" y="542"/>
                    </a:lnTo>
                    <a:lnTo>
                      <a:pt x="900" y="536"/>
                    </a:lnTo>
                    <a:lnTo>
                      <a:pt x="900" y="530"/>
                    </a:lnTo>
                    <a:lnTo>
                      <a:pt x="900" y="528"/>
                    </a:lnTo>
                    <a:lnTo>
                      <a:pt x="900" y="532"/>
                    </a:lnTo>
                    <a:lnTo>
                      <a:pt x="898" y="536"/>
                    </a:lnTo>
                    <a:lnTo>
                      <a:pt x="892" y="542"/>
                    </a:lnTo>
                    <a:lnTo>
                      <a:pt x="887" y="536"/>
                    </a:lnTo>
                    <a:lnTo>
                      <a:pt x="889" y="534"/>
                    </a:lnTo>
                    <a:lnTo>
                      <a:pt x="887" y="530"/>
                    </a:lnTo>
                    <a:lnTo>
                      <a:pt x="889" y="528"/>
                    </a:lnTo>
                    <a:lnTo>
                      <a:pt x="889" y="526"/>
                    </a:lnTo>
                    <a:lnTo>
                      <a:pt x="891" y="526"/>
                    </a:lnTo>
                    <a:lnTo>
                      <a:pt x="892" y="522"/>
                    </a:lnTo>
                    <a:lnTo>
                      <a:pt x="887" y="526"/>
                    </a:lnTo>
                    <a:lnTo>
                      <a:pt x="885" y="524"/>
                    </a:lnTo>
                    <a:lnTo>
                      <a:pt x="885" y="522"/>
                    </a:lnTo>
                    <a:lnTo>
                      <a:pt x="889" y="519"/>
                    </a:lnTo>
                    <a:lnTo>
                      <a:pt x="892" y="519"/>
                    </a:lnTo>
                    <a:lnTo>
                      <a:pt x="892" y="517"/>
                    </a:lnTo>
                    <a:lnTo>
                      <a:pt x="887" y="517"/>
                    </a:lnTo>
                    <a:lnTo>
                      <a:pt x="885" y="521"/>
                    </a:lnTo>
                    <a:lnTo>
                      <a:pt x="883" y="519"/>
                    </a:lnTo>
                    <a:lnTo>
                      <a:pt x="885" y="517"/>
                    </a:lnTo>
                    <a:lnTo>
                      <a:pt x="881" y="515"/>
                    </a:lnTo>
                    <a:lnTo>
                      <a:pt x="891" y="507"/>
                    </a:lnTo>
                    <a:lnTo>
                      <a:pt x="892" y="505"/>
                    </a:lnTo>
                    <a:lnTo>
                      <a:pt x="892" y="507"/>
                    </a:lnTo>
                    <a:lnTo>
                      <a:pt x="894" y="507"/>
                    </a:lnTo>
                    <a:lnTo>
                      <a:pt x="894" y="505"/>
                    </a:lnTo>
                    <a:lnTo>
                      <a:pt x="891" y="503"/>
                    </a:lnTo>
                    <a:lnTo>
                      <a:pt x="892" y="496"/>
                    </a:lnTo>
                    <a:lnTo>
                      <a:pt x="892" y="498"/>
                    </a:lnTo>
                    <a:lnTo>
                      <a:pt x="896" y="496"/>
                    </a:lnTo>
                    <a:lnTo>
                      <a:pt x="898" y="494"/>
                    </a:lnTo>
                    <a:lnTo>
                      <a:pt x="904" y="496"/>
                    </a:lnTo>
                    <a:lnTo>
                      <a:pt x="904" y="498"/>
                    </a:lnTo>
                    <a:lnTo>
                      <a:pt x="908" y="498"/>
                    </a:lnTo>
                    <a:lnTo>
                      <a:pt x="908" y="496"/>
                    </a:lnTo>
                    <a:lnTo>
                      <a:pt x="904" y="498"/>
                    </a:lnTo>
                    <a:lnTo>
                      <a:pt x="904" y="496"/>
                    </a:lnTo>
                    <a:lnTo>
                      <a:pt x="900" y="494"/>
                    </a:lnTo>
                    <a:lnTo>
                      <a:pt x="896" y="494"/>
                    </a:lnTo>
                    <a:lnTo>
                      <a:pt x="894" y="496"/>
                    </a:lnTo>
                    <a:lnTo>
                      <a:pt x="892" y="494"/>
                    </a:lnTo>
                    <a:lnTo>
                      <a:pt x="894" y="484"/>
                    </a:lnTo>
                    <a:lnTo>
                      <a:pt x="894" y="480"/>
                    </a:lnTo>
                    <a:lnTo>
                      <a:pt x="896" y="471"/>
                    </a:lnTo>
                    <a:lnTo>
                      <a:pt x="898" y="463"/>
                    </a:lnTo>
                    <a:lnTo>
                      <a:pt x="894" y="471"/>
                    </a:lnTo>
                    <a:lnTo>
                      <a:pt x="892" y="488"/>
                    </a:lnTo>
                    <a:lnTo>
                      <a:pt x="885" y="503"/>
                    </a:lnTo>
                    <a:lnTo>
                      <a:pt x="883" y="503"/>
                    </a:lnTo>
                    <a:lnTo>
                      <a:pt x="883" y="501"/>
                    </a:lnTo>
                    <a:lnTo>
                      <a:pt x="873" y="505"/>
                    </a:lnTo>
                    <a:lnTo>
                      <a:pt x="871" y="505"/>
                    </a:lnTo>
                    <a:lnTo>
                      <a:pt x="871" y="500"/>
                    </a:lnTo>
                    <a:lnTo>
                      <a:pt x="871" y="498"/>
                    </a:lnTo>
                    <a:lnTo>
                      <a:pt x="873" y="498"/>
                    </a:lnTo>
                    <a:lnTo>
                      <a:pt x="877" y="492"/>
                    </a:lnTo>
                    <a:lnTo>
                      <a:pt x="879" y="484"/>
                    </a:lnTo>
                    <a:lnTo>
                      <a:pt x="879" y="480"/>
                    </a:lnTo>
                    <a:lnTo>
                      <a:pt x="877" y="484"/>
                    </a:lnTo>
                    <a:lnTo>
                      <a:pt x="875" y="488"/>
                    </a:lnTo>
                    <a:lnTo>
                      <a:pt x="875" y="492"/>
                    </a:lnTo>
                    <a:lnTo>
                      <a:pt x="871" y="496"/>
                    </a:lnTo>
                    <a:lnTo>
                      <a:pt x="870" y="496"/>
                    </a:lnTo>
                    <a:lnTo>
                      <a:pt x="868" y="494"/>
                    </a:lnTo>
                    <a:lnTo>
                      <a:pt x="868" y="498"/>
                    </a:lnTo>
                    <a:lnTo>
                      <a:pt x="866" y="501"/>
                    </a:lnTo>
                    <a:lnTo>
                      <a:pt x="858" y="503"/>
                    </a:lnTo>
                    <a:lnTo>
                      <a:pt x="852" y="500"/>
                    </a:lnTo>
                    <a:lnTo>
                      <a:pt x="852" y="496"/>
                    </a:lnTo>
                    <a:lnTo>
                      <a:pt x="858" y="494"/>
                    </a:lnTo>
                    <a:lnTo>
                      <a:pt x="856" y="494"/>
                    </a:lnTo>
                    <a:lnTo>
                      <a:pt x="852" y="494"/>
                    </a:lnTo>
                    <a:lnTo>
                      <a:pt x="852" y="477"/>
                    </a:lnTo>
                    <a:lnTo>
                      <a:pt x="856" y="467"/>
                    </a:lnTo>
                    <a:lnTo>
                      <a:pt x="858" y="467"/>
                    </a:lnTo>
                    <a:lnTo>
                      <a:pt x="862" y="467"/>
                    </a:lnTo>
                    <a:lnTo>
                      <a:pt x="862" y="465"/>
                    </a:lnTo>
                    <a:lnTo>
                      <a:pt x="860" y="465"/>
                    </a:lnTo>
                    <a:lnTo>
                      <a:pt x="858" y="463"/>
                    </a:lnTo>
                    <a:lnTo>
                      <a:pt x="862" y="454"/>
                    </a:lnTo>
                    <a:lnTo>
                      <a:pt x="866" y="446"/>
                    </a:lnTo>
                    <a:lnTo>
                      <a:pt x="881" y="442"/>
                    </a:lnTo>
                    <a:lnTo>
                      <a:pt x="885" y="440"/>
                    </a:lnTo>
                    <a:lnTo>
                      <a:pt x="889" y="439"/>
                    </a:lnTo>
                    <a:lnTo>
                      <a:pt x="891" y="437"/>
                    </a:lnTo>
                    <a:lnTo>
                      <a:pt x="898" y="442"/>
                    </a:lnTo>
                    <a:lnTo>
                      <a:pt x="906" y="442"/>
                    </a:lnTo>
                    <a:lnTo>
                      <a:pt x="913" y="444"/>
                    </a:lnTo>
                    <a:lnTo>
                      <a:pt x="923" y="456"/>
                    </a:lnTo>
                    <a:lnTo>
                      <a:pt x="927" y="456"/>
                    </a:lnTo>
                    <a:lnTo>
                      <a:pt x="931" y="463"/>
                    </a:lnTo>
                    <a:lnTo>
                      <a:pt x="934" y="465"/>
                    </a:lnTo>
                    <a:lnTo>
                      <a:pt x="936" y="463"/>
                    </a:lnTo>
                    <a:lnTo>
                      <a:pt x="931" y="460"/>
                    </a:lnTo>
                    <a:lnTo>
                      <a:pt x="931" y="454"/>
                    </a:lnTo>
                    <a:lnTo>
                      <a:pt x="932" y="452"/>
                    </a:lnTo>
                    <a:lnTo>
                      <a:pt x="936" y="454"/>
                    </a:lnTo>
                    <a:lnTo>
                      <a:pt x="936" y="452"/>
                    </a:lnTo>
                    <a:lnTo>
                      <a:pt x="932" y="452"/>
                    </a:lnTo>
                    <a:lnTo>
                      <a:pt x="929" y="454"/>
                    </a:lnTo>
                    <a:lnTo>
                      <a:pt x="927" y="452"/>
                    </a:lnTo>
                    <a:lnTo>
                      <a:pt x="925" y="450"/>
                    </a:lnTo>
                    <a:lnTo>
                      <a:pt x="923" y="450"/>
                    </a:lnTo>
                    <a:lnTo>
                      <a:pt x="923" y="448"/>
                    </a:lnTo>
                    <a:lnTo>
                      <a:pt x="921" y="446"/>
                    </a:lnTo>
                    <a:lnTo>
                      <a:pt x="919" y="442"/>
                    </a:lnTo>
                    <a:lnTo>
                      <a:pt x="923" y="442"/>
                    </a:lnTo>
                    <a:lnTo>
                      <a:pt x="927" y="442"/>
                    </a:lnTo>
                    <a:lnTo>
                      <a:pt x="929" y="442"/>
                    </a:lnTo>
                    <a:lnTo>
                      <a:pt x="929" y="444"/>
                    </a:lnTo>
                    <a:lnTo>
                      <a:pt x="932" y="444"/>
                    </a:lnTo>
                    <a:lnTo>
                      <a:pt x="938" y="442"/>
                    </a:lnTo>
                    <a:lnTo>
                      <a:pt x="944" y="442"/>
                    </a:lnTo>
                    <a:lnTo>
                      <a:pt x="946" y="439"/>
                    </a:lnTo>
                    <a:lnTo>
                      <a:pt x="944" y="437"/>
                    </a:lnTo>
                    <a:lnTo>
                      <a:pt x="948" y="425"/>
                    </a:lnTo>
                    <a:lnTo>
                      <a:pt x="946" y="425"/>
                    </a:lnTo>
                    <a:lnTo>
                      <a:pt x="944" y="429"/>
                    </a:lnTo>
                    <a:lnTo>
                      <a:pt x="942" y="429"/>
                    </a:lnTo>
                    <a:lnTo>
                      <a:pt x="938" y="437"/>
                    </a:lnTo>
                    <a:lnTo>
                      <a:pt x="931" y="440"/>
                    </a:lnTo>
                    <a:lnTo>
                      <a:pt x="925" y="437"/>
                    </a:lnTo>
                    <a:lnTo>
                      <a:pt x="915" y="437"/>
                    </a:lnTo>
                    <a:lnTo>
                      <a:pt x="910" y="435"/>
                    </a:lnTo>
                    <a:lnTo>
                      <a:pt x="906" y="435"/>
                    </a:lnTo>
                    <a:lnTo>
                      <a:pt x="896" y="429"/>
                    </a:lnTo>
                    <a:lnTo>
                      <a:pt x="894" y="425"/>
                    </a:lnTo>
                    <a:lnTo>
                      <a:pt x="900" y="418"/>
                    </a:lnTo>
                    <a:lnTo>
                      <a:pt x="908" y="421"/>
                    </a:lnTo>
                    <a:lnTo>
                      <a:pt x="908" y="425"/>
                    </a:lnTo>
                    <a:lnTo>
                      <a:pt x="910" y="427"/>
                    </a:lnTo>
                    <a:lnTo>
                      <a:pt x="915" y="429"/>
                    </a:lnTo>
                    <a:lnTo>
                      <a:pt x="917" y="425"/>
                    </a:lnTo>
                    <a:lnTo>
                      <a:pt x="915" y="425"/>
                    </a:lnTo>
                    <a:lnTo>
                      <a:pt x="915" y="427"/>
                    </a:lnTo>
                    <a:lnTo>
                      <a:pt x="912" y="425"/>
                    </a:lnTo>
                    <a:lnTo>
                      <a:pt x="913" y="423"/>
                    </a:lnTo>
                    <a:lnTo>
                      <a:pt x="908" y="419"/>
                    </a:lnTo>
                    <a:lnTo>
                      <a:pt x="908" y="416"/>
                    </a:lnTo>
                    <a:lnTo>
                      <a:pt x="910" y="412"/>
                    </a:lnTo>
                    <a:lnTo>
                      <a:pt x="906" y="416"/>
                    </a:lnTo>
                    <a:lnTo>
                      <a:pt x="904" y="414"/>
                    </a:lnTo>
                    <a:lnTo>
                      <a:pt x="902" y="414"/>
                    </a:lnTo>
                    <a:lnTo>
                      <a:pt x="900" y="395"/>
                    </a:lnTo>
                    <a:lnTo>
                      <a:pt x="894" y="389"/>
                    </a:lnTo>
                    <a:lnTo>
                      <a:pt x="891" y="377"/>
                    </a:lnTo>
                    <a:lnTo>
                      <a:pt x="889" y="376"/>
                    </a:lnTo>
                    <a:lnTo>
                      <a:pt x="883" y="370"/>
                    </a:lnTo>
                    <a:lnTo>
                      <a:pt x="879" y="370"/>
                    </a:lnTo>
                    <a:lnTo>
                      <a:pt x="871" y="366"/>
                    </a:lnTo>
                    <a:lnTo>
                      <a:pt x="870" y="364"/>
                    </a:lnTo>
                    <a:lnTo>
                      <a:pt x="868" y="360"/>
                    </a:lnTo>
                    <a:lnTo>
                      <a:pt x="870" y="358"/>
                    </a:lnTo>
                    <a:lnTo>
                      <a:pt x="868" y="356"/>
                    </a:lnTo>
                    <a:lnTo>
                      <a:pt x="870" y="347"/>
                    </a:lnTo>
                    <a:lnTo>
                      <a:pt x="871" y="345"/>
                    </a:lnTo>
                    <a:lnTo>
                      <a:pt x="877" y="349"/>
                    </a:lnTo>
                    <a:lnTo>
                      <a:pt x="883" y="349"/>
                    </a:lnTo>
                    <a:lnTo>
                      <a:pt x="885" y="353"/>
                    </a:lnTo>
                    <a:lnTo>
                      <a:pt x="889" y="351"/>
                    </a:lnTo>
                    <a:lnTo>
                      <a:pt x="887" y="349"/>
                    </a:lnTo>
                    <a:lnTo>
                      <a:pt x="883" y="347"/>
                    </a:lnTo>
                    <a:lnTo>
                      <a:pt x="868" y="341"/>
                    </a:lnTo>
                    <a:lnTo>
                      <a:pt x="866" y="332"/>
                    </a:lnTo>
                    <a:lnTo>
                      <a:pt x="868" y="316"/>
                    </a:lnTo>
                    <a:lnTo>
                      <a:pt x="870" y="313"/>
                    </a:lnTo>
                    <a:lnTo>
                      <a:pt x="877" y="313"/>
                    </a:lnTo>
                    <a:lnTo>
                      <a:pt x="887" y="318"/>
                    </a:lnTo>
                    <a:lnTo>
                      <a:pt x="904" y="318"/>
                    </a:lnTo>
                    <a:lnTo>
                      <a:pt x="910" y="320"/>
                    </a:lnTo>
                    <a:lnTo>
                      <a:pt x="913" y="322"/>
                    </a:lnTo>
                    <a:lnTo>
                      <a:pt x="919" y="334"/>
                    </a:lnTo>
                    <a:lnTo>
                      <a:pt x="938" y="356"/>
                    </a:lnTo>
                    <a:lnTo>
                      <a:pt x="940" y="368"/>
                    </a:lnTo>
                    <a:lnTo>
                      <a:pt x="942" y="372"/>
                    </a:lnTo>
                    <a:lnTo>
                      <a:pt x="944" y="372"/>
                    </a:lnTo>
                    <a:lnTo>
                      <a:pt x="946" y="377"/>
                    </a:lnTo>
                    <a:lnTo>
                      <a:pt x="946" y="379"/>
                    </a:lnTo>
                    <a:lnTo>
                      <a:pt x="944" y="377"/>
                    </a:lnTo>
                    <a:lnTo>
                      <a:pt x="944" y="379"/>
                    </a:lnTo>
                    <a:lnTo>
                      <a:pt x="946" y="381"/>
                    </a:lnTo>
                    <a:lnTo>
                      <a:pt x="948" y="376"/>
                    </a:lnTo>
                    <a:lnTo>
                      <a:pt x="961" y="383"/>
                    </a:lnTo>
                    <a:lnTo>
                      <a:pt x="961" y="379"/>
                    </a:lnTo>
                    <a:lnTo>
                      <a:pt x="969" y="376"/>
                    </a:lnTo>
                    <a:lnTo>
                      <a:pt x="973" y="376"/>
                    </a:lnTo>
                    <a:lnTo>
                      <a:pt x="976" y="370"/>
                    </a:lnTo>
                    <a:lnTo>
                      <a:pt x="967" y="372"/>
                    </a:lnTo>
                    <a:lnTo>
                      <a:pt x="961" y="374"/>
                    </a:lnTo>
                    <a:lnTo>
                      <a:pt x="959" y="376"/>
                    </a:lnTo>
                    <a:lnTo>
                      <a:pt x="955" y="374"/>
                    </a:lnTo>
                    <a:lnTo>
                      <a:pt x="953" y="372"/>
                    </a:lnTo>
                    <a:lnTo>
                      <a:pt x="948" y="370"/>
                    </a:lnTo>
                    <a:lnTo>
                      <a:pt x="948" y="366"/>
                    </a:lnTo>
                    <a:lnTo>
                      <a:pt x="946" y="364"/>
                    </a:lnTo>
                    <a:lnTo>
                      <a:pt x="946" y="360"/>
                    </a:lnTo>
                    <a:lnTo>
                      <a:pt x="944" y="353"/>
                    </a:lnTo>
                    <a:lnTo>
                      <a:pt x="946" y="351"/>
                    </a:lnTo>
                    <a:lnTo>
                      <a:pt x="948" y="349"/>
                    </a:lnTo>
                    <a:lnTo>
                      <a:pt x="950" y="347"/>
                    </a:lnTo>
                    <a:lnTo>
                      <a:pt x="942" y="345"/>
                    </a:lnTo>
                    <a:lnTo>
                      <a:pt x="936" y="341"/>
                    </a:lnTo>
                    <a:lnTo>
                      <a:pt x="921" y="313"/>
                    </a:lnTo>
                    <a:lnTo>
                      <a:pt x="938" y="305"/>
                    </a:lnTo>
                    <a:lnTo>
                      <a:pt x="942" y="307"/>
                    </a:lnTo>
                    <a:lnTo>
                      <a:pt x="952" y="303"/>
                    </a:lnTo>
                    <a:lnTo>
                      <a:pt x="957" y="299"/>
                    </a:lnTo>
                    <a:lnTo>
                      <a:pt x="967" y="299"/>
                    </a:lnTo>
                    <a:lnTo>
                      <a:pt x="967" y="297"/>
                    </a:lnTo>
                    <a:lnTo>
                      <a:pt x="965" y="295"/>
                    </a:lnTo>
                    <a:lnTo>
                      <a:pt x="967" y="294"/>
                    </a:lnTo>
                    <a:lnTo>
                      <a:pt x="995" y="290"/>
                    </a:lnTo>
                    <a:lnTo>
                      <a:pt x="1001" y="290"/>
                    </a:lnTo>
                    <a:lnTo>
                      <a:pt x="1003" y="288"/>
                    </a:lnTo>
                    <a:lnTo>
                      <a:pt x="997" y="286"/>
                    </a:lnTo>
                    <a:lnTo>
                      <a:pt x="986" y="284"/>
                    </a:lnTo>
                    <a:lnTo>
                      <a:pt x="976" y="286"/>
                    </a:lnTo>
                    <a:lnTo>
                      <a:pt x="971" y="286"/>
                    </a:lnTo>
                    <a:lnTo>
                      <a:pt x="982" y="276"/>
                    </a:lnTo>
                    <a:lnTo>
                      <a:pt x="999" y="267"/>
                    </a:lnTo>
                    <a:lnTo>
                      <a:pt x="1011" y="263"/>
                    </a:lnTo>
                    <a:lnTo>
                      <a:pt x="1022" y="263"/>
                    </a:lnTo>
                    <a:lnTo>
                      <a:pt x="1028" y="261"/>
                    </a:lnTo>
                    <a:lnTo>
                      <a:pt x="1028" y="259"/>
                    </a:lnTo>
                    <a:lnTo>
                      <a:pt x="1026" y="257"/>
                    </a:lnTo>
                    <a:lnTo>
                      <a:pt x="1020" y="259"/>
                    </a:lnTo>
                    <a:lnTo>
                      <a:pt x="1016" y="257"/>
                    </a:lnTo>
                    <a:lnTo>
                      <a:pt x="1011" y="255"/>
                    </a:lnTo>
                    <a:lnTo>
                      <a:pt x="1003" y="257"/>
                    </a:lnTo>
                    <a:lnTo>
                      <a:pt x="990" y="261"/>
                    </a:lnTo>
                    <a:lnTo>
                      <a:pt x="988" y="261"/>
                    </a:lnTo>
                    <a:lnTo>
                      <a:pt x="988" y="259"/>
                    </a:lnTo>
                    <a:lnTo>
                      <a:pt x="990" y="257"/>
                    </a:lnTo>
                    <a:lnTo>
                      <a:pt x="990" y="252"/>
                    </a:lnTo>
                    <a:lnTo>
                      <a:pt x="988" y="248"/>
                    </a:lnTo>
                    <a:lnTo>
                      <a:pt x="995" y="238"/>
                    </a:lnTo>
                    <a:lnTo>
                      <a:pt x="997" y="232"/>
                    </a:lnTo>
                    <a:lnTo>
                      <a:pt x="995" y="231"/>
                    </a:lnTo>
                    <a:lnTo>
                      <a:pt x="1001" y="227"/>
                    </a:lnTo>
                    <a:lnTo>
                      <a:pt x="1003" y="221"/>
                    </a:lnTo>
                    <a:lnTo>
                      <a:pt x="1011" y="213"/>
                    </a:lnTo>
                    <a:lnTo>
                      <a:pt x="1009" y="213"/>
                    </a:lnTo>
                    <a:lnTo>
                      <a:pt x="1014" y="211"/>
                    </a:lnTo>
                    <a:lnTo>
                      <a:pt x="1020" y="206"/>
                    </a:lnTo>
                    <a:lnTo>
                      <a:pt x="1020" y="202"/>
                    </a:lnTo>
                    <a:lnTo>
                      <a:pt x="1024" y="202"/>
                    </a:lnTo>
                    <a:lnTo>
                      <a:pt x="1022" y="200"/>
                    </a:lnTo>
                    <a:lnTo>
                      <a:pt x="1013" y="208"/>
                    </a:lnTo>
                    <a:lnTo>
                      <a:pt x="999" y="217"/>
                    </a:lnTo>
                    <a:lnTo>
                      <a:pt x="997" y="221"/>
                    </a:lnTo>
                    <a:lnTo>
                      <a:pt x="992" y="229"/>
                    </a:lnTo>
                    <a:lnTo>
                      <a:pt x="992" y="234"/>
                    </a:lnTo>
                    <a:lnTo>
                      <a:pt x="994" y="234"/>
                    </a:lnTo>
                    <a:lnTo>
                      <a:pt x="990" y="236"/>
                    </a:lnTo>
                    <a:lnTo>
                      <a:pt x="980" y="227"/>
                    </a:lnTo>
                    <a:lnTo>
                      <a:pt x="984" y="234"/>
                    </a:lnTo>
                    <a:lnTo>
                      <a:pt x="986" y="238"/>
                    </a:lnTo>
                    <a:lnTo>
                      <a:pt x="984" y="240"/>
                    </a:lnTo>
                    <a:lnTo>
                      <a:pt x="982" y="248"/>
                    </a:lnTo>
                    <a:lnTo>
                      <a:pt x="984" y="248"/>
                    </a:lnTo>
                    <a:lnTo>
                      <a:pt x="984" y="250"/>
                    </a:lnTo>
                    <a:lnTo>
                      <a:pt x="984" y="253"/>
                    </a:lnTo>
                    <a:lnTo>
                      <a:pt x="980" y="255"/>
                    </a:lnTo>
                    <a:lnTo>
                      <a:pt x="980" y="261"/>
                    </a:lnTo>
                    <a:lnTo>
                      <a:pt x="973" y="271"/>
                    </a:lnTo>
                    <a:lnTo>
                      <a:pt x="955" y="282"/>
                    </a:lnTo>
                    <a:lnTo>
                      <a:pt x="934" y="290"/>
                    </a:lnTo>
                    <a:lnTo>
                      <a:pt x="921" y="292"/>
                    </a:lnTo>
                    <a:lnTo>
                      <a:pt x="923" y="282"/>
                    </a:lnTo>
                    <a:lnTo>
                      <a:pt x="927" y="278"/>
                    </a:lnTo>
                    <a:lnTo>
                      <a:pt x="932" y="274"/>
                    </a:lnTo>
                    <a:lnTo>
                      <a:pt x="936" y="274"/>
                    </a:lnTo>
                    <a:lnTo>
                      <a:pt x="944" y="265"/>
                    </a:lnTo>
                    <a:lnTo>
                      <a:pt x="940" y="263"/>
                    </a:lnTo>
                    <a:lnTo>
                      <a:pt x="932" y="271"/>
                    </a:lnTo>
                    <a:lnTo>
                      <a:pt x="931" y="273"/>
                    </a:lnTo>
                    <a:lnTo>
                      <a:pt x="917" y="278"/>
                    </a:lnTo>
                    <a:lnTo>
                      <a:pt x="915" y="276"/>
                    </a:lnTo>
                    <a:lnTo>
                      <a:pt x="915" y="273"/>
                    </a:lnTo>
                    <a:lnTo>
                      <a:pt x="917" y="271"/>
                    </a:lnTo>
                    <a:lnTo>
                      <a:pt x="921" y="265"/>
                    </a:lnTo>
                    <a:lnTo>
                      <a:pt x="919" y="263"/>
                    </a:lnTo>
                    <a:lnTo>
                      <a:pt x="917" y="267"/>
                    </a:lnTo>
                    <a:lnTo>
                      <a:pt x="912" y="274"/>
                    </a:lnTo>
                    <a:lnTo>
                      <a:pt x="913" y="284"/>
                    </a:lnTo>
                    <a:lnTo>
                      <a:pt x="912" y="292"/>
                    </a:lnTo>
                    <a:lnTo>
                      <a:pt x="900" y="295"/>
                    </a:lnTo>
                    <a:lnTo>
                      <a:pt x="896" y="294"/>
                    </a:lnTo>
                    <a:lnTo>
                      <a:pt x="889" y="295"/>
                    </a:lnTo>
                    <a:lnTo>
                      <a:pt x="879" y="294"/>
                    </a:lnTo>
                    <a:lnTo>
                      <a:pt x="881" y="288"/>
                    </a:lnTo>
                    <a:lnTo>
                      <a:pt x="883" y="286"/>
                    </a:lnTo>
                    <a:lnTo>
                      <a:pt x="883" y="284"/>
                    </a:lnTo>
                    <a:lnTo>
                      <a:pt x="879" y="288"/>
                    </a:lnTo>
                    <a:lnTo>
                      <a:pt x="877" y="294"/>
                    </a:lnTo>
                    <a:lnTo>
                      <a:pt x="875" y="294"/>
                    </a:lnTo>
                    <a:lnTo>
                      <a:pt x="864" y="286"/>
                    </a:lnTo>
                    <a:lnTo>
                      <a:pt x="868" y="274"/>
                    </a:lnTo>
                    <a:lnTo>
                      <a:pt x="881" y="250"/>
                    </a:lnTo>
                    <a:lnTo>
                      <a:pt x="892" y="246"/>
                    </a:lnTo>
                    <a:lnTo>
                      <a:pt x="892" y="242"/>
                    </a:lnTo>
                    <a:lnTo>
                      <a:pt x="894" y="244"/>
                    </a:lnTo>
                    <a:lnTo>
                      <a:pt x="898" y="244"/>
                    </a:lnTo>
                    <a:lnTo>
                      <a:pt x="913" y="238"/>
                    </a:lnTo>
                    <a:lnTo>
                      <a:pt x="921" y="234"/>
                    </a:lnTo>
                    <a:lnTo>
                      <a:pt x="929" y="234"/>
                    </a:lnTo>
                    <a:lnTo>
                      <a:pt x="929" y="232"/>
                    </a:lnTo>
                    <a:lnTo>
                      <a:pt x="929" y="231"/>
                    </a:lnTo>
                    <a:lnTo>
                      <a:pt x="932" y="232"/>
                    </a:lnTo>
                    <a:lnTo>
                      <a:pt x="932" y="231"/>
                    </a:lnTo>
                    <a:lnTo>
                      <a:pt x="934" y="229"/>
                    </a:lnTo>
                    <a:lnTo>
                      <a:pt x="931" y="231"/>
                    </a:lnTo>
                    <a:lnTo>
                      <a:pt x="927" y="229"/>
                    </a:lnTo>
                    <a:lnTo>
                      <a:pt x="921" y="232"/>
                    </a:lnTo>
                    <a:lnTo>
                      <a:pt x="919" y="234"/>
                    </a:lnTo>
                    <a:lnTo>
                      <a:pt x="917" y="232"/>
                    </a:lnTo>
                    <a:lnTo>
                      <a:pt x="904" y="238"/>
                    </a:lnTo>
                    <a:lnTo>
                      <a:pt x="902" y="236"/>
                    </a:lnTo>
                    <a:lnTo>
                      <a:pt x="892" y="238"/>
                    </a:lnTo>
                    <a:lnTo>
                      <a:pt x="889" y="242"/>
                    </a:lnTo>
                    <a:lnTo>
                      <a:pt x="885" y="242"/>
                    </a:lnTo>
                    <a:lnTo>
                      <a:pt x="885" y="240"/>
                    </a:lnTo>
                    <a:lnTo>
                      <a:pt x="881" y="242"/>
                    </a:lnTo>
                    <a:lnTo>
                      <a:pt x="873" y="252"/>
                    </a:lnTo>
                    <a:lnTo>
                      <a:pt x="866" y="265"/>
                    </a:lnTo>
                    <a:lnTo>
                      <a:pt x="860" y="274"/>
                    </a:lnTo>
                    <a:lnTo>
                      <a:pt x="860" y="278"/>
                    </a:lnTo>
                    <a:lnTo>
                      <a:pt x="858" y="284"/>
                    </a:lnTo>
                    <a:lnTo>
                      <a:pt x="852" y="284"/>
                    </a:lnTo>
                    <a:lnTo>
                      <a:pt x="845" y="280"/>
                    </a:lnTo>
                    <a:lnTo>
                      <a:pt x="845" y="278"/>
                    </a:lnTo>
                    <a:lnTo>
                      <a:pt x="841" y="278"/>
                    </a:lnTo>
                    <a:lnTo>
                      <a:pt x="835" y="271"/>
                    </a:lnTo>
                    <a:lnTo>
                      <a:pt x="824" y="261"/>
                    </a:lnTo>
                    <a:lnTo>
                      <a:pt x="822" y="255"/>
                    </a:lnTo>
                    <a:lnTo>
                      <a:pt x="828" y="252"/>
                    </a:lnTo>
                    <a:lnTo>
                      <a:pt x="841" y="246"/>
                    </a:lnTo>
                    <a:lnTo>
                      <a:pt x="854" y="250"/>
                    </a:lnTo>
                    <a:lnTo>
                      <a:pt x="866" y="246"/>
                    </a:lnTo>
                    <a:lnTo>
                      <a:pt x="875" y="238"/>
                    </a:lnTo>
                    <a:lnTo>
                      <a:pt x="879" y="240"/>
                    </a:lnTo>
                    <a:lnTo>
                      <a:pt x="877" y="236"/>
                    </a:lnTo>
                    <a:lnTo>
                      <a:pt x="881" y="232"/>
                    </a:lnTo>
                    <a:lnTo>
                      <a:pt x="887" y="225"/>
                    </a:lnTo>
                    <a:lnTo>
                      <a:pt x="898" y="217"/>
                    </a:lnTo>
                    <a:lnTo>
                      <a:pt x="894" y="217"/>
                    </a:lnTo>
                    <a:lnTo>
                      <a:pt x="894" y="215"/>
                    </a:lnTo>
                    <a:lnTo>
                      <a:pt x="887" y="217"/>
                    </a:lnTo>
                    <a:lnTo>
                      <a:pt x="877" y="223"/>
                    </a:lnTo>
                    <a:lnTo>
                      <a:pt x="871" y="232"/>
                    </a:lnTo>
                    <a:lnTo>
                      <a:pt x="860" y="236"/>
                    </a:lnTo>
                    <a:lnTo>
                      <a:pt x="854" y="240"/>
                    </a:lnTo>
                    <a:lnTo>
                      <a:pt x="847" y="242"/>
                    </a:lnTo>
                    <a:lnTo>
                      <a:pt x="839" y="240"/>
                    </a:lnTo>
                    <a:lnTo>
                      <a:pt x="816" y="246"/>
                    </a:lnTo>
                    <a:lnTo>
                      <a:pt x="810" y="240"/>
                    </a:lnTo>
                    <a:lnTo>
                      <a:pt x="809" y="231"/>
                    </a:lnTo>
                    <a:lnTo>
                      <a:pt x="809" y="227"/>
                    </a:lnTo>
                    <a:lnTo>
                      <a:pt x="812" y="221"/>
                    </a:lnTo>
                    <a:lnTo>
                      <a:pt x="816" y="221"/>
                    </a:lnTo>
                    <a:lnTo>
                      <a:pt x="818" y="225"/>
                    </a:lnTo>
                    <a:lnTo>
                      <a:pt x="822" y="225"/>
                    </a:lnTo>
                    <a:lnTo>
                      <a:pt x="828" y="221"/>
                    </a:lnTo>
                    <a:lnTo>
                      <a:pt x="830" y="221"/>
                    </a:lnTo>
                    <a:lnTo>
                      <a:pt x="828" y="221"/>
                    </a:lnTo>
                    <a:lnTo>
                      <a:pt x="824" y="223"/>
                    </a:lnTo>
                    <a:lnTo>
                      <a:pt x="820" y="219"/>
                    </a:lnTo>
                    <a:lnTo>
                      <a:pt x="814" y="215"/>
                    </a:lnTo>
                    <a:lnTo>
                      <a:pt x="814" y="211"/>
                    </a:lnTo>
                    <a:lnTo>
                      <a:pt x="820" y="210"/>
                    </a:lnTo>
                    <a:lnTo>
                      <a:pt x="830" y="200"/>
                    </a:lnTo>
                    <a:lnTo>
                      <a:pt x="831" y="200"/>
                    </a:lnTo>
                    <a:lnTo>
                      <a:pt x="830" y="198"/>
                    </a:lnTo>
                    <a:lnTo>
                      <a:pt x="833" y="192"/>
                    </a:lnTo>
                    <a:lnTo>
                      <a:pt x="845" y="190"/>
                    </a:lnTo>
                    <a:lnTo>
                      <a:pt x="847" y="190"/>
                    </a:lnTo>
                    <a:lnTo>
                      <a:pt x="845" y="194"/>
                    </a:lnTo>
                    <a:lnTo>
                      <a:pt x="849" y="192"/>
                    </a:lnTo>
                    <a:lnTo>
                      <a:pt x="856" y="196"/>
                    </a:lnTo>
                    <a:lnTo>
                      <a:pt x="854" y="194"/>
                    </a:lnTo>
                    <a:lnTo>
                      <a:pt x="849" y="192"/>
                    </a:lnTo>
                    <a:lnTo>
                      <a:pt x="845" y="189"/>
                    </a:lnTo>
                    <a:lnTo>
                      <a:pt x="843" y="190"/>
                    </a:lnTo>
                    <a:lnTo>
                      <a:pt x="841" y="189"/>
                    </a:lnTo>
                    <a:lnTo>
                      <a:pt x="843" y="187"/>
                    </a:lnTo>
                    <a:lnTo>
                      <a:pt x="841" y="187"/>
                    </a:lnTo>
                    <a:lnTo>
                      <a:pt x="835" y="189"/>
                    </a:lnTo>
                    <a:lnTo>
                      <a:pt x="830" y="190"/>
                    </a:lnTo>
                    <a:lnTo>
                      <a:pt x="816" y="202"/>
                    </a:lnTo>
                    <a:lnTo>
                      <a:pt x="809" y="208"/>
                    </a:lnTo>
                    <a:lnTo>
                      <a:pt x="807" y="206"/>
                    </a:lnTo>
                    <a:lnTo>
                      <a:pt x="807" y="210"/>
                    </a:lnTo>
                    <a:lnTo>
                      <a:pt x="805" y="208"/>
                    </a:lnTo>
                    <a:lnTo>
                      <a:pt x="807" y="206"/>
                    </a:lnTo>
                    <a:lnTo>
                      <a:pt x="801" y="202"/>
                    </a:lnTo>
                    <a:lnTo>
                      <a:pt x="799" y="200"/>
                    </a:lnTo>
                    <a:lnTo>
                      <a:pt x="810" y="189"/>
                    </a:lnTo>
                    <a:lnTo>
                      <a:pt x="814" y="189"/>
                    </a:lnTo>
                    <a:lnTo>
                      <a:pt x="816" y="183"/>
                    </a:lnTo>
                    <a:lnTo>
                      <a:pt x="820" y="183"/>
                    </a:lnTo>
                    <a:lnTo>
                      <a:pt x="820" y="181"/>
                    </a:lnTo>
                    <a:lnTo>
                      <a:pt x="814" y="181"/>
                    </a:lnTo>
                    <a:lnTo>
                      <a:pt x="812" y="183"/>
                    </a:lnTo>
                    <a:lnTo>
                      <a:pt x="814" y="179"/>
                    </a:lnTo>
                    <a:lnTo>
                      <a:pt x="810" y="179"/>
                    </a:lnTo>
                    <a:lnTo>
                      <a:pt x="810" y="171"/>
                    </a:lnTo>
                    <a:lnTo>
                      <a:pt x="807" y="175"/>
                    </a:lnTo>
                    <a:lnTo>
                      <a:pt x="809" y="179"/>
                    </a:lnTo>
                    <a:lnTo>
                      <a:pt x="805" y="177"/>
                    </a:lnTo>
                    <a:lnTo>
                      <a:pt x="805" y="175"/>
                    </a:lnTo>
                    <a:lnTo>
                      <a:pt x="803" y="177"/>
                    </a:lnTo>
                    <a:lnTo>
                      <a:pt x="801" y="175"/>
                    </a:lnTo>
                    <a:lnTo>
                      <a:pt x="801" y="181"/>
                    </a:lnTo>
                    <a:lnTo>
                      <a:pt x="797" y="181"/>
                    </a:lnTo>
                    <a:lnTo>
                      <a:pt x="797" y="189"/>
                    </a:lnTo>
                    <a:lnTo>
                      <a:pt x="795" y="192"/>
                    </a:lnTo>
                    <a:lnTo>
                      <a:pt x="795" y="189"/>
                    </a:lnTo>
                    <a:lnTo>
                      <a:pt x="789" y="192"/>
                    </a:lnTo>
                    <a:lnTo>
                      <a:pt x="791" y="190"/>
                    </a:lnTo>
                    <a:lnTo>
                      <a:pt x="789" y="185"/>
                    </a:lnTo>
                    <a:lnTo>
                      <a:pt x="786" y="183"/>
                    </a:lnTo>
                    <a:lnTo>
                      <a:pt x="782" y="183"/>
                    </a:lnTo>
                    <a:lnTo>
                      <a:pt x="782" y="179"/>
                    </a:lnTo>
                    <a:lnTo>
                      <a:pt x="784" y="179"/>
                    </a:lnTo>
                    <a:lnTo>
                      <a:pt x="784" y="181"/>
                    </a:lnTo>
                    <a:lnTo>
                      <a:pt x="784" y="179"/>
                    </a:lnTo>
                    <a:lnTo>
                      <a:pt x="782" y="177"/>
                    </a:lnTo>
                    <a:lnTo>
                      <a:pt x="784" y="177"/>
                    </a:lnTo>
                    <a:lnTo>
                      <a:pt x="784" y="179"/>
                    </a:lnTo>
                    <a:lnTo>
                      <a:pt x="786" y="177"/>
                    </a:lnTo>
                    <a:lnTo>
                      <a:pt x="784" y="175"/>
                    </a:lnTo>
                    <a:lnTo>
                      <a:pt x="786" y="175"/>
                    </a:lnTo>
                    <a:lnTo>
                      <a:pt x="786" y="169"/>
                    </a:lnTo>
                    <a:lnTo>
                      <a:pt x="788" y="169"/>
                    </a:lnTo>
                    <a:lnTo>
                      <a:pt x="789" y="166"/>
                    </a:lnTo>
                    <a:lnTo>
                      <a:pt x="791" y="166"/>
                    </a:lnTo>
                    <a:lnTo>
                      <a:pt x="791" y="164"/>
                    </a:lnTo>
                    <a:lnTo>
                      <a:pt x="793" y="168"/>
                    </a:lnTo>
                    <a:lnTo>
                      <a:pt x="795" y="166"/>
                    </a:lnTo>
                    <a:lnTo>
                      <a:pt x="797" y="166"/>
                    </a:lnTo>
                    <a:lnTo>
                      <a:pt x="795" y="162"/>
                    </a:lnTo>
                    <a:lnTo>
                      <a:pt x="795" y="158"/>
                    </a:lnTo>
                    <a:lnTo>
                      <a:pt x="803" y="158"/>
                    </a:lnTo>
                    <a:lnTo>
                      <a:pt x="803" y="152"/>
                    </a:lnTo>
                    <a:lnTo>
                      <a:pt x="809" y="150"/>
                    </a:lnTo>
                    <a:lnTo>
                      <a:pt x="810" y="152"/>
                    </a:lnTo>
                    <a:lnTo>
                      <a:pt x="812" y="150"/>
                    </a:lnTo>
                    <a:lnTo>
                      <a:pt x="816" y="150"/>
                    </a:lnTo>
                    <a:lnTo>
                      <a:pt x="816" y="148"/>
                    </a:lnTo>
                    <a:lnTo>
                      <a:pt x="818" y="150"/>
                    </a:lnTo>
                    <a:lnTo>
                      <a:pt x="816" y="150"/>
                    </a:lnTo>
                    <a:lnTo>
                      <a:pt x="818" y="150"/>
                    </a:lnTo>
                    <a:lnTo>
                      <a:pt x="820" y="158"/>
                    </a:lnTo>
                    <a:lnTo>
                      <a:pt x="822" y="158"/>
                    </a:lnTo>
                    <a:lnTo>
                      <a:pt x="822" y="160"/>
                    </a:lnTo>
                    <a:lnTo>
                      <a:pt x="824" y="164"/>
                    </a:lnTo>
                    <a:lnTo>
                      <a:pt x="824" y="160"/>
                    </a:lnTo>
                    <a:lnTo>
                      <a:pt x="826" y="150"/>
                    </a:lnTo>
                    <a:lnTo>
                      <a:pt x="822" y="150"/>
                    </a:lnTo>
                    <a:lnTo>
                      <a:pt x="822" y="147"/>
                    </a:lnTo>
                    <a:lnTo>
                      <a:pt x="824" y="145"/>
                    </a:lnTo>
                    <a:lnTo>
                      <a:pt x="828" y="148"/>
                    </a:lnTo>
                    <a:lnTo>
                      <a:pt x="826" y="150"/>
                    </a:lnTo>
                    <a:lnTo>
                      <a:pt x="828" y="148"/>
                    </a:lnTo>
                    <a:lnTo>
                      <a:pt x="830" y="147"/>
                    </a:lnTo>
                    <a:lnTo>
                      <a:pt x="828" y="141"/>
                    </a:lnTo>
                    <a:lnTo>
                      <a:pt x="830" y="137"/>
                    </a:lnTo>
                    <a:lnTo>
                      <a:pt x="835" y="131"/>
                    </a:lnTo>
                    <a:lnTo>
                      <a:pt x="843" y="129"/>
                    </a:lnTo>
                    <a:lnTo>
                      <a:pt x="843" y="128"/>
                    </a:lnTo>
                    <a:lnTo>
                      <a:pt x="847" y="128"/>
                    </a:lnTo>
                    <a:lnTo>
                      <a:pt x="847" y="131"/>
                    </a:lnTo>
                    <a:lnTo>
                      <a:pt x="847" y="128"/>
                    </a:lnTo>
                    <a:lnTo>
                      <a:pt x="849" y="131"/>
                    </a:lnTo>
                    <a:lnTo>
                      <a:pt x="850" y="131"/>
                    </a:lnTo>
                    <a:lnTo>
                      <a:pt x="850" y="129"/>
                    </a:lnTo>
                    <a:lnTo>
                      <a:pt x="854" y="131"/>
                    </a:lnTo>
                    <a:lnTo>
                      <a:pt x="858" y="139"/>
                    </a:lnTo>
                    <a:lnTo>
                      <a:pt x="856" y="143"/>
                    </a:lnTo>
                    <a:lnTo>
                      <a:pt x="856" y="145"/>
                    </a:lnTo>
                    <a:lnTo>
                      <a:pt x="860" y="147"/>
                    </a:lnTo>
                    <a:lnTo>
                      <a:pt x="864" y="152"/>
                    </a:lnTo>
                    <a:lnTo>
                      <a:pt x="864" y="150"/>
                    </a:lnTo>
                    <a:lnTo>
                      <a:pt x="864" y="147"/>
                    </a:lnTo>
                    <a:lnTo>
                      <a:pt x="858" y="145"/>
                    </a:lnTo>
                    <a:lnTo>
                      <a:pt x="860" y="141"/>
                    </a:lnTo>
                    <a:lnTo>
                      <a:pt x="864" y="141"/>
                    </a:lnTo>
                    <a:lnTo>
                      <a:pt x="860" y="137"/>
                    </a:lnTo>
                    <a:lnTo>
                      <a:pt x="862" y="133"/>
                    </a:lnTo>
                    <a:lnTo>
                      <a:pt x="871" y="133"/>
                    </a:lnTo>
                    <a:lnTo>
                      <a:pt x="873" y="137"/>
                    </a:lnTo>
                    <a:lnTo>
                      <a:pt x="875" y="137"/>
                    </a:lnTo>
                    <a:lnTo>
                      <a:pt x="885" y="156"/>
                    </a:lnTo>
                    <a:lnTo>
                      <a:pt x="887" y="152"/>
                    </a:lnTo>
                    <a:lnTo>
                      <a:pt x="881" y="143"/>
                    </a:lnTo>
                    <a:lnTo>
                      <a:pt x="881" y="139"/>
                    </a:lnTo>
                    <a:lnTo>
                      <a:pt x="889" y="139"/>
                    </a:lnTo>
                    <a:lnTo>
                      <a:pt x="891" y="147"/>
                    </a:lnTo>
                    <a:lnTo>
                      <a:pt x="896" y="154"/>
                    </a:lnTo>
                    <a:lnTo>
                      <a:pt x="891" y="141"/>
                    </a:lnTo>
                    <a:lnTo>
                      <a:pt x="892" y="139"/>
                    </a:lnTo>
                    <a:lnTo>
                      <a:pt x="894" y="139"/>
                    </a:lnTo>
                    <a:lnTo>
                      <a:pt x="896" y="143"/>
                    </a:lnTo>
                    <a:lnTo>
                      <a:pt x="896" y="150"/>
                    </a:lnTo>
                    <a:lnTo>
                      <a:pt x="900" y="152"/>
                    </a:lnTo>
                    <a:lnTo>
                      <a:pt x="898" y="148"/>
                    </a:lnTo>
                    <a:lnTo>
                      <a:pt x="898" y="141"/>
                    </a:lnTo>
                    <a:lnTo>
                      <a:pt x="894" y="137"/>
                    </a:lnTo>
                    <a:lnTo>
                      <a:pt x="881" y="133"/>
                    </a:lnTo>
                    <a:lnTo>
                      <a:pt x="875" y="128"/>
                    </a:lnTo>
                    <a:lnTo>
                      <a:pt x="873" y="128"/>
                    </a:lnTo>
                    <a:lnTo>
                      <a:pt x="866" y="126"/>
                    </a:lnTo>
                    <a:lnTo>
                      <a:pt x="862" y="116"/>
                    </a:lnTo>
                    <a:lnTo>
                      <a:pt x="862" y="114"/>
                    </a:lnTo>
                    <a:lnTo>
                      <a:pt x="866" y="112"/>
                    </a:lnTo>
                    <a:lnTo>
                      <a:pt x="883" y="112"/>
                    </a:lnTo>
                    <a:lnTo>
                      <a:pt x="883" y="107"/>
                    </a:lnTo>
                    <a:lnTo>
                      <a:pt x="887" y="107"/>
                    </a:lnTo>
                    <a:lnTo>
                      <a:pt x="885" y="103"/>
                    </a:lnTo>
                    <a:lnTo>
                      <a:pt x="885" y="99"/>
                    </a:lnTo>
                    <a:lnTo>
                      <a:pt x="883" y="99"/>
                    </a:lnTo>
                    <a:lnTo>
                      <a:pt x="885" y="91"/>
                    </a:lnTo>
                    <a:lnTo>
                      <a:pt x="877" y="89"/>
                    </a:lnTo>
                    <a:lnTo>
                      <a:pt x="879" y="86"/>
                    </a:lnTo>
                    <a:lnTo>
                      <a:pt x="889" y="82"/>
                    </a:lnTo>
                    <a:lnTo>
                      <a:pt x="898" y="84"/>
                    </a:lnTo>
                    <a:lnTo>
                      <a:pt x="900" y="86"/>
                    </a:lnTo>
                    <a:lnTo>
                      <a:pt x="896" y="87"/>
                    </a:lnTo>
                    <a:lnTo>
                      <a:pt x="896" y="89"/>
                    </a:lnTo>
                    <a:lnTo>
                      <a:pt x="892" y="89"/>
                    </a:lnTo>
                    <a:lnTo>
                      <a:pt x="902" y="95"/>
                    </a:lnTo>
                    <a:lnTo>
                      <a:pt x="902" y="97"/>
                    </a:lnTo>
                    <a:lnTo>
                      <a:pt x="908" y="95"/>
                    </a:lnTo>
                    <a:lnTo>
                      <a:pt x="913" y="99"/>
                    </a:lnTo>
                    <a:lnTo>
                      <a:pt x="915" y="103"/>
                    </a:lnTo>
                    <a:lnTo>
                      <a:pt x="919" y="107"/>
                    </a:lnTo>
                    <a:lnTo>
                      <a:pt x="919" y="114"/>
                    </a:lnTo>
                    <a:lnTo>
                      <a:pt x="925" y="120"/>
                    </a:lnTo>
                    <a:lnTo>
                      <a:pt x="925" y="126"/>
                    </a:lnTo>
                    <a:lnTo>
                      <a:pt x="923" y="133"/>
                    </a:lnTo>
                    <a:lnTo>
                      <a:pt x="927" y="129"/>
                    </a:lnTo>
                    <a:lnTo>
                      <a:pt x="938" y="131"/>
                    </a:lnTo>
                    <a:lnTo>
                      <a:pt x="942" y="135"/>
                    </a:lnTo>
                    <a:lnTo>
                      <a:pt x="940" y="129"/>
                    </a:lnTo>
                    <a:lnTo>
                      <a:pt x="929" y="128"/>
                    </a:lnTo>
                    <a:lnTo>
                      <a:pt x="927" y="118"/>
                    </a:lnTo>
                    <a:lnTo>
                      <a:pt x="923" y="114"/>
                    </a:lnTo>
                    <a:lnTo>
                      <a:pt x="925" y="107"/>
                    </a:lnTo>
                    <a:lnTo>
                      <a:pt x="927" y="107"/>
                    </a:lnTo>
                    <a:lnTo>
                      <a:pt x="931" y="107"/>
                    </a:lnTo>
                    <a:lnTo>
                      <a:pt x="934" y="112"/>
                    </a:lnTo>
                    <a:lnTo>
                      <a:pt x="936" y="116"/>
                    </a:lnTo>
                    <a:lnTo>
                      <a:pt x="946" y="126"/>
                    </a:lnTo>
                    <a:lnTo>
                      <a:pt x="952" y="129"/>
                    </a:lnTo>
                    <a:lnTo>
                      <a:pt x="961" y="139"/>
                    </a:lnTo>
                    <a:lnTo>
                      <a:pt x="971" y="141"/>
                    </a:lnTo>
                    <a:lnTo>
                      <a:pt x="971" y="145"/>
                    </a:lnTo>
                    <a:lnTo>
                      <a:pt x="973" y="145"/>
                    </a:lnTo>
                    <a:lnTo>
                      <a:pt x="974" y="137"/>
                    </a:lnTo>
                    <a:lnTo>
                      <a:pt x="961" y="131"/>
                    </a:lnTo>
                    <a:lnTo>
                      <a:pt x="955" y="126"/>
                    </a:lnTo>
                    <a:lnTo>
                      <a:pt x="959" y="120"/>
                    </a:lnTo>
                    <a:lnTo>
                      <a:pt x="953" y="120"/>
                    </a:lnTo>
                    <a:lnTo>
                      <a:pt x="948" y="116"/>
                    </a:lnTo>
                    <a:lnTo>
                      <a:pt x="929" y="97"/>
                    </a:lnTo>
                    <a:lnTo>
                      <a:pt x="929" y="93"/>
                    </a:lnTo>
                    <a:lnTo>
                      <a:pt x="931" y="80"/>
                    </a:lnTo>
                    <a:lnTo>
                      <a:pt x="938" y="82"/>
                    </a:lnTo>
                    <a:lnTo>
                      <a:pt x="940" y="80"/>
                    </a:lnTo>
                    <a:lnTo>
                      <a:pt x="944" y="82"/>
                    </a:lnTo>
                    <a:lnTo>
                      <a:pt x="948" y="80"/>
                    </a:lnTo>
                    <a:lnTo>
                      <a:pt x="942" y="78"/>
                    </a:lnTo>
                    <a:lnTo>
                      <a:pt x="936" y="72"/>
                    </a:lnTo>
                    <a:lnTo>
                      <a:pt x="934" y="66"/>
                    </a:lnTo>
                    <a:lnTo>
                      <a:pt x="936" y="61"/>
                    </a:lnTo>
                    <a:lnTo>
                      <a:pt x="938" y="59"/>
                    </a:lnTo>
                    <a:lnTo>
                      <a:pt x="948" y="63"/>
                    </a:lnTo>
                    <a:lnTo>
                      <a:pt x="953" y="68"/>
                    </a:lnTo>
                    <a:lnTo>
                      <a:pt x="957" y="78"/>
                    </a:lnTo>
                    <a:lnTo>
                      <a:pt x="959" y="74"/>
                    </a:lnTo>
                    <a:lnTo>
                      <a:pt x="963" y="74"/>
                    </a:lnTo>
                    <a:lnTo>
                      <a:pt x="959" y="65"/>
                    </a:lnTo>
                    <a:lnTo>
                      <a:pt x="961" y="63"/>
                    </a:lnTo>
                    <a:lnTo>
                      <a:pt x="959" y="65"/>
                    </a:lnTo>
                    <a:lnTo>
                      <a:pt x="957" y="63"/>
                    </a:lnTo>
                    <a:lnTo>
                      <a:pt x="953" y="51"/>
                    </a:lnTo>
                    <a:lnTo>
                      <a:pt x="948" y="47"/>
                    </a:lnTo>
                    <a:lnTo>
                      <a:pt x="948" y="42"/>
                    </a:lnTo>
                    <a:lnTo>
                      <a:pt x="955" y="40"/>
                    </a:lnTo>
                    <a:lnTo>
                      <a:pt x="965" y="44"/>
                    </a:lnTo>
                    <a:lnTo>
                      <a:pt x="969" y="51"/>
                    </a:lnTo>
                    <a:lnTo>
                      <a:pt x="969" y="59"/>
                    </a:lnTo>
                    <a:lnTo>
                      <a:pt x="973" y="63"/>
                    </a:lnTo>
                    <a:lnTo>
                      <a:pt x="974" y="61"/>
                    </a:lnTo>
                    <a:lnTo>
                      <a:pt x="971" y="57"/>
                    </a:lnTo>
                    <a:lnTo>
                      <a:pt x="973" y="53"/>
                    </a:lnTo>
                    <a:lnTo>
                      <a:pt x="984" y="59"/>
                    </a:lnTo>
                    <a:lnTo>
                      <a:pt x="990" y="59"/>
                    </a:lnTo>
                    <a:lnTo>
                      <a:pt x="988" y="57"/>
                    </a:lnTo>
                    <a:lnTo>
                      <a:pt x="980" y="55"/>
                    </a:lnTo>
                    <a:lnTo>
                      <a:pt x="973" y="49"/>
                    </a:lnTo>
                    <a:lnTo>
                      <a:pt x="973" y="44"/>
                    </a:lnTo>
                    <a:lnTo>
                      <a:pt x="971" y="42"/>
                    </a:lnTo>
                    <a:lnTo>
                      <a:pt x="978" y="40"/>
                    </a:lnTo>
                    <a:lnTo>
                      <a:pt x="969" y="38"/>
                    </a:lnTo>
                    <a:lnTo>
                      <a:pt x="965" y="34"/>
                    </a:lnTo>
                    <a:lnTo>
                      <a:pt x="965" y="30"/>
                    </a:lnTo>
                    <a:lnTo>
                      <a:pt x="974" y="23"/>
                    </a:lnTo>
                    <a:lnTo>
                      <a:pt x="982" y="21"/>
                    </a:lnTo>
                    <a:lnTo>
                      <a:pt x="982" y="23"/>
                    </a:lnTo>
                    <a:lnTo>
                      <a:pt x="986" y="23"/>
                    </a:lnTo>
                    <a:lnTo>
                      <a:pt x="984" y="24"/>
                    </a:lnTo>
                    <a:lnTo>
                      <a:pt x="986" y="26"/>
                    </a:lnTo>
                    <a:lnTo>
                      <a:pt x="986" y="30"/>
                    </a:lnTo>
                    <a:lnTo>
                      <a:pt x="990" y="28"/>
                    </a:lnTo>
                    <a:lnTo>
                      <a:pt x="992" y="24"/>
                    </a:lnTo>
                    <a:lnTo>
                      <a:pt x="994" y="24"/>
                    </a:lnTo>
                    <a:lnTo>
                      <a:pt x="995" y="26"/>
                    </a:lnTo>
                    <a:lnTo>
                      <a:pt x="995" y="38"/>
                    </a:lnTo>
                    <a:lnTo>
                      <a:pt x="997" y="32"/>
                    </a:lnTo>
                    <a:lnTo>
                      <a:pt x="997" y="36"/>
                    </a:lnTo>
                    <a:lnTo>
                      <a:pt x="999" y="36"/>
                    </a:lnTo>
                    <a:lnTo>
                      <a:pt x="1003" y="42"/>
                    </a:lnTo>
                    <a:lnTo>
                      <a:pt x="999" y="34"/>
                    </a:lnTo>
                    <a:lnTo>
                      <a:pt x="1001" y="32"/>
                    </a:lnTo>
                    <a:lnTo>
                      <a:pt x="1003" y="36"/>
                    </a:lnTo>
                    <a:lnTo>
                      <a:pt x="1001" y="32"/>
                    </a:lnTo>
                    <a:lnTo>
                      <a:pt x="1007" y="26"/>
                    </a:lnTo>
                    <a:lnTo>
                      <a:pt x="1018" y="36"/>
                    </a:lnTo>
                    <a:lnTo>
                      <a:pt x="1020" y="47"/>
                    </a:lnTo>
                    <a:lnTo>
                      <a:pt x="1022" y="47"/>
                    </a:lnTo>
                    <a:lnTo>
                      <a:pt x="1024" y="51"/>
                    </a:lnTo>
                    <a:lnTo>
                      <a:pt x="1026" y="59"/>
                    </a:lnTo>
                    <a:lnTo>
                      <a:pt x="1037" y="68"/>
                    </a:lnTo>
                    <a:lnTo>
                      <a:pt x="1035" y="72"/>
                    </a:lnTo>
                    <a:lnTo>
                      <a:pt x="1035" y="68"/>
                    </a:lnTo>
                    <a:lnTo>
                      <a:pt x="1035" y="74"/>
                    </a:lnTo>
                    <a:lnTo>
                      <a:pt x="1034" y="78"/>
                    </a:lnTo>
                    <a:lnTo>
                      <a:pt x="1037" y="72"/>
                    </a:lnTo>
                    <a:lnTo>
                      <a:pt x="1037" y="74"/>
                    </a:lnTo>
                    <a:lnTo>
                      <a:pt x="1045" y="66"/>
                    </a:lnTo>
                    <a:lnTo>
                      <a:pt x="1045" y="65"/>
                    </a:lnTo>
                    <a:lnTo>
                      <a:pt x="1032" y="55"/>
                    </a:lnTo>
                    <a:lnTo>
                      <a:pt x="1030" y="47"/>
                    </a:lnTo>
                    <a:lnTo>
                      <a:pt x="1035" y="44"/>
                    </a:lnTo>
                    <a:lnTo>
                      <a:pt x="1028" y="44"/>
                    </a:lnTo>
                    <a:lnTo>
                      <a:pt x="1024" y="32"/>
                    </a:lnTo>
                    <a:lnTo>
                      <a:pt x="1013" y="21"/>
                    </a:lnTo>
                    <a:lnTo>
                      <a:pt x="1013" y="15"/>
                    </a:lnTo>
                    <a:lnTo>
                      <a:pt x="1014" y="15"/>
                    </a:lnTo>
                    <a:lnTo>
                      <a:pt x="1011" y="11"/>
                    </a:lnTo>
                    <a:lnTo>
                      <a:pt x="1013" y="9"/>
                    </a:lnTo>
                    <a:lnTo>
                      <a:pt x="1020" y="5"/>
                    </a:lnTo>
                    <a:lnTo>
                      <a:pt x="1030" y="7"/>
                    </a:lnTo>
                    <a:lnTo>
                      <a:pt x="1037" y="7"/>
                    </a:lnTo>
                    <a:lnTo>
                      <a:pt x="1037" y="9"/>
                    </a:lnTo>
                    <a:lnTo>
                      <a:pt x="1034" y="9"/>
                    </a:lnTo>
                    <a:lnTo>
                      <a:pt x="1047" y="13"/>
                    </a:lnTo>
                    <a:lnTo>
                      <a:pt x="1047" y="15"/>
                    </a:lnTo>
                    <a:lnTo>
                      <a:pt x="1051" y="11"/>
                    </a:lnTo>
                    <a:lnTo>
                      <a:pt x="1060" y="13"/>
                    </a:lnTo>
                    <a:lnTo>
                      <a:pt x="1068" y="23"/>
                    </a:lnTo>
                    <a:lnTo>
                      <a:pt x="1072" y="38"/>
                    </a:lnTo>
                    <a:lnTo>
                      <a:pt x="1079" y="47"/>
                    </a:lnTo>
                    <a:lnTo>
                      <a:pt x="1089" y="55"/>
                    </a:lnTo>
                    <a:lnTo>
                      <a:pt x="1089" y="53"/>
                    </a:lnTo>
                    <a:lnTo>
                      <a:pt x="1091" y="53"/>
                    </a:lnTo>
                    <a:lnTo>
                      <a:pt x="1091" y="51"/>
                    </a:lnTo>
                    <a:lnTo>
                      <a:pt x="1079" y="42"/>
                    </a:lnTo>
                    <a:lnTo>
                      <a:pt x="1077" y="36"/>
                    </a:lnTo>
                    <a:lnTo>
                      <a:pt x="1076" y="30"/>
                    </a:lnTo>
                    <a:lnTo>
                      <a:pt x="1072" y="24"/>
                    </a:lnTo>
                    <a:lnTo>
                      <a:pt x="1077" y="21"/>
                    </a:lnTo>
                    <a:lnTo>
                      <a:pt x="1079" y="15"/>
                    </a:lnTo>
                    <a:lnTo>
                      <a:pt x="1083" y="11"/>
                    </a:lnTo>
                    <a:lnTo>
                      <a:pt x="1083" y="7"/>
                    </a:lnTo>
                    <a:lnTo>
                      <a:pt x="1089" y="3"/>
                    </a:lnTo>
                    <a:lnTo>
                      <a:pt x="1106" y="3"/>
                    </a:lnTo>
                    <a:lnTo>
                      <a:pt x="1102" y="15"/>
                    </a:lnTo>
                    <a:lnTo>
                      <a:pt x="1108" y="24"/>
                    </a:lnTo>
                    <a:lnTo>
                      <a:pt x="1116" y="30"/>
                    </a:lnTo>
                    <a:lnTo>
                      <a:pt x="1116" y="32"/>
                    </a:lnTo>
                    <a:lnTo>
                      <a:pt x="1117" y="30"/>
                    </a:lnTo>
                    <a:lnTo>
                      <a:pt x="1117" y="32"/>
                    </a:lnTo>
                    <a:lnTo>
                      <a:pt x="1116" y="26"/>
                    </a:lnTo>
                    <a:lnTo>
                      <a:pt x="1108" y="15"/>
                    </a:lnTo>
                    <a:lnTo>
                      <a:pt x="1110" y="9"/>
                    </a:lnTo>
                    <a:lnTo>
                      <a:pt x="1116" y="7"/>
                    </a:lnTo>
                    <a:lnTo>
                      <a:pt x="1114" y="3"/>
                    </a:lnTo>
                    <a:lnTo>
                      <a:pt x="1117" y="7"/>
                    </a:lnTo>
                    <a:lnTo>
                      <a:pt x="1117" y="3"/>
                    </a:lnTo>
                    <a:lnTo>
                      <a:pt x="1119" y="3"/>
                    </a:lnTo>
                    <a:lnTo>
                      <a:pt x="1131" y="2"/>
                    </a:lnTo>
                    <a:close/>
                    <a:moveTo>
                      <a:pt x="423" y="811"/>
                    </a:moveTo>
                    <a:lnTo>
                      <a:pt x="427" y="814"/>
                    </a:lnTo>
                    <a:lnTo>
                      <a:pt x="431" y="822"/>
                    </a:lnTo>
                    <a:lnTo>
                      <a:pt x="431" y="830"/>
                    </a:lnTo>
                    <a:lnTo>
                      <a:pt x="431" y="832"/>
                    </a:lnTo>
                    <a:lnTo>
                      <a:pt x="431" y="833"/>
                    </a:lnTo>
                    <a:lnTo>
                      <a:pt x="431" y="835"/>
                    </a:lnTo>
                    <a:lnTo>
                      <a:pt x="431" y="839"/>
                    </a:lnTo>
                    <a:lnTo>
                      <a:pt x="431" y="841"/>
                    </a:lnTo>
                    <a:lnTo>
                      <a:pt x="427" y="843"/>
                    </a:lnTo>
                    <a:lnTo>
                      <a:pt x="427" y="845"/>
                    </a:lnTo>
                    <a:lnTo>
                      <a:pt x="425" y="845"/>
                    </a:lnTo>
                    <a:lnTo>
                      <a:pt x="425" y="847"/>
                    </a:lnTo>
                    <a:lnTo>
                      <a:pt x="427" y="847"/>
                    </a:lnTo>
                    <a:lnTo>
                      <a:pt x="425" y="849"/>
                    </a:lnTo>
                    <a:lnTo>
                      <a:pt x="423" y="851"/>
                    </a:lnTo>
                    <a:lnTo>
                      <a:pt x="421" y="851"/>
                    </a:lnTo>
                    <a:lnTo>
                      <a:pt x="421" y="853"/>
                    </a:lnTo>
                    <a:lnTo>
                      <a:pt x="421" y="854"/>
                    </a:lnTo>
                    <a:lnTo>
                      <a:pt x="421" y="853"/>
                    </a:lnTo>
                    <a:lnTo>
                      <a:pt x="421" y="854"/>
                    </a:lnTo>
                    <a:lnTo>
                      <a:pt x="423" y="854"/>
                    </a:lnTo>
                    <a:lnTo>
                      <a:pt x="425" y="854"/>
                    </a:lnTo>
                    <a:lnTo>
                      <a:pt x="425" y="853"/>
                    </a:lnTo>
                    <a:lnTo>
                      <a:pt x="427" y="853"/>
                    </a:lnTo>
                    <a:lnTo>
                      <a:pt x="429" y="851"/>
                    </a:lnTo>
                    <a:lnTo>
                      <a:pt x="433" y="849"/>
                    </a:lnTo>
                    <a:lnTo>
                      <a:pt x="433" y="851"/>
                    </a:lnTo>
                    <a:lnTo>
                      <a:pt x="439" y="847"/>
                    </a:lnTo>
                    <a:lnTo>
                      <a:pt x="437" y="849"/>
                    </a:lnTo>
                    <a:lnTo>
                      <a:pt x="435" y="851"/>
                    </a:lnTo>
                    <a:lnTo>
                      <a:pt x="435" y="853"/>
                    </a:lnTo>
                    <a:lnTo>
                      <a:pt x="437" y="851"/>
                    </a:lnTo>
                    <a:lnTo>
                      <a:pt x="441" y="849"/>
                    </a:lnTo>
                    <a:lnTo>
                      <a:pt x="441" y="845"/>
                    </a:lnTo>
                    <a:lnTo>
                      <a:pt x="437" y="845"/>
                    </a:lnTo>
                    <a:lnTo>
                      <a:pt x="437" y="843"/>
                    </a:lnTo>
                    <a:lnTo>
                      <a:pt x="442" y="832"/>
                    </a:lnTo>
                    <a:lnTo>
                      <a:pt x="446" y="832"/>
                    </a:lnTo>
                    <a:lnTo>
                      <a:pt x="454" y="833"/>
                    </a:lnTo>
                    <a:lnTo>
                      <a:pt x="458" y="837"/>
                    </a:lnTo>
                    <a:lnTo>
                      <a:pt x="461" y="837"/>
                    </a:lnTo>
                    <a:lnTo>
                      <a:pt x="465" y="839"/>
                    </a:lnTo>
                    <a:lnTo>
                      <a:pt x="471" y="843"/>
                    </a:lnTo>
                    <a:lnTo>
                      <a:pt x="471" y="845"/>
                    </a:lnTo>
                    <a:lnTo>
                      <a:pt x="473" y="845"/>
                    </a:lnTo>
                    <a:lnTo>
                      <a:pt x="475" y="847"/>
                    </a:lnTo>
                    <a:lnTo>
                      <a:pt x="473" y="849"/>
                    </a:lnTo>
                    <a:lnTo>
                      <a:pt x="475" y="847"/>
                    </a:lnTo>
                    <a:lnTo>
                      <a:pt x="475" y="851"/>
                    </a:lnTo>
                    <a:lnTo>
                      <a:pt x="475" y="854"/>
                    </a:lnTo>
                    <a:lnTo>
                      <a:pt x="471" y="856"/>
                    </a:lnTo>
                    <a:lnTo>
                      <a:pt x="473" y="858"/>
                    </a:lnTo>
                    <a:lnTo>
                      <a:pt x="471" y="860"/>
                    </a:lnTo>
                    <a:lnTo>
                      <a:pt x="473" y="862"/>
                    </a:lnTo>
                    <a:lnTo>
                      <a:pt x="475" y="860"/>
                    </a:lnTo>
                    <a:lnTo>
                      <a:pt x="473" y="864"/>
                    </a:lnTo>
                    <a:lnTo>
                      <a:pt x="473" y="862"/>
                    </a:lnTo>
                    <a:lnTo>
                      <a:pt x="475" y="864"/>
                    </a:lnTo>
                    <a:lnTo>
                      <a:pt x="473" y="866"/>
                    </a:lnTo>
                    <a:lnTo>
                      <a:pt x="475" y="866"/>
                    </a:lnTo>
                    <a:lnTo>
                      <a:pt x="475" y="868"/>
                    </a:lnTo>
                    <a:lnTo>
                      <a:pt x="477" y="866"/>
                    </a:lnTo>
                    <a:lnTo>
                      <a:pt x="477" y="864"/>
                    </a:lnTo>
                    <a:lnTo>
                      <a:pt x="479" y="862"/>
                    </a:lnTo>
                    <a:lnTo>
                      <a:pt x="479" y="860"/>
                    </a:lnTo>
                    <a:lnTo>
                      <a:pt x="479" y="858"/>
                    </a:lnTo>
                    <a:lnTo>
                      <a:pt x="481" y="860"/>
                    </a:lnTo>
                    <a:lnTo>
                      <a:pt x="481" y="858"/>
                    </a:lnTo>
                    <a:lnTo>
                      <a:pt x="482" y="860"/>
                    </a:lnTo>
                    <a:lnTo>
                      <a:pt x="481" y="858"/>
                    </a:lnTo>
                    <a:lnTo>
                      <a:pt x="482" y="854"/>
                    </a:lnTo>
                    <a:lnTo>
                      <a:pt x="484" y="854"/>
                    </a:lnTo>
                    <a:lnTo>
                      <a:pt x="486" y="856"/>
                    </a:lnTo>
                    <a:lnTo>
                      <a:pt x="486" y="854"/>
                    </a:lnTo>
                    <a:lnTo>
                      <a:pt x="486" y="856"/>
                    </a:lnTo>
                    <a:lnTo>
                      <a:pt x="490" y="854"/>
                    </a:lnTo>
                    <a:lnTo>
                      <a:pt x="492" y="856"/>
                    </a:lnTo>
                    <a:lnTo>
                      <a:pt x="492" y="854"/>
                    </a:lnTo>
                    <a:lnTo>
                      <a:pt x="494" y="854"/>
                    </a:lnTo>
                    <a:lnTo>
                      <a:pt x="496" y="853"/>
                    </a:lnTo>
                    <a:lnTo>
                      <a:pt x="494" y="851"/>
                    </a:lnTo>
                    <a:lnTo>
                      <a:pt x="492" y="851"/>
                    </a:lnTo>
                    <a:lnTo>
                      <a:pt x="492" y="849"/>
                    </a:lnTo>
                    <a:lnTo>
                      <a:pt x="490" y="851"/>
                    </a:lnTo>
                    <a:lnTo>
                      <a:pt x="490" y="849"/>
                    </a:lnTo>
                    <a:lnTo>
                      <a:pt x="492" y="849"/>
                    </a:lnTo>
                    <a:lnTo>
                      <a:pt x="490" y="845"/>
                    </a:lnTo>
                    <a:lnTo>
                      <a:pt x="492" y="843"/>
                    </a:lnTo>
                    <a:lnTo>
                      <a:pt x="492" y="841"/>
                    </a:lnTo>
                    <a:lnTo>
                      <a:pt x="490" y="841"/>
                    </a:lnTo>
                    <a:lnTo>
                      <a:pt x="486" y="841"/>
                    </a:lnTo>
                    <a:lnTo>
                      <a:pt x="486" y="839"/>
                    </a:lnTo>
                    <a:lnTo>
                      <a:pt x="482" y="835"/>
                    </a:lnTo>
                    <a:lnTo>
                      <a:pt x="482" y="832"/>
                    </a:lnTo>
                    <a:lnTo>
                      <a:pt x="488" y="832"/>
                    </a:lnTo>
                    <a:lnTo>
                      <a:pt x="496" y="833"/>
                    </a:lnTo>
                    <a:lnTo>
                      <a:pt x="498" y="835"/>
                    </a:lnTo>
                    <a:lnTo>
                      <a:pt x="500" y="835"/>
                    </a:lnTo>
                    <a:lnTo>
                      <a:pt x="502" y="837"/>
                    </a:lnTo>
                    <a:lnTo>
                      <a:pt x="498" y="837"/>
                    </a:lnTo>
                    <a:lnTo>
                      <a:pt x="505" y="843"/>
                    </a:lnTo>
                    <a:lnTo>
                      <a:pt x="503" y="845"/>
                    </a:lnTo>
                    <a:lnTo>
                      <a:pt x="507" y="845"/>
                    </a:lnTo>
                    <a:lnTo>
                      <a:pt x="509" y="845"/>
                    </a:lnTo>
                    <a:lnTo>
                      <a:pt x="507" y="847"/>
                    </a:lnTo>
                    <a:lnTo>
                      <a:pt x="509" y="849"/>
                    </a:lnTo>
                    <a:lnTo>
                      <a:pt x="511" y="849"/>
                    </a:lnTo>
                    <a:lnTo>
                      <a:pt x="509" y="851"/>
                    </a:lnTo>
                    <a:lnTo>
                      <a:pt x="509" y="854"/>
                    </a:lnTo>
                    <a:lnTo>
                      <a:pt x="513" y="854"/>
                    </a:lnTo>
                    <a:lnTo>
                      <a:pt x="513" y="853"/>
                    </a:lnTo>
                    <a:lnTo>
                      <a:pt x="517" y="856"/>
                    </a:lnTo>
                    <a:lnTo>
                      <a:pt x="517" y="858"/>
                    </a:lnTo>
                    <a:lnTo>
                      <a:pt x="517" y="862"/>
                    </a:lnTo>
                    <a:lnTo>
                      <a:pt x="515" y="868"/>
                    </a:lnTo>
                    <a:lnTo>
                      <a:pt x="517" y="868"/>
                    </a:lnTo>
                    <a:lnTo>
                      <a:pt x="519" y="874"/>
                    </a:lnTo>
                    <a:lnTo>
                      <a:pt x="519" y="877"/>
                    </a:lnTo>
                    <a:lnTo>
                      <a:pt x="519" y="875"/>
                    </a:lnTo>
                    <a:lnTo>
                      <a:pt x="521" y="875"/>
                    </a:lnTo>
                    <a:lnTo>
                      <a:pt x="519" y="877"/>
                    </a:lnTo>
                    <a:lnTo>
                      <a:pt x="521" y="877"/>
                    </a:lnTo>
                    <a:lnTo>
                      <a:pt x="519" y="883"/>
                    </a:lnTo>
                    <a:lnTo>
                      <a:pt x="523" y="885"/>
                    </a:lnTo>
                    <a:lnTo>
                      <a:pt x="521" y="887"/>
                    </a:lnTo>
                    <a:lnTo>
                      <a:pt x="523" y="887"/>
                    </a:lnTo>
                    <a:lnTo>
                      <a:pt x="521" y="887"/>
                    </a:lnTo>
                    <a:lnTo>
                      <a:pt x="523" y="887"/>
                    </a:lnTo>
                    <a:lnTo>
                      <a:pt x="523" y="885"/>
                    </a:lnTo>
                    <a:lnTo>
                      <a:pt x="524" y="887"/>
                    </a:lnTo>
                    <a:lnTo>
                      <a:pt x="523" y="887"/>
                    </a:lnTo>
                    <a:lnTo>
                      <a:pt x="523" y="889"/>
                    </a:lnTo>
                    <a:lnTo>
                      <a:pt x="521" y="891"/>
                    </a:lnTo>
                    <a:lnTo>
                      <a:pt x="523" y="893"/>
                    </a:lnTo>
                    <a:lnTo>
                      <a:pt x="521" y="895"/>
                    </a:lnTo>
                    <a:lnTo>
                      <a:pt x="523" y="895"/>
                    </a:lnTo>
                    <a:lnTo>
                      <a:pt x="523" y="896"/>
                    </a:lnTo>
                    <a:lnTo>
                      <a:pt x="524" y="896"/>
                    </a:lnTo>
                    <a:lnTo>
                      <a:pt x="523" y="898"/>
                    </a:lnTo>
                    <a:lnTo>
                      <a:pt x="524" y="898"/>
                    </a:lnTo>
                    <a:lnTo>
                      <a:pt x="526" y="898"/>
                    </a:lnTo>
                    <a:lnTo>
                      <a:pt x="526" y="900"/>
                    </a:lnTo>
                    <a:lnTo>
                      <a:pt x="526" y="902"/>
                    </a:lnTo>
                    <a:lnTo>
                      <a:pt x="528" y="902"/>
                    </a:lnTo>
                    <a:lnTo>
                      <a:pt x="528" y="904"/>
                    </a:lnTo>
                    <a:lnTo>
                      <a:pt x="530" y="904"/>
                    </a:lnTo>
                    <a:lnTo>
                      <a:pt x="528" y="900"/>
                    </a:lnTo>
                    <a:lnTo>
                      <a:pt x="528" y="898"/>
                    </a:lnTo>
                    <a:lnTo>
                      <a:pt x="530" y="898"/>
                    </a:lnTo>
                    <a:lnTo>
                      <a:pt x="532" y="900"/>
                    </a:lnTo>
                    <a:lnTo>
                      <a:pt x="532" y="896"/>
                    </a:lnTo>
                    <a:lnTo>
                      <a:pt x="534" y="895"/>
                    </a:lnTo>
                    <a:lnTo>
                      <a:pt x="538" y="895"/>
                    </a:lnTo>
                    <a:lnTo>
                      <a:pt x="538" y="893"/>
                    </a:lnTo>
                    <a:lnTo>
                      <a:pt x="534" y="891"/>
                    </a:lnTo>
                    <a:lnTo>
                      <a:pt x="538" y="891"/>
                    </a:lnTo>
                    <a:lnTo>
                      <a:pt x="538" y="889"/>
                    </a:lnTo>
                    <a:lnTo>
                      <a:pt x="538" y="887"/>
                    </a:lnTo>
                    <a:lnTo>
                      <a:pt x="538" y="889"/>
                    </a:lnTo>
                    <a:lnTo>
                      <a:pt x="538" y="887"/>
                    </a:lnTo>
                    <a:lnTo>
                      <a:pt x="536" y="887"/>
                    </a:lnTo>
                    <a:lnTo>
                      <a:pt x="536" y="885"/>
                    </a:lnTo>
                    <a:lnTo>
                      <a:pt x="532" y="883"/>
                    </a:lnTo>
                    <a:lnTo>
                      <a:pt x="532" y="881"/>
                    </a:lnTo>
                    <a:lnTo>
                      <a:pt x="532" y="879"/>
                    </a:lnTo>
                    <a:lnTo>
                      <a:pt x="532" y="877"/>
                    </a:lnTo>
                    <a:lnTo>
                      <a:pt x="530" y="877"/>
                    </a:lnTo>
                    <a:lnTo>
                      <a:pt x="530" y="870"/>
                    </a:lnTo>
                    <a:lnTo>
                      <a:pt x="528" y="868"/>
                    </a:lnTo>
                    <a:lnTo>
                      <a:pt x="530" y="868"/>
                    </a:lnTo>
                    <a:lnTo>
                      <a:pt x="530" y="870"/>
                    </a:lnTo>
                    <a:lnTo>
                      <a:pt x="530" y="868"/>
                    </a:lnTo>
                    <a:lnTo>
                      <a:pt x="530" y="866"/>
                    </a:lnTo>
                    <a:lnTo>
                      <a:pt x="528" y="866"/>
                    </a:lnTo>
                    <a:lnTo>
                      <a:pt x="528" y="864"/>
                    </a:lnTo>
                    <a:lnTo>
                      <a:pt x="530" y="866"/>
                    </a:lnTo>
                    <a:lnTo>
                      <a:pt x="530" y="864"/>
                    </a:lnTo>
                    <a:lnTo>
                      <a:pt x="528" y="862"/>
                    </a:lnTo>
                    <a:lnTo>
                      <a:pt x="530" y="862"/>
                    </a:lnTo>
                    <a:lnTo>
                      <a:pt x="530" y="860"/>
                    </a:lnTo>
                    <a:lnTo>
                      <a:pt x="528" y="860"/>
                    </a:lnTo>
                    <a:lnTo>
                      <a:pt x="526" y="858"/>
                    </a:lnTo>
                    <a:lnTo>
                      <a:pt x="526" y="856"/>
                    </a:lnTo>
                    <a:lnTo>
                      <a:pt x="528" y="856"/>
                    </a:lnTo>
                    <a:lnTo>
                      <a:pt x="528" y="854"/>
                    </a:lnTo>
                    <a:lnTo>
                      <a:pt x="526" y="851"/>
                    </a:lnTo>
                    <a:lnTo>
                      <a:pt x="526" y="845"/>
                    </a:lnTo>
                    <a:lnTo>
                      <a:pt x="526" y="843"/>
                    </a:lnTo>
                    <a:lnTo>
                      <a:pt x="524" y="837"/>
                    </a:lnTo>
                    <a:lnTo>
                      <a:pt x="524" y="833"/>
                    </a:lnTo>
                    <a:lnTo>
                      <a:pt x="524" y="832"/>
                    </a:lnTo>
                    <a:lnTo>
                      <a:pt x="523" y="830"/>
                    </a:lnTo>
                    <a:lnTo>
                      <a:pt x="524" y="828"/>
                    </a:lnTo>
                    <a:lnTo>
                      <a:pt x="523" y="828"/>
                    </a:lnTo>
                    <a:lnTo>
                      <a:pt x="523" y="824"/>
                    </a:lnTo>
                    <a:lnTo>
                      <a:pt x="523" y="822"/>
                    </a:lnTo>
                    <a:lnTo>
                      <a:pt x="524" y="820"/>
                    </a:lnTo>
                    <a:lnTo>
                      <a:pt x="526" y="820"/>
                    </a:lnTo>
                    <a:lnTo>
                      <a:pt x="528" y="820"/>
                    </a:lnTo>
                    <a:lnTo>
                      <a:pt x="524" y="818"/>
                    </a:lnTo>
                    <a:lnTo>
                      <a:pt x="524" y="814"/>
                    </a:lnTo>
                    <a:lnTo>
                      <a:pt x="526" y="814"/>
                    </a:lnTo>
                    <a:lnTo>
                      <a:pt x="524" y="812"/>
                    </a:lnTo>
                    <a:lnTo>
                      <a:pt x="526" y="812"/>
                    </a:lnTo>
                    <a:lnTo>
                      <a:pt x="532" y="814"/>
                    </a:lnTo>
                    <a:lnTo>
                      <a:pt x="536" y="816"/>
                    </a:lnTo>
                    <a:lnTo>
                      <a:pt x="540" y="820"/>
                    </a:lnTo>
                    <a:lnTo>
                      <a:pt x="542" y="822"/>
                    </a:lnTo>
                    <a:lnTo>
                      <a:pt x="543" y="822"/>
                    </a:lnTo>
                    <a:lnTo>
                      <a:pt x="542" y="822"/>
                    </a:lnTo>
                    <a:lnTo>
                      <a:pt x="543" y="822"/>
                    </a:lnTo>
                    <a:lnTo>
                      <a:pt x="540" y="818"/>
                    </a:lnTo>
                    <a:lnTo>
                      <a:pt x="542" y="818"/>
                    </a:lnTo>
                    <a:lnTo>
                      <a:pt x="542" y="816"/>
                    </a:lnTo>
                    <a:lnTo>
                      <a:pt x="542" y="814"/>
                    </a:lnTo>
                    <a:lnTo>
                      <a:pt x="543" y="814"/>
                    </a:lnTo>
                    <a:lnTo>
                      <a:pt x="547" y="816"/>
                    </a:lnTo>
                    <a:lnTo>
                      <a:pt x="547" y="818"/>
                    </a:lnTo>
                    <a:lnTo>
                      <a:pt x="549" y="820"/>
                    </a:lnTo>
                    <a:lnTo>
                      <a:pt x="549" y="818"/>
                    </a:lnTo>
                    <a:lnTo>
                      <a:pt x="551" y="818"/>
                    </a:lnTo>
                    <a:lnTo>
                      <a:pt x="551" y="820"/>
                    </a:lnTo>
                    <a:lnTo>
                      <a:pt x="551" y="822"/>
                    </a:lnTo>
                    <a:lnTo>
                      <a:pt x="555" y="826"/>
                    </a:lnTo>
                    <a:lnTo>
                      <a:pt x="555" y="828"/>
                    </a:lnTo>
                    <a:lnTo>
                      <a:pt x="557" y="828"/>
                    </a:lnTo>
                    <a:lnTo>
                      <a:pt x="557" y="830"/>
                    </a:lnTo>
                    <a:lnTo>
                      <a:pt x="557" y="828"/>
                    </a:lnTo>
                    <a:lnTo>
                      <a:pt x="559" y="830"/>
                    </a:lnTo>
                    <a:lnTo>
                      <a:pt x="557" y="828"/>
                    </a:lnTo>
                    <a:lnTo>
                      <a:pt x="559" y="830"/>
                    </a:lnTo>
                    <a:lnTo>
                      <a:pt x="559" y="828"/>
                    </a:lnTo>
                    <a:lnTo>
                      <a:pt x="559" y="830"/>
                    </a:lnTo>
                    <a:lnTo>
                      <a:pt x="559" y="828"/>
                    </a:lnTo>
                    <a:lnTo>
                      <a:pt x="561" y="830"/>
                    </a:lnTo>
                    <a:lnTo>
                      <a:pt x="561" y="832"/>
                    </a:lnTo>
                    <a:lnTo>
                      <a:pt x="561" y="830"/>
                    </a:lnTo>
                    <a:lnTo>
                      <a:pt x="561" y="832"/>
                    </a:lnTo>
                    <a:lnTo>
                      <a:pt x="563" y="835"/>
                    </a:lnTo>
                    <a:lnTo>
                      <a:pt x="564" y="833"/>
                    </a:lnTo>
                    <a:lnTo>
                      <a:pt x="564" y="835"/>
                    </a:lnTo>
                    <a:lnTo>
                      <a:pt x="566" y="837"/>
                    </a:lnTo>
                    <a:lnTo>
                      <a:pt x="564" y="835"/>
                    </a:lnTo>
                    <a:lnTo>
                      <a:pt x="566" y="835"/>
                    </a:lnTo>
                    <a:lnTo>
                      <a:pt x="568" y="839"/>
                    </a:lnTo>
                    <a:lnTo>
                      <a:pt x="568" y="841"/>
                    </a:lnTo>
                    <a:lnTo>
                      <a:pt x="566" y="839"/>
                    </a:lnTo>
                    <a:lnTo>
                      <a:pt x="566" y="837"/>
                    </a:lnTo>
                    <a:lnTo>
                      <a:pt x="566" y="839"/>
                    </a:lnTo>
                    <a:lnTo>
                      <a:pt x="564" y="839"/>
                    </a:lnTo>
                    <a:lnTo>
                      <a:pt x="568" y="841"/>
                    </a:lnTo>
                    <a:lnTo>
                      <a:pt x="568" y="843"/>
                    </a:lnTo>
                    <a:lnTo>
                      <a:pt x="568" y="847"/>
                    </a:lnTo>
                    <a:lnTo>
                      <a:pt x="568" y="845"/>
                    </a:lnTo>
                    <a:lnTo>
                      <a:pt x="566" y="843"/>
                    </a:lnTo>
                    <a:lnTo>
                      <a:pt x="566" y="841"/>
                    </a:lnTo>
                    <a:lnTo>
                      <a:pt x="566" y="843"/>
                    </a:lnTo>
                    <a:lnTo>
                      <a:pt x="568" y="847"/>
                    </a:lnTo>
                    <a:lnTo>
                      <a:pt x="566" y="847"/>
                    </a:lnTo>
                    <a:lnTo>
                      <a:pt x="568" y="849"/>
                    </a:lnTo>
                    <a:lnTo>
                      <a:pt x="568" y="851"/>
                    </a:lnTo>
                    <a:lnTo>
                      <a:pt x="568" y="849"/>
                    </a:lnTo>
                    <a:lnTo>
                      <a:pt x="570" y="851"/>
                    </a:lnTo>
                    <a:lnTo>
                      <a:pt x="568" y="851"/>
                    </a:lnTo>
                    <a:lnTo>
                      <a:pt x="568" y="853"/>
                    </a:lnTo>
                    <a:lnTo>
                      <a:pt x="568" y="854"/>
                    </a:lnTo>
                    <a:lnTo>
                      <a:pt x="570" y="856"/>
                    </a:lnTo>
                    <a:lnTo>
                      <a:pt x="570" y="858"/>
                    </a:lnTo>
                    <a:lnTo>
                      <a:pt x="570" y="860"/>
                    </a:lnTo>
                    <a:lnTo>
                      <a:pt x="568" y="860"/>
                    </a:lnTo>
                    <a:lnTo>
                      <a:pt x="574" y="874"/>
                    </a:lnTo>
                    <a:lnTo>
                      <a:pt x="574" y="881"/>
                    </a:lnTo>
                    <a:lnTo>
                      <a:pt x="576" y="883"/>
                    </a:lnTo>
                    <a:lnTo>
                      <a:pt x="576" y="885"/>
                    </a:lnTo>
                    <a:lnTo>
                      <a:pt x="578" y="887"/>
                    </a:lnTo>
                    <a:lnTo>
                      <a:pt x="576" y="889"/>
                    </a:lnTo>
                    <a:lnTo>
                      <a:pt x="576" y="887"/>
                    </a:lnTo>
                    <a:lnTo>
                      <a:pt x="576" y="889"/>
                    </a:lnTo>
                    <a:lnTo>
                      <a:pt x="578" y="891"/>
                    </a:lnTo>
                    <a:lnTo>
                      <a:pt x="580" y="893"/>
                    </a:lnTo>
                    <a:lnTo>
                      <a:pt x="580" y="895"/>
                    </a:lnTo>
                    <a:lnTo>
                      <a:pt x="582" y="896"/>
                    </a:lnTo>
                    <a:lnTo>
                      <a:pt x="582" y="898"/>
                    </a:lnTo>
                    <a:lnTo>
                      <a:pt x="582" y="900"/>
                    </a:lnTo>
                    <a:lnTo>
                      <a:pt x="584" y="900"/>
                    </a:lnTo>
                    <a:lnTo>
                      <a:pt x="584" y="902"/>
                    </a:lnTo>
                    <a:lnTo>
                      <a:pt x="585" y="904"/>
                    </a:lnTo>
                    <a:lnTo>
                      <a:pt x="584" y="910"/>
                    </a:lnTo>
                    <a:lnTo>
                      <a:pt x="585" y="912"/>
                    </a:lnTo>
                    <a:lnTo>
                      <a:pt x="584" y="914"/>
                    </a:lnTo>
                    <a:lnTo>
                      <a:pt x="585" y="917"/>
                    </a:lnTo>
                    <a:lnTo>
                      <a:pt x="584" y="916"/>
                    </a:lnTo>
                    <a:lnTo>
                      <a:pt x="582" y="917"/>
                    </a:lnTo>
                    <a:lnTo>
                      <a:pt x="582" y="919"/>
                    </a:lnTo>
                    <a:lnTo>
                      <a:pt x="584" y="921"/>
                    </a:lnTo>
                    <a:lnTo>
                      <a:pt x="582" y="925"/>
                    </a:lnTo>
                    <a:lnTo>
                      <a:pt x="584" y="925"/>
                    </a:lnTo>
                    <a:lnTo>
                      <a:pt x="582" y="925"/>
                    </a:lnTo>
                    <a:lnTo>
                      <a:pt x="580" y="929"/>
                    </a:lnTo>
                    <a:lnTo>
                      <a:pt x="582" y="933"/>
                    </a:lnTo>
                    <a:lnTo>
                      <a:pt x="584" y="935"/>
                    </a:lnTo>
                    <a:lnTo>
                      <a:pt x="585" y="935"/>
                    </a:lnTo>
                    <a:lnTo>
                      <a:pt x="585" y="937"/>
                    </a:lnTo>
                    <a:lnTo>
                      <a:pt x="587" y="937"/>
                    </a:lnTo>
                    <a:lnTo>
                      <a:pt x="587" y="938"/>
                    </a:lnTo>
                    <a:lnTo>
                      <a:pt x="589" y="938"/>
                    </a:lnTo>
                    <a:lnTo>
                      <a:pt x="589" y="946"/>
                    </a:lnTo>
                    <a:lnTo>
                      <a:pt x="591" y="946"/>
                    </a:lnTo>
                    <a:lnTo>
                      <a:pt x="593" y="948"/>
                    </a:lnTo>
                    <a:lnTo>
                      <a:pt x="595" y="950"/>
                    </a:lnTo>
                    <a:lnTo>
                      <a:pt x="595" y="952"/>
                    </a:lnTo>
                    <a:lnTo>
                      <a:pt x="597" y="954"/>
                    </a:lnTo>
                    <a:lnTo>
                      <a:pt x="599" y="954"/>
                    </a:lnTo>
                    <a:lnTo>
                      <a:pt x="601" y="954"/>
                    </a:lnTo>
                    <a:lnTo>
                      <a:pt x="605" y="958"/>
                    </a:lnTo>
                    <a:lnTo>
                      <a:pt x="606" y="959"/>
                    </a:lnTo>
                    <a:lnTo>
                      <a:pt x="606" y="958"/>
                    </a:lnTo>
                    <a:lnTo>
                      <a:pt x="605" y="956"/>
                    </a:lnTo>
                    <a:lnTo>
                      <a:pt x="605" y="954"/>
                    </a:lnTo>
                    <a:lnTo>
                      <a:pt x="603" y="950"/>
                    </a:lnTo>
                    <a:lnTo>
                      <a:pt x="605" y="950"/>
                    </a:lnTo>
                    <a:lnTo>
                      <a:pt x="606" y="954"/>
                    </a:lnTo>
                    <a:lnTo>
                      <a:pt x="608" y="954"/>
                    </a:lnTo>
                    <a:lnTo>
                      <a:pt x="608" y="958"/>
                    </a:lnTo>
                    <a:lnTo>
                      <a:pt x="610" y="958"/>
                    </a:lnTo>
                    <a:lnTo>
                      <a:pt x="612" y="959"/>
                    </a:lnTo>
                    <a:lnTo>
                      <a:pt x="614" y="959"/>
                    </a:lnTo>
                    <a:lnTo>
                      <a:pt x="614" y="961"/>
                    </a:lnTo>
                    <a:lnTo>
                      <a:pt x="616" y="963"/>
                    </a:lnTo>
                    <a:lnTo>
                      <a:pt x="618" y="963"/>
                    </a:lnTo>
                    <a:lnTo>
                      <a:pt x="618" y="965"/>
                    </a:lnTo>
                    <a:lnTo>
                      <a:pt x="618" y="967"/>
                    </a:lnTo>
                    <a:lnTo>
                      <a:pt x="620" y="967"/>
                    </a:lnTo>
                    <a:lnTo>
                      <a:pt x="620" y="965"/>
                    </a:lnTo>
                    <a:lnTo>
                      <a:pt x="620" y="967"/>
                    </a:lnTo>
                    <a:lnTo>
                      <a:pt x="622" y="969"/>
                    </a:lnTo>
                    <a:lnTo>
                      <a:pt x="622" y="967"/>
                    </a:lnTo>
                    <a:lnTo>
                      <a:pt x="624" y="971"/>
                    </a:lnTo>
                    <a:lnTo>
                      <a:pt x="624" y="969"/>
                    </a:lnTo>
                    <a:lnTo>
                      <a:pt x="624" y="971"/>
                    </a:lnTo>
                    <a:lnTo>
                      <a:pt x="625" y="969"/>
                    </a:lnTo>
                    <a:lnTo>
                      <a:pt x="624" y="969"/>
                    </a:lnTo>
                    <a:lnTo>
                      <a:pt x="625" y="969"/>
                    </a:lnTo>
                    <a:lnTo>
                      <a:pt x="625" y="967"/>
                    </a:lnTo>
                    <a:lnTo>
                      <a:pt x="629" y="969"/>
                    </a:lnTo>
                    <a:lnTo>
                      <a:pt x="627" y="971"/>
                    </a:lnTo>
                    <a:lnTo>
                      <a:pt x="627" y="975"/>
                    </a:lnTo>
                    <a:lnTo>
                      <a:pt x="629" y="975"/>
                    </a:lnTo>
                    <a:lnTo>
                      <a:pt x="629" y="977"/>
                    </a:lnTo>
                    <a:lnTo>
                      <a:pt x="631" y="977"/>
                    </a:lnTo>
                    <a:lnTo>
                      <a:pt x="629" y="975"/>
                    </a:lnTo>
                    <a:lnTo>
                      <a:pt x="631" y="977"/>
                    </a:lnTo>
                    <a:lnTo>
                      <a:pt x="631" y="975"/>
                    </a:lnTo>
                    <a:lnTo>
                      <a:pt x="631" y="973"/>
                    </a:lnTo>
                    <a:lnTo>
                      <a:pt x="633" y="975"/>
                    </a:lnTo>
                    <a:lnTo>
                      <a:pt x="631" y="973"/>
                    </a:lnTo>
                    <a:lnTo>
                      <a:pt x="633" y="975"/>
                    </a:lnTo>
                    <a:lnTo>
                      <a:pt x="635" y="977"/>
                    </a:lnTo>
                    <a:lnTo>
                      <a:pt x="633" y="975"/>
                    </a:lnTo>
                    <a:lnTo>
                      <a:pt x="635" y="975"/>
                    </a:lnTo>
                    <a:lnTo>
                      <a:pt x="635" y="973"/>
                    </a:lnTo>
                    <a:lnTo>
                      <a:pt x="637" y="973"/>
                    </a:lnTo>
                    <a:lnTo>
                      <a:pt x="637" y="977"/>
                    </a:lnTo>
                    <a:lnTo>
                      <a:pt x="637" y="978"/>
                    </a:lnTo>
                    <a:lnTo>
                      <a:pt x="639" y="978"/>
                    </a:lnTo>
                    <a:lnTo>
                      <a:pt x="639" y="980"/>
                    </a:lnTo>
                    <a:lnTo>
                      <a:pt x="639" y="982"/>
                    </a:lnTo>
                    <a:lnTo>
                      <a:pt x="639" y="984"/>
                    </a:lnTo>
                    <a:lnTo>
                      <a:pt x="639" y="986"/>
                    </a:lnTo>
                    <a:lnTo>
                      <a:pt x="639" y="984"/>
                    </a:lnTo>
                    <a:lnTo>
                      <a:pt x="639" y="988"/>
                    </a:lnTo>
                    <a:lnTo>
                      <a:pt x="639" y="992"/>
                    </a:lnTo>
                    <a:lnTo>
                      <a:pt x="639" y="994"/>
                    </a:lnTo>
                    <a:lnTo>
                      <a:pt x="639" y="996"/>
                    </a:lnTo>
                    <a:lnTo>
                      <a:pt x="639" y="998"/>
                    </a:lnTo>
                    <a:lnTo>
                      <a:pt x="637" y="996"/>
                    </a:lnTo>
                    <a:lnTo>
                      <a:pt x="637" y="998"/>
                    </a:lnTo>
                    <a:lnTo>
                      <a:pt x="635" y="996"/>
                    </a:lnTo>
                    <a:lnTo>
                      <a:pt x="635" y="998"/>
                    </a:lnTo>
                    <a:lnTo>
                      <a:pt x="633" y="998"/>
                    </a:lnTo>
                    <a:lnTo>
                      <a:pt x="633" y="996"/>
                    </a:lnTo>
                    <a:lnTo>
                      <a:pt x="631" y="992"/>
                    </a:lnTo>
                    <a:lnTo>
                      <a:pt x="629" y="988"/>
                    </a:lnTo>
                    <a:lnTo>
                      <a:pt x="631" y="988"/>
                    </a:lnTo>
                    <a:lnTo>
                      <a:pt x="631" y="984"/>
                    </a:lnTo>
                    <a:lnTo>
                      <a:pt x="631" y="986"/>
                    </a:lnTo>
                    <a:lnTo>
                      <a:pt x="629" y="990"/>
                    </a:lnTo>
                    <a:lnTo>
                      <a:pt x="627" y="996"/>
                    </a:lnTo>
                    <a:lnTo>
                      <a:pt x="627" y="998"/>
                    </a:lnTo>
                    <a:lnTo>
                      <a:pt x="627" y="996"/>
                    </a:lnTo>
                    <a:lnTo>
                      <a:pt x="625" y="996"/>
                    </a:lnTo>
                    <a:lnTo>
                      <a:pt x="624" y="994"/>
                    </a:lnTo>
                    <a:lnTo>
                      <a:pt x="622" y="994"/>
                    </a:lnTo>
                    <a:lnTo>
                      <a:pt x="622" y="988"/>
                    </a:lnTo>
                    <a:lnTo>
                      <a:pt x="620" y="984"/>
                    </a:lnTo>
                    <a:lnTo>
                      <a:pt x="622" y="990"/>
                    </a:lnTo>
                    <a:lnTo>
                      <a:pt x="620" y="988"/>
                    </a:lnTo>
                    <a:lnTo>
                      <a:pt x="620" y="990"/>
                    </a:lnTo>
                    <a:lnTo>
                      <a:pt x="618" y="986"/>
                    </a:lnTo>
                    <a:lnTo>
                      <a:pt x="618" y="990"/>
                    </a:lnTo>
                    <a:lnTo>
                      <a:pt x="616" y="990"/>
                    </a:lnTo>
                    <a:lnTo>
                      <a:pt x="618" y="992"/>
                    </a:lnTo>
                    <a:lnTo>
                      <a:pt x="616" y="992"/>
                    </a:lnTo>
                    <a:lnTo>
                      <a:pt x="616" y="994"/>
                    </a:lnTo>
                    <a:lnTo>
                      <a:pt x="616" y="992"/>
                    </a:lnTo>
                    <a:lnTo>
                      <a:pt x="616" y="990"/>
                    </a:lnTo>
                    <a:lnTo>
                      <a:pt x="616" y="992"/>
                    </a:lnTo>
                    <a:lnTo>
                      <a:pt x="614" y="992"/>
                    </a:lnTo>
                    <a:lnTo>
                      <a:pt x="614" y="994"/>
                    </a:lnTo>
                    <a:lnTo>
                      <a:pt x="612" y="994"/>
                    </a:lnTo>
                    <a:lnTo>
                      <a:pt x="610" y="992"/>
                    </a:lnTo>
                    <a:lnTo>
                      <a:pt x="610" y="994"/>
                    </a:lnTo>
                    <a:lnTo>
                      <a:pt x="612" y="996"/>
                    </a:lnTo>
                    <a:lnTo>
                      <a:pt x="614" y="996"/>
                    </a:lnTo>
                    <a:lnTo>
                      <a:pt x="614" y="1001"/>
                    </a:lnTo>
                    <a:lnTo>
                      <a:pt x="612" y="1003"/>
                    </a:lnTo>
                    <a:lnTo>
                      <a:pt x="610" y="1003"/>
                    </a:lnTo>
                    <a:lnTo>
                      <a:pt x="608" y="1003"/>
                    </a:lnTo>
                    <a:lnTo>
                      <a:pt x="608" y="1001"/>
                    </a:lnTo>
                    <a:lnTo>
                      <a:pt x="606" y="1003"/>
                    </a:lnTo>
                    <a:lnTo>
                      <a:pt x="606" y="1001"/>
                    </a:lnTo>
                    <a:lnTo>
                      <a:pt x="603" y="998"/>
                    </a:lnTo>
                    <a:lnTo>
                      <a:pt x="601" y="996"/>
                    </a:lnTo>
                    <a:lnTo>
                      <a:pt x="601" y="998"/>
                    </a:lnTo>
                    <a:lnTo>
                      <a:pt x="599" y="996"/>
                    </a:lnTo>
                    <a:lnTo>
                      <a:pt x="597" y="996"/>
                    </a:lnTo>
                    <a:lnTo>
                      <a:pt x="597" y="998"/>
                    </a:lnTo>
                    <a:lnTo>
                      <a:pt x="597" y="996"/>
                    </a:lnTo>
                    <a:lnTo>
                      <a:pt x="595" y="996"/>
                    </a:lnTo>
                    <a:lnTo>
                      <a:pt x="597" y="996"/>
                    </a:lnTo>
                    <a:lnTo>
                      <a:pt x="597" y="998"/>
                    </a:lnTo>
                    <a:lnTo>
                      <a:pt x="599" y="998"/>
                    </a:lnTo>
                    <a:lnTo>
                      <a:pt x="599" y="996"/>
                    </a:lnTo>
                    <a:lnTo>
                      <a:pt x="599" y="998"/>
                    </a:lnTo>
                    <a:lnTo>
                      <a:pt x="597" y="999"/>
                    </a:lnTo>
                    <a:lnTo>
                      <a:pt x="599" y="999"/>
                    </a:lnTo>
                    <a:lnTo>
                      <a:pt x="601" y="1001"/>
                    </a:lnTo>
                    <a:lnTo>
                      <a:pt x="603" y="1001"/>
                    </a:lnTo>
                    <a:lnTo>
                      <a:pt x="603" y="1005"/>
                    </a:lnTo>
                    <a:lnTo>
                      <a:pt x="603" y="1009"/>
                    </a:lnTo>
                    <a:lnTo>
                      <a:pt x="605" y="1003"/>
                    </a:lnTo>
                    <a:lnTo>
                      <a:pt x="605" y="1005"/>
                    </a:lnTo>
                    <a:lnTo>
                      <a:pt x="606" y="1009"/>
                    </a:lnTo>
                    <a:lnTo>
                      <a:pt x="605" y="1011"/>
                    </a:lnTo>
                    <a:lnTo>
                      <a:pt x="605" y="1017"/>
                    </a:lnTo>
                    <a:lnTo>
                      <a:pt x="603" y="1019"/>
                    </a:lnTo>
                    <a:lnTo>
                      <a:pt x="603" y="1020"/>
                    </a:lnTo>
                    <a:lnTo>
                      <a:pt x="603" y="1022"/>
                    </a:lnTo>
                    <a:lnTo>
                      <a:pt x="603" y="1020"/>
                    </a:lnTo>
                    <a:lnTo>
                      <a:pt x="606" y="1017"/>
                    </a:lnTo>
                    <a:lnTo>
                      <a:pt x="606" y="1015"/>
                    </a:lnTo>
                    <a:lnTo>
                      <a:pt x="608" y="1013"/>
                    </a:lnTo>
                    <a:lnTo>
                      <a:pt x="608" y="1011"/>
                    </a:lnTo>
                    <a:lnTo>
                      <a:pt x="608" y="1009"/>
                    </a:lnTo>
                    <a:lnTo>
                      <a:pt x="610" y="1011"/>
                    </a:lnTo>
                    <a:lnTo>
                      <a:pt x="612" y="1009"/>
                    </a:lnTo>
                    <a:lnTo>
                      <a:pt x="614" y="1009"/>
                    </a:lnTo>
                    <a:lnTo>
                      <a:pt x="614" y="1005"/>
                    </a:lnTo>
                    <a:lnTo>
                      <a:pt x="616" y="1005"/>
                    </a:lnTo>
                    <a:lnTo>
                      <a:pt x="616" y="1007"/>
                    </a:lnTo>
                    <a:lnTo>
                      <a:pt x="616" y="1005"/>
                    </a:lnTo>
                    <a:lnTo>
                      <a:pt x="620" y="1005"/>
                    </a:lnTo>
                    <a:lnTo>
                      <a:pt x="622" y="1007"/>
                    </a:lnTo>
                    <a:lnTo>
                      <a:pt x="624" y="1009"/>
                    </a:lnTo>
                    <a:lnTo>
                      <a:pt x="622" y="1011"/>
                    </a:lnTo>
                    <a:lnTo>
                      <a:pt x="622" y="1013"/>
                    </a:lnTo>
                    <a:lnTo>
                      <a:pt x="620" y="1011"/>
                    </a:lnTo>
                    <a:lnTo>
                      <a:pt x="620" y="1013"/>
                    </a:lnTo>
                    <a:lnTo>
                      <a:pt x="620" y="1011"/>
                    </a:lnTo>
                    <a:lnTo>
                      <a:pt x="620" y="1013"/>
                    </a:lnTo>
                    <a:lnTo>
                      <a:pt x="620" y="1011"/>
                    </a:lnTo>
                    <a:lnTo>
                      <a:pt x="620" y="1013"/>
                    </a:lnTo>
                    <a:lnTo>
                      <a:pt x="622" y="1013"/>
                    </a:lnTo>
                    <a:lnTo>
                      <a:pt x="622" y="1015"/>
                    </a:lnTo>
                    <a:lnTo>
                      <a:pt x="620" y="1017"/>
                    </a:lnTo>
                    <a:lnTo>
                      <a:pt x="622" y="1017"/>
                    </a:lnTo>
                    <a:lnTo>
                      <a:pt x="620" y="1017"/>
                    </a:lnTo>
                    <a:lnTo>
                      <a:pt x="620" y="1015"/>
                    </a:lnTo>
                    <a:lnTo>
                      <a:pt x="618" y="1015"/>
                    </a:lnTo>
                    <a:lnTo>
                      <a:pt x="618" y="1017"/>
                    </a:lnTo>
                    <a:lnTo>
                      <a:pt x="618" y="1019"/>
                    </a:lnTo>
                    <a:lnTo>
                      <a:pt x="618" y="1017"/>
                    </a:lnTo>
                    <a:lnTo>
                      <a:pt x="620" y="1019"/>
                    </a:lnTo>
                    <a:lnTo>
                      <a:pt x="622" y="1017"/>
                    </a:lnTo>
                    <a:lnTo>
                      <a:pt x="624" y="1015"/>
                    </a:lnTo>
                    <a:lnTo>
                      <a:pt x="624" y="1017"/>
                    </a:lnTo>
                    <a:lnTo>
                      <a:pt x="625" y="1019"/>
                    </a:lnTo>
                    <a:lnTo>
                      <a:pt x="625" y="1020"/>
                    </a:lnTo>
                    <a:lnTo>
                      <a:pt x="625" y="1024"/>
                    </a:lnTo>
                    <a:lnTo>
                      <a:pt x="624" y="1024"/>
                    </a:lnTo>
                    <a:lnTo>
                      <a:pt x="625" y="1028"/>
                    </a:lnTo>
                    <a:lnTo>
                      <a:pt x="622" y="1028"/>
                    </a:lnTo>
                    <a:lnTo>
                      <a:pt x="620" y="1028"/>
                    </a:lnTo>
                    <a:lnTo>
                      <a:pt x="620" y="1030"/>
                    </a:lnTo>
                    <a:lnTo>
                      <a:pt x="618" y="1030"/>
                    </a:lnTo>
                    <a:lnTo>
                      <a:pt x="616" y="1030"/>
                    </a:lnTo>
                    <a:lnTo>
                      <a:pt x="614" y="1030"/>
                    </a:lnTo>
                    <a:lnTo>
                      <a:pt x="616" y="1030"/>
                    </a:lnTo>
                    <a:lnTo>
                      <a:pt x="614" y="1032"/>
                    </a:lnTo>
                    <a:lnTo>
                      <a:pt x="614" y="1034"/>
                    </a:lnTo>
                    <a:lnTo>
                      <a:pt x="612" y="1034"/>
                    </a:lnTo>
                    <a:lnTo>
                      <a:pt x="610" y="1032"/>
                    </a:lnTo>
                    <a:lnTo>
                      <a:pt x="608" y="1034"/>
                    </a:lnTo>
                    <a:lnTo>
                      <a:pt x="610" y="1034"/>
                    </a:lnTo>
                    <a:lnTo>
                      <a:pt x="608" y="1036"/>
                    </a:lnTo>
                    <a:lnTo>
                      <a:pt x="608" y="1034"/>
                    </a:lnTo>
                    <a:lnTo>
                      <a:pt x="608" y="1036"/>
                    </a:lnTo>
                    <a:lnTo>
                      <a:pt x="608" y="1034"/>
                    </a:lnTo>
                    <a:lnTo>
                      <a:pt x="606" y="1036"/>
                    </a:lnTo>
                    <a:lnTo>
                      <a:pt x="605" y="1036"/>
                    </a:lnTo>
                    <a:lnTo>
                      <a:pt x="603" y="1034"/>
                    </a:lnTo>
                    <a:lnTo>
                      <a:pt x="601" y="1036"/>
                    </a:lnTo>
                    <a:lnTo>
                      <a:pt x="599" y="1036"/>
                    </a:lnTo>
                    <a:lnTo>
                      <a:pt x="601" y="1038"/>
                    </a:lnTo>
                    <a:lnTo>
                      <a:pt x="599" y="1038"/>
                    </a:lnTo>
                    <a:lnTo>
                      <a:pt x="597" y="1036"/>
                    </a:lnTo>
                    <a:lnTo>
                      <a:pt x="599" y="1034"/>
                    </a:lnTo>
                    <a:lnTo>
                      <a:pt x="595" y="1036"/>
                    </a:lnTo>
                    <a:lnTo>
                      <a:pt x="593" y="1034"/>
                    </a:lnTo>
                    <a:lnTo>
                      <a:pt x="591" y="1034"/>
                    </a:lnTo>
                    <a:lnTo>
                      <a:pt x="589" y="1034"/>
                    </a:lnTo>
                    <a:lnTo>
                      <a:pt x="587" y="1034"/>
                    </a:lnTo>
                    <a:lnTo>
                      <a:pt x="584" y="1032"/>
                    </a:lnTo>
                    <a:lnTo>
                      <a:pt x="584" y="1028"/>
                    </a:lnTo>
                    <a:lnTo>
                      <a:pt x="584" y="1030"/>
                    </a:lnTo>
                    <a:lnTo>
                      <a:pt x="582" y="1032"/>
                    </a:lnTo>
                    <a:lnTo>
                      <a:pt x="582" y="1034"/>
                    </a:lnTo>
                    <a:lnTo>
                      <a:pt x="578" y="1034"/>
                    </a:lnTo>
                    <a:lnTo>
                      <a:pt x="572" y="1032"/>
                    </a:lnTo>
                    <a:lnTo>
                      <a:pt x="570" y="1030"/>
                    </a:lnTo>
                    <a:lnTo>
                      <a:pt x="570" y="1028"/>
                    </a:lnTo>
                    <a:lnTo>
                      <a:pt x="572" y="1028"/>
                    </a:lnTo>
                    <a:lnTo>
                      <a:pt x="574" y="1028"/>
                    </a:lnTo>
                    <a:lnTo>
                      <a:pt x="574" y="1026"/>
                    </a:lnTo>
                    <a:lnTo>
                      <a:pt x="576" y="1026"/>
                    </a:lnTo>
                    <a:lnTo>
                      <a:pt x="576" y="1024"/>
                    </a:lnTo>
                    <a:lnTo>
                      <a:pt x="574" y="1022"/>
                    </a:lnTo>
                    <a:lnTo>
                      <a:pt x="572" y="1022"/>
                    </a:lnTo>
                    <a:lnTo>
                      <a:pt x="570" y="1022"/>
                    </a:lnTo>
                    <a:lnTo>
                      <a:pt x="572" y="1022"/>
                    </a:lnTo>
                    <a:lnTo>
                      <a:pt x="574" y="1024"/>
                    </a:lnTo>
                    <a:lnTo>
                      <a:pt x="572" y="1024"/>
                    </a:lnTo>
                    <a:lnTo>
                      <a:pt x="568" y="1022"/>
                    </a:lnTo>
                    <a:lnTo>
                      <a:pt x="566" y="1024"/>
                    </a:lnTo>
                    <a:lnTo>
                      <a:pt x="564" y="1020"/>
                    </a:lnTo>
                    <a:lnTo>
                      <a:pt x="563" y="1019"/>
                    </a:lnTo>
                    <a:lnTo>
                      <a:pt x="561" y="1019"/>
                    </a:lnTo>
                    <a:lnTo>
                      <a:pt x="559" y="1020"/>
                    </a:lnTo>
                    <a:lnTo>
                      <a:pt x="557" y="1020"/>
                    </a:lnTo>
                    <a:lnTo>
                      <a:pt x="555" y="1020"/>
                    </a:lnTo>
                    <a:lnTo>
                      <a:pt x="553" y="1019"/>
                    </a:lnTo>
                    <a:lnTo>
                      <a:pt x="551" y="1020"/>
                    </a:lnTo>
                    <a:lnTo>
                      <a:pt x="551" y="1017"/>
                    </a:lnTo>
                    <a:lnTo>
                      <a:pt x="553" y="1017"/>
                    </a:lnTo>
                    <a:lnTo>
                      <a:pt x="555" y="1015"/>
                    </a:lnTo>
                    <a:lnTo>
                      <a:pt x="553" y="1013"/>
                    </a:lnTo>
                    <a:lnTo>
                      <a:pt x="553" y="1009"/>
                    </a:lnTo>
                    <a:lnTo>
                      <a:pt x="551" y="1009"/>
                    </a:lnTo>
                    <a:lnTo>
                      <a:pt x="551" y="1007"/>
                    </a:lnTo>
                    <a:lnTo>
                      <a:pt x="549" y="1005"/>
                    </a:lnTo>
                    <a:lnTo>
                      <a:pt x="547" y="1007"/>
                    </a:lnTo>
                    <a:lnTo>
                      <a:pt x="545" y="1011"/>
                    </a:lnTo>
                    <a:lnTo>
                      <a:pt x="542" y="1011"/>
                    </a:lnTo>
                    <a:lnTo>
                      <a:pt x="543" y="1017"/>
                    </a:lnTo>
                    <a:lnTo>
                      <a:pt x="543" y="1019"/>
                    </a:lnTo>
                    <a:lnTo>
                      <a:pt x="542" y="1019"/>
                    </a:lnTo>
                    <a:lnTo>
                      <a:pt x="542" y="1020"/>
                    </a:lnTo>
                    <a:lnTo>
                      <a:pt x="542" y="1019"/>
                    </a:lnTo>
                    <a:lnTo>
                      <a:pt x="542" y="1020"/>
                    </a:lnTo>
                    <a:lnTo>
                      <a:pt x="540" y="1020"/>
                    </a:lnTo>
                    <a:lnTo>
                      <a:pt x="540" y="1024"/>
                    </a:lnTo>
                    <a:lnTo>
                      <a:pt x="536" y="1026"/>
                    </a:lnTo>
                    <a:lnTo>
                      <a:pt x="534" y="1028"/>
                    </a:lnTo>
                    <a:lnTo>
                      <a:pt x="526" y="1030"/>
                    </a:lnTo>
                    <a:lnTo>
                      <a:pt x="517" y="1030"/>
                    </a:lnTo>
                    <a:lnTo>
                      <a:pt x="519" y="1032"/>
                    </a:lnTo>
                    <a:lnTo>
                      <a:pt x="517" y="1034"/>
                    </a:lnTo>
                    <a:lnTo>
                      <a:pt x="511" y="1038"/>
                    </a:lnTo>
                    <a:lnTo>
                      <a:pt x="509" y="1040"/>
                    </a:lnTo>
                    <a:lnTo>
                      <a:pt x="503" y="1041"/>
                    </a:lnTo>
                    <a:lnTo>
                      <a:pt x="500" y="1043"/>
                    </a:lnTo>
                    <a:lnTo>
                      <a:pt x="498" y="1043"/>
                    </a:lnTo>
                    <a:lnTo>
                      <a:pt x="494" y="1043"/>
                    </a:lnTo>
                    <a:lnTo>
                      <a:pt x="492" y="1043"/>
                    </a:lnTo>
                    <a:lnTo>
                      <a:pt x="490" y="1043"/>
                    </a:lnTo>
                    <a:lnTo>
                      <a:pt x="488" y="1045"/>
                    </a:lnTo>
                    <a:lnTo>
                      <a:pt x="486" y="1045"/>
                    </a:lnTo>
                    <a:lnTo>
                      <a:pt x="486" y="1043"/>
                    </a:lnTo>
                    <a:lnTo>
                      <a:pt x="484" y="1043"/>
                    </a:lnTo>
                    <a:lnTo>
                      <a:pt x="484" y="1045"/>
                    </a:lnTo>
                    <a:lnTo>
                      <a:pt x="479" y="1047"/>
                    </a:lnTo>
                    <a:lnTo>
                      <a:pt x="479" y="1045"/>
                    </a:lnTo>
                    <a:lnTo>
                      <a:pt x="477" y="1045"/>
                    </a:lnTo>
                    <a:lnTo>
                      <a:pt x="473" y="1045"/>
                    </a:lnTo>
                    <a:lnTo>
                      <a:pt x="471" y="1047"/>
                    </a:lnTo>
                    <a:lnTo>
                      <a:pt x="475" y="1047"/>
                    </a:lnTo>
                    <a:lnTo>
                      <a:pt x="475" y="1049"/>
                    </a:lnTo>
                    <a:lnTo>
                      <a:pt x="467" y="1047"/>
                    </a:lnTo>
                    <a:lnTo>
                      <a:pt x="463" y="1049"/>
                    </a:lnTo>
                    <a:lnTo>
                      <a:pt x="461" y="1047"/>
                    </a:lnTo>
                    <a:lnTo>
                      <a:pt x="460" y="1049"/>
                    </a:lnTo>
                    <a:lnTo>
                      <a:pt x="458" y="1049"/>
                    </a:lnTo>
                    <a:lnTo>
                      <a:pt x="456" y="1049"/>
                    </a:lnTo>
                    <a:lnTo>
                      <a:pt x="454" y="1049"/>
                    </a:lnTo>
                    <a:lnTo>
                      <a:pt x="452" y="1049"/>
                    </a:lnTo>
                    <a:lnTo>
                      <a:pt x="454" y="1051"/>
                    </a:lnTo>
                    <a:lnTo>
                      <a:pt x="450" y="1051"/>
                    </a:lnTo>
                    <a:lnTo>
                      <a:pt x="448" y="1049"/>
                    </a:lnTo>
                    <a:lnTo>
                      <a:pt x="446" y="1051"/>
                    </a:lnTo>
                    <a:lnTo>
                      <a:pt x="442" y="1051"/>
                    </a:lnTo>
                    <a:lnTo>
                      <a:pt x="444" y="1049"/>
                    </a:lnTo>
                    <a:lnTo>
                      <a:pt x="446" y="1049"/>
                    </a:lnTo>
                    <a:lnTo>
                      <a:pt x="446" y="1047"/>
                    </a:lnTo>
                    <a:lnTo>
                      <a:pt x="444" y="1047"/>
                    </a:lnTo>
                    <a:lnTo>
                      <a:pt x="441" y="1045"/>
                    </a:lnTo>
                    <a:lnTo>
                      <a:pt x="441" y="1043"/>
                    </a:lnTo>
                    <a:lnTo>
                      <a:pt x="439" y="1043"/>
                    </a:lnTo>
                    <a:lnTo>
                      <a:pt x="441" y="1041"/>
                    </a:lnTo>
                    <a:lnTo>
                      <a:pt x="437" y="1036"/>
                    </a:lnTo>
                    <a:lnTo>
                      <a:pt x="437" y="1034"/>
                    </a:lnTo>
                    <a:lnTo>
                      <a:pt x="437" y="1032"/>
                    </a:lnTo>
                    <a:lnTo>
                      <a:pt x="437" y="1030"/>
                    </a:lnTo>
                    <a:lnTo>
                      <a:pt x="439" y="1030"/>
                    </a:lnTo>
                    <a:lnTo>
                      <a:pt x="437" y="1028"/>
                    </a:lnTo>
                    <a:lnTo>
                      <a:pt x="439" y="1026"/>
                    </a:lnTo>
                    <a:lnTo>
                      <a:pt x="437" y="1026"/>
                    </a:lnTo>
                    <a:lnTo>
                      <a:pt x="439" y="1026"/>
                    </a:lnTo>
                    <a:lnTo>
                      <a:pt x="437" y="1024"/>
                    </a:lnTo>
                    <a:lnTo>
                      <a:pt x="437" y="1022"/>
                    </a:lnTo>
                    <a:lnTo>
                      <a:pt x="435" y="1022"/>
                    </a:lnTo>
                    <a:lnTo>
                      <a:pt x="437" y="1020"/>
                    </a:lnTo>
                    <a:lnTo>
                      <a:pt x="435" y="1020"/>
                    </a:lnTo>
                    <a:lnTo>
                      <a:pt x="437" y="1020"/>
                    </a:lnTo>
                    <a:lnTo>
                      <a:pt x="435" y="1020"/>
                    </a:lnTo>
                    <a:lnTo>
                      <a:pt x="437" y="1019"/>
                    </a:lnTo>
                    <a:lnTo>
                      <a:pt x="439" y="1020"/>
                    </a:lnTo>
                    <a:lnTo>
                      <a:pt x="441" y="1020"/>
                    </a:lnTo>
                    <a:lnTo>
                      <a:pt x="439" y="1020"/>
                    </a:lnTo>
                    <a:lnTo>
                      <a:pt x="433" y="1017"/>
                    </a:lnTo>
                    <a:lnTo>
                      <a:pt x="431" y="1017"/>
                    </a:lnTo>
                    <a:lnTo>
                      <a:pt x="433" y="1017"/>
                    </a:lnTo>
                    <a:lnTo>
                      <a:pt x="431" y="1017"/>
                    </a:lnTo>
                    <a:lnTo>
                      <a:pt x="427" y="1017"/>
                    </a:lnTo>
                    <a:lnTo>
                      <a:pt x="429" y="1015"/>
                    </a:lnTo>
                    <a:lnTo>
                      <a:pt x="427" y="1015"/>
                    </a:lnTo>
                    <a:lnTo>
                      <a:pt x="423" y="1015"/>
                    </a:lnTo>
                    <a:lnTo>
                      <a:pt x="418" y="1017"/>
                    </a:lnTo>
                    <a:lnTo>
                      <a:pt x="416" y="1015"/>
                    </a:lnTo>
                    <a:lnTo>
                      <a:pt x="414" y="1015"/>
                    </a:lnTo>
                    <a:lnTo>
                      <a:pt x="414" y="1017"/>
                    </a:lnTo>
                    <a:lnTo>
                      <a:pt x="410" y="1015"/>
                    </a:lnTo>
                    <a:lnTo>
                      <a:pt x="408" y="1017"/>
                    </a:lnTo>
                    <a:lnTo>
                      <a:pt x="406" y="1015"/>
                    </a:lnTo>
                    <a:lnTo>
                      <a:pt x="400" y="1015"/>
                    </a:lnTo>
                    <a:lnTo>
                      <a:pt x="399" y="1013"/>
                    </a:lnTo>
                    <a:lnTo>
                      <a:pt x="397" y="1013"/>
                    </a:lnTo>
                    <a:lnTo>
                      <a:pt x="393" y="1009"/>
                    </a:lnTo>
                    <a:lnTo>
                      <a:pt x="391" y="1009"/>
                    </a:lnTo>
                    <a:lnTo>
                      <a:pt x="389" y="1007"/>
                    </a:lnTo>
                    <a:lnTo>
                      <a:pt x="389" y="1005"/>
                    </a:lnTo>
                    <a:lnTo>
                      <a:pt x="391" y="1005"/>
                    </a:lnTo>
                    <a:lnTo>
                      <a:pt x="389" y="1005"/>
                    </a:lnTo>
                    <a:lnTo>
                      <a:pt x="389" y="1003"/>
                    </a:lnTo>
                    <a:lnTo>
                      <a:pt x="389" y="1001"/>
                    </a:lnTo>
                    <a:lnTo>
                      <a:pt x="387" y="1001"/>
                    </a:lnTo>
                    <a:lnTo>
                      <a:pt x="387" y="1003"/>
                    </a:lnTo>
                    <a:lnTo>
                      <a:pt x="385" y="1001"/>
                    </a:lnTo>
                    <a:lnTo>
                      <a:pt x="385" y="999"/>
                    </a:lnTo>
                    <a:lnTo>
                      <a:pt x="385" y="998"/>
                    </a:lnTo>
                    <a:lnTo>
                      <a:pt x="381" y="996"/>
                    </a:lnTo>
                    <a:lnTo>
                      <a:pt x="379" y="992"/>
                    </a:lnTo>
                    <a:lnTo>
                      <a:pt x="378" y="990"/>
                    </a:lnTo>
                    <a:lnTo>
                      <a:pt x="376" y="982"/>
                    </a:lnTo>
                    <a:lnTo>
                      <a:pt x="378" y="980"/>
                    </a:lnTo>
                    <a:lnTo>
                      <a:pt x="379" y="978"/>
                    </a:lnTo>
                    <a:lnTo>
                      <a:pt x="383" y="977"/>
                    </a:lnTo>
                    <a:lnTo>
                      <a:pt x="397" y="971"/>
                    </a:lnTo>
                    <a:lnTo>
                      <a:pt x="414" y="969"/>
                    </a:lnTo>
                    <a:lnTo>
                      <a:pt x="416" y="969"/>
                    </a:lnTo>
                    <a:lnTo>
                      <a:pt x="421" y="967"/>
                    </a:lnTo>
                    <a:lnTo>
                      <a:pt x="427" y="967"/>
                    </a:lnTo>
                    <a:lnTo>
                      <a:pt x="431" y="969"/>
                    </a:lnTo>
                    <a:lnTo>
                      <a:pt x="435" y="969"/>
                    </a:lnTo>
                    <a:lnTo>
                      <a:pt x="437" y="969"/>
                    </a:lnTo>
                    <a:lnTo>
                      <a:pt x="442" y="969"/>
                    </a:lnTo>
                    <a:lnTo>
                      <a:pt x="446" y="971"/>
                    </a:lnTo>
                    <a:lnTo>
                      <a:pt x="448" y="971"/>
                    </a:lnTo>
                    <a:lnTo>
                      <a:pt x="446" y="971"/>
                    </a:lnTo>
                    <a:lnTo>
                      <a:pt x="450" y="973"/>
                    </a:lnTo>
                    <a:lnTo>
                      <a:pt x="454" y="973"/>
                    </a:lnTo>
                    <a:lnTo>
                      <a:pt x="454" y="971"/>
                    </a:lnTo>
                    <a:lnTo>
                      <a:pt x="456" y="971"/>
                    </a:lnTo>
                    <a:lnTo>
                      <a:pt x="454" y="971"/>
                    </a:lnTo>
                    <a:lnTo>
                      <a:pt x="456" y="971"/>
                    </a:lnTo>
                    <a:lnTo>
                      <a:pt x="458" y="971"/>
                    </a:lnTo>
                    <a:lnTo>
                      <a:pt x="456" y="971"/>
                    </a:lnTo>
                    <a:lnTo>
                      <a:pt x="458" y="971"/>
                    </a:lnTo>
                    <a:lnTo>
                      <a:pt x="458" y="969"/>
                    </a:lnTo>
                    <a:lnTo>
                      <a:pt x="460" y="969"/>
                    </a:lnTo>
                    <a:lnTo>
                      <a:pt x="461" y="969"/>
                    </a:lnTo>
                    <a:lnTo>
                      <a:pt x="460" y="969"/>
                    </a:lnTo>
                    <a:lnTo>
                      <a:pt x="458" y="969"/>
                    </a:lnTo>
                    <a:lnTo>
                      <a:pt x="465" y="969"/>
                    </a:lnTo>
                    <a:lnTo>
                      <a:pt x="469" y="969"/>
                    </a:lnTo>
                    <a:lnTo>
                      <a:pt x="471" y="967"/>
                    </a:lnTo>
                    <a:lnTo>
                      <a:pt x="469" y="967"/>
                    </a:lnTo>
                    <a:lnTo>
                      <a:pt x="471" y="967"/>
                    </a:lnTo>
                    <a:lnTo>
                      <a:pt x="471" y="965"/>
                    </a:lnTo>
                    <a:lnTo>
                      <a:pt x="467" y="965"/>
                    </a:lnTo>
                    <a:lnTo>
                      <a:pt x="465" y="965"/>
                    </a:lnTo>
                    <a:lnTo>
                      <a:pt x="463" y="963"/>
                    </a:lnTo>
                    <a:lnTo>
                      <a:pt x="461" y="963"/>
                    </a:lnTo>
                    <a:lnTo>
                      <a:pt x="461" y="961"/>
                    </a:lnTo>
                    <a:lnTo>
                      <a:pt x="461" y="959"/>
                    </a:lnTo>
                    <a:lnTo>
                      <a:pt x="460" y="958"/>
                    </a:lnTo>
                    <a:lnTo>
                      <a:pt x="458" y="958"/>
                    </a:lnTo>
                    <a:lnTo>
                      <a:pt x="456" y="958"/>
                    </a:lnTo>
                    <a:lnTo>
                      <a:pt x="454" y="958"/>
                    </a:lnTo>
                    <a:lnTo>
                      <a:pt x="452" y="956"/>
                    </a:lnTo>
                    <a:lnTo>
                      <a:pt x="450" y="956"/>
                    </a:lnTo>
                    <a:lnTo>
                      <a:pt x="448" y="956"/>
                    </a:lnTo>
                    <a:lnTo>
                      <a:pt x="446" y="956"/>
                    </a:lnTo>
                    <a:lnTo>
                      <a:pt x="446" y="954"/>
                    </a:lnTo>
                    <a:lnTo>
                      <a:pt x="444" y="954"/>
                    </a:lnTo>
                    <a:lnTo>
                      <a:pt x="444" y="952"/>
                    </a:lnTo>
                    <a:lnTo>
                      <a:pt x="442" y="952"/>
                    </a:lnTo>
                    <a:lnTo>
                      <a:pt x="441" y="952"/>
                    </a:lnTo>
                    <a:lnTo>
                      <a:pt x="439" y="950"/>
                    </a:lnTo>
                    <a:lnTo>
                      <a:pt x="437" y="952"/>
                    </a:lnTo>
                    <a:lnTo>
                      <a:pt x="433" y="948"/>
                    </a:lnTo>
                    <a:lnTo>
                      <a:pt x="431" y="948"/>
                    </a:lnTo>
                    <a:lnTo>
                      <a:pt x="429" y="950"/>
                    </a:lnTo>
                    <a:lnTo>
                      <a:pt x="423" y="950"/>
                    </a:lnTo>
                    <a:lnTo>
                      <a:pt x="423" y="952"/>
                    </a:lnTo>
                    <a:lnTo>
                      <a:pt x="420" y="952"/>
                    </a:lnTo>
                    <a:lnTo>
                      <a:pt x="420" y="954"/>
                    </a:lnTo>
                    <a:lnTo>
                      <a:pt x="418" y="952"/>
                    </a:lnTo>
                    <a:lnTo>
                      <a:pt x="416" y="954"/>
                    </a:lnTo>
                    <a:lnTo>
                      <a:pt x="414" y="954"/>
                    </a:lnTo>
                    <a:lnTo>
                      <a:pt x="412" y="954"/>
                    </a:lnTo>
                    <a:lnTo>
                      <a:pt x="410" y="954"/>
                    </a:lnTo>
                    <a:lnTo>
                      <a:pt x="408" y="954"/>
                    </a:lnTo>
                    <a:lnTo>
                      <a:pt x="406" y="954"/>
                    </a:lnTo>
                    <a:lnTo>
                      <a:pt x="406" y="956"/>
                    </a:lnTo>
                    <a:lnTo>
                      <a:pt x="406" y="954"/>
                    </a:lnTo>
                    <a:lnTo>
                      <a:pt x="404" y="954"/>
                    </a:lnTo>
                    <a:lnTo>
                      <a:pt x="399" y="954"/>
                    </a:lnTo>
                    <a:lnTo>
                      <a:pt x="400" y="956"/>
                    </a:lnTo>
                    <a:lnTo>
                      <a:pt x="399" y="956"/>
                    </a:lnTo>
                    <a:lnTo>
                      <a:pt x="399" y="954"/>
                    </a:lnTo>
                    <a:lnTo>
                      <a:pt x="397" y="954"/>
                    </a:lnTo>
                    <a:lnTo>
                      <a:pt x="397" y="952"/>
                    </a:lnTo>
                    <a:lnTo>
                      <a:pt x="395" y="952"/>
                    </a:lnTo>
                    <a:lnTo>
                      <a:pt x="391" y="952"/>
                    </a:lnTo>
                    <a:lnTo>
                      <a:pt x="387" y="954"/>
                    </a:lnTo>
                    <a:lnTo>
                      <a:pt x="379" y="954"/>
                    </a:lnTo>
                    <a:lnTo>
                      <a:pt x="378" y="954"/>
                    </a:lnTo>
                    <a:lnTo>
                      <a:pt x="378" y="952"/>
                    </a:lnTo>
                    <a:lnTo>
                      <a:pt x="376" y="952"/>
                    </a:lnTo>
                    <a:lnTo>
                      <a:pt x="378" y="954"/>
                    </a:lnTo>
                    <a:lnTo>
                      <a:pt x="376" y="956"/>
                    </a:lnTo>
                    <a:lnTo>
                      <a:pt x="376" y="954"/>
                    </a:lnTo>
                    <a:lnTo>
                      <a:pt x="376" y="952"/>
                    </a:lnTo>
                    <a:lnTo>
                      <a:pt x="376" y="954"/>
                    </a:lnTo>
                    <a:lnTo>
                      <a:pt x="374" y="952"/>
                    </a:lnTo>
                    <a:lnTo>
                      <a:pt x="374" y="954"/>
                    </a:lnTo>
                    <a:lnTo>
                      <a:pt x="372" y="952"/>
                    </a:lnTo>
                    <a:lnTo>
                      <a:pt x="372" y="948"/>
                    </a:lnTo>
                    <a:lnTo>
                      <a:pt x="370" y="948"/>
                    </a:lnTo>
                    <a:lnTo>
                      <a:pt x="364" y="942"/>
                    </a:lnTo>
                    <a:lnTo>
                      <a:pt x="360" y="935"/>
                    </a:lnTo>
                    <a:lnTo>
                      <a:pt x="362" y="933"/>
                    </a:lnTo>
                    <a:lnTo>
                      <a:pt x="370" y="927"/>
                    </a:lnTo>
                    <a:lnTo>
                      <a:pt x="376" y="925"/>
                    </a:lnTo>
                    <a:lnTo>
                      <a:pt x="381" y="923"/>
                    </a:lnTo>
                    <a:lnTo>
                      <a:pt x="383" y="923"/>
                    </a:lnTo>
                    <a:lnTo>
                      <a:pt x="385" y="921"/>
                    </a:lnTo>
                    <a:lnTo>
                      <a:pt x="387" y="919"/>
                    </a:lnTo>
                    <a:lnTo>
                      <a:pt x="395" y="916"/>
                    </a:lnTo>
                    <a:lnTo>
                      <a:pt x="397" y="916"/>
                    </a:lnTo>
                    <a:lnTo>
                      <a:pt x="397" y="917"/>
                    </a:lnTo>
                    <a:lnTo>
                      <a:pt x="402" y="916"/>
                    </a:lnTo>
                    <a:lnTo>
                      <a:pt x="404" y="916"/>
                    </a:lnTo>
                    <a:lnTo>
                      <a:pt x="400" y="916"/>
                    </a:lnTo>
                    <a:lnTo>
                      <a:pt x="400" y="914"/>
                    </a:lnTo>
                    <a:lnTo>
                      <a:pt x="395" y="914"/>
                    </a:lnTo>
                    <a:lnTo>
                      <a:pt x="399" y="912"/>
                    </a:lnTo>
                    <a:lnTo>
                      <a:pt x="402" y="910"/>
                    </a:lnTo>
                    <a:lnTo>
                      <a:pt x="404" y="910"/>
                    </a:lnTo>
                    <a:lnTo>
                      <a:pt x="408" y="908"/>
                    </a:lnTo>
                    <a:lnTo>
                      <a:pt x="404" y="906"/>
                    </a:lnTo>
                    <a:lnTo>
                      <a:pt x="397" y="910"/>
                    </a:lnTo>
                    <a:lnTo>
                      <a:pt x="395" y="910"/>
                    </a:lnTo>
                    <a:lnTo>
                      <a:pt x="389" y="912"/>
                    </a:lnTo>
                    <a:lnTo>
                      <a:pt x="387" y="912"/>
                    </a:lnTo>
                    <a:lnTo>
                      <a:pt x="385" y="914"/>
                    </a:lnTo>
                    <a:lnTo>
                      <a:pt x="383" y="914"/>
                    </a:lnTo>
                    <a:lnTo>
                      <a:pt x="379" y="914"/>
                    </a:lnTo>
                    <a:lnTo>
                      <a:pt x="378" y="914"/>
                    </a:lnTo>
                    <a:lnTo>
                      <a:pt x="378" y="916"/>
                    </a:lnTo>
                    <a:lnTo>
                      <a:pt x="376" y="916"/>
                    </a:lnTo>
                    <a:lnTo>
                      <a:pt x="376" y="912"/>
                    </a:lnTo>
                    <a:lnTo>
                      <a:pt x="378" y="912"/>
                    </a:lnTo>
                    <a:lnTo>
                      <a:pt x="376" y="912"/>
                    </a:lnTo>
                    <a:lnTo>
                      <a:pt x="374" y="910"/>
                    </a:lnTo>
                    <a:lnTo>
                      <a:pt x="372" y="912"/>
                    </a:lnTo>
                    <a:lnTo>
                      <a:pt x="374" y="912"/>
                    </a:lnTo>
                    <a:lnTo>
                      <a:pt x="376" y="914"/>
                    </a:lnTo>
                    <a:lnTo>
                      <a:pt x="374" y="916"/>
                    </a:lnTo>
                    <a:lnTo>
                      <a:pt x="372" y="916"/>
                    </a:lnTo>
                    <a:lnTo>
                      <a:pt x="372" y="914"/>
                    </a:lnTo>
                    <a:lnTo>
                      <a:pt x="370" y="916"/>
                    </a:lnTo>
                    <a:lnTo>
                      <a:pt x="366" y="916"/>
                    </a:lnTo>
                    <a:lnTo>
                      <a:pt x="362" y="916"/>
                    </a:lnTo>
                    <a:lnTo>
                      <a:pt x="362" y="912"/>
                    </a:lnTo>
                    <a:lnTo>
                      <a:pt x="364" y="908"/>
                    </a:lnTo>
                    <a:lnTo>
                      <a:pt x="366" y="908"/>
                    </a:lnTo>
                    <a:lnTo>
                      <a:pt x="372" y="908"/>
                    </a:lnTo>
                    <a:lnTo>
                      <a:pt x="370" y="906"/>
                    </a:lnTo>
                    <a:lnTo>
                      <a:pt x="370" y="908"/>
                    </a:lnTo>
                    <a:lnTo>
                      <a:pt x="370" y="906"/>
                    </a:lnTo>
                    <a:lnTo>
                      <a:pt x="372" y="906"/>
                    </a:lnTo>
                    <a:lnTo>
                      <a:pt x="372" y="908"/>
                    </a:lnTo>
                    <a:lnTo>
                      <a:pt x="372" y="906"/>
                    </a:lnTo>
                    <a:lnTo>
                      <a:pt x="370" y="906"/>
                    </a:lnTo>
                    <a:lnTo>
                      <a:pt x="370" y="904"/>
                    </a:lnTo>
                    <a:lnTo>
                      <a:pt x="370" y="906"/>
                    </a:lnTo>
                    <a:lnTo>
                      <a:pt x="370" y="904"/>
                    </a:lnTo>
                    <a:lnTo>
                      <a:pt x="368" y="904"/>
                    </a:lnTo>
                    <a:lnTo>
                      <a:pt x="370" y="902"/>
                    </a:lnTo>
                    <a:lnTo>
                      <a:pt x="368" y="904"/>
                    </a:lnTo>
                    <a:lnTo>
                      <a:pt x="368" y="902"/>
                    </a:lnTo>
                    <a:lnTo>
                      <a:pt x="372" y="902"/>
                    </a:lnTo>
                    <a:lnTo>
                      <a:pt x="372" y="900"/>
                    </a:lnTo>
                    <a:lnTo>
                      <a:pt x="370" y="902"/>
                    </a:lnTo>
                    <a:lnTo>
                      <a:pt x="368" y="900"/>
                    </a:lnTo>
                    <a:lnTo>
                      <a:pt x="366" y="900"/>
                    </a:lnTo>
                    <a:lnTo>
                      <a:pt x="364" y="902"/>
                    </a:lnTo>
                    <a:lnTo>
                      <a:pt x="364" y="904"/>
                    </a:lnTo>
                    <a:lnTo>
                      <a:pt x="362" y="904"/>
                    </a:lnTo>
                    <a:lnTo>
                      <a:pt x="362" y="906"/>
                    </a:lnTo>
                    <a:lnTo>
                      <a:pt x="360" y="904"/>
                    </a:lnTo>
                    <a:lnTo>
                      <a:pt x="360" y="906"/>
                    </a:lnTo>
                    <a:lnTo>
                      <a:pt x="360" y="904"/>
                    </a:lnTo>
                    <a:lnTo>
                      <a:pt x="359" y="902"/>
                    </a:lnTo>
                    <a:lnTo>
                      <a:pt x="357" y="902"/>
                    </a:lnTo>
                    <a:lnTo>
                      <a:pt x="353" y="902"/>
                    </a:lnTo>
                    <a:lnTo>
                      <a:pt x="353" y="904"/>
                    </a:lnTo>
                    <a:lnTo>
                      <a:pt x="353" y="906"/>
                    </a:lnTo>
                    <a:lnTo>
                      <a:pt x="349" y="902"/>
                    </a:lnTo>
                    <a:lnTo>
                      <a:pt x="349" y="898"/>
                    </a:lnTo>
                    <a:lnTo>
                      <a:pt x="349" y="893"/>
                    </a:lnTo>
                    <a:lnTo>
                      <a:pt x="351" y="889"/>
                    </a:lnTo>
                    <a:lnTo>
                      <a:pt x="353" y="883"/>
                    </a:lnTo>
                    <a:lnTo>
                      <a:pt x="355" y="881"/>
                    </a:lnTo>
                    <a:lnTo>
                      <a:pt x="357" y="877"/>
                    </a:lnTo>
                    <a:lnTo>
                      <a:pt x="359" y="874"/>
                    </a:lnTo>
                    <a:lnTo>
                      <a:pt x="360" y="875"/>
                    </a:lnTo>
                    <a:lnTo>
                      <a:pt x="364" y="874"/>
                    </a:lnTo>
                    <a:lnTo>
                      <a:pt x="366" y="872"/>
                    </a:lnTo>
                    <a:lnTo>
                      <a:pt x="366" y="868"/>
                    </a:lnTo>
                    <a:lnTo>
                      <a:pt x="364" y="866"/>
                    </a:lnTo>
                    <a:lnTo>
                      <a:pt x="360" y="866"/>
                    </a:lnTo>
                    <a:lnTo>
                      <a:pt x="359" y="864"/>
                    </a:lnTo>
                    <a:lnTo>
                      <a:pt x="359" y="860"/>
                    </a:lnTo>
                    <a:lnTo>
                      <a:pt x="359" y="858"/>
                    </a:lnTo>
                    <a:lnTo>
                      <a:pt x="364" y="851"/>
                    </a:lnTo>
                    <a:lnTo>
                      <a:pt x="366" y="849"/>
                    </a:lnTo>
                    <a:lnTo>
                      <a:pt x="368" y="849"/>
                    </a:lnTo>
                    <a:lnTo>
                      <a:pt x="374" y="843"/>
                    </a:lnTo>
                    <a:lnTo>
                      <a:pt x="378" y="835"/>
                    </a:lnTo>
                    <a:lnTo>
                      <a:pt x="385" y="832"/>
                    </a:lnTo>
                    <a:lnTo>
                      <a:pt x="389" y="828"/>
                    </a:lnTo>
                    <a:lnTo>
                      <a:pt x="393" y="828"/>
                    </a:lnTo>
                    <a:lnTo>
                      <a:pt x="395" y="826"/>
                    </a:lnTo>
                    <a:lnTo>
                      <a:pt x="399" y="824"/>
                    </a:lnTo>
                    <a:lnTo>
                      <a:pt x="402" y="822"/>
                    </a:lnTo>
                    <a:lnTo>
                      <a:pt x="408" y="818"/>
                    </a:lnTo>
                    <a:lnTo>
                      <a:pt x="410" y="816"/>
                    </a:lnTo>
                    <a:lnTo>
                      <a:pt x="410" y="818"/>
                    </a:lnTo>
                    <a:lnTo>
                      <a:pt x="410" y="816"/>
                    </a:lnTo>
                    <a:lnTo>
                      <a:pt x="412" y="816"/>
                    </a:lnTo>
                    <a:lnTo>
                      <a:pt x="416" y="814"/>
                    </a:lnTo>
                    <a:lnTo>
                      <a:pt x="420" y="811"/>
                    </a:lnTo>
                    <a:lnTo>
                      <a:pt x="423" y="811"/>
                    </a:lnTo>
                    <a:close/>
                    <a:moveTo>
                      <a:pt x="311" y="742"/>
                    </a:moveTo>
                    <a:lnTo>
                      <a:pt x="317" y="744"/>
                    </a:lnTo>
                    <a:lnTo>
                      <a:pt x="320" y="750"/>
                    </a:lnTo>
                    <a:lnTo>
                      <a:pt x="324" y="751"/>
                    </a:lnTo>
                    <a:lnTo>
                      <a:pt x="324" y="753"/>
                    </a:lnTo>
                    <a:lnTo>
                      <a:pt x="326" y="753"/>
                    </a:lnTo>
                    <a:lnTo>
                      <a:pt x="334" y="759"/>
                    </a:lnTo>
                    <a:lnTo>
                      <a:pt x="341" y="761"/>
                    </a:lnTo>
                    <a:lnTo>
                      <a:pt x="341" y="763"/>
                    </a:lnTo>
                    <a:lnTo>
                      <a:pt x="339" y="765"/>
                    </a:lnTo>
                    <a:lnTo>
                      <a:pt x="341" y="767"/>
                    </a:lnTo>
                    <a:lnTo>
                      <a:pt x="343" y="765"/>
                    </a:lnTo>
                    <a:lnTo>
                      <a:pt x="343" y="763"/>
                    </a:lnTo>
                    <a:lnTo>
                      <a:pt x="349" y="763"/>
                    </a:lnTo>
                    <a:lnTo>
                      <a:pt x="351" y="767"/>
                    </a:lnTo>
                    <a:lnTo>
                      <a:pt x="349" y="772"/>
                    </a:lnTo>
                    <a:lnTo>
                      <a:pt x="351" y="776"/>
                    </a:lnTo>
                    <a:lnTo>
                      <a:pt x="351" y="774"/>
                    </a:lnTo>
                    <a:lnTo>
                      <a:pt x="355" y="771"/>
                    </a:lnTo>
                    <a:lnTo>
                      <a:pt x="355" y="769"/>
                    </a:lnTo>
                    <a:lnTo>
                      <a:pt x="353" y="767"/>
                    </a:lnTo>
                    <a:lnTo>
                      <a:pt x="353" y="765"/>
                    </a:lnTo>
                    <a:lnTo>
                      <a:pt x="355" y="763"/>
                    </a:lnTo>
                    <a:lnTo>
                      <a:pt x="364" y="759"/>
                    </a:lnTo>
                    <a:lnTo>
                      <a:pt x="376" y="763"/>
                    </a:lnTo>
                    <a:lnTo>
                      <a:pt x="389" y="774"/>
                    </a:lnTo>
                    <a:lnTo>
                      <a:pt x="393" y="782"/>
                    </a:lnTo>
                    <a:lnTo>
                      <a:pt x="395" y="784"/>
                    </a:lnTo>
                    <a:lnTo>
                      <a:pt x="400" y="790"/>
                    </a:lnTo>
                    <a:lnTo>
                      <a:pt x="402" y="793"/>
                    </a:lnTo>
                    <a:lnTo>
                      <a:pt x="404" y="795"/>
                    </a:lnTo>
                    <a:lnTo>
                      <a:pt x="406" y="797"/>
                    </a:lnTo>
                    <a:lnTo>
                      <a:pt x="410" y="801"/>
                    </a:lnTo>
                    <a:lnTo>
                      <a:pt x="410" y="805"/>
                    </a:lnTo>
                    <a:lnTo>
                      <a:pt x="408" y="805"/>
                    </a:lnTo>
                    <a:lnTo>
                      <a:pt x="408" y="809"/>
                    </a:lnTo>
                    <a:lnTo>
                      <a:pt x="406" y="809"/>
                    </a:lnTo>
                    <a:lnTo>
                      <a:pt x="402" y="812"/>
                    </a:lnTo>
                    <a:lnTo>
                      <a:pt x="391" y="818"/>
                    </a:lnTo>
                    <a:lnTo>
                      <a:pt x="389" y="820"/>
                    </a:lnTo>
                    <a:lnTo>
                      <a:pt x="387" y="822"/>
                    </a:lnTo>
                    <a:lnTo>
                      <a:pt x="379" y="826"/>
                    </a:lnTo>
                    <a:lnTo>
                      <a:pt x="379" y="828"/>
                    </a:lnTo>
                    <a:lnTo>
                      <a:pt x="376" y="828"/>
                    </a:lnTo>
                    <a:lnTo>
                      <a:pt x="374" y="830"/>
                    </a:lnTo>
                    <a:lnTo>
                      <a:pt x="372" y="832"/>
                    </a:lnTo>
                    <a:lnTo>
                      <a:pt x="366" y="837"/>
                    </a:lnTo>
                    <a:lnTo>
                      <a:pt x="364" y="839"/>
                    </a:lnTo>
                    <a:lnTo>
                      <a:pt x="360" y="841"/>
                    </a:lnTo>
                    <a:lnTo>
                      <a:pt x="360" y="843"/>
                    </a:lnTo>
                    <a:lnTo>
                      <a:pt x="355" y="845"/>
                    </a:lnTo>
                    <a:lnTo>
                      <a:pt x="349" y="851"/>
                    </a:lnTo>
                    <a:lnTo>
                      <a:pt x="349" y="853"/>
                    </a:lnTo>
                    <a:lnTo>
                      <a:pt x="349" y="856"/>
                    </a:lnTo>
                    <a:lnTo>
                      <a:pt x="347" y="860"/>
                    </a:lnTo>
                    <a:lnTo>
                      <a:pt x="345" y="864"/>
                    </a:lnTo>
                    <a:lnTo>
                      <a:pt x="347" y="866"/>
                    </a:lnTo>
                    <a:lnTo>
                      <a:pt x="341" y="870"/>
                    </a:lnTo>
                    <a:lnTo>
                      <a:pt x="339" y="872"/>
                    </a:lnTo>
                    <a:lnTo>
                      <a:pt x="332" y="872"/>
                    </a:lnTo>
                    <a:lnTo>
                      <a:pt x="334" y="870"/>
                    </a:lnTo>
                    <a:lnTo>
                      <a:pt x="332" y="870"/>
                    </a:lnTo>
                    <a:lnTo>
                      <a:pt x="332" y="872"/>
                    </a:lnTo>
                    <a:lnTo>
                      <a:pt x="334" y="875"/>
                    </a:lnTo>
                    <a:lnTo>
                      <a:pt x="332" y="879"/>
                    </a:lnTo>
                    <a:lnTo>
                      <a:pt x="328" y="887"/>
                    </a:lnTo>
                    <a:lnTo>
                      <a:pt x="330" y="891"/>
                    </a:lnTo>
                    <a:lnTo>
                      <a:pt x="328" y="898"/>
                    </a:lnTo>
                    <a:lnTo>
                      <a:pt x="330" y="900"/>
                    </a:lnTo>
                    <a:lnTo>
                      <a:pt x="328" y="906"/>
                    </a:lnTo>
                    <a:lnTo>
                      <a:pt x="324" y="910"/>
                    </a:lnTo>
                    <a:lnTo>
                      <a:pt x="313" y="916"/>
                    </a:lnTo>
                    <a:lnTo>
                      <a:pt x="309" y="914"/>
                    </a:lnTo>
                    <a:lnTo>
                      <a:pt x="311" y="914"/>
                    </a:lnTo>
                    <a:lnTo>
                      <a:pt x="311" y="912"/>
                    </a:lnTo>
                    <a:lnTo>
                      <a:pt x="309" y="912"/>
                    </a:lnTo>
                    <a:lnTo>
                      <a:pt x="305" y="914"/>
                    </a:lnTo>
                    <a:lnTo>
                      <a:pt x="301" y="919"/>
                    </a:lnTo>
                    <a:lnTo>
                      <a:pt x="296" y="925"/>
                    </a:lnTo>
                    <a:lnTo>
                      <a:pt x="292" y="931"/>
                    </a:lnTo>
                    <a:lnTo>
                      <a:pt x="286" y="931"/>
                    </a:lnTo>
                    <a:lnTo>
                      <a:pt x="280" y="923"/>
                    </a:lnTo>
                    <a:lnTo>
                      <a:pt x="278" y="910"/>
                    </a:lnTo>
                    <a:lnTo>
                      <a:pt x="275" y="908"/>
                    </a:lnTo>
                    <a:lnTo>
                      <a:pt x="273" y="902"/>
                    </a:lnTo>
                    <a:lnTo>
                      <a:pt x="271" y="900"/>
                    </a:lnTo>
                    <a:lnTo>
                      <a:pt x="267" y="896"/>
                    </a:lnTo>
                    <a:lnTo>
                      <a:pt x="261" y="895"/>
                    </a:lnTo>
                    <a:lnTo>
                      <a:pt x="257" y="893"/>
                    </a:lnTo>
                    <a:lnTo>
                      <a:pt x="252" y="887"/>
                    </a:lnTo>
                    <a:lnTo>
                      <a:pt x="252" y="885"/>
                    </a:lnTo>
                    <a:lnTo>
                      <a:pt x="244" y="887"/>
                    </a:lnTo>
                    <a:lnTo>
                      <a:pt x="240" y="887"/>
                    </a:lnTo>
                    <a:lnTo>
                      <a:pt x="240" y="885"/>
                    </a:lnTo>
                    <a:lnTo>
                      <a:pt x="240" y="887"/>
                    </a:lnTo>
                    <a:lnTo>
                      <a:pt x="242" y="887"/>
                    </a:lnTo>
                    <a:lnTo>
                      <a:pt x="244" y="885"/>
                    </a:lnTo>
                    <a:lnTo>
                      <a:pt x="244" y="881"/>
                    </a:lnTo>
                    <a:lnTo>
                      <a:pt x="244" y="879"/>
                    </a:lnTo>
                    <a:lnTo>
                      <a:pt x="246" y="879"/>
                    </a:lnTo>
                    <a:lnTo>
                      <a:pt x="244" y="879"/>
                    </a:lnTo>
                    <a:lnTo>
                      <a:pt x="244" y="877"/>
                    </a:lnTo>
                    <a:lnTo>
                      <a:pt x="244" y="879"/>
                    </a:lnTo>
                    <a:lnTo>
                      <a:pt x="242" y="877"/>
                    </a:lnTo>
                    <a:lnTo>
                      <a:pt x="246" y="874"/>
                    </a:lnTo>
                    <a:lnTo>
                      <a:pt x="244" y="872"/>
                    </a:lnTo>
                    <a:lnTo>
                      <a:pt x="248" y="870"/>
                    </a:lnTo>
                    <a:lnTo>
                      <a:pt x="248" y="868"/>
                    </a:lnTo>
                    <a:lnTo>
                      <a:pt x="246" y="870"/>
                    </a:lnTo>
                    <a:lnTo>
                      <a:pt x="248" y="866"/>
                    </a:lnTo>
                    <a:lnTo>
                      <a:pt x="250" y="866"/>
                    </a:lnTo>
                    <a:lnTo>
                      <a:pt x="250" y="864"/>
                    </a:lnTo>
                    <a:lnTo>
                      <a:pt x="250" y="862"/>
                    </a:lnTo>
                    <a:lnTo>
                      <a:pt x="248" y="862"/>
                    </a:lnTo>
                    <a:lnTo>
                      <a:pt x="250" y="864"/>
                    </a:lnTo>
                    <a:lnTo>
                      <a:pt x="248" y="864"/>
                    </a:lnTo>
                    <a:lnTo>
                      <a:pt x="248" y="862"/>
                    </a:lnTo>
                    <a:lnTo>
                      <a:pt x="250" y="860"/>
                    </a:lnTo>
                    <a:lnTo>
                      <a:pt x="250" y="862"/>
                    </a:lnTo>
                    <a:lnTo>
                      <a:pt x="250" y="860"/>
                    </a:lnTo>
                    <a:lnTo>
                      <a:pt x="252" y="860"/>
                    </a:lnTo>
                    <a:lnTo>
                      <a:pt x="250" y="858"/>
                    </a:lnTo>
                    <a:lnTo>
                      <a:pt x="252" y="858"/>
                    </a:lnTo>
                    <a:lnTo>
                      <a:pt x="252" y="856"/>
                    </a:lnTo>
                    <a:lnTo>
                      <a:pt x="254" y="856"/>
                    </a:lnTo>
                    <a:lnTo>
                      <a:pt x="254" y="854"/>
                    </a:lnTo>
                    <a:lnTo>
                      <a:pt x="256" y="854"/>
                    </a:lnTo>
                    <a:lnTo>
                      <a:pt x="256" y="853"/>
                    </a:lnTo>
                    <a:lnTo>
                      <a:pt x="254" y="851"/>
                    </a:lnTo>
                    <a:lnTo>
                      <a:pt x="256" y="851"/>
                    </a:lnTo>
                    <a:lnTo>
                      <a:pt x="254" y="849"/>
                    </a:lnTo>
                    <a:lnTo>
                      <a:pt x="256" y="849"/>
                    </a:lnTo>
                    <a:lnTo>
                      <a:pt x="256" y="847"/>
                    </a:lnTo>
                    <a:lnTo>
                      <a:pt x="256" y="845"/>
                    </a:lnTo>
                    <a:lnTo>
                      <a:pt x="256" y="841"/>
                    </a:lnTo>
                    <a:lnTo>
                      <a:pt x="254" y="839"/>
                    </a:lnTo>
                    <a:lnTo>
                      <a:pt x="254" y="837"/>
                    </a:lnTo>
                    <a:lnTo>
                      <a:pt x="256" y="837"/>
                    </a:lnTo>
                    <a:lnTo>
                      <a:pt x="256" y="839"/>
                    </a:lnTo>
                    <a:lnTo>
                      <a:pt x="256" y="837"/>
                    </a:lnTo>
                    <a:lnTo>
                      <a:pt x="257" y="839"/>
                    </a:lnTo>
                    <a:lnTo>
                      <a:pt x="259" y="837"/>
                    </a:lnTo>
                    <a:lnTo>
                      <a:pt x="263" y="835"/>
                    </a:lnTo>
                    <a:lnTo>
                      <a:pt x="265" y="833"/>
                    </a:lnTo>
                    <a:lnTo>
                      <a:pt x="263" y="833"/>
                    </a:lnTo>
                    <a:lnTo>
                      <a:pt x="263" y="832"/>
                    </a:lnTo>
                    <a:lnTo>
                      <a:pt x="261" y="830"/>
                    </a:lnTo>
                    <a:lnTo>
                      <a:pt x="259" y="830"/>
                    </a:lnTo>
                    <a:lnTo>
                      <a:pt x="257" y="826"/>
                    </a:lnTo>
                    <a:lnTo>
                      <a:pt x="259" y="824"/>
                    </a:lnTo>
                    <a:lnTo>
                      <a:pt x="259" y="822"/>
                    </a:lnTo>
                    <a:lnTo>
                      <a:pt x="259" y="824"/>
                    </a:lnTo>
                    <a:lnTo>
                      <a:pt x="259" y="822"/>
                    </a:lnTo>
                    <a:lnTo>
                      <a:pt x="261" y="822"/>
                    </a:lnTo>
                    <a:lnTo>
                      <a:pt x="261" y="820"/>
                    </a:lnTo>
                    <a:lnTo>
                      <a:pt x="263" y="818"/>
                    </a:lnTo>
                    <a:lnTo>
                      <a:pt x="263" y="812"/>
                    </a:lnTo>
                    <a:lnTo>
                      <a:pt x="265" y="811"/>
                    </a:lnTo>
                    <a:lnTo>
                      <a:pt x="263" y="811"/>
                    </a:lnTo>
                    <a:lnTo>
                      <a:pt x="265" y="811"/>
                    </a:lnTo>
                    <a:lnTo>
                      <a:pt x="265" y="805"/>
                    </a:lnTo>
                    <a:lnTo>
                      <a:pt x="265" y="807"/>
                    </a:lnTo>
                    <a:lnTo>
                      <a:pt x="265" y="805"/>
                    </a:lnTo>
                    <a:lnTo>
                      <a:pt x="267" y="807"/>
                    </a:lnTo>
                    <a:lnTo>
                      <a:pt x="269" y="805"/>
                    </a:lnTo>
                    <a:lnTo>
                      <a:pt x="267" y="805"/>
                    </a:lnTo>
                    <a:lnTo>
                      <a:pt x="269" y="803"/>
                    </a:lnTo>
                    <a:lnTo>
                      <a:pt x="269" y="805"/>
                    </a:lnTo>
                    <a:lnTo>
                      <a:pt x="269" y="803"/>
                    </a:lnTo>
                    <a:lnTo>
                      <a:pt x="271" y="803"/>
                    </a:lnTo>
                    <a:lnTo>
                      <a:pt x="271" y="799"/>
                    </a:lnTo>
                    <a:lnTo>
                      <a:pt x="271" y="795"/>
                    </a:lnTo>
                    <a:lnTo>
                      <a:pt x="273" y="792"/>
                    </a:lnTo>
                    <a:lnTo>
                      <a:pt x="275" y="792"/>
                    </a:lnTo>
                    <a:lnTo>
                      <a:pt x="275" y="790"/>
                    </a:lnTo>
                    <a:lnTo>
                      <a:pt x="275" y="788"/>
                    </a:lnTo>
                    <a:lnTo>
                      <a:pt x="275" y="786"/>
                    </a:lnTo>
                    <a:lnTo>
                      <a:pt x="273" y="786"/>
                    </a:lnTo>
                    <a:lnTo>
                      <a:pt x="275" y="784"/>
                    </a:lnTo>
                    <a:lnTo>
                      <a:pt x="269" y="784"/>
                    </a:lnTo>
                    <a:lnTo>
                      <a:pt x="269" y="782"/>
                    </a:lnTo>
                    <a:lnTo>
                      <a:pt x="269" y="778"/>
                    </a:lnTo>
                    <a:lnTo>
                      <a:pt x="267" y="778"/>
                    </a:lnTo>
                    <a:lnTo>
                      <a:pt x="267" y="776"/>
                    </a:lnTo>
                    <a:lnTo>
                      <a:pt x="265" y="774"/>
                    </a:lnTo>
                    <a:lnTo>
                      <a:pt x="265" y="772"/>
                    </a:lnTo>
                    <a:lnTo>
                      <a:pt x="265" y="771"/>
                    </a:lnTo>
                    <a:lnTo>
                      <a:pt x="263" y="769"/>
                    </a:lnTo>
                    <a:lnTo>
                      <a:pt x="265" y="767"/>
                    </a:lnTo>
                    <a:lnTo>
                      <a:pt x="263" y="763"/>
                    </a:lnTo>
                    <a:lnTo>
                      <a:pt x="263" y="759"/>
                    </a:lnTo>
                    <a:lnTo>
                      <a:pt x="263" y="761"/>
                    </a:lnTo>
                    <a:lnTo>
                      <a:pt x="263" y="759"/>
                    </a:lnTo>
                    <a:lnTo>
                      <a:pt x="261" y="759"/>
                    </a:lnTo>
                    <a:lnTo>
                      <a:pt x="261" y="757"/>
                    </a:lnTo>
                    <a:lnTo>
                      <a:pt x="259" y="757"/>
                    </a:lnTo>
                    <a:lnTo>
                      <a:pt x="259" y="755"/>
                    </a:lnTo>
                    <a:lnTo>
                      <a:pt x="271" y="751"/>
                    </a:lnTo>
                    <a:lnTo>
                      <a:pt x="280" y="750"/>
                    </a:lnTo>
                    <a:lnTo>
                      <a:pt x="284" y="750"/>
                    </a:lnTo>
                    <a:lnTo>
                      <a:pt x="299" y="748"/>
                    </a:lnTo>
                    <a:lnTo>
                      <a:pt x="305" y="744"/>
                    </a:lnTo>
                    <a:lnTo>
                      <a:pt x="311" y="742"/>
                    </a:lnTo>
                    <a:close/>
                    <a:moveTo>
                      <a:pt x="757" y="208"/>
                    </a:moveTo>
                    <a:lnTo>
                      <a:pt x="763" y="210"/>
                    </a:lnTo>
                    <a:lnTo>
                      <a:pt x="776" y="221"/>
                    </a:lnTo>
                    <a:lnTo>
                      <a:pt x="782" y="227"/>
                    </a:lnTo>
                    <a:lnTo>
                      <a:pt x="784" y="231"/>
                    </a:lnTo>
                    <a:lnTo>
                      <a:pt x="784" y="234"/>
                    </a:lnTo>
                    <a:lnTo>
                      <a:pt x="784" y="238"/>
                    </a:lnTo>
                    <a:lnTo>
                      <a:pt x="782" y="238"/>
                    </a:lnTo>
                    <a:lnTo>
                      <a:pt x="786" y="242"/>
                    </a:lnTo>
                    <a:lnTo>
                      <a:pt x="789" y="255"/>
                    </a:lnTo>
                    <a:lnTo>
                      <a:pt x="791" y="259"/>
                    </a:lnTo>
                    <a:lnTo>
                      <a:pt x="793" y="263"/>
                    </a:lnTo>
                    <a:lnTo>
                      <a:pt x="795" y="265"/>
                    </a:lnTo>
                    <a:lnTo>
                      <a:pt x="793" y="269"/>
                    </a:lnTo>
                    <a:lnTo>
                      <a:pt x="797" y="274"/>
                    </a:lnTo>
                    <a:lnTo>
                      <a:pt x="801" y="276"/>
                    </a:lnTo>
                    <a:lnTo>
                      <a:pt x="803" y="282"/>
                    </a:lnTo>
                    <a:lnTo>
                      <a:pt x="801" y="290"/>
                    </a:lnTo>
                    <a:lnTo>
                      <a:pt x="803" y="290"/>
                    </a:lnTo>
                    <a:lnTo>
                      <a:pt x="805" y="290"/>
                    </a:lnTo>
                    <a:lnTo>
                      <a:pt x="807" y="292"/>
                    </a:lnTo>
                    <a:lnTo>
                      <a:pt x="810" y="292"/>
                    </a:lnTo>
                    <a:lnTo>
                      <a:pt x="814" y="295"/>
                    </a:lnTo>
                    <a:lnTo>
                      <a:pt x="816" y="299"/>
                    </a:lnTo>
                    <a:lnTo>
                      <a:pt x="818" y="297"/>
                    </a:lnTo>
                    <a:lnTo>
                      <a:pt x="814" y="294"/>
                    </a:lnTo>
                    <a:lnTo>
                      <a:pt x="818" y="294"/>
                    </a:lnTo>
                    <a:lnTo>
                      <a:pt x="820" y="292"/>
                    </a:lnTo>
                    <a:lnTo>
                      <a:pt x="824" y="294"/>
                    </a:lnTo>
                    <a:lnTo>
                      <a:pt x="828" y="297"/>
                    </a:lnTo>
                    <a:lnTo>
                      <a:pt x="828" y="301"/>
                    </a:lnTo>
                    <a:lnTo>
                      <a:pt x="828" y="303"/>
                    </a:lnTo>
                    <a:lnTo>
                      <a:pt x="824" y="307"/>
                    </a:lnTo>
                    <a:lnTo>
                      <a:pt x="828" y="307"/>
                    </a:lnTo>
                    <a:lnTo>
                      <a:pt x="826" y="311"/>
                    </a:lnTo>
                    <a:lnTo>
                      <a:pt x="828" y="313"/>
                    </a:lnTo>
                    <a:lnTo>
                      <a:pt x="826" y="316"/>
                    </a:lnTo>
                    <a:lnTo>
                      <a:pt x="826" y="322"/>
                    </a:lnTo>
                    <a:lnTo>
                      <a:pt x="831" y="332"/>
                    </a:lnTo>
                    <a:lnTo>
                      <a:pt x="835" y="332"/>
                    </a:lnTo>
                    <a:lnTo>
                      <a:pt x="839" y="335"/>
                    </a:lnTo>
                    <a:lnTo>
                      <a:pt x="837" y="332"/>
                    </a:lnTo>
                    <a:lnTo>
                      <a:pt x="839" y="334"/>
                    </a:lnTo>
                    <a:lnTo>
                      <a:pt x="837" y="330"/>
                    </a:lnTo>
                    <a:lnTo>
                      <a:pt x="839" y="334"/>
                    </a:lnTo>
                    <a:lnTo>
                      <a:pt x="839" y="332"/>
                    </a:lnTo>
                    <a:lnTo>
                      <a:pt x="843" y="335"/>
                    </a:lnTo>
                    <a:lnTo>
                      <a:pt x="837" y="326"/>
                    </a:lnTo>
                    <a:lnTo>
                      <a:pt x="839" y="326"/>
                    </a:lnTo>
                    <a:lnTo>
                      <a:pt x="839" y="328"/>
                    </a:lnTo>
                    <a:lnTo>
                      <a:pt x="841" y="326"/>
                    </a:lnTo>
                    <a:lnTo>
                      <a:pt x="837" y="324"/>
                    </a:lnTo>
                    <a:lnTo>
                      <a:pt x="833" y="316"/>
                    </a:lnTo>
                    <a:lnTo>
                      <a:pt x="835" y="313"/>
                    </a:lnTo>
                    <a:lnTo>
                      <a:pt x="833" y="309"/>
                    </a:lnTo>
                    <a:lnTo>
                      <a:pt x="835" y="307"/>
                    </a:lnTo>
                    <a:lnTo>
                      <a:pt x="839" y="301"/>
                    </a:lnTo>
                    <a:lnTo>
                      <a:pt x="850" y="305"/>
                    </a:lnTo>
                    <a:lnTo>
                      <a:pt x="850" y="326"/>
                    </a:lnTo>
                    <a:lnTo>
                      <a:pt x="850" y="328"/>
                    </a:lnTo>
                    <a:lnTo>
                      <a:pt x="843" y="332"/>
                    </a:lnTo>
                    <a:lnTo>
                      <a:pt x="845" y="337"/>
                    </a:lnTo>
                    <a:lnTo>
                      <a:pt x="847" y="337"/>
                    </a:lnTo>
                    <a:lnTo>
                      <a:pt x="849" y="335"/>
                    </a:lnTo>
                    <a:lnTo>
                      <a:pt x="852" y="337"/>
                    </a:lnTo>
                    <a:lnTo>
                      <a:pt x="856" y="335"/>
                    </a:lnTo>
                    <a:lnTo>
                      <a:pt x="856" y="337"/>
                    </a:lnTo>
                    <a:lnTo>
                      <a:pt x="860" y="349"/>
                    </a:lnTo>
                    <a:lnTo>
                      <a:pt x="856" y="351"/>
                    </a:lnTo>
                    <a:lnTo>
                      <a:pt x="856" y="355"/>
                    </a:lnTo>
                    <a:lnTo>
                      <a:pt x="852" y="356"/>
                    </a:lnTo>
                    <a:lnTo>
                      <a:pt x="852" y="358"/>
                    </a:lnTo>
                    <a:lnTo>
                      <a:pt x="860" y="351"/>
                    </a:lnTo>
                    <a:lnTo>
                      <a:pt x="858" y="376"/>
                    </a:lnTo>
                    <a:lnTo>
                      <a:pt x="852" y="381"/>
                    </a:lnTo>
                    <a:lnTo>
                      <a:pt x="852" y="385"/>
                    </a:lnTo>
                    <a:lnTo>
                      <a:pt x="854" y="387"/>
                    </a:lnTo>
                    <a:lnTo>
                      <a:pt x="856" y="381"/>
                    </a:lnTo>
                    <a:lnTo>
                      <a:pt x="860" y="377"/>
                    </a:lnTo>
                    <a:lnTo>
                      <a:pt x="862" y="379"/>
                    </a:lnTo>
                    <a:lnTo>
                      <a:pt x="862" y="383"/>
                    </a:lnTo>
                    <a:lnTo>
                      <a:pt x="864" y="383"/>
                    </a:lnTo>
                    <a:lnTo>
                      <a:pt x="864" y="381"/>
                    </a:lnTo>
                    <a:lnTo>
                      <a:pt x="866" y="381"/>
                    </a:lnTo>
                    <a:lnTo>
                      <a:pt x="864" y="379"/>
                    </a:lnTo>
                    <a:lnTo>
                      <a:pt x="862" y="377"/>
                    </a:lnTo>
                    <a:lnTo>
                      <a:pt x="864" y="376"/>
                    </a:lnTo>
                    <a:lnTo>
                      <a:pt x="866" y="374"/>
                    </a:lnTo>
                    <a:lnTo>
                      <a:pt x="870" y="376"/>
                    </a:lnTo>
                    <a:lnTo>
                      <a:pt x="875" y="381"/>
                    </a:lnTo>
                    <a:lnTo>
                      <a:pt x="875" y="383"/>
                    </a:lnTo>
                    <a:lnTo>
                      <a:pt x="873" y="385"/>
                    </a:lnTo>
                    <a:lnTo>
                      <a:pt x="875" y="387"/>
                    </a:lnTo>
                    <a:lnTo>
                      <a:pt x="875" y="389"/>
                    </a:lnTo>
                    <a:lnTo>
                      <a:pt x="873" y="391"/>
                    </a:lnTo>
                    <a:lnTo>
                      <a:pt x="873" y="393"/>
                    </a:lnTo>
                    <a:lnTo>
                      <a:pt x="875" y="393"/>
                    </a:lnTo>
                    <a:lnTo>
                      <a:pt x="877" y="387"/>
                    </a:lnTo>
                    <a:lnTo>
                      <a:pt x="879" y="377"/>
                    </a:lnTo>
                    <a:lnTo>
                      <a:pt x="881" y="377"/>
                    </a:lnTo>
                    <a:lnTo>
                      <a:pt x="883" y="381"/>
                    </a:lnTo>
                    <a:lnTo>
                      <a:pt x="883" y="383"/>
                    </a:lnTo>
                    <a:lnTo>
                      <a:pt x="887" y="397"/>
                    </a:lnTo>
                    <a:lnTo>
                      <a:pt x="889" y="397"/>
                    </a:lnTo>
                    <a:lnTo>
                      <a:pt x="891" y="400"/>
                    </a:lnTo>
                    <a:lnTo>
                      <a:pt x="894" y="406"/>
                    </a:lnTo>
                    <a:lnTo>
                      <a:pt x="894" y="408"/>
                    </a:lnTo>
                    <a:lnTo>
                      <a:pt x="889" y="412"/>
                    </a:lnTo>
                    <a:lnTo>
                      <a:pt x="887" y="416"/>
                    </a:lnTo>
                    <a:lnTo>
                      <a:pt x="885" y="414"/>
                    </a:lnTo>
                    <a:lnTo>
                      <a:pt x="883" y="418"/>
                    </a:lnTo>
                    <a:lnTo>
                      <a:pt x="868" y="425"/>
                    </a:lnTo>
                    <a:lnTo>
                      <a:pt x="866" y="433"/>
                    </a:lnTo>
                    <a:lnTo>
                      <a:pt x="864" y="435"/>
                    </a:lnTo>
                    <a:lnTo>
                      <a:pt x="862" y="425"/>
                    </a:lnTo>
                    <a:lnTo>
                      <a:pt x="860" y="425"/>
                    </a:lnTo>
                    <a:lnTo>
                      <a:pt x="860" y="440"/>
                    </a:lnTo>
                    <a:lnTo>
                      <a:pt x="854" y="446"/>
                    </a:lnTo>
                    <a:lnTo>
                      <a:pt x="850" y="460"/>
                    </a:lnTo>
                    <a:lnTo>
                      <a:pt x="845" y="456"/>
                    </a:lnTo>
                    <a:lnTo>
                      <a:pt x="845" y="446"/>
                    </a:lnTo>
                    <a:lnTo>
                      <a:pt x="845" y="437"/>
                    </a:lnTo>
                    <a:lnTo>
                      <a:pt x="845" y="433"/>
                    </a:lnTo>
                    <a:lnTo>
                      <a:pt x="847" y="431"/>
                    </a:lnTo>
                    <a:lnTo>
                      <a:pt x="847" y="427"/>
                    </a:lnTo>
                    <a:lnTo>
                      <a:pt x="849" y="423"/>
                    </a:lnTo>
                    <a:lnTo>
                      <a:pt x="847" y="423"/>
                    </a:lnTo>
                    <a:lnTo>
                      <a:pt x="847" y="429"/>
                    </a:lnTo>
                    <a:lnTo>
                      <a:pt x="841" y="431"/>
                    </a:lnTo>
                    <a:lnTo>
                      <a:pt x="841" y="446"/>
                    </a:lnTo>
                    <a:lnTo>
                      <a:pt x="843" y="458"/>
                    </a:lnTo>
                    <a:lnTo>
                      <a:pt x="837" y="458"/>
                    </a:lnTo>
                    <a:lnTo>
                      <a:pt x="843" y="460"/>
                    </a:lnTo>
                    <a:lnTo>
                      <a:pt x="847" y="465"/>
                    </a:lnTo>
                    <a:lnTo>
                      <a:pt x="847" y="467"/>
                    </a:lnTo>
                    <a:lnTo>
                      <a:pt x="843" y="473"/>
                    </a:lnTo>
                    <a:lnTo>
                      <a:pt x="841" y="475"/>
                    </a:lnTo>
                    <a:lnTo>
                      <a:pt x="839" y="473"/>
                    </a:lnTo>
                    <a:lnTo>
                      <a:pt x="835" y="463"/>
                    </a:lnTo>
                    <a:lnTo>
                      <a:pt x="831" y="463"/>
                    </a:lnTo>
                    <a:lnTo>
                      <a:pt x="831" y="465"/>
                    </a:lnTo>
                    <a:lnTo>
                      <a:pt x="831" y="467"/>
                    </a:lnTo>
                    <a:lnTo>
                      <a:pt x="831" y="469"/>
                    </a:lnTo>
                    <a:lnTo>
                      <a:pt x="835" y="475"/>
                    </a:lnTo>
                    <a:lnTo>
                      <a:pt x="835" y="479"/>
                    </a:lnTo>
                    <a:lnTo>
                      <a:pt x="833" y="486"/>
                    </a:lnTo>
                    <a:lnTo>
                      <a:pt x="831" y="496"/>
                    </a:lnTo>
                    <a:lnTo>
                      <a:pt x="830" y="500"/>
                    </a:lnTo>
                    <a:lnTo>
                      <a:pt x="826" y="494"/>
                    </a:lnTo>
                    <a:lnTo>
                      <a:pt x="822" y="484"/>
                    </a:lnTo>
                    <a:lnTo>
                      <a:pt x="814" y="471"/>
                    </a:lnTo>
                    <a:lnTo>
                      <a:pt x="812" y="461"/>
                    </a:lnTo>
                    <a:lnTo>
                      <a:pt x="810" y="463"/>
                    </a:lnTo>
                    <a:lnTo>
                      <a:pt x="810" y="465"/>
                    </a:lnTo>
                    <a:lnTo>
                      <a:pt x="810" y="473"/>
                    </a:lnTo>
                    <a:lnTo>
                      <a:pt x="812" y="475"/>
                    </a:lnTo>
                    <a:lnTo>
                      <a:pt x="812" y="477"/>
                    </a:lnTo>
                    <a:lnTo>
                      <a:pt x="816" y="480"/>
                    </a:lnTo>
                    <a:lnTo>
                      <a:pt x="820" y="500"/>
                    </a:lnTo>
                    <a:lnTo>
                      <a:pt x="818" y="500"/>
                    </a:lnTo>
                    <a:lnTo>
                      <a:pt x="818" y="494"/>
                    </a:lnTo>
                    <a:lnTo>
                      <a:pt x="814" y="494"/>
                    </a:lnTo>
                    <a:lnTo>
                      <a:pt x="812" y="486"/>
                    </a:lnTo>
                    <a:lnTo>
                      <a:pt x="809" y="484"/>
                    </a:lnTo>
                    <a:lnTo>
                      <a:pt x="805" y="486"/>
                    </a:lnTo>
                    <a:lnTo>
                      <a:pt x="801" y="486"/>
                    </a:lnTo>
                    <a:lnTo>
                      <a:pt x="805" y="490"/>
                    </a:lnTo>
                    <a:lnTo>
                      <a:pt x="803" y="488"/>
                    </a:lnTo>
                    <a:lnTo>
                      <a:pt x="807" y="490"/>
                    </a:lnTo>
                    <a:lnTo>
                      <a:pt x="807" y="494"/>
                    </a:lnTo>
                    <a:lnTo>
                      <a:pt x="809" y="496"/>
                    </a:lnTo>
                    <a:lnTo>
                      <a:pt x="807" y="500"/>
                    </a:lnTo>
                    <a:lnTo>
                      <a:pt x="797" y="500"/>
                    </a:lnTo>
                    <a:lnTo>
                      <a:pt x="793" y="498"/>
                    </a:lnTo>
                    <a:lnTo>
                      <a:pt x="789" y="498"/>
                    </a:lnTo>
                    <a:lnTo>
                      <a:pt x="786" y="496"/>
                    </a:lnTo>
                    <a:lnTo>
                      <a:pt x="782" y="492"/>
                    </a:lnTo>
                    <a:lnTo>
                      <a:pt x="780" y="494"/>
                    </a:lnTo>
                    <a:lnTo>
                      <a:pt x="778" y="494"/>
                    </a:lnTo>
                    <a:lnTo>
                      <a:pt x="778" y="488"/>
                    </a:lnTo>
                    <a:lnTo>
                      <a:pt x="776" y="490"/>
                    </a:lnTo>
                    <a:lnTo>
                      <a:pt x="774" y="488"/>
                    </a:lnTo>
                    <a:lnTo>
                      <a:pt x="778" y="486"/>
                    </a:lnTo>
                    <a:lnTo>
                      <a:pt x="776" y="484"/>
                    </a:lnTo>
                    <a:lnTo>
                      <a:pt x="774" y="486"/>
                    </a:lnTo>
                    <a:lnTo>
                      <a:pt x="772" y="486"/>
                    </a:lnTo>
                    <a:lnTo>
                      <a:pt x="770" y="484"/>
                    </a:lnTo>
                    <a:lnTo>
                      <a:pt x="770" y="482"/>
                    </a:lnTo>
                    <a:lnTo>
                      <a:pt x="765" y="477"/>
                    </a:lnTo>
                    <a:lnTo>
                      <a:pt x="765" y="473"/>
                    </a:lnTo>
                    <a:lnTo>
                      <a:pt x="767" y="473"/>
                    </a:lnTo>
                    <a:lnTo>
                      <a:pt x="767" y="471"/>
                    </a:lnTo>
                    <a:lnTo>
                      <a:pt x="770" y="473"/>
                    </a:lnTo>
                    <a:lnTo>
                      <a:pt x="772" y="473"/>
                    </a:lnTo>
                    <a:lnTo>
                      <a:pt x="772" y="471"/>
                    </a:lnTo>
                    <a:lnTo>
                      <a:pt x="774" y="471"/>
                    </a:lnTo>
                    <a:lnTo>
                      <a:pt x="772" y="469"/>
                    </a:lnTo>
                    <a:lnTo>
                      <a:pt x="780" y="469"/>
                    </a:lnTo>
                    <a:lnTo>
                      <a:pt x="782" y="467"/>
                    </a:lnTo>
                    <a:lnTo>
                      <a:pt x="786" y="469"/>
                    </a:lnTo>
                    <a:lnTo>
                      <a:pt x="786" y="465"/>
                    </a:lnTo>
                    <a:lnTo>
                      <a:pt x="784" y="467"/>
                    </a:lnTo>
                    <a:lnTo>
                      <a:pt x="782" y="465"/>
                    </a:lnTo>
                    <a:lnTo>
                      <a:pt x="776" y="465"/>
                    </a:lnTo>
                    <a:lnTo>
                      <a:pt x="772" y="463"/>
                    </a:lnTo>
                    <a:lnTo>
                      <a:pt x="767" y="461"/>
                    </a:lnTo>
                    <a:lnTo>
                      <a:pt x="765" y="463"/>
                    </a:lnTo>
                    <a:lnTo>
                      <a:pt x="759" y="465"/>
                    </a:lnTo>
                    <a:lnTo>
                      <a:pt x="757" y="460"/>
                    </a:lnTo>
                    <a:lnTo>
                      <a:pt x="759" y="458"/>
                    </a:lnTo>
                    <a:lnTo>
                      <a:pt x="755" y="458"/>
                    </a:lnTo>
                    <a:lnTo>
                      <a:pt x="751" y="450"/>
                    </a:lnTo>
                    <a:lnTo>
                      <a:pt x="755" y="448"/>
                    </a:lnTo>
                    <a:lnTo>
                      <a:pt x="759" y="452"/>
                    </a:lnTo>
                    <a:lnTo>
                      <a:pt x="763" y="452"/>
                    </a:lnTo>
                    <a:lnTo>
                      <a:pt x="765" y="452"/>
                    </a:lnTo>
                    <a:lnTo>
                      <a:pt x="765" y="450"/>
                    </a:lnTo>
                    <a:lnTo>
                      <a:pt x="757" y="444"/>
                    </a:lnTo>
                    <a:lnTo>
                      <a:pt x="755" y="444"/>
                    </a:lnTo>
                    <a:lnTo>
                      <a:pt x="751" y="444"/>
                    </a:lnTo>
                    <a:lnTo>
                      <a:pt x="744" y="431"/>
                    </a:lnTo>
                    <a:lnTo>
                      <a:pt x="749" y="427"/>
                    </a:lnTo>
                    <a:lnTo>
                      <a:pt x="751" y="427"/>
                    </a:lnTo>
                    <a:lnTo>
                      <a:pt x="753" y="425"/>
                    </a:lnTo>
                    <a:lnTo>
                      <a:pt x="755" y="427"/>
                    </a:lnTo>
                    <a:lnTo>
                      <a:pt x="755" y="425"/>
                    </a:lnTo>
                    <a:lnTo>
                      <a:pt x="757" y="421"/>
                    </a:lnTo>
                    <a:lnTo>
                      <a:pt x="757" y="419"/>
                    </a:lnTo>
                    <a:lnTo>
                      <a:pt x="759" y="418"/>
                    </a:lnTo>
                    <a:lnTo>
                      <a:pt x="765" y="418"/>
                    </a:lnTo>
                    <a:lnTo>
                      <a:pt x="767" y="419"/>
                    </a:lnTo>
                    <a:lnTo>
                      <a:pt x="769" y="416"/>
                    </a:lnTo>
                    <a:lnTo>
                      <a:pt x="778" y="418"/>
                    </a:lnTo>
                    <a:lnTo>
                      <a:pt x="786" y="416"/>
                    </a:lnTo>
                    <a:lnTo>
                      <a:pt x="793" y="414"/>
                    </a:lnTo>
                    <a:lnTo>
                      <a:pt x="805" y="412"/>
                    </a:lnTo>
                    <a:lnTo>
                      <a:pt x="807" y="410"/>
                    </a:lnTo>
                    <a:lnTo>
                      <a:pt x="801" y="410"/>
                    </a:lnTo>
                    <a:lnTo>
                      <a:pt x="793" y="410"/>
                    </a:lnTo>
                    <a:lnTo>
                      <a:pt x="791" y="412"/>
                    </a:lnTo>
                    <a:lnTo>
                      <a:pt x="786" y="412"/>
                    </a:lnTo>
                    <a:lnTo>
                      <a:pt x="784" y="414"/>
                    </a:lnTo>
                    <a:lnTo>
                      <a:pt x="776" y="414"/>
                    </a:lnTo>
                    <a:lnTo>
                      <a:pt x="770" y="410"/>
                    </a:lnTo>
                    <a:lnTo>
                      <a:pt x="770" y="406"/>
                    </a:lnTo>
                    <a:lnTo>
                      <a:pt x="778" y="406"/>
                    </a:lnTo>
                    <a:lnTo>
                      <a:pt x="778" y="404"/>
                    </a:lnTo>
                    <a:lnTo>
                      <a:pt x="782" y="406"/>
                    </a:lnTo>
                    <a:lnTo>
                      <a:pt x="786" y="402"/>
                    </a:lnTo>
                    <a:lnTo>
                      <a:pt x="791" y="402"/>
                    </a:lnTo>
                    <a:lnTo>
                      <a:pt x="795" y="400"/>
                    </a:lnTo>
                    <a:lnTo>
                      <a:pt x="793" y="397"/>
                    </a:lnTo>
                    <a:lnTo>
                      <a:pt x="786" y="400"/>
                    </a:lnTo>
                    <a:lnTo>
                      <a:pt x="784" y="402"/>
                    </a:lnTo>
                    <a:lnTo>
                      <a:pt x="778" y="402"/>
                    </a:lnTo>
                    <a:lnTo>
                      <a:pt x="772" y="400"/>
                    </a:lnTo>
                    <a:lnTo>
                      <a:pt x="770" y="398"/>
                    </a:lnTo>
                    <a:lnTo>
                      <a:pt x="776" y="395"/>
                    </a:lnTo>
                    <a:lnTo>
                      <a:pt x="776" y="393"/>
                    </a:lnTo>
                    <a:lnTo>
                      <a:pt x="772" y="391"/>
                    </a:lnTo>
                    <a:lnTo>
                      <a:pt x="772" y="393"/>
                    </a:lnTo>
                    <a:lnTo>
                      <a:pt x="772" y="391"/>
                    </a:lnTo>
                    <a:lnTo>
                      <a:pt x="767" y="397"/>
                    </a:lnTo>
                    <a:lnTo>
                      <a:pt x="763" y="389"/>
                    </a:lnTo>
                    <a:lnTo>
                      <a:pt x="763" y="393"/>
                    </a:lnTo>
                    <a:lnTo>
                      <a:pt x="765" y="398"/>
                    </a:lnTo>
                    <a:lnTo>
                      <a:pt x="763" y="400"/>
                    </a:lnTo>
                    <a:lnTo>
                      <a:pt x="761" y="400"/>
                    </a:lnTo>
                    <a:lnTo>
                      <a:pt x="759" y="402"/>
                    </a:lnTo>
                    <a:lnTo>
                      <a:pt x="761" y="393"/>
                    </a:lnTo>
                    <a:lnTo>
                      <a:pt x="761" y="391"/>
                    </a:lnTo>
                    <a:lnTo>
                      <a:pt x="757" y="400"/>
                    </a:lnTo>
                    <a:lnTo>
                      <a:pt x="753" y="400"/>
                    </a:lnTo>
                    <a:lnTo>
                      <a:pt x="755" y="404"/>
                    </a:lnTo>
                    <a:lnTo>
                      <a:pt x="751" y="408"/>
                    </a:lnTo>
                    <a:lnTo>
                      <a:pt x="748" y="410"/>
                    </a:lnTo>
                    <a:lnTo>
                      <a:pt x="748" y="406"/>
                    </a:lnTo>
                    <a:lnTo>
                      <a:pt x="744" y="408"/>
                    </a:lnTo>
                    <a:lnTo>
                      <a:pt x="746" y="406"/>
                    </a:lnTo>
                    <a:lnTo>
                      <a:pt x="746" y="402"/>
                    </a:lnTo>
                    <a:lnTo>
                      <a:pt x="749" y="398"/>
                    </a:lnTo>
                    <a:lnTo>
                      <a:pt x="744" y="395"/>
                    </a:lnTo>
                    <a:lnTo>
                      <a:pt x="740" y="398"/>
                    </a:lnTo>
                    <a:lnTo>
                      <a:pt x="742" y="397"/>
                    </a:lnTo>
                    <a:lnTo>
                      <a:pt x="742" y="398"/>
                    </a:lnTo>
                    <a:lnTo>
                      <a:pt x="740" y="400"/>
                    </a:lnTo>
                    <a:lnTo>
                      <a:pt x="740" y="402"/>
                    </a:lnTo>
                    <a:lnTo>
                      <a:pt x="738" y="402"/>
                    </a:lnTo>
                    <a:lnTo>
                      <a:pt x="734" y="406"/>
                    </a:lnTo>
                    <a:lnTo>
                      <a:pt x="734" y="404"/>
                    </a:lnTo>
                    <a:lnTo>
                      <a:pt x="732" y="408"/>
                    </a:lnTo>
                    <a:lnTo>
                      <a:pt x="730" y="406"/>
                    </a:lnTo>
                    <a:lnTo>
                      <a:pt x="730" y="404"/>
                    </a:lnTo>
                    <a:lnTo>
                      <a:pt x="728" y="402"/>
                    </a:lnTo>
                    <a:lnTo>
                      <a:pt x="730" y="402"/>
                    </a:lnTo>
                    <a:lnTo>
                      <a:pt x="730" y="400"/>
                    </a:lnTo>
                    <a:lnTo>
                      <a:pt x="728" y="400"/>
                    </a:lnTo>
                    <a:lnTo>
                      <a:pt x="728" y="397"/>
                    </a:lnTo>
                    <a:lnTo>
                      <a:pt x="727" y="397"/>
                    </a:lnTo>
                    <a:lnTo>
                      <a:pt x="727" y="398"/>
                    </a:lnTo>
                    <a:lnTo>
                      <a:pt x="727" y="397"/>
                    </a:lnTo>
                    <a:lnTo>
                      <a:pt x="725" y="398"/>
                    </a:lnTo>
                    <a:lnTo>
                      <a:pt x="723" y="397"/>
                    </a:lnTo>
                    <a:lnTo>
                      <a:pt x="723" y="398"/>
                    </a:lnTo>
                    <a:lnTo>
                      <a:pt x="723" y="397"/>
                    </a:lnTo>
                    <a:lnTo>
                      <a:pt x="721" y="395"/>
                    </a:lnTo>
                    <a:lnTo>
                      <a:pt x="723" y="391"/>
                    </a:lnTo>
                    <a:lnTo>
                      <a:pt x="721" y="389"/>
                    </a:lnTo>
                    <a:lnTo>
                      <a:pt x="721" y="385"/>
                    </a:lnTo>
                    <a:lnTo>
                      <a:pt x="730" y="381"/>
                    </a:lnTo>
                    <a:lnTo>
                      <a:pt x="740" y="377"/>
                    </a:lnTo>
                    <a:lnTo>
                      <a:pt x="744" y="374"/>
                    </a:lnTo>
                    <a:lnTo>
                      <a:pt x="742" y="368"/>
                    </a:lnTo>
                    <a:lnTo>
                      <a:pt x="744" y="370"/>
                    </a:lnTo>
                    <a:lnTo>
                      <a:pt x="744" y="366"/>
                    </a:lnTo>
                    <a:lnTo>
                      <a:pt x="744" y="364"/>
                    </a:lnTo>
                    <a:lnTo>
                      <a:pt x="744" y="366"/>
                    </a:lnTo>
                    <a:lnTo>
                      <a:pt x="740" y="366"/>
                    </a:lnTo>
                    <a:lnTo>
                      <a:pt x="740" y="370"/>
                    </a:lnTo>
                    <a:lnTo>
                      <a:pt x="738" y="370"/>
                    </a:lnTo>
                    <a:lnTo>
                      <a:pt x="736" y="374"/>
                    </a:lnTo>
                    <a:lnTo>
                      <a:pt x="732" y="374"/>
                    </a:lnTo>
                    <a:lnTo>
                      <a:pt x="730" y="376"/>
                    </a:lnTo>
                    <a:lnTo>
                      <a:pt x="725" y="376"/>
                    </a:lnTo>
                    <a:lnTo>
                      <a:pt x="719" y="374"/>
                    </a:lnTo>
                    <a:lnTo>
                      <a:pt x="717" y="370"/>
                    </a:lnTo>
                    <a:lnTo>
                      <a:pt x="713" y="366"/>
                    </a:lnTo>
                    <a:lnTo>
                      <a:pt x="713" y="362"/>
                    </a:lnTo>
                    <a:lnTo>
                      <a:pt x="711" y="358"/>
                    </a:lnTo>
                    <a:lnTo>
                      <a:pt x="709" y="358"/>
                    </a:lnTo>
                    <a:lnTo>
                      <a:pt x="711" y="355"/>
                    </a:lnTo>
                    <a:lnTo>
                      <a:pt x="707" y="356"/>
                    </a:lnTo>
                    <a:lnTo>
                      <a:pt x="707" y="355"/>
                    </a:lnTo>
                    <a:lnTo>
                      <a:pt x="707" y="353"/>
                    </a:lnTo>
                    <a:lnTo>
                      <a:pt x="709" y="353"/>
                    </a:lnTo>
                    <a:lnTo>
                      <a:pt x="709" y="351"/>
                    </a:lnTo>
                    <a:lnTo>
                      <a:pt x="711" y="351"/>
                    </a:lnTo>
                    <a:lnTo>
                      <a:pt x="711" y="353"/>
                    </a:lnTo>
                    <a:lnTo>
                      <a:pt x="711" y="351"/>
                    </a:lnTo>
                    <a:lnTo>
                      <a:pt x="715" y="353"/>
                    </a:lnTo>
                    <a:lnTo>
                      <a:pt x="713" y="349"/>
                    </a:lnTo>
                    <a:lnTo>
                      <a:pt x="709" y="349"/>
                    </a:lnTo>
                    <a:lnTo>
                      <a:pt x="707" y="347"/>
                    </a:lnTo>
                    <a:lnTo>
                      <a:pt x="707" y="341"/>
                    </a:lnTo>
                    <a:lnTo>
                      <a:pt x="709" y="339"/>
                    </a:lnTo>
                    <a:lnTo>
                      <a:pt x="711" y="339"/>
                    </a:lnTo>
                    <a:lnTo>
                      <a:pt x="709" y="337"/>
                    </a:lnTo>
                    <a:lnTo>
                      <a:pt x="707" y="339"/>
                    </a:lnTo>
                    <a:lnTo>
                      <a:pt x="706" y="335"/>
                    </a:lnTo>
                    <a:lnTo>
                      <a:pt x="706" y="330"/>
                    </a:lnTo>
                    <a:lnTo>
                      <a:pt x="713" y="330"/>
                    </a:lnTo>
                    <a:lnTo>
                      <a:pt x="717" y="335"/>
                    </a:lnTo>
                    <a:lnTo>
                      <a:pt x="723" y="339"/>
                    </a:lnTo>
                    <a:lnTo>
                      <a:pt x="730" y="341"/>
                    </a:lnTo>
                    <a:lnTo>
                      <a:pt x="736" y="339"/>
                    </a:lnTo>
                    <a:lnTo>
                      <a:pt x="742" y="345"/>
                    </a:lnTo>
                    <a:lnTo>
                      <a:pt x="742" y="341"/>
                    </a:lnTo>
                    <a:lnTo>
                      <a:pt x="736" y="335"/>
                    </a:lnTo>
                    <a:lnTo>
                      <a:pt x="742" y="328"/>
                    </a:lnTo>
                    <a:lnTo>
                      <a:pt x="748" y="328"/>
                    </a:lnTo>
                    <a:lnTo>
                      <a:pt x="748" y="326"/>
                    </a:lnTo>
                    <a:lnTo>
                      <a:pt x="742" y="326"/>
                    </a:lnTo>
                    <a:lnTo>
                      <a:pt x="742" y="322"/>
                    </a:lnTo>
                    <a:lnTo>
                      <a:pt x="740" y="322"/>
                    </a:lnTo>
                    <a:lnTo>
                      <a:pt x="736" y="328"/>
                    </a:lnTo>
                    <a:lnTo>
                      <a:pt x="730" y="332"/>
                    </a:lnTo>
                    <a:lnTo>
                      <a:pt x="727" y="332"/>
                    </a:lnTo>
                    <a:lnTo>
                      <a:pt x="721" y="328"/>
                    </a:lnTo>
                    <a:lnTo>
                      <a:pt x="723" y="326"/>
                    </a:lnTo>
                    <a:lnTo>
                      <a:pt x="728" y="324"/>
                    </a:lnTo>
                    <a:lnTo>
                      <a:pt x="728" y="320"/>
                    </a:lnTo>
                    <a:lnTo>
                      <a:pt x="728" y="322"/>
                    </a:lnTo>
                    <a:lnTo>
                      <a:pt x="727" y="324"/>
                    </a:lnTo>
                    <a:lnTo>
                      <a:pt x="725" y="322"/>
                    </a:lnTo>
                    <a:lnTo>
                      <a:pt x="725" y="320"/>
                    </a:lnTo>
                    <a:lnTo>
                      <a:pt x="721" y="324"/>
                    </a:lnTo>
                    <a:lnTo>
                      <a:pt x="717" y="326"/>
                    </a:lnTo>
                    <a:lnTo>
                      <a:pt x="713" y="318"/>
                    </a:lnTo>
                    <a:lnTo>
                      <a:pt x="711" y="320"/>
                    </a:lnTo>
                    <a:lnTo>
                      <a:pt x="709" y="318"/>
                    </a:lnTo>
                    <a:lnTo>
                      <a:pt x="709" y="313"/>
                    </a:lnTo>
                    <a:lnTo>
                      <a:pt x="707" y="313"/>
                    </a:lnTo>
                    <a:lnTo>
                      <a:pt x="709" y="311"/>
                    </a:lnTo>
                    <a:lnTo>
                      <a:pt x="707" y="313"/>
                    </a:lnTo>
                    <a:lnTo>
                      <a:pt x="707" y="311"/>
                    </a:lnTo>
                    <a:lnTo>
                      <a:pt x="707" y="309"/>
                    </a:lnTo>
                    <a:lnTo>
                      <a:pt x="711" y="313"/>
                    </a:lnTo>
                    <a:lnTo>
                      <a:pt x="709" y="311"/>
                    </a:lnTo>
                    <a:lnTo>
                      <a:pt x="713" y="313"/>
                    </a:lnTo>
                    <a:lnTo>
                      <a:pt x="713" y="309"/>
                    </a:lnTo>
                    <a:lnTo>
                      <a:pt x="717" y="307"/>
                    </a:lnTo>
                    <a:lnTo>
                      <a:pt x="721" y="309"/>
                    </a:lnTo>
                    <a:lnTo>
                      <a:pt x="725" y="311"/>
                    </a:lnTo>
                    <a:lnTo>
                      <a:pt x="727" y="313"/>
                    </a:lnTo>
                    <a:lnTo>
                      <a:pt x="725" y="309"/>
                    </a:lnTo>
                    <a:lnTo>
                      <a:pt x="727" y="307"/>
                    </a:lnTo>
                    <a:lnTo>
                      <a:pt x="723" y="307"/>
                    </a:lnTo>
                    <a:lnTo>
                      <a:pt x="721" y="301"/>
                    </a:lnTo>
                    <a:lnTo>
                      <a:pt x="715" y="297"/>
                    </a:lnTo>
                    <a:lnTo>
                      <a:pt x="719" y="295"/>
                    </a:lnTo>
                    <a:lnTo>
                      <a:pt x="719" y="292"/>
                    </a:lnTo>
                    <a:lnTo>
                      <a:pt x="719" y="294"/>
                    </a:lnTo>
                    <a:lnTo>
                      <a:pt x="717" y="288"/>
                    </a:lnTo>
                    <a:lnTo>
                      <a:pt x="721" y="290"/>
                    </a:lnTo>
                    <a:lnTo>
                      <a:pt x="732" y="286"/>
                    </a:lnTo>
                    <a:lnTo>
                      <a:pt x="736" y="290"/>
                    </a:lnTo>
                    <a:lnTo>
                      <a:pt x="749" y="292"/>
                    </a:lnTo>
                    <a:lnTo>
                      <a:pt x="749" y="294"/>
                    </a:lnTo>
                    <a:lnTo>
                      <a:pt x="751" y="294"/>
                    </a:lnTo>
                    <a:lnTo>
                      <a:pt x="749" y="288"/>
                    </a:lnTo>
                    <a:lnTo>
                      <a:pt x="744" y="286"/>
                    </a:lnTo>
                    <a:lnTo>
                      <a:pt x="740" y="286"/>
                    </a:lnTo>
                    <a:lnTo>
                      <a:pt x="740" y="282"/>
                    </a:lnTo>
                    <a:lnTo>
                      <a:pt x="738" y="278"/>
                    </a:lnTo>
                    <a:lnTo>
                      <a:pt x="744" y="276"/>
                    </a:lnTo>
                    <a:lnTo>
                      <a:pt x="746" y="278"/>
                    </a:lnTo>
                    <a:lnTo>
                      <a:pt x="748" y="274"/>
                    </a:lnTo>
                    <a:lnTo>
                      <a:pt x="744" y="274"/>
                    </a:lnTo>
                    <a:lnTo>
                      <a:pt x="744" y="273"/>
                    </a:lnTo>
                    <a:lnTo>
                      <a:pt x="742" y="274"/>
                    </a:lnTo>
                    <a:lnTo>
                      <a:pt x="738" y="274"/>
                    </a:lnTo>
                    <a:lnTo>
                      <a:pt x="734" y="271"/>
                    </a:lnTo>
                    <a:lnTo>
                      <a:pt x="734" y="269"/>
                    </a:lnTo>
                    <a:lnTo>
                      <a:pt x="732" y="271"/>
                    </a:lnTo>
                    <a:lnTo>
                      <a:pt x="736" y="267"/>
                    </a:lnTo>
                    <a:lnTo>
                      <a:pt x="736" y="265"/>
                    </a:lnTo>
                    <a:lnTo>
                      <a:pt x="728" y="269"/>
                    </a:lnTo>
                    <a:lnTo>
                      <a:pt x="725" y="265"/>
                    </a:lnTo>
                    <a:lnTo>
                      <a:pt x="727" y="261"/>
                    </a:lnTo>
                    <a:lnTo>
                      <a:pt x="730" y="259"/>
                    </a:lnTo>
                    <a:lnTo>
                      <a:pt x="730" y="257"/>
                    </a:lnTo>
                    <a:lnTo>
                      <a:pt x="725" y="257"/>
                    </a:lnTo>
                    <a:lnTo>
                      <a:pt x="728" y="253"/>
                    </a:lnTo>
                    <a:lnTo>
                      <a:pt x="728" y="246"/>
                    </a:lnTo>
                    <a:lnTo>
                      <a:pt x="734" y="242"/>
                    </a:lnTo>
                    <a:lnTo>
                      <a:pt x="734" y="240"/>
                    </a:lnTo>
                    <a:lnTo>
                      <a:pt x="740" y="244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44" y="250"/>
                    </a:lnTo>
                    <a:lnTo>
                      <a:pt x="744" y="248"/>
                    </a:lnTo>
                    <a:lnTo>
                      <a:pt x="744" y="246"/>
                    </a:lnTo>
                    <a:lnTo>
                      <a:pt x="748" y="246"/>
                    </a:lnTo>
                    <a:lnTo>
                      <a:pt x="748" y="244"/>
                    </a:lnTo>
                    <a:lnTo>
                      <a:pt x="751" y="244"/>
                    </a:lnTo>
                    <a:lnTo>
                      <a:pt x="749" y="244"/>
                    </a:lnTo>
                    <a:lnTo>
                      <a:pt x="751" y="242"/>
                    </a:lnTo>
                    <a:lnTo>
                      <a:pt x="748" y="242"/>
                    </a:lnTo>
                    <a:lnTo>
                      <a:pt x="744" y="236"/>
                    </a:lnTo>
                    <a:lnTo>
                      <a:pt x="744" y="234"/>
                    </a:lnTo>
                    <a:lnTo>
                      <a:pt x="748" y="238"/>
                    </a:lnTo>
                    <a:lnTo>
                      <a:pt x="751" y="236"/>
                    </a:lnTo>
                    <a:lnTo>
                      <a:pt x="757" y="240"/>
                    </a:lnTo>
                    <a:lnTo>
                      <a:pt x="757" y="238"/>
                    </a:lnTo>
                    <a:lnTo>
                      <a:pt x="759" y="238"/>
                    </a:lnTo>
                    <a:lnTo>
                      <a:pt x="763" y="238"/>
                    </a:lnTo>
                    <a:lnTo>
                      <a:pt x="763" y="236"/>
                    </a:lnTo>
                    <a:lnTo>
                      <a:pt x="765" y="234"/>
                    </a:lnTo>
                    <a:lnTo>
                      <a:pt x="763" y="232"/>
                    </a:lnTo>
                    <a:lnTo>
                      <a:pt x="765" y="231"/>
                    </a:lnTo>
                    <a:lnTo>
                      <a:pt x="763" y="229"/>
                    </a:lnTo>
                    <a:lnTo>
                      <a:pt x="765" y="229"/>
                    </a:lnTo>
                    <a:lnTo>
                      <a:pt x="763" y="229"/>
                    </a:lnTo>
                    <a:lnTo>
                      <a:pt x="761" y="225"/>
                    </a:lnTo>
                    <a:lnTo>
                      <a:pt x="751" y="227"/>
                    </a:lnTo>
                    <a:lnTo>
                      <a:pt x="746" y="225"/>
                    </a:lnTo>
                    <a:lnTo>
                      <a:pt x="744" y="221"/>
                    </a:lnTo>
                    <a:lnTo>
                      <a:pt x="744" y="215"/>
                    </a:lnTo>
                    <a:lnTo>
                      <a:pt x="746" y="213"/>
                    </a:lnTo>
                    <a:lnTo>
                      <a:pt x="746" y="211"/>
                    </a:lnTo>
                    <a:lnTo>
                      <a:pt x="749" y="210"/>
                    </a:lnTo>
                    <a:lnTo>
                      <a:pt x="753" y="211"/>
                    </a:lnTo>
                    <a:lnTo>
                      <a:pt x="755" y="213"/>
                    </a:lnTo>
                    <a:lnTo>
                      <a:pt x="755" y="211"/>
                    </a:lnTo>
                    <a:lnTo>
                      <a:pt x="757" y="215"/>
                    </a:lnTo>
                    <a:lnTo>
                      <a:pt x="757" y="213"/>
                    </a:lnTo>
                    <a:lnTo>
                      <a:pt x="757" y="208"/>
                    </a:lnTo>
                    <a:close/>
                    <a:moveTo>
                      <a:pt x="723" y="580"/>
                    </a:moveTo>
                    <a:lnTo>
                      <a:pt x="727" y="580"/>
                    </a:lnTo>
                    <a:lnTo>
                      <a:pt x="730" y="584"/>
                    </a:lnTo>
                    <a:lnTo>
                      <a:pt x="732" y="584"/>
                    </a:lnTo>
                    <a:lnTo>
                      <a:pt x="734" y="585"/>
                    </a:lnTo>
                    <a:lnTo>
                      <a:pt x="736" y="585"/>
                    </a:lnTo>
                    <a:lnTo>
                      <a:pt x="738" y="585"/>
                    </a:lnTo>
                    <a:lnTo>
                      <a:pt x="740" y="585"/>
                    </a:lnTo>
                    <a:lnTo>
                      <a:pt x="742" y="589"/>
                    </a:lnTo>
                    <a:lnTo>
                      <a:pt x="744" y="589"/>
                    </a:lnTo>
                    <a:lnTo>
                      <a:pt x="744" y="591"/>
                    </a:lnTo>
                    <a:lnTo>
                      <a:pt x="748" y="591"/>
                    </a:lnTo>
                    <a:lnTo>
                      <a:pt x="749" y="589"/>
                    </a:lnTo>
                    <a:lnTo>
                      <a:pt x="755" y="591"/>
                    </a:lnTo>
                    <a:lnTo>
                      <a:pt x="755" y="593"/>
                    </a:lnTo>
                    <a:lnTo>
                      <a:pt x="757" y="599"/>
                    </a:lnTo>
                    <a:lnTo>
                      <a:pt x="759" y="599"/>
                    </a:lnTo>
                    <a:lnTo>
                      <a:pt x="759" y="601"/>
                    </a:lnTo>
                    <a:lnTo>
                      <a:pt x="761" y="601"/>
                    </a:lnTo>
                    <a:lnTo>
                      <a:pt x="761" y="605"/>
                    </a:lnTo>
                    <a:lnTo>
                      <a:pt x="759" y="614"/>
                    </a:lnTo>
                    <a:lnTo>
                      <a:pt x="759" y="616"/>
                    </a:lnTo>
                    <a:lnTo>
                      <a:pt x="757" y="618"/>
                    </a:lnTo>
                    <a:lnTo>
                      <a:pt x="757" y="620"/>
                    </a:lnTo>
                    <a:lnTo>
                      <a:pt x="753" y="622"/>
                    </a:lnTo>
                    <a:lnTo>
                      <a:pt x="755" y="624"/>
                    </a:lnTo>
                    <a:lnTo>
                      <a:pt x="757" y="622"/>
                    </a:lnTo>
                    <a:lnTo>
                      <a:pt x="759" y="622"/>
                    </a:lnTo>
                    <a:lnTo>
                      <a:pt x="763" y="614"/>
                    </a:lnTo>
                    <a:lnTo>
                      <a:pt x="763" y="610"/>
                    </a:lnTo>
                    <a:lnTo>
                      <a:pt x="767" y="610"/>
                    </a:lnTo>
                    <a:lnTo>
                      <a:pt x="770" y="612"/>
                    </a:lnTo>
                    <a:lnTo>
                      <a:pt x="772" y="610"/>
                    </a:lnTo>
                    <a:lnTo>
                      <a:pt x="774" y="612"/>
                    </a:lnTo>
                    <a:lnTo>
                      <a:pt x="778" y="610"/>
                    </a:lnTo>
                    <a:lnTo>
                      <a:pt x="782" y="606"/>
                    </a:lnTo>
                    <a:lnTo>
                      <a:pt x="789" y="606"/>
                    </a:lnTo>
                    <a:lnTo>
                      <a:pt x="797" y="608"/>
                    </a:lnTo>
                    <a:lnTo>
                      <a:pt x="799" y="610"/>
                    </a:lnTo>
                    <a:lnTo>
                      <a:pt x="799" y="612"/>
                    </a:lnTo>
                    <a:lnTo>
                      <a:pt x="803" y="614"/>
                    </a:lnTo>
                    <a:lnTo>
                      <a:pt x="805" y="618"/>
                    </a:lnTo>
                    <a:lnTo>
                      <a:pt x="803" y="620"/>
                    </a:lnTo>
                    <a:lnTo>
                      <a:pt x="805" y="620"/>
                    </a:lnTo>
                    <a:lnTo>
                      <a:pt x="801" y="622"/>
                    </a:lnTo>
                    <a:lnTo>
                      <a:pt x="799" y="622"/>
                    </a:lnTo>
                    <a:lnTo>
                      <a:pt x="797" y="618"/>
                    </a:lnTo>
                    <a:lnTo>
                      <a:pt x="795" y="620"/>
                    </a:lnTo>
                    <a:lnTo>
                      <a:pt x="793" y="620"/>
                    </a:lnTo>
                    <a:lnTo>
                      <a:pt x="789" y="618"/>
                    </a:lnTo>
                    <a:lnTo>
                      <a:pt x="786" y="620"/>
                    </a:lnTo>
                    <a:lnTo>
                      <a:pt x="789" y="620"/>
                    </a:lnTo>
                    <a:lnTo>
                      <a:pt x="789" y="622"/>
                    </a:lnTo>
                    <a:lnTo>
                      <a:pt x="791" y="622"/>
                    </a:lnTo>
                    <a:lnTo>
                      <a:pt x="795" y="622"/>
                    </a:lnTo>
                    <a:lnTo>
                      <a:pt x="797" y="624"/>
                    </a:lnTo>
                    <a:lnTo>
                      <a:pt x="803" y="626"/>
                    </a:lnTo>
                    <a:lnTo>
                      <a:pt x="801" y="626"/>
                    </a:lnTo>
                    <a:lnTo>
                      <a:pt x="805" y="626"/>
                    </a:lnTo>
                    <a:lnTo>
                      <a:pt x="812" y="627"/>
                    </a:lnTo>
                    <a:lnTo>
                      <a:pt x="816" y="631"/>
                    </a:lnTo>
                    <a:lnTo>
                      <a:pt x="824" y="633"/>
                    </a:lnTo>
                    <a:lnTo>
                      <a:pt x="826" y="635"/>
                    </a:lnTo>
                    <a:lnTo>
                      <a:pt x="824" y="637"/>
                    </a:lnTo>
                    <a:lnTo>
                      <a:pt x="824" y="639"/>
                    </a:lnTo>
                    <a:lnTo>
                      <a:pt x="822" y="641"/>
                    </a:lnTo>
                    <a:lnTo>
                      <a:pt x="816" y="641"/>
                    </a:lnTo>
                    <a:lnTo>
                      <a:pt x="805" y="641"/>
                    </a:lnTo>
                    <a:lnTo>
                      <a:pt x="810" y="643"/>
                    </a:lnTo>
                    <a:lnTo>
                      <a:pt x="807" y="643"/>
                    </a:lnTo>
                    <a:lnTo>
                      <a:pt x="803" y="641"/>
                    </a:lnTo>
                    <a:lnTo>
                      <a:pt x="799" y="641"/>
                    </a:lnTo>
                    <a:lnTo>
                      <a:pt x="793" y="639"/>
                    </a:lnTo>
                    <a:lnTo>
                      <a:pt x="791" y="637"/>
                    </a:lnTo>
                    <a:lnTo>
                      <a:pt x="786" y="635"/>
                    </a:lnTo>
                    <a:lnTo>
                      <a:pt x="791" y="639"/>
                    </a:lnTo>
                    <a:lnTo>
                      <a:pt x="791" y="641"/>
                    </a:lnTo>
                    <a:lnTo>
                      <a:pt x="789" y="643"/>
                    </a:lnTo>
                    <a:lnTo>
                      <a:pt x="793" y="641"/>
                    </a:lnTo>
                    <a:lnTo>
                      <a:pt x="801" y="645"/>
                    </a:lnTo>
                    <a:lnTo>
                      <a:pt x="799" y="646"/>
                    </a:lnTo>
                    <a:lnTo>
                      <a:pt x="799" y="648"/>
                    </a:lnTo>
                    <a:lnTo>
                      <a:pt x="801" y="648"/>
                    </a:lnTo>
                    <a:lnTo>
                      <a:pt x="803" y="646"/>
                    </a:lnTo>
                    <a:lnTo>
                      <a:pt x="809" y="648"/>
                    </a:lnTo>
                    <a:lnTo>
                      <a:pt x="807" y="650"/>
                    </a:lnTo>
                    <a:lnTo>
                      <a:pt x="793" y="650"/>
                    </a:lnTo>
                    <a:lnTo>
                      <a:pt x="797" y="652"/>
                    </a:lnTo>
                    <a:lnTo>
                      <a:pt x="795" y="652"/>
                    </a:lnTo>
                    <a:lnTo>
                      <a:pt x="797" y="654"/>
                    </a:lnTo>
                    <a:lnTo>
                      <a:pt x="797" y="656"/>
                    </a:lnTo>
                    <a:lnTo>
                      <a:pt x="793" y="658"/>
                    </a:lnTo>
                    <a:lnTo>
                      <a:pt x="793" y="664"/>
                    </a:lnTo>
                    <a:lnTo>
                      <a:pt x="795" y="664"/>
                    </a:lnTo>
                    <a:lnTo>
                      <a:pt x="795" y="658"/>
                    </a:lnTo>
                    <a:lnTo>
                      <a:pt x="797" y="658"/>
                    </a:lnTo>
                    <a:lnTo>
                      <a:pt x="799" y="652"/>
                    </a:lnTo>
                    <a:lnTo>
                      <a:pt x="801" y="654"/>
                    </a:lnTo>
                    <a:lnTo>
                      <a:pt x="801" y="656"/>
                    </a:lnTo>
                    <a:lnTo>
                      <a:pt x="803" y="654"/>
                    </a:lnTo>
                    <a:lnTo>
                      <a:pt x="805" y="654"/>
                    </a:lnTo>
                    <a:lnTo>
                      <a:pt x="803" y="660"/>
                    </a:lnTo>
                    <a:lnTo>
                      <a:pt x="807" y="656"/>
                    </a:lnTo>
                    <a:lnTo>
                      <a:pt x="807" y="654"/>
                    </a:lnTo>
                    <a:lnTo>
                      <a:pt x="809" y="654"/>
                    </a:lnTo>
                    <a:lnTo>
                      <a:pt x="810" y="656"/>
                    </a:lnTo>
                    <a:lnTo>
                      <a:pt x="810" y="654"/>
                    </a:lnTo>
                    <a:lnTo>
                      <a:pt x="810" y="652"/>
                    </a:lnTo>
                    <a:lnTo>
                      <a:pt x="812" y="652"/>
                    </a:lnTo>
                    <a:lnTo>
                      <a:pt x="812" y="654"/>
                    </a:lnTo>
                    <a:lnTo>
                      <a:pt x="814" y="654"/>
                    </a:lnTo>
                    <a:lnTo>
                      <a:pt x="814" y="656"/>
                    </a:lnTo>
                    <a:lnTo>
                      <a:pt x="818" y="660"/>
                    </a:lnTo>
                    <a:lnTo>
                      <a:pt x="814" y="664"/>
                    </a:lnTo>
                    <a:lnTo>
                      <a:pt x="816" y="666"/>
                    </a:lnTo>
                    <a:lnTo>
                      <a:pt x="818" y="664"/>
                    </a:lnTo>
                    <a:lnTo>
                      <a:pt x="820" y="662"/>
                    </a:lnTo>
                    <a:lnTo>
                      <a:pt x="818" y="662"/>
                    </a:lnTo>
                    <a:lnTo>
                      <a:pt x="826" y="667"/>
                    </a:lnTo>
                    <a:lnTo>
                      <a:pt x="824" y="677"/>
                    </a:lnTo>
                    <a:lnTo>
                      <a:pt x="820" y="677"/>
                    </a:lnTo>
                    <a:lnTo>
                      <a:pt x="818" y="677"/>
                    </a:lnTo>
                    <a:lnTo>
                      <a:pt x="816" y="679"/>
                    </a:lnTo>
                    <a:lnTo>
                      <a:pt x="818" y="679"/>
                    </a:lnTo>
                    <a:lnTo>
                      <a:pt x="820" y="679"/>
                    </a:lnTo>
                    <a:lnTo>
                      <a:pt x="820" y="681"/>
                    </a:lnTo>
                    <a:lnTo>
                      <a:pt x="816" y="681"/>
                    </a:lnTo>
                    <a:lnTo>
                      <a:pt x="820" y="681"/>
                    </a:lnTo>
                    <a:lnTo>
                      <a:pt x="822" y="679"/>
                    </a:lnTo>
                    <a:lnTo>
                      <a:pt x="824" y="679"/>
                    </a:lnTo>
                    <a:lnTo>
                      <a:pt x="826" y="685"/>
                    </a:lnTo>
                    <a:lnTo>
                      <a:pt x="830" y="687"/>
                    </a:lnTo>
                    <a:lnTo>
                      <a:pt x="828" y="687"/>
                    </a:lnTo>
                    <a:lnTo>
                      <a:pt x="830" y="688"/>
                    </a:lnTo>
                    <a:lnTo>
                      <a:pt x="831" y="688"/>
                    </a:lnTo>
                    <a:lnTo>
                      <a:pt x="831" y="687"/>
                    </a:lnTo>
                    <a:lnTo>
                      <a:pt x="830" y="677"/>
                    </a:lnTo>
                    <a:lnTo>
                      <a:pt x="831" y="677"/>
                    </a:lnTo>
                    <a:lnTo>
                      <a:pt x="831" y="673"/>
                    </a:lnTo>
                    <a:lnTo>
                      <a:pt x="833" y="673"/>
                    </a:lnTo>
                    <a:lnTo>
                      <a:pt x="837" y="679"/>
                    </a:lnTo>
                    <a:lnTo>
                      <a:pt x="841" y="683"/>
                    </a:lnTo>
                    <a:lnTo>
                      <a:pt x="841" y="685"/>
                    </a:lnTo>
                    <a:lnTo>
                      <a:pt x="839" y="685"/>
                    </a:lnTo>
                    <a:lnTo>
                      <a:pt x="841" y="687"/>
                    </a:lnTo>
                    <a:lnTo>
                      <a:pt x="843" y="683"/>
                    </a:lnTo>
                    <a:lnTo>
                      <a:pt x="849" y="679"/>
                    </a:lnTo>
                    <a:lnTo>
                      <a:pt x="850" y="681"/>
                    </a:lnTo>
                    <a:lnTo>
                      <a:pt x="850" y="683"/>
                    </a:lnTo>
                    <a:lnTo>
                      <a:pt x="852" y="685"/>
                    </a:lnTo>
                    <a:lnTo>
                      <a:pt x="850" y="688"/>
                    </a:lnTo>
                    <a:lnTo>
                      <a:pt x="852" y="685"/>
                    </a:lnTo>
                    <a:lnTo>
                      <a:pt x="850" y="681"/>
                    </a:lnTo>
                    <a:lnTo>
                      <a:pt x="852" y="681"/>
                    </a:lnTo>
                    <a:lnTo>
                      <a:pt x="854" y="677"/>
                    </a:lnTo>
                    <a:lnTo>
                      <a:pt x="856" y="677"/>
                    </a:lnTo>
                    <a:lnTo>
                      <a:pt x="858" y="679"/>
                    </a:lnTo>
                    <a:lnTo>
                      <a:pt x="858" y="683"/>
                    </a:lnTo>
                    <a:lnTo>
                      <a:pt x="860" y="685"/>
                    </a:lnTo>
                    <a:lnTo>
                      <a:pt x="864" y="687"/>
                    </a:lnTo>
                    <a:lnTo>
                      <a:pt x="866" y="687"/>
                    </a:lnTo>
                    <a:lnTo>
                      <a:pt x="870" y="690"/>
                    </a:lnTo>
                    <a:lnTo>
                      <a:pt x="866" y="692"/>
                    </a:lnTo>
                    <a:lnTo>
                      <a:pt x="866" y="694"/>
                    </a:lnTo>
                    <a:lnTo>
                      <a:pt x="870" y="692"/>
                    </a:lnTo>
                    <a:lnTo>
                      <a:pt x="873" y="690"/>
                    </a:lnTo>
                    <a:lnTo>
                      <a:pt x="873" y="688"/>
                    </a:lnTo>
                    <a:lnTo>
                      <a:pt x="877" y="690"/>
                    </a:lnTo>
                    <a:lnTo>
                      <a:pt x="883" y="690"/>
                    </a:lnTo>
                    <a:lnTo>
                      <a:pt x="879" y="688"/>
                    </a:lnTo>
                    <a:lnTo>
                      <a:pt x="875" y="687"/>
                    </a:lnTo>
                    <a:lnTo>
                      <a:pt x="873" y="685"/>
                    </a:lnTo>
                    <a:lnTo>
                      <a:pt x="873" y="683"/>
                    </a:lnTo>
                    <a:lnTo>
                      <a:pt x="877" y="681"/>
                    </a:lnTo>
                    <a:lnTo>
                      <a:pt x="879" y="681"/>
                    </a:lnTo>
                    <a:lnTo>
                      <a:pt x="883" y="679"/>
                    </a:lnTo>
                    <a:lnTo>
                      <a:pt x="883" y="681"/>
                    </a:lnTo>
                    <a:lnTo>
                      <a:pt x="887" y="681"/>
                    </a:lnTo>
                    <a:lnTo>
                      <a:pt x="887" y="679"/>
                    </a:lnTo>
                    <a:lnTo>
                      <a:pt x="889" y="679"/>
                    </a:lnTo>
                    <a:lnTo>
                      <a:pt x="887" y="679"/>
                    </a:lnTo>
                    <a:lnTo>
                      <a:pt x="889" y="677"/>
                    </a:lnTo>
                    <a:lnTo>
                      <a:pt x="891" y="677"/>
                    </a:lnTo>
                    <a:lnTo>
                      <a:pt x="891" y="673"/>
                    </a:lnTo>
                    <a:lnTo>
                      <a:pt x="900" y="677"/>
                    </a:lnTo>
                    <a:lnTo>
                      <a:pt x="896" y="675"/>
                    </a:lnTo>
                    <a:lnTo>
                      <a:pt x="896" y="671"/>
                    </a:lnTo>
                    <a:lnTo>
                      <a:pt x="898" y="673"/>
                    </a:lnTo>
                    <a:lnTo>
                      <a:pt x="902" y="671"/>
                    </a:lnTo>
                    <a:lnTo>
                      <a:pt x="904" y="667"/>
                    </a:lnTo>
                    <a:lnTo>
                      <a:pt x="908" y="667"/>
                    </a:lnTo>
                    <a:lnTo>
                      <a:pt x="908" y="666"/>
                    </a:lnTo>
                    <a:lnTo>
                      <a:pt x="908" y="664"/>
                    </a:lnTo>
                    <a:lnTo>
                      <a:pt x="910" y="666"/>
                    </a:lnTo>
                    <a:lnTo>
                      <a:pt x="912" y="664"/>
                    </a:lnTo>
                    <a:lnTo>
                      <a:pt x="912" y="666"/>
                    </a:lnTo>
                    <a:lnTo>
                      <a:pt x="915" y="666"/>
                    </a:lnTo>
                    <a:lnTo>
                      <a:pt x="917" y="669"/>
                    </a:lnTo>
                    <a:lnTo>
                      <a:pt x="921" y="669"/>
                    </a:lnTo>
                    <a:lnTo>
                      <a:pt x="925" y="667"/>
                    </a:lnTo>
                    <a:lnTo>
                      <a:pt x="929" y="664"/>
                    </a:lnTo>
                    <a:lnTo>
                      <a:pt x="934" y="664"/>
                    </a:lnTo>
                    <a:lnTo>
                      <a:pt x="940" y="666"/>
                    </a:lnTo>
                    <a:lnTo>
                      <a:pt x="946" y="666"/>
                    </a:lnTo>
                    <a:lnTo>
                      <a:pt x="953" y="667"/>
                    </a:lnTo>
                    <a:lnTo>
                      <a:pt x="952" y="673"/>
                    </a:lnTo>
                    <a:lnTo>
                      <a:pt x="952" y="675"/>
                    </a:lnTo>
                    <a:lnTo>
                      <a:pt x="953" y="675"/>
                    </a:lnTo>
                    <a:lnTo>
                      <a:pt x="955" y="677"/>
                    </a:lnTo>
                    <a:lnTo>
                      <a:pt x="963" y="675"/>
                    </a:lnTo>
                    <a:lnTo>
                      <a:pt x="965" y="677"/>
                    </a:lnTo>
                    <a:lnTo>
                      <a:pt x="967" y="677"/>
                    </a:lnTo>
                    <a:lnTo>
                      <a:pt x="971" y="679"/>
                    </a:lnTo>
                    <a:lnTo>
                      <a:pt x="971" y="683"/>
                    </a:lnTo>
                    <a:lnTo>
                      <a:pt x="973" y="683"/>
                    </a:lnTo>
                    <a:lnTo>
                      <a:pt x="965" y="687"/>
                    </a:lnTo>
                    <a:lnTo>
                      <a:pt x="973" y="687"/>
                    </a:lnTo>
                    <a:lnTo>
                      <a:pt x="978" y="687"/>
                    </a:lnTo>
                    <a:lnTo>
                      <a:pt x="976" y="688"/>
                    </a:lnTo>
                    <a:lnTo>
                      <a:pt x="978" y="688"/>
                    </a:lnTo>
                    <a:lnTo>
                      <a:pt x="978" y="690"/>
                    </a:lnTo>
                    <a:lnTo>
                      <a:pt x="980" y="692"/>
                    </a:lnTo>
                    <a:lnTo>
                      <a:pt x="978" y="696"/>
                    </a:lnTo>
                    <a:lnTo>
                      <a:pt x="978" y="698"/>
                    </a:lnTo>
                    <a:lnTo>
                      <a:pt x="980" y="698"/>
                    </a:lnTo>
                    <a:lnTo>
                      <a:pt x="978" y="700"/>
                    </a:lnTo>
                    <a:lnTo>
                      <a:pt x="978" y="702"/>
                    </a:lnTo>
                    <a:lnTo>
                      <a:pt x="976" y="706"/>
                    </a:lnTo>
                    <a:lnTo>
                      <a:pt x="974" y="706"/>
                    </a:lnTo>
                    <a:lnTo>
                      <a:pt x="973" y="709"/>
                    </a:lnTo>
                    <a:lnTo>
                      <a:pt x="969" y="711"/>
                    </a:lnTo>
                    <a:lnTo>
                      <a:pt x="967" y="711"/>
                    </a:lnTo>
                    <a:lnTo>
                      <a:pt x="965" y="713"/>
                    </a:lnTo>
                    <a:lnTo>
                      <a:pt x="965" y="715"/>
                    </a:lnTo>
                    <a:lnTo>
                      <a:pt x="969" y="717"/>
                    </a:lnTo>
                    <a:lnTo>
                      <a:pt x="967" y="719"/>
                    </a:lnTo>
                    <a:lnTo>
                      <a:pt x="971" y="719"/>
                    </a:lnTo>
                    <a:lnTo>
                      <a:pt x="969" y="717"/>
                    </a:lnTo>
                    <a:lnTo>
                      <a:pt x="971" y="717"/>
                    </a:lnTo>
                    <a:lnTo>
                      <a:pt x="971" y="715"/>
                    </a:lnTo>
                    <a:lnTo>
                      <a:pt x="973" y="715"/>
                    </a:lnTo>
                    <a:lnTo>
                      <a:pt x="974" y="713"/>
                    </a:lnTo>
                    <a:lnTo>
                      <a:pt x="976" y="715"/>
                    </a:lnTo>
                    <a:lnTo>
                      <a:pt x="978" y="715"/>
                    </a:lnTo>
                    <a:lnTo>
                      <a:pt x="978" y="717"/>
                    </a:lnTo>
                    <a:lnTo>
                      <a:pt x="978" y="719"/>
                    </a:lnTo>
                    <a:lnTo>
                      <a:pt x="982" y="723"/>
                    </a:lnTo>
                    <a:lnTo>
                      <a:pt x="980" y="725"/>
                    </a:lnTo>
                    <a:lnTo>
                      <a:pt x="978" y="725"/>
                    </a:lnTo>
                    <a:lnTo>
                      <a:pt x="976" y="725"/>
                    </a:lnTo>
                    <a:lnTo>
                      <a:pt x="974" y="727"/>
                    </a:lnTo>
                    <a:lnTo>
                      <a:pt x="973" y="727"/>
                    </a:lnTo>
                    <a:lnTo>
                      <a:pt x="969" y="727"/>
                    </a:lnTo>
                    <a:lnTo>
                      <a:pt x="969" y="725"/>
                    </a:lnTo>
                    <a:lnTo>
                      <a:pt x="967" y="723"/>
                    </a:lnTo>
                    <a:lnTo>
                      <a:pt x="965" y="719"/>
                    </a:lnTo>
                    <a:lnTo>
                      <a:pt x="963" y="723"/>
                    </a:lnTo>
                    <a:lnTo>
                      <a:pt x="965" y="723"/>
                    </a:lnTo>
                    <a:lnTo>
                      <a:pt x="969" y="727"/>
                    </a:lnTo>
                    <a:lnTo>
                      <a:pt x="969" y="729"/>
                    </a:lnTo>
                    <a:lnTo>
                      <a:pt x="967" y="730"/>
                    </a:lnTo>
                    <a:lnTo>
                      <a:pt x="969" y="732"/>
                    </a:lnTo>
                    <a:lnTo>
                      <a:pt x="967" y="734"/>
                    </a:lnTo>
                    <a:lnTo>
                      <a:pt x="967" y="736"/>
                    </a:lnTo>
                    <a:lnTo>
                      <a:pt x="969" y="738"/>
                    </a:lnTo>
                    <a:lnTo>
                      <a:pt x="967" y="742"/>
                    </a:lnTo>
                    <a:lnTo>
                      <a:pt x="963" y="740"/>
                    </a:lnTo>
                    <a:lnTo>
                      <a:pt x="963" y="742"/>
                    </a:lnTo>
                    <a:lnTo>
                      <a:pt x="959" y="742"/>
                    </a:lnTo>
                    <a:lnTo>
                      <a:pt x="953" y="740"/>
                    </a:lnTo>
                    <a:lnTo>
                      <a:pt x="952" y="742"/>
                    </a:lnTo>
                    <a:lnTo>
                      <a:pt x="942" y="748"/>
                    </a:lnTo>
                    <a:lnTo>
                      <a:pt x="938" y="748"/>
                    </a:lnTo>
                    <a:lnTo>
                      <a:pt x="936" y="746"/>
                    </a:lnTo>
                    <a:lnTo>
                      <a:pt x="936" y="744"/>
                    </a:lnTo>
                    <a:lnTo>
                      <a:pt x="932" y="744"/>
                    </a:lnTo>
                    <a:lnTo>
                      <a:pt x="932" y="742"/>
                    </a:lnTo>
                    <a:lnTo>
                      <a:pt x="932" y="740"/>
                    </a:lnTo>
                    <a:lnTo>
                      <a:pt x="932" y="744"/>
                    </a:lnTo>
                    <a:lnTo>
                      <a:pt x="931" y="746"/>
                    </a:lnTo>
                    <a:lnTo>
                      <a:pt x="927" y="744"/>
                    </a:lnTo>
                    <a:lnTo>
                      <a:pt x="925" y="742"/>
                    </a:lnTo>
                    <a:lnTo>
                      <a:pt x="923" y="738"/>
                    </a:lnTo>
                    <a:lnTo>
                      <a:pt x="921" y="732"/>
                    </a:lnTo>
                    <a:lnTo>
                      <a:pt x="921" y="730"/>
                    </a:lnTo>
                    <a:lnTo>
                      <a:pt x="923" y="729"/>
                    </a:lnTo>
                    <a:lnTo>
                      <a:pt x="921" y="729"/>
                    </a:lnTo>
                    <a:lnTo>
                      <a:pt x="921" y="727"/>
                    </a:lnTo>
                    <a:lnTo>
                      <a:pt x="919" y="727"/>
                    </a:lnTo>
                    <a:lnTo>
                      <a:pt x="915" y="721"/>
                    </a:lnTo>
                    <a:lnTo>
                      <a:pt x="915" y="723"/>
                    </a:lnTo>
                    <a:lnTo>
                      <a:pt x="915" y="727"/>
                    </a:lnTo>
                    <a:lnTo>
                      <a:pt x="917" y="729"/>
                    </a:lnTo>
                    <a:lnTo>
                      <a:pt x="919" y="729"/>
                    </a:lnTo>
                    <a:lnTo>
                      <a:pt x="917" y="734"/>
                    </a:lnTo>
                    <a:lnTo>
                      <a:pt x="917" y="736"/>
                    </a:lnTo>
                    <a:lnTo>
                      <a:pt x="917" y="740"/>
                    </a:lnTo>
                    <a:lnTo>
                      <a:pt x="913" y="744"/>
                    </a:lnTo>
                    <a:lnTo>
                      <a:pt x="910" y="744"/>
                    </a:lnTo>
                    <a:lnTo>
                      <a:pt x="904" y="746"/>
                    </a:lnTo>
                    <a:lnTo>
                      <a:pt x="898" y="746"/>
                    </a:lnTo>
                    <a:lnTo>
                      <a:pt x="896" y="744"/>
                    </a:lnTo>
                    <a:lnTo>
                      <a:pt x="892" y="746"/>
                    </a:lnTo>
                    <a:lnTo>
                      <a:pt x="892" y="738"/>
                    </a:lnTo>
                    <a:lnTo>
                      <a:pt x="892" y="734"/>
                    </a:lnTo>
                    <a:lnTo>
                      <a:pt x="891" y="738"/>
                    </a:lnTo>
                    <a:lnTo>
                      <a:pt x="891" y="746"/>
                    </a:lnTo>
                    <a:lnTo>
                      <a:pt x="889" y="748"/>
                    </a:lnTo>
                    <a:lnTo>
                      <a:pt x="887" y="746"/>
                    </a:lnTo>
                    <a:lnTo>
                      <a:pt x="885" y="736"/>
                    </a:lnTo>
                    <a:lnTo>
                      <a:pt x="883" y="734"/>
                    </a:lnTo>
                    <a:lnTo>
                      <a:pt x="885" y="742"/>
                    </a:lnTo>
                    <a:lnTo>
                      <a:pt x="883" y="746"/>
                    </a:lnTo>
                    <a:lnTo>
                      <a:pt x="873" y="748"/>
                    </a:lnTo>
                    <a:lnTo>
                      <a:pt x="875" y="742"/>
                    </a:lnTo>
                    <a:lnTo>
                      <a:pt x="873" y="742"/>
                    </a:lnTo>
                    <a:lnTo>
                      <a:pt x="873" y="740"/>
                    </a:lnTo>
                    <a:lnTo>
                      <a:pt x="871" y="740"/>
                    </a:lnTo>
                    <a:lnTo>
                      <a:pt x="871" y="746"/>
                    </a:lnTo>
                    <a:lnTo>
                      <a:pt x="870" y="748"/>
                    </a:lnTo>
                    <a:lnTo>
                      <a:pt x="866" y="746"/>
                    </a:lnTo>
                    <a:lnTo>
                      <a:pt x="864" y="740"/>
                    </a:lnTo>
                    <a:lnTo>
                      <a:pt x="864" y="744"/>
                    </a:lnTo>
                    <a:lnTo>
                      <a:pt x="866" y="748"/>
                    </a:lnTo>
                    <a:lnTo>
                      <a:pt x="860" y="748"/>
                    </a:lnTo>
                    <a:lnTo>
                      <a:pt x="858" y="748"/>
                    </a:lnTo>
                    <a:lnTo>
                      <a:pt x="854" y="748"/>
                    </a:lnTo>
                    <a:lnTo>
                      <a:pt x="854" y="746"/>
                    </a:lnTo>
                    <a:lnTo>
                      <a:pt x="854" y="744"/>
                    </a:lnTo>
                    <a:lnTo>
                      <a:pt x="856" y="744"/>
                    </a:lnTo>
                    <a:lnTo>
                      <a:pt x="854" y="744"/>
                    </a:lnTo>
                    <a:lnTo>
                      <a:pt x="852" y="744"/>
                    </a:lnTo>
                    <a:lnTo>
                      <a:pt x="852" y="748"/>
                    </a:lnTo>
                    <a:lnTo>
                      <a:pt x="849" y="748"/>
                    </a:lnTo>
                    <a:lnTo>
                      <a:pt x="847" y="746"/>
                    </a:lnTo>
                    <a:lnTo>
                      <a:pt x="845" y="748"/>
                    </a:lnTo>
                    <a:lnTo>
                      <a:pt x="843" y="748"/>
                    </a:lnTo>
                    <a:lnTo>
                      <a:pt x="841" y="746"/>
                    </a:lnTo>
                    <a:lnTo>
                      <a:pt x="841" y="748"/>
                    </a:lnTo>
                    <a:lnTo>
                      <a:pt x="835" y="746"/>
                    </a:lnTo>
                    <a:lnTo>
                      <a:pt x="835" y="742"/>
                    </a:lnTo>
                    <a:lnTo>
                      <a:pt x="837" y="732"/>
                    </a:lnTo>
                    <a:lnTo>
                      <a:pt x="837" y="729"/>
                    </a:lnTo>
                    <a:lnTo>
                      <a:pt x="835" y="729"/>
                    </a:lnTo>
                    <a:lnTo>
                      <a:pt x="837" y="727"/>
                    </a:lnTo>
                    <a:lnTo>
                      <a:pt x="835" y="721"/>
                    </a:lnTo>
                    <a:lnTo>
                      <a:pt x="835" y="723"/>
                    </a:lnTo>
                    <a:lnTo>
                      <a:pt x="835" y="725"/>
                    </a:lnTo>
                    <a:lnTo>
                      <a:pt x="833" y="727"/>
                    </a:lnTo>
                    <a:lnTo>
                      <a:pt x="833" y="725"/>
                    </a:lnTo>
                    <a:lnTo>
                      <a:pt x="833" y="729"/>
                    </a:lnTo>
                    <a:lnTo>
                      <a:pt x="831" y="729"/>
                    </a:lnTo>
                    <a:lnTo>
                      <a:pt x="831" y="736"/>
                    </a:lnTo>
                    <a:lnTo>
                      <a:pt x="830" y="736"/>
                    </a:lnTo>
                    <a:lnTo>
                      <a:pt x="830" y="729"/>
                    </a:lnTo>
                    <a:lnTo>
                      <a:pt x="826" y="727"/>
                    </a:lnTo>
                    <a:lnTo>
                      <a:pt x="828" y="729"/>
                    </a:lnTo>
                    <a:lnTo>
                      <a:pt x="828" y="732"/>
                    </a:lnTo>
                    <a:lnTo>
                      <a:pt x="826" y="732"/>
                    </a:lnTo>
                    <a:lnTo>
                      <a:pt x="824" y="732"/>
                    </a:lnTo>
                    <a:lnTo>
                      <a:pt x="826" y="734"/>
                    </a:lnTo>
                    <a:lnTo>
                      <a:pt x="826" y="738"/>
                    </a:lnTo>
                    <a:lnTo>
                      <a:pt x="824" y="742"/>
                    </a:lnTo>
                    <a:lnTo>
                      <a:pt x="822" y="740"/>
                    </a:lnTo>
                    <a:lnTo>
                      <a:pt x="822" y="742"/>
                    </a:lnTo>
                    <a:lnTo>
                      <a:pt x="818" y="744"/>
                    </a:lnTo>
                    <a:lnTo>
                      <a:pt x="812" y="744"/>
                    </a:lnTo>
                    <a:lnTo>
                      <a:pt x="812" y="740"/>
                    </a:lnTo>
                    <a:lnTo>
                      <a:pt x="810" y="740"/>
                    </a:lnTo>
                    <a:lnTo>
                      <a:pt x="810" y="744"/>
                    </a:lnTo>
                    <a:lnTo>
                      <a:pt x="807" y="740"/>
                    </a:lnTo>
                    <a:lnTo>
                      <a:pt x="807" y="738"/>
                    </a:lnTo>
                    <a:lnTo>
                      <a:pt x="805" y="740"/>
                    </a:lnTo>
                    <a:lnTo>
                      <a:pt x="803" y="738"/>
                    </a:lnTo>
                    <a:lnTo>
                      <a:pt x="801" y="736"/>
                    </a:lnTo>
                    <a:lnTo>
                      <a:pt x="799" y="732"/>
                    </a:lnTo>
                    <a:lnTo>
                      <a:pt x="801" y="732"/>
                    </a:lnTo>
                    <a:lnTo>
                      <a:pt x="799" y="732"/>
                    </a:lnTo>
                    <a:lnTo>
                      <a:pt x="797" y="734"/>
                    </a:lnTo>
                    <a:lnTo>
                      <a:pt x="795" y="734"/>
                    </a:lnTo>
                    <a:lnTo>
                      <a:pt x="799" y="727"/>
                    </a:lnTo>
                    <a:lnTo>
                      <a:pt x="801" y="723"/>
                    </a:lnTo>
                    <a:lnTo>
                      <a:pt x="799" y="723"/>
                    </a:lnTo>
                    <a:lnTo>
                      <a:pt x="799" y="725"/>
                    </a:lnTo>
                    <a:lnTo>
                      <a:pt x="795" y="732"/>
                    </a:lnTo>
                    <a:lnTo>
                      <a:pt x="793" y="730"/>
                    </a:lnTo>
                    <a:lnTo>
                      <a:pt x="793" y="732"/>
                    </a:lnTo>
                    <a:lnTo>
                      <a:pt x="795" y="738"/>
                    </a:lnTo>
                    <a:lnTo>
                      <a:pt x="791" y="738"/>
                    </a:lnTo>
                    <a:lnTo>
                      <a:pt x="791" y="736"/>
                    </a:lnTo>
                    <a:lnTo>
                      <a:pt x="789" y="738"/>
                    </a:lnTo>
                    <a:lnTo>
                      <a:pt x="788" y="736"/>
                    </a:lnTo>
                    <a:lnTo>
                      <a:pt x="786" y="736"/>
                    </a:lnTo>
                    <a:lnTo>
                      <a:pt x="786" y="734"/>
                    </a:lnTo>
                    <a:lnTo>
                      <a:pt x="784" y="732"/>
                    </a:lnTo>
                    <a:lnTo>
                      <a:pt x="784" y="734"/>
                    </a:lnTo>
                    <a:lnTo>
                      <a:pt x="782" y="734"/>
                    </a:lnTo>
                    <a:lnTo>
                      <a:pt x="782" y="732"/>
                    </a:lnTo>
                    <a:lnTo>
                      <a:pt x="784" y="732"/>
                    </a:lnTo>
                    <a:lnTo>
                      <a:pt x="780" y="729"/>
                    </a:lnTo>
                    <a:lnTo>
                      <a:pt x="780" y="723"/>
                    </a:lnTo>
                    <a:lnTo>
                      <a:pt x="780" y="719"/>
                    </a:lnTo>
                    <a:lnTo>
                      <a:pt x="778" y="717"/>
                    </a:lnTo>
                    <a:lnTo>
                      <a:pt x="776" y="713"/>
                    </a:lnTo>
                    <a:lnTo>
                      <a:pt x="778" y="711"/>
                    </a:lnTo>
                    <a:lnTo>
                      <a:pt x="776" y="711"/>
                    </a:lnTo>
                    <a:lnTo>
                      <a:pt x="780" y="709"/>
                    </a:lnTo>
                    <a:lnTo>
                      <a:pt x="778" y="708"/>
                    </a:lnTo>
                    <a:lnTo>
                      <a:pt x="780" y="708"/>
                    </a:lnTo>
                    <a:lnTo>
                      <a:pt x="778" y="706"/>
                    </a:lnTo>
                    <a:lnTo>
                      <a:pt x="776" y="708"/>
                    </a:lnTo>
                    <a:lnTo>
                      <a:pt x="774" y="708"/>
                    </a:lnTo>
                    <a:lnTo>
                      <a:pt x="774" y="706"/>
                    </a:lnTo>
                    <a:lnTo>
                      <a:pt x="774" y="704"/>
                    </a:lnTo>
                    <a:lnTo>
                      <a:pt x="772" y="702"/>
                    </a:lnTo>
                    <a:lnTo>
                      <a:pt x="772" y="696"/>
                    </a:lnTo>
                    <a:lnTo>
                      <a:pt x="774" y="692"/>
                    </a:lnTo>
                    <a:lnTo>
                      <a:pt x="772" y="692"/>
                    </a:lnTo>
                    <a:lnTo>
                      <a:pt x="774" y="688"/>
                    </a:lnTo>
                    <a:lnTo>
                      <a:pt x="776" y="681"/>
                    </a:lnTo>
                    <a:lnTo>
                      <a:pt x="780" y="679"/>
                    </a:lnTo>
                    <a:lnTo>
                      <a:pt x="778" y="677"/>
                    </a:lnTo>
                    <a:lnTo>
                      <a:pt x="780" y="673"/>
                    </a:lnTo>
                    <a:lnTo>
                      <a:pt x="778" y="671"/>
                    </a:lnTo>
                    <a:lnTo>
                      <a:pt x="780" y="666"/>
                    </a:lnTo>
                    <a:lnTo>
                      <a:pt x="778" y="662"/>
                    </a:lnTo>
                    <a:lnTo>
                      <a:pt x="778" y="660"/>
                    </a:lnTo>
                    <a:lnTo>
                      <a:pt x="774" y="658"/>
                    </a:lnTo>
                    <a:lnTo>
                      <a:pt x="772" y="654"/>
                    </a:lnTo>
                    <a:lnTo>
                      <a:pt x="770" y="650"/>
                    </a:lnTo>
                    <a:lnTo>
                      <a:pt x="770" y="652"/>
                    </a:lnTo>
                    <a:lnTo>
                      <a:pt x="770" y="645"/>
                    </a:lnTo>
                    <a:lnTo>
                      <a:pt x="769" y="641"/>
                    </a:lnTo>
                    <a:lnTo>
                      <a:pt x="769" y="639"/>
                    </a:lnTo>
                    <a:lnTo>
                      <a:pt x="765" y="635"/>
                    </a:lnTo>
                    <a:lnTo>
                      <a:pt x="763" y="631"/>
                    </a:lnTo>
                    <a:lnTo>
                      <a:pt x="763" y="627"/>
                    </a:lnTo>
                    <a:lnTo>
                      <a:pt x="759" y="627"/>
                    </a:lnTo>
                    <a:lnTo>
                      <a:pt x="755" y="633"/>
                    </a:lnTo>
                    <a:lnTo>
                      <a:pt x="753" y="633"/>
                    </a:lnTo>
                    <a:lnTo>
                      <a:pt x="755" y="631"/>
                    </a:lnTo>
                    <a:lnTo>
                      <a:pt x="753" y="631"/>
                    </a:lnTo>
                    <a:lnTo>
                      <a:pt x="751" y="633"/>
                    </a:lnTo>
                    <a:lnTo>
                      <a:pt x="755" y="635"/>
                    </a:lnTo>
                    <a:lnTo>
                      <a:pt x="753" y="635"/>
                    </a:lnTo>
                    <a:lnTo>
                      <a:pt x="746" y="635"/>
                    </a:lnTo>
                    <a:lnTo>
                      <a:pt x="746" y="633"/>
                    </a:lnTo>
                    <a:lnTo>
                      <a:pt x="738" y="633"/>
                    </a:lnTo>
                    <a:lnTo>
                      <a:pt x="738" y="631"/>
                    </a:lnTo>
                    <a:lnTo>
                      <a:pt x="736" y="631"/>
                    </a:lnTo>
                    <a:lnTo>
                      <a:pt x="736" y="633"/>
                    </a:lnTo>
                    <a:lnTo>
                      <a:pt x="732" y="637"/>
                    </a:lnTo>
                    <a:lnTo>
                      <a:pt x="728" y="637"/>
                    </a:lnTo>
                    <a:lnTo>
                      <a:pt x="727" y="637"/>
                    </a:lnTo>
                    <a:lnTo>
                      <a:pt x="727" y="631"/>
                    </a:lnTo>
                    <a:lnTo>
                      <a:pt x="728" y="633"/>
                    </a:lnTo>
                    <a:lnTo>
                      <a:pt x="730" y="631"/>
                    </a:lnTo>
                    <a:lnTo>
                      <a:pt x="732" y="629"/>
                    </a:lnTo>
                    <a:lnTo>
                      <a:pt x="730" y="627"/>
                    </a:lnTo>
                    <a:lnTo>
                      <a:pt x="728" y="629"/>
                    </a:lnTo>
                    <a:lnTo>
                      <a:pt x="728" y="627"/>
                    </a:lnTo>
                    <a:lnTo>
                      <a:pt x="727" y="627"/>
                    </a:lnTo>
                    <a:lnTo>
                      <a:pt x="727" y="629"/>
                    </a:lnTo>
                    <a:lnTo>
                      <a:pt x="725" y="627"/>
                    </a:lnTo>
                    <a:lnTo>
                      <a:pt x="719" y="626"/>
                    </a:lnTo>
                    <a:lnTo>
                      <a:pt x="717" y="624"/>
                    </a:lnTo>
                    <a:lnTo>
                      <a:pt x="715" y="618"/>
                    </a:lnTo>
                    <a:lnTo>
                      <a:pt x="715" y="616"/>
                    </a:lnTo>
                    <a:lnTo>
                      <a:pt x="721" y="618"/>
                    </a:lnTo>
                    <a:lnTo>
                      <a:pt x="723" y="612"/>
                    </a:lnTo>
                    <a:lnTo>
                      <a:pt x="721" y="612"/>
                    </a:lnTo>
                    <a:lnTo>
                      <a:pt x="721" y="614"/>
                    </a:lnTo>
                    <a:lnTo>
                      <a:pt x="719" y="616"/>
                    </a:lnTo>
                    <a:lnTo>
                      <a:pt x="719" y="614"/>
                    </a:lnTo>
                    <a:lnTo>
                      <a:pt x="715" y="614"/>
                    </a:lnTo>
                    <a:lnTo>
                      <a:pt x="717" y="612"/>
                    </a:lnTo>
                    <a:lnTo>
                      <a:pt x="713" y="614"/>
                    </a:lnTo>
                    <a:lnTo>
                      <a:pt x="713" y="608"/>
                    </a:lnTo>
                    <a:lnTo>
                      <a:pt x="711" y="610"/>
                    </a:lnTo>
                    <a:lnTo>
                      <a:pt x="709" y="608"/>
                    </a:lnTo>
                    <a:lnTo>
                      <a:pt x="709" y="606"/>
                    </a:lnTo>
                    <a:lnTo>
                      <a:pt x="706" y="605"/>
                    </a:lnTo>
                    <a:lnTo>
                      <a:pt x="704" y="605"/>
                    </a:lnTo>
                    <a:lnTo>
                      <a:pt x="702" y="603"/>
                    </a:lnTo>
                    <a:lnTo>
                      <a:pt x="704" y="601"/>
                    </a:lnTo>
                    <a:lnTo>
                      <a:pt x="702" y="599"/>
                    </a:lnTo>
                    <a:lnTo>
                      <a:pt x="702" y="597"/>
                    </a:lnTo>
                    <a:lnTo>
                      <a:pt x="706" y="599"/>
                    </a:lnTo>
                    <a:lnTo>
                      <a:pt x="706" y="601"/>
                    </a:lnTo>
                    <a:lnTo>
                      <a:pt x="709" y="601"/>
                    </a:lnTo>
                    <a:lnTo>
                      <a:pt x="709" y="603"/>
                    </a:lnTo>
                    <a:lnTo>
                      <a:pt x="709" y="599"/>
                    </a:lnTo>
                    <a:lnTo>
                      <a:pt x="707" y="599"/>
                    </a:lnTo>
                    <a:lnTo>
                      <a:pt x="709" y="599"/>
                    </a:lnTo>
                    <a:lnTo>
                      <a:pt x="707" y="599"/>
                    </a:lnTo>
                    <a:lnTo>
                      <a:pt x="707" y="597"/>
                    </a:lnTo>
                    <a:lnTo>
                      <a:pt x="709" y="597"/>
                    </a:lnTo>
                    <a:lnTo>
                      <a:pt x="709" y="599"/>
                    </a:lnTo>
                    <a:lnTo>
                      <a:pt x="711" y="597"/>
                    </a:lnTo>
                    <a:lnTo>
                      <a:pt x="707" y="597"/>
                    </a:lnTo>
                    <a:lnTo>
                      <a:pt x="706" y="593"/>
                    </a:lnTo>
                    <a:lnTo>
                      <a:pt x="704" y="595"/>
                    </a:lnTo>
                    <a:lnTo>
                      <a:pt x="704" y="589"/>
                    </a:lnTo>
                    <a:lnTo>
                      <a:pt x="704" y="587"/>
                    </a:lnTo>
                    <a:lnTo>
                      <a:pt x="706" y="589"/>
                    </a:lnTo>
                    <a:lnTo>
                      <a:pt x="706" y="587"/>
                    </a:lnTo>
                    <a:lnTo>
                      <a:pt x="704" y="587"/>
                    </a:lnTo>
                    <a:lnTo>
                      <a:pt x="704" y="585"/>
                    </a:lnTo>
                    <a:lnTo>
                      <a:pt x="709" y="585"/>
                    </a:lnTo>
                    <a:lnTo>
                      <a:pt x="711" y="585"/>
                    </a:lnTo>
                    <a:lnTo>
                      <a:pt x="711" y="584"/>
                    </a:lnTo>
                    <a:lnTo>
                      <a:pt x="711" y="585"/>
                    </a:lnTo>
                    <a:lnTo>
                      <a:pt x="711" y="584"/>
                    </a:lnTo>
                    <a:lnTo>
                      <a:pt x="713" y="584"/>
                    </a:lnTo>
                    <a:lnTo>
                      <a:pt x="711" y="584"/>
                    </a:lnTo>
                    <a:lnTo>
                      <a:pt x="711" y="582"/>
                    </a:lnTo>
                    <a:lnTo>
                      <a:pt x="723" y="580"/>
                    </a:lnTo>
                    <a:close/>
                    <a:moveTo>
                      <a:pt x="515" y="595"/>
                    </a:moveTo>
                    <a:lnTo>
                      <a:pt x="517" y="597"/>
                    </a:lnTo>
                    <a:lnTo>
                      <a:pt x="515" y="601"/>
                    </a:lnTo>
                    <a:lnTo>
                      <a:pt x="519" y="601"/>
                    </a:lnTo>
                    <a:lnTo>
                      <a:pt x="521" y="603"/>
                    </a:lnTo>
                    <a:lnTo>
                      <a:pt x="519" y="608"/>
                    </a:lnTo>
                    <a:lnTo>
                      <a:pt x="515" y="608"/>
                    </a:lnTo>
                    <a:lnTo>
                      <a:pt x="515" y="610"/>
                    </a:lnTo>
                    <a:lnTo>
                      <a:pt x="515" y="612"/>
                    </a:lnTo>
                    <a:lnTo>
                      <a:pt x="517" y="612"/>
                    </a:lnTo>
                    <a:lnTo>
                      <a:pt x="517" y="614"/>
                    </a:lnTo>
                    <a:lnTo>
                      <a:pt x="519" y="614"/>
                    </a:lnTo>
                    <a:lnTo>
                      <a:pt x="517" y="616"/>
                    </a:lnTo>
                    <a:lnTo>
                      <a:pt x="517" y="618"/>
                    </a:lnTo>
                    <a:lnTo>
                      <a:pt x="519" y="618"/>
                    </a:lnTo>
                    <a:lnTo>
                      <a:pt x="517" y="620"/>
                    </a:lnTo>
                    <a:lnTo>
                      <a:pt x="519" y="622"/>
                    </a:lnTo>
                    <a:lnTo>
                      <a:pt x="517" y="624"/>
                    </a:lnTo>
                    <a:lnTo>
                      <a:pt x="521" y="626"/>
                    </a:lnTo>
                    <a:lnTo>
                      <a:pt x="523" y="626"/>
                    </a:lnTo>
                    <a:lnTo>
                      <a:pt x="523" y="627"/>
                    </a:lnTo>
                    <a:lnTo>
                      <a:pt x="524" y="629"/>
                    </a:lnTo>
                    <a:lnTo>
                      <a:pt x="523" y="629"/>
                    </a:lnTo>
                    <a:lnTo>
                      <a:pt x="523" y="631"/>
                    </a:lnTo>
                    <a:lnTo>
                      <a:pt x="526" y="633"/>
                    </a:lnTo>
                    <a:lnTo>
                      <a:pt x="524" y="633"/>
                    </a:lnTo>
                    <a:lnTo>
                      <a:pt x="524" y="635"/>
                    </a:lnTo>
                    <a:lnTo>
                      <a:pt x="523" y="635"/>
                    </a:lnTo>
                    <a:lnTo>
                      <a:pt x="523" y="637"/>
                    </a:lnTo>
                    <a:lnTo>
                      <a:pt x="524" y="637"/>
                    </a:lnTo>
                    <a:lnTo>
                      <a:pt x="521" y="641"/>
                    </a:lnTo>
                    <a:lnTo>
                      <a:pt x="521" y="643"/>
                    </a:lnTo>
                    <a:lnTo>
                      <a:pt x="519" y="646"/>
                    </a:lnTo>
                    <a:lnTo>
                      <a:pt x="521" y="646"/>
                    </a:lnTo>
                    <a:lnTo>
                      <a:pt x="519" y="650"/>
                    </a:lnTo>
                    <a:lnTo>
                      <a:pt x="521" y="648"/>
                    </a:lnTo>
                    <a:lnTo>
                      <a:pt x="523" y="648"/>
                    </a:lnTo>
                    <a:lnTo>
                      <a:pt x="524" y="648"/>
                    </a:lnTo>
                    <a:lnTo>
                      <a:pt x="528" y="648"/>
                    </a:lnTo>
                    <a:lnTo>
                      <a:pt x="532" y="652"/>
                    </a:lnTo>
                    <a:lnTo>
                      <a:pt x="530" y="656"/>
                    </a:lnTo>
                    <a:lnTo>
                      <a:pt x="530" y="658"/>
                    </a:lnTo>
                    <a:lnTo>
                      <a:pt x="528" y="658"/>
                    </a:lnTo>
                    <a:lnTo>
                      <a:pt x="528" y="662"/>
                    </a:lnTo>
                    <a:lnTo>
                      <a:pt x="526" y="664"/>
                    </a:lnTo>
                    <a:lnTo>
                      <a:pt x="526" y="666"/>
                    </a:lnTo>
                    <a:lnTo>
                      <a:pt x="528" y="666"/>
                    </a:lnTo>
                    <a:lnTo>
                      <a:pt x="530" y="660"/>
                    </a:lnTo>
                    <a:lnTo>
                      <a:pt x="536" y="658"/>
                    </a:lnTo>
                    <a:lnTo>
                      <a:pt x="542" y="658"/>
                    </a:lnTo>
                    <a:lnTo>
                      <a:pt x="540" y="662"/>
                    </a:lnTo>
                    <a:lnTo>
                      <a:pt x="542" y="666"/>
                    </a:lnTo>
                    <a:lnTo>
                      <a:pt x="543" y="666"/>
                    </a:lnTo>
                    <a:lnTo>
                      <a:pt x="542" y="667"/>
                    </a:lnTo>
                    <a:lnTo>
                      <a:pt x="543" y="667"/>
                    </a:lnTo>
                    <a:lnTo>
                      <a:pt x="543" y="669"/>
                    </a:lnTo>
                    <a:lnTo>
                      <a:pt x="543" y="673"/>
                    </a:lnTo>
                    <a:lnTo>
                      <a:pt x="543" y="675"/>
                    </a:lnTo>
                    <a:lnTo>
                      <a:pt x="543" y="667"/>
                    </a:lnTo>
                    <a:lnTo>
                      <a:pt x="545" y="666"/>
                    </a:lnTo>
                    <a:lnTo>
                      <a:pt x="549" y="666"/>
                    </a:lnTo>
                    <a:lnTo>
                      <a:pt x="545" y="664"/>
                    </a:lnTo>
                    <a:lnTo>
                      <a:pt x="543" y="664"/>
                    </a:lnTo>
                    <a:lnTo>
                      <a:pt x="543" y="660"/>
                    </a:lnTo>
                    <a:lnTo>
                      <a:pt x="543" y="656"/>
                    </a:lnTo>
                    <a:lnTo>
                      <a:pt x="543" y="654"/>
                    </a:lnTo>
                    <a:lnTo>
                      <a:pt x="545" y="652"/>
                    </a:lnTo>
                    <a:lnTo>
                      <a:pt x="547" y="648"/>
                    </a:lnTo>
                    <a:lnTo>
                      <a:pt x="549" y="648"/>
                    </a:lnTo>
                    <a:lnTo>
                      <a:pt x="553" y="648"/>
                    </a:lnTo>
                    <a:lnTo>
                      <a:pt x="559" y="650"/>
                    </a:lnTo>
                    <a:lnTo>
                      <a:pt x="564" y="656"/>
                    </a:lnTo>
                    <a:lnTo>
                      <a:pt x="566" y="662"/>
                    </a:lnTo>
                    <a:lnTo>
                      <a:pt x="568" y="667"/>
                    </a:lnTo>
                    <a:lnTo>
                      <a:pt x="566" y="669"/>
                    </a:lnTo>
                    <a:lnTo>
                      <a:pt x="568" y="671"/>
                    </a:lnTo>
                    <a:lnTo>
                      <a:pt x="568" y="675"/>
                    </a:lnTo>
                    <a:lnTo>
                      <a:pt x="566" y="677"/>
                    </a:lnTo>
                    <a:lnTo>
                      <a:pt x="566" y="681"/>
                    </a:lnTo>
                    <a:lnTo>
                      <a:pt x="564" y="683"/>
                    </a:lnTo>
                    <a:lnTo>
                      <a:pt x="563" y="683"/>
                    </a:lnTo>
                    <a:lnTo>
                      <a:pt x="564" y="685"/>
                    </a:lnTo>
                    <a:lnTo>
                      <a:pt x="563" y="685"/>
                    </a:lnTo>
                    <a:lnTo>
                      <a:pt x="564" y="687"/>
                    </a:lnTo>
                    <a:lnTo>
                      <a:pt x="563" y="690"/>
                    </a:lnTo>
                    <a:lnTo>
                      <a:pt x="564" y="692"/>
                    </a:lnTo>
                    <a:lnTo>
                      <a:pt x="563" y="694"/>
                    </a:lnTo>
                    <a:lnTo>
                      <a:pt x="563" y="696"/>
                    </a:lnTo>
                    <a:lnTo>
                      <a:pt x="561" y="698"/>
                    </a:lnTo>
                    <a:lnTo>
                      <a:pt x="559" y="702"/>
                    </a:lnTo>
                    <a:lnTo>
                      <a:pt x="561" y="704"/>
                    </a:lnTo>
                    <a:lnTo>
                      <a:pt x="561" y="706"/>
                    </a:lnTo>
                    <a:lnTo>
                      <a:pt x="561" y="708"/>
                    </a:lnTo>
                    <a:lnTo>
                      <a:pt x="557" y="708"/>
                    </a:lnTo>
                    <a:lnTo>
                      <a:pt x="557" y="709"/>
                    </a:lnTo>
                    <a:lnTo>
                      <a:pt x="559" y="711"/>
                    </a:lnTo>
                    <a:lnTo>
                      <a:pt x="551" y="715"/>
                    </a:lnTo>
                    <a:lnTo>
                      <a:pt x="545" y="715"/>
                    </a:lnTo>
                    <a:lnTo>
                      <a:pt x="545" y="719"/>
                    </a:lnTo>
                    <a:lnTo>
                      <a:pt x="543" y="719"/>
                    </a:lnTo>
                    <a:lnTo>
                      <a:pt x="538" y="721"/>
                    </a:lnTo>
                    <a:lnTo>
                      <a:pt x="538" y="719"/>
                    </a:lnTo>
                    <a:lnTo>
                      <a:pt x="536" y="719"/>
                    </a:lnTo>
                    <a:lnTo>
                      <a:pt x="532" y="717"/>
                    </a:lnTo>
                    <a:lnTo>
                      <a:pt x="532" y="715"/>
                    </a:lnTo>
                    <a:lnTo>
                      <a:pt x="530" y="715"/>
                    </a:lnTo>
                    <a:lnTo>
                      <a:pt x="526" y="715"/>
                    </a:lnTo>
                    <a:lnTo>
                      <a:pt x="528" y="715"/>
                    </a:lnTo>
                    <a:lnTo>
                      <a:pt x="526" y="715"/>
                    </a:lnTo>
                    <a:lnTo>
                      <a:pt x="526" y="719"/>
                    </a:lnTo>
                    <a:lnTo>
                      <a:pt x="524" y="719"/>
                    </a:lnTo>
                    <a:lnTo>
                      <a:pt x="519" y="721"/>
                    </a:lnTo>
                    <a:lnTo>
                      <a:pt x="519" y="719"/>
                    </a:lnTo>
                    <a:lnTo>
                      <a:pt x="519" y="717"/>
                    </a:lnTo>
                    <a:lnTo>
                      <a:pt x="513" y="717"/>
                    </a:lnTo>
                    <a:lnTo>
                      <a:pt x="519" y="717"/>
                    </a:lnTo>
                    <a:lnTo>
                      <a:pt x="517" y="713"/>
                    </a:lnTo>
                    <a:lnTo>
                      <a:pt x="513" y="711"/>
                    </a:lnTo>
                    <a:lnTo>
                      <a:pt x="511" y="713"/>
                    </a:lnTo>
                    <a:lnTo>
                      <a:pt x="511" y="715"/>
                    </a:lnTo>
                    <a:lnTo>
                      <a:pt x="509" y="715"/>
                    </a:lnTo>
                    <a:lnTo>
                      <a:pt x="511" y="717"/>
                    </a:lnTo>
                    <a:lnTo>
                      <a:pt x="505" y="719"/>
                    </a:lnTo>
                    <a:lnTo>
                      <a:pt x="503" y="721"/>
                    </a:lnTo>
                    <a:lnTo>
                      <a:pt x="503" y="723"/>
                    </a:lnTo>
                    <a:lnTo>
                      <a:pt x="502" y="725"/>
                    </a:lnTo>
                    <a:lnTo>
                      <a:pt x="496" y="723"/>
                    </a:lnTo>
                    <a:lnTo>
                      <a:pt x="494" y="727"/>
                    </a:lnTo>
                    <a:lnTo>
                      <a:pt x="494" y="725"/>
                    </a:lnTo>
                    <a:lnTo>
                      <a:pt x="490" y="725"/>
                    </a:lnTo>
                    <a:lnTo>
                      <a:pt x="488" y="727"/>
                    </a:lnTo>
                    <a:lnTo>
                      <a:pt x="490" y="729"/>
                    </a:lnTo>
                    <a:lnTo>
                      <a:pt x="488" y="729"/>
                    </a:lnTo>
                    <a:lnTo>
                      <a:pt x="486" y="729"/>
                    </a:lnTo>
                    <a:lnTo>
                      <a:pt x="484" y="729"/>
                    </a:lnTo>
                    <a:lnTo>
                      <a:pt x="484" y="730"/>
                    </a:lnTo>
                    <a:lnTo>
                      <a:pt x="484" y="732"/>
                    </a:lnTo>
                    <a:lnTo>
                      <a:pt x="482" y="734"/>
                    </a:lnTo>
                    <a:lnTo>
                      <a:pt x="482" y="736"/>
                    </a:lnTo>
                    <a:lnTo>
                      <a:pt x="479" y="738"/>
                    </a:lnTo>
                    <a:lnTo>
                      <a:pt x="477" y="740"/>
                    </a:lnTo>
                    <a:lnTo>
                      <a:pt x="475" y="740"/>
                    </a:lnTo>
                    <a:lnTo>
                      <a:pt x="473" y="742"/>
                    </a:lnTo>
                    <a:lnTo>
                      <a:pt x="471" y="742"/>
                    </a:lnTo>
                    <a:lnTo>
                      <a:pt x="467" y="746"/>
                    </a:lnTo>
                    <a:lnTo>
                      <a:pt x="463" y="748"/>
                    </a:lnTo>
                    <a:lnTo>
                      <a:pt x="461" y="748"/>
                    </a:lnTo>
                    <a:lnTo>
                      <a:pt x="456" y="751"/>
                    </a:lnTo>
                    <a:lnTo>
                      <a:pt x="452" y="751"/>
                    </a:lnTo>
                    <a:lnTo>
                      <a:pt x="442" y="751"/>
                    </a:lnTo>
                    <a:lnTo>
                      <a:pt x="439" y="750"/>
                    </a:lnTo>
                    <a:lnTo>
                      <a:pt x="435" y="748"/>
                    </a:lnTo>
                    <a:lnTo>
                      <a:pt x="427" y="740"/>
                    </a:lnTo>
                    <a:lnTo>
                      <a:pt x="423" y="736"/>
                    </a:lnTo>
                    <a:lnTo>
                      <a:pt x="425" y="732"/>
                    </a:lnTo>
                    <a:lnTo>
                      <a:pt x="429" y="729"/>
                    </a:lnTo>
                    <a:lnTo>
                      <a:pt x="435" y="727"/>
                    </a:lnTo>
                    <a:lnTo>
                      <a:pt x="437" y="725"/>
                    </a:lnTo>
                    <a:lnTo>
                      <a:pt x="439" y="725"/>
                    </a:lnTo>
                    <a:lnTo>
                      <a:pt x="441" y="725"/>
                    </a:lnTo>
                    <a:lnTo>
                      <a:pt x="444" y="725"/>
                    </a:lnTo>
                    <a:lnTo>
                      <a:pt x="442" y="723"/>
                    </a:lnTo>
                    <a:lnTo>
                      <a:pt x="444" y="721"/>
                    </a:lnTo>
                    <a:lnTo>
                      <a:pt x="446" y="719"/>
                    </a:lnTo>
                    <a:lnTo>
                      <a:pt x="448" y="717"/>
                    </a:lnTo>
                    <a:lnTo>
                      <a:pt x="461" y="715"/>
                    </a:lnTo>
                    <a:lnTo>
                      <a:pt x="467" y="717"/>
                    </a:lnTo>
                    <a:lnTo>
                      <a:pt x="469" y="713"/>
                    </a:lnTo>
                    <a:lnTo>
                      <a:pt x="469" y="711"/>
                    </a:lnTo>
                    <a:lnTo>
                      <a:pt x="471" y="711"/>
                    </a:lnTo>
                    <a:lnTo>
                      <a:pt x="473" y="711"/>
                    </a:lnTo>
                    <a:lnTo>
                      <a:pt x="473" y="709"/>
                    </a:lnTo>
                    <a:lnTo>
                      <a:pt x="475" y="708"/>
                    </a:lnTo>
                    <a:lnTo>
                      <a:pt x="477" y="706"/>
                    </a:lnTo>
                    <a:lnTo>
                      <a:pt x="479" y="704"/>
                    </a:lnTo>
                    <a:lnTo>
                      <a:pt x="477" y="704"/>
                    </a:lnTo>
                    <a:lnTo>
                      <a:pt x="479" y="704"/>
                    </a:lnTo>
                    <a:lnTo>
                      <a:pt x="479" y="702"/>
                    </a:lnTo>
                    <a:lnTo>
                      <a:pt x="481" y="700"/>
                    </a:lnTo>
                    <a:lnTo>
                      <a:pt x="479" y="700"/>
                    </a:lnTo>
                    <a:lnTo>
                      <a:pt x="477" y="698"/>
                    </a:lnTo>
                    <a:lnTo>
                      <a:pt x="475" y="700"/>
                    </a:lnTo>
                    <a:lnTo>
                      <a:pt x="473" y="704"/>
                    </a:lnTo>
                    <a:lnTo>
                      <a:pt x="471" y="706"/>
                    </a:lnTo>
                    <a:lnTo>
                      <a:pt x="469" y="706"/>
                    </a:lnTo>
                    <a:lnTo>
                      <a:pt x="469" y="708"/>
                    </a:lnTo>
                    <a:lnTo>
                      <a:pt x="469" y="706"/>
                    </a:lnTo>
                    <a:lnTo>
                      <a:pt x="467" y="708"/>
                    </a:lnTo>
                    <a:lnTo>
                      <a:pt x="467" y="704"/>
                    </a:lnTo>
                    <a:lnTo>
                      <a:pt x="465" y="706"/>
                    </a:lnTo>
                    <a:lnTo>
                      <a:pt x="465" y="708"/>
                    </a:lnTo>
                    <a:lnTo>
                      <a:pt x="461" y="708"/>
                    </a:lnTo>
                    <a:lnTo>
                      <a:pt x="460" y="708"/>
                    </a:lnTo>
                    <a:lnTo>
                      <a:pt x="456" y="708"/>
                    </a:lnTo>
                    <a:lnTo>
                      <a:pt x="456" y="706"/>
                    </a:lnTo>
                    <a:lnTo>
                      <a:pt x="458" y="704"/>
                    </a:lnTo>
                    <a:lnTo>
                      <a:pt x="456" y="702"/>
                    </a:lnTo>
                    <a:lnTo>
                      <a:pt x="458" y="702"/>
                    </a:lnTo>
                    <a:lnTo>
                      <a:pt x="456" y="700"/>
                    </a:lnTo>
                    <a:lnTo>
                      <a:pt x="456" y="702"/>
                    </a:lnTo>
                    <a:lnTo>
                      <a:pt x="456" y="704"/>
                    </a:lnTo>
                    <a:lnTo>
                      <a:pt x="454" y="704"/>
                    </a:lnTo>
                    <a:lnTo>
                      <a:pt x="452" y="704"/>
                    </a:lnTo>
                    <a:lnTo>
                      <a:pt x="454" y="700"/>
                    </a:lnTo>
                    <a:lnTo>
                      <a:pt x="452" y="698"/>
                    </a:lnTo>
                    <a:lnTo>
                      <a:pt x="452" y="700"/>
                    </a:lnTo>
                    <a:lnTo>
                      <a:pt x="450" y="702"/>
                    </a:lnTo>
                    <a:lnTo>
                      <a:pt x="452" y="708"/>
                    </a:lnTo>
                    <a:lnTo>
                      <a:pt x="446" y="709"/>
                    </a:lnTo>
                    <a:lnTo>
                      <a:pt x="444" y="708"/>
                    </a:lnTo>
                    <a:lnTo>
                      <a:pt x="444" y="709"/>
                    </a:lnTo>
                    <a:lnTo>
                      <a:pt x="431" y="713"/>
                    </a:lnTo>
                    <a:lnTo>
                      <a:pt x="431" y="711"/>
                    </a:lnTo>
                    <a:lnTo>
                      <a:pt x="431" y="708"/>
                    </a:lnTo>
                    <a:lnTo>
                      <a:pt x="435" y="704"/>
                    </a:lnTo>
                    <a:lnTo>
                      <a:pt x="437" y="704"/>
                    </a:lnTo>
                    <a:lnTo>
                      <a:pt x="431" y="704"/>
                    </a:lnTo>
                    <a:lnTo>
                      <a:pt x="433" y="696"/>
                    </a:lnTo>
                    <a:lnTo>
                      <a:pt x="442" y="690"/>
                    </a:lnTo>
                    <a:lnTo>
                      <a:pt x="439" y="690"/>
                    </a:lnTo>
                    <a:lnTo>
                      <a:pt x="439" y="688"/>
                    </a:lnTo>
                    <a:lnTo>
                      <a:pt x="437" y="690"/>
                    </a:lnTo>
                    <a:lnTo>
                      <a:pt x="433" y="692"/>
                    </a:lnTo>
                    <a:lnTo>
                      <a:pt x="431" y="687"/>
                    </a:lnTo>
                    <a:lnTo>
                      <a:pt x="429" y="687"/>
                    </a:lnTo>
                    <a:lnTo>
                      <a:pt x="429" y="690"/>
                    </a:lnTo>
                    <a:lnTo>
                      <a:pt x="431" y="694"/>
                    </a:lnTo>
                    <a:lnTo>
                      <a:pt x="427" y="702"/>
                    </a:lnTo>
                    <a:lnTo>
                      <a:pt x="425" y="698"/>
                    </a:lnTo>
                    <a:lnTo>
                      <a:pt x="423" y="696"/>
                    </a:lnTo>
                    <a:lnTo>
                      <a:pt x="421" y="698"/>
                    </a:lnTo>
                    <a:lnTo>
                      <a:pt x="421" y="700"/>
                    </a:lnTo>
                    <a:lnTo>
                      <a:pt x="423" y="698"/>
                    </a:lnTo>
                    <a:lnTo>
                      <a:pt x="423" y="700"/>
                    </a:lnTo>
                    <a:lnTo>
                      <a:pt x="425" y="706"/>
                    </a:lnTo>
                    <a:lnTo>
                      <a:pt x="425" y="709"/>
                    </a:lnTo>
                    <a:lnTo>
                      <a:pt x="423" y="711"/>
                    </a:lnTo>
                    <a:lnTo>
                      <a:pt x="416" y="717"/>
                    </a:lnTo>
                    <a:lnTo>
                      <a:pt x="414" y="717"/>
                    </a:lnTo>
                    <a:lnTo>
                      <a:pt x="412" y="715"/>
                    </a:lnTo>
                    <a:lnTo>
                      <a:pt x="412" y="708"/>
                    </a:lnTo>
                    <a:lnTo>
                      <a:pt x="410" y="704"/>
                    </a:lnTo>
                    <a:lnTo>
                      <a:pt x="410" y="708"/>
                    </a:lnTo>
                    <a:lnTo>
                      <a:pt x="408" y="709"/>
                    </a:lnTo>
                    <a:lnTo>
                      <a:pt x="404" y="708"/>
                    </a:lnTo>
                    <a:lnTo>
                      <a:pt x="406" y="709"/>
                    </a:lnTo>
                    <a:lnTo>
                      <a:pt x="404" y="709"/>
                    </a:lnTo>
                    <a:lnTo>
                      <a:pt x="406" y="713"/>
                    </a:lnTo>
                    <a:lnTo>
                      <a:pt x="406" y="715"/>
                    </a:lnTo>
                    <a:lnTo>
                      <a:pt x="404" y="717"/>
                    </a:lnTo>
                    <a:lnTo>
                      <a:pt x="402" y="717"/>
                    </a:lnTo>
                    <a:lnTo>
                      <a:pt x="399" y="715"/>
                    </a:lnTo>
                    <a:lnTo>
                      <a:pt x="399" y="713"/>
                    </a:lnTo>
                    <a:lnTo>
                      <a:pt x="395" y="711"/>
                    </a:lnTo>
                    <a:lnTo>
                      <a:pt x="399" y="708"/>
                    </a:lnTo>
                    <a:lnTo>
                      <a:pt x="395" y="709"/>
                    </a:lnTo>
                    <a:lnTo>
                      <a:pt x="395" y="702"/>
                    </a:lnTo>
                    <a:lnTo>
                      <a:pt x="393" y="704"/>
                    </a:lnTo>
                    <a:lnTo>
                      <a:pt x="391" y="706"/>
                    </a:lnTo>
                    <a:lnTo>
                      <a:pt x="389" y="704"/>
                    </a:lnTo>
                    <a:lnTo>
                      <a:pt x="387" y="708"/>
                    </a:lnTo>
                    <a:lnTo>
                      <a:pt x="385" y="708"/>
                    </a:lnTo>
                    <a:lnTo>
                      <a:pt x="383" y="706"/>
                    </a:lnTo>
                    <a:lnTo>
                      <a:pt x="376" y="704"/>
                    </a:lnTo>
                    <a:lnTo>
                      <a:pt x="372" y="700"/>
                    </a:lnTo>
                    <a:lnTo>
                      <a:pt x="372" y="698"/>
                    </a:lnTo>
                    <a:lnTo>
                      <a:pt x="374" y="696"/>
                    </a:lnTo>
                    <a:lnTo>
                      <a:pt x="374" y="694"/>
                    </a:lnTo>
                    <a:lnTo>
                      <a:pt x="379" y="687"/>
                    </a:lnTo>
                    <a:lnTo>
                      <a:pt x="381" y="685"/>
                    </a:lnTo>
                    <a:lnTo>
                      <a:pt x="399" y="685"/>
                    </a:lnTo>
                    <a:lnTo>
                      <a:pt x="406" y="679"/>
                    </a:lnTo>
                    <a:lnTo>
                      <a:pt x="408" y="677"/>
                    </a:lnTo>
                    <a:lnTo>
                      <a:pt x="410" y="677"/>
                    </a:lnTo>
                    <a:lnTo>
                      <a:pt x="410" y="675"/>
                    </a:lnTo>
                    <a:lnTo>
                      <a:pt x="414" y="671"/>
                    </a:lnTo>
                    <a:lnTo>
                      <a:pt x="408" y="675"/>
                    </a:lnTo>
                    <a:lnTo>
                      <a:pt x="404" y="675"/>
                    </a:lnTo>
                    <a:lnTo>
                      <a:pt x="397" y="679"/>
                    </a:lnTo>
                    <a:lnTo>
                      <a:pt x="393" y="681"/>
                    </a:lnTo>
                    <a:lnTo>
                      <a:pt x="379" y="679"/>
                    </a:lnTo>
                    <a:lnTo>
                      <a:pt x="379" y="673"/>
                    </a:lnTo>
                    <a:lnTo>
                      <a:pt x="383" y="666"/>
                    </a:lnTo>
                    <a:lnTo>
                      <a:pt x="387" y="666"/>
                    </a:lnTo>
                    <a:lnTo>
                      <a:pt x="399" y="664"/>
                    </a:lnTo>
                    <a:lnTo>
                      <a:pt x="402" y="664"/>
                    </a:lnTo>
                    <a:lnTo>
                      <a:pt x="402" y="662"/>
                    </a:lnTo>
                    <a:lnTo>
                      <a:pt x="404" y="662"/>
                    </a:lnTo>
                    <a:lnTo>
                      <a:pt x="408" y="662"/>
                    </a:lnTo>
                    <a:lnTo>
                      <a:pt x="410" y="662"/>
                    </a:lnTo>
                    <a:lnTo>
                      <a:pt x="412" y="662"/>
                    </a:lnTo>
                    <a:lnTo>
                      <a:pt x="412" y="660"/>
                    </a:lnTo>
                    <a:lnTo>
                      <a:pt x="416" y="662"/>
                    </a:lnTo>
                    <a:lnTo>
                      <a:pt x="418" y="660"/>
                    </a:lnTo>
                    <a:lnTo>
                      <a:pt x="416" y="658"/>
                    </a:lnTo>
                    <a:lnTo>
                      <a:pt x="412" y="660"/>
                    </a:lnTo>
                    <a:lnTo>
                      <a:pt x="402" y="660"/>
                    </a:lnTo>
                    <a:lnTo>
                      <a:pt x="397" y="660"/>
                    </a:lnTo>
                    <a:lnTo>
                      <a:pt x="393" y="660"/>
                    </a:lnTo>
                    <a:lnTo>
                      <a:pt x="387" y="660"/>
                    </a:lnTo>
                    <a:lnTo>
                      <a:pt x="387" y="654"/>
                    </a:lnTo>
                    <a:lnTo>
                      <a:pt x="391" y="654"/>
                    </a:lnTo>
                    <a:lnTo>
                      <a:pt x="391" y="652"/>
                    </a:lnTo>
                    <a:lnTo>
                      <a:pt x="391" y="650"/>
                    </a:lnTo>
                    <a:lnTo>
                      <a:pt x="389" y="650"/>
                    </a:lnTo>
                    <a:lnTo>
                      <a:pt x="389" y="645"/>
                    </a:lnTo>
                    <a:lnTo>
                      <a:pt x="393" y="641"/>
                    </a:lnTo>
                    <a:lnTo>
                      <a:pt x="397" y="639"/>
                    </a:lnTo>
                    <a:lnTo>
                      <a:pt x="402" y="639"/>
                    </a:lnTo>
                    <a:lnTo>
                      <a:pt x="408" y="639"/>
                    </a:lnTo>
                    <a:lnTo>
                      <a:pt x="410" y="639"/>
                    </a:lnTo>
                    <a:lnTo>
                      <a:pt x="418" y="643"/>
                    </a:lnTo>
                    <a:lnTo>
                      <a:pt x="420" y="641"/>
                    </a:lnTo>
                    <a:lnTo>
                      <a:pt x="416" y="641"/>
                    </a:lnTo>
                    <a:lnTo>
                      <a:pt x="414" y="639"/>
                    </a:lnTo>
                    <a:lnTo>
                      <a:pt x="412" y="637"/>
                    </a:lnTo>
                    <a:lnTo>
                      <a:pt x="402" y="635"/>
                    </a:lnTo>
                    <a:lnTo>
                      <a:pt x="400" y="633"/>
                    </a:lnTo>
                    <a:lnTo>
                      <a:pt x="402" y="631"/>
                    </a:lnTo>
                    <a:lnTo>
                      <a:pt x="400" y="629"/>
                    </a:lnTo>
                    <a:lnTo>
                      <a:pt x="406" y="622"/>
                    </a:lnTo>
                    <a:lnTo>
                      <a:pt x="408" y="622"/>
                    </a:lnTo>
                    <a:lnTo>
                      <a:pt x="414" y="620"/>
                    </a:lnTo>
                    <a:lnTo>
                      <a:pt x="416" y="620"/>
                    </a:lnTo>
                    <a:lnTo>
                      <a:pt x="416" y="618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20" y="620"/>
                    </a:lnTo>
                    <a:lnTo>
                      <a:pt x="423" y="618"/>
                    </a:lnTo>
                    <a:lnTo>
                      <a:pt x="425" y="620"/>
                    </a:lnTo>
                    <a:lnTo>
                      <a:pt x="427" y="620"/>
                    </a:lnTo>
                    <a:lnTo>
                      <a:pt x="429" y="622"/>
                    </a:lnTo>
                    <a:lnTo>
                      <a:pt x="429" y="626"/>
                    </a:lnTo>
                    <a:lnTo>
                      <a:pt x="429" y="627"/>
                    </a:lnTo>
                    <a:lnTo>
                      <a:pt x="427" y="629"/>
                    </a:lnTo>
                    <a:lnTo>
                      <a:pt x="429" y="629"/>
                    </a:lnTo>
                    <a:lnTo>
                      <a:pt x="429" y="631"/>
                    </a:lnTo>
                    <a:lnTo>
                      <a:pt x="429" y="633"/>
                    </a:lnTo>
                    <a:lnTo>
                      <a:pt x="431" y="633"/>
                    </a:lnTo>
                    <a:lnTo>
                      <a:pt x="431" y="635"/>
                    </a:lnTo>
                    <a:lnTo>
                      <a:pt x="429" y="637"/>
                    </a:lnTo>
                    <a:lnTo>
                      <a:pt x="431" y="639"/>
                    </a:lnTo>
                    <a:lnTo>
                      <a:pt x="435" y="639"/>
                    </a:lnTo>
                    <a:lnTo>
                      <a:pt x="437" y="637"/>
                    </a:lnTo>
                    <a:lnTo>
                      <a:pt x="439" y="637"/>
                    </a:lnTo>
                    <a:lnTo>
                      <a:pt x="441" y="635"/>
                    </a:lnTo>
                    <a:lnTo>
                      <a:pt x="442" y="635"/>
                    </a:lnTo>
                    <a:lnTo>
                      <a:pt x="446" y="635"/>
                    </a:lnTo>
                    <a:lnTo>
                      <a:pt x="448" y="635"/>
                    </a:lnTo>
                    <a:lnTo>
                      <a:pt x="450" y="637"/>
                    </a:lnTo>
                    <a:lnTo>
                      <a:pt x="450" y="639"/>
                    </a:lnTo>
                    <a:lnTo>
                      <a:pt x="454" y="639"/>
                    </a:lnTo>
                    <a:lnTo>
                      <a:pt x="456" y="641"/>
                    </a:lnTo>
                    <a:lnTo>
                      <a:pt x="454" y="643"/>
                    </a:lnTo>
                    <a:lnTo>
                      <a:pt x="456" y="645"/>
                    </a:lnTo>
                    <a:lnTo>
                      <a:pt x="454" y="645"/>
                    </a:lnTo>
                    <a:lnTo>
                      <a:pt x="456" y="646"/>
                    </a:lnTo>
                    <a:lnTo>
                      <a:pt x="456" y="648"/>
                    </a:lnTo>
                    <a:lnTo>
                      <a:pt x="461" y="652"/>
                    </a:lnTo>
                    <a:lnTo>
                      <a:pt x="465" y="656"/>
                    </a:lnTo>
                    <a:lnTo>
                      <a:pt x="467" y="656"/>
                    </a:lnTo>
                    <a:lnTo>
                      <a:pt x="467" y="658"/>
                    </a:lnTo>
                    <a:lnTo>
                      <a:pt x="461" y="660"/>
                    </a:lnTo>
                    <a:lnTo>
                      <a:pt x="460" y="662"/>
                    </a:lnTo>
                    <a:lnTo>
                      <a:pt x="460" y="664"/>
                    </a:lnTo>
                    <a:lnTo>
                      <a:pt x="460" y="666"/>
                    </a:lnTo>
                    <a:lnTo>
                      <a:pt x="461" y="664"/>
                    </a:lnTo>
                    <a:lnTo>
                      <a:pt x="463" y="666"/>
                    </a:lnTo>
                    <a:lnTo>
                      <a:pt x="465" y="664"/>
                    </a:lnTo>
                    <a:lnTo>
                      <a:pt x="469" y="664"/>
                    </a:lnTo>
                    <a:lnTo>
                      <a:pt x="469" y="662"/>
                    </a:lnTo>
                    <a:lnTo>
                      <a:pt x="471" y="662"/>
                    </a:lnTo>
                    <a:lnTo>
                      <a:pt x="471" y="664"/>
                    </a:lnTo>
                    <a:lnTo>
                      <a:pt x="469" y="664"/>
                    </a:lnTo>
                    <a:lnTo>
                      <a:pt x="471" y="666"/>
                    </a:lnTo>
                    <a:lnTo>
                      <a:pt x="473" y="667"/>
                    </a:lnTo>
                    <a:lnTo>
                      <a:pt x="471" y="669"/>
                    </a:lnTo>
                    <a:lnTo>
                      <a:pt x="473" y="669"/>
                    </a:lnTo>
                    <a:lnTo>
                      <a:pt x="473" y="671"/>
                    </a:lnTo>
                    <a:lnTo>
                      <a:pt x="471" y="673"/>
                    </a:lnTo>
                    <a:lnTo>
                      <a:pt x="473" y="675"/>
                    </a:lnTo>
                    <a:lnTo>
                      <a:pt x="471" y="677"/>
                    </a:lnTo>
                    <a:lnTo>
                      <a:pt x="473" y="679"/>
                    </a:lnTo>
                    <a:lnTo>
                      <a:pt x="475" y="679"/>
                    </a:lnTo>
                    <a:lnTo>
                      <a:pt x="473" y="681"/>
                    </a:lnTo>
                    <a:lnTo>
                      <a:pt x="475" y="681"/>
                    </a:lnTo>
                    <a:lnTo>
                      <a:pt x="475" y="683"/>
                    </a:lnTo>
                    <a:lnTo>
                      <a:pt x="477" y="683"/>
                    </a:lnTo>
                    <a:lnTo>
                      <a:pt x="479" y="683"/>
                    </a:lnTo>
                    <a:lnTo>
                      <a:pt x="482" y="679"/>
                    </a:lnTo>
                    <a:lnTo>
                      <a:pt x="484" y="681"/>
                    </a:lnTo>
                    <a:lnTo>
                      <a:pt x="486" y="679"/>
                    </a:lnTo>
                    <a:lnTo>
                      <a:pt x="488" y="681"/>
                    </a:lnTo>
                    <a:lnTo>
                      <a:pt x="494" y="681"/>
                    </a:lnTo>
                    <a:lnTo>
                      <a:pt x="496" y="683"/>
                    </a:lnTo>
                    <a:lnTo>
                      <a:pt x="502" y="683"/>
                    </a:lnTo>
                    <a:lnTo>
                      <a:pt x="503" y="683"/>
                    </a:lnTo>
                    <a:lnTo>
                      <a:pt x="505" y="683"/>
                    </a:lnTo>
                    <a:lnTo>
                      <a:pt x="511" y="687"/>
                    </a:lnTo>
                    <a:lnTo>
                      <a:pt x="513" y="683"/>
                    </a:lnTo>
                    <a:lnTo>
                      <a:pt x="511" y="683"/>
                    </a:lnTo>
                    <a:lnTo>
                      <a:pt x="511" y="681"/>
                    </a:lnTo>
                    <a:lnTo>
                      <a:pt x="509" y="681"/>
                    </a:lnTo>
                    <a:lnTo>
                      <a:pt x="513" y="681"/>
                    </a:lnTo>
                    <a:lnTo>
                      <a:pt x="511" y="679"/>
                    </a:lnTo>
                    <a:lnTo>
                      <a:pt x="513" y="677"/>
                    </a:lnTo>
                    <a:lnTo>
                      <a:pt x="511" y="673"/>
                    </a:lnTo>
                    <a:lnTo>
                      <a:pt x="513" y="673"/>
                    </a:lnTo>
                    <a:lnTo>
                      <a:pt x="513" y="671"/>
                    </a:lnTo>
                    <a:lnTo>
                      <a:pt x="511" y="671"/>
                    </a:lnTo>
                    <a:lnTo>
                      <a:pt x="511" y="669"/>
                    </a:lnTo>
                    <a:lnTo>
                      <a:pt x="509" y="669"/>
                    </a:lnTo>
                    <a:lnTo>
                      <a:pt x="509" y="667"/>
                    </a:lnTo>
                    <a:lnTo>
                      <a:pt x="503" y="667"/>
                    </a:lnTo>
                    <a:lnTo>
                      <a:pt x="503" y="666"/>
                    </a:lnTo>
                    <a:lnTo>
                      <a:pt x="500" y="666"/>
                    </a:lnTo>
                    <a:lnTo>
                      <a:pt x="500" y="664"/>
                    </a:lnTo>
                    <a:lnTo>
                      <a:pt x="500" y="662"/>
                    </a:lnTo>
                    <a:lnTo>
                      <a:pt x="500" y="660"/>
                    </a:lnTo>
                    <a:lnTo>
                      <a:pt x="496" y="662"/>
                    </a:lnTo>
                    <a:lnTo>
                      <a:pt x="494" y="660"/>
                    </a:lnTo>
                    <a:lnTo>
                      <a:pt x="494" y="658"/>
                    </a:lnTo>
                    <a:lnTo>
                      <a:pt x="496" y="658"/>
                    </a:lnTo>
                    <a:lnTo>
                      <a:pt x="496" y="656"/>
                    </a:lnTo>
                    <a:lnTo>
                      <a:pt x="500" y="654"/>
                    </a:lnTo>
                    <a:lnTo>
                      <a:pt x="502" y="652"/>
                    </a:lnTo>
                    <a:lnTo>
                      <a:pt x="503" y="650"/>
                    </a:lnTo>
                    <a:lnTo>
                      <a:pt x="505" y="650"/>
                    </a:lnTo>
                    <a:lnTo>
                      <a:pt x="505" y="648"/>
                    </a:lnTo>
                    <a:lnTo>
                      <a:pt x="503" y="646"/>
                    </a:lnTo>
                    <a:lnTo>
                      <a:pt x="505" y="645"/>
                    </a:lnTo>
                    <a:lnTo>
                      <a:pt x="503" y="643"/>
                    </a:lnTo>
                    <a:lnTo>
                      <a:pt x="502" y="641"/>
                    </a:lnTo>
                    <a:lnTo>
                      <a:pt x="498" y="639"/>
                    </a:lnTo>
                    <a:lnTo>
                      <a:pt x="500" y="637"/>
                    </a:lnTo>
                    <a:lnTo>
                      <a:pt x="496" y="635"/>
                    </a:lnTo>
                    <a:lnTo>
                      <a:pt x="496" y="639"/>
                    </a:lnTo>
                    <a:lnTo>
                      <a:pt x="492" y="631"/>
                    </a:lnTo>
                    <a:lnTo>
                      <a:pt x="490" y="631"/>
                    </a:lnTo>
                    <a:lnTo>
                      <a:pt x="488" y="633"/>
                    </a:lnTo>
                    <a:lnTo>
                      <a:pt x="488" y="631"/>
                    </a:lnTo>
                    <a:lnTo>
                      <a:pt x="488" y="629"/>
                    </a:lnTo>
                    <a:lnTo>
                      <a:pt x="488" y="627"/>
                    </a:lnTo>
                    <a:lnTo>
                      <a:pt x="488" y="624"/>
                    </a:lnTo>
                    <a:lnTo>
                      <a:pt x="492" y="622"/>
                    </a:lnTo>
                    <a:lnTo>
                      <a:pt x="494" y="620"/>
                    </a:lnTo>
                    <a:lnTo>
                      <a:pt x="496" y="620"/>
                    </a:lnTo>
                    <a:lnTo>
                      <a:pt x="496" y="618"/>
                    </a:lnTo>
                    <a:lnTo>
                      <a:pt x="498" y="620"/>
                    </a:lnTo>
                    <a:lnTo>
                      <a:pt x="498" y="618"/>
                    </a:lnTo>
                    <a:lnTo>
                      <a:pt x="500" y="618"/>
                    </a:lnTo>
                    <a:lnTo>
                      <a:pt x="500" y="616"/>
                    </a:lnTo>
                    <a:lnTo>
                      <a:pt x="498" y="616"/>
                    </a:lnTo>
                    <a:lnTo>
                      <a:pt x="498" y="614"/>
                    </a:lnTo>
                    <a:lnTo>
                      <a:pt x="500" y="612"/>
                    </a:lnTo>
                    <a:lnTo>
                      <a:pt x="500" y="614"/>
                    </a:lnTo>
                    <a:lnTo>
                      <a:pt x="500" y="610"/>
                    </a:lnTo>
                    <a:lnTo>
                      <a:pt x="502" y="610"/>
                    </a:lnTo>
                    <a:lnTo>
                      <a:pt x="502" y="605"/>
                    </a:lnTo>
                    <a:lnTo>
                      <a:pt x="503" y="605"/>
                    </a:lnTo>
                    <a:lnTo>
                      <a:pt x="503" y="603"/>
                    </a:lnTo>
                    <a:lnTo>
                      <a:pt x="505" y="601"/>
                    </a:lnTo>
                    <a:lnTo>
                      <a:pt x="505" y="599"/>
                    </a:lnTo>
                    <a:lnTo>
                      <a:pt x="507" y="599"/>
                    </a:lnTo>
                    <a:lnTo>
                      <a:pt x="509" y="597"/>
                    </a:lnTo>
                    <a:lnTo>
                      <a:pt x="513" y="597"/>
                    </a:lnTo>
                    <a:lnTo>
                      <a:pt x="515" y="595"/>
                    </a:lnTo>
                    <a:close/>
                    <a:moveTo>
                      <a:pt x="1354" y="1602"/>
                    </a:moveTo>
                    <a:lnTo>
                      <a:pt x="1356" y="1602"/>
                    </a:lnTo>
                    <a:lnTo>
                      <a:pt x="1354" y="1602"/>
                    </a:lnTo>
                    <a:lnTo>
                      <a:pt x="1354" y="1604"/>
                    </a:lnTo>
                    <a:lnTo>
                      <a:pt x="1356" y="1604"/>
                    </a:lnTo>
                    <a:lnTo>
                      <a:pt x="1354" y="1604"/>
                    </a:lnTo>
                    <a:lnTo>
                      <a:pt x="1358" y="1604"/>
                    </a:lnTo>
                    <a:lnTo>
                      <a:pt x="1358" y="1606"/>
                    </a:lnTo>
                    <a:lnTo>
                      <a:pt x="1360" y="1606"/>
                    </a:lnTo>
                    <a:lnTo>
                      <a:pt x="1358" y="1606"/>
                    </a:lnTo>
                    <a:lnTo>
                      <a:pt x="1358" y="1604"/>
                    </a:lnTo>
                    <a:lnTo>
                      <a:pt x="1356" y="1604"/>
                    </a:lnTo>
                    <a:lnTo>
                      <a:pt x="1358" y="1602"/>
                    </a:lnTo>
                    <a:lnTo>
                      <a:pt x="1358" y="1604"/>
                    </a:lnTo>
                    <a:lnTo>
                      <a:pt x="1358" y="1602"/>
                    </a:lnTo>
                    <a:lnTo>
                      <a:pt x="1360" y="1602"/>
                    </a:lnTo>
                    <a:lnTo>
                      <a:pt x="1358" y="1602"/>
                    </a:lnTo>
                    <a:lnTo>
                      <a:pt x="1358" y="1604"/>
                    </a:lnTo>
                    <a:lnTo>
                      <a:pt x="1360" y="1604"/>
                    </a:lnTo>
                    <a:lnTo>
                      <a:pt x="1360" y="1602"/>
                    </a:lnTo>
                    <a:lnTo>
                      <a:pt x="1362" y="1602"/>
                    </a:lnTo>
                    <a:lnTo>
                      <a:pt x="1362" y="1604"/>
                    </a:lnTo>
                    <a:lnTo>
                      <a:pt x="1362" y="1606"/>
                    </a:lnTo>
                    <a:lnTo>
                      <a:pt x="1362" y="1604"/>
                    </a:lnTo>
                    <a:lnTo>
                      <a:pt x="1360" y="1604"/>
                    </a:lnTo>
                    <a:lnTo>
                      <a:pt x="1362" y="1606"/>
                    </a:lnTo>
                    <a:lnTo>
                      <a:pt x="1362" y="1608"/>
                    </a:lnTo>
                    <a:lnTo>
                      <a:pt x="1360" y="1608"/>
                    </a:lnTo>
                    <a:lnTo>
                      <a:pt x="1360" y="1610"/>
                    </a:lnTo>
                    <a:lnTo>
                      <a:pt x="1358" y="1610"/>
                    </a:lnTo>
                    <a:lnTo>
                      <a:pt x="1356" y="1610"/>
                    </a:lnTo>
                    <a:lnTo>
                      <a:pt x="1356" y="1608"/>
                    </a:lnTo>
                    <a:lnTo>
                      <a:pt x="1354" y="1610"/>
                    </a:lnTo>
                    <a:lnTo>
                      <a:pt x="1354" y="1608"/>
                    </a:lnTo>
                    <a:lnTo>
                      <a:pt x="1354" y="1610"/>
                    </a:lnTo>
                    <a:lnTo>
                      <a:pt x="1352" y="1608"/>
                    </a:lnTo>
                    <a:lnTo>
                      <a:pt x="1352" y="1610"/>
                    </a:lnTo>
                    <a:lnTo>
                      <a:pt x="1352" y="1612"/>
                    </a:lnTo>
                    <a:lnTo>
                      <a:pt x="1352" y="1614"/>
                    </a:lnTo>
                    <a:lnTo>
                      <a:pt x="1352" y="1612"/>
                    </a:lnTo>
                    <a:lnTo>
                      <a:pt x="1352" y="1614"/>
                    </a:lnTo>
                    <a:lnTo>
                      <a:pt x="1354" y="1614"/>
                    </a:lnTo>
                    <a:lnTo>
                      <a:pt x="1352" y="1614"/>
                    </a:lnTo>
                    <a:lnTo>
                      <a:pt x="1354" y="1614"/>
                    </a:lnTo>
                    <a:lnTo>
                      <a:pt x="1354" y="1612"/>
                    </a:lnTo>
                    <a:lnTo>
                      <a:pt x="1354" y="1614"/>
                    </a:lnTo>
                    <a:lnTo>
                      <a:pt x="1356" y="1612"/>
                    </a:lnTo>
                    <a:lnTo>
                      <a:pt x="1358" y="1614"/>
                    </a:lnTo>
                    <a:lnTo>
                      <a:pt x="1356" y="1614"/>
                    </a:lnTo>
                    <a:lnTo>
                      <a:pt x="1358" y="1614"/>
                    </a:lnTo>
                    <a:lnTo>
                      <a:pt x="1358" y="1616"/>
                    </a:lnTo>
                    <a:lnTo>
                      <a:pt x="1356" y="1616"/>
                    </a:lnTo>
                    <a:lnTo>
                      <a:pt x="1356" y="1618"/>
                    </a:lnTo>
                    <a:lnTo>
                      <a:pt x="1356" y="1620"/>
                    </a:lnTo>
                    <a:lnTo>
                      <a:pt x="1354" y="1620"/>
                    </a:lnTo>
                    <a:lnTo>
                      <a:pt x="1356" y="1620"/>
                    </a:lnTo>
                    <a:lnTo>
                      <a:pt x="1354" y="1622"/>
                    </a:lnTo>
                    <a:lnTo>
                      <a:pt x="1354" y="1620"/>
                    </a:lnTo>
                    <a:lnTo>
                      <a:pt x="1354" y="1622"/>
                    </a:lnTo>
                    <a:lnTo>
                      <a:pt x="1352" y="1623"/>
                    </a:lnTo>
                    <a:lnTo>
                      <a:pt x="1352" y="1625"/>
                    </a:lnTo>
                    <a:lnTo>
                      <a:pt x="1352" y="1623"/>
                    </a:lnTo>
                    <a:lnTo>
                      <a:pt x="1350" y="1625"/>
                    </a:lnTo>
                    <a:lnTo>
                      <a:pt x="1350" y="1623"/>
                    </a:lnTo>
                    <a:lnTo>
                      <a:pt x="1350" y="1620"/>
                    </a:lnTo>
                    <a:lnTo>
                      <a:pt x="1350" y="1622"/>
                    </a:lnTo>
                    <a:lnTo>
                      <a:pt x="1350" y="1623"/>
                    </a:lnTo>
                    <a:lnTo>
                      <a:pt x="1350" y="1625"/>
                    </a:lnTo>
                    <a:lnTo>
                      <a:pt x="1352" y="1625"/>
                    </a:lnTo>
                    <a:lnTo>
                      <a:pt x="1350" y="1627"/>
                    </a:lnTo>
                    <a:lnTo>
                      <a:pt x="1348" y="1627"/>
                    </a:lnTo>
                    <a:lnTo>
                      <a:pt x="1350" y="1627"/>
                    </a:lnTo>
                    <a:lnTo>
                      <a:pt x="1350" y="1629"/>
                    </a:lnTo>
                    <a:lnTo>
                      <a:pt x="1348" y="1629"/>
                    </a:lnTo>
                    <a:lnTo>
                      <a:pt x="1348" y="1631"/>
                    </a:lnTo>
                    <a:lnTo>
                      <a:pt x="1348" y="1633"/>
                    </a:lnTo>
                    <a:lnTo>
                      <a:pt x="1346" y="1633"/>
                    </a:lnTo>
                    <a:lnTo>
                      <a:pt x="1344" y="1633"/>
                    </a:lnTo>
                    <a:lnTo>
                      <a:pt x="1346" y="1633"/>
                    </a:lnTo>
                    <a:lnTo>
                      <a:pt x="1346" y="1635"/>
                    </a:lnTo>
                    <a:lnTo>
                      <a:pt x="1344" y="1637"/>
                    </a:lnTo>
                    <a:lnTo>
                      <a:pt x="1344" y="1639"/>
                    </a:lnTo>
                    <a:lnTo>
                      <a:pt x="1342" y="1639"/>
                    </a:lnTo>
                    <a:lnTo>
                      <a:pt x="1342" y="1641"/>
                    </a:lnTo>
                    <a:lnTo>
                      <a:pt x="1341" y="1639"/>
                    </a:lnTo>
                    <a:lnTo>
                      <a:pt x="1342" y="1641"/>
                    </a:lnTo>
                    <a:lnTo>
                      <a:pt x="1341" y="1643"/>
                    </a:lnTo>
                    <a:lnTo>
                      <a:pt x="1341" y="1644"/>
                    </a:lnTo>
                    <a:lnTo>
                      <a:pt x="1341" y="1646"/>
                    </a:lnTo>
                    <a:lnTo>
                      <a:pt x="1341" y="1648"/>
                    </a:lnTo>
                    <a:lnTo>
                      <a:pt x="1339" y="1648"/>
                    </a:lnTo>
                    <a:lnTo>
                      <a:pt x="1339" y="1650"/>
                    </a:lnTo>
                    <a:lnTo>
                      <a:pt x="1339" y="1648"/>
                    </a:lnTo>
                    <a:lnTo>
                      <a:pt x="1341" y="1648"/>
                    </a:lnTo>
                    <a:lnTo>
                      <a:pt x="1341" y="1650"/>
                    </a:lnTo>
                    <a:lnTo>
                      <a:pt x="1339" y="1654"/>
                    </a:lnTo>
                    <a:lnTo>
                      <a:pt x="1342" y="1648"/>
                    </a:lnTo>
                    <a:lnTo>
                      <a:pt x="1342" y="1650"/>
                    </a:lnTo>
                    <a:lnTo>
                      <a:pt x="1342" y="1648"/>
                    </a:lnTo>
                    <a:lnTo>
                      <a:pt x="1344" y="1646"/>
                    </a:lnTo>
                    <a:lnTo>
                      <a:pt x="1344" y="1648"/>
                    </a:lnTo>
                    <a:lnTo>
                      <a:pt x="1344" y="1646"/>
                    </a:lnTo>
                    <a:lnTo>
                      <a:pt x="1344" y="1648"/>
                    </a:lnTo>
                    <a:lnTo>
                      <a:pt x="1344" y="1646"/>
                    </a:lnTo>
                    <a:lnTo>
                      <a:pt x="1346" y="1644"/>
                    </a:lnTo>
                    <a:lnTo>
                      <a:pt x="1346" y="1646"/>
                    </a:lnTo>
                    <a:lnTo>
                      <a:pt x="1346" y="1644"/>
                    </a:lnTo>
                    <a:lnTo>
                      <a:pt x="1346" y="1646"/>
                    </a:lnTo>
                    <a:lnTo>
                      <a:pt x="1346" y="1644"/>
                    </a:lnTo>
                    <a:lnTo>
                      <a:pt x="1348" y="1643"/>
                    </a:lnTo>
                    <a:lnTo>
                      <a:pt x="1350" y="1639"/>
                    </a:lnTo>
                    <a:lnTo>
                      <a:pt x="1352" y="1641"/>
                    </a:lnTo>
                    <a:lnTo>
                      <a:pt x="1350" y="1641"/>
                    </a:lnTo>
                    <a:lnTo>
                      <a:pt x="1352" y="1641"/>
                    </a:lnTo>
                    <a:lnTo>
                      <a:pt x="1350" y="1641"/>
                    </a:lnTo>
                    <a:lnTo>
                      <a:pt x="1352" y="1643"/>
                    </a:lnTo>
                    <a:lnTo>
                      <a:pt x="1350" y="1643"/>
                    </a:lnTo>
                    <a:lnTo>
                      <a:pt x="1350" y="1644"/>
                    </a:lnTo>
                    <a:lnTo>
                      <a:pt x="1352" y="1643"/>
                    </a:lnTo>
                    <a:lnTo>
                      <a:pt x="1352" y="1644"/>
                    </a:lnTo>
                    <a:lnTo>
                      <a:pt x="1352" y="1643"/>
                    </a:lnTo>
                    <a:lnTo>
                      <a:pt x="1354" y="1643"/>
                    </a:lnTo>
                    <a:lnTo>
                      <a:pt x="1356" y="1643"/>
                    </a:lnTo>
                    <a:lnTo>
                      <a:pt x="1354" y="1643"/>
                    </a:lnTo>
                    <a:lnTo>
                      <a:pt x="1354" y="1644"/>
                    </a:lnTo>
                    <a:lnTo>
                      <a:pt x="1356" y="1644"/>
                    </a:lnTo>
                    <a:lnTo>
                      <a:pt x="1358" y="1644"/>
                    </a:lnTo>
                    <a:lnTo>
                      <a:pt x="1360" y="1644"/>
                    </a:lnTo>
                    <a:lnTo>
                      <a:pt x="1360" y="1643"/>
                    </a:lnTo>
                    <a:lnTo>
                      <a:pt x="1362" y="1643"/>
                    </a:lnTo>
                    <a:lnTo>
                      <a:pt x="1362" y="1644"/>
                    </a:lnTo>
                    <a:lnTo>
                      <a:pt x="1360" y="1644"/>
                    </a:lnTo>
                    <a:lnTo>
                      <a:pt x="1360" y="1646"/>
                    </a:lnTo>
                    <a:lnTo>
                      <a:pt x="1358" y="1646"/>
                    </a:lnTo>
                    <a:lnTo>
                      <a:pt x="1356" y="1648"/>
                    </a:lnTo>
                    <a:lnTo>
                      <a:pt x="1354" y="1648"/>
                    </a:lnTo>
                    <a:lnTo>
                      <a:pt x="1354" y="1650"/>
                    </a:lnTo>
                    <a:lnTo>
                      <a:pt x="1352" y="1648"/>
                    </a:lnTo>
                    <a:lnTo>
                      <a:pt x="1352" y="1650"/>
                    </a:lnTo>
                    <a:lnTo>
                      <a:pt x="1350" y="1652"/>
                    </a:lnTo>
                    <a:lnTo>
                      <a:pt x="1350" y="1654"/>
                    </a:lnTo>
                    <a:lnTo>
                      <a:pt x="1350" y="1652"/>
                    </a:lnTo>
                    <a:lnTo>
                      <a:pt x="1352" y="1650"/>
                    </a:lnTo>
                    <a:lnTo>
                      <a:pt x="1354" y="1650"/>
                    </a:lnTo>
                    <a:lnTo>
                      <a:pt x="1352" y="1652"/>
                    </a:lnTo>
                    <a:lnTo>
                      <a:pt x="1354" y="1650"/>
                    </a:lnTo>
                    <a:lnTo>
                      <a:pt x="1354" y="1652"/>
                    </a:lnTo>
                    <a:lnTo>
                      <a:pt x="1356" y="1650"/>
                    </a:lnTo>
                    <a:lnTo>
                      <a:pt x="1354" y="1652"/>
                    </a:lnTo>
                    <a:lnTo>
                      <a:pt x="1356" y="1652"/>
                    </a:lnTo>
                    <a:lnTo>
                      <a:pt x="1354" y="1652"/>
                    </a:lnTo>
                    <a:lnTo>
                      <a:pt x="1352" y="1654"/>
                    </a:lnTo>
                    <a:lnTo>
                      <a:pt x="1354" y="1654"/>
                    </a:lnTo>
                    <a:lnTo>
                      <a:pt x="1354" y="1652"/>
                    </a:lnTo>
                    <a:lnTo>
                      <a:pt x="1354" y="1654"/>
                    </a:lnTo>
                    <a:lnTo>
                      <a:pt x="1356" y="1652"/>
                    </a:lnTo>
                    <a:lnTo>
                      <a:pt x="1356" y="1654"/>
                    </a:lnTo>
                    <a:lnTo>
                      <a:pt x="1354" y="1654"/>
                    </a:lnTo>
                    <a:lnTo>
                      <a:pt x="1352" y="1656"/>
                    </a:lnTo>
                    <a:lnTo>
                      <a:pt x="1350" y="1658"/>
                    </a:lnTo>
                    <a:lnTo>
                      <a:pt x="1352" y="1658"/>
                    </a:lnTo>
                    <a:lnTo>
                      <a:pt x="1352" y="1656"/>
                    </a:lnTo>
                    <a:lnTo>
                      <a:pt x="1354" y="1656"/>
                    </a:lnTo>
                    <a:lnTo>
                      <a:pt x="1354" y="1654"/>
                    </a:lnTo>
                    <a:lnTo>
                      <a:pt x="1354" y="1656"/>
                    </a:lnTo>
                    <a:lnTo>
                      <a:pt x="1354" y="1654"/>
                    </a:lnTo>
                    <a:lnTo>
                      <a:pt x="1354" y="1656"/>
                    </a:lnTo>
                    <a:lnTo>
                      <a:pt x="1356" y="1654"/>
                    </a:lnTo>
                    <a:lnTo>
                      <a:pt x="1356" y="1656"/>
                    </a:lnTo>
                    <a:lnTo>
                      <a:pt x="1358" y="1656"/>
                    </a:lnTo>
                    <a:lnTo>
                      <a:pt x="1356" y="1656"/>
                    </a:lnTo>
                    <a:lnTo>
                      <a:pt x="1358" y="1656"/>
                    </a:lnTo>
                    <a:lnTo>
                      <a:pt x="1358" y="1658"/>
                    </a:lnTo>
                    <a:lnTo>
                      <a:pt x="1360" y="1656"/>
                    </a:lnTo>
                    <a:lnTo>
                      <a:pt x="1360" y="1658"/>
                    </a:lnTo>
                    <a:lnTo>
                      <a:pt x="1360" y="1660"/>
                    </a:lnTo>
                    <a:lnTo>
                      <a:pt x="1360" y="1656"/>
                    </a:lnTo>
                    <a:lnTo>
                      <a:pt x="1362" y="1656"/>
                    </a:lnTo>
                    <a:lnTo>
                      <a:pt x="1363" y="1656"/>
                    </a:lnTo>
                    <a:lnTo>
                      <a:pt x="1362" y="1658"/>
                    </a:lnTo>
                    <a:lnTo>
                      <a:pt x="1363" y="1656"/>
                    </a:lnTo>
                    <a:lnTo>
                      <a:pt x="1362" y="1660"/>
                    </a:lnTo>
                    <a:lnTo>
                      <a:pt x="1362" y="1658"/>
                    </a:lnTo>
                    <a:lnTo>
                      <a:pt x="1362" y="1660"/>
                    </a:lnTo>
                    <a:lnTo>
                      <a:pt x="1363" y="1658"/>
                    </a:lnTo>
                    <a:lnTo>
                      <a:pt x="1363" y="1660"/>
                    </a:lnTo>
                    <a:lnTo>
                      <a:pt x="1363" y="1658"/>
                    </a:lnTo>
                    <a:lnTo>
                      <a:pt x="1365" y="1660"/>
                    </a:lnTo>
                    <a:lnTo>
                      <a:pt x="1363" y="1658"/>
                    </a:lnTo>
                    <a:lnTo>
                      <a:pt x="1365" y="1658"/>
                    </a:lnTo>
                    <a:lnTo>
                      <a:pt x="1363" y="1658"/>
                    </a:lnTo>
                    <a:lnTo>
                      <a:pt x="1363" y="1656"/>
                    </a:lnTo>
                    <a:lnTo>
                      <a:pt x="1365" y="1656"/>
                    </a:lnTo>
                    <a:lnTo>
                      <a:pt x="1363" y="1656"/>
                    </a:lnTo>
                    <a:lnTo>
                      <a:pt x="1363" y="1654"/>
                    </a:lnTo>
                    <a:lnTo>
                      <a:pt x="1365" y="1654"/>
                    </a:lnTo>
                    <a:lnTo>
                      <a:pt x="1363" y="1654"/>
                    </a:lnTo>
                    <a:lnTo>
                      <a:pt x="1365" y="1656"/>
                    </a:lnTo>
                    <a:lnTo>
                      <a:pt x="1365" y="1654"/>
                    </a:lnTo>
                    <a:lnTo>
                      <a:pt x="1367" y="1656"/>
                    </a:lnTo>
                    <a:lnTo>
                      <a:pt x="1365" y="1656"/>
                    </a:lnTo>
                    <a:lnTo>
                      <a:pt x="1367" y="1656"/>
                    </a:lnTo>
                    <a:lnTo>
                      <a:pt x="1365" y="1656"/>
                    </a:lnTo>
                    <a:lnTo>
                      <a:pt x="1367" y="1656"/>
                    </a:lnTo>
                    <a:lnTo>
                      <a:pt x="1365" y="1658"/>
                    </a:lnTo>
                    <a:lnTo>
                      <a:pt x="1365" y="1660"/>
                    </a:lnTo>
                    <a:lnTo>
                      <a:pt x="1365" y="1662"/>
                    </a:lnTo>
                    <a:lnTo>
                      <a:pt x="1363" y="1663"/>
                    </a:lnTo>
                    <a:lnTo>
                      <a:pt x="1363" y="1665"/>
                    </a:lnTo>
                    <a:lnTo>
                      <a:pt x="1363" y="1663"/>
                    </a:lnTo>
                    <a:lnTo>
                      <a:pt x="1363" y="1665"/>
                    </a:lnTo>
                    <a:lnTo>
                      <a:pt x="1363" y="1667"/>
                    </a:lnTo>
                    <a:lnTo>
                      <a:pt x="1365" y="1665"/>
                    </a:lnTo>
                    <a:lnTo>
                      <a:pt x="1363" y="1665"/>
                    </a:lnTo>
                    <a:lnTo>
                      <a:pt x="1363" y="1663"/>
                    </a:lnTo>
                    <a:lnTo>
                      <a:pt x="1365" y="1663"/>
                    </a:lnTo>
                    <a:lnTo>
                      <a:pt x="1363" y="1663"/>
                    </a:lnTo>
                    <a:lnTo>
                      <a:pt x="1363" y="1662"/>
                    </a:lnTo>
                    <a:lnTo>
                      <a:pt x="1365" y="1663"/>
                    </a:lnTo>
                    <a:lnTo>
                      <a:pt x="1365" y="1662"/>
                    </a:lnTo>
                    <a:lnTo>
                      <a:pt x="1367" y="1662"/>
                    </a:lnTo>
                    <a:lnTo>
                      <a:pt x="1367" y="1660"/>
                    </a:lnTo>
                    <a:lnTo>
                      <a:pt x="1367" y="1662"/>
                    </a:lnTo>
                    <a:lnTo>
                      <a:pt x="1367" y="1660"/>
                    </a:lnTo>
                    <a:lnTo>
                      <a:pt x="1367" y="1658"/>
                    </a:lnTo>
                    <a:lnTo>
                      <a:pt x="1367" y="1660"/>
                    </a:lnTo>
                    <a:lnTo>
                      <a:pt x="1369" y="1660"/>
                    </a:lnTo>
                    <a:lnTo>
                      <a:pt x="1367" y="1662"/>
                    </a:lnTo>
                    <a:lnTo>
                      <a:pt x="1369" y="1660"/>
                    </a:lnTo>
                    <a:lnTo>
                      <a:pt x="1371" y="1660"/>
                    </a:lnTo>
                    <a:lnTo>
                      <a:pt x="1371" y="1658"/>
                    </a:lnTo>
                    <a:lnTo>
                      <a:pt x="1371" y="1660"/>
                    </a:lnTo>
                    <a:lnTo>
                      <a:pt x="1371" y="1662"/>
                    </a:lnTo>
                    <a:lnTo>
                      <a:pt x="1373" y="1660"/>
                    </a:lnTo>
                    <a:lnTo>
                      <a:pt x="1371" y="1660"/>
                    </a:lnTo>
                    <a:lnTo>
                      <a:pt x="1373" y="1660"/>
                    </a:lnTo>
                    <a:lnTo>
                      <a:pt x="1373" y="1658"/>
                    </a:lnTo>
                    <a:lnTo>
                      <a:pt x="1375" y="1658"/>
                    </a:lnTo>
                    <a:lnTo>
                      <a:pt x="1375" y="1656"/>
                    </a:lnTo>
                    <a:lnTo>
                      <a:pt x="1377" y="1654"/>
                    </a:lnTo>
                    <a:lnTo>
                      <a:pt x="1377" y="1656"/>
                    </a:lnTo>
                    <a:lnTo>
                      <a:pt x="1375" y="1656"/>
                    </a:lnTo>
                    <a:lnTo>
                      <a:pt x="1375" y="1658"/>
                    </a:lnTo>
                    <a:lnTo>
                      <a:pt x="1375" y="1656"/>
                    </a:lnTo>
                    <a:lnTo>
                      <a:pt x="1375" y="1658"/>
                    </a:lnTo>
                    <a:lnTo>
                      <a:pt x="1375" y="1656"/>
                    </a:lnTo>
                    <a:lnTo>
                      <a:pt x="1377" y="1656"/>
                    </a:lnTo>
                    <a:lnTo>
                      <a:pt x="1375" y="1658"/>
                    </a:lnTo>
                    <a:lnTo>
                      <a:pt x="1377" y="1656"/>
                    </a:lnTo>
                    <a:lnTo>
                      <a:pt x="1377" y="1658"/>
                    </a:lnTo>
                    <a:lnTo>
                      <a:pt x="1377" y="1660"/>
                    </a:lnTo>
                    <a:lnTo>
                      <a:pt x="1377" y="1662"/>
                    </a:lnTo>
                    <a:lnTo>
                      <a:pt x="1377" y="1660"/>
                    </a:lnTo>
                    <a:lnTo>
                      <a:pt x="1379" y="1660"/>
                    </a:lnTo>
                    <a:lnTo>
                      <a:pt x="1379" y="1658"/>
                    </a:lnTo>
                    <a:lnTo>
                      <a:pt x="1379" y="1656"/>
                    </a:lnTo>
                    <a:lnTo>
                      <a:pt x="1379" y="1658"/>
                    </a:lnTo>
                    <a:lnTo>
                      <a:pt x="1379" y="1656"/>
                    </a:lnTo>
                    <a:lnTo>
                      <a:pt x="1381" y="1658"/>
                    </a:lnTo>
                    <a:lnTo>
                      <a:pt x="1383" y="1658"/>
                    </a:lnTo>
                    <a:lnTo>
                      <a:pt x="1383" y="1656"/>
                    </a:lnTo>
                    <a:lnTo>
                      <a:pt x="1384" y="1656"/>
                    </a:lnTo>
                    <a:lnTo>
                      <a:pt x="1384" y="1658"/>
                    </a:lnTo>
                    <a:lnTo>
                      <a:pt x="1386" y="1656"/>
                    </a:lnTo>
                    <a:lnTo>
                      <a:pt x="1386" y="1658"/>
                    </a:lnTo>
                    <a:lnTo>
                      <a:pt x="1388" y="1658"/>
                    </a:lnTo>
                    <a:lnTo>
                      <a:pt x="1390" y="1660"/>
                    </a:lnTo>
                    <a:lnTo>
                      <a:pt x="1392" y="1662"/>
                    </a:lnTo>
                    <a:lnTo>
                      <a:pt x="1392" y="1660"/>
                    </a:lnTo>
                    <a:lnTo>
                      <a:pt x="1392" y="1662"/>
                    </a:lnTo>
                    <a:lnTo>
                      <a:pt x="1394" y="1662"/>
                    </a:lnTo>
                    <a:lnTo>
                      <a:pt x="1392" y="1662"/>
                    </a:lnTo>
                    <a:lnTo>
                      <a:pt x="1392" y="1663"/>
                    </a:lnTo>
                    <a:lnTo>
                      <a:pt x="1392" y="1665"/>
                    </a:lnTo>
                    <a:lnTo>
                      <a:pt x="1390" y="1665"/>
                    </a:lnTo>
                    <a:lnTo>
                      <a:pt x="1390" y="1663"/>
                    </a:lnTo>
                    <a:lnTo>
                      <a:pt x="1390" y="1665"/>
                    </a:lnTo>
                    <a:lnTo>
                      <a:pt x="1390" y="1667"/>
                    </a:lnTo>
                    <a:lnTo>
                      <a:pt x="1388" y="1667"/>
                    </a:lnTo>
                    <a:lnTo>
                      <a:pt x="1386" y="1667"/>
                    </a:lnTo>
                    <a:lnTo>
                      <a:pt x="1388" y="1667"/>
                    </a:lnTo>
                    <a:lnTo>
                      <a:pt x="1386" y="1667"/>
                    </a:lnTo>
                    <a:lnTo>
                      <a:pt x="1386" y="1669"/>
                    </a:lnTo>
                    <a:lnTo>
                      <a:pt x="1388" y="1669"/>
                    </a:lnTo>
                    <a:lnTo>
                      <a:pt x="1386" y="1669"/>
                    </a:lnTo>
                    <a:lnTo>
                      <a:pt x="1384" y="1669"/>
                    </a:lnTo>
                    <a:lnTo>
                      <a:pt x="1384" y="1671"/>
                    </a:lnTo>
                    <a:lnTo>
                      <a:pt x="1386" y="1669"/>
                    </a:lnTo>
                    <a:lnTo>
                      <a:pt x="1384" y="1671"/>
                    </a:lnTo>
                    <a:lnTo>
                      <a:pt x="1383" y="1671"/>
                    </a:lnTo>
                    <a:lnTo>
                      <a:pt x="1383" y="1673"/>
                    </a:lnTo>
                    <a:lnTo>
                      <a:pt x="1381" y="1673"/>
                    </a:lnTo>
                    <a:lnTo>
                      <a:pt x="1383" y="1673"/>
                    </a:lnTo>
                    <a:lnTo>
                      <a:pt x="1381" y="1673"/>
                    </a:lnTo>
                    <a:lnTo>
                      <a:pt x="1383" y="1673"/>
                    </a:lnTo>
                    <a:lnTo>
                      <a:pt x="1384" y="1671"/>
                    </a:lnTo>
                    <a:lnTo>
                      <a:pt x="1384" y="1673"/>
                    </a:lnTo>
                    <a:lnTo>
                      <a:pt x="1386" y="1671"/>
                    </a:lnTo>
                    <a:lnTo>
                      <a:pt x="1388" y="1671"/>
                    </a:lnTo>
                    <a:lnTo>
                      <a:pt x="1388" y="1673"/>
                    </a:lnTo>
                    <a:lnTo>
                      <a:pt x="1386" y="1673"/>
                    </a:lnTo>
                    <a:lnTo>
                      <a:pt x="1384" y="1673"/>
                    </a:lnTo>
                    <a:lnTo>
                      <a:pt x="1384" y="1675"/>
                    </a:lnTo>
                    <a:lnTo>
                      <a:pt x="1386" y="1675"/>
                    </a:lnTo>
                    <a:lnTo>
                      <a:pt x="1384" y="1675"/>
                    </a:lnTo>
                    <a:lnTo>
                      <a:pt x="1386" y="1675"/>
                    </a:lnTo>
                    <a:lnTo>
                      <a:pt x="1384" y="1675"/>
                    </a:lnTo>
                    <a:lnTo>
                      <a:pt x="1386" y="1675"/>
                    </a:lnTo>
                    <a:lnTo>
                      <a:pt x="1384" y="1677"/>
                    </a:lnTo>
                    <a:lnTo>
                      <a:pt x="1388" y="1675"/>
                    </a:lnTo>
                    <a:lnTo>
                      <a:pt x="1386" y="1675"/>
                    </a:lnTo>
                    <a:lnTo>
                      <a:pt x="1384" y="1675"/>
                    </a:lnTo>
                    <a:lnTo>
                      <a:pt x="1386" y="1673"/>
                    </a:lnTo>
                    <a:lnTo>
                      <a:pt x="1386" y="1675"/>
                    </a:lnTo>
                    <a:lnTo>
                      <a:pt x="1388" y="1675"/>
                    </a:lnTo>
                    <a:lnTo>
                      <a:pt x="1388" y="1677"/>
                    </a:lnTo>
                    <a:lnTo>
                      <a:pt x="1390" y="1675"/>
                    </a:lnTo>
                    <a:lnTo>
                      <a:pt x="1390" y="1677"/>
                    </a:lnTo>
                    <a:lnTo>
                      <a:pt x="1388" y="1677"/>
                    </a:lnTo>
                    <a:lnTo>
                      <a:pt x="1386" y="1677"/>
                    </a:lnTo>
                    <a:lnTo>
                      <a:pt x="1386" y="1679"/>
                    </a:lnTo>
                    <a:lnTo>
                      <a:pt x="1384" y="1679"/>
                    </a:lnTo>
                    <a:lnTo>
                      <a:pt x="1386" y="1677"/>
                    </a:lnTo>
                    <a:lnTo>
                      <a:pt x="1386" y="1679"/>
                    </a:lnTo>
                    <a:lnTo>
                      <a:pt x="1386" y="1677"/>
                    </a:lnTo>
                    <a:lnTo>
                      <a:pt x="1386" y="1679"/>
                    </a:lnTo>
                    <a:lnTo>
                      <a:pt x="1388" y="1677"/>
                    </a:lnTo>
                    <a:lnTo>
                      <a:pt x="1388" y="1679"/>
                    </a:lnTo>
                    <a:lnTo>
                      <a:pt x="1386" y="1681"/>
                    </a:lnTo>
                    <a:lnTo>
                      <a:pt x="1384" y="1681"/>
                    </a:lnTo>
                    <a:lnTo>
                      <a:pt x="1383" y="1681"/>
                    </a:lnTo>
                    <a:lnTo>
                      <a:pt x="1383" y="1683"/>
                    </a:lnTo>
                    <a:lnTo>
                      <a:pt x="1381" y="1683"/>
                    </a:lnTo>
                    <a:lnTo>
                      <a:pt x="1383" y="1683"/>
                    </a:lnTo>
                    <a:lnTo>
                      <a:pt x="1384" y="1683"/>
                    </a:lnTo>
                    <a:lnTo>
                      <a:pt x="1386" y="1681"/>
                    </a:lnTo>
                    <a:lnTo>
                      <a:pt x="1388" y="1681"/>
                    </a:lnTo>
                    <a:lnTo>
                      <a:pt x="1386" y="1681"/>
                    </a:lnTo>
                    <a:lnTo>
                      <a:pt x="1386" y="1683"/>
                    </a:lnTo>
                    <a:lnTo>
                      <a:pt x="1388" y="1683"/>
                    </a:lnTo>
                    <a:lnTo>
                      <a:pt x="1388" y="1681"/>
                    </a:lnTo>
                    <a:lnTo>
                      <a:pt x="1390" y="1679"/>
                    </a:lnTo>
                    <a:lnTo>
                      <a:pt x="1390" y="1681"/>
                    </a:lnTo>
                    <a:lnTo>
                      <a:pt x="1390" y="1679"/>
                    </a:lnTo>
                    <a:lnTo>
                      <a:pt x="1388" y="1681"/>
                    </a:lnTo>
                    <a:lnTo>
                      <a:pt x="1390" y="1681"/>
                    </a:lnTo>
                    <a:lnTo>
                      <a:pt x="1392" y="1679"/>
                    </a:lnTo>
                    <a:lnTo>
                      <a:pt x="1390" y="1679"/>
                    </a:lnTo>
                    <a:lnTo>
                      <a:pt x="1392" y="1679"/>
                    </a:lnTo>
                    <a:lnTo>
                      <a:pt x="1390" y="1681"/>
                    </a:lnTo>
                    <a:lnTo>
                      <a:pt x="1392" y="1681"/>
                    </a:lnTo>
                    <a:lnTo>
                      <a:pt x="1390" y="1681"/>
                    </a:lnTo>
                    <a:lnTo>
                      <a:pt x="1392" y="1681"/>
                    </a:lnTo>
                    <a:lnTo>
                      <a:pt x="1390" y="1681"/>
                    </a:lnTo>
                    <a:lnTo>
                      <a:pt x="1390" y="1683"/>
                    </a:lnTo>
                    <a:lnTo>
                      <a:pt x="1392" y="1681"/>
                    </a:lnTo>
                    <a:lnTo>
                      <a:pt x="1392" y="1679"/>
                    </a:lnTo>
                    <a:lnTo>
                      <a:pt x="1392" y="1677"/>
                    </a:lnTo>
                    <a:lnTo>
                      <a:pt x="1394" y="1677"/>
                    </a:lnTo>
                    <a:lnTo>
                      <a:pt x="1396" y="1677"/>
                    </a:lnTo>
                    <a:lnTo>
                      <a:pt x="1394" y="1677"/>
                    </a:lnTo>
                    <a:lnTo>
                      <a:pt x="1396" y="1677"/>
                    </a:lnTo>
                    <a:lnTo>
                      <a:pt x="1396" y="1679"/>
                    </a:lnTo>
                    <a:lnTo>
                      <a:pt x="1398" y="1677"/>
                    </a:lnTo>
                    <a:lnTo>
                      <a:pt x="1400" y="1677"/>
                    </a:lnTo>
                    <a:lnTo>
                      <a:pt x="1398" y="1675"/>
                    </a:lnTo>
                    <a:lnTo>
                      <a:pt x="1400" y="1675"/>
                    </a:lnTo>
                    <a:lnTo>
                      <a:pt x="1400" y="1677"/>
                    </a:lnTo>
                    <a:lnTo>
                      <a:pt x="1400" y="1679"/>
                    </a:lnTo>
                    <a:lnTo>
                      <a:pt x="1400" y="1681"/>
                    </a:lnTo>
                    <a:lnTo>
                      <a:pt x="1400" y="1683"/>
                    </a:lnTo>
                    <a:lnTo>
                      <a:pt x="1398" y="1683"/>
                    </a:lnTo>
                    <a:lnTo>
                      <a:pt x="1396" y="1683"/>
                    </a:lnTo>
                    <a:lnTo>
                      <a:pt x="1394" y="1683"/>
                    </a:lnTo>
                    <a:lnTo>
                      <a:pt x="1396" y="1683"/>
                    </a:lnTo>
                    <a:lnTo>
                      <a:pt x="1394" y="1683"/>
                    </a:lnTo>
                    <a:lnTo>
                      <a:pt x="1396" y="1683"/>
                    </a:lnTo>
                    <a:lnTo>
                      <a:pt x="1394" y="1684"/>
                    </a:lnTo>
                    <a:lnTo>
                      <a:pt x="1392" y="1686"/>
                    </a:lnTo>
                    <a:lnTo>
                      <a:pt x="1390" y="1686"/>
                    </a:lnTo>
                    <a:lnTo>
                      <a:pt x="1390" y="1688"/>
                    </a:lnTo>
                    <a:lnTo>
                      <a:pt x="1388" y="1686"/>
                    </a:lnTo>
                    <a:lnTo>
                      <a:pt x="1386" y="1686"/>
                    </a:lnTo>
                    <a:lnTo>
                      <a:pt x="1384" y="1686"/>
                    </a:lnTo>
                    <a:lnTo>
                      <a:pt x="1386" y="1686"/>
                    </a:lnTo>
                    <a:lnTo>
                      <a:pt x="1384" y="1686"/>
                    </a:lnTo>
                    <a:lnTo>
                      <a:pt x="1384" y="1688"/>
                    </a:lnTo>
                    <a:lnTo>
                      <a:pt x="1386" y="1688"/>
                    </a:lnTo>
                    <a:lnTo>
                      <a:pt x="1386" y="1690"/>
                    </a:lnTo>
                    <a:lnTo>
                      <a:pt x="1390" y="1690"/>
                    </a:lnTo>
                    <a:lnTo>
                      <a:pt x="1388" y="1690"/>
                    </a:lnTo>
                    <a:lnTo>
                      <a:pt x="1384" y="1690"/>
                    </a:lnTo>
                    <a:lnTo>
                      <a:pt x="1386" y="1692"/>
                    </a:lnTo>
                    <a:lnTo>
                      <a:pt x="1388" y="1692"/>
                    </a:lnTo>
                    <a:lnTo>
                      <a:pt x="1390" y="1690"/>
                    </a:lnTo>
                    <a:lnTo>
                      <a:pt x="1390" y="1692"/>
                    </a:lnTo>
                    <a:lnTo>
                      <a:pt x="1390" y="1690"/>
                    </a:lnTo>
                    <a:lnTo>
                      <a:pt x="1390" y="1692"/>
                    </a:lnTo>
                    <a:lnTo>
                      <a:pt x="1390" y="1694"/>
                    </a:lnTo>
                    <a:lnTo>
                      <a:pt x="1388" y="1694"/>
                    </a:lnTo>
                    <a:lnTo>
                      <a:pt x="1390" y="1694"/>
                    </a:lnTo>
                    <a:lnTo>
                      <a:pt x="1388" y="1694"/>
                    </a:lnTo>
                    <a:lnTo>
                      <a:pt x="1390" y="1694"/>
                    </a:lnTo>
                    <a:lnTo>
                      <a:pt x="1388" y="1694"/>
                    </a:lnTo>
                    <a:lnTo>
                      <a:pt x="1388" y="1696"/>
                    </a:lnTo>
                    <a:lnTo>
                      <a:pt x="1388" y="1698"/>
                    </a:lnTo>
                    <a:lnTo>
                      <a:pt x="1386" y="1696"/>
                    </a:lnTo>
                    <a:lnTo>
                      <a:pt x="1386" y="1694"/>
                    </a:lnTo>
                    <a:lnTo>
                      <a:pt x="1386" y="1696"/>
                    </a:lnTo>
                    <a:lnTo>
                      <a:pt x="1388" y="1698"/>
                    </a:lnTo>
                    <a:lnTo>
                      <a:pt x="1386" y="1698"/>
                    </a:lnTo>
                    <a:lnTo>
                      <a:pt x="1388" y="1700"/>
                    </a:lnTo>
                    <a:lnTo>
                      <a:pt x="1390" y="1698"/>
                    </a:lnTo>
                    <a:lnTo>
                      <a:pt x="1390" y="1700"/>
                    </a:lnTo>
                    <a:lnTo>
                      <a:pt x="1388" y="1702"/>
                    </a:lnTo>
                    <a:lnTo>
                      <a:pt x="1390" y="1702"/>
                    </a:lnTo>
                    <a:lnTo>
                      <a:pt x="1390" y="1704"/>
                    </a:lnTo>
                    <a:lnTo>
                      <a:pt x="1390" y="1702"/>
                    </a:lnTo>
                    <a:lnTo>
                      <a:pt x="1392" y="1702"/>
                    </a:lnTo>
                    <a:lnTo>
                      <a:pt x="1392" y="1704"/>
                    </a:lnTo>
                    <a:lnTo>
                      <a:pt x="1392" y="1702"/>
                    </a:lnTo>
                    <a:lnTo>
                      <a:pt x="1392" y="1700"/>
                    </a:lnTo>
                    <a:lnTo>
                      <a:pt x="1392" y="1702"/>
                    </a:lnTo>
                    <a:lnTo>
                      <a:pt x="1392" y="1700"/>
                    </a:lnTo>
                    <a:lnTo>
                      <a:pt x="1392" y="1698"/>
                    </a:lnTo>
                    <a:lnTo>
                      <a:pt x="1394" y="1698"/>
                    </a:lnTo>
                    <a:lnTo>
                      <a:pt x="1394" y="1696"/>
                    </a:lnTo>
                    <a:lnTo>
                      <a:pt x="1394" y="1694"/>
                    </a:lnTo>
                    <a:lnTo>
                      <a:pt x="1396" y="1694"/>
                    </a:lnTo>
                    <a:lnTo>
                      <a:pt x="1394" y="1694"/>
                    </a:lnTo>
                    <a:lnTo>
                      <a:pt x="1396" y="1692"/>
                    </a:lnTo>
                    <a:lnTo>
                      <a:pt x="1398" y="1690"/>
                    </a:lnTo>
                    <a:lnTo>
                      <a:pt x="1400" y="1690"/>
                    </a:lnTo>
                    <a:lnTo>
                      <a:pt x="1400" y="1688"/>
                    </a:lnTo>
                    <a:lnTo>
                      <a:pt x="1402" y="1688"/>
                    </a:lnTo>
                    <a:lnTo>
                      <a:pt x="1404" y="1688"/>
                    </a:lnTo>
                    <a:lnTo>
                      <a:pt x="1402" y="1690"/>
                    </a:lnTo>
                    <a:lnTo>
                      <a:pt x="1402" y="1692"/>
                    </a:lnTo>
                    <a:lnTo>
                      <a:pt x="1400" y="1692"/>
                    </a:lnTo>
                    <a:lnTo>
                      <a:pt x="1400" y="1694"/>
                    </a:lnTo>
                    <a:lnTo>
                      <a:pt x="1400" y="1696"/>
                    </a:lnTo>
                    <a:lnTo>
                      <a:pt x="1398" y="1696"/>
                    </a:lnTo>
                    <a:lnTo>
                      <a:pt x="1398" y="1698"/>
                    </a:lnTo>
                    <a:lnTo>
                      <a:pt x="1396" y="1700"/>
                    </a:lnTo>
                    <a:lnTo>
                      <a:pt x="1398" y="1698"/>
                    </a:lnTo>
                    <a:lnTo>
                      <a:pt x="1398" y="1700"/>
                    </a:lnTo>
                    <a:lnTo>
                      <a:pt x="1396" y="1702"/>
                    </a:lnTo>
                    <a:lnTo>
                      <a:pt x="1398" y="1700"/>
                    </a:lnTo>
                    <a:lnTo>
                      <a:pt x="1396" y="1702"/>
                    </a:lnTo>
                    <a:lnTo>
                      <a:pt x="1398" y="1702"/>
                    </a:lnTo>
                    <a:lnTo>
                      <a:pt x="1396" y="1702"/>
                    </a:lnTo>
                    <a:lnTo>
                      <a:pt x="1398" y="1702"/>
                    </a:lnTo>
                    <a:lnTo>
                      <a:pt x="1398" y="1704"/>
                    </a:lnTo>
                    <a:lnTo>
                      <a:pt x="1398" y="1705"/>
                    </a:lnTo>
                    <a:lnTo>
                      <a:pt x="1398" y="1704"/>
                    </a:lnTo>
                    <a:lnTo>
                      <a:pt x="1398" y="1705"/>
                    </a:lnTo>
                    <a:lnTo>
                      <a:pt x="1398" y="1704"/>
                    </a:lnTo>
                    <a:lnTo>
                      <a:pt x="1398" y="1705"/>
                    </a:lnTo>
                    <a:lnTo>
                      <a:pt x="1400" y="1704"/>
                    </a:lnTo>
                    <a:lnTo>
                      <a:pt x="1402" y="1702"/>
                    </a:lnTo>
                    <a:lnTo>
                      <a:pt x="1404" y="1700"/>
                    </a:lnTo>
                    <a:lnTo>
                      <a:pt x="1404" y="1698"/>
                    </a:lnTo>
                    <a:lnTo>
                      <a:pt x="1404" y="1696"/>
                    </a:lnTo>
                    <a:lnTo>
                      <a:pt x="1404" y="1698"/>
                    </a:lnTo>
                    <a:lnTo>
                      <a:pt x="1405" y="1698"/>
                    </a:lnTo>
                    <a:lnTo>
                      <a:pt x="1405" y="1700"/>
                    </a:lnTo>
                    <a:lnTo>
                      <a:pt x="1405" y="1702"/>
                    </a:lnTo>
                    <a:lnTo>
                      <a:pt x="1405" y="1704"/>
                    </a:lnTo>
                    <a:lnTo>
                      <a:pt x="1407" y="1704"/>
                    </a:lnTo>
                    <a:lnTo>
                      <a:pt x="1405" y="1704"/>
                    </a:lnTo>
                    <a:lnTo>
                      <a:pt x="1405" y="1705"/>
                    </a:lnTo>
                    <a:lnTo>
                      <a:pt x="1405" y="1707"/>
                    </a:lnTo>
                    <a:lnTo>
                      <a:pt x="1404" y="1707"/>
                    </a:lnTo>
                    <a:lnTo>
                      <a:pt x="1404" y="1709"/>
                    </a:lnTo>
                    <a:lnTo>
                      <a:pt x="1404" y="1711"/>
                    </a:lnTo>
                    <a:lnTo>
                      <a:pt x="1402" y="1713"/>
                    </a:lnTo>
                    <a:lnTo>
                      <a:pt x="1404" y="1713"/>
                    </a:lnTo>
                    <a:lnTo>
                      <a:pt x="1402" y="1713"/>
                    </a:lnTo>
                    <a:lnTo>
                      <a:pt x="1404" y="1713"/>
                    </a:lnTo>
                    <a:lnTo>
                      <a:pt x="1402" y="1713"/>
                    </a:lnTo>
                    <a:lnTo>
                      <a:pt x="1404" y="1715"/>
                    </a:lnTo>
                    <a:lnTo>
                      <a:pt x="1402" y="1715"/>
                    </a:lnTo>
                    <a:lnTo>
                      <a:pt x="1402" y="1717"/>
                    </a:lnTo>
                    <a:lnTo>
                      <a:pt x="1402" y="1719"/>
                    </a:lnTo>
                    <a:lnTo>
                      <a:pt x="1402" y="1721"/>
                    </a:lnTo>
                    <a:lnTo>
                      <a:pt x="1400" y="1721"/>
                    </a:lnTo>
                    <a:lnTo>
                      <a:pt x="1400" y="1723"/>
                    </a:lnTo>
                    <a:lnTo>
                      <a:pt x="1398" y="1725"/>
                    </a:lnTo>
                    <a:lnTo>
                      <a:pt x="1398" y="1723"/>
                    </a:lnTo>
                    <a:lnTo>
                      <a:pt x="1396" y="1723"/>
                    </a:lnTo>
                    <a:lnTo>
                      <a:pt x="1396" y="1721"/>
                    </a:lnTo>
                    <a:lnTo>
                      <a:pt x="1396" y="1723"/>
                    </a:lnTo>
                    <a:lnTo>
                      <a:pt x="1396" y="1721"/>
                    </a:lnTo>
                    <a:lnTo>
                      <a:pt x="1394" y="1721"/>
                    </a:lnTo>
                    <a:lnTo>
                      <a:pt x="1394" y="1723"/>
                    </a:lnTo>
                    <a:lnTo>
                      <a:pt x="1396" y="1721"/>
                    </a:lnTo>
                    <a:lnTo>
                      <a:pt x="1394" y="1721"/>
                    </a:lnTo>
                    <a:lnTo>
                      <a:pt x="1394" y="1723"/>
                    </a:lnTo>
                    <a:lnTo>
                      <a:pt x="1392" y="1725"/>
                    </a:lnTo>
                    <a:lnTo>
                      <a:pt x="1392" y="1723"/>
                    </a:lnTo>
                    <a:lnTo>
                      <a:pt x="1390" y="1723"/>
                    </a:lnTo>
                    <a:lnTo>
                      <a:pt x="1390" y="1721"/>
                    </a:lnTo>
                    <a:lnTo>
                      <a:pt x="1390" y="1719"/>
                    </a:lnTo>
                    <a:lnTo>
                      <a:pt x="1390" y="1717"/>
                    </a:lnTo>
                    <a:lnTo>
                      <a:pt x="1392" y="1717"/>
                    </a:lnTo>
                    <a:lnTo>
                      <a:pt x="1392" y="1715"/>
                    </a:lnTo>
                    <a:lnTo>
                      <a:pt x="1392" y="1717"/>
                    </a:lnTo>
                    <a:lnTo>
                      <a:pt x="1392" y="1715"/>
                    </a:lnTo>
                    <a:lnTo>
                      <a:pt x="1390" y="1717"/>
                    </a:lnTo>
                    <a:lnTo>
                      <a:pt x="1390" y="1715"/>
                    </a:lnTo>
                    <a:lnTo>
                      <a:pt x="1392" y="1713"/>
                    </a:lnTo>
                    <a:lnTo>
                      <a:pt x="1394" y="1711"/>
                    </a:lnTo>
                    <a:lnTo>
                      <a:pt x="1392" y="1711"/>
                    </a:lnTo>
                    <a:lnTo>
                      <a:pt x="1392" y="1709"/>
                    </a:lnTo>
                    <a:lnTo>
                      <a:pt x="1390" y="1711"/>
                    </a:lnTo>
                    <a:lnTo>
                      <a:pt x="1390" y="1713"/>
                    </a:lnTo>
                    <a:lnTo>
                      <a:pt x="1390" y="1711"/>
                    </a:lnTo>
                    <a:lnTo>
                      <a:pt x="1388" y="1713"/>
                    </a:lnTo>
                    <a:lnTo>
                      <a:pt x="1388" y="1715"/>
                    </a:lnTo>
                    <a:lnTo>
                      <a:pt x="1386" y="1717"/>
                    </a:lnTo>
                    <a:lnTo>
                      <a:pt x="1384" y="1719"/>
                    </a:lnTo>
                    <a:lnTo>
                      <a:pt x="1384" y="1721"/>
                    </a:lnTo>
                    <a:lnTo>
                      <a:pt x="1384" y="1719"/>
                    </a:lnTo>
                    <a:lnTo>
                      <a:pt x="1383" y="1719"/>
                    </a:lnTo>
                    <a:lnTo>
                      <a:pt x="1381" y="1719"/>
                    </a:lnTo>
                    <a:lnTo>
                      <a:pt x="1383" y="1719"/>
                    </a:lnTo>
                    <a:lnTo>
                      <a:pt x="1381" y="1717"/>
                    </a:lnTo>
                    <a:lnTo>
                      <a:pt x="1383" y="1717"/>
                    </a:lnTo>
                    <a:lnTo>
                      <a:pt x="1383" y="1715"/>
                    </a:lnTo>
                    <a:lnTo>
                      <a:pt x="1384" y="1713"/>
                    </a:lnTo>
                    <a:lnTo>
                      <a:pt x="1384" y="1709"/>
                    </a:lnTo>
                    <a:lnTo>
                      <a:pt x="1384" y="1707"/>
                    </a:lnTo>
                    <a:lnTo>
                      <a:pt x="1384" y="1709"/>
                    </a:lnTo>
                    <a:lnTo>
                      <a:pt x="1386" y="1707"/>
                    </a:lnTo>
                    <a:lnTo>
                      <a:pt x="1386" y="1705"/>
                    </a:lnTo>
                    <a:lnTo>
                      <a:pt x="1386" y="1707"/>
                    </a:lnTo>
                    <a:lnTo>
                      <a:pt x="1386" y="1705"/>
                    </a:lnTo>
                    <a:lnTo>
                      <a:pt x="1388" y="1705"/>
                    </a:lnTo>
                    <a:lnTo>
                      <a:pt x="1386" y="1705"/>
                    </a:lnTo>
                    <a:lnTo>
                      <a:pt x="1386" y="1704"/>
                    </a:lnTo>
                    <a:lnTo>
                      <a:pt x="1386" y="1705"/>
                    </a:lnTo>
                    <a:lnTo>
                      <a:pt x="1386" y="1704"/>
                    </a:lnTo>
                    <a:lnTo>
                      <a:pt x="1386" y="1702"/>
                    </a:lnTo>
                    <a:lnTo>
                      <a:pt x="1386" y="1700"/>
                    </a:lnTo>
                    <a:lnTo>
                      <a:pt x="1386" y="1698"/>
                    </a:lnTo>
                    <a:lnTo>
                      <a:pt x="1384" y="1700"/>
                    </a:lnTo>
                    <a:lnTo>
                      <a:pt x="1384" y="1698"/>
                    </a:lnTo>
                    <a:lnTo>
                      <a:pt x="1384" y="1696"/>
                    </a:lnTo>
                    <a:lnTo>
                      <a:pt x="1384" y="1698"/>
                    </a:lnTo>
                    <a:lnTo>
                      <a:pt x="1384" y="1696"/>
                    </a:lnTo>
                    <a:lnTo>
                      <a:pt x="1383" y="1694"/>
                    </a:lnTo>
                    <a:lnTo>
                      <a:pt x="1383" y="1696"/>
                    </a:lnTo>
                    <a:lnTo>
                      <a:pt x="1383" y="1694"/>
                    </a:lnTo>
                    <a:lnTo>
                      <a:pt x="1381" y="1694"/>
                    </a:lnTo>
                    <a:lnTo>
                      <a:pt x="1383" y="1694"/>
                    </a:lnTo>
                    <a:lnTo>
                      <a:pt x="1381" y="1696"/>
                    </a:lnTo>
                    <a:lnTo>
                      <a:pt x="1381" y="1698"/>
                    </a:lnTo>
                    <a:lnTo>
                      <a:pt x="1381" y="1700"/>
                    </a:lnTo>
                    <a:lnTo>
                      <a:pt x="1379" y="1698"/>
                    </a:lnTo>
                    <a:lnTo>
                      <a:pt x="1379" y="1700"/>
                    </a:lnTo>
                    <a:lnTo>
                      <a:pt x="1381" y="1700"/>
                    </a:lnTo>
                    <a:lnTo>
                      <a:pt x="1379" y="1700"/>
                    </a:lnTo>
                    <a:lnTo>
                      <a:pt x="1381" y="1700"/>
                    </a:lnTo>
                    <a:lnTo>
                      <a:pt x="1379" y="1700"/>
                    </a:lnTo>
                    <a:lnTo>
                      <a:pt x="1379" y="1704"/>
                    </a:lnTo>
                    <a:lnTo>
                      <a:pt x="1377" y="1704"/>
                    </a:lnTo>
                    <a:lnTo>
                      <a:pt x="1379" y="1704"/>
                    </a:lnTo>
                    <a:lnTo>
                      <a:pt x="1377" y="1705"/>
                    </a:lnTo>
                    <a:lnTo>
                      <a:pt x="1377" y="1704"/>
                    </a:lnTo>
                    <a:lnTo>
                      <a:pt x="1377" y="1705"/>
                    </a:lnTo>
                    <a:lnTo>
                      <a:pt x="1377" y="1707"/>
                    </a:lnTo>
                    <a:lnTo>
                      <a:pt x="1377" y="1705"/>
                    </a:lnTo>
                    <a:lnTo>
                      <a:pt x="1375" y="1707"/>
                    </a:lnTo>
                    <a:lnTo>
                      <a:pt x="1375" y="1705"/>
                    </a:lnTo>
                    <a:lnTo>
                      <a:pt x="1377" y="1704"/>
                    </a:lnTo>
                    <a:lnTo>
                      <a:pt x="1379" y="1700"/>
                    </a:lnTo>
                    <a:lnTo>
                      <a:pt x="1377" y="1702"/>
                    </a:lnTo>
                    <a:lnTo>
                      <a:pt x="1377" y="1705"/>
                    </a:lnTo>
                    <a:lnTo>
                      <a:pt x="1375" y="1705"/>
                    </a:lnTo>
                    <a:lnTo>
                      <a:pt x="1373" y="1705"/>
                    </a:lnTo>
                    <a:lnTo>
                      <a:pt x="1375" y="1705"/>
                    </a:lnTo>
                    <a:lnTo>
                      <a:pt x="1373" y="1705"/>
                    </a:lnTo>
                    <a:lnTo>
                      <a:pt x="1373" y="1707"/>
                    </a:lnTo>
                    <a:lnTo>
                      <a:pt x="1373" y="1705"/>
                    </a:lnTo>
                    <a:lnTo>
                      <a:pt x="1373" y="1707"/>
                    </a:lnTo>
                    <a:lnTo>
                      <a:pt x="1373" y="1705"/>
                    </a:lnTo>
                    <a:lnTo>
                      <a:pt x="1373" y="1707"/>
                    </a:lnTo>
                    <a:lnTo>
                      <a:pt x="1373" y="1705"/>
                    </a:lnTo>
                    <a:lnTo>
                      <a:pt x="1371" y="1707"/>
                    </a:lnTo>
                    <a:lnTo>
                      <a:pt x="1373" y="1705"/>
                    </a:lnTo>
                    <a:lnTo>
                      <a:pt x="1371" y="1705"/>
                    </a:lnTo>
                    <a:lnTo>
                      <a:pt x="1371" y="1707"/>
                    </a:lnTo>
                    <a:lnTo>
                      <a:pt x="1369" y="1707"/>
                    </a:lnTo>
                    <a:lnTo>
                      <a:pt x="1369" y="1709"/>
                    </a:lnTo>
                    <a:lnTo>
                      <a:pt x="1369" y="1707"/>
                    </a:lnTo>
                    <a:lnTo>
                      <a:pt x="1369" y="1709"/>
                    </a:lnTo>
                    <a:lnTo>
                      <a:pt x="1367" y="1709"/>
                    </a:lnTo>
                    <a:lnTo>
                      <a:pt x="1369" y="1711"/>
                    </a:lnTo>
                    <a:lnTo>
                      <a:pt x="1367" y="1711"/>
                    </a:lnTo>
                    <a:lnTo>
                      <a:pt x="1367" y="1713"/>
                    </a:lnTo>
                    <a:lnTo>
                      <a:pt x="1365" y="1713"/>
                    </a:lnTo>
                    <a:lnTo>
                      <a:pt x="1365" y="1715"/>
                    </a:lnTo>
                    <a:lnTo>
                      <a:pt x="1365" y="1713"/>
                    </a:lnTo>
                    <a:lnTo>
                      <a:pt x="1365" y="1715"/>
                    </a:lnTo>
                    <a:lnTo>
                      <a:pt x="1365" y="1717"/>
                    </a:lnTo>
                    <a:lnTo>
                      <a:pt x="1363" y="1717"/>
                    </a:lnTo>
                    <a:lnTo>
                      <a:pt x="1363" y="1719"/>
                    </a:lnTo>
                    <a:lnTo>
                      <a:pt x="1362" y="1717"/>
                    </a:lnTo>
                    <a:lnTo>
                      <a:pt x="1362" y="1719"/>
                    </a:lnTo>
                    <a:lnTo>
                      <a:pt x="1362" y="1717"/>
                    </a:lnTo>
                    <a:lnTo>
                      <a:pt x="1360" y="1717"/>
                    </a:lnTo>
                    <a:lnTo>
                      <a:pt x="1360" y="1719"/>
                    </a:lnTo>
                    <a:lnTo>
                      <a:pt x="1358" y="1717"/>
                    </a:lnTo>
                    <a:lnTo>
                      <a:pt x="1358" y="1719"/>
                    </a:lnTo>
                    <a:lnTo>
                      <a:pt x="1358" y="1717"/>
                    </a:lnTo>
                    <a:lnTo>
                      <a:pt x="1358" y="1719"/>
                    </a:lnTo>
                    <a:lnTo>
                      <a:pt x="1356" y="1719"/>
                    </a:lnTo>
                    <a:lnTo>
                      <a:pt x="1354" y="1717"/>
                    </a:lnTo>
                    <a:lnTo>
                      <a:pt x="1354" y="1715"/>
                    </a:lnTo>
                    <a:lnTo>
                      <a:pt x="1356" y="1713"/>
                    </a:lnTo>
                    <a:lnTo>
                      <a:pt x="1358" y="1713"/>
                    </a:lnTo>
                    <a:lnTo>
                      <a:pt x="1360" y="1711"/>
                    </a:lnTo>
                    <a:lnTo>
                      <a:pt x="1362" y="1711"/>
                    </a:lnTo>
                    <a:lnTo>
                      <a:pt x="1362" y="1709"/>
                    </a:lnTo>
                    <a:lnTo>
                      <a:pt x="1363" y="1709"/>
                    </a:lnTo>
                    <a:lnTo>
                      <a:pt x="1363" y="1705"/>
                    </a:lnTo>
                    <a:lnTo>
                      <a:pt x="1365" y="1705"/>
                    </a:lnTo>
                    <a:lnTo>
                      <a:pt x="1365" y="1704"/>
                    </a:lnTo>
                    <a:lnTo>
                      <a:pt x="1369" y="1704"/>
                    </a:lnTo>
                    <a:lnTo>
                      <a:pt x="1369" y="1702"/>
                    </a:lnTo>
                    <a:lnTo>
                      <a:pt x="1369" y="1704"/>
                    </a:lnTo>
                    <a:lnTo>
                      <a:pt x="1371" y="1702"/>
                    </a:lnTo>
                    <a:lnTo>
                      <a:pt x="1373" y="1700"/>
                    </a:lnTo>
                    <a:lnTo>
                      <a:pt x="1371" y="1700"/>
                    </a:lnTo>
                    <a:lnTo>
                      <a:pt x="1369" y="1702"/>
                    </a:lnTo>
                    <a:lnTo>
                      <a:pt x="1369" y="1700"/>
                    </a:lnTo>
                    <a:lnTo>
                      <a:pt x="1369" y="1702"/>
                    </a:lnTo>
                    <a:lnTo>
                      <a:pt x="1367" y="1702"/>
                    </a:lnTo>
                    <a:lnTo>
                      <a:pt x="1367" y="1700"/>
                    </a:lnTo>
                    <a:lnTo>
                      <a:pt x="1367" y="1702"/>
                    </a:lnTo>
                    <a:lnTo>
                      <a:pt x="1365" y="1702"/>
                    </a:lnTo>
                    <a:lnTo>
                      <a:pt x="1367" y="1700"/>
                    </a:lnTo>
                    <a:lnTo>
                      <a:pt x="1365" y="1700"/>
                    </a:lnTo>
                    <a:lnTo>
                      <a:pt x="1363" y="1700"/>
                    </a:lnTo>
                    <a:lnTo>
                      <a:pt x="1363" y="1698"/>
                    </a:lnTo>
                    <a:lnTo>
                      <a:pt x="1362" y="1698"/>
                    </a:lnTo>
                    <a:lnTo>
                      <a:pt x="1362" y="1700"/>
                    </a:lnTo>
                    <a:lnTo>
                      <a:pt x="1362" y="1698"/>
                    </a:lnTo>
                    <a:lnTo>
                      <a:pt x="1362" y="1700"/>
                    </a:lnTo>
                    <a:lnTo>
                      <a:pt x="1362" y="1702"/>
                    </a:lnTo>
                    <a:lnTo>
                      <a:pt x="1362" y="1700"/>
                    </a:lnTo>
                    <a:lnTo>
                      <a:pt x="1362" y="1702"/>
                    </a:lnTo>
                    <a:lnTo>
                      <a:pt x="1363" y="1702"/>
                    </a:lnTo>
                    <a:lnTo>
                      <a:pt x="1362" y="1702"/>
                    </a:lnTo>
                    <a:lnTo>
                      <a:pt x="1362" y="1704"/>
                    </a:lnTo>
                    <a:lnTo>
                      <a:pt x="1362" y="1705"/>
                    </a:lnTo>
                    <a:lnTo>
                      <a:pt x="1362" y="1704"/>
                    </a:lnTo>
                    <a:lnTo>
                      <a:pt x="1360" y="1704"/>
                    </a:lnTo>
                    <a:lnTo>
                      <a:pt x="1360" y="1705"/>
                    </a:lnTo>
                    <a:lnTo>
                      <a:pt x="1360" y="1704"/>
                    </a:lnTo>
                    <a:lnTo>
                      <a:pt x="1360" y="1705"/>
                    </a:lnTo>
                    <a:lnTo>
                      <a:pt x="1360" y="1704"/>
                    </a:lnTo>
                    <a:lnTo>
                      <a:pt x="1358" y="1705"/>
                    </a:lnTo>
                    <a:lnTo>
                      <a:pt x="1360" y="1704"/>
                    </a:lnTo>
                    <a:lnTo>
                      <a:pt x="1360" y="1702"/>
                    </a:lnTo>
                    <a:lnTo>
                      <a:pt x="1360" y="1704"/>
                    </a:lnTo>
                    <a:lnTo>
                      <a:pt x="1360" y="1702"/>
                    </a:lnTo>
                    <a:lnTo>
                      <a:pt x="1358" y="1702"/>
                    </a:lnTo>
                    <a:lnTo>
                      <a:pt x="1358" y="1704"/>
                    </a:lnTo>
                    <a:lnTo>
                      <a:pt x="1356" y="1704"/>
                    </a:lnTo>
                    <a:lnTo>
                      <a:pt x="1358" y="1702"/>
                    </a:lnTo>
                    <a:lnTo>
                      <a:pt x="1356" y="1704"/>
                    </a:lnTo>
                    <a:lnTo>
                      <a:pt x="1354" y="1705"/>
                    </a:lnTo>
                    <a:lnTo>
                      <a:pt x="1354" y="1704"/>
                    </a:lnTo>
                    <a:lnTo>
                      <a:pt x="1356" y="1704"/>
                    </a:lnTo>
                    <a:lnTo>
                      <a:pt x="1358" y="1702"/>
                    </a:lnTo>
                    <a:lnTo>
                      <a:pt x="1358" y="1700"/>
                    </a:lnTo>
                    <a:lnTo>
                      <a:pt x="1358" y="1702"/>
                    </a:lnTo>
                    <a:lnTo>
                      <a:pt x="1356" y="1702"/>
                    </a:lnTo>
                    <a:lnTo>
                      <a:pt x="1354" y="1702"/>
                    </a:lnTo>
                    <a:lnTo>
                      <a:pt x="1354" y="1704"/>
                    </a:lnTo>
                    <a:lnTo>
                      <a:pt x="1352" y="1704"/>
                    </a:lnTo>
                    <a:lnTo>
                      <a:pt x="1350" y="1704"/>
                    </a:lnTo>
                    <a:lnTo>
                      <a:pt x="1354" y="1702"/>
                    </a:lnTo>
                    <a:lnTo>
                      <a:pt x="1360" y="1700"/>
                    </a:lnTo>
                    <a:lnTo>
                      <a:pt x="1358" y="1700"/>
                    </a:lnTo>
                    <a:lnTo>
                      <a:pt x="1356" y="1700"/>
                    </a:lnTo>
                    <a:lnTo>
                      <a:pt x="1354" y="1700"/>
                    </a:lnTo>
                    <a:lnTo>
                      <a:pt x="1354" y="1698"/>
                    </a:lnTo>
                    <a:lnTo>
                      <a:pt x="1356" y="1698"/>
                    </a:lnTo>
                    <a:lnTo>
                      <a:pt x="1358" y="1696"/>
                    </a:lnTo>
                    <a:lnTo>
                      <a:pt x="1356" y="1696"/>
                    </a:lnTo>
                    <a:lnTo>
                      <a:pt x="1358" y="1694"/>
                    </a:lnTo>
                    <a:lnTo>
                      <a:pt x="1356" y="1694"/>
                    </a:lnTo>
                    <a:lnTo>
                      <a:pt x="1358" y="1694"/>
                    </a:lnTo>
                    <a:lnTo>
                      <a:pt x="1356" y="1692"/>
                    </a:lnTo>
                    <a:lnTo>
                      <a:pt x="1356" y="1694"/>
                    </a:lnTo>
                    <a:lnTo>
                      <a:pt x="1356" y="1696"/>
                    </a:lnTo>
                    <a:lnTo>
                      <a:pt x="1354" y="1696"/>
                    </a:lnTo>
                    <a:lnTo>
                      <a:pt x="1356" y="1696"/>
                    </a:lnTo>
                    <a:lnTo>
                      <a:pt x="1352" y="1698"/>
                    </a:lnTo>
                    <a:lnTo>
                      <a:pt x="1352" y="1700"/>
                    </a:lnTo>
                    <a:lnTo>
                      <a:pt x="1352" y="1698"/>
                    </a:lnTo>
                    <a:lnTo>
                      <a:pt x="1350" y="1698"/>
                    </a:lnTo>
                    <a:lnTo>
                      <a:pt x="1352" y="1696"/>
                    </a:lnTo>
                    <a:lnTo>
                      <a:pt x="1352" y="1698"/>
                    </a:lnTo>
                    <a:lnTo>
                      <a:pt x="1350" y="1694"/>
                    </a:lnTo>
                    <a:lnTo>
                      <a:pt x="1350" y="1698"/>
                    </a:lnTo>
                    <a:lnTo>
                      <a:pt x="1350" y="1700"/>
                    </a:lnTo>
                    <a:lnTo>
                      <a:pt x="1348" y="1700"/>
                    </a:lnTo>
                    <a:lnTo>
                      <a:pt x="1348" y="1698"/>
                    </a:lnTo>
                    <a:lnTo>
                      <a:pt x="1348" y="1696"/>
                    </a:lnTo>
                    <a:lnTo>
                      <a:pt x="1348" y="1698"/>
                    </a:lnTo>
                    <a:lnTo>
                      <a:pt x="1348" y="1700"/>
                    </a:lnTo>
                    <a:lnTo>
                      <a:pt x="1346" y="1700"/>
                    </a:lnTo>
                    <a:lnTo>
                      <a:pt x="1348" y="1700"/>
                    </a:lnTo>
                    <a:lnTo>
                      <a:pt x="1346" y="1702"/>
                    </a:lnTo>
                    <a:lnTo>
                      <a:pt x="1344" y="1700"/>
                    </a:lnTo>
                    <a:lnTo>
                      <a:pt x="1344" y="1698"/>
                    </a:lnTo>
                    <a:lnTo>
                      <a:pt x="1344" y="1700"/>
                    </a:lnTo>
                    <a:lnTo>
                      <a:pt x="1342" y="1700"/>
                    </a:lnTo>
                    <a:lnTo>
                      <a:pt x="1342" y="1702"/>
                    </a:lnTo>
                    <a:lnTo>
                      <a:pt x="1341" y="1702"/>
                    </a:lnTo>
                    <a:lnTo>
                      <a:pt x="1341" y="1700"/>
                    </a:lnTo>
                    <a:lnTo>
                      <a:pt x="1341" y="1702"/>
                    </a:lnTo>
                    <a:lnTo>
                      <a:pt x="1342" y="1702"/>
                    </a:lnTo>
                    <a:lnTo>
                      <a:pt x="1341" y="1702"/>
                    </a:lnTo>
                    <a:lnTo>
                      <a:pt x="1339" y="1704"/>
                    </a:lnTo>
                    <a:lnTo>
                      <a:pt x="1339" y="1700"/>
                    </a:lnTo>
                    <a:lnTo>
                      <a:pt x="1339" y="1702"/>
                    </a:lnTo>
                    <a:lnTo>
                      <a:pt x="1337" y="1702"/>
                    </a:lnTo>
                    <a:lnTo>
                      <a:pt x="1335" y="1702"/>
                    </a:lnTo>
                    <a:lnTo>
                      <a:pt x="1337" y="1702"/>
                    </a:lnTo>
                    <a:lnTo>
                      <a:pt x="1337" y="1700"/>
                    </a:lnTo>
                    <a:lnTo>
                      <a:pt x="1335" y="1702"/>
                    </a:lnTo>
                    <a:lnTo>
                      <a:pt x="1335" y="1700"/>
                    </a:lnTo>
                    <a:lnTo>
                      <a:pt x="1335" y="1698"/>
                    </a:lnTo>
                    <a:lnTo>
                      <a:pt x="1335" y="1700"/>
                    </a:lnTo>
                    <a:lnTo>
                      <a:pt x="1333" y="1702"/>
                    </a:lnTo>
                    <a:lnTo>
                      <a:pt x="1331" y="1702"/>
                    </a:lnTo>
                    <a:lnTo>
                      <a:pt x="1333" y="1698"/>
                    </a:lnTo>
                    <a:lnTo>
                      <a:pt x="1333" y="1696"/>
                    </a:lnTo>
                    <a:lnTo>
                      <a:pt x="1333" y="1698"/>
                    </a:lnTo>
                    <a:lnTo>
                      <a:pt x="1331" y="1700"/>
                    </a:lnTo>
                    <a:lnTo>
                      <a:pt x="1329" y="1700"/>
                    </a:lnTo>
                    <a:lnTo>
                      <a:pt x="1327" y="1700"/>
                    </a:lnTo>
                    <a:lnTo>
                      <a:pt x="1327" y="1702"/>
                    </a:lnTo>
                    <a:lnTo>
                      <a:pt x="1327" y="1700"/>
                    </a:lnTo>
                    <a:lnTo>
                      <a:pt x="1325" y="1700"/>
                    </a:lnTo>
                    <a:lnTo>
                      <a:pt x="1327" y="1700"/>
                    </a:lnTo>
                    <a:lnTo>
                      <a:pt x="1325" y="1700"/>
                    </a:lnTo>
                    <a:lnTo>
                      <a:pt x="1323" y="1700"/>
                    </a:lnTo>
                    <a:lnTo>
                      <a:pt x="1323" y="1698"/>
                    </a:lnTo>
                    <a:lnTo>
                      <a:pt x="1322" y="1700"/>
                    </a:lnTo>
                    <a:lnTo>
                      <a:pt x="1320" y="1698"/>
                    </a:lnTo>
                    <a:lnTo>
                      <a:pt x="1320" y="1700"/>
                    </a:lnTo>
                    <a:lnTo>
                      <a:pt x="1320" y="1698"/>
                    </a:lnTo>
                    <a:lnTo>
                      <a:pt x="1320" y="1700"/>
                    </a:lnTo>
                    <a:lnTo>
                      <a:pt x="1318" y="1700"/>
                    </a:lnTo>
                    <a:lnTo>
                      <a:pt x="1316" y="1700"/>
                    </a:lnTo>
                    <a:lnTo>
                      <a:pt x="1318" y="1700"/>
                    </a:lnTo>
                    <a:lnTo>
                      <a:pt x="1316" y="1700"/>
                    </a:lnTo>
                    <a:lnTo>
                      <a:pt x="1316" y="1698"/>
                    </a:lnTo>
                    <a:lnTo>
                      <a:pt x="1318" y="1698"/>
                    </a:lnTo>
                    <a:lnTo>
                      <a:pt x="1316" y="1698"/>
                    </a:lnTo>
                    <a:lnTo>
                      <a:pt x="1316" y="1696"/>
                    </a:lnTo>
                    <a:lnTo>
                      <a:pt x="1316" y="1698"/>
                    </a:lnTo>
                    <a:lnTo>
                      <a:pt x="1316" y="1700"/>
                    </a:lnTo>
                    <a:lnTo>
                      <a:pt x="1314" y="1700"/>
                    </a:lnTo>
                    <a:lnTo>
                      <a:pt x="1316" y="1700"/>
                    </a:lnTo>
                    <a:lnTo>
                      <a:pt x="1314" y="1700"/>
                    </a:lnTo>
                    <a:lnTo>
                      <a:pt x="1312" y="1700"/>
                    </a:lnTo>
                    <a:lnTo>
                      <a:pt x="1312" y="1698"/>
                    </a:lnTo>
                    <a:lnTo>
                      <a:pt x="1312" y="1700"/>
                    </a:lnTo>
                    <a:lnTo>
                      <a:pt x="1310" y="1700"/>
                    </a:lnTo>
                    <a:lnTo>
                      <a:pt x="1312" y="1700"/>
                    </a:lnTo>
                    <a:lnTo>
                      <a:pt x="1310" y="1700"/>
                    </a:lnTo>
                    <a:lnTo>
                      <a:pt x="1310" y="1702"/>
                    </a:lnTo>
                    <a:lnTo>
                      <a:pt x="1310" y="1700"/>
                    </a:lnTo>
                    <a:lnTo>
                      <a:pt x="1308" y="1702"/>
                    </a:lnTo>
                    <a:lnTo>
                      <a:pt x="1308" y="1700"/>
                    </a:lnTo>
                    <a:lnTo>
                      <a:pt x="1306" y="1702"/>
                    </a:lnTo>
                    <a:lnTo>
                      <a:pt x="1306" y="1700"/>
                    </a:lnTo>
                    <a:lnTo>
                      <a:pt x="1306" y="1702"/>
                    </a:lnTo>
                    <a:lnTo>
                      <a:pt x="1304" y="1702"/>
                    </a:lnTo>
                    <a:lnTo>
                      <a:pt x="1302" y="1702"/>
                    </a:lnTo>
                    <a:lnTo>
                      <a:pt x="1301" y="1700"/>
                    </a:lnTo>
                    <a:lnTo>
                      <a:pt x="1301" y="1698"/>
                    </a:lnTo>
                    <a:lnTo>
                      <a:pt x="1301" y="1696"/>
                    </a:lnTo>
                    <a:lnTo>
                      <a:pt x="1299" y="1696"/>
                    </a:lnTo>
                    <a:lnTo>
                      <a:pt x="1299" y="1694"/>
                    </a:lnTo>
                    <a:lnTo>
                      <a:pt x="1301" y="1692"/>
                    </a:lnTo>
                    <a:lnTo>
                      <a:pt x="1304" y="1688"/>
                    </a:lnTo>
                    <a:lnTo>
                      <a:pt x="1306" y="1688"/>
                    </a:lnTo>
                    <a:lnTo>
                      <a:pt x="1306" y="1686"/>
                    </a:lnTo>
                    <a:lnTo>
                      <a:pt x="1310" y="1684"/>
                    </a:lnTo>
                    <a:lnTo>
                      <a:pt x="1310" y="1683"/>
                    </a:lnTo>
                    <a:lnTo>
                      <a:pt x="1312" y="1681"/>
                    </a:lnTo>
                    <a:lnTo>
                      <a:pt x="1312" y="1683"/>
                    </a:lnTo>
                    <a:lnTo>
                      <a:pt x="1314" y="1681"/>
                    </a:lnTo>
                    <a:lnTo>
                      <a:pt x="1316" y="1679"/>
                    </a:lnTo>
                    <a:lnTo>
                      <a:pt x="1314" y="1679"/>
                    </a:lnTo>
                    <a:lnTo>
                      <a:pt x="1314" y="1681"/>
                    </a:lnTo>
                    <a:lnTo>
                      <a:pt x="1314" y="1679"/>
                    </a:lnTo>
                    <a:lnTo>
                      <a:pt x="1312" y="1679"/>
                    </a:lnTo>
                    <a:lnTo>
                      <a:pt x="1310" y="1679"/>
                    </a:lnTo>
                    <a:lnTo>
                      <a:pt x="1308" y="1679"/>
                    </a:lnTo>
                    <a:lnTo>
                      <a:pt x="1306" y="1679"/>
                    </a:lnTo>
                    <a:lnTo>
                      <a:pt x="1304" y="1679"/>
                    </a:lnTo>
                    <a:lnTo>
                      <a:pt x="1301" y="1681"/>
                    </a:lnTo>
                    <a:lnTo>
                      <a:pt x="1302" y="1679"/>
                    </a:lnTo>
                    <a:lnTo>
                      <a:pt x="1301" y="1679"/>
                    </a:lnTo>
                    <a:lnTo>
                      <a:pt x="1304" y="1677"/>
                    </a:lnTo>
                    <a:lnTo>
                      <a:pt x="1304" y="1675"/>
                    </a:lnTo>
                    <a:lnTo>
                      <a:pt x="1308" y="1673"/>
                    </a:lnTo>
                    <a:lnTo>
                      <a:pt x="1306" y="1677"/>
                    </a:lnTo>
                    <a:lnTo>
                      <a:pt x="1306" y="1679"/>
                    </a:lnTo>
                    <a:lnTo>
                      <a:pt x="1308" y="1677"/>
                    </a:lnTo>
                    <a:lnTo>
                      <a:pt x="1310" y="1679"/>
                    </a:lnTo>
                    <a:lnTo>
                      <a:pt x="1310" y="1677"/>
                    </a:lnTo>
                    <a:lnTo>
                      <a:pt x="1310" y="1675"/>
                    </a:lnTo>
                    <a:lnTo>
                      <a:pt x="1310" y="1673"/>
                    </a:lnTo>
                    <a:lnTo>
                      <a:pt x="1312" y="1671"/>
                    </a:lnTo>
                    <a:lnTo>
                      <a:pt x="1314" y="1669"/>
                    </a:lnTo>
                    <a:lnTo>
                      <a:pt x="1314" y="1667"/>
                    </a:lnTo>
                    <a:lnTo>
                      <a:pt x="1314" y="1665"/>
                    </a:lnTo>
                    <a:lnTo>
                      <a:pt x="1316" y="1663"/>
                    </a:lnTo>
                    <a:lnTo>
                      <a:pt x="1316" y="1665"/>
                    </a:lnTo>
                    <a:lnTo>
                      <a:pt x="1318" y="1665"/>
                    </a:lnTo>
                    <a:lnTo>
                      <a:pt x="1320" y="1667"/>
                    </a:lnTo>
                    <a:lnTo>
                      <a:pt x="1323" y="1669"/>
                    </a:lnTo>
                    <a:lnTo>
                      <a:pt x="1323" y="1667"/>
                    </a:lnTo>
                    <a:lnTo>
                      <a:pt x="1322" y="1667"/>
                    </a:lnTo>
                    <a:lnTo>
                      <a:pt x="1320" y="1667"/>
                    </a:lnTo>
                    <a:lnTo>
                      <a:pt x="1320" y="1665"/>
                    </a:lnTo>
                    <a:lnTo>
                      <a:pt x="1320" y="1663"/>
                    </a:lnTo>
                    <a:lnTo>
                      <a:pt x="1320" y="1665"/>
                    </a:lnTo>
                    <a:lnTo>
                      <a:pt x="1322" y="1663"/>
                    </a:lnTo>
                    <a:lnTo>
                      <a:pt x="1322" y="1665"/>
                    </a:lnTo>
                    <a:lnTo>
                      <a:pt x="1323" y="1663"/>
                    </a:lnTo>
                    <a:lnTo>
                      <a:pt x="1322" y="1663"/>
                    </a:lnTo>
                    <a:lnTo>
                      <a:pt x="1320" y="1663"/>
                    </a:lnTo>
                    <a:lnTo>
                      <a:pt x="1322" y="1663"/>
                    </a:lnTo>
                    <a:lnTo>
                      <a:pt x="1322" y="1662"/>
                    </a:lnTo>
                    <a:lnTo>
                      <a:pt x="1318" y="1662"/>
                    </a:lnTo>
                    <a:lnTo>
                      <a:pt x="1318" y="1660"/>
                    </a:lnTo>
                    <a:lnTo>
                      <a:pt x="1318" y="1658"/>
                    </a:lnTo>
                    <a:lnTo>
                      <a:pt x="1318" y="1656"/>
                    </a:lnTo>
                    <a:lnTo>
                      <a:pt x="1322" y="1654"/>
                    </a:lnTo>
                    <a:lnTo>
                      <a:pt x="1323" y="1656"/>
                    </a:lnTo>
                    <a:lnTo>
                      <a:pt x="1322" y="1656"/>
                    </a:lnTo>
                    <a:lnTo>
                      <a:pt x="1323" y="1658"/>
                    </a:lnTo>
                    <a:lnTo>
                      <a:pt x="1323" y="1656"/>
                    </a:lnTo>
                    <a:lnTo>
                      <a:pt x="1325" y="1656"/>
                    </a:lnTo>
                    <a:lnTo>
                      <a:pt x="1323" y="1654"/>
                    </a:lnTo>
                    <a:lnTo>
                      <a:pt x="1322" y="1654"/>
                    </a:lnTo>
                    <a:lnTo>
                      <a:pt x="1322" y="1652"/>
                    </a:lnTo>
                    <a:lnTo>
                      <a:pt x="1322" y="1650"/>
                    </a:lnTo>
                    <a:lnTo>
                      <a:pt x="1323" y="1648"/>
                    </a:lnTo>
                    <a:lnTo>
                      <a:pt x="1323" y="1646"/>
                    </a:lnTo>
                    <a:lnTo>
                      <a:pt x="1325" y="1646"/>
                    </a:lnTo>
                    <a:lnTo>
                      <a:pt x="1323" y="1646"/>
                    </a:lnTo>
                    <a:lnTo>
                      <a:pt x="1323" y="1644"/>
                    </a:lnTo>
                    <a:lnTo>
                      <a:pt x="1325" y="1644"/>
                    </a:lnTo>
                    <a:lnTo>
                      <a:pt x="1327" y="1639"/>
                    </a:lnTo>
                    <a:lnTo>
                      <a:pt x="1329" y="1633"/>
                    </a:lnTo>
                    <a:lnTo>
                      <a:pt x="1329" y="1631"/>
                    </a:lnTo>
                    <a:lnTo>
                      <a:pt x="1331" y="1629"/>
                    </a:lnTo>
                    <a:lnTo>
                      <a:pt x="1331" y="1627"/>
                    </a:lnTo>
                    <a:lnTo>
                      <a:pt x="1333" y="1627"/>
                    </a:lnTo>
                    <a:lnTo>
                      <a:pt x="1333" y="1629"/>
                    </a:lnTo>
                    <a:lnTo>
                      <a:pt x="1335" y="1627"/>
                    </a:lnTo>
                    <a:lnTo>
                      <a:pt x="1333" y="1627"/>
                    </a:lnTo>
                    <a:lnTo>
                      <a:pt x="1331" y="1625"/>
                    </a:lnTo>
                    <a:lnTo>
                      <a:pt x="1333" y="1625"/>
                    </a:lnTo>
                    <a:lnTo>
                      <a:pt x="1333" y="1623"/>
                    </a:lnTo>
                    <a:lnTo>
                      <a:pt x="1335" y="1623"/>
                    </a:lnTo>
                    <a:lnTo>
                      <a:pt x="1337" y="1622"/>
                    </a:lnTo>
                    <a:lnTo>
                      <a:pt x="1337" y="1620"/>
                    </a:lnTo>
                    <a:lnTo>
                      <a:pt x="1339" y="1620"/>
                    </a:lnTo>
                    <a:lnTo>
                      <a:pt x="1337" y="1620"/>
                    </a:lnTo>
                    <a:lnTo>
                      <a:pt x="1337" y="1618"/>
                    </a:lnTo>
                    <a:lnTo>
                      <a:pt x="1335" y="1618"/>
                    </a:lnTo>
                    <a:lnTo>
                      <a:pt x="1337" y="1618"/>
                    </a:lnTo>
                    <a:lnTo>
                      <a:pt x="1339" y="1618"/>
                    </a:lnTo>
                    <a:lnTo>
                      <a:pt x="1339" y="1616"/>
                    </a:lnTo>
                    <a:lnTo>
                      <a:pt x="1337" y="1618"/>
                    </a:lnTo>
                    <a:lnTo>
                      <a:pt x="1337" y="1616"/>
                    </a:lnTo>
                    <a:lnTo>
                      <a:pt x="1339" y="1616"/>
                    </a:lnTo>
                    <a:lnTo>
                      <a:pt x="1339" y="1614"/>
                    </a:lnTo>
                    <a:lnTo>
                      <a:pt x="1339" y="1616"/>
                    </a:lnTo>
                    <a:lnTo>
                      <a:pt x="1341" y="1614"/>
                    </a:lnTo>
                    <a:lnTo>
                      <a:pt x="1341" y="1616"/>
                    </a:lnTo>
                    <a:lnTo>
                      <a:pt x="1341" y="1614"/>
                    </a:lnTo>
                    <a:lnTo>
                      <a:pt x="1341" y="1612"/>
                    </a:lnTo>
                    <a:lnTo>
                      <a:pt x="1341" y="1614"/>
                    </a:lnTo>
                    <a:lnTo>
                      <a:pt x="1341" y="1612"/>
                    </a:lnTo>
                    <a:lnTo>
                      <a:pt x="1341" y="1610"/>
                    </a:lnTo>
                    <a:lnTo>
                      <a:pt x="1342" y="1610"/>
                    </a:lnTo>
                    <a:lnTo>
                      <a:pt x="1341" y="1610"/>
                    </a:lnTo>
                    <a:lnTo>
                      <a:pt x="1342" y="1610"/>
                    </a:lnTo>
                    <a:lnTo>
                      <a:pt x="1342" y="1608"/>
                    </a:lnTo>
                    <a:lnTo>
                      <a:pt x="1344" y="1608"/>
                    </a:lnTo>
                    <a:lnTo>
                      <a:pt x="1346" y="1608"/>
                    </a:lnTo>
                    <a:lnTo>
                      <a:pt x="1350" y="1604"/>
                    </a:lnTo>
                    <a:lnTo>
                      <a:pt x="1352" y="1604"/>
                    </a:lnTo>
                    <a:lnTo>
                      <a:pt x="1354" y="1602"/>
                    </a:lnTo>
                    <a:close/>
                    <a:moveTo>
                      <a:pt x="656" y="778"/>
                    </a:moveTo>
                    <a:lnTo>
                      <a:pt x="658" y="778"/>
                    </a:lnTo>
                    <a:lnTo>
                      <a:pt x="656" y="780"/>
                    </a:lnTo>
                    <a:lnTo>
                      <a:pt x="658" y="784"/>
                    </a:lnTo>
                    <a:lnTo>
                      <a:pt x="662" y="786"/>
                    </a:lnTo>
                    <a:lnTo>
                      <a:pt x="662" y="788"/>
                    </a:lnTo>
                    <a:lnTo>
                      <a:pt x="664" y="786"/>
                    </a:lnTo>
                    <a:lnTo>
                      <a:pt x="664" y="788"/>
                    </a:lnTo>
                    <a:lnTo>
                      <a:pt x="666" y="792"/>
                    </a:lnTo>
                    <a:lnTo>
                      <a:pt x="666" y="793"/>
                    </a:lnTo>
                    <a:lnTo>
                      <a:pt x="667" y="790"/>
                    </a:lnTo>
                    <a:lnTo>
                      <a:pt x="673" y="790"/>
                    </a:lnTo>
                    <a:lnTo>
                      <a:pt x="677" y="788"/>
                    </a:lnTo>
                    <a:lnTo>
                      <a:pt x="683" y="786"/>
                    </a:lnTo>
                    <a:lnTo>
                      <a:pt x="687" y="784"/>
                    </a:lnTo>
                    <a:lnTo>
                      <a:pt x="687" y="782"/>
                    </a:lnTo>
                    <a:lnTo>
                      <a:pt x="688" y="780"/>
                    </a:lnTo>
                    <a:lnTo>
                      <a:pt x="688" y="782"/>
                    </a:lnTo>
                    <a:lnTo>
                      <a:pt x="687" y="782"/>
                    </a:lnTo>
                    <a:lnTo>
                      <a:pt x="688" y="784"/>
                    </a:lnTo>
                    <a:lnTo>
                      <a:pt x="690" y="782"/>
                    </a:lnTo>
                    <a:lnTo>
                      <a:pt x="694" y="784"/>
                    </a:lnTo>
                    <a:lnTo>
                      <a:pt x="696" y="784"/>
                    </a:lnTo>
                    <a:lnTo>
                      <a:pt x="698" y="784"/>
                    </a:lnTo>
                    <a:lnTo>
                      <a:pt x="700" y="790"/>
                    </a:lnTo>
                    <a:lnTo>
                      <a:pt x="702" y="790"/>
                    </a:lnTo>
                    <a:lnTo>
                      <a:pt x="702" y="795"/>
                    </a:lnTo>
                    <a:lnTo>
                      <a:pt x="700" y="797"/>
                    </a:lnTo>
                    <a:lnTo>
                      <a:pt x="698" y="801"/>
                    </a:lnTo>
                    <a:lnTo>
                      <a:pt x="694" y="799"/>
                    </a:lnTo>
                    <a:lnTo>
                      <a:pt x="692" y="801"/>
                    </a:lnTo>
                    <a:lnTo>
                      <a:pt x="694" y="803"/>
                    </a:lnTo>
                    <a:lnTo>
                      <a:pt x="690" y="801"/>
                    </a:lnTo>
                    <a:lnTo>
                      <a:pt x="690" y="803"/>
                    </a:lnTo>
                    <a:lnTo>
                      <a:pt x="690" y="805"/>
                    </a:lnTo>
                    <a:lnTo>
                      <a:pt x="692" y="807"/>
                    </a:lnTo>
                    <a:lnTo>
                      <a:pt x="694" y="803"/>
                    </a:lnTo>
                    <a:lnTo>
                      <a:pt x="694" y="805"/>
                    </a:lnTo>
                    <a:lnTo>
                      <a:pt x="696" y="807"/>
                    </a:lnTo>
                    <a:lnTo>
                      <a:pt x="696" y="805"/>
                    </a:lnTo>
                    <a:lnTo>
                      <a:pt x="698" y="805"/>
                    </a:lnTo>
                    <a:lnTo>
                      <a:pt x="698" y="807"/>
                    </a:lnTo>
                    <a:lnTo>
                      <a:pt x="696" y="807"/>
                    </a:lnTo>
                    <a:lnTo>
                      <a:pt x="698" y="809"/>
                    </a:lnTo>
                    <a:lnTo>
                      <a:pt x="698" y="811"/>
                    </a:lnTo>
                    <a:lnTo>
                      <a:pt x="698" y="809"/>
                    </a:lnTo>
                    <a:lnTo>
                      <a:pt x="698" y="812"/>
                    </a:lnTo>
                    <a:lnTo>
                      <a:pt x="696" y="811"/>
                    </a:lnTo>
                    <a:lnTo>
                      <a:pt x="692" y="812"/>
                    </a:lnTo>
                    <a:lnTo>
                      <a:pt x="690" y="812"/>
                    </a:lnTo>
                    <a:lnTo>
                      <a:pt x="688" y="816"/>
                    </a:lnTo>
                    <a:lnTo>
                      <a:pt x="688" y="818"/>
                    </a:lnTo>
                    <a:lnTo>
                      <a:pt x="687" y="818"/>
                    </a:lnTo>
                    <a:lnTo>
                      <a:pt x="687" y="822"/>
                    </a:lnTo>
                    <a:lnTo>
                      <a:pt x="683" y="826"/>
                    </a:lnTo>
                    <a:lnTo>
                      <a:pt x="681" y="828"/>
                    </a:lnTo>
                    <a:lnTo>
                      <a:pt x="677" y="830"/>
                    </a:lnTo>
                    <a:lnTo>
                      <a:pt x="679" y="832"/>
                    </a:lnTo>
                    <a:lnTo>
                      <a:pt x="677" y="833"/>
                    </a:lnTo>
                    <a:lnTo>
                      <a:pt x="679" y="833"/>
                    </a:lnTo>
                    <a:lnTo>
                      <a:pt x="679" y="835"/>
                    </a:lnTo>
                    <a:lnTo>
                      <a:pt x="679" y="833"/>
                    </a:lnTo>
                    <a:lnTo>
                      <a:pt x="677" y="837"/>
                    </a:lnTo>
                    <a:lnTo>
                      <a:pt x="679" y="837"/>
                    </a:lnTo>
                    <a:lnTo>
                      <a:pt x="679" y="839"/>
                    </a:lnTo>
                    <a:lnTo>
                      <a:pt x="679" y="835"/>
                    </a:lnTo>
                    <a:lnTo>
                      <a:pt x="681" y="832"/>
                    </a:lnTo>
                    <a:lnTo>
                      <a:pt x="683" y="832"/>
                    </a:lnTo>
                    <a:lnTo>
                      <a:pt x="685" y="830"/>
                    </a:lnTo>
                    <a:lnTo>
                      <a:pt x="688" y="828"/>
                    </a:lnTo>
                    <a:lnTo>
                      <a:pt x="688" y="830"/>
                    </a:lnTo>
                    <a:lnTo>
                      <a:pt x="692" y="830"/>
                    </a:lnTo>
                    <a:lnTo>
                      <a:pt x="696" y="833"/>
                    </a:lnTo>
                    <a:lnTo>
                      <a:pt x="698" y="833"/>
                    </a:lnTo>
                    <a:lnTo>
                      <a:pt x="696" y="837"/>
                    </a:lnTo>
                    <a:lnTo>
                      <a:pt x="694" y="839"/>
                    </a:lnTo>
                    <a:lnTo>
                      <a:pt x="696" y="839"/>
                    </a:lnTo>
                    <a:lnTo>
                      <a:pt x="700" y="843"/>
                    </a:lnTo>
                    <a:lnTo>
                      <a:pt x="700" y="845"/>
                    </a:lnTo>
                    <a:lnTo>
                      <a:pt x="700" y="847"/>
                    </a:lnTo>
                    <a:lnTo>
                      <a:pt x="698" y="849"/>
                    </a:lnTo>
                    <a:lnTo>
                      <a:pt x="698" y="851"/>
                    </a:lnTo>
                    <a:lnTo>
                      <a:pt x="698" y="853"/>
                    </a:lnTo>
                    <a:lnTo>
                      <a:pt x="700" y="853"/>
                    </a:lnTo>
                    <a:lnTo>
                      <a:pt x="700" y="851"/>
                    </a:lnTo>
                    <a:lnTo>
                      <a:pt x="702" y="851"/>
                    </a:lnTo>
                    <a:lnTo>
                      <a:pt x="702" y="849"/>
                    </a:lnTo>
                    <a:lnTo>
                      <a:pt x="706" y="847"/>
                    </a:lnTo>
                    <a:lnTo>
                      <a:pt x="707" y="847"/>
                    </a:lnTo>
                    <a:lnTo>
                      <a:pt x="707" y="845"/>
                    </a:lnTo>
                    <a:lnTo>
                      <a:pt x="709" y="847"/>
                    </a:lnTo>
                    <a:lnTo>
                      <a:pt x="707" y="849"/>
                    </a:lnTo>
                    <a:lnTo>
                      <a:pt x="709" y="851"/>
                    </a:lnTo>
                    <a:lnTo>
                      <a:pt x="711" y="854"/>
                    </a:lnTo>
                    <a:lnTo>
                      <a:pt x="709" y="856"/>
                    </a:lnTo>
                    <a:lnTo>
                      <a:pt x="711" y="856"/>
                    </a:lnTo>
                    <a:lnTo>
                      <a:pt x="711" y="858"/>
                    </a:lnTo>
                    <a:lnTo>
                      <a:pt x="713" y="862"/>
                    </a:lnTo>
                    <a:lnTo>
                      <a:pt x="711" y="862"/>
                    </a:lnTo>
                    <a:lnTo>
                      <a:pt x="709" y="866"/>
                    </a:lnTo>
                    <a:lnTo>
                      <a:pt x="707" y="866"/>
                    </a:lnTo>
                    <a:lnTo>
                      <a:pt x="706" y="868"/>
                    </a:lnTo>
                    <a:lnTo>
                      <a:pt x="704" y="868"/>
                    </a:lnTo>
                    <a:lnTo>
                      <a:pt x="707" y="870"/>
                    </a:lnTo>
                    <a:lnTo>
                      <a:pt x="707" y="872"/>
                    </a:lnTo>
                    <a:lnTo>
                      <a:pt x="707" y="874"/>
                    </a:lnTo>
                    <a:lnTo>
                      <a:pt x="709" y="872"/>
                    </a:lnTo>
                    <a:lnTo>
                      <a:pt x="707" y="874"/>
                    </a:lnTo>
                    <a:lnTo>
                      <a:pt x="709" y="879"/>
                    </a:lnTo>
                    <a:lnTo>
                      <a:pt x="709" y="881"/>
                    </a:lnTo>
                    <a:lnTo>
                      <a:pt x="704" y="883"/>
                    </a:lnTo>
                    <a:lnTo>
                      <a:pt x="707" y="883"/>
                    </a:lnTo>
                    <a:lnTo>
                      <a:pt x="709" y="881"/>
                    </a:lnTo>
                    <a:lnTo>
                      <a:pt x="709" y="887"/>
                    </a:lnTo>
                    <a:lnTo>
                      <a:pt x="707" y="887"/>
                    </a:lnTo>
                    <a:lnTo>
                      <a:pt x="706" y="889"/>
                    </a:lnTo>
                    <a:lnTo>
                      <a:pt x="707" y="887"/>
                    </a:lnTo>
                    <a:lnTo>
                      <a:pt x="709" y="887"/>
                    </a:lnTo>
                    <a:lnTo>
                      <a:pt x="707" y="893"/>
                    </a:lnTo>
                    <a:lnTo>
                      <a:pt x="706" y="895"/>
                    </a:lnTo>
                    <a:lnTo>
                      <a:pt x="706" y="893"/>
                    </a:lnTo>
                    <a:lnTo>
                      <a:pt x="706" y="891"/>
                    </a:lnTo>
                    <a:lnTo>
                      <a:pt x="704" y="893"/>
                    </a:lnTo>
                    <a:lnTo>
                      <a:pt x="702" y="895"/>
                    </a:lnTo>
                    <a:lnTo>
                      <a:pt x="700" y="900"/>
                    </a:lnTo>
                    <a:lnTo>
                      <a:pt x="696" y="902"/>
                    </a:lnTo>
                    <a:lnTo>
                      <a:pt x="692" y="904"/>
                    </a:lnTo>
                    <a:lnTo>
                      <a:pt x="687" y="900"/>
                    </a:lnTo>
                    <a:lnTo>
                      <a:pt x="683" y="902"/>
                    </a:lnTo>
                    <a:lnTo>
                      <a:pt x="679" y="896"/>
                    </a:lnTo>
                    <a:lnTo>
                      <a:pt x="681" y="889"/>
                    </a:lnTo>
                    <a:lnTo>
                      <a:pt x="681" y="891"/>
                    </a:lnTo>
                    <a:lnTo>
                      <a:pt x="679" y="893"/>
                    </a:lnTo>
                    <a:lnTo>
                      <a:pt x="677" y="896"/>
                    </a:lnTo>
                    <a:lnTo>
                      <a:pt x="677" y="898"/>
                    </a:lnTo>
                    <a:lnTo>
                      <a:pt x="679" y="898"/>
                    </a:lnTo>
                    <a:lnTo>
                      <a:pt x="679" y="900"/>
                    </a:lnTo>
                    <a:lnTo>
                      <a:pt x="679" y="902"/>
                    </a:lnTo>
                    <a:lnTo>
                      <a:pt x="681" y="902"/>
                    </a:lnTo>
                    <a:lnTo>
                      <a:pt x="681" y="904"/>
                    </a:lnTo>
                    <a:lnTo>
                      <a:pt x="683" y="906"/>
                    </a:lnTo>
                    <a:lnTo>
                      <a:pt x="683" y="908"/>
                    </a:lnTo>
                    <a:lnTo>
                      <a:pt x="685" y="908"/>
                    </a:lnTo>
                    <a:lnTo>
                      <a:pt x="683" y="914"/>
                    </a:lnTo>
                    <a:lnTo>
                      <a:pt x="681" y="916"/>
                    </a:lnTo>
                    <a:lnTo>
                      <a:pt x="677" y="919"/>
                    </a:lnTo>
                    <a:lnTo>
                      <a:pt x="675" y="919"/>
                    </a:lnTo>
                    <a:lnTo>
                      <a:pt x="673" y="921"/>
                    </a:lnTo>
                    <a:lnTo>
                      <a:pt x="671" y="919"/>
                    </a:lnTo>
                    <a:lnTo>
                      <a:pt x="669" y="916"/>
                    </a:lnTo>
                    <a:lnTo>
                      <a:pt x="667" y="917"/>
                    </a:lnTo>
                    <a:lnTo>
                      <a:pt x="666" y="917"/>
                    </a:lnTo>
                    <a:lnTo>
                      <a:pt x="664" y="908"/>
                    </a:lnTo>
                    <a:lnTo>
                      <a:pt x="664" y="906"/>
                    </a:lnTo>
                    <a:lnTo>
                      <a:pt x="664" y="904"/>
                    </a:lnTo>
                    <a:lnTo>
                      <a:pt x="664" y="906"/>
                    </a:lnTo>
                    <a:lnTo>
                      <a:pt x="660" y="902"/>
                    </a:lnTo>
                    <a:lnTo>
                      <a:pt x="660" y="900"/>
                    </a:lnTo>
                    <a:lnTo>
                      <a:pt x="658" y="898"/>
                    </a:lnTo>
                    <a:lnTo>
                      <a:pt x="658" y="896"/>
                    </a:lnTo>
                    <a:lnTo>
                      <a:pt x="658" y="895"/>
                    </a:lnTo>
                    <a:lnTo>
                      <a:pt x="656" y="893"/>
                    </a:lnTo>
                    <a:lnTo>
                      <a:pt x="652" y="891"/>
                    </a:lnTo>
                    <a:lnTo>
                      <a:pt x="650" y="887"/>
                    </a:lnTo>
                    <a:lnTo>
                      <a:pt x="648" y="885"/>
                    </a:lnTo>
                    <a:lnTo>
                      <a:pt x="648" y="883"/>
                    </a:lnTo>
                    <a:lnTo>
                      <a:pt x="646" y="881"/>
                    </a:lnTo>
                    <a:lnTo>
                      <a:pt x="646" y="879"/>
                    </a:lnTo>
                    <a:lnTo>
                      <a:pt x="645" y="879"/>
                    </a:lnTo>
                    <a:lnTo>
                      <a:pt x="646" y="877"/>
                    </a:lnTo>
                    <a:lnTo>
                      <a:pt x="645" y="877"/>
                    </a:lnTo>
                    <a:lnTo>
                      <a:pt x="645" y="875"/>
                    </a:lnTo>
                    <a:lnTo>
                      <a:pt x="643" y="875"/>
                    </a:lnTo>
                    <a:lnTo>
                      <a:pt x="643" y="874"/>
                    </a:lnTo>
                    <a:lnTo>
                      <a:pt x="641" y="874"/>
                    </a:lnTo>
                    <a:lnTo>
                      <a:pt x="639" y="874"/>
                    </a:lnTo>
                    <a:lnTo>
                      <a:pt x="639" y="875"/>
                    </a:lnTo>
                    <a:lnTo>
                      <a:pt x="637" y="872"/>
                    </a:lnTo>
                    <a:lnTo>
                      <a:pt x="635" y="872"/>
                    </a:lnTo>
                    <a:lnTo>
                      <a:pt x="637" y="870"/>
                    </a:lnTo>
                    <a:lnTo>
                      <a:pt x="635" y="870"/>
                    </a:lnTo>
                    <a:lnTo>
                      <a:pt x="635" y="868"/>
                    </a:lnTo>
                    <a:lnTo>
                      <a:pt x="633" y="866"/>
                    </a:lnTo>
                    <a:lnTo>
                      <a:pt x="633" y="868"/>
                    </a:lnTo>
                    <a:lnTo>
                      <a:pt x="631" y="868"/>
                    </a:lnTo>
                    <a:lnTo>
                      <a:pt x="631" y="870"/>
                    </a:lnTo>
                    <a:lnTo>
                      <a:pt x="631" y="872"/>
                    </a:lnTo>
                    <a:lnTo>
                      <a:pt x="629" y="872"/>
                    </a:lnTo>
                    <a:lnTo>
                      <a:pt x="631" y="870"/>
                    </a:lnTo>
                    <a:lnTo>
                      <a:pt x="629" y="870"/>
                    </a:lnTo>
                    <a:lnTo>
                      <a:pt x="627" y="868"/>
                    </a:lnTo>
                    <a:lnTo>
                      <a:pt x="627" y="870"/>
                    </a:lnTo>
                    <a:lnTo>
                      <a:pt x="625" y="868"/>
                    </a:lnTo>
                    <a:lnTo>
                      <a:pt x="625" y="870"/>
                    </a:lnTo>
                    <a:lnTo>
                      <a:pt x="625" y="868"/>
                    </a:lnTo>
                    <a:lnTo>
                      <a:pt x="624" y="866"/>
                    </a:lnTo>
                    <a:lnTo>
                      <a:pt x="624" y="864"/>
                    </a:lnTo>
                    <a:lnTo>
                      <a:pt x="622" y="862"/>
                    </a:lnTo>
                    <a:lnTo>
                      <a:pt x="624" y="862"/>
                    </a:lnTo>
                    <a:lnTo>
                      <a:pt x="622" y="860"/>
                    </a:lnTo>
                    <a:lnTo>
                      <a:pt x="622" y="858"/>
                    </a:lnTo>
                    <a:lnTo>
                      <a:pt x="624" y="860"/>
                    </a:lnTo>
                    <a:lnTo>
                      <a:pt x="624" y="858"/>
                    </a:lnTo>
                    <a:lnTo>
                      <a:pt x="620" y="858"/>
                    </a:lnTo>
                    <a:lnTo>
                      <a:pt x="620" y="856"/>
                    </a:lnTo>
                    <a:lnTo>
                      <a:pt x="618" y="856"/>
                    </a:lnTo>
                    <a:lnTo>
                      <a:pt x="616" y="854"/>
                    </a:lnTo>
                    <a:lnTo>
                      <a:pt x="616" y="853"/>
                    </a:lnTo>
                    <a:lnTo>
                      <a:pt x="616" y="854"/>
                    </a:lnTo>
                    <a:lnTo>
                      <a:pt x="614" y="853"/>
                    </a:lnTo>
                    <a:lnTo>
                      <a:pt x="612" y="851"/>
                    </a:lnTo>
                    <a:lnTo>
                      <a:pt x="610" y="847"/>
                    </a:lnTo>
                    <a:lnTo>
                      <a:pt x="610" y="845"/>
                    </a:lnTo>
                    <a:lnTo>
                      <a:pt x="610" y="843"/>
                    </a:lnTo>
                    <a:lnTo>
                      <a:pt x="612" y="839"/>
                    </a:lnTo>
                    <a:lnTo>
                      <a:pt x="612" y="830"/>
                    </a:lnTo>
                    <a:lnTo>
                      <a:pt x="616" y="830"/>
                    </a:lnTo>
                    <a:lnTo>
                      <a:pt x="616" y="828"/>
                    </a:lnTo>
                    <a:lnTo>
                      <a:pt x="618" y="828"/>
                    </a:lnTo>
                    <a:lnTo>
                      <a:pt x="616" y="828"/>
                    </a:lnTo>
                    <a:lnTo>
                      <a:pt x="618" y="826"/>
                    </a:lnTo>
                    <a:lnTo>
                      <a:pt x="618" y="828"/>
                    </a:lnTo>
                    <a:lnTo>
                      <a:pt x="620" y="826"/>
                    </a:lnTo>
                    <a:lnTo>
                      <a:pt x="620" y="828"/>
                    </a:lnTo>
                    <a:lnTo>
                      <a:pt x="622" y="828"/>
                    </a:lnTo>
                    <a:lnTo>
                      <a:pt x="622" y="830"/>
                    </a:lnTo>
                    <a:lnTo>
                      <a:pt x="624" y="828"/>
                    </a:lnTo>
                    <a:lnTo>
                      <a:pt x="624" y="830"/>
                    </a:lnTo>
                    <a:lnTo>
                      <a:pt x="624" y="832"/>
                    </a:lnTo>
                    <a:lnTo>
                      <a:pt x="625" y="830"/>
                    </a:lnTo>
                    <a:lnTo>
                      <a:pt x="625" y="832"/>
                    </a:lnTo>
                    <a:lnTo>
                      <a:pt x="625" y="833"/>
                    </a:lnTo>
                    <a:lnTo>
                      <a:pt x="624" y="833"/>
                    </a:lnTo>
                    <a:lnTo>
                      <a:pt x="625" y="833"/>
                    </a:lnTo>
                    <a:lnTo>
                      <a:pt x="627" y="837"/>
                    </a:lnTo>
                    <a:lnTo>
                      <a:pt x="627" y="835"/>
                    </a:lnTo>
                    <a:lnTo>
                      <a:pt x="629" y="835"/>
                    </a:lnTo>
                    <a:lnTo>
                      <a:pt x="627" y="835"/>
                    </a:lnTo>
                    <a:lnTo>
                      <a:pt x="627" y="837"/>
                    </a:lnTo>
                    <a:lnTo>
                      <a:pt x="629" y="837"/>
                    </a:lnTo>
                    <a:lnTo>
                      <a:pt x="631" y="841"/>
                    </a:lnTo>
                    <a:lnTo>
                      <a:pt x="629" y="841"/>
                    </a:lnTo>
                    <a:lnTo>
                      <a:pt x="629" y="843"/>
                    </a:lnTo>
                    <a:lnTo>
                      <a:pt x="633" y="843"/>
                    </a:lnTo>
                    <a:lnTo>
                      <a:pt x="631" y="841"/>
                    </a:lnTo>
                    <a:lnTo>
                      <a:pt x="633" y="843"/>
                    </a:lnTo>
                    <a:lnTo>
                      <a:pt x="633" y="845"/>
                    </a:lnTo>
                    <a:lnTo>
                      <a:pt x="631" y="845"/>
                    </a:lnTo>
                    <a:lnTo>
                      <a:pt x="633" y="847"/>
                    </a:lnTo>
                    <a:lnTo>
                      <a:pt x="637" y="847"/>
                    </a:lnTo>
                    <a:lnTo>
                      <a:pt x="637" y="849"/>
                    </a:lnTo>
                    <a:lnTo>
                      <a:pt x="639" y="847"/>
                    </a:lnTo>
                    <a:lnTo>
                      <a:pt x="639" y="849"/>
                    </a:lnTo>
                    <a:lnTo>
                      <a:pt x="641" y="847"/>
                    </a:lnTo>
                    <a:lnTo>
                      <a:pt x="641" y="845"/>
                    </a:lnTo>
                    <a:lnTo>
                      <a:pt x="639" y="845"/>
                    </a:lnTo>
                    <a:lnTo>
                      <a:pt x="641" y="845"/>
                    </a:lnTo>
                    <a:lnTo>
                      <a:pt x="643" y="845"/>
                    </a:lnTo>
                    <a:lnTo>
                      <a:pt x="645" y="847"/>
                    </a:lnTo>
                    <a:lnTo>
                      <a:pt x="645" y="845"/>
                    </a:lnTo>
                    <a:lnTo>
                      <a:pt x="643" y="845"/>
                    </a:lnTo>
                    <a:lnTo>
                      <a:pt x="645" y="845"/>
                    </a:lnTo>
                    <a:lnTo>
                      <a:pt x="646" y="845"/>
                    </a:lnTo>
                    <a:lnTo>
                      <a:pt x="646" y="843"/>
                    </a:lnTo>
                    <a:lnTo>
                      <a:pt x="648" y="841"/>
                    </a:lnTo>
                    <a:lnTo>
                      <a:pt x="648" y="839"/>
                    </a:lnTo>
                    <a:lnTo>
                      <a:pt x="646" y="839"/>
                    </a:lnTo>
                    <a:lnTo>
                      <a:pt x="648" y="837"/>
                    </a:lnTo>
                    <a:lnTo>
                      <a:pt x="646" y="837"/>
                    </a:lnTo>
                    <a:lnTo>
                      <a:pt x="646" y="835"/>
                    </a:lnTo>
                    <a:lnTo>
                      <a:pt x="646" y="833"/>
                    </a:lnTo>
                    <a:lnTo>
                      <a:pt x="645" y="833"/>
                    </a:lnTo>
                    <a:lnTo>
                      <a:pt x="646" y="832"/>
                    </a:lnTo>
                    <a:lnTo>
                      <a:pt x="646" y="830"/>
                    </a:lnTo>
                    <a:lnTo>
                      <a:pt x="648" y="830"/>
                    </a:lnTo>
                    <a:lnTo>
                      <a:pt x="648" y="828"/>
                    </a:lnTo>
                    <a:lnTo>
                      <a:pt x="648" y="830"/>
                    </a:lnTo>
                    <a:lnTo>
                      <a:pt x="646" y="832"/>
                    </a:lnTo>
                    <a:lnTo>
                      <a:pt x="648" y="832"/>
                    </a:lnTo>
                    <a:lnTo>
                      <a:pt x="646" y="832"/>
                    </a:lnTo>
                    <a:lnTo>
                      <a:pt x="648" y="835"/>
                    </a:lnTo>
                    <a:lnTo>
                      <a:pt x="648" y="833"/>
                    </a:lnTo>
                    <a:lnTo>
                      <a:pt x="650" y="833"/>
                    </a:lnTo>
                    <a:lnTo>
                      <a:pt x="650" y="835"/>
                    </a:lnTo>
                    <a:lnTo>
                      <a:pt x="648" y="837"/>
                    </a:lnTo>
                    <a:lnTo>
                      <a:pt x="648" y="839"/>
                    </a:lnTo>
                    <a:lnTo>
                      <a:pt x="648" y="837"/>
                    </a:lnTo>
                    <a:lnTo>
                      <a:pt x="650" y="837"/>
                    </a:lnTo>
                    <a:lnTo>
                      <a:pt x="652" y="837"/>
                    </a:lnTo>
                    <a:lnTo>
                      <a:pt x="652" y="835"/>
                    </a:lnTo>
                    <a:lnTo>
                      <a:pt x="652" y="833"/>
                    </a:lnTo>
                    <a:lnTo>
                      <a:pt x="650" y="832"/>
                    </a:lnTo>
                    <a:lnTo>
                      <a:pt x="652" y="832"/>
                    </a:lnTo>
                    <a:lnTo>
                      <a:pt x="650" y="830"/>
                    </a:lnTo>
                    <a:lnTo>
                      <a:pt x="650" y="828"/>
                    </a:lnTo>
                    <a:lnTo>
                      <a:pt x="650" y="826"/>
                    </a:lnTo>
                    <a:lnTo>
                      <a:pt x="648" y="826"/>
                    </a:lnTo>
                    <a:lnTo>
                      <a:pt x="648" y="824"/>
                    </a:lnTo>
                    <a:lnTo>
                      <a:pt x="650" y="824"/>
                    </a:lnTo>
                    <a:lnTo>
                      <a:pt x="648" y="824"/>
                    </a:lnTo>
                    <a:lnTo>
                      <a:pt x="646" y="824"/>
                    </a:lnTo>
                    <a:lnTo>
                      <a:pt x="646" y="828"/>
                    </a:lnTo>
                    <a:lnTo>
                      <a:pt x="645" y="828"/>
                    </a:lnTo>
                    <a:lnTo>
                      <a:pt x="645" y="824"/>
                    </a:lnTo>
                    <a:lnTo>
                      <a:pt x="645" y="820"/>
                    </a:lnTo>
                    <a:lnTo>
                      <a:pt x="646" y="820"/>
                    </a:lnTo>
                    <a:lnTo>
                      <a:pt x="645" y="818"/>
                    </a:lnTo>
                    <a:lnTo>
                      <a:pt x="646" y="818"/>
                    </a:lnTo>
                    <a:lnTo>
                      <a:pt x="646" y="816"/>
                    </a:lnTo>
                    <a:lnTo>
                      <a:pt x="648" y="814"/>
                    </a:lnTo>
                    <a:lnTo>
                      <a:pt x="646" y="816"/>
                    </a:lnTo>
                    <a:lnTo>
                      <a:pt x="648" y="816"/>
                    </a:lnTo>
                    <a:lnTo>
                      <a:pt x="650" y="818"/>
                    </a:lnTo>
                    <a:lnTo>
                      <a:pt x="652" y="818"/>
                    </a:lnTo>
                    <a:lnTo>
                      <a:pt x="650" y="818"/>
                    </a:lnTo>
                    <a:lnTo>
                      <a:pt x="652" y="820"/>
                    </a:lnTo>
                    <a:lnTo>
                      <a:pt x="652" y="822"/>
                    </a:lnTo>
                    <a:lnTo>
                      <a:pt x="656" y="820"/>
                    </a:lnTo>
                    <a:lnTo>
                      <a:pt x="654" y="820"/>
                    </a:lnTo>
                    <a:lnTo>
                      <a:pt x="652" y="818"/>
                    </a:lnTo>
                    <a:lnTo>
                      <a:pt x="648" y="811"/>
                    </a:lnTo>
                    <a:lnTo>
                      <a:pt x="646" y="809"/>
                    </a:lnTo>
                    <a:lnTo>
                      <a:pt x="648" y="814"/>
                    </a:lnTo>
                    <a:lnTo>
                      <a:pt x="646" y="814"/>
                    </a:lnTo>
                    <a:lnTo>
                      <a:pt x="645" y="814"/>
                    </a:lnTo>
                    <a:lnTo>
                      <a:pt x="645" y="816"/>
                    </a:lnTo>
                    <a:lnTo>
                      <a:pt x="641" y="816"/>
                    </a:lnTo>
                    <a:lnTo>
                      <a:pt x="639" y="816"/>
                    </a:lnTo>
                    <a:lnTo>
                      <a:pt x="637" y="814"/>
                    </a:lnTo>
                    <a:lnTo>
                      <a:pt x="637" y="812"/>
                    </a:lnTo>
                    <a:lnTo>
                      <a:pt x="635" y="812"/>
                    </a:lnTo>
                    <a:lnTo>
                      <a:pt x="633" y="811"/>
                    </a:lnTo>
                    <a:lnTo>
                      <a:pt x="633" y="809"/>
                    </a:lnTo>
                    <a:lnTo>
                      <a:pt x="631" y="809"/>
                    </a:lnTo>
                    <a:lnTo>
                      <a:pt x="629" y="807"/>
                    </a:lnTo>
                    <a:lnTo>
                      <a:pt x="627" y="807"/>
                    </a:lnTo>
                    <a:lnTo>
                      <a:pt x="627" y="805"/>
                    </a:lnTo>
                    <a:lnTo>
                      <a:pt x="629" y="805"/>
                    </a:lnTo>
                    <a:lnTo>
                      <a:pt x="627" y="805"/>
                    </a:lnTo>
                    <a:lnTo>
                      <a:pt x="629" y="805"/>
                    </a:lnTo>
                    <a:lnTo>
                      <a:pt x="629" y="803"/>
                    </a:lnTo>
                    <a:lnTo>
                      <a:pt x="629" y="801"/>
                    </a:lnTo>
                    <a:lnTo>
                      <a:pt x="633" y="801"/>
                    </a:lnTo>
                    <a:lnTo>
                      <a:pt x="633" y="797"/>
                    </a:lnTo>
                    <a:lnTo>
                      <a:pt x="637" y="799"/>
                    </a:lnTo>
                    <a:lnTo>
                      <a:pt x="639" y="797"/>
                    </a:lnTo>
                    <a:lnTo>
                      <a:pt x="643" y="805"/>
                    </a:lnTo>
                    <a:lnTo>
                      <a:pt x="645" y="807"/>
                    </a:lnTo>
                    <a:lnTo>
                      <a:pt x="645" y="809"/>
                    </a:lnTo>
                    <a:lnTo>
                      <a:pt x="646" y="809"/>
                    </a:lnTo>
                    <a:lnTo>
                      <a:pt x="643" y="803"/>
                    </a:lnTo>
                    <a:lnTo>
                      <a:pt x="645" y="799"/>
                    </a:lnTo>
                    <a:lnTo>
                      <a:pt x="645" y="797"/>
                    </a:lnTo>
                    <a:lnTo>
                      <a:pt x="643" y="799"/>
                    </a:lnTo>
                    <a:lnTo>
                      <a:pt x="643" y="797"/>
                    </a:lnTo>
                    <a:lnTo>
                      <a:pt x="641" y="797"/>
                    </a:lnTo>
                    <a:lnTo>
                      <a:pt x="639" y="797"/>
                    </a:lnTo>
                    <a:lnTo>
                      <a:pt x="639" y="793"/>
                    </a:lnTo>
                    <a:lnTo>
                      <a:pt x="637" y="793"/>
                    </a:lnTo>
                    <a:lnTo>
                      <a:pt x="637" y="792"/>
                    </a:lnTo>
                    <a:lnTo>
                      <a:pt x="635" y="790"/>
                    </a:lnTo>
                    <a:lnTo>
                      <a:pt x="637" y="790"/>
                    </a:lnTo>
                    <a:lnTo>
                      <a:pt x="637" y="788"/>
                    </a:lnTo>
                    <a:lnTo>
                      <a:pt x="637" y="786"/>
                    </a:lnTo>
                    <a:lnTo>
                      <a:pt x="639" y="786"/>
                    </a:lnTo>
                    <a:lnTo>
                      <a:pt x="639" y="784"/>
                    </a:lnTo>
                    <a:lnTo>
                      <a:pt x="641" y="786"/>
                    </a:lnTo>
                    <a:lnTo>
                      <a:pt x="643" y="786"/>
                    </a:lnTo>
                    <a:lnTo>
                      <a:pt x="643" y="784"/>
                    </a:lnTo>
                    <a:lnTo>
                      <a:pt x="645" y="784"/>
                    </a:lnTo>
                    <a:lnTo>
                      <a:pt x="646" y="784"/>
                    </a:lnTo>
                    <a:lnTo>
                      <a:pt x="648" y="786"/>
                    </a:lnTo>
                    <a:lnTo>
                      <a:pt x="650" y="786"/>
                    </a:lnTo>
                    <a:lnTo>
                      <a:pt x="652" y="790"/>
                    </a:lnTo>
                    <a:lnTo>
                      <a:pt x="654" y="788"/>
                    </a:lnTo>
                    <a:lnTo>
                      <a:pt x="654" y="786"/>
                    </a:lnTo>
                    <a:lnTo>
                      <a:pt x="656" y="784"/>
                    </a:lnTo>
                    <a:lnTo>
                      <a:pt x="654" y="784"/>
                    </a:lnTo>
                    <a:lnTo>
                      <a:pt x="656" y="782"/>
                    </a:lnTo>
                    <a:lnTo>
                      <a:pt x="654" y="784"/>
                    </a:lnTo>
                    <a:lnTo>
                      <a:pt x="654" y="782"/>
                    </a:lnTo>
                    <a:lnTo>
                      <a:pt x="654" y="784"/>
                    </a:lnTo>
                    <a:lnTo>
                      <a:pt x="650" y="786"/>
                    </a:lnTo>
                    <a:lnTo>
                      <a:pt x="648" y="784"/>
                    </a:lnTo>
                    <a:lnTo>
                      <a:pt x="650" y="784"/>
                    </a:lnTo>
                    <a:lnTo>
                      <a:pt x="648" y="784"/>
                    </a:lnTo>
                    <a:lnTo>
                      <a:pt x="648" y="782"/>
                    </a:lnTo>
                    <a:lnTo>
                      <a:pt x="648" y="780"/>
                    </a:lnTo>
                    <a:lnTo>
                      <a:pt x="652" y="778"/>
                    </a:lnTo>
                    <a:lnTo>
                      <a:pt x="656" y="778"/>
                    </a:lnTo>
                    <a:close/>
                    <a:moveTo>
                      <a:pt x="883" y="1156"/>
                    </a:moveTo>
                    <a:lnTo>
                      <a:pt x="885" y="1158"/>
                    </a:lnTo>
                    <a:lnTo>
                      <a:pt x="883" y="1158"/>
                    </a:lnTo>
                    <a:lnTo>
                      <a:pt x="885" y="1160"/>
                    </a:lnTo>
                    <a:lnTo>
                      <a:pt x="887" y="1160"/>
                    </a:lnTo>
                    <a:lnTo>
                      <a:pt x="889" y="1160"/>
                    </a:lnTo>
                    <a:lnTo>
                      <a:pt x="889" y="1162"/>
                    </a:lnTo>
                    <a:lnTo>
                      <a:pt x="891" y="1164"/>
                    </a:lnTo>
                    <a:lnTo>
                      <a:pt x="889" y="1164"/>
                    </a:lnTo>
                    <a:lnTo>
                      <a:pt x="891" y="1167"/>
                    </a:lnTo>
                    <a:lnTo>
                      <a:pt x="891" y="1169"/>
                    </a:lnTo>
                    <a:lnTo>
                      <a:pt x="889" y="1169"/>
                    </a:lnTo>
                    <a:lnTo>
                      <a:pt x="887" y="1169"/>
                    </a:lnTo>
                    <a:lnTo>
                      <a:pt x="887" y="1171"/>
                    </a:lnTo>
                    <a:lnTo>
                      <a:pt x="889" y="1171"/>
                    </a:lnTo>
                    <a:lnTo>
                      <a:pt x="891" y="1173"/>
                    </a:lnTo>
                    <a:lnTo>
                      <a:pt x="892" y="1175"/>
                    </a:lnTo>
                    <a:lnTo>
                      <a:pt x="892" y="1179"/>
                    </a:lnTo>
                    <a:lnTo>
                      <a:pt x="892" y="1181"/>
                    </a:lnTo>
                    <a:lnTo>
                      <a:pt x="892" y="1183"/>
                    </a:lnTo>
                    <a:lnTo>
                      <a:pt x="896" y="1183"/>
                    </a:lnTo>
                    <a:lnTo>
                      <a:pt x="896" y="1181"/>
                    </a:lnTo>
                    <a:lnTo>
                      <a:pt x="896" y="1177"/>
                    </a:lnTo>
                    <a:lnTo>
                      <a:pt x="898" y="1175"/>
                    </a:lnTo>
                    <a:lnTo>
                      <a:pt x="898" y="1173"/>
                    </a:lnTo>
                    <a:lnTo>
                      <a:pt x="900" y="1173"/>
                    </a:lnTo>
                    <a:lnTo>
                      <a:pt x="902" y="1175"/>
                    </a:lnTo>
                    <a:lnTo>
                      <a:pt x="900" y="1175"/>
                    </a:lnTo>
                    <a:lnTo>
                      <a:pt x="902" y="1175"/>
                    </a:lnTo>
                    <a:lnTo>
                      <a:pt x="902" y="1177"/>
                    </a:lnTo>
                    <a:lnTo>
                      <a:pt x="904" y="1177"/>
                    </a:lnTo>
                    <a:lnTo>
                      <a:pt x="906" y="1179"/>
                    </a:lnTo>
                    <a:lnTo>
                      <a:pt x="904" y="1179"/>
                    </a:lnTo>
                    <a:lnTo>
                      <a:pt x="904" y="1181"/>
                    </a:lnTo>
                    <a:lnTo>
                      <a:pt x="906" y="1183"/>
                    </a:lnTo>
                    <a:lnTo>
                      <a:pt x="908" y="1185"/>
                    </a:lnTo>
                    <a:lnTo>
                      <a:pt x="908" y="1183"/>
                    </a:lnTo>
                    <a:lnTo>
                      <a:pt x="910" y="1185"/>
                    </a:lnTo>
                    <a:lnTo>
                      <a:pt x="912" y="1185"/>
                    </a:lnTo>
                    <a:lnTo>
                      <a:pt x="912" y="1186"/>
                    </a:lnTo>
                    <a:lnTo>
                      <a:pt x="913" y="1185"/>
                    </a:lnTo>
                    <a:lnTo>
                      <a:pt x="915" y="1185"/>
                    </a:lnTo>
                    <a:lnTo>
                      <a:pt x="917" y="1186"/>
                    </a:lnTo>
                    <a:lnTo>
                      <a:pt x="919" y="1188"/>
                    </a:lnTo>
                    <a:lnTo>
                      <a:pt x="919" y="1190"/>
                    </a:lnTo>
                    <a:lnTo>
                      <a:pt x="921" y="1192"/>
                    </a:lnTo>
                    <a:lnTo>
                      <a:pt x="921" y="1194"/>
                    </a:lnTo>
                    <a:lnTo>
                      <a:pt x="923" y="1194"/>
                    </a:lnTo>
                    <a:lnTo>
                      <a:pt x="925" y="1196"/>
                    </a:lnTo>
                    <a:lnTo>
                      <a:pt x="927" y="1196"/>
                    </a:lnTo>
                    <a:lnTo>
                      <a:pt x="927" y="1198"/>
                    </a:lnTo>
                    <a:lnTo>
                      <a:pt x="929" y="1200"/>
                    </a:lnTo>
                    <a:lnTo>
                      <a:pt x="931" y="1200"/>
                    </a:lnTo>
                    <a:lnTo>
                      <a:pt x="931" y="1202"/>
                    </a:lnTo>
                    <a:lnTo>
                      <a:pt x="934" y="1200"/>
                    </a:lnTo>
                    <a:lnTo>
                      <a:pt x="936" y="1202"/>
                    </a:lnTo>
                    <a:lnTo>
                      <a:pt x="936" y="1204"/>
                    </a:lnTo>
                    <a:lnTo>
                      <a:pt x="936" y="1202"/>
                    </a:lnTo>
                    <a:lnTo>
                      <a:pt x="938" y="1204"/>
                    </a:lnTo>
                    <a:lnTo>
                      <a:pt x="938" y="1206"/>
                    </a:lnTo>
                    <a:lnTo>
                      <a:pt x="942" y="1207"/>
                    </a:lnTo>
                    <a:lnTo>
                      <a:pt x="942" y="1209"/>
                    </a:lnTo>
                    <a:lnTo>
                      <a:pt x="944" y="1209"/>
                    </a:lnTo>
                    <a:lnTo>
                      <a:pt x="944" y="1211"/>
                    </a:lnTo>
                    <a:lnTo>
                      <a:pt x="944" y="1213"/>
                    </a:lnTo>
                    <a:lnTo>
                      <a:pt x="944" y="1219"/>
                    </a:lnTo>
                    <a:lnTo>
                      <a:pt x="946" y="1221"/>
                    </a:lnTo>
                    <a:lnTo>
                      <a:pt x="946" y="1219"/>
                    </a:lnTo>
                    <a:lnTo>
                      <a:pt x="946" y="1221"/>
                    </a:lnTo>
                    <a:lnTo>
                      <a:pt x="946" y="1223"/>
                    </a:lnTo>
                    <a:lnTo>
                      <a:pt x="944" y="1225"/>
                    </a:lnTo>
                    <a:lnTo>
                      <a:pt x="942" y="1225"/>
                    </a:lnTo>
                    <a:lnTo>
                      <a:pt x="940" y="1227"/>
                    </a:lnTo>
                    <a:lnTo>
                      <a:pt x="940" y="1228"/>
                    </a:lnTo>
                    <a:lnTo>
                      <a:pt x="946" y="1227"/>
                    </a:lnTo>
                    <a:lnTo>
                      <a:pt x="948" y="1227"/>
                    </a:lnTo>
                    <a:lnTo>
                      <a:pt x="948" y="1225"/>
                    </a:lnTo>
                    <a:lnTo>
                      <a:pt x="950" y="1225"/>
                    </a:lnTo>
                    <a:lnTo>
                      <a:pt x="950" y="1227"/>
                    </a:lnTo>
                    <a:lnTo>
                      <a:pt x="952" y="1225"/>
                    </a:lnTo>
                    <a:lnTo>
                      <a:pt x="952" y="1227"/>
                    </a:lnTo>
                    <a:lnTo>
                      <a:pt x="953" y="1227"/>
                    </a:lnTo>
                    <a:lnTo>
                      <a:pt x="957" y="1228"/>
                    </a:lnTo>
                    <a:lnTo>
                      <a:pt x="955" y="1227"/>
                    </a:lnTo>
                    <a:lnTo>
                      <a:pt x="955" y="1225"/>
                    </a:lnTo>
                    <a:lnTo>
                      <a:pt x="957" y="1225"/>
                    </a:lnTo>
                    <a:lnTo>
                      <a:pt x="955" y="1225"/>
                    </a:lnTo>
                    <a:lnTo>
                      <a:pt x="957" y="1223"/>
                    </a:lnTo>
                    <a:lnTo>
                      <a:pt x="959" y="1227"/>
                    </a:lnTo>
                    <a:lnTo>
                      <a:pt x="961" y="1228"/>
                    </a:lnTo>
                    <a:lnTo>
                      <a:pt x="959" y="1228"/>
                    </a:lnTo>
                    <a:lnTo>
                      <a:pt x="961" y="1228"/>
                    </a:lnTo>
                    <a:lnTo>
                      <a:pt x="963" y="1228"/>
                    </a:lnTo>
                    <a:lnTo>
                      <a:pt x="963" y="1230"/>
                    </a:lnTo>
                    <a:lnTo>
                      <a:pt x="963" y="1232"/>
                    </a:lnTo>
                    <a:lnTo>
                      <a:pt x="961" y="1232"/>
                    </a:lnTo>
                    <a:lnTo>
                      <a:pt x="959" y="1230"/>
                    </a:lnTo>
                    <a:lnTo>
                      <a:pt x="961" y="1232"/>
                    </a:lnTo>
                    <a:lnTo>
                      <a:pt x="963" y="1232"/>
                    </a:lnTo>
                    <a:lnTo>
                      <a:pt x="965" y="1234"/>
                    </a:lnTo>
                    <a:lnTo>
                      <a:pt x="967" y="1236"/>
                    </a:lnTo>
                    <a:lnTo>
                      <a:pt x="969" y="1234"/>
                    </a:lnTo>
                    <a:lnTo>
                      <a:pt x="969" y="1236"/>
                    </a:lnTo>
                    <a:lnTo>
                      <a:pt x="969" y="1238"/>
                    </a:lnTo>
                    <a:lnTo>
                      <a:pt x="967" y="1238"/>
                    </a:lnTo>
                    <a:lnTo>
                      <a:pt x="965" y="1238"/>
                    </a:lnTo>
                    <a:lnTo>
                      <a:pt x="963" y="1238"/>
                    </a:lnTo>
                    <a:lnTo>
                      <a:pt x="963" y="1240"/>
                    </a:lnTo>
                    <a:lnTo>
                      <a:pt x="963" y="1242"/>
                    </a:lnTo>
                    <a:lnTo>
                      <a:pt x="959" y="1244"/>
                    </a:lnTo>
                    <a:lnTo>
                      <a:pt x="957" y="1246"/>
                    </a:lnTo>
                    <a:lnTo>
                      <a:pt x="957" y="1248"/>
                    </a:lnTo>
                    <a:lnTo>
                      <a:pt x="955" y="1248"/>
                    </a:lnTo>
                    <a:lnTo>
                      <a:pt x="952" y="1246"/>
                    </a:lnTo>
                    <a:lnTo>
                      <a:pt x="948" y="1244"/>
                    </a:lnTo>
                    <a:lnTo>
                      <a:pt x="944" y="1244"/>
                    </a:lnTo>
                    <a:lnTo>
                      <a:pt x="944" y="1242"/>
                    </a:lnTo>
                    <a:lnTo>
                      <a:pt x="942" y="1242"/>
                    </a:lnTo>
                    <a:lnTo>
                      <a:pt x="940" y="1242"/>
                    </a:lnTo>
                    <a:lnTo>
                      <a:pt x="940" y="1240"/>
                    </a:lnTo>
                    <a:lnTo>
                      <a:pt x="938" y="1240"/>
                    </a:lnTo>
                    <a:lnTo>
                      <a:pt x="936" y="1240"/>
                    </a:lnTo>
                    <a:lnTo>
                      <a:pt x="936" y="1242"/>
                    </a:lnTo>
                    <a:lnTo>
                      <a:pt x="934" y="1240"/>
                    </a:lnTo>
                    <a:lnTo>
                      <a:pt x="936" y="1240"/>
                    </a:lnTo>
                    <a:lnTo>
                      <a:pt x="934" y="1240"/>
                    </a:lnTo>
                    <a:lnTo>
                      <a:pt x="932" y="1240"/>
                    </a:lnTo>
                    <a:lnTo>
                      <a:pt x="932" y="1238"/>
                    </a:lnTo>
                    <a:lnTo>
                      <a:pt x="931" y="1238"/>
                    </a:lnTo>
                    <a:lnTo>
                      <a:pt x="932" y="1236"/>
                    </a:lnTo>
                    <a:lnTo>
                      <a:pt x="934" y="1234"/>
                    </a:lnTo>
                    <a:lnTo>
                      <a:pt x="934" y="1232"/>
                    </a:lnTo>
                    <a:lnTo>
                      <a:pt x="931" y="1230"/>
                    </a:lnTo>
                    <a:lnTo>
                      <a:pt x="927" y="1230"/>
                    </a:lnTo>
                    <a:lnTo>
                      <a:pt x="925" y="1228"/>
                    </a:lnTo>
                    <a:lnTo>
                      <a:pt x="923" y="1230"/>
                    </a:lnTo>
                    <a:lnTo>
                      <a:pt x="921" y="1228"/>
                    </a:lnTo>
                    <a:lnTo>
                      <a:pt x="925" y="1223"/>
                    </a:lnTo>
                    <a:lnTo>
                      <a:pt x="923" y="1223"/>
                    </a:lnTo>
                    <a:lnTo>
                      <a:pt x="923" y="1221"/>
                    </a:lnTo>
                    <a:lnTo>
                      <a:pt x="921" y="1223"/>
                    </a:lnTo>
                    <a:lnTo>
                      <a:pt x="921" y="1225"/>
                    </a:lnTo>
                    <a:lnTo>
                      <a:pt x="919" y="1223"/>
                    </a:lnTo>
                    <a:lnTo>
                      <a:pt x="917" y="1225"/>
                    </a:lnTo>
                    <a:lnTo>
                      <a:pt x="915" y="1223"/>
                    </a:lnTo>
                    <a:lnTo>
                      <a:pt x="915" y="1225"/>
                    </a:lnTo>
                    <a:lnTo>
                      <a:pt x="913" y="1227"/>
                    </a:lnTo>
                    <a:lnTo>
                      <a:pt x="913" y="1230"/>
                    </a:lnTo>
                    <a:lnTo>
                      <a:pt x="913" y="1232"/>
                    </a:lnTo>
                    <a:lnTo>
                      <a:pt x="913" y="1234"/>
                    </a:lnTo>
                    <a:lnTo>
                      <a:pt x="913" y="1236"/>
                    </a:lnTo>
                    <a:lnTo>
                      <a:pt x="912" y="1236"/>
                    </a:lnTo>
                    <a:lnTo>
                      <a:pt x="912" y="1238"/>
                    </a:lnTo>
                    <a:lnTo>
                      <a:pt x="910" y="1238"/>
                    </a:lnTo>
                    <a:lnTo>
                      <a:pt x="910" y="1240"/>
                    </a:lnTo>
                    <a:lnTo>
                      <a:pt x="908" y="1240"/>
                    </a:lnTo>
                    <a:lnTo>
                      <a:pt x="906" y="1242"/>
                    </a:lnTo>
                    <a:lnTo>
                      <a:pt x="904" y="1242"/>
                    </a:lnTo>
                    <a:lnTo>
                      <a:pt x="900" y="1246"/>
                    </a:lnTo>
                    <a:lnTo>
                      <a:pt x="900" y="1251"/>
                    </a:lnTo>
                    <a:lnTo>
                      <a:pt x="898" y="1253"/>
                    </a:lnTo>
                    <a:lnTo>
                      <a:pt x="896" y="1253"/>
                    </a:lnTo>
                    <a:lnTo>
                      <a:pt x="894" y="1257"/>
                    </a:lnTo>
                    <a:lnTo>
                      <a:pt x="889" y="1259"/>
                    </a:lnTo>
                    <a:lnTo>
                      <a:pt x="887" y="1259"/>
                    </a:lnTo>
                    <a:lnTo>
                      <a:pt x="885" y="1261"/>
                    </a:lnTo>
                    <a:lnTo>
                      <a:pt x="883" y="1259"/>
                    </a:lnTo>
                    <a:lnTo>
                      <a:pt x="881" y="1257"/>
                    </a:lnTo>
                    <a:lnTo>
                      <a:pt x="881" y="1249"/>
                    </a:lnTo>
                    <a:lnTo>
                      <a:pt x="883" y="1246"/>
                    </a:lnTo>
                    <a:lnTo>
                      <a:pt x="881" y="1244"/>
                    </a:lnTo>
                    <a:lnTo>
                      <a:pt x="883" y="1244"/>
                    </a:lnTo>
                    <a:lnTo>
                      <a:pt x="883" y="1240"/>
                    </a:lnTo>
                    <a:lnTo>
                      <a:pt x="881" y="1240"/>
                    </a:lnTo>
                    <a:lnTo>
                      <a:pt x="881" y="1238"/>
                    </a:lnTo>
                    <a:lnTo>
                      <a:pt x="879" y="1238"/>
                    </a:lnTo>
                    <a:lnTo>
                      <a:pt x="877" y="1240"/>
                    </a:lnTo>
                    <a:lnTo>
                      <a:pt x="875" y="1240"/>
                    </a:lnTo>
                    <a:lnTo>
                      <a:pt x="871" y="1242"/>
                    </a:lnTo>
                    <a:lnTo>
                      <a:pt x="868" y="1240"/>
                    </a:lnTo>
                    <a:lnTo>
                      <a:pt x="866" y="1242"/>
                    </a:lnTo>
                    <a:lnTo>
                      <a:pt x="864" y="1244"/>
                    </a:lnTo>
                    <a:lnTo>
                      <a:pt x="862" y="1244"/>
                    </a:lnTo>
                    <a:lnTo>
                      <a:pt x="858" y="1244"/>
                    </a:lnTo>
                    <a:lnTo>
                      <a:pt x="856" y="1242"/>
                    </a:lnTo>
                    <a:lnTo>
                      <a:pt x="856" y="1238"/>
                    </a:lnTo>
                    <a:lnTo>
                      <a:pt x="858" y="1236"/>
                    </a:lnTo>
                    <a:lnTo>
                      <a:pt x="860" y="1232"/>
                    </a:lnTo>
                    <a:lnTo>
                      <a:pt x="864" y="1230"/>
                    </a:lnTo>
                    <a:lnTo>
                      <a:pt x="868" y="1227"/>
                    </a:lnTo>
                    <a:lnTo>
                      <a:pt x="870" y="1227"/>
                    </a:lnTo>
                    <a:lnTo>
                      <a:pt x="871" y="1225"/>
                    </a:lnTo>
                    <a:lnTo>
                      <a:pt x="873" y="1225"/>
                    </a:lnTo>
                    <a:lnTo>
                      <a:pt x="873" y="1223"/>
                    </a:lnTo>
                    <a:lnTo>
                      <a:pt x="873" y="1221"/>
                    </a:lnTo>
                    <a:lnTo>
                      <a:pt x="871" y="1219"/>
                    </a:lnTo>
                    <a:lnTo>
                      <a:pt x="870" y="1217"/>
                    </a:lnTo>
                    <a:lnTo>
                      <a:pt x="870" y="1215"/>
                    </a:lnTo>
                    <a:lnTo>
                      <a:pt x="871" y="1213"/>
                    </a:lnTo>
                    <a:lnTo>
                      <a:pt x="870" y="1211"/>
                    </a:lnTo>
                    <a:lnTo>
                      <a:pt x="870" y="1206"/>
                    </a:lnTo>
                    <a:lnTo>
                      <a:pt x="871" y="1202"/>
                    </a:lnTo>
                    <a:lnTo>
                      <a:pt x="871" y="1200"/>
                    </a:lnTo>
                    <a:lnTo>
                      <a:pt x="873" y="1198"/>
                    </a:lnTo>
                    <a:lnTo>
                      <a:pt x="871" y="1198"/>
                    </a:lnTo>
                    <a:lnTo>
                      <a:pt x="873" y="1198"/>
                    </a:lnTo>
                    <a:lnTo>
                      <a:pt x="873" y="1196"/>
                    </a:lnTo>
                    <a:lnTo>
                      <a:pt x="873" y="1194"/>
                    </a:lnTo>
                    <a:lnTo>
                      <a:pt x="873" y="1192"/>
                    </a:lnTo>
                    <a:lnTo>
                      <a:pt x="871" y="1192"/>
                    </a:lnTo>
                    <a:lnTo>
                      <a:pt x="873" y="1186"/>
                    </a:lnTo>
                    <a:lnTo>
                      <a:pt x="873" y="1181"/>
                    </a:lnTo>
                    <a:lnTo>
                      <a:pt x="875" y="1177"/>
                    </a:lnTo>
                    <a:lnTo>
                      <a:pt x="873" y="1177"/>
                    </a:lnTo>
                    <a:lnTo>
                      <a:pt x="873" y="1175"/>
                    </a:lnTo>
                    <a:lnTo>
                      <a:pt x="877" y="1164"/>
                    </a:lnTo>
                    <a:lnTo>
                      <a:pt x="879" y="1158"/>
                    </a:lnTo>
                    <a:lnTo>
                      <a:pt x="883" y="1156"/>
                    </a:lnTo>
                    <a:close/>
                    <a:moveTo>
                      <a:pt x="757" y="765"/>
                    </a:moveTo>
                    <a:lnTo>
                      <a:pt x="769" y="769"/>
                    </a:lnTo>
                    <a:lnTo>
                      <a:pt x="769" y="771"/>
                    </a:lnTo>
                    <a:lnTo>
                      <a:pt x="770" y="771"/>
                    </a:lnTo>
                    <a:lnTo>
                      <a:pt x="770" y="769"/>
                    </a:lnTo>
                    <a:lnTo>
                      <a:pt x="776" y="774"/>
                    </a:lnTo>
                    <a:lnTo>
                      <a:pt x="776" y="776"/>
                    </a:lnTo>
                    <a:lnTo>
                      <a:pt x="776" y="778"/>
                    </a:lnTo>
                    <a:lnTo>
                      <a:pt x="778" y="778"/>
                    </a:lnTo>
                    <a:lnTo>
                      <a:pt x="778" y="776"/>
                    </a:lnTo>
                    <a:lnTo>
                      <a:pt x="782" y="774"/>
                    </a:lnTo>
                    <a:lnTo>
                      <a:pt x="788" y="774"/>
                    </a:lnTo>
                    <a:lnTo>
                      <a:pt x="789" y="774"/>
                    </a:lnTo>
                    <a:lnTo>
                      <a:pt x="793" y="774"/>
                    </a:lnTo>
                    <a:lnTo>
                      <a:pt x="799" y="776"/>
                    </a:lnTo>
                    <a:lnTo>
                      <a:pt x="801" y="776"/>
                    </a:lnTo>
                    <a:lnTo>
                      <a:pt x="807" y="780"/>
                    </a:lnTo>
                    <a:lnTo>
                      <a:pt x="809" y="780"/>
                    </a:lnTo>
                    <a:lnTo>
                      <a:pt x="810" y="782"/>
                    </a:lnTo>
                    <a:lnTo>
                      <a:pt x="809" y="784"/>
                    </a:lnTo>
                    <a:lnTo>
                      <a:pt x="807" y="782"/>
                    </a:lnTo>
                    <a:lnTo>
                      <a:pt x="807" y="784"/>
                    </a:lnTo>
                    <a:lnTo>
                      <a:pt x="807" y="788"/>
                    </a:lnTo>
                    <a:lnTo>
                      <a:pt x="799" y="801"/>
                    </a:lnTo>
                    <a:lnTo>
                      <a:pt x="797" y="801"/>
                    </a:lnTo>
                    <a:lnTo>
                      <a:pt x="797" y="803"/>
                    </a:lnTo>
                    <a:lnTo>
                      <a:pt x="797" y="805"/>
                    </a:lnTo>
                    <a:lnTo>
                      <a:pt x="793" y="812"/>
                    </a:lnTo>
                    <a:lnTo>
                      <a:pt x="791" y="816"/>
                    </a:lnTo>
                    <a:lnTo>
                      <a:pt x="788" y="818"/>
                    </a:lnTo>
                    <a:lnTo>
                      <a:pt x="789" y="820"/>
                    </a:lnTo>
                    <a:lnTo>
                      <a:pt x="791" y="820"/>
                    </a:lnTo>
                    <a:lnTo>
                      <a:pt x="784" y="837"/>
                    </a:lnTo>
                    <a:lnTo>
                      <a:pt x="780" y="845"/>
                    </a:lnTo>
                    <a:lnTo>
                      <a:pt x="776" y="847"/>
                    </a:lnTo>
                    <a:lnTo>
                      <a:pt x="774" y="847"/>
                    </a:lnTo>
                    <a:lnTo>
                      <a:pt x="763" y="843"/>
                    </a:lnTo>
                    <a:lnTo>
                      <a:pt x="761" y="843"/>
                    </a:lnTo>
                    <a:lnTo>
                      <a:pt x="759" y="841"/>
                    </a:lnTo>
                    <a:lnTo>
                      <a:pt x="757" y="843"/>
                    </a:lnTo>
                    <a:lnTo>
                      <a:pt x="757" y="841"/>
                    </a:lnTo>
                    <a:lnTo>
                      <a:pt x="755" y="843"/>
                    </a:lnTo>
                    <a:lnTo>
                      <a:pt x="751" y="843"/>
                    </a:lnTo>
                    <a:lnTo>
                      <a:pt x="748" y="845"/>
                    </a:lnTo>
                    <a:lnTo>
                      <a:pt x="744" y="843"/>
                    </a:lnTo>
                    <a:lnTo>
                      <a:pt x="744" y="847"/>
                    </a:lnTo>
                    <a:lnTo>
                      <a:pt x="744" y="845"/>
                    </a:lnTo>
                    <a:lnTo>
                      <a:pt x="746" y="847"/>
                    </a:lnTo>
                    <a:lnTo>
                      <a:pt x="746" y="845"/>
                    </a:lnTo>
                    <a:lnTo>
                      <a:pt x="748" y="847"/>
                    </a:lnTo>
                    <a:lnTo>
                      <a:pt x="749" y="847"/>
                    </a:lnTo>
                    <a:lnTo>
                      <a:pt x="751" y="847"/>
                    </a:lnTo>
                    <a:lnTo>
                      <a:pt x="753" y="845"/>
                    </a:lnTo>
                    <a:lnTo>
                      <a:pt x="751" y="851"/>
                    </a:lnTo>
                    <a:lnTo>
                      <a:pt x="755" y="853"/>
                    </a:lnTo>
                    <a:lnTo>
                      <a:pt x="757" y="856"/>
                    </a:lnTo>
                    <a:lnTo>
                      <a:pt x="757" y="862"/>
                    </a:lnTo>
                    <a:lnTo>
                      <a:pt x="755" y="862"/>
                    </a:lnTo>
                    <a:lnTo>
                      <a:pt x="755" y="866"/>
                    </a:lnTo>
                    <a:lnTo>
                      <a:pt x="751" y="868"/>
                    </a:lnTo>
                    <a:lnTo>
                      <a:pt x="748" y="875"/>
                    </a:lnTo>
                    <a:lnTo>
                      <a:pt x="748" y="879"/>
                    </a:lnTo>
                    <a:lnTo>
                      <a:pt x="748" y="881"/>
                    </a:lnTo>
                    <a:lnTo>
                      <a:pt x="746" y="881"/>
                    </a:lnTo>
                    <a:lnTo>
                      <a:pt x="744" y="883"/>
                    </a:lnTo>
                    <a:lnTo>
                      <a:pt x="746" y="883"/>
                    </a:lnTo>
                    <a:lnTo>
                      <a:pt x="748" y="883"/>
                    </a:lnTo>
                    <a:lnTo>
                      <a:pt x="748" y="881"/>
                    </a:lnTo>
                    <a:lnTo>
                      <a:pt x="748" y="883"/>
                    </a:lnTo>
                    <a:lnTo>
                      <a:pt x="748" y="885"/>
                    </a:lnTo>
                    <a:lnTo>
                      <a:pt x="746" y="885"/>
                    </a:lnTo>
                    <a:lnTo>
                      <a:pt x="746" y="883"/>
                    </a:lnTo>
                    <a:lnTo>
                      <a:pt x="744" y="885"/>
                    </a:lnTo>
                    <a:lnTo>
                      <a:pt x="744" y="883"/>
                    </a:lnTo>
                    <a:lnTo>
                      <a:pt x="746" y="883"/>
                    </a:lnTo>
                    <a:lnTo>
                      <a:pt x="744" y="883"/>
                    </a:lnTo>
                    <a:lnTo>
                      <a:pt x="738" y="883"/>
                    </a:lnTo>
                    <a:lnTo>
                      <a:pt x="730" y="885"/>
                    </a:lnTo>
                    <a:lnTo>
                      <a:pt x="732" y="885"/>
                    </a:lnTo>
                    <a:lnTo>
                      <a:pt x="728" y="885"/>
                    </a:lnTo>
                    <a:lnTo>
                      <a:pt x="730" y="883"/>
                    </a:lnTo>
                    <a:lnTo>
                      <a:pt x="728" y="881"/>
                    </a:lnTo>
                    <a:lnTo>
                      <a:pt x="730" y="879"/>
                    </a:lnTo>
                    <a:lnTo>
                      <a:pt x="736" y="875"/>
                    </a:lnTo>
                    <a:lnTo>
                      <a:pt x="730" y="877"/>
                    </a:lnTo>
                    <a:lnTo>
                      <a:pt x="730" y="874"/>
                    </a:lnTo>
                    <a:lnTo>
                      <a:pt x="730" y="866"/>
                    </a:lnTo>
                    <a:lnTo>
                      <a:pt x="728" y="862"/>
                    </a:lnTo>
                    <a:lnTo>
                      <a:pt x="730" y="862"/>
                    </a:lnTo>
                    <a:lnTo>
                      <a:pt x="730" y="860"/>
                    </a:lnTo>
                    <a:lnTo>
                      <a:pt x="730" y="856"/>
                    </a:lnTo>
                    <a:lnTo>
                      <a:pt x="728" y="856"/>
                    </a:lnTo>
                    <a:lnTo>
                      <a:pt x="728" y="854"/>
                    </a:lnTo>
                    <a:lnTo>
                      <a:pt x="727" y="853"/>
                    </a:lnTo>
                    <a:lnTo>
                      <a:pt x="727" y="851"/>
                    </a:lnTo>
                    <a:lnTo>
                      <a:pt x="727" y="853"/>
                    </a:lnTo>
                    <a:lnTo>
                      <a:pt x="728" y="853"/>
                    </a:lnTo>
                    <a:lnTo>
                      <a:pt x="727" y="851"/>
                    </a:lnTo>
                    <a:lnTo>
                      <a:pt x="727" y="849"/>
                    </a:lnTo>
                    <a:lnTo>
                      <a:pt x="725" y="849"/>
                    </a:lnTo>
                    <a:lnTo>
                      <a:pt x="723" y="847"/>
                    </a:lnTo>
                    <a:lnTo>
                      <a:pt x="723" y="845"/>
                    </a:lnTo>
                    <a:lnTo>
                      <a:pt x="725" y="845"/>
                    </a:lnTo>
                    <a:lnTo>
                      <a:pt x="725" y="843"/>
                    </a:lnTo>
                    <a:lnTo>
                      <a:pt x="723" y="843"/>
                    </a:lnTo>
                    <a:lnTo>
                      <a:pt x="721" y="841"/>
                    </a:lnTo>
                    <a:lnTo>
                      <a:pt x="721" y="843"/>
                    </a:lnTo>
                    <a:lnTo>
                      <a:pt x="721" y="841"/>
                    </a:lnTo>
                    <a:lnTo>
                      <a:pt x="721" y="843"/>
                    </a:lnTo>
                    <a:lnTo>
                      <a:pt x="719" y="839"/>
                    </a:lnTo>
                    <a:lnTo>
                      <a:pt x="721" y="839"/>
                    </a:lnTo>
                    <a:lnTo>
                      <a:pt x="719" y="837"/>
                    </a:lnTo>
                    <a:lnTo>
                      <a:pt x="721" y="835"/>
                    </a:lnTo>
                    <a:lnTo>
                      <a:pt x="719" y="832"/>
                    </a:lnTo>
                    <a:lnTo>
                      <a:pt x="721" y="832"/>
                    </a:lnTo>
                    <a:lnTo>
                      <a:pt x="721" y="830"/>
                    </a:lnTo>
                    <a:lnTo>
                      <a:pt x="721" y="832"/>
                    </a:lnTo>
                    <a:lnTo>
                      <a:pt x="723" y="830"/>
                    </a:lnTo>
                    <a:lnTo>
                      <a:pt x="723" y="824"/>
                    </a:lnTo>
                    <a:lnTo>
                      <a:pt x="725" y="824"/>
                    </a:lnTo>
                    <a:lnTo>
                      <a:pt x="723" y="822"/>
                    </a:lnTo>
                    <a:lnTo>
                      <a:pt x="723" y="820"/>
                    </a:lnTo>
                    <a:lnTo>
                      <a:pt x="725" y="820"/>
                    </a:lnTo>
                    <a:lnTo>
                      <a:pt x="723" y="818"/>
                    </a:lnTo>
                    <a:lnTo>
                      <a:pt x="725" y="818"/>
                    </a:lnTo>
                    <a:lnTo>
                      <a:pt x="723" y="818"/>
                    </a:lnTo>
                    <a:lnTo>
                      <a:pt x="723" y="816"/>
                    </a:lnTo>
                    <a:lnTo>
                      <a:pt x="725" y="816"/>
                    </a:lnTo>
                    <a:lnTo>
                      <a:pt x="723" y="812"/>
                    </a:lnTo>
                    <a:lnTo>
                      <a:pt x="723" y="811"/>
                    </a:lnTo>
                    <a:lnTo>
                      <a:pt x="725" y="811"/>
                    </a:lnTo>
                    <a:lnTo>
                      <a:pt x="723" y="809"/>
                    </a:lnTo>
                    <a:lnTo>
                      <a:pt x="723" y="807"/>
                    </a:lnTo>
                    <a:lnTo>
                      <a:pt x="723" y="801"/>
                    </a:lnTo>
                    <a:lnTo>
                      <a:pt x="723" y="799"/>
                    </a:lnTo>
                    <a:lnTo>
                      <a:pt x="721" y="797"/>
                    </a:lnTo>
                    <a:lnTo>
                      <a:pt x="723" y="797"/>
                    </a:lnTo>
                    <a:lnTo>
                      <a:pt x="723" y="795"/>
                    </a:lnTo>
                    <a:lnTo>
                      <a:pt x="721" y="795"/>
                    </a:lnTo>
                    <a:lnTo>
                      <a:pt x="723" y="795"/>
                    </a:lnTo>
                    <a:lnTo>
                      <a:pt x="721" y="793"/>
                    </a:lnTo>
                    <a:lnTo>
                      <a:pt x="723" y="793"/>
                    </a:lnTo>
                    <a:lnTo>
                      <a:pt x="723" y="790"/>
                    </a:lnTo>
                    <a:lnTo>
                      <a:pt x="725" y="790"/>
                    </a:lnTo>
                    <a:lnTo>
                      <a:pt x="727" y="788"/>
                    </a:lnTo>
                    <a:lnTo>
                      <a:pt x="728" y="790"/>
                    </a:lnTo>
                    <a:lnTo>
                      <a:pt x="728" y="788"/>
                    </a:lnTo>
                    <a:lnTo>
                      <a:pt x="730" y="792"/>
                    </a:lnTo>
                    <a:lnTo>
                      <a:pt x="732" y="793"/>
                    </a:lnTo>
                    <a:lnTo>
                      <a:pt x="736" y="795"/>
                    </a:lnTo>
                    <a:lnTo>
                      <a:pt x="738" y="795"/>
                    </a:lnTo>
                    <a:lnTo>
                      <a:pt x="740" y="793"/>
                    </a:lnTo>
                    <a:lnTo>
                      <a:pt x="738" y="793"/>
                    </a:lnTo>
                    <a:lnTo>
                      <a:pt x="734" y="793"/>
                    </a:lnTo>
                    <a:lnTo>
                      <a:pt x="730" y="786"/>
                    </a:lnTo>
                    <a:lnTo>
                      <a:pt x="728" y="782"/>
                    </a:lnTo>
                    <a:lnTo>
                      <a:pt x="727" y="780"/>
                    </a:lnTo>
                    <a:lnTo>
                      <a:pt x="728" y="776"/>
                    </a:lnTo>
                    <a:lnTo>
                      <a:pt x="736" y="771"/>
                    </a:lnTo>
                    <a:lnTo>
                      <a:pt x="736" y="769"/>
                    </a:lnTo>
                    <a:lnTo>
                      <a:pt x="740" y="771"/>
                    </a:lnTo>
                    <a:lnTo>
                      <a:pt x="742" y="769"/>
                    </a:lnTo>
                    <a:lnTo>
                      <a:pt x="749" y="767"/>
                    </a:lnTo>
                    <a:lnTo>
                      <a:pt x="751" y="769"/>
                    </a:lnTo>
                    <a:lnTo>
                      <a:pt x="753" y="767"/>
                    </a:lnTo>
                    <a:lnTo>
                      <a:pt x="757" y="765"/>
                    </a:lnTo>
                    <a:close/>
                    <a:moveTo>
                      <a:pt x="393" y="543"/>
                    </a:moveTo>
                    <a:lnTo>
                      <a:pt x="391" y="545"/>
                    </a:lnTo>
                    <a:lnTo>
                      <a:pt x="393" y="543"/>
                    </a:lnTo>
                    <a:lnTo>
                      <a:pt x="393" y="545"/>
                    </a:lnTo>
                    <a:lnTo>
                      <a:pt x="395" y="547"/>
                    </a:lnTo>
                    <a:lnTo>
                      <a:pt x="397" y="545"/>
                    </a:lnTo>
                    <a:lnTo>
                      <a:pt x="397" y="547"/>
                    </a:lnTo>
                    <a:lnTo>
                      <a:pt x="399" y="547"/>
                    </a:lnTo>
                    <a:lnTo>
                      <a:pt x="397" y="551"/>
                    </a:lnTo>
                    <a:lnTo>
                      <a:pt x="402" y="553"/>
                    </a:lnTo>
                    <a:lnTo>
                      <a:pt x="400" y="553"/>
                    </a:lnTo>
                    <a:lnTo>
                      <a:pt x="402" y="553"/>
                    </a:lnTo>
                    <a:lnTo>
                      <a:pt x="406" y="559"/>
                    </a:lnTo>
                    <a:lnTo>
                      <a:pt x="408" y="561"/>
                    </a:lnTo>
                    <a:lnTo>
                      <a:pt x="410" y="561"/>
                    </a:lnTo>
                    <a:lnTo>
                      <a:pt x="406" y="563"/>
                    </a:lnTo>
                    <a:lnTo>
                      <a:pt x="406" y="564"/>
                    </a:lnTo>
                    <a:lnTo>
                      <a:pt x="402" y="566"/>
                    </a:lnTo>
                    <a:lnTo>
                      <a:pt x="400" y="568"/>
                    </a:lnTo>
                    <a:lnTo>
                      <a:pt x="399" y="568"/>
                    </a:lnTo>
                    <a:lnTo>
                      <a:pt x="399" y="570"/>
                    </a:lnTo>
                    <a:lnTo>
                      <a:pt x="395" y="570"/>
                    </a:lnTo>
                    <a:lnTo>
                      <a:pt x="395" y="572"/>
                    </a:lnTo>
                    <a:lnTo>
                      <a:pt x="395" y="574"/>
                    </a:lnTo>
                    <a:lnTo>
                      <a:pt x="393" y="574"/>
                    </a:lnTo>
                    <a:lnTo>
                      <a:pt x="393" y="576"/>
                    </a:lnTo>
                    <a:lnTo>
                      <a:pt x="395" y="576"/>
                    </a:lnTo>
                    <a:lnTo>
                      <a:pt x="395" y="578"/>
                    </a:lnTo>
                    <a:lnTo>
                      <a:pt x="395" y="580"/>
                    </a:lnTo>
                    <a:lnTo>
                      <a:pt x="395" y="582"/>
                    </a:lnTo>
                    <a:lnTo>
                      <a:pt x="400" y="585"/>
                    </a:lnTo>
                    <a:lnTo>
                      <a:pt x="402" y="587"/>
                    </a:lnTo>
                    <a:lnTo>
                      <a:pt x="402" y="589"/>
                    </a:lnTo>
                    <a:lnTo>
                      <a:pt x="400" y="591"/>
                    </a:lnTo>
                    <a:lnTo>
                      <a:pt x="395" y="587"/>
                    </a:lnTo>
                    <a:lnTo>
                      <a:pt x="393" y="589"/>
                    </a:lnTo>
                    <a:lnTo>
                      <a:pt x="395" y="593"/>
                    </a:lnTo>
                    <a:lnTo>
                      <a:pt x="399" y="597"/>
                    </a:lnTo>
                    <a:lnTo>
                      <a:pt x="399" y="599"/>
                    </a:lnTo>
                    <a:lnTo>
                      <a:pt x="400" y="601"/>
                    </a:lnTo>
                    <a:lnTo>
                      <a:pt x="400" y="605"/>
                    </a:lnTo>
                    <a:lnTo>
                      <a:pt x="399" y="606"/>
                    </a:lnTo>
                    <a:lnTo>
                      <a:pt x="399" y="610"/>
                    </a:lnTo>
                    <a:lnTo>
                      <a:pt x="395" y="612"/>
                    </a:lnTo>
                    <a:lnTo>
                      <a:pt x="391" y="614"/>
                    </a:lnTo>
                    <a:lnTo>
                      <a:pt x="387" y="614"/>
                    </a:lnTo>
                    <a:lnTo>
                      <a:pt x="385" y="616"/>
                    </a:lnTo>
                    <a:lnTo>
                      <a:pt x="383" y="614"/>
                    </a:lnTo>
                    <a:lnTo>
                      <a:pt x="381" y="616"/>
                    </a:lnTo>
                    <a:lnTo>
                      <a:pt x="383" y="622"/>
                    </a:lnTo>
                    <a:lnTo>
                      <a:pt x="383" y="624"/>
                    </a:lnTo>
                    <a:lnTo>
                      <a:pt x="383" y="626"/>
                    </a:lnTo>
                    <a:lnTo>
                      <a:pt x="383" y="629"/>
                    </a:lnTo>
                    <a:lnTo>
                      <a:pt x="381" y="631"/>
                    </a:lnTo>
                    <a:lnTo>
                      <a:pt x="378" y="633"/>
                    </a:lnTo>
                    <a:lnTo>
                      <a:pt x="378" y="635"/>
                    </a:lnTo>
                    <a:lnTo>
                      <a:pt x="376" y="635"/>
                    </a:lnTo>
                    <a:lnTo>
                      <a:pt x="372" y="633"/>
                    </a:lnTo>
                    <a:lnTo>
                      <a:pt x="374" y="631"/>
                    </a:lnTo>
                    <a:lnTo>
                      <a:pt x="372" y="631"/>
                    </a:lnTo>
                    <a:lnTo>
                      <a:pt x="370" y="629"/>
                    </a:lnTo>
                    <a:lnTo>
                      <a:pt x="366" y="624"/>
                    </a:lnTo>
                    <a:lnTo>
                      <a:pt x="366" y="620"/>
                    </a:lnTo>
                    <a:lnTo>
                      <a:pt x="368" y="616"/>
                    </a:lnTo>
                    <a:lnTo>
                      <a:pt x="368" y="614"/>
                    </a:lnTo>
                    <a:lnTo>
                      <a:pt x="368" y="612"/>
                    </a:lnTo>
                    <a:lnTo>
                      <a:pt x="368" y="608"/>
                    </a:lnTo>
                    <a:lnTo>
                      <a:pt x="368" y="606"/>
                    </a:lnTo>
                    <a:lnTo>
                      <a:pt x="370" y="605"/>
                    </a:lnTo>
                    <a:lnTo>
                      <a:pt x="372" y="599"/>
                    </a:lnTo>
                    <a:lnTo>
                      <a:pt x="370" y="597"/>
                    </a:lnTo>
                    <a:lnTo>
                      <a:pt x="370" y="595"/>
                    </a:lnTo>
                    <a:lnTo>
                      <a:pt x="366" y="601"/>
                    </a:lnTo>
                    <a:lnTo>
                      <a:pt x="362" y="599"/>
                    </a:lnTo>
                    <a:lnTo>
                      <a:pt x="362" y="601"/>
                    </a:lnTo>
                    <a:lnTo>
                      <a:pt x="362" y="603"/>
                    </a:lnTo>
                    <a:lnTo>
                      <a:pt x="362" y="605"/>
                    </a:lnTo>
                    <a:lnTo>
                      <a:pt x="360" y="603"/>
                    </a:lnTo>
                    <a:lnTo>
                      <a:pt x="360" y="605"/>
                    </a:lnTo>
                    <a:lnTo>
                      <a:pt x="359" y="606"/>
                    </a:lnTo>
                    <a:lnTo>
                      <a:pt x="362" y="608"/>
                    </a:lnTo>
                    <a:lnTo>
                      <a:pt x="362" y="614"/>
                    </a:lnTo>
                    <a:lnTo>
                      <a:pt x="360" y="614"/>
                    </a:lnTo>
                    <a:lnTo>
                      <a:pt x="359" y="616"/>
                    </a:lnTo>
                    <a:lnTo>
                      <a:pt x="359" y="618"/>
                    </a:lnTo>
                    <a:lnTo>
                      <a:pt x="355" y="614"/>
                    </a:lnTo>
                    <a:lnTo>
                      <a:pt x="355" y="616"/>
                    </a:lnTo>
                    <a:lnTo>
                      <a:pt x="353" y="616"/>
                    </a:lnTo>
                    <a:lnTo>
                      <a:pt x="351" y="618"/>
                    </a:lnTo>
                    <a:lnTo>
                      <a:pt x="353" y="620"/>
                    </a:lnTo>
                    <a:lnTo>
                      <a:pt x="355" y="620"/>
                    </a:lnTo>
                    <a:lnTo>
                      <a:pt x="355" y="622"/>
                    </a:lnTo>
                    <a:lnTo>
                      <a:pt x="357" y="622"/>
                    </a:lnTo>
                    <a:lnTo>
                      <a:pt x="359" y="627"/>
                    </a:lnTo>
                    <a:lnTo>
                      <a:pt x="357" y="627"/>
                    </a:lnTo>
                    <a:lnTo>
                      <a:pt x="359" y="629"/>
                    </a:lnTo>
                    <a:lnTo>
                      <a:pt x="357" y="633"/>
                    </a:lnTo>
                    <a:lnTo>
                      <a:pt x="351" y="633"/>
                    </a:lnTo>
                    <a:lnTo>
                      <a:pt x="353" y="637"/>
                    </a:lnTo>
                    <a:lnTo>
                      <a:pt x="353" y="641"/>
                    </a:lnTo>
                    <a:lnTo>
                      <a:pt x="351" y="645"/>
                    </a:lnTo>
                    <a:lnTo>
                      <a:pt x="351" y="643"/>
                    </a:lnTo>
                    <a:lnTo>
                      <a:pt x="351" y="646"/>
                    </a:lnTo>
                    <a:lnTo>
                      <a:pt x="349" y="646"/>
                    </a:lnTo>
                    <a:lnTo>
                      <a:pt x="349" y="645"/>
                    </a:lnTo>
                    <a:lnTo>
                      <a:pt x="347" y="645"/>
                    </a:lnTo>
                    <a:lnTo>
                      <a:pt x="347" y="643"/>
                    </a:lnTo>
                    <a:lnTo>
                      <a:pt x="347" y="639"/>
                    </a:lnTo>
                    <a:lnTo>
                      <a:pt x="345" y="637"/>
                    </a:lnTo>
                    <a:lnTo>
                      <a:pt x="343" y="635"/>
                    </a:lnTo>
                    <a:lnTo>
                      <a:pt x="343" y="633"/>
                    </a:lnTo>
                    <a:lnTo>
                      <a:pt x="343" y="629"/>
                    </a:lnTo>
                    <a:lnTo>
                      <a:pt x="343" y="631"/>
                    </a:lnTo>
                    <a:lnTo>
                      <a:pt x="341" y="631"/>
                    </a:lnTo>
                    <a:lnTo>
                      <a:pt x="341" y="633"/>
                    </a:lnTo>
                    <a:lnTo>
                      <a:pt x="339" y="633"/>
                    </a:lnTo>
                    <a:lnTo>
                      <a:pt x="339" y="635"/>
                    </a:lnTo>
                    <a:lnTo>
                      <a:pt x="341" y="637"/>
                    </a:lnTo>
                    <a:lnTo>
                      <a:pt x="343" y="641"/>
                    </a:lnTo>
                    <a:lnTo>
                      <a:pt x="341" y="641"/>
                    </a:lnTo>
                    <a:lnTo>
                      <a:pt x="341" y="639"/>
                    </a:lnTo>
                    <a:lnTo>
                      <a:pt x="341" y="641"/>
                    </a:lnTo>
                    <a:lnTo>
                      <a:pt x="339" y="641"/>
                    </a:lnTo>
                    <a:lnTo>
                      <a:pt x="343" y="645"/>
                    </a:lnTo>
                    <a:lnTo>
                      <a:pt x="339" y="645"/>
                    </a:lnTo>
                    <a:lnTo>
                      <a:pt x="338" y="645"/>
                    </a:lnTo>
                    <a:lnTo>
                      <a:pt x="341" y="646"/>
                    </a:lnTo>
                    <a:lnTo>
                      <a:pt x="343" y="652"/>
                    </a:lnTo>
                    <a:lnTo>
                      <a:pt x="343" y="654"/>
                    </a:lnTo>
                    <a:lnTo>
                      <a:pt x="341" y="652"/>
                    </a:lnTo>
                    <a:lnTo>
                      <a:pt x="339" y="656"/>
                    </a:lnTo>
                    <a:lnTo>
                      <a:pt x="341" y="658"/>
                    </a:lnTo>
                    <a:lnTo>
                      <a:pt x="339" y="656"/>
                    </a:lnTo>
                    <a:lnTo>
                      <a:pt x="339" y="660"/>
                    </a:lnTo>
                    <a:lnTo>
                      <a:pt x="338" y="660"/>
                    </a:lnTo>
                    <a:lnTo>
                      <a:pt x="334" y="662"/>
                    </a:lnTo>
                    <a:lnTo>
                      <a:pt x="332" y="658"/>
                    </a:lnTo>
                    <a:lnTo>
                      <a:pt x="332" y="664"/>
                    </a:lnTo>
                    <a:lnTo>
                      <a:pt x="330" y="664"/>
                    </a:lnTo>
                    <a:lnTo>
                      <a:pt x="328" y="664"/>
                    </a:lnTo>
                    <a:lnTo>
                      <a:pt x="328" y="656"/>
                    </a:lnTo>
                    <a:lnTo>
                      <a:pt x="330" y="654"/>
                    </a:lnTo>
                    <a:lnTo>
                      <a:pt x="328" y="650"/>
                    </a:lnTo>
                    <a:lnTo>
                      <a:pt x="326" y="652"/>
                    </a:lnTo>
                    <a:lnTo>
                      <a:pt x="326" y="654"/>
                    </a:lnTo>
                    <a:lnTo>
                      <a:pt x="324" y="652"/>
                    </a:lnTo>
                    <a:lnTo>
                      <a:pt x="324" y="648"/>
                    </a:lnTo>
                    <a:lnTo>
                      <a:pt x="324" y="646"/>
                    </a:lnTo>
                    <a:lnTo>
                      <a:pt x="324" y="645"/>
                    </a:lnTo>
                    <a:lnTo>
                      <a:pt x="324" y="646"/>
                    </a:lnTo>
                    <a:lnTo>
                      <a:pt x="324" y="645"/>
                    </a:lnTo>
                    <a:lnTo>
                      <a:pt x="324" y="641"/>
                    </a:lnTo>
                    <a:lnTo>
                      <a:pt x="322" y="641"/>
                    </a:lnTo>
                    <a:lnTo>
                      <a:pt x="322" y="639"/>
                    </a:lnTo>
                    <a:lnTo>
                      <a:pt x="318" y="645"/>
                    </a:lnTo>
                    <a:lnTo>
                      <a:pt x="320" y="656"/>
                    </a:lnTo>
                    <a:lnTo>
                      <a:pt x="318" y="656"/>
                    </a:lnTo>
                    <a:lnTo>
                      <a:pt x="318" y="652"/>
                    </a:lnTo>
                    <a:lnTo>
                      <a:pt x="317" y="654"/>
                    </a:lnTo>
                    <a:lnTo>
                      <a:pt x="315" y="654"/>
                    </a:lnTo>
                    <a:lnTo>
                      <a:pt x="315" y="658"/>
                    </a:lnTo>
                    <a:lnTo>
                      <a:pt x="313" y="656"/>
                    </a:lnTo>
                    <a:lnTo>
                      <a:pt x="313" y="654"/>
                    </a:lnTo>
                    <a:lnTo>
                      <a:pt x="311" y="654"/>
                    </a:lnTo>
                    <a:lnTo>
                      <a:pt x="311" y="652"/>
                    </a:lnTo>
                    <a:lnTo>
                      <a:pt x="309" y="650"/>
                    </a:lnTo>
                    <a:lnTo>
                      <a:pt x="307" y="650"/>
                    </a:lnTo>
                    <a:lnTo>
                      <a:pt x="305" y="648"/>
                    </a:lnTo>
                    <a:lnTo>
                      <a:pt x="303" y="650"/>
                    </a:lnTo>
                    <a:lnTo>
                      <a:pt x="301" y="648"/>
                    </a:lnTo>
                    <a:lnTo>
                      <a:pt x="301" y="654"/>
                    </a:lnTo>
                    <a:lnTo>
                      <a:pt x="297" y="656"/>
                    </a:lnTo>
                    <a:lnTo>
                      <a:pt x="294" y="656"/>
                    </a:lnTo>
                    <a:lnTo>
                      <a:pt x="292" y="654"/>
                    </a:lnTo>
                    <a:lnTo>
                      <a:pt x="294" y="652"/>
                    </a:lnTo>
                    <a:lnTo>
                      <a:pt x="294" y="650"/>
                    </a:lnTo>
                    <a:lnTo>
                      <a:pt x="294" y="652"/>
                    </a:lnTo>
                    <a:lnTo>
                      <a:pt x="292" y="650"/>
                    </a:lnTo>
                    <a:lnTo>
                      <a:pt x="294" y="650"/>
                    </a:lnTo>
                    <a:lnTo>
                      <a:pt x="296" y="650"/>
                    </a:lnTo>
                    <a:lnTo>
                      <a:pt x="296" y="645"/>
                    </a:lnTo>
                    <a:lnTo>
                      <a:pt x="294" y="643"/>
                    </a:lnTo>
                    <a:lnTo>
                      <a:pt x="294" y="645"/>
                    </a:lnTo>
                    <a:lnTo>
                      <a:pt x="292" y="645"/>
                    </a:lnTo>
                    <a:lnTo>
                      <a:pt x="294" y="643"/>
                    </a:lnTo>
                    <a:lnTo>
                      <a:pt x="294" y="645"/>
                    </a:lnTo>
                    <a:lnTo>
                      <a:pt x="294" y="643"/>
                    </a:lnTo>
                    <a:lnTo>
                      <a:pt x="296" y="643"/>
                    </a:lnTo>
                    <a:lnTo>
                      <a:pt x="294" y="643"/>
                    </a:lnTo>
                    <a:lnTo>
                      <a:pt x="296" y="643"/>
                    </a:lnTo>
                    <a:lnTo>
                      <a:pt x="294" y="643"/>
                    </a:lnTo>
                    <a:lnTo>
                      <a:pt x="296" y="641"/>
                    </a:lnTo>
                    <a:lnTo>
                      <a:pt x="294" y="641"/>
                    </a:lnTo>
                    <a:lnTo>
                      <a:pt x="290" y="643"/>
                    </a:lnTo>
                    <a:lnTo>
                      <a:pt x="288" y="646"/>
                    </a:lnTo>
                    <a:lnTo>
                      <a:pt x="286" y="646"/>
                    </a:lnTo>
                    <a:lnTo>
                      <a:pt x="288" y="646"/>
                    </a:lnTo>
                    <a:lnTo>
                      <a:pt x="288" y="645"/>
                    </a:lnTo>
                    <a:lnTo>
                      <a:pt x="288" y="643"/>
                    </a:lnTo>
                    <a:lnTo>
                      <a:pt x="290" y="641"/>
                    </a:lnTo>
                    <a:lnTo>
                      <a:pt x="288" y="639"/>
                    </a:lnTo>
                    <a:lnTo>
                      <a:pt x="290" y="641"/>
                    </a:lnTo>
                    <a:lnTo>
                      <a:pt x="290" y="639"/>
                    </a:lnTo>
                    <a:lnTo>
                      <a:pt x="290" y="637"/>
                    </a:lnTo>
                    <a:lnTo>
                      <a:pt x="292" y="637"/>
                    </a:lnTo>
                    <a:lnTo>
                      <a:pt x="292" y="635"/>
                    </a:lnTo>
                    <a:lnTo>
                      <a:pt x="294" y="637"/>
                    </a:lnTo>
                    <a:lnTo>
                      <a:pt x="292" y="635"/>
                    </a:lnTo>
                    <a:lnTo>
                      <a:pt x="294" y="633"/>
                    </a:lnTo>
                    <a:lnTo>
                      <a:pt x="294" y="629"/>
                    </a:lnTo>
                    <a:lnTo>
                      <a:pt x="294" y="627"/>
                    </a:lnTo>
                    <a:lnTo>
                      <a:pt x="296" y="627"/>
                    </a:lnTo>
                    <a:lnTo>
                      <a:pt x="296" y="626"/>
                    </a:lnTo>
                    <a:lnTo>
                      <a:pt x="297" y="626"/>
                    </a:lnTo>
                    <a:lnTo>
                      <a:pt x="297" y="624"/>
                    </a:lnTo>
                    <a:lnTo>
                      <a:pt x="299" y="626"/>
                    </a:lnTo>
                    <a:lnTo>
                      <a:pt x="303" y="624"/>
                    </a:lnTo>
                    <a:lnTo>
                      <a:pt x="303" y="622"/>
                    </a:lnTo>
                    <a:lnTo>
                      <a:pt x="307" y="624"/>
                    </a:lnTo>
                    <a:lnTo>
                      <a:pt x="311" y="622"/>
                    </a:lnTo>
                    <a:lnTo>
                      <a:pt x="311" y="620"/>
                    </a:lnTo>
                    <a:lnTo>
                      <a:pt x="313" y="620"/>
                    </a:lnTo>
                    <a:lnTo>
                      <a:pt x="313" y="618"/>
                    </a:lnTo>
                    <a:lnTo>
                      <a:pt x="313" y="614"/>
                    </a:lnTo>
                    <a:lnTo>
                      <a:pt x="315" y="614"/>
                    </a:lnTo>
                    <a:lnTo>
                      <a:pt x="315" y="612"/>
                    </a:lnTo>
                    <a:lnTo>
                      <a:pt x="315" y="610"/>
                    </a:lnTo>
                    <a:lnTo>
                      <a:pt x="317" y="610"/>
                    </a:lnTo>
                    <a:lnTo>
                      <a:pt x="317" y="606"/>
                    </a:lnTo>
                    <a:lnTo>
                      <a:pt x="318" y="606"/>
                    </a:lnTo>
                    <a:lnTo>
                      <a:pt x="320" y="606"/>
                    </a:lnTo>
                    <a:lnTo>
                      <a:pt x="320" y="605"/>
                    </a:lnTo>
                    <a:lnTo>
                      <a:pt x="322" y="605"/>
                    </a:lnTo>
                    <a:lnTo>
                      <a:pt x="322" y="601"/>
                    </a:lnTo>
                    <a:lnTo>
                      <a:pt x="326" y="601"/>
                    </a:lnTo>
                    <a:lnTo>
                      <a:pt x="328" y="599"/>
                    </a:lnTo>
                    <a:lnTo>
                      <a:pt x="330" y="597"/>
                    </a:lnTo>
                    <a:lnTo>
                      <a:pt x="330" y="595"/>
                    </a:lnTo>
                    <a:lnTo>
                      <a:pt x="328" y="595"/>
                    </a:lnTo>
                    <a:lnTo>
                      <a:pt x="328" y="591"/>
                    </a:lnTo>
                    <a:lnTo>
                      <a:pt x="332" y="591"/>
                    </a:lnTo>
                    <a:lnTo>
                      <a:pt x="332" y="589"/>
                    </a:lnTo>
                    <a:lnTo>
                      <a:pt x="332" y="587"/>
                    </a:lnTo>
                    <a:lnTo>
                      <a:pt x="334" y="585"/>
                    </a:lnTo>
                    <a:lnTo>
                      <a:pt x="334" y="584"/>
                    </a:lnTo>
                    <a:lnTo>
                      <a:pt x="338" y="582"/>
                    </a:lnTo>
                    <a:lnTo>
                      <a:pt x="338" y="580"/>
                    </a:lnTo>
                    <a:lnTo>
                      <a:pt x="339" y="578"/>
                    </a:lnTo>
                    <a:lnTo>
                      <a:pt x="339" y="576"/>
                    </a:lnTo>
                    <a:lnTo>
                      <a:pt x="341" y="576"/>
                    </a:lnTo>
                    <a:lnTo>
                      <a:pt x="341" y="574"/>
                    </a:lnTo>
                    <a:lnTo>
                      <a:pt x="343" y="572"/>
                    </a:lnTo>
                    <a:lnTo>
                      <a:pt x="345" y="570"/>
                    </a:lnTo>
                    <a:lnTo>
                      <a:pt x="345" y="566"/>
                    </a:lnTo>
                    <a:lnTo>
                      <a:pt x="347" y="568"/>
                    </a:lnTo>
                    <a:lnTo>
                      <a:pt x="347" y="561"/>
                    </a:lnTo>
                    <a:lnTo>
                      <a:pt x="349" y="561"/>
                    </a:lnTo>
                    <a:lnTo>
                      <a:pt x="353" y="561"/>
                    </a:lnTo>
                    <a:lnTo>
                      <a:pt x="355" y="559"/>
                    </a:lnTo>
                    <a:lnTo>
                      <a:pt x="357" y="557"/>
                    </a:lnTo>
                    <a:lnTo>
                      <a:pt x="362" y="557"/>
                    </a:lnTo>
                    <a:lnTo>
                      <a:pt x="364" y="559"/>
                    </a:lnTo>
                    <a:lnTo>
                      <a:pt x="366" y="559"/>
                    </a:lnTo>
                    <a:lnTo>
                      <a:pt x="366" y="557"/>
                    </a:lnTo>
                    <a:lnTo>
                      <a:pt x="368" y="557"/>
                    </a:lnTo>
                    <a:lnTo>
                      <a:pt x="370" y="555"/>
                    </a:lnTo>
                    <a:lnTo>
                      <a:pt x="370" y="557"/>
                    </a:lnTo>
                    <a:lnTo>
                      <a:pt x="368" y="559"/>
                    </a:lnTo>
                    <a:lnTo>
                      <a:pt x="370" y="557"/>
                    </a:lnTo>
                    <a:lnTo>
                      <a:pt x="372" y="559"/>
                    </a:lnTo>
                    <a:lnTo>
                      <a:pt x="374" y="561"/>
                    </a:lnTo>
                    <a:lnTo>
                      <a:pt x="376" y="561"/>
                    </a:lnTo>
                    <a:lnTo>
                      <a:pt x="379" y="563"/>
                    </a:lnTo>
                    <a:lnTo>
                      <a:pt x="381" y="563"/>
                    </a:lnTo>
                    <a:lnTo>
                      <a:pt x="383" y="563"/>
                    </a:lnTo>
                    <a:lnTo>
                      <a:pt x="381" y="559"/>
                    </a:lnTo>
                    <a:lnTo>
                      <a:pt x="381" y="561"/>
                    </a:lnTo>
                    <a:lnTo>
                      <a:pt x="379" y="559"/>
                    </a:lnTo>
                    <a:lnTo>
                      <a:pt x="383" y="559"/>
                    </a:lnTo>
                    <a:lnTo>
                      <a:pt x="385" y="561"/>
                    </a:lnTo>
                    <a:lnTo>
                      <a:pt x="387" y="561"/>
                    </a:lnTo>
                    <a:lnTo>
                      <a:pt x="387" y="559"/>
                    </a:lnTo>
                    <a:lnTo>
                      <a:pt x="389" y="555"/>
                    </a:lnTo>
                    <a:lnTo>
                      <a:pt x="387" y="555"/>
                    </a:lnTo>
                    <a:lnTo>
                      <a:pt x="385" y="557"/>
                    </a:lnTo>
                    <a:lnTo>
                      <a:pt x="385" y="555"/>
                    </a:lnTo>
                    <a:lnTo>
                      <a:pt x="383" y="555"/>
                    </a:lnTo>
                    <a:lnTo>
                      <a:pt x="383" y="553"/>
                    </a:lnTo>
                    <a:lnTo>
                      <a:pt x="381" y="553"/>
                    </a:lnTo>
                    <a:lnTo>
                      <a:pt x="381" y="551"/>
                    </a:lnTo>
                    <a:lnTo>
                      <a:pt x="381" y="549"/>
                    </a:lnTo>
                    <a:lnTo>
                      <a:pt x="383" y="551"/>
                    </a:lnTo>
                    <a:lnTo>
                      <a:pt x="385" y="549"/>
                    </a:lnTo>
                    <a:lnTo>
                      <a:pt x="387" y="545"/>
                    </a:lnTo>
                    <a:lnTo>
                      <a:pt x="385" y="545"/>
                    </a:lnTo>
                    <a:lnTo>
                      <a:pt x="393" y="543"/>
                    </a:lnTo>
                    <a:close/>
                    <a:moveTo>
                      <a:pt x="675" y="606"/>
                    </a:moveTo>
                    <a:lnTo>
                      <a:pt x="677" y="606"/>
                    </a:lnTo>
                    <a:lnTo>
                      <a:pt x="679" y="608"/>
                    </a:lnTo>
                    <a:lnTo>
                      <a:pt x="679" y="610"/>
                    </a:lnTo>
                    <a:lnTo>
                      <a:pt x="683" y="612"/>
                    </a:lnTo>
                    <a:lnTo>
                      <a:pt x="681" y="614"/>
                    </a:lnTo>
                    <a:lnTo>
                      <a:pt x="679" y="612"/>
                    </a:lnTo>
                    <a:lnTo>
                      <a:pt x="679" y="614"/>
                    </a:lnTo>
                    <a:lnTo>
                      <a:pt x="683" y="616"/>
                    </a:lnTo>
                    <a:lnTo>
                      <a:pt x="683" y="614"/>
                    </a:lnTo>
                    <a:lnTo>
                      <a:pt x="685" y="616"/>
                    </a:lnTo>
                    <a:lnTo>
                      <a:pt x="688" y="618"/>
                    </a:lnTo>
                    <a:lnTo>
                      <a:pt x="690" y="620"/>
                    </a:lnTo>
                    <a:lnTo>
                      <a:pt x="690" y="624"/>
                    </a:lnTo>
                    <a:lnTo>
                      <a:pt x="690" y="626"/>
                    </a:lnTo>
                    <a:lnTo>
                      <a:pt x="688" y="631"/>
                    </a:lnTo>
                    <a:lnTo>
                      <a:pt x="690" y="631"/>
                    </a:lnTo>
                    <a:lnTo>
                      <a:pt x="690" y="635"/>
                    </a:lnTo>
                    <a:lnTo>
                      <a:pt x="694" y="641"/>
                    </a:lnTo>
                    <a:lnTo>
                      <a:pt x="694" y="643"/>
                    </a:lnTo>
                    <a:lnTo>
                      <a:pt x="692" y="648"/>
                    </a:lnTo>
                    <a:lnTo>
                      <a:pt x="690" y="654"/>
                    </a:lnTo>
                    <a:lnTo>
                      <a:pt x="690" y="660"/>
                    </a:lnTo>
                    <a:lnTo>
                      <a:pt x="692" y="660"/>
                    </a:lnTo>
                    <a:lnTo>
                      <a:pt x="690" y="666"/>
                    </a:lnTo>
                    <a:lnTo>
                      <a:pt x="687" y="669"/>
                    </a:lnTo>
                    <a:lnTo>
                      <a:pt x="688" y="669"/>
                    </a:lnTo>
                    <a:lnTo>
                      <a:pt x="692" y="671"/>
                    </a:lnTo>
                    <a:lnTo>
                      <a:pt x="694" y="673"/>
                    </a:lnTo>
                    <a:lnTo>
                      <a:pt x="694" y="677"/>
                    </a:lnTo>
                    <a:lnTo>
                      <a:pt x="694" y="687"/>
                    </a:lnTo>
                    <a:lnTo>
                      <a:pt x="696" y="690"/>
                    </a:lnTo>
                    <a:lnTo>
                      <a:pt x="696" y="692"/>
                    </a:lnTo>
                    <a:lnTo>
                      <a:pt x="694" y="688"/>
                    </a:lnTo>
                    <a:lnTo>
                      <a:pt x="692" y="685"/>
                    </a:lnTo>
                    <a:lnTo>
                      <a:pt x="694" y="685"/>
                    </a:lnTo>
                    <a:lnTo>
                      <a:pt x="692" y="683"/>
                    </a:lnTo>
                    <a:lnTo>
                      <a:pt x="690" y="681"/>
                    </a:lnTo>
                    <a:lnTo>
                      <a:pt x="688" y="683"/>
                    </a:lnTo>
                    <a:lnTo>
                      <a:pt x="687" y="681"/>
                    </a:lnTo>
                    <a:lnTo>
                      <a:pt x="688" y="687"/>
                    </a:lnTo>
                    <a:lnTo>
                      <a:pt x="688" y="685"/>
                    </a:lnTo>
                    <a:lnTo>
                      <a:pt x="687" y="683"/>
                    </a:lnTo>
                    <a:lnTo>
                      <a:pt x="685" y="685"/>
                    </a:lnTo>
                    <a:lnTo>
                      <a:pt x="687" y="685"/>
                    </a:lnTo>
                    <a:lnTo>
                      <a:pt x="685" y="687"/>
                    </a:lnTo>
                    <a:lnTo>
                      <a:pt x="685" y="685"/>
                    </a:lnTo>
                    <a:lnTo>
                      <a:pt x="685" y="687"/>
                    </a:lnTo>
                    <a:lnTo>
                      <a:pt x="687" y="687"/>
                    </a:lnTo>
                    <a:lnTo>
                      <a:pt x="687" y="688"/>
                    </a:lnTo>
                    <a:lnTo>
                      <a:pt x="688" y="688"/>
                    </a:lnTo>
                    <a:lnTo>
                      <a:pt x="688" y="690"/>
                    </a:lnTo>
                    <a:lnTo>
                      <a:pt x="685" y="690"/>
                    </a:lnTo>
                    <a:lnTo>
                      <a:pt x="685" y="692"/>
                    </a:lnTo>
                    <a:lnTo>
                      <a:pt x="687" y="692"/>
                    </a:lnTo>
                    <a:lnTo>
                      <a:pt x="687" y="694"/>
                    </a:lnTo>
                    <a:lnTo>
                      <a:pt x="685" y="694"/>
                    </a:lnTo>
                    <a:lnTo>
                      <a:pt x="685" y="692"/>
                    </a:lnTo>
                    <a:lnTo>
                      <a:pt x="685" y="694"/>
                    </a:lnTo>
                    <a:lnTo>
                      <a:pt x="683" y="694"/>
                    </a:lnTo>
                    <a:lnTo>
                      <a:pt x="685" y="696"/>
                    </a:lnTo>
                    <a:lnTo>
                      <a:pt x="683" y="696"/>
                    </a:lnTo>
                    <a:lnTo>
                      <a:pt x="685" y="698"/>
                    </a:lnTo>
                    <a:lnTo>
                      <a:pt x="685" y="696"/>
                    </a:lnTo>
                    <a:lnTo>
                      <a:pt x="687" y="696"/>
                    </a:lnTo>
                    <a:lnTo>
                      <a:pt x="687" y="698"/>
                    </a:lnTo>
                    <a:lnTo>
                      <a:pt x="685" y="698"/>
                    </a:lnTo>
                    <a:lnTo>
                      <a:pt x="687" y="700"/>
                    </a:lnTo>
                    <a:lnTo>
                      <a:pt x="687" y="696"/>
                    </a:lnTo>
                    <a:lnTo>
                      <a:pt x="687" y="700"/>
                    </a:lnTo>
                    <a:lnTo>
                      <a:pt x="690" y="704"/>
                    </a:lnTo>
                    <a:lnTo>
                      <a:pt x="690" y="706"/>
                    </a:lnTo>
                    <a:lnTo>
                      <a:pt x="692" y="706"/>
                    </a:lnTo>
                    <a:lnTo>
                      <a:pt x="690" y="709"/>
                    </a:lnTo>
                    <a:lnTo>
                      <a:pt x="690" y="708"/>
                    </a:lnTo>
                    <a:lnTo>
                      <a:pt x="688" y="709"/>
                    </a:lnTo>
                    <a:lnTo>
                      <a:pt x="688" y="708"/>
                    </a:lnTo>
                    <a:lnTo>
                      <a:pt x="687" y="709"/>
                    </a:lnTo>
                    <a:lnTo>
                      <a:pt x="685" y="704"/>
                    </a:lnTo>
                    <a:lnTo>
                      <a:pt x="683" y="704"/>
                    </a:lnTo>
                    <a:lnTo>
                      <a:pt x="683" y="706"/>
                    </a:lnTo>
                    <a:lnTo>
                      <a:pt x="687" y="709"/>
                    </a:lnTo>
                    <a:lnTo>
                      <a:pt x="687" y="711"/>
                    </a:lnTo>
                    <a:lnTo>
                      <a:pt x="685" y="715"/>
                    </a:lnTo>
                    <a:lnTo>
                      <a:pt x="681" y="713"/>
                    </a:lnTo>
                    <a:lnTo>
                      <a:pt x="677" y="715"/>
                    </a:lnTo>
                    <a:lnTo>
                      <a:pt x="675" y="715"/>
                    </a:lnTo>
                    <a:lnTo>
                      <a:pt x="675" y="717"/>
                    </a:lnTo>
                    <a:lnTo>
                      <a:pt x="673" y="715"/>
                    </a:lnTo>
                    <a:lnTo>
                      <a:pt x="671" y="715"/>
                    </a:lnTo>
                    <a:lnTo>
                      <a:pt x="671" y="711"/>
                    </a:lnTo>
                    <a:lnTo>
                      <a:pt x="669" y="713"/>
                    </a:lnTo>
                    <a:lnTo>
                      <a:pt x="669" y="715"/>
                    </a:lnTo>
                    <a:lnTo>
                      <a:pt x="662" y="715"/>
                    </a:lnTo>
                    <a:lnTo>
                      <a:pt x="660" y="717"/>
                    </a:lnTo>
                    <a:lnTo>
                      <a:pt x="652" y="717"/>
                    </a:lnTo>
                    <a:lnTo>
                      <a:pt x="646" y="713"/>
                    </a:lnTo>
                    <a:lnTo>
                      <a:pt x="646" y="706"/>
                    </a:lnTo>
                    <a:lnTo>
                      <a:pt x="645" y="704"/>
                    </a:lnTo>
                    <a:lnTo>
                      <a:pt x="646" y="702"/>
                    </a:lnTo>
                    <a:lnTo>
                      <a:pt x="654" y="702"/>
                    </a:lnTo>
                    <a:lnTo>
                      <a:pt x="646" y="700"/>
                    </a:lnTo>
                    <a:lnTo>
                      <a:pt x="650" y="698"/>
                    </a:lnTo>
                    <a:lnTo>
                      <a:pt x="650" y="696"/>
                    </a:lnTo>
                    <a:lnTo>
                      <a:pt x="645" y="698"/>
                    </a:lnTo>
                    <a:lnTo>
                      <a:pt x="643" y="694"/>
                    </a:lnTo>
                    <a:lnTo>
                      <a:pt x="641" y="694"/>
                    </a:lnTo>
                    <a:lnTo>
                      <a:pt x="643" y="692"/>
                    </a:lnTo>
                    <a:lnTo>
                      <a:pt x="645" y="692"/>
                    </a:lnTo>
                    <a:lnTo>
                      <a:pt x="643" y="694"/>
                    </a:lnTo>
                    <a:lnTo>
                      <a:pt x="645" y="694"/>
                    </a:lnTo>
                    <a:lnTo>
                      <a:pt x="645" y="692"/>
                    </a:lnTo>
                    <a:lnTo>
                      <a:pt x="646" y="692"/>
                    </a:lnTo>
                    <a:lnTo>
                      <a:pt x="645" y="692"/>
                    </a:lnTo>
                    <a:lnTo>
                      <a:pt x="645" y="690"/>
                    </a:lnTo>
                    <a:lnTo>
                      <a:pt x="645" y="688"/>
                    </a:lnTo>
                    <a:lnTo>
                      <a:pt x="643" y="688"/>
                    </a:lnTo>
                    <a:lnTo>
                      <a:pt x="654" y="687"/>
                    </a:lnTo>
                    <a:lnTo>
                      <a:pt x="652" y="687"/>
                    </a:lnTo>
                    <a:lnTo>
                      <a:pt x="648" y="687"/>
                    </a:lnTo>
                    <a:lnTo>
                      <a:pt x="654" y="685"/>
                    </a:lnTo>
                    <a:lnTo>
                      <a:pt x="656" y="687"/>
                    </a:lnTo>
                    <a:lnTo>
                      <a:pt x="658" y="685"/>
                    </a:lnTo>
                    <a:lnTo>
                      <a:pt x="658" y="683"/>
                    </a:lnTo>
                    <a:lnTo>
                      <a:pt x="652" y="685"/>
                    </a:lnTo>
                    <a:lnTo>
                      <a:pt x="648" y="683"/>
                    </a:lnTo>
                    <a:lnTo>
                      <a:pt x="656" y="681"/>
                    </a:lnTo>
                    <a:lnTo>
                      <a:pt x="654" y="681"/>
                    </a:lnTo>
                    <a:lnTo>
                      <a:pt x="652" y="681"/>
                    </a:lnTo>
                    <a:lnTo>
                      <a:pt x="660" y="677"/>
                    </a:lnTo>
                    <a:lnTo>
                      <a:pt x="656" y="677"/>
                    </a:lnTo>
                    <a:lnTo>
                      <a:pt x="656" y="675"/>
                    </a:lnTo>
                    <a:lnTo>
                      <a:pt x="656" y="673"/>
                    </a:lnTo>
                    <a:lnTo>
                      <a:pt x="660" y="671"/>
                    </a:lnTo>
                    <a:lnTo>
                      <a:pt x="646" y="675"/>
                    </a:lnTo>
                    <a:lnTo>
                      <a:pt x="645" y="675"/>
                    </a:lnTo>
                    <a:lnTo>
                      <a:pt x="639" y="677"/>
                    </a:lnTo>
                    <a:lnTo>
                      <a:pt x="637" y="677"/>
                    </a:lnTo>
                    <a:lnTo>
                      <a:pt x="635" y="679"/>
                    </a:lnTo>
                    <a:lnTo>
                      <a:pt x="633" y="679"/>
                    </a:lnTo>
                    <a:lnTo>
                      <a:pt x="631" y="679"/>
                    </a:lnTo>
                    <a:lnTo>
                      <a:pt x="631" y="677"/>
                    </a:lnTo>
                    <a:lnTo>
                      <a:pt x="629" y="677"/>
                    </a:lnTo>
                    <a:lnTo>
                      <a:pt x="629" y="679"/>
                    </a:lnTo>
                    <a:lnTo>
                      <a:pt x="622" y="681"/>
                    </a:lnTo>
                    <a:lnTo>
                      <a:pt x="618" y="681"/>
                    </a:lnTo>
                    <a:lnTo>
                      <a:pt x="614" y="683"/>
                    </a:lnTo>
                    <a:lnTo>
                      <a:pt x="612" y="685"/>
                    </a:lnTo>
                    <a:lnTo>
                      <a:pt x="610" y="685"/>
                    </a:lnTo>
                    <a:lnTo>
                      <a:pt x="610" y="683"/>
                    </a:lnTo>
                    <a:lnTo>
                      <a:pt x="608" y="681"/>
                    </a:lnTo>
                    <a:lnTo>
                      <a:pt x="610" y="679"/>
                    </a:lnTo>
                    <a:lnTo>
                      <a:pt x="608" y="679"/>
                    </a:lnTo>
                    <a:lnTo>
                      <a:pt x="608" y="677"/>
                    </a:lnTo>
                    <a:lnTo>
                      <a:pt x="608" y="675"/>
                    </a:lnTo>
                    <a:lnTo>
                      <a:pt x="610" y="677"/>
                    </a:lnTo>
                    <a:lnTo>
                      <a:pt x="610" y="675"/>
                    </a:lnTo>
                    <a:lnTo>
                      <a:pt x="610" y="673"/>
                    </a:lnTo>
                    <a:lnTo>
                      <a:pt x="612" y="673"/>
                    </a:lnTo>
                    <a:lnTo>
                      <a:pt x="612" y="671"/>
                    </a:lnTo>
                    <a:lnTo>
                      <a:pt x="616" y="669"/>
                    </a:lnTo>
                    <a:lnTo>
                      <a:pt x="618" y="671"/>
                    </a:lnTo>
                    <a:lnTo>
                      <a:pt x="620" y="671"/>
                    </a:lnTo>
                    <a:lnTo>
                      <a:pt x="618" y="669"/>
                    </a:lnTo>
                    <a:lnTo>
                      <a:pt x="620" y="666"/>
                    </a:lnTo>
                    <a:lnTo>
                      <a:pt x="616" y="666"/>
                    </a:lnTo>
                    <a:lnTo>
                      <a:pt x="616" y="664"/>
                    </a:lnTo>
                    <a:lnTo>
                      <a:pt x="620" y="660"/>
                    </a:lnTo>
                    <a:lnTo>
                      <a:pt x="624" y="658"/>
                    </a:lnTo>
                    <a:lnTo>
                      <a:pt x="625" y="662"/>
                    </a:lnTo>
                    <a:lnTo>
                      <a:pt x="629" y="664"/>
                    </a:lnTo>
                    <a:lnTo>
                      <a:pt x="629" y="666"/>
                    </a:lnTo>
                    <a:lnTo>
                      <a:pt x="633" y="666"/>
                    </a:lnTo>
                    <a:lnTo>
                      <a:pt x="631" y="662"/>
                    </a:lnTo>
                    <a:lnTo>
                      <a:pt x="629" y="662"/>
                    </a:lnTo>
                    <a:lnTo>
                      <a:pt x="627" y="656"/>
                    </a:lnTo>
                    <a:lnTo>
                      <a:pt x="633" y="652"/>
                    </a:lnTo>
                    <a:lnTo>
                      <a:pt x="627" y="654"/>
                    </a:lnTo>
                    <a:lnTo>
                      <a:pt x="624" y="650"/>
                    </a:lnTo>
                    <a:lnTo>
                      <a:pt x="622" y="645"/>
                    </a:lnTo>
                    <a:lnTo>
                      <a:pt x="625" y="643"/>
                    </a:lnTo>
                    <a:lnTo>
                      <a:pt x="625" y="641"/>
                    </a:lnTo>
                    <a:lnTo>
                      <a:pt x="629" y="637"/>
                    </a:lnTo>
                    <a:lnTo>
                      <a:pt x="625" y="637"/>
                    </a:lnTo>
                    <a:lnTo>
                      <a:pt x="625" y="639"/>
                    </a:lnTo>
                    <a:lnTo>
                      <a:pt x="624" y="637"/>
                    </a:lnTo>
                    <a:lnTo>
                      <a:pt x="620" y="639"/>
                    </a:lnTo>
                    <a:lnTo>
                      <a:pt x="618" y="637"/>
                    </a:lnTo>
                    <a:lnTo>
                      <a:pt x="620" y="635"/>
                    </a:lnTo>
                    <a:lnTo>
                      <a:pt x="620" y="633"/>
                    </a:lnTo>
                    <a:lnTo>
                      <a:pt x="618" y="633"/>
                    </a:lnTo>
                    <a:lnTo>
                      <a:pt x="622" y="631"/>
                    </a:lnTo>
                    <a:lnTo>
                      <a:pt x="620" y="629"/>
                    </a:lnTo>
                    <a:lnTo>
                      <a:pt x="620" y="627"/>
                    </a:lnTo>
                    <a:lnTo>
                      <a:pt x="622" y="627"/>
                    </a:lnTo>
                    <a:lnTo>
                      <a:pt x="622" y="626"/>
                    </a:lnTo>
                    <a:lnTo>
                      <a:pt x="624" y="622"/>
                    </a:lnTo>
                    <a:lnTo>
                      <a:pt x="629" y="622"/>
                    </a:lnTo>
                    <a:lnTo>
                      <a:pt x="633" y="624"/>
                    </a:lnTo>
                    <a:lnTo>
                      <a:pt x="633" y="627"/>
                    </a:lnTo>
                    <a:lnTo>
                      <a:pt x="637" y="629"/>
                    </a:lnTo>
                    <a:lnTo>
                      <a:pt x="635" y="637"/>
                    </a:lnTo>
                    <a:lnTo>
                      <a:pt x="637" y="637"/>
                    </a:lnTo>
                    <a:lnTo>
                      <a:pt x="639" y="637"/>
                    </a:lnTo>
                    <a:lnTo>
                      <a:pt x="643" y="641"/>
                    </a:lnTo>
                    <a:lnTo>
                      <a:pt x="643" y="643"/>
                    </a:lnTo>
                    <a:lnTo>
                      <a:pt x="643" y="646"/>
                    </a:lnTo>
                    <a:lnTo>
                      <a:pt x="646" y="645"/>
                    </a:lnTo>
                    <a:lnTo>
                      <a:pt x="645" y="646"/>
                    </a:lnTo>
                    <a:lnTo>
                      <a:pt x="648" y="648"/>
                    </a:lnTo>
                    <a:lnTo>
                      <a:pt x="650" y="652"/>
                    </a:lnTo>
                    <a:lnTo>
                      <a:pt x="650" y="654"/>
                    </a:lnTo>
                    <a:lnTo>
                      <a:pt x="652" y="656"/>
                    </a:lnTo>
                    <a:lnTo>
                      <a:pt x="650" y="658"/>
                    </a:lnTo>
                    <a:lnTo>
                      <a:pt x="654" y="658"/>
                    </a:lnTo>
                    <a:lnTo>
                      <a:pt x="654" y="660"/>
                    </a:lnTo>
                    <a:lnTo>
                      <a:pt x="656" y="658"/>
                    </a:lnTo>
                    <a:lnTo>
                      <a:pt x="658" y="658"/>
                    </a:lnTo>
                    <a:lnTo>
                      <a:pt x="658" y="656"/>
                    </a:lnTo>
                    <a:lnTo>
                      <a:pt x="660" y="656"/>
                    </a:lnTo>
                    <a:lnTo>
                      <a:pt x="660" y="654"/>
                    </a:lnTo>
                    <a:lnTo>
                      <a:pt x="662" y="654"/>
                    </a:lnTo>
                    <a:lnTo>
                      <a:pt x="660" y="654"/>
                    </a:lnTo>
                    <a:lnTo>
                      <a:pt x="656" y="656"/>
                    </a:lnTo>
                    <a:lnTo>
                      <a:pt x="654" y="654"/>
                    </a:lnTo>
                    <a:lnTo>
                      <a:pt x="656" y="654"/>
                    </a:lnTo>
                    <a:lnTo>
                      <a:pt x="654" y="652"/>
                    </a:lnTo>
                    <a:lnTo>
                      <a:pt x="652" y="652"/>
                    </a:lnTo>
                    <a:lnTo>
                      <a:pt x="654" y="650"/>
                    </a:lnTo>
                    <a:lnTo>
                      <a:pt x="652" y="650"/>
                    </a:lnTo>
                    <a:lnTo>
                      <a:pt x="652" y="645"/>
                    </a:lnTo>
                    <a:lnTo>
                      <a:pt x="650" y="643"/>
                    </a:lnTo>
                    <a:lnTo>
                      <a:pt x="652" y="643"/>
                    </a:lnTo>
                    <a:lnTo>
                      <a:pt x="650" y="643"/>
                    </a:lnTo>
                    <a:lnTo>
                      <a:pt x="652" y="643"/>
                    </a:lnTo>
                    <a:lnTo>
                      <a:pt x="656" y="643"/>
                    </a:lnTo>
                    <a:lnTo>
                      <a:pt x="658" y="645"/>
                    </a:lnTo>
                    <a:lnTo>
                      <a:pt x="662" y="641"/>
                    </a:lnTo>
                    <a:lnTo>
                      <a:pt x="658" y="643"/>
                    </a:lnTo>
                    <a:lnTo>
                      <a:pt x="654" y="641"/>
                    </a:lnTo>
                    <a:lnTo>
                      <a:pt x="654" y="639"/>
                    </a:lnTo>
                    <a:lnTo>
                      <a:pt x="650" y="639"/>
                    </a:lnTo>
                    <a:lnTo>
                      <a:pt x="646" y="637"/>
                    </a:lnTo>
                    <a:lnTo>
                      <a:pt x="645" y="635"/>
                    </a:lnTo>
                    <a:lnTo>
                      <a:pt x="646" y="633"/>
                    </a:lnTo>
                    <a:lnTo>
                      <a:pt x="648" y="633"/>
                    </a:lnTo>
                    <a:lnTo>
                      <a:pt x="652" y="633"/>
                    </a:lnTo>
                    <a:lnTo>
                      <a:pt x="650" y="633"/>
                    </a:lnTo>
                    <a:lnTo>
                      <a:pt x="650" y="631"/>
                    </a:lnTo>
                    <a:lnTo>
                      <a:pt x="652" y="633"/>
                    </a:lnTo>
                    <a:lnTo>
                      <a:pt x="656" y="633"/>
                    </a:lnTo>
                    <a:lnTo>
                      <a:pt x="652" y="631"/>
                    </a:lnTo>
                    <a:lnTo>
                      <a:pt x="654" y="631"/>
                    </a:lnTo>
                    <a:lnTo>
                      <a:pt x="652" y="631"/>
                    </a:lnTo>
                    <a:lnTo>
                      <a:pt x="650" y="629"/>
                    </a:lnTo>
                    <a:lnTo>
                      <a:pt x="648" y="627"/>
                    </a:lnTo>
                    <a:lnTo>
                      <a:pt x="648" y="626"/>
                    </a:lnTo>
                    <a:lnTo>
                      <a:pt x="646" y="627"/>
                    </a:lnTo>
                    <a:lnTo>
                      <a:pt x="645" y="627"/>
                    </a:lnTo>
                    <a:lnTo>
                      <a:pt x="641" y="627"/>
                    </a:lnTo>
                    <a:lnTo>
                      <a:pt x="637" y="618"/>
                    </a:lnTo>
                    <a:lnTo>
                      <a:pt x="643" y="616"/>
                    </a:lnTo>
                    <a:lnTo>
                      <a:pt x="641" y="616"/>
                    </a:lnTo>
                    <a:lnTo>
                      <a:pt x="643" y="614"/>
                    </a:lnTo>
                    <a:lnTo>
                      <a:pt x="650" y="608"/>
                    </a:lnTo>
                    <a:lnTo>
                      <a:pt x="654" y="610"/>
                    </a:lnTo>
                    <a:lnTo>
                      <a:pt x="658" y="610"/>
                    </a:lnTo>
                    <a:lnTo>
                      <a:pt x="660" y="610"/>
                    </a:lnTo>
                    <a:lnTo>
                      <a:pt x="660" y="612"/>
                    </a:lnTo>
                    <a:lnTo>
                      <a:pt x="664" y="620"/>
                    </a:lnTo>
                    <a:lnTo>
                      <a:pt x="666" y="618"/>
                    </a:lnTo>
                    <a:lnTo>
                      <a:pt x="667" y="618"/>
                    </a:lnTo>
                    <a:lnTo>
                      <a:pt x="666" y="622"/>
                    </a:lnTo>
                    <a:lnTo>
                      <a:pt x="666" y="624"/>
                    </a:lnTo>
                    <a:lnTo>
                      <a:pt x="667" y="626"/>
                    </a:lnTo>
                    <a:lnTo>
                      <a:pt x="667" y="622"/>
                    </a:lnTo>
                    <a:lnTo>
                      <a:pt x="669" y="620"/>
                    </a:lnTo>
                    <a:lnTo>
                      <a:pt x="669" y="624"/>
                    </a:lnTo>
                    <a:lnTo>
                      <a:pt x="671" y="622"/>
                    </a:lnTo>
                    <a:lnTo>
                      <a:pt x="669" y="616"/>
                    </a:lnTo>
                    <a:lnTo>
                      <a:pt x="667" y="616"/>
                    </a:lnTo>
                    <a:lnTo>
                      <a:pt x="667" y="614"/>
                    </a:lnTo>
                    <a:lnTo>
                      <a:pt x="669" y="612"/>
                    </a:lnTo>
                    <a:lnTo>
                      <a:pt x="675" y="610"/>
                    </a:lnTo>
                    <a:lnTo>
                      <a:pt x="677" y="610"/>
                    </a:lnTo>
                    <a:lnTo>
                      <a:pt x="677" y="608"/>
                    </a:lnTo>
                    <a:lnTo>
                      <a:pt x="673" y="608"/>
                    </a:lnTo>
                    <a:lnTo>
                      <a:pt x="671" y="606"/>
                    </a:lnTo>
                    <a:lnTo>
                      <a:pt x="675" y="606"/>
                    </a:lnTo>
                    <a:close/>
                    <a:moveTo>
                      <a:pt x="589" y="398"/>
                    </a:moveTo>
                    <a:lnTo>
                      <a:pt x="593" y="400"/>
                    </a:lnTo>
                    <a:lnTo>
                      <a:pt x="599" y="404"/>
                    </a:lnTo>
                    <a:lnTo>
                      <a:pt x="599" y="406"/>
                    </a:lnTo>
                    <a:lnTo>
                      <a:pt x="601" y="404"/>
                    </a:lnTo>
                    <a:lnTo>
                      <a:pt x="605" y="406"/>
                    </a:lnTo>
                    <a:lnTo>
                      <a:pt x="606" y="412"/>
                    </a:lnTo>
                    <a:lnTo>
                      <a:pt x="608" y="410"/>
                    </a:lnTo>
                    <a:lnTo>
                      <a:pt x="606" y="414"/>
                    </a:lnTo>
                    <a:lnTo>
                      <a:pt x="606" y="416"/>
                    </a:lnTo>
                    <a:lnTo>
                      <a:pt x="608" y="416"/>
                    </a:lnTo>
                    <a:lnTo>
                      <a:pt x="612" y="425"/>
                    </a:lnTo>
                    <a:lnTo>
                      <a:pt x="608" y="435"/>
                    </a:lnTo>
                    <a:lnTo>
                      <a:pt x="612" y="435"/>
                    </a:lnTo>
                    <a:lnTo>
                      <a:pt x="612" y="442"/>
                    </a:lnTo>
                    <a:lnTo>
                      <a:pt x="616" y="435"/>
                    </a:lnTo>
                    <a:lnTo>
                      <a:pt x="616" y="429"/>
                    </a:lnTo>
                    <a:lnTo>
                      <a:pt x="618" y="427"/>
                    </a:lnTo>
                    <a:lnTo>
                      <a:pt x="622" y="423"/>
                    </a:lnTo>
                    <a:lnTo>
                      <a:pt x="627" y="425"/>
                    </a:lnTo>
                    <a:lnTo>
                      <a:pt x="633" y="433"/>
                    </a:lnTo>
                    <a:lnTo>
                      <a:pt x="635" y="435"/>
                    </a:lnTo>
                    <a:lnTo>
                      <a:pt x="635" y="433"/>
                    </a:lnTo>
                    <a:lnTo>
                      <a:pt x="637" y="435"/>
                    </a:lnTo>
                    <a:lnTo>
                      <a:pt x="635" y="444"/>
                    </a:lnTo>
                    <a:lnTo>
                      <a:pt x="633" y="444"/>
                    </a:lnTo>
                    <a:lnTo>
                      <a:pt x="633" y="446"/>
                    </a:lnTo>
                    <a:lnTo>
                      <a:pt x="637" y="446"/>
                    </a:lnTo>
                    <a:lnTo>
                      <a:pt x="639" y="450"/>
                    </a:lnTo>
                    <a:lnTo>
                      <a:pt x="641" y="448"/>
                    </a:lnTo>
                    <a:lnTo>
                      <a:pt x="645" y="446"/>
                    </a:lnTo>
                    <a:lnTo>
                      <a:pt x="645" y="444"/>
                    </a:lnTo>
                    <a:lnTo>
                      <a:pt x="648" y="444"/>
                    </a:lnTo>
                    <a:lnTo>
                      <a:pt x="648" y="450"/>
                    </a:lnTo>
                    <a:lnTo>
                      <a:pt x="650" y="450"/>
                    </a:lnTo>
                    <a:lnTo>
                      <a:pt x="656" y="456"/>
                    </a:lnTo>
                    <a:lnTo>
                      <a:pt x="652" y="460"/>
                    </a:lnTo>
                    <a:lnTo>
                      <a:pt x="656" y="460"/>
                    </a:lnTo>
                    <a:lnTo>
                      <a:pt x="658" y="463"/>
                    </a:lnTo>
                    <a:lnTo>
                      <a:pt x="660" y="463"/>
                    </a:lnTo>
                    <a:lnTo>
                      <a:pt x="662" y="465"/>
                    </a:lnTo>
                    <a:lnTo>
                      <a:pt x="660" y="467"/>
                    </a:lnTo>
                    <a:lnTo>
                      <a:pt x="660" y="469"/>
                    </a:lnTo>
                    <a:lnTo>
                      <a:pt x="658" y="473"/>
                    </a:lnTo>
                    <a:lnTo>
                      <a:pt x="656" y="477"/>
                    </a:lnTo>
                    <a:lnTo>
                      <a:pt x="658" y="479"/>
                    </a:lnTo>
                    <a:lnTo>
                      <a:pt x="656" y="486"/>
                    </a:lnTo>
                    <a:lnTo>
                      <a:pt x="660" y="486"/>
                    </a:lnTo>
                    <a:lnTo>
                      <a:pt x="662" y="488"/>
                    </a:lnTo>
                    <a:lnTo>
                      <a:pt x="662" y="494"/>
                    </a:lnTo>
                    <a:lnTo>
                      <a:pt x="664" y="496"/>
                    </a:lnTo>
                    <a:lnTo>
                      <a:pt x="664" y="498"/>
                    </a:lnTo>
                    <a:lnTo>
                      <a:pt x="669" y="503"/>
                    </a:lnTo>
                    <a:lnTo>
                      <a:pt x="671" y="505"/>
                    </a:lnTo>
                    <a:lnTo>
                      <a:pt x="667" y="513"/>
                    </a:lnTo>
                    <a:lnTo>
                      <a:pt x="667" y="517"/>
                    </a:lnTo>
                    <a:lnTo>
                      <a:pt x="669" y="519"/>
                    </a:lnTo>
                    <a:lnTo>
                      <a:pt x="666" y="522"/>
                    </a:lnTo>
                    <a:lnTo>
                      <a:pt x="660" y="524"/>
                    </a:lnTo>
                    <a:lnTo>
                      <a:pt x="658" y="524"/>
                    </a:lnTo>
                    <a:lnTo>
                      <a:pt x="656" y="524"/>
                    </a:lnTo>
                    <a:lnTo>
                      <a:pt x="654" y="526"/>
                    </a:lnTo>
                    <a:lnTo>
                      <a:pt x="652" y="524"/>
                    </a:lnTo>
                    <a:lnTo>
                      <a:pt x="648" y="524"/>
                    </a:lnTo>
                    <a:lnTo>
                      <a:pt x="648" y="522"/>
                    </a:lnTo>
                    <a:lnTo>
                      <a:pt x="645" y="521"/>
                    </a:lnTo>
                    <a:lnTo>
                      <a:pt x="645" y="519"/>
                    </a:lnTo>
                    <a:lnTo>
                      <a:pt x="639" y="509"/>
                    </a:lnTo>
                    <a:lnTo>
                      <a:pt x="641" y="509"/>
                    </a:lnTo>
                    <a:lnTo>
                      <a:pt x="641" y="505"/>
                    </a:lnTo>
                    <a:lnTo>
                      <a:pt x="641" y="503"/>
                    </a:lnTo>
                    <a:lnTo>
                      <a:pt x="639" y="501"/>
                    </a:lnTo>
                    <a:lnTo>
                      <a:pt x="637" y="500"/>
                    </a:lnTo>
                    <a:lnTo>
                      <a:pt x="637" y="496"/>
                    </a:lnTo>
                    <a:lnTo>
                      <a:pt x="635" y="496"/>
                    </a:lnTo>
                    <a:lnTo>
                      <a:pt x="635" y="498"/>
                    </a:lnTo>
                    <a:lnTo>
                      <a:pt x="633" y="498"/>
                    </a:lnTo>
                    <a:lnTo>
                      <a:pt x="631" y="494"/>
                    </a:lnTo>
                    <a:lnTo>
                      <a:pt x="631" y="492"/>
                    </a:lnTo>
                    <a:lnTo>
                      <a:pt x="627" y="492"/>
                    </a:lnTo>
                    <a:lnTo>
                      <a:pt x="625" y="490"/>
                    </a:lnTo>
                    <a:lnTo>
                      <a:pt x="622" y="490"/>
                    </a:lnTo>
                    <a:lnTo>
                      <a:pt x="622" y="488"/>
                    </a:lnTo>
                    <a:lnTo>
                      <a:pt x="620" y="488"/>
                    </a:lnTo>
                    <a:lnTo>
                      <a:pt x="618" y="488"/>
                    </a:lnTo>
                    <a:lnTo>
                      <a:pt x="616" y="488"/>
                    </a:lnTo>
                    <a:lnTo>
                      <a:pt x="612" y="492"/>
                    </a:lnTo>
                    <a:lnTo>
                      <a:pt x="608" y="490"/>
                    </a:lnTo>
                    <a:lnTo>
                      <a:pt x="608" y="488"/>
                    </a:lnTo>
                    <a:lnTo>
                      <a:pt x="610" y="484"/>
                    </a:lnTo>
                    <a:lnTo>
                      <a:pt x="612" y="482"/>
                    </a:lnTo>
                    <a:lnTo>
                      <a:pt x="608" y="480"/>
                    </a:lnTo>
                    <a:lnTo>
                      <a:pt x="606" y="482"/>
                    </a:lnTo>
                    <a:lnTo>
                      <a:pt x="605" y="480"/>
                    </a:lnTo>
                    <a:lnTo>
                      <a:pt x="599" y="484"/>
                    </a:lnTo>
                    <a:lnTo>
                      <a:pt x="595" y="486"/>
                    </a:lnTo>
                    <a:lnTo>
                      <a:pt x="591" y="488"/>
                    </a:lnTo>
                    <a:lnTo>
                      <a:pt x="591" y="492"/>
                    </a:lnTo>
                    <a:lnTo>
                      <a:pt x="589" y="492"/>
                    </a:lnTo>
                    <a:lnTo>
                      <a:pt x="587" y="490"/>
                    </a:lnTo>
                    <a:lnTo>
                      <a:pt x="584" y="490"/>
                    </a:lnTo>
                    <a:lnTo>
                      <a:pt x="578" y="484"/>
                    </a:lnTo>
                    <a:lnTo>
                      <a:pt x="574" y="475"/>
                    </a:lnTo>
                    <a:lnTo>
                      <a:pt x="574" y="471"/>
                    </a:lnTo>
                    <a:lnTo>
                      <a:pt x="576" y="467"/>
                    </a:lnTo>
                    <a:lnTo>
                      <a:pt x="578" y="465"/>
                    </a:lnTo>
                    <a:lnTo>
                      <a:pt x="584" y="465"/>
                    </a:lnTo>
                    <a:lnTo>
                      <a:pt x="587" y="469"/>
                    </a:lnTo>
                    <a:lnTo>
                      <a:pt x="593" y="471"/>
                    </a:lnTo>
                    <a:lnTo>
                      <a:pt x="593" y="469"/>
                    </a:lnTo>
                    <a:lnTo>
                      <a:pt x="595" y="471"/>
                    </a:lnTo>
                    <a:lnTo>
                      <a:pt x="597" y="471"/>
                    </a:lnTo>
                    <a:lnTo>
                      <a:pt x="599" y="469"/>
                    </a:lnTo>
                    <a:lnTo>
                      <a:pt x="597" y="465"/>
                    </a:lnTo>
                    <a:lnTo>
                      <a:pt x="599" y="463"/>
                    </a:lnTo>
                    <a:lnTo>
                      <a:pt x="599" y="461"/>
                    </a:lnTo>
                    <a:lnTo>
                      <a:pt x="589" y="461"/>
                    </a:lnTo>
                    <a:lnTo>
                      <a:pt x="591" y="458"/>
                    </a:lnTo>
                    <a:lnTo>
                      <a:pt x="599" y="458"/>
                    </a:lnTo>
                    <a:lnTo>
                      <a:pt x="597" y="454"/>
                    </a:lnTo>
                    <a:lnTo>
                      <a:pt x="601" y="452"/>
                    </a:lnTo>
                    <a:lnTo>
                      <a:pt x="599" y="448"/>
                    </a:lnTo>
                    <a:lnTo>
                      <a:pt x="597" y="452"/>
                    </a:lnTo>
                    <a:lnTo>
                      <a:pt x="595" y="448"/>
                    </a:lnTo>
                    <a:lnTo>
                      <a:pt x="593" y="452"/>
                    </a:lnTo>
                    <a:lnTo>
                      <a:pt x="595" y="446"/>
                    </a:lnTo>
                    <a:lnTo>
                      <a:pt x="593" y="448"/>
                    </a:lnTo>
                    <a:lnTo>
                      <a:pt x="591" y="446"/>
                    </a:lnTo>
                    <a:lnTo>
                      <a:pt x="591" y="448"/>
                    </a:lnTo>
                    <a:lnTo>
                      <a:pt x="589" y="450"/>
                    </a:lnTo>
                    <a:lnTo>
                      <a:pt x="587" y="450"/>
                    </a:lnTo>
                    <a:lnTo>
                      <a:pt x="589" y="448"/>
                    </a:lnTo>
                    <a:lnTo>
                      <a:pt x="585" y="450"/>
                    </a:lnTo>
                    <a:lnTo>
                      <a:pt x="587" y="446"/>
                    </a:lnTo>
                    <a:lnTo>
                      <a:pt x="591" y="442"/>
                    </a:lnTo>
                    <a:lnTo>
                      <a:pt x="589" y="442"/>
                    </a:lnTo>
                    <a:lnTo>
                      <a:pt x="593" y="439"/>
                    </a:lnTo>
                    <a:lnTo>
                      <a:pt x="591" y="437"/>
                    </a:lnTo>
                    <a:lnTo>
                      <a:pt x="587" y="435"/>
                    </a:lnTo>
                    <a:lnTo>
                      <a:pt x="587" y="433"/>
                    </a:lnTo>
                    <a:lnTo>
                      <a:pt x="585" y="433"/>
                    </a:lnTo>
                    <a:lnTo>
                      <a:pt x="585" y="435"/>
                    </a:lnTo>
                    <a:lnTo>
                      <a:pt x="584" y="435"/>
                    </a:lnTo>
                    <a:lnTo>
                      <a:pt x="580" y="442"/>
                    </a:lnTo>
                    <a:lnTo>
                      <a:pt x="578" y="446"/>
                    </a:lnTo>
                    <a:lnTo>
                      <a:pt x="574" y="448"/>
                    </a:lnTo>
                    <a:lnTo>
                      <a:pt x="574" y="442"/>
                    </a:lnTo>
                    <a:lnTo>
                      <a:pt x="576" y="440"/>
                    </a:lnTo>
                    <a:lnTo>
                      <a:pt x="578" y="437"/>
                    </a:lnTo>
                    <a:lnTo>
                      <a:pt x="578" y="427"/>
                    </a:lnTo>
                    <a:lnTo>
                      <a:pt x="574" y="425"/>
                    </a:lnTo>
                    <a:lnTo>
                      <a:pt x="572" y="429"/>
                    </a:lnTo>
                    <a:lnTo>
                      <a:pt x="566" y="429"/>
                    </a:lnTo>
                    <a:lnTo>
                      <a:pt x="564" y="429"/>
                    </a:lnTo>
                    <a:lnTo>
                      <a:pt x="563" y="416"/>
                    </a:lnTo>
                    <a:lnTo>
                      <a:pt x="568" y="406"/>
                    </a:lnTo>
                    <a:lnTo>
                      <a:pt x="566" y="406"/>
                    </a:lnTo>
                    <a:lnTo>
                      <a:pt x="566" y="402"/>
                    </a:lnTo>
                    <a:lnTo>
                      <a:pt x="568" y="404"/>
                    </a:lnTo>
                    <a:lnTo>
                      <a:pt x="572" y="406"/>
                    </a:lnTo>
                    <a:lnTo>
                      <a:pt x="589" y="398"/>
                    </a:lnTo>
                    <a:close/>
                    <a:moveTo>
                      <a:pt x="208" y="1622"/>
                    </a:moveTo>
                    <a:lnTo>
                      <a:pt x="210" y="1622"/>
                    </a:lnTo>
                    <a:lnTo>
                      <a:pt x="212" y="1622"/>
                    </a:lnTo>
                    <a:lnTo>
                      <a:pt x="216" y="1623"/>
                    </a:lnTo>
                    <a:lnTo>
                      <a:pt x="216" y="1625"/>
                    </a:lnTo>
                    <a:lnTo>
                      <a:pt x="217" y="1625"/>
                    </a:lnTo>
                    <a:lnTo>
                      <a:pt x="217" y="1623"/>
                    </a:lnTo>
                    <a:lnTo>
                      <a:pt x="217" y="1625"/>
                    </a:lnTo>
                    <a:lnTo>
                      <a:pt x="221" y="1627"/>
                    </a:lnTo>
                    <a:lnTo>
                      <a:pt x="223" y="1627"/>
                    </a:lnTo>
                    <a:lnTo>
                      <a:pt x="221" y="1627"/>
                    </a:lnTo>
                    <a:lnTo>
                      <a:pt x="221" y="1629"/>
                    </a:lnTo>
                    <a:lnTo>
                      <a:pt x="223" y="1629"/>
                    </a:lnTo>
                    <a:lnTo>
                      <a:pt x="225" y="1629"/>
                    </a:lnTo>
                    <a:lnTo>
                      <a:pt x="227" y="1629"/>
                    </a:lnTo>
                    <a:lnTo>
                      <a:pt x="225" y="1629"/>
                    </a:lnTo>
                    <a:lnTo>
                      <a:pt x="227" y="1629"/>
                    </a:lnTo>
                    <a:lnTo>
                      <a:pt x="231" y="1631"/>
                    </a:lnTo>
                    <a:lnTo>
                      <a:pt x="235" y="1631"/>
                    </a:lnTo>
                    <a:lnTo>
                      <a:pt x="236" y="1631"/>
                    </a:lnTo>
                    <a:lnTo>
                      <a:pt x="238" y="1631"/>
                    </a:lnTo>
                    <a:lnTo>
                      <a:pt x="240" y="1633"/>
                    </a:lnTo>
                    <a:lnTo>
                      <a:pt x="242" y="1633"/>
                    </a:lnTo>
                    <a:lnTo>
                      <a:pt x="244" y="1635"/>
                    </a:lnTo>
                    <a:lnTo>
                      <a:pt x="246" y="1633"/>
                    </a:lnTo>
                    <a:lnTo>
                      <a:pt x="248" y="1635"/>
                    </a:lnTo>
                    <a:lnTo>
                      <a:pt x="248" y="1637"/>
                    </a:lnTo>
                    <a:lnTo>
                      <a:pt x="250" y="1637"/>
                    </a:lnTo>
                    <a:lnTo>
                      <a:pt x="250" y="1639"/>
                    </a:lnTo>
                    <a:lnTo>
                      <a:pt x="250" y="1641"/>
                    </a:lnTo>
                    <a:lnTo>
                      <a:pt x="250" y="1639"/>
                    </a:lnTo>
                    <a:lnTo>
                      <a:pt x="250" y="1641"/>
                    </a:lnTo>
                    <a:lnTo>
                      <a:pt x="252" y="1641"/>
                    </a:lnTo>
                    <a:lnTo>
                      <a:pt x="254" y="1644"/>
                    </a:lnTo>
                    <a:lnTo>
                      <a:pt x="254" y="1646"/>
                    </a:lnTo>
                    <a:lnTo>
                      <a:pt x="257" y="1650"/>
                    </a:lnTo>
                    <a:lnTo>
                      <a:pt x="257" y="1652"/>
                    </a:lnTo>
                    <a:lnTo>
                      <a:pt x="256" y="1650"/>
                    </a:lnTo>
                    <a:lnTo>
                      <a:pt x="257" y="1652"/>
                    </a:lnTo>
                    <a:lnTo>
                      <a:pt x="259" y="1656"/>
                    </a:lnTo>
                    <a:lnTo>
                      <a:pt x="263" y="1658"/>
                    </a:lnTo>
                    <a:lnTo>
                      <a:pt x="265" y="1660"/>
                    </a:lnTo>
                    <a:lnTo>
                      <a:pt x="267" y="1660"/>
                    </a:lnTo>
                    <a:lnTo>
                      <a:pt x="269" y="1660"/>
                    </a:lnTo>
                    <a:lnTo>
                      <a:pt x="269" y="1662"/>
                    </a:lnTo>
                    <a:lnTo>
                      <a:pt x="271" y="1662"/>
                    </a:lnTo>
                    <a:lnTo>
                      <a:pt x="273" y="1662"/>
                    </a:lnTo>
                    <a:lnTo>
                      <a:pt x="273" y="1663"/>
                    </a:lnTo>
                    <a:lnTo>
                      <a:pt x="275" y="1663"/>
                    </a:lnTo>
                    <a:lnTo>
                      <a:pt x="275" y="1665"/>
                    </a:lnTo>
                    <a:lnTo>
                      <a:pt x="275" y="1667"/>
                    </a:lnTo>
                    <a:lnTo>
                      <a:pt x="277" y="1669"/>
                    </a:lnTo>
                    <a:lnTo>
                      <a:pt x="277" y="1671"/>
                    </a:lnTo>
                    <a:lnTo>
                      <a:pt x="278" y="1671"/>
                    </a:lnTo>
                    <a:lnTo>
                      <a:pt x="278" y="1673"/>
                    </a:lnTo>
                    <a:lnTo>
                      <a:pt x="277" y="1673"/>
                    </a:lnTo>
                    <a:lnTo>
                      <a:pt x="278" y="1673"/>
                    </a:lnTo>
                    <a:lnTo>
                      <a:pt x="278" y="1675"/>
                    </a:lnTo>
                    <a:lnTo>
                      <a:pt x="278" y="1677"/>
                    </a:lnTo>
                    <a:lnTo>
                      <a:pt x="278" y="1679"/>
                    </a:lnTo>
                    <a:lnTo>
                      <a:pt x="278" y="1681"/>
                    </a:lnTo>
                    <a:lnTo>
                      <a:pt x="278" y="1679"/>
                    </a:lnTo>
                    <a:lnTo>
                      <a:pt x="280" y="1677"/>
                    </a:lnTo>
                    <a:lnTo>
                      <a:pt x="280" y="1679"/>
                    </a:lnTo>
                    <a:lnTo>
                      <a:pt x="280" y="1677"/>
                    </a:lnTo>
                    <a:lnTo>
                      <a:pt x="280" y="1675"/>
                    </a:lnTo>
                    <a:lnTo>
                      <a:pt x="280" y="1677"/>
                    </a:lnTo>
                    <a:lnTo>
                      <a:pt x="282" y="1677"/>
                    </a:lnTo>
                    <a:lnTo>
                      <a:pt x="282" y="1679"/>
                    </a:lnTo>
                    <a:lnTo>
                      <a:pt x="282" y="1681"/>
                    </a:lnTo>
                    <a:lnTo>
                      <a:pt x="282" y="1683"/>
                    </a:lnTo>
                    <a:lnTo>
                      <a:pt x="280" y="1681"/>
                    </a:lnTo>
                    <a:lnTo>
                      <a:pt x="282" y="1681"/>
                    </a:lnTo>
                    <a:lnTo>
                      <a:pt x="280" y="1681"/>
                    </a:lnTo>
                    <a:lnTo>
                      <a:pt x="282" y="1681"/>
                    </a:lnTo>
                    <a:lnTo>
                      <a:pt x="280" y="1681"/>
                    </a:lnTo>
                    <a:lnTo>
                      <a:pt x="280" y="1683"/>
                    </a:lnTo>
                    <a:lnTo>
                      <a:pt x="278" y="1683"/>
                    </a:lnTo>
                    <a:lnTo>
                      <a:pt x="278" y="1684"/>
                    </a:lnTo>
                    <a:lnTo>
                      <a:pt x="278" y="1683"/>
                    </a:lnTo>
                    <a:lnTo>
                      <a:pt x="277" y="1683"/>
                    </a:lnTo>
                    <a:lnTo>
                      <a:pt x="277" y="1684"/>
                    </a:lnTo>
                    <a:lnTo>
                      <a:pt x="277" y="1683"/>
                    </a:lnTo>
                    <a:lnTo>
                      <a:pt x="275" y="1683"/>
                    </a:lnTo>
                    <a:lnTo>
                      <a:pt x="273" y="1683"/>
                    </a:lnTo>
                    <a:lnTo>
                      <a:pt x="271" y="1681"/>
                    </a:lnTo>
                    <a:lnTo>
                      <a:pt x="267" y="1681"/>
                    </a:lnTo>
                    <a:lnTo>
                      <a:pt x="267" y="1679"/>
                    </a:lnTo>
                    <a:lnTo>
                      <a:pt x="265" y="1679"/>
                    </a:lnTo>
                    <a:lnTo>
                      <a:pt x="265" y="1677"/>
                    </a:lnTo>
                    <a:lnTo>
                      <a:pt x="263" y="1679"/>
                    </a:lnTo>
                    <a:lnTo>
                      <a:pt x="261" y="1679"/>
                    </a:lnTo>
                    <a:lnTo>
                      <a:pt x="259" y="1677"/>
                    </a:lnTo>
                    <a:lnTo>
                      <a:pt x="259" y="1675"/>
                    </a:lnTo>
                    <a:lnTo>
                      <a:pt x="254" y="1675"/>
                    </a:lnTo>
                    <a:lnTo>
                      <a:pt x="254" y="1673"/>
                    </a:lnTo>
                    <a:lnTo>
                      <a:pt x="252" y="1673"/>
                    </a:lnTo>
                    <a:lnTo>
                      <a:pt x="254" y="1671"/>
                    </a:lnTo>
                    <a:lnTo>
                      <a:pt x="256" y="1669"/>
                    </a:lnTo>
                    <a:lnTo>
                      <a:pt x="257" y="1667"/>
                    </a:lnTo>
                    <a:lnTo>
                      <a:pt x="259" y="1663"/>
                    </a:lnTo>
                    <a:lnTo>
                      <a:pt x="259" y="1662"/>
                    </a:lnTo>
                    <a:lnTo>
                      <a:pt x="257" y="1662"/>
                    </a:lnTo>
                    <a:lnTo>
                      <a:pt x="257" y="1663"/>
                    </a:lnTo>
                    <a:lnTo>
                      <a:pt x="259" y="1663"/>
                    </a:lnTo>
                    <a:lnTo>
                      <a:pt x="259" y="1665"/>
                    </a:lnTo>
                    <a:lnTo>
                      <a:pt x="257" y="1665"/>
                    </a:lnTo>
                    <a:lnTo>
                      <a:pt x="257" y="1667"/>
                    </a:lnTo>
                    <a:lnTo>
                      <a:pt x="256" y="1667"/>
                    </a:lnTo>
                    <a:lnTo>
                      <a:pt x="256" y="1669"/>
                    </a:lnTo>
                    <a:lnTo>
                      <a:pt x="256" y="1667"/>
                    </a:lnTo>
                    <a:lnTo>
                      <a:pt x="254" y="1669"/>
                    </a:lnTo>
                    <a:lnTo>
                      <a:pt x="254" y="1667"/>
                    </a:lnTo>
                    <a:lnTo>
                      <a:pt x="256" y="1667"/>
                    </a:lnTo>
                    <a:lnTo>
                      <a:pt x="254" y="1667"/>
                    </a:lnTo>
                    <a:lnTo>
                      <a:pt x="252" y="1667"/>
                    </a:lnTo>
                    <a:lnTo>
                      <a:pt x="254" y="1665"/>
                    </a:lnTo>
                    <a:lnTo>
                      <a:pt x="252" y="1665"/>
                    </a:lnTo>
                    <a:lnTo>
                      <a:pt x="254" y="1665"/>
                    </a:lnTo>
                    <a:lnTo>
                      <a:pt x="254" y="1667"/>
                    </a:lnTo>
                    <a:lnTo>
                      <a:pt x="252" y="1667"/>
                    </a:lnTo>
                    <a:lnTo>
                      <a:pt x="252" y="1669"/>
                    </a:lnTo>
                    <a:lnTo>
                      <a:pt x="252" y="1667"/>
                    </a:lnTo>
                    <a:lnTo>
                      <a:pt x="250" y="1667"/>
                    </a:lnTo>
                    <a:lnTo>
                      <a:pt x="252" y="1667"/>
                    </a:lnTo>
                    <a:lnTo>
                      <a:pt x="250" y="1667"/>
                    </a:lnTo>
                    <a:lnTo>
                      <a:pt x="252" y="1667"/>
                    </a:lnTo>
                    <a:lnTo>
                      <a:pt x="250" y="1667"/>
                    </a:lnTo>
                    <a:lnTo>
                      <a:pt x="248" y="1669"/>
                    </a:lnTo>
                    <a:lnTo>
                      <a:pt x="246" y="1667"/>
                    </a:lnTo>
                    <a:lnTo>
                      <a:pt x="246" y="1669"/>
                    </a:lnTo>
                    <a:lnTo>
                      <a:pt x="248" y="1669"/>
                    </a:lnTo>
                    <a:lnTo>
                      <a:pt x="246" y="1669"/>
                    </a:lnTo>
                    <a:lnTo>
                      <a:pt x="248" y="1669"/>
                    </a:lnTo>
                    <a:lnTo>
                      <a:pt x="246" y="1669"/>
                    </a:lnTo>
                    <a:lnTo>
                      <a:pt x="246" y="1667"/>
                    </a:lnTo>
                    <a:lnTo>
                      <a:pt x="244" y="1667"/>
                    </a:lnTo>
                    <a:lnTo>
                      <a:pt x="244" y="1665"/>
                    </a:lnTo>
                    <a:lnTo>
                      <a:pt x="242" y="1665"/>
                    </a:lnTo>
                    <a:lnTo>
                      <a:pt x="240" y="1663"/>
                    </a:lnTo>
                    <a:lnTo>
                      <a:pt x="242" y="1663"/>
                    </a:lnTo>
                    <a:lnTo>
                      <a:pt x="242" y="1665"/>
                    </a:lnTo>
                    <a:lnTo>
                      <a:pt x="244" y="1665"/>
                    </a:lnTo>
                    <a:lnTo>
                      <a:pt x="244" y="1663"/>
                    </a:lnTo>
                    <a:lnTo>
                      <a:pt x="246" y="1663"/>
                    </a:lnTo>
                    <a:lnTo>
                      <a:pt x="246" y="1662"/>
                    </a:lnTo>
                    <a:lnTo>
                      <a:pt x="244" y="1663"/>
                    </a:lnTo>
                    <a:lnTo>
                      <a:pt x="244" y="1662"/>
                    </a:lnTo>
                    <a:lnTo>
                      <a:pt x="244" y="1663"/>
                    </a:lnTo>
                    <a:lnTo>
                      <a:pt x="242" y="1663"/>
                    </a:lnTo>
                    <a:lnTo>
                      <a:pt x="244" y="1663"/>
                    </a:lnTo>
                    <a:lnTo>
                      <a:pt x="244" y="1662"/>
                    </a:lnTo>
                    <a:lnTo>
                      <a:pt x="242" y="1662"/>
                    </a:lnTo>
                    <a:lnTo>
                      <a:pt x="242" y="1660"/>
                    </a:lnTo>
                    <a:lnTo>
                      <a:pt x="244" y="1658"/>
                    </a:lnTo>
                    <a:lnTo>
                      <a:pt x="242" y="1660"/>
                    </a:lnTo>
                    <a:lnTo>
                      <a:pt x="242" y="1662"/>
                    </a:lnTo>
                    <a:lnTo>
                      <a:pt x="240" y="1662"/>
                    </a:lnTo>
                    <a:lnTo>
                      <a:pt x="238" y="1660"/>
                    </a:lnTo>
                    <a:lnTo>
                      <a:pt x="240" y="1660"/>
                    </a:lnTo>
                    <a:lnTo>
                      <a:pt x="240" y="1658"/>
                    </a:lnTo>
                    <a:lnTo>
                      <a:pt x="242" y="1658"/>
                    </a:lnTo>
                    <a:lnTo>
                      <a:pt x="240" y="1658"/>
                    </a:lnTo>
                    <a:lnTo>
                      <a:pt x="240" y="1660"/>
                    </a:lnTo>
                    <a:lnTo>
                      <a:pt x="238" y="1660"/>
                    </a:lnTo>
                    <a:lnTo>
                      <a:pt x="238" y="1658"/>
                    </a:lnTo>
                    <a:lnTo>
                      <a:pt x="238" y="1656"/>
                    </a:lnTo>
                    <a:lnTo>
                      <a:pt x="238" y="1658"/>
                    </a:lnTo>
                    <a:lnTo>
                      <a:pt x="236" y="1658"/>
                    </a:lnTo>
                    <a:lnTo>
                      <a:pt x="236" y="1656"/>
                    </a:lnTo>
                    <a:lnTo>
                      <a:pt x="236" y="1658"/>
                    </a:lnTo>
                    <a:lnTo>
                      <a:pt x="235" y="1654"/>
                    </a:lnTo>
                    <a:lnTo>
                      <a:pt x="235" y="1656"/>
                    </a:lnTo>
                    <a:lnTo>
                      <a:pt x="235" y="1658"/>
                    </a:lnTo>
                    <a:lnTo>
                      <a:pt x="235" y="1656"/>
                    </a:lnTo>
                    <a:lnTo>
                      <a:pt x="236" y="1660"/>
                    </a:lnTo>
                    <a:lnTo>
                      <a:pt x="235" y="1658"/>
                    </a:lnTo>
                    <a:lnTo>
                      <a:pt x="235" y="1660"/>
                    </a:lnTo>
                    <a:lnTo>
                      <a:pt x="235" y="1658"/>
                    </a:lnTo>
                    <a:lnTo>
                      <a:pt x="233" y="1658"/>
                    </a:lnTo>
                    <a:lnTo>
                      <a:pt x="233" y="1656"/>
                    </a:lnTo>
                    <a:lnTo>
                      <a:pt x="233" y="1658"/>
                    </a:lnTo>
                    <a:lnTo>
                      <a:pt x="231" y="1658"/>
                    </a:lnTo>
                    <a:lnTo>
                      <a:pt x="231" y="1656"/>
                    </a:lnTo>
                    <a:lnTo>
                      <a:pt x="231" y="1654"/>
                    </a:lnTo>
                    <a:lnTo>
                      <a:pt x="231" y="1652"/>
                    </a:lnTo>
                    <a:lnTo>
                      <a:pt x="233" y="1652"/>
                    </a:lnTo>
                    <a:lnTo>
                      <a:pt x="235" y="1652"/>
                    </a:lnTo>
                    <a:lnTo>
                      <a:pt x="238" y="1652"/>
                    </a:lnTo>
                    <a:lnTo>
                      <a:pt x="238" y="1650"/>
                    </a:lnTo>
                    <a:lnTo>
                      <a:pt x="235" y="1652"/>
                    </a:lnTo>
                    <a:lnTo>
                      <a:pt x="233" y="1652"/>
                    </a:lnTo>
                    <a:lnTo>
                      <a:pt x="233" y="1650"/>
                    </a:lnTo>
                    <a:lnTo>
                      <a:pt x="233" y="1648"/>
                    </a:lnTo>
                    <a:lnTo>
                      <a:pt x="233" y="1650"/>
                    </a:lnTo>
                    <a:lnTo>
                      <a:pt x="231" y="1648"/>
                    </a:lnTo>
                    <a:lnTo>
                      <a:pt x="233" y="1650"/>
                    </a:lnTo>
                    <a:lnTo>
                      <a:pt x="231" y="1650"/>
                    </a:lnTo>
                    <a:lnTo>
                      <a:pt x="229" y="1648"/>
                    </a:lnTo>
                    <a:lnTo>
                      <a:pt x="229" y="1644"/>
                    </a:lnTo>
                    <a:lnTo>
                      <a:pt x="229" y="1646"/>
                    </a:lnTo>
                    <a:lnTo>
                      <a:pt x="227" y="1646"/>
                    </a:lnTo>
                    <a:lnTo>
                      <a:pt x="227" y="1644"/>
                    </a:lnTo>
                    <a:lnTo>
                      <a:pt x="227" y="1643"/>
                    </a:lnTo>
                    <a:lnTo>
                      <a:pt x="225" y="1644"/>
                    </a:lnTo>
                    <a:lnTo>
                      <a:pt x="227" y="1644"/>
                    </a:lnTo>
                    <a:lnTo>
                      <a:pt x="227" y="1646"/>
                    </a:lnTo>
                    <a:lnTo>
                      <a:pt x="225" y="1646"/>
                    </a:lnTo>
                    <a:lnTo>
                      <a:pt x="225" y="1644"/>
                    </a:lnTo>
                    <a:lnTo>
                      <a:pt x="225" y="1643"/>
                    </a:lnTo>
                    <a:lnTo>
                      <a:pt x="225" y="1646"/>
                    </a:lnTo>
                    <a:lnTo>
                      <a:pt x="223" y="1646"/>
                    </a:lnTo>
                    <a:lnTo>
                      <a:pt x="223" y="1644"/>
                    </a:lnTo>
                    <a:lnTo>
                      <a:pt x="223" y="1646"/>
                    </a:lnTo>
                    <a:lnTo>
                      <a:pt x="221" y="1646"/>
                    </a:lnTo>
                    <a:lnTo>
                      <a:pt x="219" y="1644"/>
                    </a:lnTo>
                    <a:lnTo>
                      <a:pt x="221" y="1643"/>
                    </a:lnTo>
                    <a:lnTo>
                      <a:pt x="223" y="1643"/>
                    </a:lnTo>
                    <a:lnTo>
                      <a:pt x="221" y="1643"/>
                    </a:lnTo>
                    <a:lnTo>
                      <a:pt x="221" y="1641"/>
                    </a:lnTo>
                    <a:lnTo>
                      <a:pt x="223" y="1641"/>
                    </a:lnTo>
                    <a:lnTo>
                      <a:pt x="221" y="1641"/>
                    </a:lnTo>
                    <a:lnTo>
                      <a:pt x="223" y="1641"/>
                    </a:lnTo>
                    <a:lnTo>
                      <a:pt x="223" y="1639"/>
                    </a:lnTo>
                    <a:lnTo>
                      <a:pt x="221" y="1641"/>
                    </a:lnTo>
                    <a:lnTo>
                      <a:pt x="219" y="1641"/>
                    </a:lnTo>
                    <a:lnTo>
                      <a:pt x="219" y="1639"/>
                    </a:lnTo>
                    <a:lnTo>
                      <a:pt x="219" y="1641"/>
                    </a:lnTo>
                    <a:lnTo>
                      <a:pt x="219" y="1639"/>
                    </a:lnTo>
                    <a:lnTo>
                      <a:pt x="219" y="1641"/>
                    </a:lnTo>
                    <a:lnTo>
                      <a:pt x="217" y="1643"/>
                    </a:lnTo>
                    <a:lnTo>
                      <a:pt x="216" y="1641"/>
                    </a:lnTo>
                    <a:lnTo>
                      <a:pt x="217" y="1639"/>
                    </a:lnTo>
                    <a:lnTo>
                      <a:pt x="216" y="1641"/>
                    </a:lnTo>
                    <a:lnTo>
                      <a:pt x="217" y="1639"/>
                    </a:lnTo>
                    <a:lnTo>
                      <a:pt x="216" y="1639"/>
                    </a:lnTo>
                    <a:lnTo>
                      <a:pt x="216" y="1641"/>
                    </a:lnTo>
                    <a:lnTo>
                      <a:pt x="214" y="1641"/>
                    </a:lnTo>
                    <a:lnTo>
                      <a:pt x="214" y="1639"/>
                    </a:lnTo>
                    <a:lnTo>
                      <a:pt x="214" y="1641"/>
                    </a:lnTo>
                    <a:lnTo>
                      <a:pt x="212" y="1641"/>
                    </a:lnTo>
                    <a:lnTo>
                      <a:pt x="210" y="1641"/>
                    </a:lnTo>
                    <a:lnTo>
                      <a:pt x="210" y="1639"/>
                    </a:lnTo>
                    <a:lnTo>
                      <a:pt x="212" y="1639"/>
                    </a:lnTo>
                    <a:lnTo>
                      <a:pt x="212" y="1637"/>
                    </a:lnTo>
                    <a:lnTo>
                      <a:pt x="210" y="1635"/>
                    </a:lnTo>
                    <a:lnTo>
                      <a:pt x="212" y="1635"/>
                    </a:lnTo>
                    <a:lnTo>
                      <a:pt x="210" y="1635"/>
                    </a:lnTo>
                    <a:lnTo>
                      <a:pt x="208" y="1635"/>
                    </a:lnTo>
                    <a:lnTo>
                      <a:pt x="208" y="1633"/>
                    </a:lnTo>
                    <a:lnTo>
                      <a:pt x="210" y="1633"/>
                    </a:lnTo>
                    <a:lnTo>
                      <a:pt x="208" y="1633"/>
                    </a:lnTo>
                    <a:lnTo>
                      <a:pt x="210" y="1631"/>
                    </a:lnTo>
                    <a:lnTo>
                      <a:pt x="212" y="1631"/>
                    </a:lnTo>
                    <a:lnTo>
                      <a:pt x="214" y="1631"/>
                    </a:lnTo>
                    <a:lnTo>
                      <a:pt x="216" y="1633"/>
                    </a:lnTo>
                    <a:lnTo>
                      <a:pt x="217" y="1633"/>
                    </a:lnTo>
                    <a:lnTo>
                      <a:pt x="217" y="1635"/>
                    </a:lnTo>
                    <a:lnTo>
                      <a:pt x="217" y="1633"/>
                    </a:lnTo>
                    <a:lnTo>
                      <a:pt x="216" y="1631"/>
                    </a:lnTo>
                    <a:lnTo>
                      <a:pt x="214" y="1629"/>
                    </a:lnTo>
                    <a:lnTo>
                      <a:pt x="216" y="1629"/>
                    </a:lnTo>
                    <a:lnTo>
                      <a:pt x="214" y="1629"/>
                    </a:lnTo>
                    <a:lnTo>
                      <a:pt x="212" y="1631"/>
                    </a:lnTo>
                    <a:lnTo>
                      <a:pt x="210" y="1631"/>
                    </a:lnTo>
                    <a:lnTo>
                      <a:pt x="208" y="1631"/>
                    </a:lnTo>
                    <a:lnTo>
                      <a:pt x="208" y="1629"/>
                    </a:lnTo>
                    <a:lnTo>
                      <a:pt x="208" y="1631"/>
                    </a:lnTo>
                    <a:lnTo>
                      <a:pt x="206" y="1631"/>
                    </a:lnTo>
                    <a:lnTo>
                      <a:pt x="208" y="1631"/>
                    </a:lnTo>
                    <a:lnTo>
                      <a:pt x="206" y="1631"/>
                    </a:lnTo>
                    <a:lnTo>
                      <a:pt x="204" y="1629"/>
                    </a:lnTo>
                    <a:lnTo>
                      <a:pt x="202" y="1627"/>
                    </a:lnTo>
                    <a:lnTo>
                      <a:pt x="204" y="1625"/>
                    </a:lnTo>
                    <a:lnTo>
                      <a:pt x="202" y="1627"/>
                    </a:lnTo>
                    <a:lnTo>
                      <a:pt x="202" y="1625"/>
                    </a:lnTo>
                    <a:lnTo>
                      <a:pt x="202" y="1623"/>
                    </a:lnTo>
                    <a:lnTo>
                      <a:pt x="202" y="1625"/>
                    </a:lnTo>
                    <a:lnTo>
                      <a:pt x="202" y="1623"/>
                    </a:lnTo>
                    <a:lnTo>
                      <a:pt x="200" y="1623"/>
                    </a:lnTo>
                    <a:lnTo>
                      <a:pt x="202" y="1623"/>
                    </a:lnTo>
                    <a:lnTo>
                      <a:pt x="204" y="1623"/>
                    </a:lnTo>
                    <a:lnTo>
                      <a:pt x="204" y="1622"/>
                    </a:lnTo>
                    <a:lnTo>
                      <a:pt x="206" y="1622"/>
                    </a:lnTo>
                    <a:lnTo>
                      <a:pt x="208" y="1622"/>
                    </a:lnTo>
                    <a:close/>
                    <a:moveTo>
                      <a:pt x="963" y="788"/>
                    </a:moveTo>
                    <a:lnTo>
                      <a:pt x="967" y="790"/>
                    </a:lnTo>
                    <a:lnTo>
                      <a:pt x="971" y="793"/>
                    </a:lnTo>
                    <a:lnTo>
                      <a:pt x="971" y="792"/>
                    </a:lnTo>
                    <a:lnTo>
                      <a:pt x="973" y="792"/>
                    </a:lnTo>
                    <a:lnTo>
                      <a:pt x="978" y="795"/>
                    </a:lnTo>
                    <a:lnTo>
                      <a:pt x="986" y="797"/>
                    </a:lnTo>
                    <a:lnTo>
                      <a:pt x="988" y="795"/>
                    </a:lnTo>
                    <a:lnTo>
                      <a:pt x="1001" y="793"/>
                    </a:lnTo>
                    <a:lnTo>
                      <a:pt x="1005" y="797"/>
                    </a:lnTo>
                    <a:lnTo>
                      <a:pt x="1016" y="803"/>
                    </a:lnTo>
                    <a:lnTo>
                      <a:pt x="1016" y="805"/>
                    </a:lnTo>
                    <a:lnTo>
                      <a:pt x="1016" y="807"/>
                    </a:lnTo>
                    <a:lnTo>
                      <a:pt x="1018" y="809"/>
                    </a:lnTo>
                    <a:lnTo>
                      <a:pt x="1018" y="811"/>
                    </a:lnTo>
                    <a:lnTo>
                      <a:pt x="1018" y="812"/>
                    </a:lnTo>
                    <a:lnTo>
                      <a:pt x="1020" y="814"/>
                    </a:lnTo>
                    <a:lnTo>
                      <a:pt x="1024" y="812"/>
                    </a:lnTo>
                    <a:lnTo>
                      <a:pt x="1024" y="814"/>
                    </a:lnTo>
                    <a:lnTo>
                      <a:pt x="1024" y="816"/>
                    </a:lnTo>
                    <a:lnTo>
                      <a:pt x="1026" y="820"/>
                    </a:lnTo>
                    <a:lnTo>
                      <a:pt x="1026" y="822"/>
                    </a:lnTo>
                    <a:lnTo>
                      <a:pt x="1026" y="824"/>
                    </a:lnTo>
                    <a:lnTo>
                      <a:pt x="1032" y="826"/>
                    </a:lnTo>
                    <a:lnTo>
                      <a:pt x="1030" y="828"/>
                    </a:lnTo>
                    <a:lnTo>
                      <a:pt x="1030" y="830"/>
                    </a:lnTo>
                    <a:lnTo>
                      <a:pt x="1032" y="832"/>
                    </a:lnTo>
                    <a:lnTo>
                      <a:pt x="1030" y="832"/>
                    </a:lnTo>
                    <a:lnTo>
                      <a:pt x="1030" y="833"/>
                    </a:lnTo>
                    <a:lnTo>
                      <a:pt x="1034" y="835"/>
                    </a:lnTo>
                    <a:lnTo>
                      <a:pt x="1034" y="837"/>
                    </a:lnTo>
                    <a:lnTo>
                      <a:pt x="1034" y="839"/>
                    </a:lnTo>
                    <a:lnTo>
                      <a:pt x="1032" y="841"/>
                    </a:lnTo>
                    <a:lnTo>
                      <a:pt x="1028" y="841"/>
                    </a:lnTo>
                    <a:lnTo>
                      <a:pt x="1024" y="839"/>
                    </a:lnTo>
                    <a:lnTo>
                      <a:pt x="1014" y="839"/>
                    </a:lnTo>
                    <a:lnTo>
                      <a:pt x="1009" y="837"/>
                    </a:lnTo>
                    <a:lnTo>
                      <a:pt x="1001" y="837"/>
                    </a:lnTo>
                    <a:lnTo>
                      <a:pt x="999" y="837"/>
                    </a:lnTo>
                    <a:lnTo>
                      <a:pt x="994" y="839"/>
                    </a:lnTo>
                    <a:lnTo>
                      <a:pt x="986" y="845"/>
                    </a:lnTo>
                    <a:lnTo>
                      <a:pt x="982" y="845"/>
                    </a:lnTo>
                    <a:lnTo>
                      <a:pt x="978" y="845"/>
                    </a:lnTo>
                    <a:lnTo>
                      <a:pt x="974" y="841"/>
                    </a:lnTo>
                    <a:lnTo>
                      <a:pt x="971" y="839"/>
                    </a:lnTo>
                    <a:lnTo>
                      <a:pt x="971" y="835"/>
                    </a:lnTo>
                    <a:lnTo>
                      <a:pt x="969" y="833"/>
                    </a:lnTo>
                    <a:lnTo>
                      <a:pt x="969" y="830"/>
                    </a:lnTo>
                    <a:lnTo>
                      <a:pt x="969" y="824"/>
                    </a:lnTo>
                    <a:lnTo>
                      <a:pt x="969" y="822"/>
                    </a:lnTo>
                    <a:lnTo>
                      <a:pt x="969" y="818"/>
                    </a:lnTo>
                    <a:lnTo>
                      <a:pt x="965" y="818"/>
                    </a:lnTo>
                    <a:lnTo>
                      <a:pt x="961" y="816"/>
                    </a:lnTo>
                    <a:lnTo>
                      <a:pt x="959" y="816"/>
                    </a:lnTo>
                    <a:lnTo>
                      <a:pt x="957" y="812"/>
                    </a:lnTo>
                    <a:lnTo>
                      <a:pt x="957" y="811"/>
                    </a:lnTo>
                    <a:lnTo>
                      <a:pt x="957" y="809"/>
                    </a:lnTo>
                    <a:lnTo>
                      <a:pt x="957" y="805"/>
                    </a:lnTo>
                    <a:lnTo>
                      <a:pt x="959" y="803"/>
                    </a:lnTo>
                    <a:lnTo>
                      <a:pt x="959" y="805"/>
                    </a:lnTo>
                    <a:lnTo>
                      <a:pt x="957" y="801"/>
                    </a:lnTo>
                    <a:lnTo>
                      <a:pt x="957" y="799"/>
                    </a:lnTo>
                    <a:lnTo>
                      <a:pt x="957" y="797"/>
                    </a:lnTo>
                    <a:lnTo>
                      <a:pt x="959" y="793"/>
                    </a:lnTo>
                    <a:lnTo>
                      <a:pt x="959" y="790"/>
                    </a:lnTo>
                    <a:lnTo>
                      <a:pt x="957" y="790"/>
                    </a:lnTo>
                    <a:lnTo>
                      <a:pt x="963" y="788"/>
                    </a:lnTo>
                    <a:close/>
                    <a:moveTo>
                      <a:pt x="687" y="986"/>
                    </a:moveTo>
                    <a:lnTo>
                      <a:pt x="688" y="988"/>
                    </a:lnTo>
                    <a:lnTo>
                      <a:pt x="690" y="990"/>
                    </a:lnTo>
                    <a:lnTo>
                      <a:pt x="690" y="988"/>
                    </a:lnTo>
                    <a:lnTo>
                      <a:pt x="690" y="990"/>
                    </a:lnTo>
                    <a:lnTo>
                      <a:pt x="692" y="992"/>
                    </a:lnTo>
                    <a:lnTo>
                      <a:pt x="694" y="992"/>
                    </a:lnTo>
                    <a:lnTo>
                      <a:pt x="694" y="994"/>
                    </a:lnTo>
                    <a:lnTo>
                      <a:pt x="694" y="996"/>
                    </a:lnTo>
                    <a:lnTo>
                      <a:pt x="696" y="996"/>
                    </a:lnTo>
                    <a:lnTo>
                      <a:pt x="694" y="998"/>
                    </a:lnTo>
                    <a:lnTo>
                      <a:pt x="694" y="996"/>
                    </a:lnTo>
                    <a:lnTo>
                      <a:pt x="692" y="998"/>
                    </a:lnTo>
                    <a:lnTo>
                      <a:pt x="694" y="998"/>
                    </a:lnTo>
                    <a:lnTo>
                      <a:pt x="694" y="999"/>
                    </a:lnTo>
                    <a:lnTo>
                      <a:pt x="694" y="1001"/>
                    </a:lnTo>
                    <a:lnTo>
                      <a:pt x="696" y="996"/>
                    </a:lnTo>
                    <a:lnTo>
                      <a:pt x="698" y="998"/>
                    </a:lnTo>
                    <a:lnTo>
                      <a:pt x="698" y="996"/>
                    </a:lnTo>
                    <a:lnTo>
                      <a:pt x="700" y="999"/>
                    </a:lnTo>
                    <a:lnTo>
                      <a:pt x="700" y="1001"/>
                    </a:lnTo>
                    <a:lnTo>
                      <a:pt x="700" y="1003"/>
                    </a:lnTo>
                    <a:lnTo>
                      <a:pt x="704" y="1005"/>
                    </a:lnTo>
                    <a:lnTo>
                      <a:pt x="706" y="1005"/>
                    </a:lnTo>
                    <a:lnTo>
                      <a:pt x="707" y="1007"/>
                    </a:lnTo>
                    <a:lnTo>
                      <a:pt x="709" y="1011"/>
                    </a:lnTo>
                    <a:lnTo>
                      <a:pt x="713" y="1013"/>
                    </a:lnTo>
                    <a:lnTo>
                      <a:pt x="715" y="1015"/>
                    </a:lnTo>
                    <a:lnTo>
                      <a:pt x="713" y="1017"/>
                    </a:lnTo>
                    <a:lnTo>
                      <a:pt x="715" y="1019"/>
                    </a:lnTo>
                    <a:lnTo>
                      <a:pt x="713" y="1019"/>
                    </a:lnTo>
                    <a:lnTo>
                      <a:pt x="713" y="1020"/>
                    </a:lnTo>
                    <a:lnTo>
                      <a:pt x="715" y="1020"/>
                    </a:lnTo>
                    <a:lnTo>
                      <a:pt x="713" y="1022"/>
                    </a:lnTo>
                    <a:lnTo>
                      <a:pt x="715" y="1022"/>
                    </a:lnTo>
                    <a:lnTo>
                      <a:pt x="713" y="1024"/>
                    </a:lnTo>
                    <a:lnTo>
                      <a:pt x="713" y="1022"/>
                    </a:lnTo>
                    <a:lnTo>
                      <a:pt x="715" y="1024"/>
                    </a:lnTo>
                    <a:lnTo>
                      <a:pt x="713" y="1024"/>
                    </a:lnTo>
                    <a:lnTo>
                      <a:pt x="715" y="1024"/>
                    </a:lnTo>
                    <a:lnTo>
                      <a:pt x="713" y="1026"/>
                    </a:lnTo>
                    <a:lnTo>
                      <a:pt x="713" y="1024"/>
                    </a:lnTo>
                    <a:lnTo>
                      <a:pt x="715" y="1026"/>
                    </a:lnTo>
                    <a:lnTo>
                      <a:pt x="715" y="1024"/>
                    </a:lnTo>
                    <a:lnTo>
                      <a:pt x="715" y="1022"/>
                    </a:lnTo>
                    <a:lnTo>
                      <a:pt x="715" y="1020"/>
                    </a:lnTo>
                    <a:lnTo>
                      <a:pt x="715" y="1022"/>
                    </a:lnTo>
                    <a:lnTo>
                      <a:pt x="715" y="1019"/>
                    </a:lnTo>
                    <a:lnTo>
                      <a:pt x="717" y="1019"/>
                    </a:lnTo>
                    <a:lnTo>
                      <a:pt x="715" y="1017"/>
                    </a:lnTo>
                    <a:lnTo>
                      <a:pt x="717" y="1017"/>
                    </a:lnTo>
                    <a:lnTo>
                      <a:pt x="717" y="1019"/>
                    </a:lnTo>
                    <a:lnTo>
                      <a:pt x="719" y="1020"/>
                    </a:lnTo>
                    <a:lnTo>
                      <a:pt x="717" y="1022"/>
                    </a:lnTo>
                    <a:lnTo>
                      <a:pt x="719" y="1022"/>
                    </a:lnTo>
                    <a:lnTo>
                      <a:pt x="717" y="1024"/>
                    </a:lnTo>
                    <a:lnTo>
                      <a:pt x="719" y="1024"/>
                    </a:lnTo>
                    <a:lnTo>
                      <a:pt x="717" y="1026"/>
                    </a:lnTo>
                    <a:lnTo>
                      <a:pt x="719" y="1026"/>
                    </a:lnTo>
                    <a:lnTo>
                      <a:pt x="719" y="1028"/>
                    </a:lnTo>
                    <a:lnTo>
                      <a:pt x="719" y="1032"/>
                    </a:lnTo>
                    <a:lnTo>
                      <a:pt x="721" y="1032"/>
                    </a:lnTo>
                    <a:lnTo>
                      <a:pt x="721" y="1034"/>
                    </a:lnTo>
                    <a:lnTo>
                      <a:pt x="721" y="1032"/>
                    </a:lnTo>
                    <a:lnTo>
                      <a:pt x="723" y="1034"/>
                    </a:lnTo>
                    <a:lnTo>
                      <a:pt x="723" y="1036"/>
                    </a:lnTo>
                    <a:lnTo>
                      <a:pt x="725" y="1034"/>
                    </a:lnTo>
                    <a:lnTo>
                      <a:pt x="728" y="1032"/>
                    </a:lnTo>
                    <a:lnTo>
                      <a:pt x="730" y="1034"/>
                    </a:lnTo>
                    <a:lnTo>
                      <a:pt x="728" y="1034"/>
                    </a:lnTo>
                    <a:lnTo>
                      <a:pt x="728" y="1036"/>
                    </a:lnTo>
                    <a:lnTo>
                      <a:pt x="727" y="1038"/>
                    </a:lnTo>
                    <a:lnTo>
                      <a:pt x="725" y="1041"/>
                    </a:lnTo>
                    <a:lnTo>
                      <a:pt x="725" y="1040"/>
                    </a:lnTo>
                    <a:lnTo>
                      <a:pt x="725" y="1038"/>
                    </a:lnTo>
                    <a:lnTo>
                      <a:pt x="723" y="1038"/>
                    </a:lnTo>
                    <a:lnTo>
                      <a:pt x="723" y="1040"/>
                    </a:lnTo>
                    <a:lnTo>
                      <a:pt x="721" y="1040"/>
                    </a:lnTo>
                    <a:lnTo>
                      <a:pt x="721" y="1038"/>
                    </a:lnTo>
                    <a:lnTo>
                      <a:pt x="719" y="1045"/>
                    </a:lnTo>
                    <a:lnTo>
                      <a:pt x="719" y="1043"/>
                    </a:lnTo>
                    <a:lnTo>
                      <a:pt x="719" y="1045"/>
                    </a:lnTo>
                    <a:lnTo>
                      <a:pt x="717" y="1043"/>
                    </a:lnTo>
                    <a:lnTo>
                      <a:pt x="717" y="1045"/>
                    </a:lnTo>
                    <a:lnTo>
                      <a:pt x="713" y="1049"/>
                    </a:lnTo>
                    <a:lnTo>
                      <a:pt x="713" y="1051"/>
                    </a:lnTo>
                    <a:lnTo>
                      <a:pt x="711" y="1051"/>
                    </a:lnTo>
                    <a:lnTo>
                      <a:pt x="709" y="1051"/>
                    </a:lnTo>
                    <a:lnTo>
                      <a:pt x="707" y="1051"/>
                    </a:lnTo>
                    <a:lnTo>
                      <a:pt x="702" y="1047"/>
                    </a:lnTo>
                    <a:lnTo>
                      <a:pt x="700" y="1045"/>
                    </a:lnTo>
                    <a:lnTo>
                      <a:pt x="700" y="1047"/>
                    </a:lnTo>
                    <a:lnTo>
                      <a:pt x="700" y="1049"/>
                    </a:lnTo>
                    <a:lnTo>
                      <a:pt x="696" y="1047"/>
                    </a:lnTo>
                    <a:lnTo>
                      <a:pt x="694" y="1047"/>
                    </a:lnTo>
                    <a:lnTo>
                      <a:pt x="692" y="1045"/>
                    </a:lnTo>
                    <a:lnTo>
                      <a:pt x="688" y="1041"/>
                    </a:lnTo>
                    <a:lnTo>
                      <a:pt x="688" y="1043"/>
                    </a:lnTo>
                    <a:lnTo>
                      <a:pt x="685" y="1041"/>
                    </a:lnTo>
                    <a:lnTo>
                      <a:pt x="683" y="1040"/>
                    </a:lnTo>
                    <a:lnTo>
                      <a:pt x="681" y="1038"/>
                    </a:lnTo>
                    <a:lnTo>
                      <a:pt x="681" y="1036"/>
                    </a:lnTo>
                    <a:lnTo>
                      <a:pt x="681" y="1038"/>
                    </a:lnTo>
                    <a:lnTo>
                      <a:pt x="681" y="1036"/>
                    </a:lnTo>
                    <a:lnTo>
                      <a:pt x="681" y="1034"/>
                    </a:lnTo>
                    <a:lnTo>
                      <a:pt x="679" y="1034"/>
                    </a:lnTo>
                    <a:lnTo>
                      <a:pt x="679" y="1038"/>
                    </a:lnTo>
                    <a:lnTo>
                      <a:pt x="677" y="1040"/>
                    </a:lnTo>
                    <a:lnTo>
                      <a:pt x="677" y="1038"/>
                    </a:lnTo>
                    <a:lnTo>
                      <a:pt x="675" y="1036"/>
                    </a:lnTo>
                    <a:lnTo>
                      <a:pt x="675" y="1038"/>
                    </a:lnTo>
                    <a:lnTo>
                      <a:pt x="675" y="1036"/>
                    </a:lnTo>
                    <a:lnTo>
                      <a:pt x="675" y="1038"/>
                    </a:lnTo>
                    <a:lnTo>
                      <a:pt x="673" y="1036"/>
                    </a:lnTo>
                    <a:lnTo>
                      <a:pt x="671" y="1034"/>
                    </a:lnTo>
                    <a:lnTo>
                      <a:pt x="673" y="1032"/>
                    </a:lnTo>
                    <a:lnTo>
                      <a:pt x="671" y="1032"/>
                    </a:lnTo>
                    <a:lnTo>
                      <a:pt x="673" y="1032"/>
                    </a:lnTo>
                    <a:lnTo>
                      <a:pt x="673" y="1030"/>
                    </a:lnTo>
                    <a:lnTo>
                      <a:pt x="671" y="1030"/>
                    </a:lnTo>
                    <a:lnTo>
                      <a:pt x="669" y="1030"/>
                    </a:lnTo>
                    <a:lnTo>
                      <a:pt x="669" y="1032"/>
                    </a:lnTo>
                    <a:lnTo>
                      <a:pt x="667" y="1032"/>
                    </a:lnTo>
                    <a:lnTo>
                      <a:pt x="669" y="1034"/>
                    </a:lnTo>
                    <a:lnTo>
                      <a:pt x="667" y="1034"/>
                    </a:lnTo>
                    <a:lnTo>
                      <a:pt x="666" y="1034"/>
                    </a:lnTo>
                    <a:lnTo>
                      <a:pt x="666" y="1036"/>
                    </a:lnTo>
                    <a:lnTo>
                      <a:pt x="666" y="1034"/>
                    </a:lnTo>
                    <a:lnTo>
                      <a:pt x="662" y="1032"/>
                    </a:lnTo>
                    <a:lnTo>
                      <a:pt x="662" y="1028"/>
                    </a:lnTo>
                    <a:lnTo>
                      <a:pt x="660" y="1026"/>
                    </a:lnTo>
                    <a:lnTo>
                      <a:pt x="662" y="1024"/>
                    </a:lnTo>
                    <a:lnTo>
                      <a:pt x="662" y="1026"/>
                    </a:lnTo>
                    <a:lnTo>
                      <a:pt x="662" y="1024"/>
                    </a:lnTo>
                    <a:lnTo>
                      <a:pt x="662" y="1022"/>
                    </a:lnTo>
                    <a:lnTo>
                      <a:pt x="662" y="1020"/>
                    </a:lnTo>
                    <a:lnTo>
                      <a:pt x="664" y="1022"/>
                    </a:lnTo>
                    <a:lnTo>
                      <a:pt x="666" y="1020"/>
                    </a:lnTo>
                    <a:lnTo>
                      <a:pt x="666" y="1022"/>
                    </a:lnTo>
                    <a:lnTo>
                      <a:pt x="666" y="1020"/>
                    </a:lnTo>
                    <a:lnTo>
                      <a:pt x="667" y="1022"/>
                    </a:lnTo>
                    <a:lnTo>
                      <a:pt x="667" y="1020"/>
                    </a:lnTo>
                    <a:lnTo>
                      <a:pt x="669" y="1022"/>
                    </a:lnTo>
                    <a:lnTo>
                      <a:pt x="669" y="1020"/>
                    </a:lnTo>
                    <a:lnTo>
                      <a:pt x="671" y="1019"/>
                    </a:lnTo>
                    <a:lnTo>
                      <a:pt x="671" y="1020"/>
                    </a:lnTo>
                    <a:lnTo>
                      <a:pt x="673" y="1019"/>
                    </a:lnTo>
                    <a:lnTo>
                      <a:pt x="675" y="1019"/>
                    </a:lnTo>
                    <a:lnTo>
                      <a:pt x="675" y="1015"/>
                    </a:lnTo>
                    <a:lnTo>
                      <a:pt x="675" y="1013"/>
                    </a:lnTo>
                    <a:lnTo>
                      <a:pt x="677" y="1015"/>
                    </a:lnTo>
                    <a:lnTo>
                      <a:pt x="677" y="1013"/>
                    </a:lnTo>
                    <a:lnTo>
                      <a:pt x="679" y="1015"/>
                    </a:lnTo>
                    <a:lnTo>
                      <a:pt x="679" y="1013"/>
                    </a:lnTo>
                    <a:lnTo>
                      <a:pt x="677" y="1013"/>
                    </a:lnTo>
                    <a:lnTo>
                      <a:pt x="679" y="1013"/>
                    </a:lnTo>
                    <a:lnTo>
                      <a:pt x="677" y="1013"/>
                    </a:lnTo>
                    <a:lnTo>
                      <a:pt x="677" y="1011"/>
                    </a:lnTo>
                    <a:lnTo>
                      <a:pt x="679" y="1011"/>
                    </a:lnTo>
                    <a:lnTo>
                      <a:pt x="677" y="1011"/>
                    </a:lnTo>
                    <a:lnTo>
                      <a:pt x="675" y="1009"/>
                    </a:lnTo>
                    <a:lnTo>
                      <a:pt x="677" y="1005"/>
                    </a:lnTo>
                    <a:lnTo>
                      <a:pt x="677" y="1007"/>
                    </a:lnTo>
                    <a:lnTo>
                      <a:pt x="679" y="1007"/>
                    </a:lnTo>
                    <a:lnTo>
                      <a:pt x="677" y="1003"/>
                    </a:lnTo>
                    <a:lnTo>
                      <a:pt x="677" y="1001"/>
                    </a:lnTo>
                    <a:lnTo>
                      <a:pt x="679" y="1001"/>
                    </a:lnTo>
                    <a:lnTo>
                      <a:pt x="683" y="1005"/>
                    </a:lnTo>
                    <a:lnTo>
                      <a:pt x="685" y="1007"/>
                    </a:lnTo>
                    <a:lnTo>
                      <a:pt x="685" y="1009"/>
                    </a:lnTo>
                    <a:lnTo>
                      <a:pt x="685" y="1007"/>
                    </a:lnTo>
                    <a:lnTo>
                      <a:pt x="683" y="1005"/>
                    </a:lnTo>
                    <a:lnTo>
                      <a:pt x="681" y="1001"/>
                    </a:lnTo>
                    <a:lnTo>
                      <a:pt x="679" y="999"/>
                    </a:lnTo>
                    <a:lnTo>
                      <a:pt x="681" y="994"/>
                    </a:lnTo>
                    <a:lnTo>
                      <a:pt x="683" y="990"/>
                    </a:lnTo>
                    <a:lnTo>
                      <a:pt x="685" y="990"/>
                    </a:lnTo>
                    <a:lnTo>
                      <a:pt x="685" y="988"/>
                    </a:lnTo>
                    <a:lnTo>
                      <a:pt x="687" y="986"/>
                    </a:lnTo>
                    <a:close/>
                    <a:moveTo>
                      <a:pt x="734" y="675"/>
                    </a:moveTo>
                    <a:lnTo>
                      <a:pt x="738" y="677"/>
                    </a:lnTo>
                    <a:lnTo>
                      <a:pt x="740" y="677"/>
                    </a:lnTo>
                    <a:lnTo>
                      <a:pt x="744" y="679"/>
                    </a:lnTo>
                    <a:lnTo>
                      <a:pt x="749" y="690"/>
                    </a:lnTo>
                    <a:lnTo>
                      <a:pt x="753" y="694"/>
                    </a:lnTo>
                    <a:lnTo>
                      <a:pt x="755" y="696"/>
                    </a:lnTo>
                    <a:lnTo>
                      <a:pt x="757" y="700"/>
                    </a:lnTo>
                    <a:lnTo>
                      <a:pt x="755" y="704"/>
                    </a:lnTo>
                    <a:lnTo>
                      <a:pt x="757" y="708"/>
                    </a:lnTo>
                    <a:lnTo>
                      <a:pt x="757" y="711"/>
                    </a:lnTo>
                    <a:lnTo>
                      <a:pt x="755" y="713"/>
                    </a:lnTo>
                    <a:lnTo>
                      <a:pt x="757" y="717"/>
                    </a:lnTo>
                    <a:lnTo>
                      <a:pt x="757" y="729"/>
                    </a:lnTo>
                    <a:lnTo>
                      <a:pt x="757" y="736"/>
                    </a:lnTo>
                    <a:lnTo>
                      <a:pt x="753" y="738"/>
                    </a:lnTo>
                    <a:lnTo>
                      <a:pt x="749" y="738"/>
                    </a:lnTo>
                    <a:lnTo>
                      <a:pt x="746" y="738"/>
                    </a:lnTo>
                    <a:lnTo>
                      <a:pt x="744" y="736"/>
                    </a:lnTo>
                    <a:lnTo>
                      <a:pt x="740" y="738"/>
                    </a:lnTo>
                    <a:lnTo>
                      <a:pt x="736" y="736"/>
                    </a:lnTo>
                    <a:lnTo>
                      <a:pt x="734" y="734"/>
                    </a:lnTo>
                    <a:lnTo>
                      <a:pt x="734" y="736"/>
                    </a:lnTo>
                    <a:lnTo>
                      <a:pt x="732" y="736"/>
                    </a:lnTo>
                    <a:lnTo>
                      <a:pt x="730" y="734"/>
                    </a:lnTo>
                    <a:lnTo>
                      <a:pt x="732" y="730"/>
                    </a:lnTo>
                    <a:lnTo>
                      <a:pt x="730" y="730"/>
                    </a:lnTo>
                    <a:lnTo>
                      <a:pt x="728" y="729"/>
                    </a:lnTo>
                    <a:lnTo>
                      <a:pt x="727" y="727"/>
                    </a:lnTo>
                    <a:lnTo>
                      <a:pt x="725" y="730"/>
                    </a:lnTo>
                    <a:lnTo>
                      <a:pt x="727" y="730"/>
                    </a:lnTo>
                    <a:lnTo>
                      <a:pt x="725" y="730"/>
                    </a:lnTo>
                    <a:lnTo>
                      <a:pt x="725" y="727"/>
                    </a:lnTo>
                    <a:lnTo>
                      <a:pt x="723" y="727"/>
                    </a:lnTo>
                    <a:lnTo>
                      <a:pt x="721" y="725"/>
                    </a:lnTo>
                    <a:lnTo>
                      <a:pt x="721" y="727"/>
                    </a:lnTo>
                    <a:lnTo>
                      <a:pt x="719" y="727"/>
                    </a:lnTo>
                    <a:lnTo>
                      <a:pt x="719" y="725"/>
                    </a:lnTo>
                    <a:lnTo>
                      <a:pt x="717" y="725"/>
                    </a:lnTo>
                    <a:lnTo>
                      <a:pt x="715" y="721"/>
                    </a:lnTo>
                    <a:lnTo>
                      <a:pt x="715" y="719"/>
                    </a:lnTo>
                    <a:lnTo>
                      <a:pt x="715" y="717"/>
                    </a:lnTo>
                    <a:lnTo>
                      <a:pt x="715" y="715"/>
                    </a:lnTo>
                    <a:lnTo>
                      <a:pt x="715" y="713"/>
                    </a:lnTo>
                    <a:lnTo>
                      <a:pt x="713" y="721"/>
                    </a:lnTo>
                    <a:lnTo>
                      <a:pt x="711" y="721"/>
                    </a:lnTo>
                    <a:lnTo>
                      <a:pt x="711" y="715"/>
                    </a:lnTo>
                    <a:lnTo>
                      <a:pt x="709" y="715"/>
                    </a:lnTo>
                    <a:lnTo>
                      <a:pt x="707" y="717"/>
                    </a:lnTo>
                    <a:lnTo>
                      <a:pt x="707" y="711"/>
                    </a:lnTo>
                    <a:lnTo>
                      <a:pt x="709" y="704"/>
                    </a:lnTo>
                    <a:lnTo>
                      <a:pt x="711" y="706"/>
                    </a:lnTo>
                    <a:lnTo>
                      <a:pt x="711" y="704"/>
                    </a:lnTo>
                    <a:lnTo>
                      <a:pt x="711" y="702"/>
                    </a:lnTo>
                    <a:lnTo>
                      <a:pt x="713" y="700"/>
                    </a:lnTo>
                    <a:lnTo>
                      <a:pt x="713" y="702"/>
                    </a:lnTo>
                    <a:lnTo>
                      <a:pt x="717" y="700"/>
                    </a:lnTo>
                    <a:lnTo>
                      <a:pt x="715" y="700"/>
                    </a:lnTo>
                    <a:lnTo>
                      <a:pt x="715" y="698"/>
                    </a:lnTo>
                    <a:lnTo>
                      <a:pt x="719" y="698"/>
                    </a:lnTo>
                    <a:lnTo>
                      <a:pt x="717" y="696"/>
                    </a:lnTo>
                    <a:lnTo>
                      <a:pt x="713" y="698"/>
                    </a:lnTo>
                    <a:lnTo>
                      <a:pt x="715" y="696"/>
                    </a:lnTo>
                    <a:lnTo>
                      <a:pt x="717" y="694"/>
                    </a:lnTo>
                    <a:lnTo>
                      <a:pt x="717" y="692"/>
                    </a:lnTo>
                    <a:lnTo>
                      <a:pt x="719" y="692"/>
                    </a:lnTo>
                    <a:lnTo>
                      <a:pt x="719" y="690"/>
                    </a:lnTo>
                    <a:lnTo>
                      <a:pt x="717" y="690"/>
                    </a:lnTo>
                    <a:lnTo>
                      <a:pt x="715" y="692"/>
                    </a:lnTo>
                    <a:lnTo>
                      <a:pt x="713" y="692"/>
                    </a:lnTo>
                    <a:lnTo>
                      <a:pt x="715" y="690"/>
                    </a:lnTo>
                    <a:lnTo>
                      <a:pt x="717" y="688"/>
                    </a:lnTo>
                    <a:lnTo>
                      <a:pt x="719" y="690"/>
                    </a:lnTo>
                    <a:lnTo>
                      <a:pt x="721" y="690"/>
                    </a:lnTo>
                    <a:lnTo>
                      <a:pt x="723" y="688"/>
                    </a:lnTo>
                    <a:lnTo>
                      <a:pt x="721" y="688"/>
                    </a:lnTo>
                    <a:lnTo>
                      <a:pt x="719" y="687"/>
                    </a:lnTo>
                    <a:lnTo>
                      <a:pt x="721" y="683"/>
                    </a:lnTo>
                    <a:lnTo>
                      <a:pt x="723" y="683"/>
                    </a:lnTo>
                    <a:lnTo>
                      <a:pt x="723" y="681"/>
                    </a:lnTo>
                    <a:lnTo>
                      <a:pt x="725" y="681"/>
                    </a:lnTo>
                    <a:lnTo>
                      <a:pt x="727" y="679"/>
                    </a:lnTo>
                    <a:lnTo>
                      <a:pt x="727" y="681"/>
                    </a:lnTo>
                    <a:lnTo>
                      <a:pt x="728" y="677"/>
                    </a:lnTo>
                    <a:lnTo>
                      <a:pt x="728" y="679"/>
                    </a:lnTo>
                    <a:lnTo>
                      <a:pt x="732" y="677"/>
                    </a:lnTo>
                    <a:lnTo>
                      <a:pt x="734" y="675"/>
                    </a:lnTo>
                    <a:close/>
                    <a:moveTo>
                      <a:pt x="685" y="446"/>
                    </a:moveTo>
                    <a:lnTo>
                      <a:pt x="692" y="446"/>
                    </a:lnTo>
                    <a:lnTo>
                      <a:pt x="700" y="452"/>
                    </a:lnTo>
                    <a:lnTo>
                      <a:pt x="702" y="456"/>
                    </a:lnTo>
                    <a:lnTo>
                      <a:pt x="707" y="456"/>
                    </a:lnTo>
                    <a:lnTo>
                      <a:pt x="711" y="461"/>
                    </a:lnTo>
                    <a:lnTo>
                      <a:pt x="713" y="461"/>
                    </a:lnTo>
                    <a:lnTo>
                      <a:pt x="711" y="469"/>
                    </a:lnTo>
                    <a:lnTo>
                      <a:pt x="717" y="473"/>
                    </a:lnTo>
                    <a:lnTo>
                      <a:pt x="721" y="469"/>
                    </a:lnTo>
                    <a:lnTo>
                      <a:pt x="725" y="471"/>
                    </a:lnTo>
                    <a:lnTo>
                      <a:pt x="732" y="477"/>
                    </a:lnTo>
                    <a:lnTo>
                      <a:pt x="736" y="482"/>
                    </a:lnTo>
                    <a:lnTo>
                      <a:pt x="732" y="486"/>
                    </a:lnTo>
                    <a:lnTo>
                      <a:pt x="730" y="488"/>
                    </a:lnTo>
                    <a:lnTo>
                      <a:pt x="728" y="490"/>
                    </a:lnTo>
                    <a:lnTo>
                      <a:pt x="727" y="492"/>
                    </a:lnTo>
                    <a:lnTo>
                      <a:pt x="727" y="494"/>
                    </a:lnTo>
                    <a:lnTo>
                      <a:pt x="728" y="494"/>
                    </a:lnTo>
                    <a:lnTo>
                      <a:pt x="730" y="496"/>
                    </a:lnTo>
                    <a:lnTo>
                      <a:pt x="732" y="500"/>
                    </a:lnTo>
                    <a:lnTo>
                      <a:pt x="734" y="501"/>
                    </a:lnTo>
                    <a:lnTo>
                      <a:pt x="734" y="503"/>
                    </a:lnTo>
                    <a:lnTo>
                      <a:pt x="734" y="505"/>
                    </a:lnTo>
                    <a:lnTo>
                      <a:pt x="730" y="515"/>
                    </a:lnTo>
                    <a:lnTo>
                      <a:pt x="727" y="513"/>
                    </a:lnTo>
                    <a:lnTo>
                      <a:pt x="725" y="515"/>
                    </a:lnTo>
                    <a:lnTo>
                      <a:pt x="723" y="515"/>
                    </a:lnTo>
                    <a:lnTo>
                      <a:pt x="717" y="519"/>
                    </a:lnTo>
                    <a:lnTo>
                      <a:pt x="713" y="521"/>
                    </a:lnTo>
                    <a:lnTo>
                      <a:pt x="711" y="521"/>
                    </a:lnTo>
                    <a:lnTo>
                      <a:pt x="709" y="517"/>
                    </a:lnTo>
                    <a:lnTo>
                      <a:pt x="707" y="517"/>
                    </a:lnTo>
                    <a:lnTo>
                      <a:pt x="707" y="521"/>
                    </a:lnTo>
                    <a:lnTo>
                      <a:pt x="706" y="521"/>
                    </a:lnTo>
                    <a:lnTo>
                      <a:pt x="706" y="522"/>
                    </a:lnTo>
                    <a:lnTo>
                      <a:pt x="709" y="521"/>
                    </a:lnTo>
                    <a:lnTo>
                      <a:pt x="707" y="521"/>
                    </a:lnTo>
                    <a:lnTo>
                      <a:pt x="707" y="522"/>
                    </a:lnTo>
                    <a:lnTo>
                      <a:pt x="706" y="522"/>
                    </a:lnTo>
                    <a:lnTo>
                      <a:pt x="706" y="524"/>
                    </a:lnTo>
                    <a:lnTo>
                      <a:pt x="702" y="526"/>
                    </a:lnTo>
                    <a:lnTo>
                      <a:pt x="700" y="524"/>
                    </a:lnTo>
                    <a:lnTo>
                      <a:pt x="698" y="524"/>
                    </a:lnTo>
                    <a:lnTo>
                      <a:pt x="698" y="521"/>
                    </a:lnTo>
                    <a:lnTo>
                      <a:pt x="700" y="517"/>
                    </a:lnTo>
                    <a:lnTo>
                      <a:pt x="696" y="515"/>
                    </a:lnTo>
                    <a:lnTo>
                      <a:pt x="692" y="511"/>
                    </a:lnTo>
                    <a:lnTo>
                      <a:pt x="688" y="507"/>
                    </a:lnTo>
                    <a:lnTo>
                      <a:pt x="690" y="505"/>
                    </a:lnTo>
                    <a:lnTo>
                      <a:pt x="688" y="503"/>
                    </a:lnTo>
                    <a:lnTo>
                      <a:pt x="690" y="503"/>
                    </a:lnTo>
                    <a:lnTo>
                      <a:pt x="702" y="505"/>
                    </a:lnTo>
                    <a:lnTo>
                      <a:pt x="704" y="503"/>
                    </a:lnTo>
                    <a:lnTo>
                      <a:pt x="704" y="501"/>
                    </a:lnTo>
                    <a:lnTo>
                      <a:pt x="702" y="501"/>
                    </a:lnTo>
                    <a:lnTo>
                      <a:pt x="704" y="500"/>
                    </a:lnTo>
                    <a:lnTo>
                      <a:pt x="698" y="498"/>
                    </a:lnTo>
                    <a:lnTo>
                      <a:pt x="696" y="494"/>
                    </a:lnTo>
                    <a:lnTo>
                      <a:pt x="692" y="496"/>
                    </a:lnTo>
                    <a:lnTo>
                      <a:pt x="688" y="494"/>
                    </a:lnTo>
                    <a:lnTo>
                      <a:pt x="687" y="494"/>
                    </a:lnTo>
                    <a:lnTo>
                      <a:pt x="687" y="492"/>
                    </a:lnTo>
                    <a:lnTo>
                      <a:pt x="688" y="492"/>
                    </a:lnTo>
                    <a:lnTo>
                      <a:pt x="688" y="490"/>
                    </a:lnTo>
                    <a:lnTo>
                      <a:pt x="687" y="488"/>
                    </a:lnTo>
                    <a:lnTo>
                      <a:pt x="685" y="486"/>
                    </a:lnTo>
                    <a:lnTo>
                      <a:pt x="685" y="484"/>
                    </a:lnTo>
                    <a:lnTo>
                      <a:pt x="683" y="480"/>
                    </a:lnTo>
                    <a:lnTo>
                      <a:pt x="685" y="479"/>
                    </a:lnTo>
                    <a:lnTo>
                      <a:pt x="681" y="479"/>
                    </a:lnTo>
                    <a:lnTo>
                      <a:pt x="679" y="475"/>
                    </a:lnTo>
                    <a:lnTo>
                      <a:pt x="679" y="471"/>
                    </a:lnTo>
                    <a:lnTo>
                      <a:pt x="679" y="469"/>
                    </a:lnTo>
                    <a:lnTo>
                      <a:pt x="685" y="467"/>
                    </a:lnTo>
                    <a:lnTo>
                      <a:pt x="683" y="465"/>
                    </a:lnTo>
                    <a:lnTo>
                      <a:pt x="681" y="463"/>
                    </a:lnTo>
                    <a:lnTo>
                      <a:pt x="681" y="461"/>
                    </a:lnTo>
                    <a:lnTo>
                      <a:pt x="679" y="460"/>
                    </a:lnTo>
                    <a:lnTo>
                      <a:pt x="681" y="454"/>
                    </a:lnTo>
                    <a:lnTo>
                      <a:pt x="679" y="454"/>
                    </a:lnTo>
                    <a:lnTo>
                      <a:pt x="679" y="450"/>
                    </a:lnTo>
                    <a:lnTo>
                      <a:pt x="681" y="448"/>
                    </a:lnTo>
                    <a:lnTo>
                      <a:pt x="683" y="446"/>
                    </a:lnTo>
                    <a:lnTo>
                      <a:pt x="685" y="446"/>
                    </a:lnTo>
                    <a:close/>
                    <a:moveTo>
                      <a:pt x="1037" y="1057"/>
                    </a:moveTo>
                    <a:lnTo>
                      <a:pt x="1039" y="1057"/>
                    </a:lnTo>
                    <a:lnTo>
                      <a:pt x="1045" y="1061"/>
                    </a:lnTo>
                    <a:lnTo>
                      <a:pt x="1049" y="1061"/>
                    </a:lnTo>
                    <a:lnTo>
                      <a:pt x="1051" y="1064"/>
                    </a:lnTo>
                    <a:lnTo>
                      <a:pt x="1051" y="1070"/>
                    </a:lnTo>
                    <a:lnTo>
                      <a:pt x="1049" y="1074"/>
                    </a:lnTo>
                    <a:lnTo>
                      <a:pt x="1049" y="1078"/>
                    </a:lnTo>
                    <a:lnTo>
                      <a:pt x="1051" y="1078"/>
                    </a:lnTo>
                    <a:lnTo>
                      <a:pt x="1051" y="1087"/>
                    </a:lnTo>
                    <a:lnTo>
                      <a:pt x="1049" y="1095"/>
                    </a:lnTo>
                    <a:lnTo>
                      <a:pt x="1047" y="1095"/>
                    </a:lnTo>
                    <a:lnTo>
                      <a:pt x="1045" y="1099"/>
                    </a:lnTo>
                    <a:lnTo>
                      <a:pt x="1043" y="1099"/>
                    </a:lnTo>
                    <a:lnTo>
                      <a:pt x="1041" y="1101"/>
                    </a:lnTo>
                    <a:lnTo>
                      <a:pt x="1037" y="1103"/>
                    </a:lnTo>
                    <a:lnTo>
                      <a:pt x="1034" y="1103"/>
                    </a:lnTo>
                    <a:lnTo>
                      <a:pt x="1032" y="1103"/>
                    </a:lnTo>
                    <a:lnTo>
                      <a:pt x="1030" y="1103"/>
                    </a:lnTo>
                    <a:lnTo>
                      <a:pt x="1028" y="1103"/>
                    </a:lnTo>
                    <a:lnTo>
                      <a:pt x="1026" y="1103"/>
                    </a:lnTo>
                    <a:lnTo>
                      <a:pt x="1024" y="1104"/>
                    </a:lnTo>
                    <a:lnTo>
                      <a:pt x="1022" y="1103"/>
                    </a:lnTo>
                    <a:lnTo>
                      <a:pt x="1018" y="1103"/>
                    </a:lnTo>
                    <a:lnTo>
                      <a:pt x="1016" y="1095"/>
                    </a:lnTo>
                    <a:lnTo>
                      <a:pt x="1016" y="1091"/>
                    </a:lnTo>
                    <a:lnTo>
                      <a:pt x="1014" y="1083"/>
                    </a:lnTo>
                    <a:lnTo>
                      <a:pt x="1016" y="1078"/>
                    </a:lnTo>
                    <a:lnTo>
                      <a:pt x="1020" y="1066"/>
                    </a:lnTo>
                    <a:lnTo>
                      <a:pt x="1024" y="1061"/>
                    </a:lnTo>
                    <a:lnTo>
                      <a:pt x="1030" y="1057"/>
                    </a:lnTo>
                    <a:lnTo>
                      <a:pt x="1032" y="1059"/>
                    </a:lnTo>
                    <a:lnTo>
                      <a:pt x="1034" y="1059"/>
                    </a:lnTo>
                    <a:lnTo>
                      <a:pt x="1035" y="1057"/>
                    </a:lnTo>
                    <a:lnTo>
                      <a:pt x="1037" y="1057"/>
                    </a:lnTo>
                    <a:close/>
                    <a:moveTo>
                      <a:pt x="490" y="501"/>
                    </a:moveTo>
                    <a:lnTo>
                      <a:pt x="500" y="503"/>
                    </a:lnTo>
                    <a:lnTo>
                      <a:pt x="502" y="503"/>
                    </a:lnTo>
                    <a:lnTo>
                      <a:pt x="502" y="507"/>
                    </a:lnTo>
                    <a:lnTo>
                      <a:pt x="500" y="513"/>
                    </a:lnTo>
                    <a:lnTo>
                      <a:pt x="496" y="517"/>
                    </a:lnTo>
                    <a:lnTo>
                      <a:pt x="492" y="517"/>
                    </a:lnTo>
                    <a:lnTo>
                      <a:pt x="492" y="519"/>
                    </a:lnTo>
                    <a:lnTo>
                      <a:pt x="488" y="517"/>
                    </a:lnTo>
                    <a:lnTo>
                      <a:pt x="488" y="519"/>
                    </a:lnTo>
                    <a:lnTo>
                      <a:pt x="479" y="521"/>
                    </a:lnTo>
                    <a:lnTo>
                      <a:pt x="481" y="524"/>
                    </a:lnTo>
                    <a:lnTo>
                      <a:pt x="482" y="524"/>
                    </a:lnTo>
                    <a:lnTo>
                      <a:pt x="482" y="526"/>
                    </a:lnTo>
                    <a:lnTo>
                      <a:pt x="484" y="528"/>
                    </a:lnTo>
                    <a:lnTo>
                      <a:pt x="488" y="528"/>
                    </a:lnTo>
                    <a:lnTo>
                      <a:pt x="490" y="526"/>
                    </a:lnTo>
                    <a:lnTo>
                      <a:pt x="494" y="528"/>
                    </a:lnTo>
                    <a:lnTo>
                      <a:pt x="494" y="532"/>
                    </a:lnTo>
                    <a:lnTo>
                      <a:pt x="492" y="534"/>
                    </a:lnTo>
                    <a:lnTo>
                      <a:pt x="494" y="536"/>
                    </a:lnTo>
                    <a:lnTo>
                      <a:pt x="494" y="540"/>
                    </a:lnTo>
                    <a:lnTo>
                      <a:pt x="492" y="542"/>
                    </a:lnTo>
                    <a:lnTo>
                      <a:pt x="494" y="543"/>
                    </a:lnTo>
                    <a:lnTo>
                      <a:pt x="490" y="547"/>
                    </a:lnTo>
                    <a:lnTo>
                      <a:pt x="486" y="549"/>
                    </a:lnTo>
                    <a:lnTo>
                      <a:pt x="488" y="551"/>
                    </a:lnTo>
                    <a:lnTo>
                      <a:pt x="484" y="551"/>
                    </a:lnTo>
                    <a:lnTo>
                      <a:pt x="481" y="551"/>
                    </a:lnTo>
                    <a:lnTo>
                      <a:pt x="481" y="553"/>
                    </a:lnTo>
                    <a:lnTo>
                      <a:pt x="481" y="555"/>
                    </a:lnTo>
                    <a:lnTo>
                      <a:pt x="473" y="553"/>
                    </a:lnTo>
                    <a:lnTo>
                      <a:pt x="473" y="555"/>
                    </a:lnTo>
                    <a:lnTo>
                      <a:pt x="467" y="559"/>
                    </a:lnTo>
                    <a:lnTo>
                      <a:pt x="465" y="559"/>
                    </a:lnTo>
                    <a:lnTo>
                      <a:pt x="461" y="561"/>
                    </a:lnTo>
                    <a:lnTo>
                      <a:pt x="460" y="561"/>
                    </a:lnTo>
                    <a:lnTo>
                      <a:pt x="456" y="557"/>
                    </a:lnTo>
                    <a:lnTo>
                      <a:pt x="452" y="551"/>
                    </a:lnTo>
                    <a:lnTo>
                      <a:pt x="452" y="549"/>
                    </a:lnTo>
                    <a:lnTo>
                      <a:pt x="450" y="551"/>
                    </a:lnTo>
                    <a:lnTo>
                      <a:pt x="448" y="551"/>
                    </a:lnTo>
                    <a:lnTo>
                      <a:pt x="446" y="545"/>
                    </a:lnTo>
                    <a:lnTo>
                      <a:pt x="442" y="545"/>
                    </a:lnTo>
                    <a:lnTo>
                      <a:pt x="444" y="540"/>
                    </a:lnTo>
                    <a:lnTo>
                      <a:pt x="446" y="538"/>
                    </a:lnTo>
                    <a:lnTo>
                      <a:pt x="444" y="538"/>
                    </a:lnTo>
                    <a:lnTo>
                      <a:pt x="444" y="536"/>
                    </a:lnTo>
                    <a:lnTo>
                      <a:pt x="442" y="536"/>
                    </a:lnTo>
                    <a:lnTo>
                      <a:pt x="444" y="530"/>
                    </a:lnTo>
                    <a:lnTo>
                      <a:pt x="442" y="528"/>
                    </a:lnTo>
                    <a:lnTo>
                      <a:pt x="441" y="522"/>
                    </a:lnTo>
                    <a:lnTo>
                      <a:pt x="442" y="517"/>
                    </a:lnTo>
                    <a:lnTo>
                      <a:pt x="446" y="517"/>
                    </a:lnTo>
                    <a:lnTo>
                      <a:pt x="446" y="519"/>
                    </a:lnTo>
                    <a:lnTo>
                      <a:pt x="450" y="513"/>
                    </a:lnTo>
                    <a:lnTo>
                      <a:pt x="452" y="515"/>
                    </a:lnTo>
                    <a:lnTo>
                      <a:pt x="452" y="513"/>
                    </a:lnTo>
                    <a:lnTo>
                      <a:pt x="454" y="511"/>
                    </a:lnTo>
                    <a:lnTo>
                      <a:pt x="456" y="509"/>
                    </a:lnTo>
                    <a:lnTo>
                      <a:pt x="458" y="511"/>
                    </a:lnTo>
                    <a:lnTo>
                      <a:pt x="461" y="507"/>
                    </a:lnTo>
                    <a:lnTo>
                      <a:pt x="463" y="509"/>
                    </a:lnTo>
                    <a:lnTo>
                      <a:pt x="465" y="505"/>
                    </a:lnTo>
                    <a:lnTo>
                      <a:pt x="467" y="509"/>
                    </a:lnTo>
                    <a:lnTo>
                      <a:pt x="471" y="505"/>
                    </a:lnTo>
                    <a:lnTo>
                      <a:pt x="473" y="505"/>
                    </a:lnTo>
                    <a:lnTo>
                      <a:pt x="475" y="503"/>
                    </a:lnTo>
                    <a:lnTo>
                      <a:pt x="479" y="503"/>
                    </a:lnTo>
                    <a:lnTo>
                      <a:pt x="482" y="505"/>
                    </a:lnTo>
                    <a:lnTo>
                      <a:pt x="482" y="501"/>
                    </a:lnTo>
                    <a:lnTo>
                      <a:pt x="490" y="501"/>
                    </a:lnTo>
                    <a:close/>
                    <a:moveTo>
                      <a:pt x="149" y="1538"/>
                    </a:moveTo>
                    <a:lnTo>
                      <a:pt x="149" y="1539"/>
                    </a:lnTo>
                    <a:lnTo>
                      <a:pt x="147" y="1545"/>
                    </a:lnTo>
                    <a:lnTo>
                      <a:pt x="147" y="1547"/>
                    </a:lnTo>
                    <a:lnTo>
                      <a:pt x="145" y="1549"/>
                    </a:lnTo>
                    <a:lnTo>
                      <a:pt x="145" y="1551"/>
                    </a:lnTo>
                    <a:lnTo>
                      <a:pt x="145" y="1553"/>
                    </a:lnTo>
                    <a:lnTo>
                      <a:pt x="145" y="1555"/>
                    </a:lnTo>
                    <a:lnTo>
                      <a:pt x="145" y="1559"/>
                    </a:lnTo>
                    <a:lnTo>
                      <a:pt x="145" y="1560"/>
                    </a:lnTo>
                    <a:lnTo>
                      <a:pt x="143" y="1559"/>
                    </a:lnTo>
                    <a:lnTo>
                      <a:pt x="141" y="1560"/>
                    </a:lnTo>
                    <a:lnTo>
                      <a:pt x="139" y="1560"/>
                    </a:lnTo>
                    <a:lnTo>
                      <a:pt x="141" y="1560"/>
                    </a:lnTo>
                    <a:lnTo>
                      <a:pt x="143" y="1560"/>
                    </a:lnTo>
                    <a:lnTo>
                      <a:pt x="141" y="1562"/>
                    </a:lnTo>
                    <a:lnTo>
                      <a:pt x="139" y="1562"/>
                    </a:lnTo>
                    <a:lnTo>
                      <a:pt x="141" y="1562"/>
                    </a:lnTo>
                    <a:lnTo>
                      <a:pt x="143" y="1562"/>
                    </a:lnTo>
                    <a:lnTo>
                      <a:pt x="143" y="1560"/>
                    </a:lnTo>
                    <a:lnTo>
                      <a:pt x="145" y="1560"/>
                    </a:lnTo>
                    <a:lnTo>
                      <a:pt x="147" y="1560"/>
                    </a:lnTo>
                    <a:lnTo>
                      <a:pt x="147" y="1559"/>
                    </a:lnTo>
                    <a:lnTo>
                      <a:pt x="149" y="1560"/>
                    </a:lnTo>
                    <a:lnTo>
                      <a:pt x="147" y="1562"/>
                    </a:lnTo>
                    <a:lnTo>
                      <a:pt x="149" y="1562"/>
                    </a:lnTo>
                    <a:lnTo>
                      <a:pt x="151" y="1564"/>
                    </a:lnTo>
                    <a:lnTo>
                      <a:pt x="151" y="1566"/>
                    </a:lnTo>
                    <a:lnTo>
                      <a:pt x="147" y="1564"/>
                    </a:lnTo>
                    <a:lnTo>
                      <a:pt x="145" y="1564"/>
                    </a:lnTo>
                    <a:lnTo>
                      <a:pt x="143" y="1564"/>
                    </a:lnTo>
                    <a:lnTo>
                      <a:pt x="145" y="1566"/>
                    </a:lnTo>
                    <a:lnTo>
                      <a:pt x="145" y="1568"/>
                    </a:lnTo>
                    <a:lnTo>
                      <a:pt x="145" y="1566"/>
                    </a:lnTo>
                    <a:lnTo>
                      <a:pt x="147" y="1564"/>
                    </a:lnTo>
                    <a:lnTo>
                      <a:pt x="147" y="1566"/>
                    </a:lnTo>
                    <a:lnTo>
                      <a:pt x="149" y="1566"/>
                    </a:lnTo>
                    <a:lnTo>
                      <a:pt x="151" y="1568"/>
                    </a:lnTo>
                    <a:lnTo>
                      <a:pt x="149" y="1570"/>
                    </a:lnTo>
                    <a:lnTo>
                      <a:pt x="147" y="1570"/>
                    </a:lnTo>
                    <a:lnTo>
                      <a:pt x="145" y="1568"/>
                    </a:lnTo>
                    <a:lnTo>
                      <a:pt x="147" y="1568"/>
                    </a:lnTo>
                    <a:lnTo>
                      <a:pt x="145" y="1570"/>
                    </a:lnTo>
                    <a:lnTo>
                      <a:pt x="147" y="1570"/>
                    </a:lnTo>
                    <a:lnTo>
                      <a:pt x="149" y="1570"/>
                    </a:lnTo>
                    <a:lnTo>
                      <a:pt x="151" y="1570"/>
                    </a:lnTo>
                    <a:lnTo>
                      <a:pt x="149" y="1572"/>
                    </a:lnTo>
                    <a:lnTo>
                      <a:pt x="147" y="1572"/>
                    </a:lnTo>
                    <a:lnTo>
                      <a:pt x="149" y="1572"/>
                    </a:lnTo>
                    <a:lnTo>
                      <a:pt x="151" y="1572"/>
                    </a:lnTo>
                    <a:lnTo>
                      <a:pt x="149" y="1572"/>
                    </a:lnTo>
                    <a:lnTo>
                      <a:pt x="147" y="1572"/>
                    </a:lnTo>
                    <a:lnTo>
                      <a:pt x="147" y="1574"/>
                    </a:lnTo>
                    <a:lnTo>
                      <a:pt x="147" y="1572"/>
                    </a:lnTo>
                    <a:lnTo>
                      <a:pt x="147" y="1574"/>
                    </a:lnTo>
                    <a:lnTo>
                      <a:pt x="149" y="1574"/>
                    </a:lnTo>
                    <a:lnTo>
                      <a:pt x="149" y="1576"/>
                    </a:lnTo>
                    <a:lnTo>
                      <a:pt x="149" y="1578"/>
                    </a:lnTo>
                    <a:lnTo>
                      <a:pt x="151" y="1578"/>
                    </a:lnTo>
                    <a:lnTo>
                      <a:pt x="149" y="1578"/>
                    </a:lnTo>
                    <a:lnTo>
                      <a:pt x="151" y="1578"/>
                    </a:lnTo>
                    <a:lnTo>
                      <a:pt x="151" y="1580"/>
                    </a:lnTo>
                    <a:lnTo>
                      <a:pt x="151" y="1578"/>
                    </a:lnTo>
                    <a:lnTo>
                      <a:pt x="151" y="1580"/>
                    </a:lnTo>
                    <a:lnTo>
                      <a:pt x="153" y="1580"/>
                    </a:lnTo>
                    <a:lnTo>
                      <a:pt x="153" y="1581"/>
                    </a:lnTo>
                    <a:lnTo>
                      <a:pt x="153" y="1580"/>
                    </a:lnTo>
                    <a:lnTo>
                      <a:pt x="153" y="1581"/>
                    </a:lnTo>
                    <a:lnTo>
                      <a:pt x="153" y="1583"/>
                    </a:lnTo>
                    <a:lnTo>
                      <a:pt x="154" y="1581"/>
                    </a:lnTo>
                    <a:lnTo>
                      <a:pt x="154" y="1583"/>
                    </a:lnTo>
                    <a:lnTo>
                      <a:pt x="154" y="1581"/>
                    </a:lnTo>
                    <a:lnTo>
                      <a:pt x="156" y="1581"/>
                    </a:lnTo>
                    <a:lnTo>
                      <a:pt x="154" y="1583"/>
                    </a:lnTo>
                    <a:lnTo>
                      <a:pt x="156" y="1583"/>
                    </a:lnTo>
                    <a:lnTo>
                      <a:pt x="154" y="1583"/>
                    </a:lnTo>
                    <a:lnTo>
                      <a:pt x="154" y="1585"/>
                    </a:lnTo>
                    <a:lnTo>
                      <a:pt x="156" y="1585"/>
                    </a:lnTo>
                    <a:lnTo>
                      <a:pt x="156" y="1583"/>
                    </a:lnTo>
                    <a:lnTo>
                      <a:pt x="158" y="1583"/>
                    </a:lnTo>
                    <a:lnTo>
                      <a:pt x="158" y="1585"/>
                    </a:lnTo>
                    <a:lnTo>
                      <a:pt x="158" y="1583"/>
                    </a:lnTo>
                    <a:lnTo>
                      <a:pt x="158" y="1585"/>
                    </a:lnTo>
                    <a:lnTo>
                      <a:pt x="156" y="1587"/>
                    </a:lnTo>
                    <a:lnTo>
                      <a:pt x="158" y="1587"/>
                    </a:lnTo>
                    <a:lnTo>
                      <a:pt x="160" y="1587"/>
                    </a:lnTo>
                    <a:lnTo>
                      <a:pt x="160" y="1589"/>
                    </a:lnTo>
                    <a:lnTo>
                      <a:pt x="158" y="1587"/>
                    </a:lnTo>
                    <a:lnTo>
                      <a:pt x="158" y="1589"/>
                    </a:lnTo>
                    <a:lnTo>
                      <a:pt x="156" y="1589"/>
                    </a:lnTo>
                    <a:lnTo>
                      <a:pt x="156" y="1587"/>
                    </a:lnTo>
                    <a:lnTo>
                      <a:pt x="156" y="1585"/>
                    </a:lnTo>
                    <a:lnTo>
                      <a:pt x="156" y="1589"/>
                    </a:lnTo>
                    <a:lnTo>
                      <a:pt x="154" y="1589"/>
                    </a:lnTo>
                    <a:lnTo>
                      <a:pt x="156" y="1589"/>
                    </a:lnTo>
                    <a:lnTo>
                      <a:pt x="154" y="1587"/>
                    </a:lnTo>
                    <a:lnTo>
                      <a:pt x="154" y="1585"/>
                    </a:lnTo>
                    <a:lnTo>
                      <a:pt x="154" y="1587"/>
                    </a:lnTo>
                    <a:lnTo>
                      <a:pt x="153" y="1587"/>
                    </a:lnTo>
                    <a:lnTo>
                      <a:pt x="153" y="1585"/>
                    </a:lnTo>
                    <a:lnTo>
                      <a:pt x="153" y="1583"/>
                    </a:lnTo>
                    <a:lnTo>
                      <a:pt x="151" y="1583"/>
                    </a:lnTo>
                    <a:lnTo>
                      <a:pt x="153" y="1583"/>
                    </a:lnTo>
                    <a:lnTo>
                      <a:pt x="151" y="1583"/>
                    </a:lnTo>
                    <a:lnTo>
                      <a:pt x="151" y="1581"/>
                    </a:lnTo>
                    <a:lnTo>
                      <a:pt x="153" y="1581"/>
                    </a:lnTo>
                    <a:lnTo>
                      <a:pt x="151" y="1581"/>
                    </a:lnTo>
                    <a:lnTo>
                      <a:pt x="149" y="1580"/>
                    </a:lnTo>
                    <a:lnTo>
                      <a:pt x="147" y="1580"/>
                    </a:lnTo>
                    <a:lnTo>
                      <a:pt x="149" y="1578"/>
                    </a:lnTo>
                    <a:lnTo>
                      <a:pt x="147" y="1580"/>
                    </a:lnTo>
                    <a:lnTo>
                      <a:pt x="147" y="1578"/>
                    </a:lnTo>
                    <a:lnTo>
                      <a:pt x="145" y="1578"/>
                    </a:lnTo>
                    <a:lnTo>
                      <a:pt x="145" y="1576"/>
                    </a:lnTo>
                    <a:lnTo>
                      <a:pt x="147" y="1576"/>
                    </a:lnTo>
                    <a:lnTo>
                      <a:pt x="145" y="1576"/>
                    </a:lnTo>
                    <a:lnTo>
                      <a:pt x="147" y="1576"/>
                    </a:lnTo>
                    <a:lnTo>
                      <a:pt x="145" y="1576"/>
                    </a:lnTo>
                    <a:lnTo>
                      <a:pt x="143" y="1576"/>
                    </a:lnTo>
                    <a:lnTo>
                      <a:pt x="143" y="1574"/>
                    </a:lnTo>
                    <a:lnTo>
                      <a:pt x="141" y="1574"/>
                    </a:lnTo>
                    <a:lnTo>
                      <a:pt x="141" y="1572"/>
                    </a:lnTo>
                    <a:lnTo>
                      <a:pt x="139" y="1570"/>
                    </a:lnTo>
                    <a:lnTo>
                      <a:pt x="141" y="1570"/>
                    </a:lnTo>
                    <a:lnTo>
                      <a:pt x="139" y="1570"/>
                    </a:lnTo>
                    <a:lnTo>
                      <a:pt x="139" y="1568"/>
                    </a:lnTo>
                    <a:lnTo>
                      <a:pt x="141" y="1568"/>
                    </a:lnTo>
                    <a:lnTo>
                      <a:pt x="143" y="1568"/>
                    </a:lnTo>
                    <a:lnTo>
                      <a:pt x="141" y="1566"/>
                    </a:lnTo>
                    <a:lnTo>
                      <a:pt x="143" y="1568"/>
                    </a:lnTo>
                    <a:lnTo>
                      <a:pt x="141" y="1566"/>
                    </a:lnTo>
                    <a:lnTo>
                      <a:pt x="143" y="1566"/>
                    </a:lnTo>
                    <a:lnTo>
                      <a:pt x="141" y="1566"/>
                    </a:lnTo>
                    <a:lnTo>
                      <a:pt x="139" y="1566"/>
                    </a:lnTo>
                    <a:lnTo>
                      <a:pt x="139" y="1564"/>
                    </a:lnTo>
                    <a:lnTo>
                      <a:pt x="137" y="1566"/>
                    </a:lnTo>
                    <a:lnTo>
                      <a:pt x="137" y="1564"/>
                    </a:lnTo>
                    <a:lnTo>
                      <a:pt x="135" y="1566"/>
                    </a:lnTo>
                    <a:lnTo>
                      <a:pt x="135" y="1564"/>
                    </a:lnTo>
                    <a:lnTo>
                      <a:pt x="137" y="1564"/>
                    </a:lnTo>
                    <a:lnTo>
                      <a:pt x="135" y="1564"/>
                    </a:lnTo>
                    <a:lnTo>
                      <a:pt x="135" y="1562"/>
                    </a:lnTo>
                    <a:lnTo>
                      <a:pt x="137" y="1562"/>
                    </a:lnTo>
                    <a:lnTo>
                      <a:pt x="137" y="1564"/>
                    </a:lnTo>
                    <a:lnTo>
                      <a:pt x="137" y="1562"/>
                    </a:lnTo>
                    <a:lnTo>
                      <a:pt x="139" y="1562"/>
                    </a:lnTo>
                    <a:lnTo>
                      <a:pt x="139" y="1560"/>
                    </a:lnTo>
                    <a:lnTo>
                      <a:pt x="139" y="1562"/>
                    </a:lnTo>
                    <a:lnTo>
                      <a:pt x="137" y="1562"/>
                    </a:lnTo>
                    <a:lnTo>
                      <a:pt x="135" y="1562"/>
                    </a:lnTo>
                    <a:lnTo>
                      <a:pt x="137" y="1562"/>
                    </a:lnTo>
                    <a:lnTo>
                      <a:pt x="137" y="1560"/>
                    </a:lnTo>
                    <a:lnTo>
                      <a:pt x="135" y="1562"/>
                    </a:lnTo>
                    <a:lnTo>
                      <a:pt x="135" y="1560"/>
                    </a:lnTo>
                    <a:lnTo>
                      <a:pt x="134" y="1560"/>
                    </a:lnTo>
                    <a:lnTo>
                      <a:pt x="135" y="1559"/>
                    </a:lnTo>
                    <a:lnTo>
                      <a:pt x="134" y="1560"/>
                    </a:lnTo>
                    <a:lnTo>
                      <a:pt x="134" y="1559"/>
                    </a:lnTo>
                    <a:lnTo>
                      <a:pt x="135" y="1559"/>
                    </a:lnTo>
                    <a:lnTo>
                      <a:pt x="135" y="1557"/>
                    </a:lnTo>
                    <a:lnTo>
                      <a:pt x="132" y="1559"/>
                    </a:lnTo>
                    <a:lnTo>
                      <a:pt x="134" y="1557"/>
                    </a:lnTo>
                    <a:lnTo>
                      <a:pt x="135" y="1557"/>
                    </a:lnTo>
                    <a:lnTo>
                      <a:pt x="137" y="1559"/>
                    </a:lnTo>
                    <a:lnTo>
                      <a:pt x="137" y="1557"/>
                    </a:lnTo>
                    <a:lnTo>
                      <a:pt x="137" y="1559"/>
                    </a:lnTo>
                    <a:lnTo>
                      <a:pt x="137" y="1557"/>
                    </a:lnTo>
                    <a:lnTo>
                      <a:pt x="135" y="1557"/>
                    </a:lnTo>
                    <a:lnTo>
                      <a:pt x="135" y="1555"/>
                    </a:lnTo>
                    <a:lnTo>
                      <a:pt x="134" y="1555"/>
                    </a:lnTo>
                    <a:lnTo>
                      <a:pt x="134" y="1553"/>
                    </a:lnTo>
                    <a:lnTo>
                      <a:pt x="134" y="1555"/>
                    </a:lnTo>
                    <a:lnTo>
                      <a:pt x="132" y="1555"/>
                    </a:lnTo>
                    <a:lnTo>
                      <a:pt x="134" y="1553"/>
                    </a:lnTo>
                    <a:lnTo>
                      <a:pt x="132" y="1553"/>
                    </a:lnTo>
                    <a:lnTo>
                      <a:pt x="134" y="1553"/>
                    </a:lnTo>
                    <a:lnTo>
                      <a:pt x="132" y="1553"/>
                    </a:lnTo>
                    <a:lnTo>
                      <a:pt x="130" y="1555"/>
                    </a:lnTo>
                    <a:lnTo>
                      <a:pt x="130" y="1553"/>
                    </a:lnTo>
                    <a:lnTo>
                      <a:pt x="132" y="1553"/>
                    </a:lnTo>
                    <a:lnTo>
                      <a:pt x="130" y="1553"/>
                    </a:lnTo>
                    <a:lnTo>
                      <a:pt x="130" y="1551"/>
                    </a:lnTo>
                    <a:lnTo>
                      <a:pt x="128" y="1551"/>
                    </a:lnTo>
                    <a:lnTo>
                      <a:pt x="130" y="1551"/>
                    </a:lnTo>
                    <a:lnTo>
                      <a:pt x="128" y="1551"/>
                    </a:lnTo>
                    <a:lnTo>
                      <a:pt x="130" y="1551"/>
                    </a:lnTo>
                    <a:lnTo>
                      <a:pt x="132" y="1551"/>
                    </a:lnTo>
                    <a:lnTo>
                      <a:pt x="130" y="1551"/>
                    </a:lnTo>
                    <a:lnTo>
                      <a:pt x="130" y="1549"/>
                    </a:lnTo>
                    <a:lnTo>
                      <a:pt x="128" y="1549"/>
                    </a:lnTo>
                    <a:lnTo>
                      <a:pt x="128" y="1547"/>
                    </a:lnTo>
                    <a:lnTo>
                      <a:pt x="128" y="1549"/>
                    </a:lnTo>
                    <a:lnTo>
                      <a:pt x="130" y="1547"/>
                    </a:lnTo>
                    <a:lnTo>
                      <a:pt x="128" y="1547"/>
                    </a:lnTo>
                    <a:lnTo>
                      <a:pt x="128" y="1545"/>
                    </a:lnTo>
                    <a:lnTo>
                      <a:pt x="128" y="1547"/>
                    </a:lnTo>
                    <a:lnTo>
                      <a:pt x="128" y="1545"/>
                    </a:lnTo>
                    <a:lnTo>
                      <a:pt x="126" y="1545"/>
                    </a:lnTo>
                    <a:lnTo>
                      <a:pt x="128" y="1543"/>
                    </a:lnTo>
                    <a:lnTo>
                      <a:pt x="126" y="1543"/>
                    </a:lnTo>
                    <a:lnTo>
                      <a:pt x="126" y="1541"/>
                    </a:lnTo>
                    <a:lnTo>
                      <a:pt x="126" y="1539"/>
                    </a:lnTo>
                    <a:lnTo>
                      <a:pt x="128" y="1539"/>
                    </a:lnTo>
                    <a:lnTo>
                      <a:pt x="128" y="1538"/>
                    </a:lnTo>
                    <a:lnTo>
                      <a:pt x="126" y="1538"/>
                    </a:lnTo>
                    <a:lnTo>
                      <a:pt x="126" y="1536"/>
                    </a:lnTo>
                    <a:lnTo>
                      <a:pt x="128" y="1536"/>
                    </a:lnTo>
                    <a:lnTo>
                      <a:pt x="128" y="1534"/>
                    </a:lnTo>
                    <a:lnTo>
                      <a:pt x="130" y="1536"/>
                    </a:lnTo>
                    <a:lnTo>
                      <a:pt x="132" y="1536"/>
                    </a:lnTo>
                    <a:lnTo>
                      <a:pt x="134" y="1536"/>
                    </a:lnTo>
                    <a:lnTo>
                      <a:pt x="135" y="1536"/>
                    </a:lnTo>
                    <a:lnTo>
                      <a:pt x="135" y="1538"/>
                    </a:lnTo>
                    <a:lnTo>
                      <a:pt x="137" y="1538"/>
                    </a:lnTo>
                    <a:lnTo>
                      <a:pt x="139" y="1536"/>
                    </a:lnTo>
                    <a:lnTo>
                      <a:pt x="141" y="1538"/>
                    </a:lnTo>
                    <a:lnTo>
                      <a:pt x="141" y="1539"/>
                    </a:lnTo>
                    <a:lnTo>
                      <a:pt x="141" y="1541"/>
                    </a:lnTo>
                    <a:lnTo>
                      <a:pt x="143" y="1543"/>
                    </a:lnTo>
                    <a:lnTo>
                      <a:pt x="141" y="1545"/>
                    </a:lnTo>
                    <a:lnTo>
                      <a:pt x="139" y="1545"/>
                    </a:lnTo>
                    <a:lnTo>
                      <a:pt x="137" y="1545"/>
                    </a:lnTo>
                    <a:lnTo>
                      <a:pt x="137" y="1547"/>
                    </a:lnTo>
                    <a:lnTo>
                      <a:pt x="134" y="1549"/>
                    </a:lnTo>
                    <a:lnTo>
                      <a:pt x="135" y="1549"/>
                    </a:lnTo>
                    <a:lnTo>
                      <a:pt x="137" y="1549"/>
                    </a:lnTo>
                    <a:lnTo>
                      <a:pt x="139" y="1549"/>
                    </a:lnTo>
                    <a:lnTo>
                      <a:pt x="137" y="1549"/>
                    </a:lnTo>
                    <a:lnTo>
                      <a:pt x="137" y="1551"/>
                    </a:lnTo>
                    <a:lnTo>
                      <a:pt x="137" y="1549"/>
                    </a:lnTo>
                    <a:lnTo>
                      <a:pt x="137" y="1551"/>
                    </a:lnTo>
                    <a:lnTo>
                      <a:pt x="137" y="1549"/>
                    </a:lnTo>
                    <a:lnTo>
                      <a:pt x="139" y="1549"/>
                    </a:lnTo>
                    <a:lnTo>
                      <a:pt x="141" y="1549"/>
                    </a:lnTo>
                    <a:lnTo>
                      <a:pt x="141" y="1547"/>
                    </a:lnTo>
                    <a:lnTo>
                      <a:pt x="141" y="1545"/>
                    </a:lnTo>
                    <a:lnTo>
                      <a:pt x="143" y="1543"/>
                    </a:lnTo>
                    <a:lnTo>
                      <a:pt x="143" y="1541"/>
                    </a:lnTo>
                    <a:lnTo>
                      <a:pt x="141" y="1539"/>
                    </a:lnTo>
                    <a:lnTo>
                      <a:pt x="141" y="1538"/>
                    </a:lnTo>
                    <a:lnTo>
                      <a:pt x="143" y="1539"/>
                    </a:lnTo>
                    <a:lnTo>
                      <a:pt x="145" y="1539"/>
                    </a:lnTo>
                    <a:lnTo>
                      <a:pt x="147" y="1538"/>
                    </a:lnTo>
                    <a:lnTo>
                      <a:pt x="149" y="1536"/>
                    </a:lnTo>
                    <a:lnTo>
                      <a:pt x="151" y="1534"/>
                    </a:lnTo>
                    <a:lnTo>
                      <a:pt x="149" y="1538"/>
                    </a:lnTo>
                    <a:close/>
                    <a:moveTo>
                      <a:pt x="566" y="788"/>
                    </a:moveTo>
                    <a:lnTo>
                      <a:pt x="572" y="790"/>
                    </a:lnTo>
                    <a:lnTo>
                      <a:pt x="574" y="792"/>
                    </a:lnTo>
                    <a:lnTo>
                      <a:pt x="576" y="793"/>
                    </a:lnTo>
                    <a:lnTo>
                      <a:pt x="578" y="795"/>
                    </a:lnTo>
                    <a:lnTo>
                      <a:pt x="580" y="797"/>
                    </a:lnTo>
                    <a:lnTo>
                      <a:pt x="582" y="797"/>
                    </a:lnTo>
                    <a:lnTo>
                      <a:pt x="582" y="801"/>
                    </a:lnTo>
                    <a:lnTo>
                      <a:pt x="582" y="807"/>
                    </a:lnTo>
                    <a:lnTo>
                      <a:pt x="582" y="809"/>
                    </a:lnTo>
                    <a:lnTo>
                      <a:pt x="582" y="812"/>
                    </a:lnTo>
                    <a:lnTo>
                      <a:pt x="578" y="820"/>
                    </a:lnTo>
                    <a:lnTo>
                      <a:pt x="578" y="822"/>
                    </a:lnTo>
                    <a:lnTo>
                      <a:pt x="576" y="826"/>
                    </a:lnTo>
                    <a:lnTo>
                      <a:pt x="576" y="824"/>
                    </a:lnTo>
                    <a:lnTo>
                      <a:pt x="576" y="826"/>
                    </a:lnTo>
                    <a:lnTo>
                      <a:pt x="574" y="828"/>
                    </a:lnTo>
                    <a:lnTo>
                      <a:pt x="574" y="832"/>
                    </a:lnTo>
                    <a:lnTo>
                      <a:pt x="574" y="830"/>
                    </a:lnTo>
                    <a:lnTo>
                      <a:pt x="572" y="833"/>
                    </a:lnTo>
                    <a:lnTo>
                      <a:pt x="570" y="835"/>
                    </a:lnTo>
                    <a:lnTo>
                      <a:pt x="570" y="833"/>
                    </a:lnTo>
                    <a:lnTo>
                      <a:pt x="568" y="833"/>
                    </a:lnTo>
                    <a:lnTo>
                      <a:pt x="570" y="835"/>
                    </a:lnTo>
                    <a:lnTo>
                      <a:pt x="570" y="837"/>
                    </a:lnTo>
                    <a:lnTo>
                      <a:pt x="570" y="835"/>
                    </a:lnTo>
                    <a:lnTo>
                      <a:pt x="568" y="835"/>
                    </a:lnTo>
                    <a:lnTo>
                      <a:pt x="570" y="837"/>
                    </a:lnTo>
                    <a:lnTo>
                      <a:pt x="570" y="839"/>
                    </a:lnTo>
                    <a:lnTo>
                      <a:pt x="568" y="837"/>
                    </a:lnTo>
                    <a:lnTo>
                      <a:pt x="568" y="839"/>
                    </a:lnTo>
                    <a:lnTo>
                      <a:pt x="568" y="837"/>
                    </a:lnTo>
                    <a:lnTo>
                      <a:pt x="566" y="837"/>
                    </a:lnTo>
                    <a:lnTo>
                      <a:pt x="566" y="835"/>
                    </a:lnTo>
                    <a:lnTo>
                      <a:pt x="563" y="830"/>
                    </a:lnTo>
                    <a:lnTo>
                      <a:pt x="561" y="826"/>
                    </a:lnTo>
                    <a:lnTo>
                      <a:pt x="559" y="824"/>
                    </a:lnTo>
                    <a:lnTo>
                      <a:pt x="561" y="824"/>
                    </a:lnTo>
                    <a:lnTo>
                      <a:pt x="559" y="822"/>
                    </a:lnTo>
                    <a:lnTo>
                      <a:pt x="559" y="824"/>
                    </a:lnTo>
                    <a:lnTo>
                      <a:pt x="559" y="822"/>
                    </a:lnTo>
                    <a:lnTo>
                      <a:pt x="557" y="820"/>
                    </a:lnTo>
                    <a:lnTo>
                      <a:pt x="559" y="820"/>
                    </a:lnTo>
                    <a:lnTo>
                      <a:pt x="557" y="818"/>
                    </a:lnTo>
                    <a:lnTo>
                      <a:pt x="555" y="816"/>
                    </a:lnTo>
                    <a:lnTo>
                      <a:pt x="555" y="814"/>
                    </a:lnTo>
                    <a:lnTo>
                      <a:pt x="557" y="816"/>
                    </a:lnTo>
                    <a:lnTo>
                      <a:pt x="553" y="812"/>
                    </a:lnTo>
                    <a:lnTo>
                      <a:pt x="551" y="811"/>
                    </a:lnTo>
                    <a:lnTo>
                      <a:pt x="551" y="809"/>
                    </a:lnTo>
                    <a:lnTo>
                      <a:pt x="547" y="809"/>
                    </a:lnTo>
                    <a:lnTo>
                      <a:pt x="545" y="805"/>
                    </a:lnTo>
                    <a:lnTo>
                      <a:pt x="545" y="807"/>
                    </a:lnTo>
                    <a:lnTo>
                      <a:pt x="543" y="805"/>
                    </a:lnTo>
                    <a:lnTo>
                      <a:pt x="543" y="807"/>
                    </a:lnTo>
                    <a:lnTo>
                      <a:pt x="542" y="805"/>
                    </a:lnTo>
                    <a:lnTo>
                      <a:pt x="547" y="793"/>
                    </a:lnTo>
                    <a:lnTo>
                      <a:pt x="549" y="792"/>
                    </a:lnTo>
                    <a:lnTo>
                      <a:pt x="555" y="790"/>
                    </a:lnTo>
                    <a:lnTo>
                      <a:pt x="557" y="792"/>
                    </a:lnTo>
                    <a:lnTo>
                      <a:pt x="559" y="790"/>
                    </a:lnTo>
                    <a:lnTo>
                      <a:pt x="563" y="790"/>
                    </a:lnTo>
                    <a:lnTo>
                      <a:pt x="564" y="788"/>
                    </a:lnTo>
                    <a:lnTo>
                      <a:pt x="566" y="788"/>
                    </a:lnTo>
                    <a:close/>
                    <a:moveTo>
                      <a:pt x="488" y="450"/>
                    </a:moveTo>
                    <a:lnTo>
                      <a:pt x="488" y="454"/>
                    </a:lnTo>
                    <a:lnTo>
                      <a:pt x="490" y="452"/>
                    </a:lnTo>
                    <a:lnTo>
                      <a:pt x="492" y="456"/>
                    </a:lnTo>
                    <a:lnTo>
                      <a:pt x="496" y="458"/>
                    </a:lnTo>
                    <a:lnTo>
                      <a:pt x="496" y="460"/>
                    </a:lnTo>
                    <a:lnTo>
                      <a:pt x="500" y="463"/>
                    </a:lnTo>
                    <a:lnTo>
                      <a:pt x="502" y="463"/>
                    </a:lnTo>
                    <a:lnTo>
                      <a:pt x="505" y="467"/>
                    </a:lnTo>
                    <a:lnTo>
                      <a:pt x="507" y="475"/>
                    </a:lnTo>
                    <a:lnTo>
                      <a:pt x="505" y="475"/>
                    </a:lnTo>
                    <a:lnTo>
                      <a:pt x="505" y="477"/>
                    </a:lnTo>
                    <a:lnTo>
                      <a:pt x="505" y="479"/>
                    </a:lnTo>
                    <a:lnTo>
                      <a:pt x="505" y="482"/>
                    </a:lnTo>
                    <a:lnTo>
                      <a:pt x="503" y="486"/>
                    </a:lnTo>
                    <a:lnTo>
                      <a:pt x="498" y="488"/>
                    </a:lnTo>
                    <a:lnTo>
                      <a:pt x="496" y="486"/>
                    </a:lnTo>
                    <a:lnTo>
                      <a:pt x="496" y="484"/>
                    </a:lnTo>
                    <a:lnTo>
                      <a:pt x="494" y="484"/>
                    </a:lnTo>
                    <a:lnTo>
                      <a:pt x="488" y="490"/>
                    </a:lnTo>
                    <a:lnTo>
                      <a:pt x="482" y="486"/>
                    </a:lnTo>
                    <a:lnTo>
                      <a:pt x="479" y="482"/>
                    </a:lnTo>
                    <a:lnTo>
                      <a:pt x="475" y="480"/>
                    </a:lnTo>
                    <a:lnTo>
                      <a:pt x="473" y="480"/>
                    </a:lnTo>
                    <a:lnTo>
                      <a:pt x="475" y="486"/>
                    </a:lnTo>
                    <a:lnTo>
                      <a:pt x="471" y="484"/>
                    </a:lnTo>
                    <a:lnTo>
                      <a:pt x="473" y="488"/>
                    </a:lnTo>
                    <a:lnTo>
                      <a:pt x="471" y="490"/>
                    </a:lnTo>
                    <a:lnTo>
                      <a:pt x="465" y="488"/>
                    </a:lnTo>
                    <a:lnTo>
                      <a:pt x="463" y="484"/>
                    </a:lnTo>
                    <a:lnTo>
                      <a:pt x="463" y="482"/>
                    </a:lnTo>
                    <a:lnTo>
                      <a:pt x="463" y="484"/>
                    </a:lnTo>
                    <a:lnTo>
                      <a:pt x="460" y="482"/>
                    </a:lnTo>
                    <a:lnTo>
                      <a:pt x="452" y="484"/>
                    </a:lnTo>
                    <a:lnTo>
                      <a:pt x="450" y="484"/>
                    </a:lnTo>
                    <a:lnTo>
                      <a:pt x="452" y="486"/>
                    </a:lnTo>
                    <a:lnTo>
                      <a:pt x="450" y="486"/>
                    </a:lnTo>
                    <a:lnTo>
                      <a:pt x="448" y="488"/>
                    </a:lnTo>
                    <a:lnTo>
                      <a:pt x="444" y="490"/>
                    </a:lnTo>
                    <a:lnTo>
                      <a:pt x="441" y="484"/>
                    </a:lnTo>
                    <a:lnTo>
                      <a:pt x="442" y="482"/>
                    </a:lnTo>
                    <a:lnTo>
                      <a:pt x="442" y="480"/>
                    </a:lnTo>
                    <a:lnTo>
                      <a:pt x="444" y="480"/>
                    </a:lnTo>
                    <a:lnTo>
                      <a:pt x="442" y="479"/>
                    </a:lnTo>
                    <a:lnTo>
                      <a:pt x="444" y="479"/>
                    </a:lnTo>
                    <a:lnTo>
                      <a:pt x="444" y="477"/>
                    </a:lnTo>
                    <a:lnTo>
                      <a:pt x="450" y="473"/>
                    </a:lnTo>
                    <a:lnTo>
                      <a:pt x="458" y="467"/>
                    </a:lnTo>
                    <a:lnTo>
                      <a:pt x="463" y="465"/>
                    </a:lnTo>
                    <a:lnTo>
                      <a:pt x="465" y="467"/>
                    </a:lnTo>
                    <a:lnTo>
                      <a:pt x="467" y="467"/>
                    </a:lnTo>
                    <a:lnTo>
                      <a:pt x="469" y="463"/>
                    </a:lnTo>
                    <a:lnTo>
                      <a:pt x="471" y="463"/>
                    </a:lnTo>
                    <a:lnTo>
                      <a:pt x="473" y="461"/>
                    </a:lnTo>
                    <a:lnTo>
                      <a:pt x="471" y="460"/>
                    </a:lnTo>
                    <a:lnTo>
                      <a:pt x="475" y="460"/>
                    </a:lnTo>
                    <a:lnTo>
                      <a:pt x="475" y="458"/>
                    </a:lnTo>
                    <a:lnTo>
                      <a:pt x="477" y="454"/>
                    </a:lnTo>
                    <a:lnTo>
                      <a:pt x="481" y="454"/>
                    </a:lnTo>
                    <a:lnTo>
                      <a:pt x="482" y="450"/>
                    </a:lnTo>
                    <a:lnTo>
                      <a:pt x="484" y="452"/>
                    </a:lnTo>
                    <a:lnTo>
                      <a:pt x="486" y="450"/>
                    </a:lnTo>
                    <a:lnTo>
                      <a:pt x="486" y="452"/>
                    </a:lnTo>
                    <a:lnTo>
                      <a:pt x="488" y="450"/>
                    </a:lnTo>
                    <a:close/>
                    <a:moveTo>
                      <a:pt x="936" y="1265"/>
                    </a:moveTo>
                    <a:lnTo>
                      <a:pt x="940" y="1265"/>
                    </a:lnTo>
                    <a:lnTo>
                      <a:pt x="942" y="1267"/>
                    </a:lnTo>
                    <a:lnTo>
                      <a:pt x="940" y="1270"/>
                    </a:lnTo>
                    <a:lnTo>
                      <a:pt x="940" y="1269"/>
                    </a:lnTo>
                    <a:lnTo>
                      <a:pt x="940" y="1270"/>
                    </a:lnTo>
                    <a:lnTo>
                      <a:pt x="940" y="1272"/>
                    </a:lnTo>
                    <a:lnTo>
                      <a:pt x="940" y="1274"/>
                    </a:lnTo>
                    <a:lnTo>
                      <a:pt x="936" y="1278"/>
                    </a:lnTo>
                    <a:lnTo>
                      <a:pt x="934" y="1278"/>
                    </a:lnTo>
                    <a:lnTo>
                      <a:pt x="932" y="1282"/>
                    </a:lnTo>
                    <a:lnTo>
                      <a:pt x="929" y="1284"/>
                    </a:lnTo>
                    <a:lnTo>
                      <a:pt x="927" y="1288"/>
                    </a:lnTo>
                    <a:lnTo>
                      <a:pt x="923" y="1291"/>
                    </a:lnTo>
                    <a:lnTo>
                      <a:pt x="921" y="1291"/>
                    </a:lnTo>
                    <a:lnTo>
                      <a:pt x="919" y="1290"/>
                    </a:lnTo>
                    <a:lnTo>
                      <a:pt x="915" y="1290"/>
                    </a:lnTo>
                    <a:lnTo>
                      <a:pt x="913" y="1293"/>
                    </a:lnTo>
                    <a:lnTo>
                      <a:pt x="912" y="1293"/>
                    </a:lnTo>
                    <a:lnTo>
                      <a:pt x="912" y="1288"/>
                    </a:lnTo>
                    <a:lnTo>
                      <a:pt x="910" y="1286"/>
                    </a:lnTo>
                    <a:lnTo>
                      <a:pt x="908" y="1282"/>
                    </a:lnTo>
                    <a:lnTo>
                      <a:pt x="910" y="1280"/>
                    </a:lnTo>
                    <a:lnTo>
                      <a:pt x="912" y="1278"/>
                    </a:lnTo>
                    <a:lnTo>
                      <a:pt x="913" y="1276"/>
                    </a:lnTo>
                    <a:lnTo>
                      <a:pt x="915" y="1274"/>
                    </a:lnTo>
                    <a:lnTo>
                      <a:pt x="913" y="1272"/>
                    </a:lnTo>
                    <a:lnTo>
                      <a:pt x="915" y="1270"/>
                    </a:lnTo>
                    <a:lnTo>
                      <a:pt x="915" y="1269"/>
                    </a:lnTo>
                    <a:lnTo>
                      <a:pt x="919" y="1267"/>
                    </a:lnTo>
                    <a:lnTo>
                      <a:pt x="921" y="1267"/>
                    </a:lnTo>
                    <a:lnTo>
                      <a:pt x="921" y="1269"/>
                    </a:lnTo>
                    <a:lnTo>
                      <a:pt x="923" y="1269"/>
                    </a:lnTo>
                    <a:lnTo>
                      <a:pt x="929" y="1265"/>
                    </a:lnTo>
                    <a:lnTo>
                      <a:pt x="932" y="1267"/>
                    </a:lnTo>
                    <a:lnTo>
                      <a:pt x="934" y="1265"/>
                    </a:lnTo>
                    <a:lnTo>
                      <a:pt x="936" y="1265"/>
                    </a:lnTo>
                    <a:close/>
                    <a:moveTo>
                      <a:pt x="1222" y="1644"/>
                    </a:moveTo>
                    <a:lnTo>
                      <a:pt x="1224" y="1644"/>
                    </a:lnTo>
                    <a:lnTo>
                      <a:pt x="1226" y="1644"/>
                    </a:lnTo>
                    <a:lnTo>
                      <a:pt x="1228" y="1646"/>
                    </a:lnTo>
                    <a:lnTo>
                      <a:pt x="1236" y="1646"/>
                    </a:lnTo>
                    <a:lnTo>
                      <a:pt x="1240" y="1648"/>
                    </a:lnTo>
                    <a:lnTo>
                      <a:pt x="1241" y="1648"/>
                    </a:lnTo>
                    <a:lnTo>
                      <a:pt x="1241" y="1650"/>
                    </a:lnTo>
                    <a:lnTo>
                      <a:pt x="1243" y="1650"/>
                    </a:lnTo>
                    <a:lnTo>
                      <a:pt x="1245" y="1652"/>
                    </a:lnTo>
                    <a:lnTo>
                      <a:pt x="1247" y="1652"/>
                    </a:lnTo>
                    <a:lnTo>
                      <a:pt x="1249" y="1654"/>
                    </a:lnTo>
                    <a:lnTo>
                      <a:pt x="1251" y="1654"/>
                    </a:lnTo>
                    <a:lnTo>
                      <a:pt x="1251" y="1656"/>
                    </a:lnTo>
                    <a:lnTo>
                      <a:pt x="1253" y="1656"/>
                    </a:lnTo>
                    <a:lnTo>
                      <a:pt x="1253" y="1658"/>
                    </a:lnTo>
                    <a:lnTo>
                      <a:pt x="1255" y="1658"/>
                    </a:lnTo>
                    <a:lnTo>
                      <a:pt x="1257" y="1658"/>
                    </a:lnTo>
                    <a:lnTo>
                      <a:pt x="1259" y="1658"/>
                    </a:lnTo>
                    <a:lnTo>
                      <a:pt x="1259" y="1660"/>
                    </a:lnTo>
                    <a:lnTo>
                      <a:pt x="1260" y="1660"/>
                    </a:lnTo>
                    <a:lnTo>
                      <a:pt x="1260" y="1662"/>
                    </a:lnTo>
                    <a:lnTo>
                      <a:pt x="1262" y="1663"/>
                    </a:lnTo>
                    <a:lnTo>
                      <a:pt x="1262" y="1665"/>
                    </a:lnTo>
                    <a:lnTo>
                      <a:pt x="1260" y="1665"/>
                    </a:lnTo>
                    <a:lnTo>
                      <a:pt x="1259" y="1665"/>
                    </a:lnTo>
                    <a:lnTo>
                      <a:pt x="1257" y="1665"/>
                    </a:lnTo>
                    <a:lnTo>
                      <a:pt x="1253" y="1665"/>
                    </a:lnTo>
                    <a:lnTo>
                      <a:pt x="1249" y="1663"/>
                    </a:lnTo>
                    <a:lnTo>
                      <a:pt x="1243" y="1663"/>
                    </a:lnTo>
                    <a:lnTo>
                      <a:pt x="1240" y="1662"/>
                    </a:lnTo>
                    <a:lnTo>
                      <a:pt x="1238" y="1660"/>
                    </a:lnTo>
                    <a:lnTo>
                      <a:pt x="1236" y="1660"/>
                    </a:lnTo>
                    <a:lnTo>
                      <a:pt x="1232" y="1658"/>
                    </a:lnTo>
                    <a:lnTo>
                      <a:pt x="1232" y="1656"/>
                    </a:lnTo>
                    <a:lnTo>
                      <a:pt x="1228" y="1652"/>
                    </a:lnTo>
                    <a:lnTo>
                      <a:pt x="1224" y="1650"/>
                    </a:lnTo>
                    <a:lnTo>
                      <a:pt x="1220" y="1648"/>
                    </a:lnTo>
                    <a:lnTo>
                      <a:pt x="1220" y="1646"/>
                    </a:lnTo>
                    <a:lnTo>
                      <a:pt x="1219" y="1648"/>
                    </a:lnTo>
                    <a:lnTo>
                      <a:pt x="1220" y="1648"/>
                    </a:lnTo>
                    <a:lnTo>
                      <a:pt x="1219" y="1648"/>
                    </a:lnTo>
                    <a:lnTo>
                      <a:pt x="1219" y="1646"/>
                    </a:lnTo>
                    <a:lnTo>
                      <a:pt x="1217" y="1646"/>
                    </a:lnTo>
                    <a:lnTo>
                      <a:pt x="1219" y="1644"/>
                    </a:lnTo>
                    <a:lnTo>
                      <a:pt x="1222" y="1644"/>
                    </a:lnTo>
                    <a:close/>
                    <a:moveTo>
                      <a:pt x="727" y="526"/>
                    </a:moveTo>
                    <a:lnTo>
                      <a:pt x="727" y="530"/>
                    </a:lnTo>
                    <a:lnTo>
                      <a:pt x="728" y="528"/>
                    </a:lnTo>
                    <a:lnTo>
                      <a:pt x="728" y="530"/>
                    </a:lnTo>
                    <a:lnTo>
                      <a:pt x="730" y="530"/>
                    </a:lnTo>
                    <a:lnTo>
                      <a:pt x="732" y="526"/>
                    </a:lnTo>
                    <a:lnTo>
                      <a:pt x="736" y="526"/>
                    </a:lnTo>
                    <a:lnTo>
                      <a:pt x="738" y="526"/>
                    </a:lnTo>
                    <a:lnTo>
                      <a:pt x="740" y="526"/>
                    </a:lnTo>
                    <a:lnTo>
                      <a:pt x="740" y="528"/>
                    </a:lnTo>
                    <a:lnTo>
                      <a:pt x="744" y="528"/>
                    </a:lnTo>
                    <a:lnTo>
                      <a:pt x="746" y="530"/>
                    </a:lnTo>
                    <a:lnTo>
                      <a:pt x="748" y="528"/>
                    </a:lnTo>
                    <a:lnTo>
                      <a:pt x="748" y="530"/>
                    </a:lnTo>
                    <a:lnTo>
                      <a:pt x="748" y="528"/>
                    </a:lnTo>
                    <a:lnTo>
                      <a:pt x="749" y="530"/>
                    </a:lnTo>
                    <a:lnTo>
                      <a:pt x="753" y="526"/>
                    </a:lnTo>
                    <a:lnTo>
                      <a:pt x="755" y="528"/>
                    </a:lnTo>
                    <a:lnTo>
                      <a:pt x="757" y="528"/>
                    </a:lnTo>
                    <a:lnTo>
                      <a:pt x="759" y="530"/>
                    </a:lnTo>
                    <a:lnTo>
                      <a:pt x="761" y="530"/>
                    </a:lnTo>
                    <a:lnTo>
                      <a:pt x="763" y="536"/>
                    </a:lnTo>
                    <a:lnTo>
                      <a:pt x="761" y="538"/>
                    </a:lnTo>
                    <a:lnTo>
                      <a:pt x="759" y="538"/>
                    </a:lnTo>
                    <a:lnTo>
                      <a:pt x="759" y="542"/>
                    </a:lnTo>
                    <a:lnTo>
                      <a:pt x="757" y="543"/>
                    </a:lnTo>
                    <a:lnTo>
                      <a:pt x="757" y="549"/>
                    </a:lnTo>
                    <a:lnTo>
                      <a:pt x="755" y="551"/>
                    </a:lnTo>
                    <a:lnTo>
                      <a:pt x="753" y="551"/>
                    </a:lnTo>
                    <a:lnTo>
                      <a:pt x="751" y="551"/>
                    </a:lnTo>
                    <a:lnTo>
                      <a:pt x="751" y="553"/>
                    </a:lnTo>
                    <a:lnTo>
                      <a:pt x="751" y="551"/>
                    </a:lnTo>
                    <a:lnTo>
                      <a:pt x="749" y="553"/>
                    </a:lnTo>
                    <a:lnTo>
                      <a:pt x="749" y="551"/>
                    </a:lnTo>
                    <a:lnTo>
                      <a:pt x="746" y="551"/>
                    </a:lnTo>
                    <a:lnTo>
                      <a:pt x="742" y="549"/>
                    </a:lnTo>
                    <a:lnTo>
                      <a:pt x="738" y="549"/>
                    </a:lnTo>
                    <a:lnTo>
                      <a:pt x="734" y="549"/>
                    </a:lnTo>
                    <a:lnTo>
                      <a:pt x="728" y="551"/>
                    </a:lnTo>
                    <a:lnTo>
                      <a:pt x="727" y="549"/>
                    </a:lnTo>
                    <a:lnTo>
                      <a:pt x="721" y="549"/>
                    </a:lnTo>
                    <a:lnTo>
                      <a:pt x="719" y="551"/>
                    </a:lnTo>
                    <a:lnTo>
                      <a:pt x="717" y="549"/>
                    </a:lnTo>
                    <a:lnTo>
                      <a:pt x="711" y="540"/>
                    </a:lnTo>
                    <a:lnTo>
                      <a:pt x="713" y="540"/>
                    </a:lnTo>
                    <a:lnTo>
                      <a:pt x="713" y="534"/>
                    </a:lnTo>
                    <a:lnTo>
                      <a:pt x="715" y="532"/>
                    </a:lnTo>
                    <a:lnTo>
                      <a:pt x="715" y="530"/>
                    </a:lnTo>
                    <a:lnTo>
                      <a:pt x="717" y="530"/>
                    </a:lnTo>
                    <a:lnTo>
                      <a:pt x="719" y="528"/>
                    </a:lnTo>
                    <a:lnTo>
                      <a:pt x="721" y="528"/>
                    </a:lnTo>
                    <a:lnTo>
                      <a:pt x="721" y="526"/>
                    </a:lnTo>
                    <a:lnTo>
                      <a:pt x="723" y="528"/>
                    </a:lnTo>
                    <a:lnTo>
                      <a:pt x="723" y="526"/>
                    </a:lnTo>
                    <a:lnTo>
                      <a:pt x="725" y="524"/>
                    </a:lnTo>
                    <a:lnTo>
                      <a:pt x="727" y="526"/>
                    </a:lnTo>
                    <a:close/>
                    <a:moveTo>
                      <a:pt x="1280" y="1713"/>
                    </a:moveTo>
                    <a:lnTo>
                      <a:pt x="1281" y="1715"/>
                    </a:lnTo>
                    <a:lnTo>
                      <a:pt x="1283" y="1715"/>
                    </a:lnTo>
                    <a:lnTo>
                      <a:pt x="1281" y="1717"/>
                    </a:lnTo>
                    <a:lnTo>
                      <a:pt x="1283" y="1719"/>
                    </a:lnTo>
                    <a:lnTo>
                      <a:pt x="1283" y="1717"/>
                    </a:lnTo>
                    <a:lnTo>
                      <a:pt x="1285" y="1719"/>
                    </a:lnTo>
                    <a:lnTo>
                      <a:pt x="1283" y="1719"/>
                    </a:lnTo>
                    <a:lnTo>
                      <a:pt x="1283" y="1721"/>
                    </a:lnTo>
                    <a:lnTo>
                      <a:pt x="1283" y="1723"/>
                    </a:lnTo>
                    <a:lnTo>
                      <a:pt x="1283" y="1725"/>
                    </a:lnTo>
                    <a:lnTo>
                      <a:pt x="1281" y="1728"/>
                    </a:lnTo>
                    <a:lnTo>
                      <a:pt x="1281" y="1730"/>
                    </a:lnTo>
                    <a:lnTo>
                      <a:pt x="1281" y="1732"/>
                    </a:lnTo>
                    <a:lnTo>
                      <a:pt x="1281" y="1730"/>
                    </a:lnTo>
                    <a:lnTo>
                      <a:pt x="1280" y="1732"/>
                    </a:lnTo>
                    <a:lnTo>
                      <a:pt x="1280" y="1734"/>
                    </a:lnTo>
                    <a:lnTo>
                      <a:pt x="1280" y="1732"/>
                    </a:lnTo>
                    <a:lnTo>
                      <a:pt x="1280" y="1734"/>
                    </a:lnTo>
                    <a:lnTo>
                      <a:pt x="1281" y="1732"/>
                    </a:lnTo>
                    <a:lnTo>
                      <a:pt x="1281" y="1730"/>
                    </a:lnTo>
                    <a:lnTo>
                      <a:pt x="1283" y="1730"/>
                    </a:lnTo>
                    <a:lnTo>
                      <a:pt x="1283" y="1732"/>
                    </a:lnTo>
                    <a:lnTo>
                      <a:pt x="1281" y="1732"/>
                    </a:lnTo>
                    <a:lnTo>
                      <a:pt x="1280" y="1734"/>
                    </a:lnTo>
                    <a:lnTo>
                      <a:pt x="1280" y="1736"/>
                    </a:lnTo>
                    <a:lnTo>
                      <a:pt x="1278" y="1736"/>
                    </a:lnTo>
                    <a:lnTo>
                      <a:pt x="1276" y="1736"/>
                    </a:lnTo>
                    <a:lnTo>
                      <a:pt x="1274" y="1738"/>
                    </a:lnTo>
                    <a:lnTo>
                      <a:pt x="1272" y="1740"/>
                    </a:lnTo>
                    <a:lnTo>
                      <a:pt x="1274" y="1740"/>
                    </a:lnTo>
                    <a:lnTo>
                      <a:pt x="1274" y="1738"/>
                    </a:lnTo>
                    <a:lnTo>
                      <a:pt x="1276" y="1738"/>
                    </a:lnTo>
                    <a:lnTo>
                      <a:pt x="1274" y="1738"/>
                    </a:lnTo>
                    <a:lnTo>
                      <a:pt x="1276" y="1736"/>
                    </a:lnTo>
                    <a:lnTo>
                      <a:pt x="1276" y="1738"/>
                    </a:lnTo>
                    <a:lnTo>
                      <a:pt x="1278" y="1736"/>
                    </a:lnTo>
                    <a:lnTo>
                      <a:pt x="1278" y="1738"/>
                    </a:lnTo>
                    <a:lnTo>
                      <a:pt x="1276" y="1738"/>
                    </a:lnTo>
                    <a:lnTo>
                      <a:pt x="1278" y="1738"/>
                    </a:lnTo>
                    <a:lnTo>
                      <a:pt x="1276" y="1738"/>
                    </a:lnTo>
                    <a:lnTo>
                      <a:pt x="1276" y="1740"/>
                    </a:lnTo>
                    <a:lnTo>
                      <a:pt x="1274" y="1740"/>
                    </a:lnTo>
                    <a:lnTo>
                      <a:pt x="1276" y="1740"/>
                    </a:lnTo>
                    <a:lnTo>
                      <a:pt x="1274" y="1740"/>
                    </a:lnTo>
                    <a:lnTo>
                      <a:pt x="1272" y="1740"/>
                    </a:lnTo>
                    <a:lnTo>
                      <a:pt x="1274" y="1740"/>
                    </a:lnTo>
                    <a:lnTo>
                      <a:pt x="1272" y="1740"/>
                    </a:lnTo>
                    <a:lnTo>
                      <a:pt x="1272" y="1742"/>
                    </a:lnTo>
                    <a:lnTo>
                      <a:pt x="1274" y="1740"/>
                    </a:lnTo>
                    <a:lnTo>
                      <a:pt x="1274" y="1742"/>
                    </a:lnTo>
                    <a:lnTo>
                      <a:pt x="1272" y="1744"/>
                    </a:lnTo>
                    <a:lnTo>
                      <a:pt x="1270" y="1746"/>
                    </a:lnTo>
                    <a:lnTo>
                      <a:pt x="1272" y="1746"/>
                    </a:lnTo>
                    <a:lnTo>
                      <a:pt x="1274" y="1744"/>
                    </a:lnTo>
                    <a:lnTo>
                      <a:pt x="1276" y="1744"/>
                    </a:lnTo>
                    <a:lnTo>
                      <a:pt x="1276" y="1746"/>
                    </a:lnTo>
                    <a:lnTo>
                      <a:pt x="1274" y="1746"/>
                    </a:lnTo>
                    <a:lnTo>
                      <a:pt x="1276" y="1746"/>
                    </a:lnTo>
                    <a:lnTo>
                      <a:pt x="1274" y="1747"/>
                    </a:lnTo>
                    <a:lnTo>
                      <a:pt x="1272" y="1746"/>
                    </a:lnTo>
                    <a:lnTo>
                      <a:pt x="1272" y="1747"/>
                    </a:lnTo>
                    <a:lnTo>
                      <a:pt x="1274" y="1747"/>
                    </a:lnTo>
                    <a:lnTo>
                      <a:pt x="1272" y="1747"/>
                    </a:lnTo>
                    <a:lnTo>
                      <a:pt x="1270" y="1747"/>
                    </a:lnTo>
                    <a:lnTo>
                      <a:pt x="1268" y="1747"/>
                    </a:lnTo>
                    <a:lnTo>
                      <a:pt x="1268" y="1749"/>
                    </a:lnTo>
                    <a:lnTo>
                      <a:pt x="1268" y="1747"/>
                    </a:lnTo>
                    <a:lnTo>
                      <a:pt x="1266" y="1746"/>
                    </a:lnTo>
                    <a:lnTo>
                      <a:pt x="1266" y="1742"/>
                    </a:lnTo>
                    <a:lnTo>
                      <a:pt x="1266" y="1740"/>
                    </a:lnTo>
                    <a:lnTo>
                      <a:pt x="1264" y="1740"/>
                    </a:lnTo>
                    <a:lnTo>
                      <a:pt x="1264" y="1738"/>
                    </a:lnTo>
                    <a:lnTo>
                      <a:pt x="1266" y="1736"/>
                    </a:lnTo>
                    <a:lnTo>
                      <a:pt x="1266" y="1734"/>
                    </a:lnTo>
                    <a:lnTo>
                      <a:pt x="1268" y="1732"/>
                    </a:lnTo>
                    <a:lnTo>
                      <a:pt x="1270" y="1732"/>
                    </a:lnTo>
                    <a:lnTo>
                      <a:pt x="1270" y="1730"/>
                    </a:lnTo>
                    <a:lnTo>
                      <a:pt x="1272" y="1728"/>
                    </a:lnTo>
                    <a:lnTo>
                      <a:pt x="1272" y="1726"/>
                    </a:lnTo>
                    <a:lnTo>
                      <a:pt x="1272" y="1725"/>
                    </a:lnTo>
                    <a:lnTo>
                      <a:pt x="1274" y="1723"/>
                    </a:lnTo>
                    <a:lnTo>
                      <a:pt x="1272" y="1725"/>
                    </a:lnTo>
                    <a:lnTo>
                      <a:pt x="1274" y="1725"/>
                    </a:lnTo>
                    <a:lnTo>
                      <a:pt x="1274" y="1723"/>
                    </a:lnTo>
                    <a:lnTo>
                      <a:pt x="1276" y="1721"/>
                    </a:lnTo>
                    <a:lnTo>
                      <a:pt x="1276" y="1719"/>
                    </a:lnTo>
                    <a:lnTo>
                      <a:pt x="1278" y="1717"/>
                    </a:lnTo>
                    <a:lnTo>
                      <a:pt x="1280" y="1715"/>
                    </a:lnTo>
                    <a:lnTo>
                      <a:pt x="1280" y="1713"/>
                    </a:lnTo>
                    <a:close/>
                    <a:moveTo>
                      <a:pt x="1226" y="1713"/>
                    </a:moveTo>
                    <a:lnTo>
                      <a:pt x="1226" y="1717"/>
                    </a:lnTo>
                    <a:lnTo>
                      <a:pt x="1224" y="1719"/>
                    </a:lnTo>
                    <a:lnTo>
                      <a:pt x="1224" y="1721"/>
                    </a:lnTo>
                    <a:lnTo>
                      <a:pt x="1224" y="1719"/>
                    </a:lnTo>
                    <a:lnTo>
                      <a:pt x="1224" y="1721"/>
                    </a:lnTo>
                    <a:lnTo>
                      <a:pt x="1224" y="1723"/>
                    </a:lnTo>
                    <a:lnTo>
                      <a:pt x="1226" y="1723"/>
                    </a:lnTo>
                    <a:lnTo>
                      <a:pt x="1224" y="1721"/>
                    </a:lnTo>
                    <a:lnTo>
                      <a:pt x="1226" y="1721"/>
                    </a:lnTo>
                    <a:lnTo>
                      <a:pt x="1226" y="1723"/>
                    </a:lnTo>
                    <a:lnTo>
                      <a:pt x="1228" y="1723"/>
                    </a:lnTo>
                    <a:lnTo>
                      <a:pt x="1226" y="1723"/>
                    </a:lnTo>
                    <a:lnTo>
                      <a:pt x="1228" y="1723"/>
                    </a:lnTo>
                    <a:lnTo>
                      <a:pt x="1228" y="1725"/>
                    </a:lnTo>
                    <a:lnTo>
                      <a:pt x="1226" y="1725"/>
                    </a:lnTo>
                    <a:lnTo>
                      <a:pt x="1228" y="1725"/>
                    </a:lnTo>
                    <a:lnTo>
                      <a:pt x="1228" y="1726"/>
                    </a:lnTo>
                    <a:lnTo>
                      <a:pt x="1226" y="1726"/>
                    </a:lnTo>
                    <a:lnTo>
                      <a:pt x="1228" y="1726"/>
                    </a:lnTo>
                    <a:lnTo>
                      <a:pt x="1228" y="1728"/>
                    </a:lnTo>
                    <a:lnTo>
                      <a:pt x="1230" y="1728"/>
                    </a:lnTo>
                    <a:lnTo>
                      <a:pt x="1230" y="1726"/>
                    </a:lnTo>
                    <a:lnTo>
                      <a:pt x="1230" y="1725"/>
                    </a:lnTo>
                    <a:lnTo>
                      <a:pt x="1230" y="1726"/>
                    </a:lnTo>
                    <a:lnTo>
                      <a:pt x="1232" y="1726"/>
                    </a:lnTo>
                    <a:lnTo>
                      <a:pt x="1230" y="1725"/>
                    </a:lnTo>
                    <a:lnTo>
                      <a:pt x="1232" y="1725"/>
                    </a:lnTo>
                    <a:lnTo>
                      <a:pt x="1234" y="1726"/>
                    </a:lnTo>
                    <a:lnTo>
                      <a:pt x="1234" y="1728"/>
                    </a:lnTo>
                    <a:lnTo>
                      <a:pt x="1234" y="1726"/>
                    </a:lnTo>
                    <a:lnTo>
                      <a:pt x="1236" y="1726"/>
                    </a:lnTo>
                    <a:lnTo>
                      <a:pt x="1234" y="1726"/>
                    </a:lnTo>
                    <a:lnTo>
                      <a:pt x="1236" y="1726"/>
                    </a:lnTo>
                    <a:lnTo>
                      <a:pt x="1238" y="1728"/>
                    </a:lnTo>
                    <a:lnTo>
                      <a:pt x="1236" y="1728"/>
                    </a:lnTo>
                    <a:lnTo>
                      <a:pt x="1238" y="1728"/>
                    </a:lnTo>
                    <a:lnTo>
                      <a:pt x="1241" y="1728"/>
                    </a:lnTo>
                    <a:lnTo>
                      <a:pt x="1245" y="1728"/>
                    </a:lnTo>
                    <a:lnTo>
                      <a:pt x="1247" y="1726"/>
                    </a:lnTo>
                    <a:lnTo>
                      <a:pt x="1251" y="1726"/>
                    </a:lnTo>
                    <a:lnTo>
                      <a:pt x="1255" y="1726"/>
                    </a:lnTo>
                    <a:lnTo>
                      <a:pt x="1259" y="1728"/>
                    </a:lnTo>
                    <a:lnTo>
                      <a:pt x="1255" y="1730"/>
                    </a:lnTo>
                    <a:lnTo>
                      <a:pt x="1253" y="1730"/>
                    </a:lnTo>
                    <a:lnTo>
                      <a:pt x="1251" y="1730"/>
                    </a:lnTo>
                    <a:lnTo>
                      <a:pt x="1253" y="1730"/>
                    </a:lnTo>
                    <a:lnTo>
                      <a:pt x="1251" y="1730"/>
                    </a:lnTo>
                    <a:lnTo>
                      <a:pt x="1253" y="1730"/>
                    </a:lnTo>
                    <a:lnTo>
                      <a:pt x="1251" y="1730"/>
                    </a:lnTo>
                    <a:lnTo>
                      <a:pt x="1251" y="1732"/>
                    </a:lnTo>
                    <a:lnTo>
                      <a:pt x="1251" y="1734"/>
                    </a:lnTo>
                    <a:lnTo>
                      <a:pt x="1249" y="1734"/>
                    </a:lnTo>
                    <a:lnTo>
                      <a:pt x="1249" y="1732"/>
                    </a:lnTo>
                    <a:lnTo>
                      <a:pt x="1247" y="1732"/>
                    </a:lnTo>
                    <a:lnTo>
                      <a:pt x="1249" y="1734"/>
                    </a:lnTo>
                    <a:lnTo>
                      <a:pt x="1247" y="1734"/>
                    </a:lnTo>
                    <a:lnTo>
                      <a:pt x="1249" y="1734"/>
                    </a:lnTo>
                    <a:lnTo>
                      <a:pt x="1247" y="1734"/>
                    </a:lnTo>
                    <a:lnTo>
                      <a:pt x="1249" y="1734"/>
                    </a:lnTo>
                    <a:lnTo>
                      <a:pt x="1249" y="1736"/>
                    </a:lnTo>
                    <a:lnTo>
                      <a:pt x="1251" y="1736"/>
                    </a:lnTo>
                    <a:lnTo>
                      <a:pt x="1249" y="1734"/>
                    </a:lnTo>
                    <a:lnTo>
                      <a:pt x="1251" y="1736"/>
                    </a:lnTo>
                    <a:lnTo>
                      <a:pt x="1249" y="1738"/>
                    </a:lnTo>
                    <a:lnTo>
                      <a:pt x="1249" y="1736"/>
                    </a:lnTo>
                    <a:lnTo>
                      <a:pt x="1249" y="1738"/>
                    </a:lnTo>
                    <a:lnTo>
                      <a:pt x="1247" y="1738"/>
                    </a:lnTo>
                    <a:lnTo>
                      <a:pt x="1249" y="1738"/>
                    </a:lnTo>
                    <a:lnTo>
                      <a:pt x="1251" y="1738"/>
                    </a:lnTo>
                    <a:lnTo>
                      <a:pt x="1249" y="1738"/>
                    </a:lnTo>
                    <a:lnTo>
                      <a:pt x="1245" y="1740"/>
                    </a:lnTo>
                    <a:lnTo>
                      <a:pt x="1243" y="1738"/>
                    </a:lnTo>
                    <a:lnTo>
                      <a:pt x="1243" y="1736"/>
                    </a:lnTo>
                    <a:lnTo>
                      <a:pt x="1241" y="1738"/>
                    </a:lnTo>
                    <a:lnTo>
                      <a:pt x="1241" y="1736"/>
                    </a:lnTo>
                    <a:lnTo>
                      <a:pt x="1243" y="1736"/>
                    </a:lnTo>
                    <a:lnTo>
                      <a:pt x="1243" y="1734"/>
                    </a:lnTo>
                    <a:lnTo>
                      <a:pt x="1241" y="1736"/>
                    </a:lnTo>
                    <a:lnTo>
                      <a:pt x="1243" y="1734"/>
                    </a:lnTo>
                    <a:lnTo>
                      <a:pt x="1241" y="1734"/>
                    </a:lnTo>
                    <a:lnTo>
                      <a:pt x="1240" y="1734"/>
                    </a:lnTo>
                    <a:lnTo>
                      <a:pt x="1240" y="1732"/>
                    </a:lnTo>
                    <a:lnTo>
                      <a:pt x="1238" y="1732"/>
                    </a:lnTo>
                    <a:lnTo>
                      <a:pt x="1240" y="1732"/>
                    </a:lnTo>
                    <a:lnTo>
                      <a:pt x="1240" y="1734"/>
                    </a:lnTo>
                    <a:lnTo>
                      <a:pt x="1238" y="1732"/>
                    </a:lnTo>
                    <a:lnTo>
                      <a:pt x="1238" y="1734"/>
                    </a:lnTo>
                    <a:lnTo>
                      <a:pt x="1240" y="1734"/>
                    </a:lnTo>
                    <a:lnTo>
                      <a:pt x="1238" y="1734"/>
                    </a:lnTo>
                    <a:lnTo>
                      <a:pt x="1238" y="1736"/>
                    </a:lnTo>
                    <a:lnTo>
                      <a:pt x="1236" y="1734"/>
                    </a:lnTo>
                    <a:lnTo>
                      <a:pt x="1234" y="1734"/>
                    </a:lnTo>
                    <a:lnTo>
                      <a:pt x="1234" y="1732"/>
                    </a:lnTo>
                    <a:lnTo>
                      <a:pt x="1234" y="1734"/>
                    </a:lnTo>
                    <a:lnTo>
                      <a:pt x="1232" y="1732"/>
                    </a:lnTo>
                    <a:lnTo>
                      <a:pt x="1230" y="1732"/>
                    </a:lnTo>
                    <a:lnTo>
                      <a:pt x="1228" y="1730"/>
                    </a:lnTo>
                    <a:lnTo>
                      <a:pt x="1230" y="1730"/>
                    </a:lnTo>
                    <a:lnTo>
                      <a:pt x="1228" y="1730"/>
                    </a:lnTo>
                    <a:lnTo>
                      <a:pt x="1230" y="1730"/>
                    </a:lnTo>
                    <a:lnTo>
                      <a:pt x="1230" y="1728"/>
                    </a:lnTo>
                    <a:lnTo>
                      <a:pt x="1228" y="1728"/>
                    </a:lnTo>
                    <a:lnTo>
                      <a:pt x="1226" y="1728"/>
                    </a:lnTo>
                    <a:lnTo>
                      <a:pt x="1224" y="1728"/>
                    </a:lnTo>
                    <a:lnTo>
                      <a:pt x="1224" y="1726"/>
                    </a:lnTo>
                    <a:lnTo>
                      <a:pt x="1224" y="1725"/>
                    </a:lnTo>
                    <a:lnTo>
                      <a:pt x="1224" y="1723"/>
                    </a:lnTo>
                    <a:lnTo>
                      <a:pt x="1224" y="1725"/>
                    </a:lnTo>
                    <a:lnTo>
                      <a:pt x="1222" y="1725"/>
                    </a:lnTo>
                    <a:lnTo>
                      <a:pt x="1220" y="1725"/>
                    </a:lnTo>
                    <a:lnTo>
                      <a:pt x="1219" y="1723"/>
                    </a:lnTo>
                    <a:lnTo>
                      <a:pt x="1219" y="1721"/>
                    </a:lnTo>
                    <a:lnTo>
                      <a:pt x="1220" y="1719"/>
                    </a:lnTo>
                    <a:lnTo>
                      <a:pt x="1222" y="1717"/>
                    </a:lnTo>
                    <a:lnTo>
                      <a:pt x="1224" y="1715"/>
                    </a:lnTo>
                    <a:lnTo>
                      <a:pt x="1226" y="1713"/>
                    </a:lnTo>
                    <a:close/>
                    <a:moveTo>
                      <a:pt x="978" y="1284"/>
                    </a:moveTo>
                    <a:lnTo>
                      <a:pt x="980" y="1286"/>
                    </a:lnTo>
                    <a:lnTo>
                      <a:pt x="980" y="1288"/>
                    </a:lnTo>
                    <a:lnTo>
                      <a:pt x="982" y="1288"/>
                    </a:lnTo>
                    <a:lnTo>
                      <a:pt x="982" y="1290"/>
                    </a:lnTo>
                    <a:lnTo>
                      <a:pt x="982" y="1291"/>
                    </a:lnTo>
                    <a:lnTo>
                      <a:pt x="982" y="1297"/>
                    </a:lnTo>
                    <a:lnTo>
                      <a:pt x="980" y="1299"/>
                    </a:lnTo>
                    <a:lnTo>
                      <a:pt x="980" y="1303"/>
                    </a:lnTo>
                    <a:lnTo>
                      <a:pt x="978" y="1305"/>
                    </a:lnTo>
                    <a:lnTo>
                      <a:pt x="978" y="1309"/>
                    </a:lnTo>
                    <a:lnTo>
                      <a:pt x="976" y="1309"/>
                    </a:lnTo>
                    <a:lnTo>
                      <a:pt x="976" y="1311"/>
                    </a:lnTo>
                    <a:lnTo>
                      <a:pt x="974" y="1312"/>
                    </a:lnTo>
                    <a:lnTo>
                      <a:pt x="973" y="1312"/>
                    </a:lnTo>
                    <a:lnTo>
                      <a:pt x="973" y="1311"/>
                    </a:lnTo>
                    <a:lnTo>
                      <a:pt x="973" y="1309"/>
                    </a:lnTo>
                    <a:lnTo>
                      <a:pt x="973" y="1311"/>
                    </a:lnTo>
                    <a:lnTo>
                      <a:pt x="973" y="1309"/>
                    </a:lnTo>
                    <a:lnTo>
                      <a:pt x="971" y="1307"/>
                    </a:lnTo>
                    <a:lnTo>
                      <a:pt x="971" y="1305"/>
                    </a:lnTo>
                    <a:lnTo>
                      <a:pt x="969" y="1305"/>
                    </a:lnTo>
                    <a:lnTo>
                      <a:pt x="969" y="1303"/>
                    </a:lnTo>
                    <a:lnTo>
                      <a:pt x="967" y="1303"/>
                    </a:lnTo>
                    <a:lnTo>
                      <a:pt x="967" y="1301"/>
                    </a:lnTo>
                    <a:lnTo>
                      <a:pt x="967" y="1297"/>
                    </a:lnTo>
                    <a:lnTo>
                      <a:pt x="969" y="1293"/>
                    </a:lnTo>
                    <a:lnTo>
                      <a:pt x="969" y="1290"/>
                    </a:lnTo>
                    <a:lnTo>
                      <a:pt x="971" y="1290"/>
                    </a:lnTo>
                    <a:lnTo>
                      <a:pt x="973" y="1286"/>
                    </a:lnTo>
                    <a:lnTo>
                      <a:pt x="974" y="1284"/>
                    </a:lnTo>
                    <a:lnTo>
                      <a:pt x="974" y="1286"/>
                    </a:lnTo>
                    <a:lnTo>
                      <a:pt x="976" y="1286"/>
                    </a:lnTo>
                    <a:lnTo>
                      <a:pt x="978" y="1284"/>
                    </a:lnTo>
                    <a:close/>
                    <a:moveTo>
                      <a:pt x="799" y="538"/>
                    </a:moveTo>
                    <a:lnTo>
                      <a:pt x="803" y="538"/>
                    </a:lnTo>
                    <a:lnTo>
                      <a:pt x="805" y="538"/>
                    </a:lnTo>
                    <a:lnTo>
                      <a:pt x="809" y="540"/>
                    </a:lnTo>
                    <a:lnTo>
                      <a:pt x="809" y="542"/>
                    </a:lnTo>
                    <a:lnTo>
                      <a:pt x="810" y="543"/>
                    </a:lnTo>
                    <a:lnTo>
                      <a:pt x="816" y="551"/>
                    </a:lnTo>
                    <a:lnTo>
                      <a:pt x="816" y="559"/>
                    </a:lnTo>
                    <a:lnTo>
                      <a:pt x="818" y="559"/>
                    </a:lnTo>
                    <a:lnTo>
                      <a:pt x="818" y="563"/>
                    </a:lnTo>
                    <a:lnTo>
                      <a:pt x="814" y="568"/>
                    </a:lnTo>
                    <a:lnTo>
                      <a:pt x="810" y="570"/>
                    </a:lnTo>
                    <a:lnTo>
                      <a:pt x="809" y="568"/>
                    </a:lnTo>
                    <a:lnTo>
                      <a:pt x="809" y="570"/>
                    </a:lnTo>
                    <a:lnTo>
                      <a:pt x="807" y="570"/>
                    </a:lnTo>
                    <a:lnTo>
                      <a:pt x="807" y="568"/>
                    </a:lnTo>
                    <a:lnTo>
                      <a:pt x="805" y="568"/>
                    </a:lnTo>
                    <a:lnTo>
                      <a:pt x="801" y="564"/>
                    </a:lnTo>
                    <a:lnTo>
                      <a:pt x="795" y="561"/>
                    </a:lnTo>
                    <a:lnTo>
                      <a:pt x="797" y="561"/>
                    </a:lnTo>
                    <a:lnTo>
                      <a:pt x="793" y="557"/>
                    </a:lnTo>
                    <a:lnTo>
                      <a:pt x="793" y="545"/>
                    </a:lnTo>
                    <a:lnTo>
                      <a:pt x="791" y="543"/>
                    </a:lnTo>
                    <a:lnTo>
                      <a:pt x="793" y="542"/>
                    </a:lnTo>
                    <a:lnTo>
                      <a:pt x="793" y="540"/>
                    </a:lnTo>
                    <a:lnTo>
                      <a:pt x="795" y="540"/>
                    </a:lnTo>
                    <a:lnTo>
                      <a:pt x="797" y="538"/>
                    </a:lnTo>
                    <a:lnTo>
                      <a:pt x="797" y="536"/>
                    </a:lnTo>
                    <a:lnTo>
                      <a:pt x="799" y="538"/>
                    </a:lnTo>
                    <a:close/>
                    <a:moveTo>
                      <a:pt x="374" y="645"/>
                    </a:moveTo>
                    <a:lnTo>
                      <a:pt x="376" y="646"/>
                    </a:lnTo>
                    <a:lnTo>
                      <a:pt x="374" y="652"/>
                    </a:lnTo>
                    <a:lnTo>
                      <a:pt x="370" y="660"/>
                    </a:lnTo>
                    <a:lnTo>
                      <a:pt x="370" y="664"/>
                    </a:lnTo>
                    <a:lnTo>
                      <a:pt x="368" y="664"/>
                    </a:lnTo>
                    <a:lnTo>
                      <a:pt x="368" y="667"/>
                    </a:lnTo>
                    <a:lnTo>
                      <a:pt x="368" y="669"/>
                    </a:lnTo>
                    <a:lnTo>
                      <a:pt x="364" y="673"/>
                    </a:lnTo>
                    <a:lnTo>
                      <a:pt x="364" y="675"/>
                    </a:lnTo>
                    <a:lnTo>
                      <a:pt x="362" y="677"/>
                    </a:lnTo>
                    <a:lnTo>
                      <a:pt x="364" y="677"/>
                    </a:lnTo>
                    <a:lnTo>
                      <a:pt x="360" y="681"/>
                    </a:lnTo>
                    <a:lnTo>
                      <a:pt x="359" y="683"/>
                    </a:lnTo>
                    <a:lnTo>
                      <a:pt x="359" y="685"/>
                    </a:lnTo>
                    <a:lnTo>
                      <a:pt x="355" y="683"/>
                    </a:lnTo>
                    <a:lnTo>
                      <a:pt x="353" y="683"/>
                    </a:lnTo>
                    <a:lnTo>
                      <a:pt x="353" y="681"/>
                    </a:lnTo>
                    <a:lnTo>
                      <a:pt x="353" y="679"/>
                    </a:lnTo>
                    <a:lnTo>
                      <a:pt x="351" y="681"/>
                    </a:lnTo>
                    <a:lnTo>
                      <a:pt x="351" y="679"/>
                    </a:lnTo>
                    <a:lnTo>
                      <a:pt x="349" y="681"/>
                    </a:lnTo>
                    <a:lnTo>
                      <a:pt x="345" y="679"/>
                    </a:lnTo>
                    <a:lnTo>
                      <a:pt x="345" y="677"/>
                    </a:lnTo>
                    <a:lnTo>
                      <a:pt x="345" y="673"/>
                    </a:lnTo>
                    <a:lnTo>
                      <a:pt x="351" y="667"/>
                    </a:lnTo>
                    <a:lnTo>
                      <a:pt x="353" y="667"/>
                    </a:lnTo>
                    <a:lnTo>
                      <a:pt x="351" y="666"/>
                    </a:lnTo>
                    <a:lnTo>
                      <a:pt x="355" y="662"/>
                    </a:lnTo>
                    <a:lnTo>
                      <a:pt x="355" y="660"/>
                    </a:lnTo>
                    <a:lnTo>
                      <a:pt x="357" y="658"/>
                    </a:lnTo>
                    <a:lnTo>
                      <a:pt x="362" y="654"/>
                    </a:lnTo>
                    <a:lnTo>
                      <a:pt x="364" y="654"/>
                    </a:lnTo>
                    <a:lnTo>
                      <a:pt x="364" y="650"/>
                    </a:lnTo>
                    <a:lnTo>
                      <a:pt x="368" y="648"/>
                    </a:lnTo>
                    <a:lnTo>
                      <a:pt x="370" y="645"/>
                    </a:lnTo>
                    <a:lnTo>
                      <a:pt x="372" y="645"/>
                    </a:lnTo>
                    <a:lnTo>
                      <a:pt x="374" y="645"/>
                    </a:lnTo>
                    <a:close/>
                    <a:moveTo>
                      <a:pt x="561" y="528"/>
                    </a:moveTo>
                    <a:lnTo>
                      <a:pt x="564" y="530"/>
                    </a:lnTo>
                    <a:lnTo>
                      <a:pt x="570" y="538"/>
                    </a:lnTo>
                    <a:lnTo>
                      <a:pt x="574" y="547"/>
                    </a:lnTo>
                    <a:lnTo>
                      <a:pt x="574" y="549"/>
                    </a:lnTo>
                    <a:lnTo>
                      <a:pt x="572" y="551"/>
                    </a:lnTo>
                    <a:lnTo>
                      <a:pt x="574" y="553"/>
                    </a:lnTo>
                    <a:lnTo>
                      <a:pt x="574" y="555"/>
                    </a:lnTo>
                    <a:lnTo>
                      <a:pt x="578" y="553"/>
                    </a:lnTo>
                    <a:lnTo>
                      <a:pt x="578" y="557"/>
                    </a:lnTo>
                    <a:lnTo>
                      <a:pt x="582" y="559"/>
                    </a:lnTo>
                    <a:lnTo>
                      <a:pt x="582" y="561"/>
                    </a:lnTo>
                    <a:lnTo>
                      <a:pt x="584" y="561"/>
                    </a:lnTo>
                    <a:lnTo>
                      <a:pt x="582" y="564"/>
                    </a:lnTo>
                    <a:lnTo>
                      <a:pt x="584" y="564"/>
                    </a:lnTo>
                    <a:lnTo>
                      <a:pt x="584" y="570"/>
                    </a:lnTo>
                    <a:lnTo>
                      <a:pt x="584" y="572"/>
                    </a:lnTo>
                    <a:lnTo>
                      <a:pt x="582" y="574"/>
                    </a:lnTo>
                    <a:lnTo>
                      <a:pt x="580" y="574"/>
                    </a:lnTo>
                    <a:lnTo>
                      <a:pt x="580" y="576"/>
                    </a:lnTo>
                    <a:lnTo>
                      <a:pt x="576" y="576"/>
                    </a:lnTo>
                    <a:lnTo>
                      <a:pt x="574" y="572"/>
                    </a:lnTo>
                    <a:lnTo>
                      <a:pt x="572" y="572"/>
                    </a:lnTo>
                    <a:lnTo>
                      <a:pt x="570" y="572"/>
                    </a:lnTo>
                    <a:lnTo>
                      <a:pt x="570" y="568"/>
                    </a:lnTo>
                    <a:lnTo>
                      <a:pt x="566" y="568"/>
                    </a:lnTo>
                    <a:lnTo>
                      <a:pt x="568" y="568"/>
                    </a:lnTo>
                    <a:lnTo>
                      <a:pt x="566" y="564"/>
                    </a:lnTo>
                    <a:lnTo>
                      <a:pt x="564" y="561"/>
                    </a:lnTo>
                    <a:lnTo>
                      <a:pt x="564" y="559"/>
                    </a:lnTo>
                    <a:lnTo>
                      <a:pt x="564" y="557"/>
                    </a:lnTo>
                    <a:lnTo>
                      <a:pt x="563" y="557"/>
                    </a:lnTo>
                    <a:lnTo>
                      <a:pt x="564" y="555"/>
                    </a:lnTo>
                    <a:lnTo>
                      <a:pt x="561" y="551"/>
                    </a:lnTo>
                    <a:lnTo>
                      <a:pt x="563" y="547"/>
                    </a:lnTo>
                    <a:lnTo>
                      <a:pt x="561" y="543"/>
                    </a:lnTo>
                    <a:lnTo>
                      <a:pt x="561" y="542"/>
                    </a:lnTo>
                    <a:lnTo>
                      <a:pt x="561" y="540"/>
                    </a:lnTo>
                    <a:lnTo>
                      <a:pt x="557" y="530"/>
                    </a:lnTo>
                    <a:lnTo>
                      <a:pt x="559" y="528"/>
                    </a:lnTo>
                    <a:lnTo>
                      <a:pt x="561" y="528"/>
                    </a:lnTo>
                    <a:close/>
                    <a:moveTo>
                      <a:pt x="660" y="330"/>
                    </a:moveTo>
                    <a:lnTo>
                      <a:pt x="662" y="334"/>
                    </a:lnTo>
                    <a:lnTo>
                      <a:pt x="667" y="332"/>
                    </a:lnTo>
                    <a:lnTo>
                      <a:pt x="671" y="335"/>
                    </a:lnTo>
                    <a:lnTo>
                      <a:pt x="671" y="337"/>
                    </a:lnTo>
                    <a:lnTo>
                      <a:pt x="673" y="343"/>
                    </a:lnTo>
                    <a:lnTo>
                      <a:pt x="673" y="355"/>
                    </a:lnTo>
                    <a:lnTo>
                      <a:pt x="675" y="362"/>
                    </a:lnTo>
                    <a:lnTo>
                      <a:pt x="671" y="374"/>
                    </a:lnTo>
                    <a:lnTo>
                      <a:pt x="669" y="368"/>
                    </a:lnTo>
                    <a:lnTo>
                      <a:pt x="664" y="364"/>
                    </a:lnTo>
                    <a:lnTo>
                      <a:pt x="666" y="358"/>
                    </a:lnTo>
                    <a:lnTo>
                      <a:pt x="662" y="353"/>
                    </a:lnTo>
                    <a:lnTo>
                      <a:pt x="658" y="353"/>
                    </a:lnTo>
                    <a:lnTo>
                      <a:pt x="658" y="355"/>
                    </a:lnTo>
                    <a:lnTo>
                      <a:pt x="652" y="355"/>
                    </a:lnTo>
                    <a:lnTo>
                      <a:pt x="650" y="353"/>
                    </a:lnTo>
                    <a:lnTo>
                      <a:pt x="650" y="339"/>
                    </a:lnTo>
                    <a:lnTo>
                      <a:pt x="656" y="330"/>
                    </a:lnTo>
                    <a:lnTo>
                      <a:pt x="660" y="330"/>
                    </a:lnTo>
                    <a:close/>
                    <a:moveTo>
                      <a:pt x="950" y="1560"/>
                    </a:moveTo>
                    <a:lnTo>
                      <a:pt x="952" y="1560"/>
                    </a:lnTo>
                    <a:lnTo>
                      <a:pt x="953" y="1560"/>
                    </a:lnTo>
                    <a:lnTo>
                      <a:pt x="953" y="1562"/>
                    </a:lnTo>
                    <a:lnTo>
                      <a:pt x="955" y="1564"/>
                    </a:lnTo>
                    <a:lnTo>
                      <a:pt x="957" y="1566"/>
                    </a:lnTo>
                    <a:lnTo>
                      <a:pt x="961" y="1572"/>
                    </a:lnTo>
                    <a:lnTo>
                      <a:pt x="961" y="1574"/>
                    </a:lnTo>
                    <a:lnTo>
                      <a:pt x="959" y="1574"/>
                    </a:lnTo>
                    <a:lnTo>
                      <a:pt x="961" y="1574"/>
                    </a:lnTo>
                    <a:lnTo>
                      <a:pt x="959" y="1574"/>
                    </a:lnTo>
                    <a:lnTo>
                      <a:pt x="961" y="1574"/>
                    </a:lnTo>
                    <a:lnTo>
                      <a:pt x="959" y="1576"/>
                    </a:lnTo>
                    <a:lnTo>
                      <a:pt x="959" y="1574"/>
                    </a:lnTo>
                    <a:lnTo>
                      <a:pt x="955" y="1574"/>
                    </a:lnTo>
                    <a:lnTo>
                      <a:pt x="952" y="1570"/>
                    </a:lnTo>
                    <a:lnTo>
                      <a:pt x="946" y="1570"/>
                    </a:lnTo>
                    <a:lnTo>
                      <a:pt x="940" y="1568"/>
                    </a:lnTo>
                    <a:lnTo>
                      <a:pt x="938" y="1566"/>
                    </a:lnTo>
                    <a:lnTo>
                      <a:pt x="942" y="1562"/>
                    </a:lnTo>
                    <a:lnTo>
                      <a:pt x="946" y="1560"/>
                    </a:lnTo>
                    <a:lnTo>
                      <a:pt x="950" y="1560"/>
                    </a:lnTo>
                    <a:close/>
                    <a:moveTo>
                      <a:pt x="1285" y="1730"/>
                    </a:moveTo>
                    <a:lnTo>
                      <a:pt x="1285" y="1732"/>
                    </a:lnTo>
                    <a:lnTo>
                      <a:pt x="1285" y="1734"/>
                    </a:lnTo>
                    <a:lnTo>
                      <a:pt x="1285" y="1736"/>
                    </a:lnTo>
                    <a:lnTo>
                      <a:pt x="1285" y="1734"/>
                    </a:lnTo>
                    <a:lnTo>
                      <a:pt x="1287" y="1734"/>
                    </a:lnTo>
                    <a:lnTo>
                      <a:pt x="1285" y="1734"/>
                    </a:lnTo>
                    <a:lnTo>
                      <a:pt x="1287" y="1732"/>
                    </a:lnTo>
                    <a:lnTo>
                      <a:pt x="1289" y="1732"/>
                    </a:lnTo>
                    <a:lnTo>
                      <a:pt x="1287" y="1734"/>
                    </a:lnTo>
                    <a:lnTo>
                      <a:pt x="1289" y="1734"/>
                    </a:lnTo>
                    <a:lnTo>
                      <a:pt x="1289" y="1732"/>
                    </a:lnTo>
                    <a:lnTo>
                      <a:pt x="1289" y="1734"/>
                    </a:lnTo>
                    <a:lnTo>
                      <a:pt x="1291" y="1734"/>
                    </a:lnTo>
                    <a:lnTo>
                      <a:pt x="1293" y="1734"/>
                    </a:lnTo>
                    <a:lnTo>
                      <a:pt x="1291" y="1736"/>
                    </a:lnTo>
                    <a:lnTo>
                      <a:pt x="1293" y="1736"/>
                    </a:lnTo>
                    <a:lnTo>
                      <a:pt x="1291" y="1736"/>
                    </a:lnTo>
                    <a:lnTo>
                      <a:pt x="1289" y="1738"/>
                    </a:lnTo>
                    <a:lnTo>
                      <a:pt x="1291" y="1738"/>
                    </a:lnTo>
                    <a:lnTo>
                      <a:pt x="1293" y="1738"/>
                    </a:lnTo>
                    <a:lnTo>
                      <a:pt x="1291" y="1738"/>
                    </a:lnTo>
                    <a:lnTo>
                      <a:pt x="1293" y="1740"/>
                    </a:lnTo>
                    <a:lnTo>
                      <a:pt x="1291" y="1740"/>
                    </a:lnTo>
                    <a:lnTo>
                      <a:pt x="1289" y="1740"/>
                    </a:lnTo>
                    <a:lnTo>
                      <a:pt x="1289" y="1742"/>
                    </a:lnTo>
                    <a:lnTo>
                      <a:pt x="1287" y="1742"/>
                    </a:lnTo>
                    <a:lnTo>
                      <a:pt x="1287" y="1744"/>
                    </a:lnTo>
                    <a:lnTo>
                      <a:pt x="1285" y="1744"/>
                    </a:lnTo>
                    <a:lnTo>
                      <a:pt x="1285" y="1746"/>
                    </a:lnTo>
                    <a:lnTo>
                      <a:pt x="1283" y="1746"/>
                    </a:lnTo>
                    <a:lnTo>
                      <a:pt x="1280" y="1747"/>
                    </a:lnTo>
                    <a:lnTo>
                      <a:pt x="1278" y="1747"/>
                    </a:lnTo>
                    <a:lnTo>
                      <a:pt x="1276" y="1747"/>
                    </a:lnTo>
                    <a:lnTo>
                      <a:pt x="1276" y="1746"/>
                    </a:lnTo>
                    <a:lnTo>
                      <a:pt x="1276" y="1747"/>
                    </a:lnTo>
                    <a:lnTo>
                      <a:pt x="1276" y="1746"/>
                    </a:lnTo>
                    <a:lnTo>
                      <a:pt x="1278" y="1746"/>
                    </a:lnTo>
                    <a:lnTo>
                      <a:pt x="1278" y="1744"/>
                    </a:lnTo>
                    <a:lnTo>
                      <a:pt x="1278" y="1742"/>
                    </a:lnTo>
                    <a:lnTo>
                      <a:pt x="1280" y="1742"/>
                    </a:lnTo>
                    <a:lnTo>
                      <a:pt x="1281" y="1740"/>
                    </a:lnTo>
                    <a:lnTo>
                      <a:pt x="1283" y="1738"/>
                    </a:lnTo>
                    <a:lnTo>
                      <a:pt x="1281" y="1740"/>
                    </a:lnTo>
                    <a:lnTo>
                      <a:pt x="1280" y="1740"/>
                    </a:lnTo>
                    <a:lnTo>
                      <a:pt x="1281" y="1740"/>
                    </a:lnTo>
                    <a:lnTo>
                      <a:pt x="1280" y="1740"/>
                    </a:lnTo>
                    <a:lnTo>
                      <a:pt x="1278" y="1740"/>
                    </a:lnTo>
                    <a:lnTo>
                      <a:pt x="1276" y="1740"/>
                    </a:lnTo>
                    <a:lnTo>
                      <a:pt x="1281" y="1736"/>
                    </a:lnTo>
                    <a:lnTo>
                      <a:pt x="1283" y="1734"/>
                    </a:lnTo>
                    <a:lnTo>
                      <a:pt x="1285" y="1732"/>
                    </a:lnTo>
                    <a:lnTo>
                      <a:pt x="1283" y="1732"/>
                    </a:lnTo>
                    <a:lnTo>
                      <a:pt x="1280" y="1736"/>
                    </a:lnTo>
                    <a:lnTo>
                      <a:pt x="1281" y="1734"/>
                    </a:lnTo>
                    <a:lnTo>
                      <a:pt x="1283" y="1730"/>
                    </a:lnTo>
                    <a:lnTo>
                      <a:pt x="1285" y="1730"/>
                    </a:lnTo>
                    <a:close/>
                    <a:moveTo>
                      <a:pt x="608" y="631"/>
                    </a:moveTo>
                    <a:lnTo>
                      <a:pt x="610" y="631"/>
                    </a:lnTo>
                    <a:lnTo>
                      <a:pt x="614" y="637"/>
                    </a:lnTo>
                    <a:lnTo>
                      <a:pt x="612" y="639"/>
                    </a:lnTo>
                    <a:lnTo>
                      <a:pt x="612" y="641"/>
                    </a:lnTo>
                    <a:lnTo>
                      <a:pt x="612" y="643"/>
                    </a:lnTo>
                    <a:lnTo>
                      <a:pt x="610" y="645"/>
                    </a:lnTo>
                    <a:lnTo>
                      <a:pt x="608" y="646"/>
                    </a:lnTo>
                    <a:lnTo>
                      <a:pt x="601" y="650"/>
                    </a:lnTo>
                    <a:lnTo>
                      <a:pt x="599" y="648"/>
                    </a:lnTo>
                    <a:lnTo>
                      <a:pt x="591" y="650"/>
                    </a:lnTo>
                    <a:lnTo>
                      <a:pt x="584" y="646"/>
                    </a:lnTo>
                    <a:lnTo>
                      <a:pt x="582" y="641"/>
                    </a:lnTo>
                    <a:lnTo>
                      <a:pt x="584" y="639"/>
                    </a:lnTo>
                    <a:lnTo>
                      <a:pt x="585" y="637"/>
                    </a:lnTo>
                    <a:lnTo>
                      <a:pt x="587" y="637"/>
                    </a:lnTo>
                    <a:lnTo>
                      <a:pt x="591" y="635"/>
                    </a:lnTo>
                    <a:lnTo>
                      <a:pt x="597" y="633"/>
                    </a:lnTo>
                    <a:lnTo>
                      <a:pt x="605" y="631"/>
                    </a:lnTo>
                    <a:lnTo>
                      <a:pt x="608" y="631"/>
                    </a:lnTo>
                    <a:close/>
                    <a:moveTo>
                      <a:pt x="1062" y="1064"/>
                    </a:moveTo>
                    <a:lnTo>
                      <a:pt x="1064" y="1064"/>
                    </a:lnTo>
                    <a:lnTo>
                      <a:pt x="1064" y="1066"/>
                    </a:lnTo>
                    <a:lnTo>
                      <a:pt x="1062" y="1068"/>
                    </a:lnTo>
                    <a:lnTo>
                      <a:pt x="1066" y="1068"/>
                    </a:lnTo>
                    <a:lnTo>
                      <a:pt x="1070" y="1072"/>
                    </a:lnTo>
                    <a:lnTo>
                      <a:pt x="1072" y="1070"/>
                    </a:lnTo>
                    <a:lnTo>
                      <a:pt x="1074" y="1070"/>
                    </a:lnTo>
                    <a:lnTo>
                      <a:pt x="1076" y="1072"/>
                    </a:lnTo>
                    <a:lnTo>
                      <a:pt x="1076" y="1074"/>
                    </a:lnTo>
                    <a:lnTo>
                      <a:pt x="1077" y="1078"/>
                    </a:lnTo>
                    <a:lnTo>
                      <a:pt x="1076" y="1082"/>
                    </a:lnTo>
                    <a:lnTo>
                      <a:pt x="1066" y="1080"/>
                    </a:lnTo>
                    <a:lnTo>
                      <a:pt x="1062" y="1082"/>
                    </a:lnTo>
                    <a:lnTo>
                      <a:pt x="1058" y="1080"/>
                    </a:lnTo>
                    <a:lnTo>
                      <a:pt x="1055" y="1074"/>
                    </a:lnTo>
                    <a:lnTo>
                      <a:pt x="1055" y="1070"/>
                    </a:lnTo>
                    <a:lnTo>
                      <a:pt x="1055" y="1068"/>
                    </a:lnTo>
                    <a:lnTo>
                      <a:pt x="1056" y="1068"/>
                    </a:lnTo>
                    <a:lnTo>
                      <a:pt x="1058" y="1068"/>
                    </a:lnTo>
                    <a:lnTo>
                      <a:pt x="1060" y="1068"/>
                    </a:lnTo>
                    <a:lnTo>
                      <a:pt x="1060" y="1062"/>
                    </a:lnTo>
                    <a:lnTo>
                      <a:pt x="1062" y="1064"/>
                    </a:lnTo>
                    <a:close/>
                    <a:moveTo>
                      <a:pt x="587" y="606"/>
                    </a:moveTo>
                    <a:lnTo>
                      <a:pt x="591" y="608"/>
                    </a:lnTo>
                    <a:lnTo>
                      <a:pt x="589" y="612"/>
                    </a:lnTo>
                    <a:lnTo>
                      <a:pt x="591" y="612"/>
                    </a:lnTo>
                    <a:lnTo>
                      <a:pt x="591" y="610"/>
                    </a:lnTo>
                    <a:lnTo>
                      <a:pt x="593" y="610"/>
                    </a:lnTo>
                    <a:lnTo>
                      <a:pt x="595" y="614"/>
                    </a:lnTo>
                    <a:lnTo>
                      <a:pt x="597" y="614"/>
                    </a:lnTo>
                    <a:lnTo>
                      <a:pt x="597" y="616"/>
                    </a:lnTo>
                    <a:lnTo>
                      <a:pt x="597" y="618"/>
                    </a:lnTo>
                    <a:lnTo>
                      <a:pt x="599" y="620"/>
                    </a:lnTo>
                    <a:lnTo>
                      <a:pt x="603" y="618"/>
                    </a:lnTo>
                    <a:lnTo>
                      <a:pt x="603" y="620"/>
                    </a:lnTo>
                    <a:lnTo>
                      <a:pt x="606" y="622"/>
                    </a:lnTo>
                    <a:lnTo>
                      <a:pt x="605" y="626"/>
                    </a:lnTo>
                    <a:lnTo>
                      <a:pt x="603" y="627"/>
                    </a:lnTo>
                    <a:lnTo>
                      <a:pt x="601" y="629"/>
                    </a:lnTo>
                    <a:lnTo>
                      <a:pt x="599" y="629"/>
                    </a:lnTo>
                    <a:lnTo>
                      <a:pt x="597" y="631"/>
                    </a:lnTo>
                    <a:lnTo>
                      <a:pt x="593" y="631"/>
                    </a:lnTo>
                    <a:lnTo>
                      <a:pt x="591" y="631"/>
                    </a:lnTo>
                    <a:lnTo>
                      <a:pt x="591" y="629"/>
                    </a:lnTo>
                    <a:lnTo>
                      <a:pt x="587" y="631"/>
                    </a:lnTo>
                    <a:lnTo>
                      <a:pt x="584" y="629"/>
                    </a:lnTo>
                    <a:lnTo>
                      <a:pt x="585" y="629"/>
                    </a:lnTo>
                    <a:lnTo>
                      <a:pt x="584" y="627"/>
                    </a:lnTo>
                    <a:lnTo>
                      <a:pt x="584" y="626"/>
                    </a:lnTo>
                    <a:lnTo>
                      <a:pt x="582" y="626"/>
                    </a:lnTo>
                    <a:lnTo>
                      <a:pt x="584" y="622"/>
                    </a:lnTo>
                    <a:lnTo>
                      <a:pt x="584" y="618"/>
                    </a:lnTo>
                    <a:lnTo>
                      <a:pt x="580" y="620"/>
                    </a:lnTo>
                    <a:lnTo>
                      <a:pt x="580" y="618"/>
                    </a:lnTo>
                    <a:lnTo>
                      <a:pt x="582" y="618"/>
                    </a:lnTo>
                    <a:lnTo>
                      <a:pt x="580" y="614"/>
                    </a:lnTo>
                    <a:lnTo>
                      <a:pt x="580" y="612"/>
                    </a:lnTo>
                    <a:lnTo>
                      <a:pt x="584" y="606"/>
                    </a:lnTo>
                    <a:lnTo>
                      <a:pt x="587" y="606"/>
                    </a:lnTo>
                    <a:close/>
                    <a:moveTo>
                      <a:pt x="585" y="688"/>
                    </a:moveTo>
                    <a:lnTo>
                      <a:pt x="587" y="688"/>
                    </a:lnTo>
                    <a:lnTo>
                      <a:pt x="593" y="692"/>
                    </a:lnTo>
                    <a:lnTo>
                      <a:pt x="593" y="694"/>
                    </a:lnTo>
                    <a:lnTo>
                      <a:pt x="593" y="698"/>
                    </a:lnTo>
                    <a:lnTo>
                      <a:pt x="593" y="702"/>
                    </a:lnTo>
                    <a:lnTo>
                      <a:pt x="595" y="702"/>
                    </a:lnTo>
                    <a:lnTo>
                      <a:pt x="597" y="706"/>
                    </a:lnTo>
                    <a:lnTo>
                      <a:pt x="591" y="711"/>
                    </a:lnTo>
                    <a:lnTo>
                      <a:pt x="587" y="713"/>
                    </a:lnTo>
                    <a:lnTo>
                      <a:pt x="585" y="715"/>
                    </a:lnTo>
                    <a:lnTo>
                      <a:pt x="584" y="713"/>
                    </a:lnTo>
                    <a:lnTo>
                      <a:pt x="578" y="711"/>
                    </a:lnTo>
                    <a:lnTo>
                      <a:pt x="578" y="709"/>
                    </a:lnTo>
                    <a:lnTo>
                      <a:pt x="576" y="708"/>
                    </a:lnTo>
                    <a:lnTo>
                      <a:pt x="576" y="706"/>
                    </a:lnTo>
                    <a:lnTo>
                      <a:pt x="578" y="704"/>
                    </a:lnTo>
                    <a:lnTo>
                      <a:pt x="578" y="700"/>
                    </a:lnTo>
                    <a:lnTo>
                      <a:pt x="578" y="698"/>
                    </a:lnTo>
                    <a:lnTo>
                      <a:pt x="580" y="698"/>
                    </a:lnTo>
                    <a:lnTo>
                      <a:pt x="578" y="696"/>
                    </a:lnTo>
                    <a:lnTo>
                      <a:pt x="582" y="692"/>
                    </a:lnTo>
                    <a:lnTo>
                      <a:pt x="582" y="690"/>
                    </a:lnTo>
                    <a:lnTo>
                      <a:pt x="585" y="688"/>
                    </a:lnTo>
                    <a:close/>
                    <a:moveTo>
                      <a:pt x="191" y="1559"/>
                    </a:moveTo>
                    <a:lnTo>
                      <a:pt x="193" y="1559"/>
                    </a:lnTo>
                    <a:lnTo>
                      <a:pt x="195" y="1559"/>
                    </a:lnTo>
                    <a:lnTo>
                      <a:pt x="196" y="1562"/>
                    </a:lnTo>
                    <a:lnTo>
                      <a:pt x="198" y="1562"/>
                    </a:lnTo>
                    <a:lnTo>
                      <a:pt x="198" y="1564"/>
                    </a:lnTo>
                    <a:lnTo>
                      <a:pt x="200" y="1568"/>
                    </a:lnTo>
                    <a:lnTo>
                      <a:pt x="198" y="1574"/>
                    </a:lnTo>
                    <a:lnTo>
                      <a:pt x="198" y="1576"/>
                    </a:lnTo>
                    <a:lnTo>
                      <a:pt x="196" y="1576"/>
                    </a:lnTo>
                    <a:lnTo>
                      <a:pt x="198" y="1576"/>
                    </a:lnTo>
                    <a:lnTo>
                      <a:pt x="196" y="1576"/>
                    </a:lnTo>
                    <a:lnTo>
                      <a:pt x="196" y="1574"/>
                    </a:lnTo>
                    <a:lnTo>
                      <a:pt x="196" y="1572"/>
                    </a:lnTo>
                    <a:lnTo>
                      <a:pt x="196" y="1570"/>
                    </a:lnTo>
                    <a:lnTo>
                      <a:pt x="198" y="1568"/>
                    </a:lnTo>
                    <a:lnTo>
                      <a:pt x="198" y="1566"/>
                    </a:lnTo>
                    <a:lnTo>
                      <a:pt x="196" y="1568"/>
                    </a:lnTo>
                    <a:lnTo>
                      <a:pt x="196" y="1570"/>
                    </a:lnTo>
                    <a:lnTo>
                      <a:pt x="196" y="1568"/>
                    </a:lnTo>
                    <a:lnTo>
                      <a:pt x="196" y="1570"/>
                    </a:lnTo>
                    <a:lnTo>
                      <a:pt x="195" y="1570"/>
                    </a:lnTo>
                    <a:lnTo>
                      <a:pt x="196" y="1570"/>
                    </a:lnTo>
                    <a:lnTo>
                      <a:pt x="195" y="1572"/>
                    </a:lnTo>
                    <a:lnTo>
                      <a:pt x="196" y="1576"/>
                    </a:lnTo>
                    <a:lnTo>
                      <a:pt x="195" y="1576"/>
                    </a:lnTo>
                    <a:lnTo>
                      <a:pt x="195" y="1574"/>
                    </a:lnTo>
                    <a:lnTo>
                      <a:pt x="195" y="1576"/>
                    </a:lnTo>
                    <a:lnTo>
                      <a:pt x="195" y="1574"/>
                    </a:lnTo>
                    <a:lnTo>
                      <a:pt x="195" y="1576"/>
                    </a:lnTo>
                    <a:lnTo>
                      <a:pt x="191" y="1574"/>
                    </a:lnTo>
                    <a:lnTo>
                      <a:pt x="191" y="1572"/>
                    </a:lnTo>
                    <a:lnTo>
                      <a:pt x="191" y="1570"/>
                    </a:lnTo>
                    <a:lnTo>
                      <a:pt x="193" y="1570"/>
                    </a:lnTo>
                    <a:lnTo>
                      <a:pt x="191" y="1570"/>
                    </a:lnTo>
                    <a:lnTo>
                      <a:pt x="193" y="1568"/>
                    </a:lnTo>
                    <a:lnTo>
                      <a:pt x="193" y="1566"/>
                    </a:lnTo>
                    <a:lnTo>
                      <a:pt x="195" y="1566"/>
                    </a:lnTo>
                    <a:lnTo>
                      <a:pt x="193" y="1566"/>
                    </a:lnTo>
                    <a:lnTo>
                      <a:pt x="193" y="1568"/>
                    </a:lnTo>
                    <a:lnTo>
                      <a:pt x="191" y="1568"/>
                    </a:lnTo>
                    <a:lnTo>
                      <a:pt x="189" y="1568"/>
                    </a:lnTo>
                    <a:lnTo>
                      <a:pt x="189" y="1566"/>
                    </a:lnTo>
                    <a:lnTo>
                      <a:pt x="189" y="1564"/>
                    </a:lnTo>
                    <a:lnTo>
                      <a:pt x="191" y="1564"/>
                    </a:lnTo>
                    <a:lnTo>
                      <a:pt x="191" y="1562"/>
                    </a:lnTo>
                    <a:lnTo>
                      <a:pt x="191" y="1560"/>
                    </a:lnTo>
                    <a:lnTo>
                      <a:pt x="191" y="1559"/>
                    </a:lnTo>
                    <a:close/>
                    <a:moveTo>
                      <a:pt x="425" y="505"/>
                    </a:moveTo>
                    <a:lnTo>
                      <a:pt x="425" y="507"/>
                    </a:lnTo>
                    <a:lnTo>
                      <a:pt x="427" y="509"/>
                    </a:lnTo>
                    <a:lnTo>
                      <a:pt x="425" y="511"/>
                    </a:lnTo>
                    <a:lnTo>
                      <a:pt x="429" y="511"/>
                    </a:lnTo>
                    <a:lnTo>
                      <a:pt x="429" y="513"/>
                    </a:lnTo>
                    <a:lnTo>
                      <a:pt x="431" y="515"/>
                    </a:lnTo>
                    <a:lnTo>
                      <a:pt x="431" y="517"/>
                    </a:lnTo>
                    <a:lnTo>
                      <a:pt x="435" y="519"/>
                    </a:lnTo>
                    <a:lnTo>
                      <a:pt x="437" y="521"/>
                    </a:lnTo>
                    <a:lnTo>
                      <a:pt x="435" y="522"/>
                    </a:lnTo>
                    <a:lnTo>
                      <a:pt x="437" y="524"/>
                    </a:lnTo>
                    <a:lnTo>
                      <a:pt x="433" y="530"/>
                    </a:lnTo>
                    <a:lnTo>
                      <a:pt x="427" y="532"/>
                    </a:lnTo>
                    <a:lnTo>
                      <a:pt x="425" y="532"/>
                    </a:lnTo>
                    <a:lnTo>
                      <a:pt x="421" y="528"/>
                    </a:lnTo>
                    <a:lnTo>
                      <a:pt x="421" y="526"/>
                    </a:lnTo>
                    <a:lnTo>
                      <a:pt x="416" y="521"/>
                    </a:lnTo>
                    <a:lnTo>
                      <a:pt x="412" y="515"/>
                    </a:lnTo>
                    <a:lnTo>
                      <a:pt x="414" y="513"/>
                    </a:lnTo>
                    <a:lnTo>
                      <a:pt x="416" y="515"/>
                    </a:lnTo>
                    <a:lnTo>
                      <a:pt x="416" y="511"/>
                    </a:lnTo>
                    <a:lnTo>
                      <a:pt x="418" y="513"/>
                    </a:lnTo>
                    <a:lnTo>
                      <a:pt x="420" y="509"/>
                    </a:lnTo>
                    <a:lnTo>
                      <a:pt x="425" y="505"/>
                    </a:lnTo>
                    <a:close/>
                    <a:moveTo>
                      <a:pt x="690" y="769"/>
                    </a:moveTo>
                    <a:lnTo>
                      <a:pt x="690" y="771"/>
                    </a:lnTo>
                    <a:lnTo>
                      <a:pt x="690" y="772"/>
                    </a:lnTo>
                    <a:lnTo>
                      <a:pt x="688" y="776"/>
                    </a:lnTo>
                    <a:lnTo>
                      <a:pt x="685" y="778"/>
                    </a:lnTo>
                    <a:lnTo>
                      <a:pt x="683" y="782"/>
                    </a:lnTo>
                    <a:lnTo>
                      <a:pt x="677" y="784"/>
                    </a:lnTo>
                    <a:lnTo>
                      <a:pt x="675" y="784"/>
                    </a:lnTo>
                    <a:lnTo>
                      <a:pt x="673" y="784"/>
                    </a:lnTo>
                    <a:lnTo>
                      <a:pt x="673" y="786"/>
                    </a:lnTo>
                    <a:lnTo>
                      <a:pt x="671" y="786"/>
                    </a:lnTo>
                    <a:lnTo>
                      <a:pt x="667" y="786"/>
                    </a:lnTo>
                    <a:lnTo>
                      <a:pt x="667" y="784"/>
                    </a:lnTo>
                    <a:lnTo>
                      <a:pt x="671" y="786"/>
                    </a:lnTo>
                    <a:lnTo>
                      <a:pt x="671" y="784"/>
                    </a:lnTo>
                    <a:lnTo>
                      <a:pt x="666" y="784"/>
                    </a:lnTo>
                    <a:lnTo>
                      <a:pt x="664" y="782"/>
                    </a:lnTo>
                    <a:lnTo>
                      <a:pt x="662" y="780"/>
                    </a:lnTo>
                    <a:lnTo>
                      <a:pt x="664" y="780"/>
                    </a:lnTo>
                    <a:lnTo>
                      <a:pt x="667" y="778"/>
                    </a:lnTo>
                    <a:lnTo>
                      <a:pt x="669" y="778"/>
                    </a:lnTo>
                    <a:lnTo>
                      <a:pt x="669" y="776"/>
                    </a:lnTo>
                    <a:lnTo>
                      <a:pt x="671" y="774"/>
                    </a:lnTo>
                    <a:lnTo>
                      <a:pt x="673" y="772"/>
                    </a:lnTo>
                    <a:lnTo>
                      <a:pt x="677" y="772"/>
                    </a:lnTo>
                    <a:lnTo>
                      <a:pt x="685" y="769"/>
                    </a:lnTo>
                    <a:lnTo>
                      <a:pt x="688" y="769"/>
                    </a:lnTo>
                    <a:lnTo>
                      <a:pt x="690" y="769"/>
                    </a:lnTo>
                    <a:close/>
                    <a:moveTo>
                      <a:pt x="984" y="1467"/>
                    </a:moveTo>
                    <a:lnTo>
                      <a:pt x="982" y="1469"/>
                    </a:lnTo>
                    <a:lnTo>
                      <a:pt x="984" y="1469"/>
                    </a:lnTo>
                    <a:lnTo>
                      <a:pt x="986" y="1469"/>
                    </a:lnTo>
                    <a:lnTo>
                      <a:pt x="986" y="1471"/>
                    </a:lnTo>
                    <a:lnTo>
                      <a:pt x="986" y="1473"/>
                    </a:lnTo>
                    <a:lnTo>
                      <a:pt x="988" y="1471"/>
                    </a:lnTo>
                    <a:lnTo>
                      <a:pt x="988" y="1475"/>
                    </a:lnTo>
                    <a:lnTo>
                      <a:pt x="988" y="1477"/>
                    </a:lnTo>
                    <a:lnTo>
                      <a:pt x="988" y="1475"/>
                    </a:lnTo>
                    <a:lnTo>
                      <a:pt x="990" y="1475"/>
                    </a:lnTo>
                    <a:lnTo>
                      <a:pt x="988" y="1477"/>
                    </a:lnTo>
                    <a:lnTo>
                      <a:pt x="984" y="1488"/>
                    </a:lnTo>
                    <a:lnTo>
                      <a:pt x="986" y="1482"/>
                    </a:lnTo>
                    <a:lnTo>
                      <a:pt x="988" y="1477"/>
                    </a:lnTo>
                    <a:lnTo>
                      <a:pt x="988" y="1475"/>
                    </a:lnTo>
                    <a:lnTo>
                      <a:pt x="988" y="1473"/>
                    </a:lnTo>
                    <a:lnTo>
                      <a:pt x="986" y="1475"/>
                    </a:lnTo>
                    <a:lnTo>
                      <a:pt x="986" y="1478"/>
                    </a:lnTo>
                    <a:lnTo>
                      <a:pt x="986" y="1480"/>
                    </a:lnTo>
                    <a:lnTo>
                      <a:pt x="984" y="1486"/>
                    </a:lnTo>
                    <a:lnTo>
                      <a:pt x="982" y="1488"/>
                    </a:lnTo>
                    <a:lnTo>
                      <a:pt x="986" y="1480"/>
                    </a:lnTo>
                    <a:lnTo>
                      <a:pt x="986" y="1478"/>
                    </a:lnTo>
                    <a:lnTo>
                      <a:pt x="984" y="1477"/>
                    </a:lnTo>
                    <a:lnTo>
                      <a:pt x="984" y="1478"/>
                    </a:lnTo>
                    <a:lnTo>
                      <a:pt x="982" y="1484"/>
                    </a:lnTo>
                    <a:lnTo>
                      <a:pt x="980" y="1488"/>
                    </a:lnTo>
                    <a:lnTo>
                      <a:pt x="978" y="1488"/>
                    </a:lnTo>
                    <a:lnTo>
                      <a:pt x="978" y="1486"/>
                    </a:lnTo>
                    <a:lnTo>
                      <a:pt x="974" y="1490"/>
                    </a:lnTo>
                    <a:lnTo>
                      <a:pt x="976" y="1486"/>
                    </a:lnTo>
                    <a:lnTo>
                      <a:pt x="978" y="1486"/>
                    </a:lnTo>
                    <a:lnTo>
                      <a:pt x="976" y="1486"/>
                    </a:lnTo>
                    <a:lnTo>
                      <a:pt x="978" y="1486"/>
                    </a:lnTo>
                    <a:lnTo>
                      <a:pt x="976" y="1486"/>
                    </a:lnTo>
                    <a:lnTo>
                      <a:pt x="980" y="1482"/>
                    </a:lnTo>
                    <a:lnTo>
                      <a:pt x="980" y="1480"/>
                    </a:lnTo>
                    <a:lnTo>
                      <a:pt x="978" y="1480"/>
                    </a:lnTo>
                    <a:lnTo>
                      <a:pt x="974" y="1486"/>
                    </a:lnTo>
                    <a:lnTo>
                      <a:pt x="973" y="1488"/>
                    </a:lnTo>
                    <a:lnTo>
                      <a:pt x="973" y="1490"/>
                    </a:lnTo>
                    <a:lnTo>
                      <a:pt x="973" y="1488"/>
                    </a:lnTo>
                    <a:lnTo>
                      <a:pt x="973" y="1486"/>
                    </a:lnTo>
                    <a:lnTo>
                      <a:pt x="973" y="1488"/>
                    </a:lnTo>
                    <a:lnTo>
                      <a:pt x="973" y="1486"/>
                    </a:lnTo>
                    <a:lnTo>
                      <a:pt x="973" y="1488"/>
                    </a:lnTo>
                    <a:lnTo>
                      <a:pt x="971" y="1486"/>
                    </a:lnTo>
                    <a:lnTo>
                      <a:pt x="971" y="1488"/>
                    </a:lnTo>
                    <a:lnTo>
                      <a:pt x="971" y="1486"/>
                    </a:lnTo>
                    <a:lnTo>
                      <a:pt x="973" y="1484"/>
                    </a:lnTo>
                    <a:lnTo>
                      <a:pt x="974" y="1484"/>
                    </a:lnTo>
                    <a:lnTo>
                      <a:pt x="973" y="1484"/>
                    </a:lnTo>
                    <a:lnTo>
                      <a:pt x="974" y="1480"/>
                    </a:lnTo>
                    <a:lnTo>
                      <a:pt x="978" y="1477"/>
                    </a:lnTo>
                    <a:lnTo>
                      <a:pt x="980" y="1473"/>
                    </a:lnTo>
                    <a:lnTo>
                      <a:pt x="980" y="1469"/>
                    </a:lnTo>
                    <a:lnTo>
                      <a:pt x="980" y="1467"/>
                    </a:lnTo>
                    <a:lnTo>
                      <a:pt x="980" y="1471"/>
                    </a:lnTo>
                    <a:lnTo>
                      <a:pt x="980" y="1475"/>
                    </a:lnTo>
                    <a:lnTo>
                      <a:pt x="978" y="1478"/>
                    </a:lnTo>
                    <a:lnTo>
                      <a:pt x="978" y="1480"/>
                    </a:lnTo>
                    <a:lnTo>
                      <a:pt x="976" y="1482"/>
                    </a:lnTo>
                    <a:lnTo>
                      <a:pt x="978" y="1478"/>
                    </a:lnTo>
                    <a:lnTo>
                      <a:pt x="980" y="1478"/>
                    </a:lnTo>
                    <a:lnTo>
                      <a:pt x="982" y="1471"/>
                    </a:lnTo>
                    <a:lnTo>
                      <a:pt x="982" y="1467"/>
                    </a:lnTo>
                    <a:lnTo>
                      <a:pt x="984" y="1467"/>
                    </a:lnTo>
                    <a:close/>
                    <a:moveTo>
                      <a:pt x="868" y="1061"/>
                    </a:moveTo>
                    <a:lnTo>
                      <a:pt x="870" y="1062"/>
                    </a:lnTo>
                    <a:lnTo>
                      <a:pt x="870" y="1066"/>
                    </a:lnTo>
                    <a:lnTo>
                      <a:pt x="870" y="1074"/>
                    </a:lnTo>
                    <a:lnTo>
                      <a:pt x="870" y="1078"/>
                    </a:lnTo>
                    <a:lnTo>
                      <a:pt x="870" y="1080"/>
                    </a:lnTo>
                    <a:lnTo>
                      <a:pt x="866" y="1083"/>
                    </a:lnTo>
                    <a:lnTo>
                      <a:pt x="866" y="1082"/>
                    </a:lnTo>
                    <a:lnTo>
                      <a:pt x="864" y="1082"/>
                    </a:lnTo>
                    <a:lnTo>
                      <a:pt x="862" y="1078"/>
                    </a:lnTo>
                    <a:lnTo>
                      <a:pt x="860" y="1074"/>
                    </a:lnTo>
                    <a:lnTo>
                      <a:pt x="862" y="1072"/>
                    </a:lnTo>
                    <a:lnTo>
                      <a:pt x="862" y="1070"/>
                    </a:lnTo>
                    <a:lnTo>
                      <a:pt x="860" y="1068"/>
                    </a:lnTo>
                    <a:lnTo>
                      <a:pt x="860" y="1066"/>
                    </a:lnTo>
                    <a:lnTo>
                      <a:pt x="862" y="1066"/>
                    </a:lnTo>
                    <a:lnTo>
                      <a:pt x="862" y="1064"/>
                    </a:lnTo>
                    <a:lnTo>
                      <a:pt x="866" y="1059"/>
                    </a:lnTo>
                    <a:lnTo>
                      <a:pt x="868" y="1061"/>
                    </a:lnTo>
                    <a:close/>
                    <a:moveTo>
                      <a:pt x="995" y="1011"/>
                    </a:moveTo>
                    <a:lnTo>
                      <a:pt x="999" y="1011"/>
                    </a:lnTo>
                    <a:lnTo>
                      <a:pt x="999" y="1015"/>
                    </a:lnTo>
                    <a:lnTo>
                      <a:pt x="997" y="1019"/>
                    </a:lnTo>
                    <a:lnTo>
                      <a:pt x="995" y="1017"/>
                    </a:lnTo>
                    <a:lnTo>
                      <a:pt x="995" y="1020"/>
                    </a:lnTo>
                    <a:lnTo>
                      <a:pt x="994" y="1020"/>
                    </a:lnTo>
                    <a:lnTo>
                      <a:pt x="994" y="1024"/>
                    </a:lnTo>
                    <a:lnTo>
                      <a:pt x="992" y="1026"/>
                    </a:lnTo>
                    <a:lnTo>
                      <a:pt x="992" y="1028"/>
                    </a:lnTo>
                    <a:lnTo>
                      <a:pt x="990" y="1030"/>
                    </a:lnTo>
                    <a:lnTo>
                      <a:pt x="990" y="1032"/>
                    </a:lnTo>
                    <a:lnTo>
                      <a:pt x="988" y="1032"/>
                    </a:lnTo>
                    <a:lnTo>
                      <a:pt x="986" y="1032"/>
                    </a:lnTo>
                    <a:lnTo>
                      <a:pt x="986" y="1034"/>
                    </a:lnTo>
                    <a:lnTo>
                      <a:pt x="984" y="1034"/>
                    </a:lnTo>
                    <a:lnTo>
                      <a:pt x="982" y="1034"/>
                    </a:lnTo>
                    <a:lnTo>
                      <a:pt x="982" y="1032"/>
                    </a:lnTo>
                    <a:lnTo>
                      <a:pt x="980" y="1032"/>
                    </a:lnTo>
                    <a:lnTo>
                      <a:pt x="982" y="1028"/>
                    </a:lnTo>
                    <a:lnTo>
                      <a:pt x="984" y="1024"/>
                    </a:lnTo>
                    <a:lnTo>
                      <a:pt x="986" y="1022"/>
                    </a:lnTo>
                    <a:lnTo>
                      <a:pt x="986" y="1024"/>
                    </a:lnTo>
                    <a:lnTo>
                      <a:pt x="986" y="1022"/>
                    </a:lnTo>
                    <a:lnTo>
                      <a:pt x="988" y="1022"/>
                    </a:lnTo>
                    <a:lnTo>
                      <a:pt x="988" y="1020"/>
                    </a:lnTo>
                    <a:lnTo>
                      <a:pt x="990" y="1020"/>
                    </a:lnTo>
                    <a:lnTo>
                      <a:pt x="990" y="1019"/>
                    </a:lnTo>
                    <a:lnTo>
                      <a:pt x="992" y="1015"/>
                    </a:lnTo>
                    <a:lnTo>
                      <a:pt x="994" y="1015"/>
                    </a:lnTo>
                    <a:lnTo>
                      <a:pt x="992" y="1015"/>
                    </a:lnTo>
                    <a:lnTo>
                      <a:pt x="992" y="1013"/>
                    </a:lnTo>
                    <a:lnTo>
                      <a:pt x="994" y="1011"/>
                    </a:lnTo>
                    <a:lnTo>
                      <a:pt x="995" y="1011"/>
                    </a:lnTo>
                    <a:close/>
                    <a:moveTo>
                      <a:pt x="627" y="519"/>
                    </a:moveTo>
                    <a:lnTo>
                      <a:pt x="635" y="522"/>
                    </a:lnTo>
                    <a:lnTo>
                      <a:pt x="639" y="528"/>
                    </a:lnTo>
                    <a:lnTo>
                      <a:pt x="639" y="530"/>
                    </a:lnTo>
                    <a:lnTo>
                      <a:pt x="635" y="532"/>
                    </a:lnTo>
                    <a:lnTo>
                      <a:pt x="629" y="530"/>
                    </a:lnTo>
                    <a:lnTo>
                      <a:pt x="625" y="536"/>
                    </a:lnTo>
                    <a:lnTo>
                      <a:pt x="624" y="534"/>
                    </a:lnTo>
                    <a:lnTo>
                      <a:pt x="620" y="534"/>
                    </a:lnTo>
                    <a:lnTo>
                      <a:pt x="614" y="530"/>
                    </a:lnTo>
                    <a:lnTo>
                      <a:pt x="614" y="526"/>
                    </a:lnTo>
                    <a:lnTo>
                      <a:pt x="614" y="521"/>
                    </a:lnTo>
                    <a:lnTo>
                      <a:pt x="614" y="519"/>
                    </a:lnTo>
                    <a:lnTo>
                      <a:pt x="620" y="517"/>
                    </a:lnTo>
                    <a:lnTo>
                      <a:pt x="624" y="519"/>
                    </a:lnTo>
                    <a:lnTo>
                      <a:pt x="625" y="517"/>
                    </a:lnTo>
                    <a:lnTo>
                      <a:pt x="627" y="519"/>
                    </a:lnTo>
                    <a:close/>
                    <a:moveTo>
                      <a:pt x="1001" y="1246"/>
                    </a:moveTo>
                    <a:lnTo>
                      <a:pt x="1001" y="1248"/>
                    </a:lnTo>
                    <a:lnTo>
                      <a:pt x="1003" y="1248"/>
                    </a:lnTo>
                    <a:lnTo>
                      <a:pt x="1005" y="1248"/>
                    </a:lnTo>
                    <a:lnTo>
                      <a:pt x="1007" y="1248"/>
                    </a:lnTo>
                    <a:lnTo>
                      <a:pt x="1007" y="1249"/>
                    </a:lnTo>
                    <a:lnTo>
                      <a:pt x="1005" y="1249"/>
                    </a:lnTo>
                    <a:lnTo>
                      <a:pt x="1007" y="1249"/>
                    </a:lnTo>
                    <a:lnTo>
                      <a:pt x="1009" y="1249"/>
                    </a:lnTo>
                    <a:lnTo>
                      <a:pt x="1009" y="1251"/>
                    </a:lnTo>
                    <a:lnTo>
                      <a:pt x="1011" y="1253"/>
                    </a:lnTo>
                    <a:lnTo>
                      <a:pt x="1011" y="1255"/>
                    </a:lnTo>
                    <a:lnTo>
                      <a:pt x="1011" y="1257"/>
                    </a:lnTo>
                    <a:lnTo>
                      <a:pt x="1009" y="1257"/>
                    </a:lnTo>
                    <a:lnTo>
                      <a:pt x="1009" y="1259"/>
                    </a:lnTo>
                    <a:lnTo>
                      <a:pt x="1007" y="1259"/>
                    </a:lnTo>
                    <a:lnTo>
                      <a:pt x="1005" y="1259"/>
                    </a:lnTo>
                    <a:lnTo>
                      <a:pt x="1007" y="1259"/>
                    </a:lnTo>
                    <a:lnTo>
                      <a:pt x="1005" y="1261"/>
                    </a:lnTo>
                    <a:lnTo>
                      <a:pt x="1003" y="1261"/>
                    </a:lnTo>
                    <a:lnTo>
                      <a:pt x="1005" y="1259"/>
                    </a:lnTo>
                    <a:lnTo>
                      <a:pt x="1003" y="1259"/>
                    </a:lnTo>
                    <a:lnTo>
                      <a:pt x="1001" y="1259"/>
                    </a:lnTo>
                    <a:lnTo>
                      <a:pt x="1001" y="1257"/>
                    </a:lnTo>
                    <a:lnTo>
                      <a:pt x="997" y="1253"/>
                    </a:lnTo>
                    <a:lnTo>
                      <a:pt x="997" y="1251"/>
                    </a:lnTo>
                    <a:lnTo>
                      <a:pt x="995" y="1251"/>
                    </a:lnTo>
                    <a:lnTo>
                      <a:pt x="995" y="1249"/>
                    </a:lnTo>
                    <a:lnTo>
                      <a:pt x="995" y="1248"/>
                    </a:lnTo>
                    <a:lnTo>
                      <a:pt x="997" y="1248"/>
                    </a:lnTo>
                    <a:lnTo>
                      <a:pt x="999" y="1246"/>
                    </a:lnTo>
                    <a:lnTo>
                      <a:pt x="1001" y="1246"/>
                    </a:lnTo>
                    <a:close/>
                    <a:moveTo>
                      <a:pt x="976" y="990"/>
                    </a:moveTo>
                    <a:lnTo>
                      <a:pt x="978" y="992"/>
                    </a:lnTo>
                    <a:lnTo>
                      <a:pt x="980" y="992"/>
                    </a:lnTo>
                    <a:lnTo>
                      <a:pt x="980" y="994"/>
                    </a:lnTo>
                    <a:lnTo>
                      <a:pt x="982" y="994"/>
                    </a:lnTo>
                    <a:lnTo>
                      <a:pt x="982" y="996"/>
                    </a:lnTo>
                    <a:lnTo>
                      <a:pt x="976" y="999"/>
                    </a:lnTo>
                    <a:lnTo>
                      <a:pt x="974" y="999"/>
                    </a:lnTo>
                    <a:lnTo>
                      <a:pt x="973" y="999"/>
                    </a:lnTo>
                    <a:lnTo>
                      <a:pt x="971" y="998"/>
                    </a:lnTo>
                    <a:lnTo>
                      <a:pt x="971" y="999"/>
                    </a:lnTo>
                    <a:lnTo>
                      <a:pt x="973" y="1003"/>
                    </a:lnTo>
                    <a:lnTo>
                      <a:pt x="971" y="1005"/>
                    </a:lnTo>
                    <a:lnTo>
                      <a:pt x="969" y="1003"/>
                    </a:lnTo>
                    <a:lnTo>
                      <a:pt x="967" y="1003"/>
                    </a:lnTo>
                    <a:lnTo>
                      <a:pt x="969" y="999"/>
                    </a:lnTo>
                    <a:lnTo>
                      <a:pt x="967" y="1003"/>
                    </a:lnTo>
                    <a:lnTo>
                      <a:pt x="965" y="999"/>
                    </a:lnTo>
                    <a:lnTo>
                      <a:pt x="963" y="998"/>
                    </a:lnTo>
                    <a:lnTo>
                      <a:pt x="959" y="998"/>
                    </a:lnTo>
                    <a:lnTo>
                      <a:pt x="959" y="996"/>
                    </a:lnTo>
                    <a:lnTo>
                      <a:pt x="959" y="994"/>
                    </a:lnTo>
                    <a:lnTo>
                      <a:pt x="961" y="994"/>
                    </a:lnTo>
                    <a:lnTo>
                      <a:pt x="963" y="996"/>
                    </a:lnTo>
                    <a:lnTo>
                      <a:pt x="963" y="992"/>
                    </a:lnTo>
                    <a:lnTo>
                      <a:pt x="965" y="992"/>
                    </a:lnTo>
                    <a:lnTo>
                      <a:pt x="967" y="992"/>
                    </a:lnTo>
                    <a:lnTo>
                      <a:pt x="969" y="992"/>
                    </a:lnTo>
                    <a:lnTo>
                      <a:pt x="969" y="994"/>
                    </a:lnTo>
                    <a:lnTo>
                      <a:pt x="969" y="996"/>
                    </a:lnTo>
                    <a:lnTo>
                      <a:pt x="971" y="994"/>
                    </a:lnTo>
                    <a:lnTo>
                      <a:pt x="973" y="996"/>
                    </a:lnTo>
                    <a:lnTo>
                      <a:pt x="974" y="994"/>
                    </a:lnTo>
                    <a:lnTo>
                      <a:pt x="974" y="992"/>
                    </a:lnTo>
                    <a:lnTo>
                      <a:pt x="976" y="992"/>
                    </a:lnTo>
                    <a:lnTo>
                      <a:pt x="976" y="990"/>
                    </a:lnTo>
                    <a:close/>
                    <a:moveTo>
                      <a:pt x="812" y="595"/>
                    </a:moveTo>
                    <a:lnTo>
                      <a:pt x="816" y="603"/>
                    </a:lnTo>
                    <a:lnTo>
                      <a:pt x="816" y="605"/>
                    </a:lnTo>
                    <a:lnTo>
                      <a:pt x="814" y="606"/>
                    </a:lnTo>
                    <a:lnTo>
                      <a:pt x="814" y="610"/>
                    </a:lnTo>
                    <a:lnTo>
                      <a:pt x="814" y="616"/>
                    </a:lnTo>
                    <a:lnTo>
                      <a:pt x="818" y="618"/>
                    </a:lnTo>
                    <a:lnTo>
                      <a:pt x="814" y="620"/>
                    </a:lnTo>
                    <a:lnTo>
                      <a:pt x="814" y="618"/>
                    </a:lnTo>
                    <a:lnTo>
                      <a:pt x="812" y="622"/>
                    </a:lnTo>
                    <a:lnTo>
                      <a:pt x="810" y="620"/>
                    </a:lnTo>
                    <a:lnTo>
                      <a:pt x="809" y="618"/>
                    </a:lnTo>
                    <a:lnTo>
                      <a:pt x="807" y="610"/>
                    </a:lnTo>
                    <a:lnTo>
                      <a:pt x="805" y="608"/>
                    </a:lnTo>
                    <a:lnTo>
                      <a:pt x="803" y="603"/>
                    </a:lnTo>
                    <a:lnTo>
                      <a:pt x="805" y="597"/>
                    </a:lnTo>
                    <a:lnTo>
                      <a:pt x="807" y="597"/>
                    </a:lnTo>
                    <a:lnTo>
                      <a:pt x="809" y="595"/>
                    </a:lnTo>
                    <a:lnTo>
                      <a:pt x="812" y="595"/>
                    </a:lnTo>
                    <a:close/>
                    <a:moveTo>
                      <a:pt x="902" y="1146"/>
                    </a:moveTo>
                    <a:lnTo>
                      <a:pt x="904" y="1148"/>
                    </a:lnTo>
                    <a:lnTo>
                      <a:pt x="906" y="1150"/>
                    </a:lnTo>
                    <a:lnTo>
                      <a:pt x="908" y="1150"/>
                    </a:lnTo>
                    <a:lnTo>
                      <a:pt x="913" y="1156"/>
                    </a:lnTo>
                    <a:lnTo>
                      <a:pt x="913" y="1158"/>
                    </a:lnTo>
                    <a:lnTo>
                      <a:pt x="912" y="1160"/>
                    </a:lnTo>
                    <a:lnTo>
                      <a:pt x="912" y="1162"/>
                    </a:lnTo>
                    <a:lnTo>
                      <a:pt x="915" y="1164"/>
                    </a:lnTo>
                    <a:lnTo>
                      <a:pt x="917" y="1164"/>
                    </a:lnTo>
                    <a:lnTo>
                      <a:pt x="921" y="1164"/>
                    </a:lnTo>
                    <a:lnTo>
                      <a:pt x="919" y="1164"/>
                    </a:lnTo>
                    <a:lnTo>
                      <a:pt x="919" y="1165"/>
                    </a:lnTo>
                    <a:lnTo>
                      <a:pt x="919" y="1167"/>
                    </a:lnTo>
                    <a:lnTo>
                      <a:pt x="917" y="1165"/>
                    </a:lnTo>
                    <a:lnTo>
                      <a:pt x="919" y="1167"/>
                    </a:lnTo>
                    <a:lnTo>
                      <a:pt x="917" y="1167"/>
                    </a:lnTo>
                    <a:lnTo>
                      <a:pt x="917" y="1165"/>
                    </a:lnTo>
                    <a:lnTo>
                      <a:pt x="913" y="1165"/>
                    </a:lnTo>
                    <a:lnTo>
                      <a:pt x="915" y="1165"/>
                    </a:lnTo>
                    <a:lnTo>
                      <a:pt x="913" y="1164"/>
                    </a:lnTo>
                    <a:lnTo>
                      <a:pt x="913" y="1165"/>
                    </a:lnTo>
                    <a:lnTo>
                      <a:pt x="912" y="1165"/>
                    </a:lnTo>
                    <a:lnTo>
                      <a:pt x="912" y="1167"/>
                    </a:lnTo>
                    <a:lnTo>
                      <a:pt x="910" y="1165"/>
                    </a:lnTo>
                    <a:lnTo>
                      <a:pt x="912" y="1165"/>
                    </a:lnTo>
                    <a:lnTo>
                      <a:pt x="912" y="1164"/>
                    </a:lnTo>
                    <a:lnTo>
                      <a:pt x="913" y="1162"/>
                    </a:lnTo>
                    <a:lnTo>
                      <a:pt x="912" y="1162"/>
                    </a:lnTo>
                    <a:lnTo>
                      <a:pt x="912" y="1164"/>
                    </a:lnTo>
                    <a:lnTo>
                      <a:pt x="912" y="1162"/>
                    </a:lnTo>
                    <a:lnTo>
                      <a:pt x="908" y="1162"/>
                    </a:lnTo>
                    <a:lnTo>
                      <a:pt x="908" y="1164"/>
                    </a:lnTo>
                    <a:lnTo>
                      <a:pt x="908" y="1162"/>
                    </a:lnTo>
                    <a:lnTo>
                      <a:pt x="908" y="1164"/>
                    </a:lnTo>
                    <a:lnTo>
                      <a:pt x="906" y="1162"/>
                    </a:lnTo>
                    <a:lnTo>
                      <a:pt x="906" y="1160"/>
                    </a:lnTo>
                    <a:lnTo>
                      <a:pt x="906" y="1158"/>
                    </a:lnTo>
                    <a:lnTo>
                      <a:pt x="906" y="1156"/>
                    </a:lnTo>
                    <a:lnTo>
                      <a:pt x="904" y="1156"/>
                    </a:lnTo>
                    <a:lnTo>
                      <a:pt x="906" y="1154"/>
                    </a:lnTo>
                    <a:lnTo>
                      <a:pt x="904" y="1154"/>
                    </a:lnTo>
                    <a:lnTo>
                      <a:pt x="904" y="1152"/>
                    </a:lnTo>
                    <a:lnTo>
                      <a:pt x="904" y="1154"/>
                    </a:lnTo>
                    <a:lnTo>
                      <a:pt x="902" y="1152"/>
                    </a:lnTo>
                    <a:lnTo>
                      <a:pt x="900" y="1150"/>
                    </a:lnTo>
                    <a:lnTo>
                      <a:pt x="900" y="1146"/>
                    </a:lnTo>
                    <a:lnTo>
                      <a:pt x="902" y="1146"/>
                    </a:lnTo>
                    <a:close/>
                    <a:moveTo>
                      <a:pt x="431" y="591"/>
                    </a:moveTo>
                    <a:lnTo>
                      <a:pt x="435" y="591"/>
                    </a:lnTo>
                    <a:lnTo>
                      <a:pt x="437" y="595"/>
                    </a:lnTo>
                    <a:lnTo>
                      <a:pt x="439" y="597"/>
                    </a:lnTo>
                    <a:lnTo>
                      <a:pt x="439" y="599"/>
                    </a:lnTo>
                    <a:lnTo>
                      <a:pt x="437" y="605"/>
                    </a:lnTo>
                    <a:lnTo>
                      <a:pt x="435" y="605"/>
                    </a:lnTo>
                    <a:lnTo>
                      <a:pt x="433" y="603"/>
                    </a:lnTo>
                    <a:lnTo>
                      <a:pt x="431" y="605"/>
                    </a:lnTo>
                    <a:lnTo>
                      <a:pt x="429" y="605"/>
                    </a:lnTo>
                    <a:lnTo>
                      <a:pt x="427" y="603"/>
                    </a:lnTo>
                    <a:lnTo>
                      <a:pt x="423" y="603"/>
                    </a:lnTo>
                    <a:lnTo>
                      <a:pt x="418" y="601"/>
                    </a:lnTo>
                    <a:lnTo>
                      <a:pt x="418" y="597"/>
                    </a:lnTo>
                    <a:lnTo>
                      <a:pt x="420" y="593"/>
                    </a:lnTo>
                    <a:lnTo>
                      <a:pt x="421" y="593"/>
                    </a:lnTo>
                    <a:lnTo>
                      <a:pt x="423" y="593"/>
                    </a:lnTo>
                    <a:lnTo>
                      <a:pt x="425" y="591"/>
                    </a:lnTo>
                    <a:lnTo>
                      <a:pt x="425" y="593"/>
                    </a:lnTo>
                    <a:lnTo>
                      <a:pt x="427" y="591"/>
                    </a:lnTo>
                    <a:lnTo>
                      <a:pt x="429" y="593"/>
                    </a:lnTo>
                    <a:lnTo>
                      <a:pt x="431" y="591"/>
                    </a:lnTo>
                    <a:close/>
                    <a:moveTo>
                      <a:pt x="174" y="1541"/>
                    </a:moveTo>
                    <a:lnTo>
                      <a:pt x="174" y="1543"/>
                    </a:lnTo>
                    <a:lnTo>
                      <a:pt x="179" y="1547"/>
                    </a:lnTo>
                    <a:lnTo>
                      <a:pt x="181" y="1551"/>
                    </a:lnTo>
                    <a:lnTo>
                      <a:pt x="185" y="1555"/>
                    </a:lnTo>
                    <a:lnTo>
                      <a:pt x="185" y="1557"/>
                    </a:lnTo>
                    <a:lnTo>
                      <a:pt x="185" y="1559"/>
                    </a:lnTo>
                    <a:lnTo>
                      <a:pt x="183" y="1559"/>
                    </a:lnTo>
                    <a:lnTo>
                      <a:pt x="183" y="1560"/>
                    </a:lnTo>
                    <a:lnTo>
                      <a:pt x="181" y="1559"/>
                    </a:lnTo>
                    <a:lnTo>
                      <a:pt x="179" y="1557"/>
                    </a:lnTo>
                    <a:lnTo>
                      <a:pt x="179" y="1555"/>
                    </a:lnTo>
                    <a:lnTo>
                      <a:pt x="179" y="1553"/>
                    </a:lnTo>
                    <a:lnTo>
                      <a:pt x="179" y="1555"/>
                    </a:lnTo>
                    <a:lnTo>
                      <a:pt x="177" y="1555"/>
                    </a:lnTo>
                    <a:lnTo>
                      <a:pt x="177" y="1553"/>
                    </a:lnTo>
                    <a:lnTo>
                      <a:pt x="179" y="1553"/>
                    </a:lnTo>
                    <a:lnTo>
                      <a:pt x="177" y="1553"/>
                    </a:lnTo>
                    <a:lnTo>
                      <a:pt x="177" y="1551"/>
                    </a:lnTo>
                    <a:lnTo>
                      <a:pt x="175" y="1551"/>
                    </a:lnTo>
                    <a:lnTo>
                      <a:pt x="175" y="1549"/>
                    </a:lnTo>
                    <a:lnTo>
                      <a:pt x="177" y="1549"/>
                    </a:lnTo>
                    <a:lnTo>
                      <a:pt x="175" y="1549"/>
                    </a:lnTo>
                    <a:lnTo>
                      <a:pt x="175" y="1547"/>
                    </a:lnTo>
                    <a:lnTo>
                      <a:pt x="174" y="1547"/>
                    </a:lnTo>
                    <a:lnTo>
                      <a:pt x="174" y="1545"/>
                    </a:lnTo>
                    <a:lnTo>
                      <a:pt x="172" y="1545"/>
                    </a:lnTo>
                    <a:lnTo>
                      <a:pt x="172" y="1543"/>
                    </a:lnTo>
                    <a:lnTo>
                      <a:pt x="174" y="1541"/>
                    </a:lnTo>
                    <a:close/>
                    <a:moveTo>
                      <a:pt x="1209" y="1309"/>
                    </a:moveTo>
                    <a:lnTo>
                      <a:pt x="1211" y="1309"/>
                    </a:lnTo>
                    <a:lnTo>
                      <a:pt x="1211" y="1311"/>
                    </a:lnTo>
                    <a:lnTo>
                      <a:pt x="1211" y="1309"/>
                    </a:lnTo>
                    <a:lnTo>
                      <a:pt x="1213" y="1309"/>
                    </a:lnTo>
                    <a:lnTo>
                      <a:pt x="1211" y="1309"/>
                    </a:lnTo>
                    <a:lnTo>
                      <a:pt x="1213" y="1309"/>
                    </a:lnTo>
                    <a:lnTo>
                      <a:pt x="1213" y="1311"/>
                    </a:lnTo>
                    <a:lnTo>
                      <a:pt x="1215" y="1309"/>
                    </a:lnTo>
                    <a:lnTo>
                      <a:pt x="1213" y="1311"/>
                    </a:lnTo>
                    <a:lnTo>
                      <a:pt x="1215" y="1311"/>
                    </a:lnTo>
                    <a:lnTo>
                      <a:pt x="1217" y="1311"/>
                    </a:lnTo>
                    <a:lnTo>
                      <a:pt x="1215" y="1312"/>
                    </a:lnTo>
                    <a:lnTo>
                      <a:pt x="1215" y="1314"/>
                    </a:lnTo>
                    <a:lnTo>
                      <a:pt x="1215" y="1316"/>
                    </a:lnTo>
                    <a:lnTo>
                      <a:pt x="1215" y="1318"/>
                    </a:lnTo>
                    <a:lnTo>
                      <a:pt x="1213" y="1318"/>
                    </a:lnTo>
                    <a:lnTo>
                      <a:pt x="1213" y="1320"/>
                    </a:lnTo>
                    <a:lnTo>
                      <a:pt x="1213" y="1322"/>
                    </a:lnTo>
                    <a:lnTo>
                      <a:pt x="1211" y="1320"/>
                    </a:lnTo>
                    <a:lnTo>
                      <a:pt x="1211" y="1318"/>
                    </a:lnTo>
                    <a:lnTo>
                      <a:pt x="1209" y="1318"/>
                    </a:lnTo>
                    <a:lnTo>
                      <a:pt x="1209" y="1316"/>
                    </a:lnTo>
                    <a:lnTo>
                      <a:pt x="1207" y="1316"/>
                    </a:lnTo>
                    <a:lnTo>
                      <a:pt x="1207" y="1314"/>
                    </a:lnTo>
                    <a:lnTo>
                      <a:pt x="1207" y="1316"/>
                    </a:lnTo>
                    <a:lnTo>
                      <a:pt x="1207" y="1314"/>
                    </a:lnTo>
                    <a:lnTo>
                      <a:pt x="1205" y="1314"/>
                    </a:lnTo>
                    <a:lnTo>
                      <a:pt x="1203" y="1314"/>
                    </a:lnTo>
                    <a:lnTo>
                      <a:pt x="1205" y="1312"/>
                    </a:lnTo>
                    <a:lnTo>
                      <a:pt x="1203" y="1312"/>
                    </a:lnTo>
                    <a:lnTo>
                      <a:pt x="1201" y="1311"/>
                    </a:lnTo>
                    <a:lnTo>
                      <a:pt x="1203" y="1311"/>
                    </a:lnTo>
                    <a:lnTo>
                      <a:pt x="1203" y="1309"/>
                    </a:lnTo>
                    <a:lnTo>
                      <a:pt x="1205" y="1311"/>
                    </a:lnTo>
                    <a:lnTo>
                      <a:pt x="1207" y="1309"/>
                    </a:lnTo>
                    <a:lnTo>
                      <a:pt x="1209" y="1309"/>
                    </a:lnTo>
                    <a:close/>
                    <a:moveTo>
                      <a:pt x="620" y="654"/>
                    </a:moveTo>
                    <a:lnTo>
                      <a:pt x="622" y="656"/>
                    </a:lnTo>
                    <a:lnTo>
                      <a:pt x="614" y="660"/>
                    </a:lnTo>
                    <a:lnTo>
                      <a:pt x="612" y="667"/>
                    </a:lnTo>
                    <a:lnTo>
                      <a:pt x="610" y="667"/>
                    </a:lnTo>
                    <a:lnTo>
                      <a:pt x="610" y="666"/>
                    </a:lnTo>
                    <a:lnTo>
                      <a:pt x="610" y="667"/>
                    </a:lnTo>
                    <a:lnTo>
                      <a:pt x="608" y="667"/>
                    </a:lnTo>
                    <a:lnTo>
                      <a:pt x="606" y="669"/>
                    </a:lnTo>
                    <a:lnTo>
                      <a:pt x="599" y="667"/>
                    </a:lnTo>
                    <a:lnTo>
                      <a:pt x="601" y="666"/>
                    </a:lnTo>
                    <a:lnTo>
                      <a:pt x="603" y="664"/>
                    </a:lnTo>
                    <a:lnTo>
                      <a:pt x="605" y="664"/>
                    </a:lnTo>
                    <a:lnTo>
                      <a:pt x="603" y="662"/>
                    </a:lnTo>
                    <a:lnTo>
                      <a:pt x="605" y="658"/>
                    </a:lnTo>
                    <a:lnTo>
                      <a:pt x="606" y="658"/>
                    </a:lnTo>
                    <a:lnTo>
                      <a:pt x="620" y="652"/>
                    </a:lnTo>
                    <a:lnTo>
                      <a:pt x="620" y="654"/>
                    </a:lnTo>
                    <a:close/>
                    <a:moveTo>
                      <a:pt x="1016" y="1007"/>
                    </a:moveTo>
                    <a:lnTo>
                      <a:pt x="1018" y="1007"/>
                    </a:lnTo>
                    <a:lnTo>
                      <a:pt x="1020" y="1009"/>
                    </a:lnTo>
                    <a:lnTo>
                      <a:pt x="1022" y="1009"/>
                    </a:lnTo>
                    <a:lnTo>
                      <a:pt x="1024" y="1009"/>
                    </a:lnTo>
                    <a:lnTo>
                      <a:pt x="1024" y="1011"/>
                    </a:lnTo>
                    <a:lnTo>
                      <a:pt x="1024" y="1013"/>
                    </a:lnTo>
                    <a:lnTo>
                      <a:pt x="1024" y="1015"/>
                    </a:lnTo>
                    <a:lnTo>
                      <a:pt x="1024" y="1013"/>
                    </a:lnTo>
                    <a:lnTo>
                      <a:pt x="1020" y="1019"/>
                    </a:lnTo>
                    <a:lnTo>
                      <a:pt x="1020" y="1020"/>
                    </a:lnTo>
                    <a:lnTo>
                      <a:pt x="1022" y="1020"/>
                    </a:lnTo>
                    <a:lnTo>
                      <a:pt x="1020" y="1020"/>
                    </a:lnTo>
                    <a:lnTo>
                      <a:pt x="1020" y="1022"/>
                    </a:lnTo>
                    <a:lnTo>
                      <a:pt x="1020" y="1020"/>
                    </a:lnTo>
                    <a:lnTo>
                      <a:pt x="1018" y="1020"/>
                    </a:lnTo>
                    <a:lnTo>
                      <a:pt x="1018" y="1022"/>
                    </a:lnTo>
                    <a:lnTo>
                      <a:pt x="1014" y="1020"/>
                    </a:lnTo>
                    <a:lnTo>
                      <a:pt x="1013" y="1017"/>
                    </a:lnTo>
                    <a:lnTo>
                      <a:pt x="1013" y="1015"/>
                    </a:lnTo>
                    <a:lnTo>
                      <a:pt x="1014" y="1013"/>
                    </a:lnTo>
                    <a:lnTo>
                      <a:pt x="1013" y="1009"/>
                    </a:lnTo>
                    <a:lnTo>
                      <a:pt x="1016" y="1007"/>
                    </a:lnTo>
                    <a:close/>
                    <a:moveTo>
                      <a:pt x="891" y="1152"/>
                    </a:moveTo>
                    <a:lnTo>
                      <a:pt x="892" y="1152"/>
                    </a:lnTo>
                    <a:lnTo>
                      <a:pt x="894" y="1154"/>
                    </a:lnTo>
                    <a:lnTo>
                      <a:pt x="892" y="1154"/>
                    </a:lnTo>
                    <a:lnTo>
                      <a:pt x="894" y="1156"/>
                    </a:lnTo>
                    <a:lnTo>
                      <a:pt x="896" y="1158"/>
                    </a:lnTo>
                    <a:lnTo>
                      <a:pt x="894" y="1158"/>
                    </a:lnTo>
                    <a:lnTo>
                      <a:pt x="896" y="1160"/>
                    </a:lnTo>
                    <a:lnTo>
                      <a:pt x="896" y="1162"/>
                    </a:lnTo>
                    <a:lnTo>
                      <a:pt x="896" y="1160"/>
                    </a:lnTo>
                    <a:lnTo>
                      <a:pt x="898" y="1162"/>
                    </a:lnTo>
                    <a:lnTo>
                      <a:pt x="898" y="1165"/>
                    </a:lnTo>
                    <a:lnTo>
                      <a:pt x="898" y="1167"/>
                    </a:lnTo>
                    <a:lnTo>
                      <a:pt x="898" y="1169"/>
                    </a:lnTo>
                    <a:lnTo>
                      <a:pt x="896" y="1171"/>
                    </a:lnTo>
                    <a:lnTo>
                      <a:pt x="894" y="1169"/>
                    </a:lnTo>
                    <a:lnTo>
                      <a:pt x="894" y="1165"/>
                    </a:lnTo>
                    <a:lnTo>
                      <a:pt x="892" y="1164"/>
                    </a:lnTo>
                    <a:lnTo>
                      <a:pt x="891" y="1162"/>
                    </a:lnTo>
                    <a:lnTo>
                      <a:pt x="891" y="1156"/>
                    </a:lnTo>
                    <a:lnTo>
                      <a:pt x="889" y="1152"/>
                    </a:lnTo>
                    <a:lnTo>
                      <a:pt x="891" y="1152"/>
                    </a:lnTo>
                    <a:close/>
                    <a:moveTo>
                      <a:pt x="1159" y="1345"/>
                    </a:moveTo>
                    <a:lnTo>
                      <a:pt x="1161" y="1345"/>
                    </a:lnTo>
                    <a:lnTo>
                      <a:pt x="1163" y="1347"/>
                    </a:lnTo>
                    <a:lnTo>
                      <a:pt x="1165" y="1349"/>
                    </a:lnTo>
                    <a:lnTo>
                      <a:pt x="1163" y="1352"/>
                    </a:lnTo>
                    <a:lnTo>
                      <a:pt x="1163" y="1354"/>
                    </a:lnTo>
                    <a:lnTo>
                      <a:pt x="1161" y="1354"/>
                    </a:lnTo>
                    <a:lnTo>
                      <a:pt x="1159" y="1354"/>
                    </a:lnTo>
                    <a:lnTo>
                      <a:pt x="1159" y="1356"/>
                    </a:lnTo>
                    <a:lnTo>
                      <a:pt x="1156" y="1358"/>
                    </a:lnTo>
                    <a:lnTo>
                      <a:pt x="1156" y="1356"/>
                    </a:lnTo>
                    <a:lnTo>
                      <a:pt x="1156" y="1354"/>
                    </a:lnTo>
                    <a:lnTo>
                      <a:pt x="1156" y="1352"/>
                    </a:lnTo>
                    <a:lnTo>
                      <a:pt x="1158" y="1345"/>
                    </a:lnTo>
                    <a:lnTo>
                      <a:pt x="1159" y="1345"/>
                    </a:lnTo>
                    <a:close/>
                    <a:moveTo>
                      <a:pt x="1014" y="1240"/>
                    </a:moveTo>
                    <a:lnTo>
                      <a:pt x="1016" y="1240"/>
                    </a:lnTo>
                    <a:lnTo>
                      <a:pt x="1018" y="1240"/>
                    </a:lnTo>
                    <a:lnTo>
                      <a:pt x="1016" y="1240"/>
                    </a:lnTo>
                    <a:lnTo>
                      <a:pt x="1018" y="1240"/>
                    </a:lnTo>
                    <a:lnTo>
                      <a:pt x="1020" y="1240"/>
                    </a:lnTo>
                    <a:lnTo>
                      <a:pt x="1018" y="1242"/>
                    </a:lnTo>
                    <a:lnTo>
                      <a:pt x="1020" y="1242"/>
                    </a:lnTo>
                    <a:lnTo>
                      <a:pt x="1022" y="1242"/>
                    </a:lnTo>
                    <a:lnTo>
                      <a:pt x="1022" y="1244"/>
                    </a:lnTo>
                    <a:lnTo>
                      <a:pt x="1024" y="1244"/>
                    </a:lnTo>
                    <a:lnTo>
                      <a:pt x="1024" y="1246"/>
                    </a:lnTo>
                    <a:lnTo>
                      <a:pt x="1026" y="1246"/>
                    </a:lnTo>
                    <a:lnTo>
                      <a:pt x="1024" y="1246"/>
                    </a:lnTo>
                    <a:lnTo>
                      <a:pt x="1024" y="1248"/>
                    </a:lnTo>
                    <a:lnTo>
                      <a:pt x="1022" y="1248"/>
                    </a:lnTo>
                    <a:lnTo>
                      <a:pt x="1024" y="1248"/>
                    </a:lnTo>
                    <a:lnTo>
                      <a:pt x="1026" y="1248"/>
                    </a:lnTo>
                    <a:lnTo>
                      <a:pt x="1026" y="1249"/>
                    </a:lnTo>
                    <a:lnTo>
                      <a:pt x="1024" y="1249"/>
                    </a:lnTo>
                    <a:lnTo>
                      <a:pt x="1024" y="1251"/>
                    </a:lnTo>
                    <a:lnTo>
                      <a:pt x="1022" y="1251"/>
                    </a:lnTo>
                    <a:lnTo>
                      <a:pt x="1022" y="1249"/>
                    </a:lnTo>
                    <a:lnTo>
                      <a:pt x="1020" y="1249"/>
                    </a:lnTo>
                    <a:lnTo>
                      <a:pt x="1018" y="1249"/>
                    </a:lnTo>
                    <a:lnTo>
                      <a:pt x="1018" y="1248"/>
                    </a:lnTo>
                    <a:lnTo>
                      <a:pt x="1016" y="1246"/>
                    </a:lnTo>
                    <a:lnTo>
                      <a:pt x="1014" y="1246"/>
                    </a:lnTo>
                    <a:lnTo>
                      <a:pt x="1016" y="1246"/>
                    </a:lnTo>
                    <a:lnTo>
                      <a:pt x="1014" y="1246"/>
                    </a:lnTo>
                    <a:lnTo>
                      <a:pt x="1013" y="1244"/>
                    </a:lnTo>
                    <a:lnTo>
                      <a:pt x="1014" y="1244"/>
                    </a:lnTo>
                    <a:lnTo>
                      <a:pt x="1013" y="1244"/>
                    </a:lnTo>
                    <a:lnTo>
                      <a:pt x="1014" y="1242"/>
                    </a:lnTo>
                    <a:lnTo>
                      <a:pt x="1013" y="1242"/>
                    </a:lnTo>
                    <a:lnTo>
                      <a:pt x="1014" y="1242"/>
                    </a:lnTo>
                    <a:lnTo>
                      <a:pt x="1013" y="1242"/>
                    </a:lnTo>
                    <a:lnTo>
                      <a:pt x="1013" y="1240"/>
                    </a:lnTo>
                    <a:lnTo>
                      <a:pt x="1014" y="1240"/>
                    </a:lnTo>
                    <a:close/>
                    <a:moveTo>
                      <a:pt x="614" y="646"/>
                    </a:moveTo>
                    <a:lnTo>
                      <a:pt x="616" y="646"/>
                    </a:lnTo>
                    <a:lnTo>
                      <a:pt x="618" y="648"/>
                    </a:lnTo>
                    <a:lnTo>
                      <a:pt x="616" y="652"/>
                    </a:lnTo>
                    <a:lnTo>
                      <a:pt x="601" y="658"/>
                    </a:lnTo>
                    <a:lnTo>
                      <a:pt x="595" y="660"/>
                    </a:lnTo>
                    <a:lnTo>
                      <a:pt x="591" y="658"/>
                    </a:lnTo>
                    <a:lnTo>
                      <a:pt x="591" y="656"/>
                    </a:lnTo>
                    <a:lnTo>
                      <a:pt x="597" y="654"/>
                    </a:lnTo>
                    <a:lnTo>
                      <a:pt x="608" y="646"/>
                    </a:lnTo>
                    <a:lnTo>
                      <a:pt x="614" y="646"/>
                    </a:lnTo>
                    <a:close/>
                    <a:moveTo>
                      <a:pt x="1112" y="1267"/>
                    </a:moveTo>
                    <a:lnTo>
                      <a:pt x="1121" y="1270"/>
                    </a:lnTo>
                    <a:lnTo>
                      <a:pt x="1121" y="1272"/>
                    </a:lnTo>
                    <a:lnTo>
                      <a:pt x="1121" y="1270"/>
                    </a:lnTo>
                    <a:lnTo>
                      <a:pt x="1123" y="1272"/>
                    </a:lnTo>
                    <a:lnTo>
                      <a:pt x="1125" y="1274"/>
                    </a:lnTo>
                    <a:lnTo>
                      <a:pt x="1123" y="1272"/>
                    </a:lnTo>
                    <a:lnTo>
                      <a:pt x="1125" y="1274"/>
                    </a:lnTo>
                    <a:lnTo>
                      <a:pt x="1125" y="1276"/>
                    </a:lnTo>
                    <a:lnTo>
                      <a:pt x="1125" y="1274"/>
                    </a:lnTo>
                    <a:lnTo>
                      <a:pt x="1127" y="1276"/>
                    </a:lnTo>
                    <a:lnTo>
                      <a:pt x="1127" y="1278"/>
                    </a:lnTo>
                    <a:lnTo>
                      <a:pt x="1123" y="1280"/>
                    </a:lnTo>
                    <a:lnTo>
                      <a:pt x="1121" y="1280"/>
                    </a:lnTo>
                    <a:lnTo>
                      <a:pt x="1121" y="1278"/>
                    </a:lnTo>
                    <a:lnTo>
                      <a:pt x="1121" y="1280"/>
                    </a:lnTo>
                    <a:lnTo>
                      <a:pt x="1119" y="1280"/>
                    </a:lnTo>
                    <a:lnTo>
                      <a:pt x="1119" y="1278"/>
                    </a:lnTo>
                    <a:lnTo>
                      <a:pt x="1117" y="1276"/>
                    </a:lnTo>
                    <a:lnTo>
                      <a:pt x="1117" y="1274"/>
                    </a:lnTo>
                    <a:lnTo>
                      <a:pt x="1116" y="1272"/>
                    </a:lnTo>
                    <a:lnTo>
                      <a:pt x="1119" y="1272"/>
                    </a:lnTo>
                    <a:lnTo>
                      <a:pt x="1117" y="1272"/>
                    </a:lnTo>
                    <a:lnTo>
                      <a:pt x="1119" y="1270"/>
                    </a:lnTo>
                    <a:lnTo>
                      <a:pt x="1117" y="1272"/>
                    </a:lnTo>
                    <a:lnTo>
                      <a:pt x="1116" y="1270"/>
                    </a:lnTo>
                    <a:lnTo>
                      <a:pt x="1114" y="1270"/>
                    </a:lnTo>
                    <a:lnTo>
                      <a:pt x="1116" y="1270"/>
                    </a:lnTo>
                    <a:lnTo>
                      <a:pt x="1112" y="1269"/>
                    </a:lnTo>
                    <a:lnTo>
                      <a:pt x="1112" y="1267"/>
                    </a:lnTo>
                    <a:close/>
                    <a:moveTo>
                      <a:pt x="1047" y="1040"/>
                    </a:moveTo>
                    <a:lnTo>
                      <a:pt x="1049" y="1041"/>
                    </a:lnTo>
                    <a:lnTo>
                      <a:pt x="1051" y="1041"/>
                    </a:lnTo>
                    <a:lnTo>
                      <a:pt x="1051" y="1045"/>
                    </a:lnTo>
                    <a:lnTo>
                      <a:pt x="1055" y="1049"/>
                    </a:lnTo>
                    <a:lnTo>
                      <a:pt x="1055" y="1051"/>
                    </a:lnTo>
                    <a:lnTo>
                      <a:pt x="1053" y="1051"/>
                    </a:lnTo>
                    <a:lnTo>
                      <a:pt x="1053" y="1053"/>
                    </a:lnTo>
                    <a:lnTo>
                      <a:pt x="1055" y="1053"/>
                    </a:lnTo>
                    <a:lnTo>
                      <a:pt x="1053" y="1055"/>
                    </a:lnTo>
                    <a:lnTo>
                      <a:pt x="1055" y="1055"/>
                    </a:lnTo>
                    <a:lnTo>
                      <a:pt x="1055" y="1057"/>
                    </a:lnTo>
                    <a:lnTo>
                      <a:pt x="1053" y="1057"/>
                    </a:lnTo>
                    <a:lnTo>
                      <a:pt x="1055" y="1057"/>
                    </a:lnTo>
                    <a:lnTo>
                      <a:pt x="1053" y="1057"/>
                    </a:lnTo>
                    <a:lnTo>
                      <a:pt x="1051" y="1057"/>
                    </a:lnTo>
                    <a:lnTo>
                      <a:pt x="1051" y="1055"/>
                    </a:lnTo>
                    <a:lnTo>
                      <a:pt x="1047" y="1051"/>
                    </a:lnTo>
                    <a:lnTo>
                      <a:pt x="1045" y="1049"/>
                    </a:lnTo>
                    <a:lnTo>
                      <a:pt x="1045" y="1043"/>
                    </a:lnTo>
                    <a:lnTo>
                      <a:pt x="1045" y="1040"/>
                    </a:lnTo>
                    <a:lnTo>
                      <a:pt x="1047" y="1040"/>
                    </a:lnTo>
                    <a:close/>
                    <a:moveTo>
                      <a:pt x="168" y="1549"/>
                    </a:moveTo>
                    <a:lnTo>
                      <a:pt x="174" y="1553"/>
                    </a:lnTo>
                    <a:lnTo>
                      <a:pt x="177" y="1555"/>
                    </a:lnTo>
                    <a:lnTo>
                      <a:pt x="177" y="1557"/>
                    </a:lnTo>
                    <a:lnTo>
                      <a:pt x="179" y="1559"/>
                    </a:lnTo>
                    <a:lnTo>
                      <a:pt x="179" y="1560"/>
                    </a:lnTo>
                    <a:lnTo>
                      <a:pt x="179" y="1562"/>
                    </a:lnTo>
                    <a:lnTo>
                      <a:pt x="179" y="1560"/>
                    </a:lnTo>
                    <a:lnTo>
                      <a:pt x="177" y="1560"/>
                    </a:lnTo>
                    <a:lnTo>
                      <a:pt x="177" y="1562"/>
                    </a:lnTo>
                    <a:lnTo>
                      <a:pt x="177" y="1560"/>
                    </a:lnTo>
                    <a:lnTo>
                      <a:pt x="175" y="1560"/>
                    </a:lnTo>
                    <a:lnTo>
                      <a:pt x="175" y="1559"/>
                    </a:lnTo>
                    <a:lnTo>
                      <a:pt x="175" y="1560"/>
                    </a:lnTo>
                    <a:lnTo>
                      <a:pt x="174" y="1559"/>
                    </a:lnTo>
                    <a:lnTo>
                      <a:pt x="174" y="1557"/>
                    </a:lnTo>
                    <a:lnTo>
                      <a:pt x="172" y="1557"/>
                    </a:lnTo>
                    <a:lnTo>
                      <a:pt x="170" y="1553"/>
                    </a:lnTo>
                    <a:lnTo>
                      <a:pt x="168" y="1553"/>
                    </a:lnTo>
                    <a:lnTo>
                      <a:pt x="168" y="1551"/>
                    </a:lnTo>
                    <a:lnTo>
                      <a:pt x="168" y="1549"/>
                    </a:lnTo>
                    <a:lnTo>
                      <a:pt x="168" y="1551"/>
                    </a:lnTo>
                    <a:lnTo>
                      <a:pt x="168" y="1549"/>
                    </a:lnTo>
                    <a:close/>
                    <a:moveTo>
                      <a:pt x="711" y="675"/>
                    </a:moveTo>
                    <a:lnTo>
                      <a:pt x="715" y="677"/>
                    </a:lnTo>
                    <a:lnTo>
                      <a:pt x="717" y="677"/>
                    </a:lnTo>
                    <a:lnTo>
                      <a:pt x="719" y="679"/>
                    </a:lnTo>
                    <a:lnTo>
                      <a:pt x="719" y="681"/>
                    </a:lnTo>
                    <a:lnTo>
                      <a:pt x="717" y="683"/>
                    </a:lnTo>
                    <a:lnTo>
                      <a:pt x="715" y="685"/>
                    </a:lnTo>
                    <a:lnTo>
                      <a:pt x="715" y="687"/>
                    </a:lnTo>
                    <a:lnTo>
                      <a:pt x="713" y="687"/>
                    </a:lnTo>
                    <a:lnTo>
                      <a:pt x="713" y="685"/>
                    </a:lnTo>
                    <a:lnTo>
                      <a:pt x="709" y="683"/>
                    </a:lnTo>
                    <a:lnTo>
                      <a:pt x="711" y="681"/>
                    </a:lnTo>
                    <a:lnTo>
                      <a:pt x="709" y="681"/>
                    </a:lnTo>
                    <a:lnTo>
                      <a:pt x="709" y="685"/>
                    </a:lnTo>
                    <a:lnTo>
                      <a:pt x="709" y="687"/>
                    </a:lnTo>
                    <a:lnTo>
                      <a:pt x="707" y="688"/>
                    </a:lnTo>
                    <a:lnTo>
                      <a:pt x="706" y="688"/>
                    </a:lnTo>
                    <a:lnTo>
                      <a:pt x="706" y="690"/>
                    </a:lnTo>
                    <a:lnTo>
                      <a:pt x="707" y="690"/>
                    </a:lnTo>
                    <a:lnTo>
                      <a:pt x="706" y="692"/>
                    </a:lnTo>
                    <a:lnTo>
                      <a:pt x="704" y="694"/>
                    </a:lnTo>
                    <a:lnTo>
                      <a:pt x="704" y="692"/>
                    </a:lnTo>
                    <a:lnTo>
                      <a:pt x="702" y="692"/>
                    </a:lnTo>
                    <a:lnTo>
                      <a:pt x="702" y="690"/>
                    </a:lnTo>
                    <a:lnTo>
                      <a:pt x="700" y="687"/>
                    </a:lnTo>
                    <a:lnTo>
                      <a:pt x="700" y="685"/>
                    </a:lnTo>
                    <a:lnTo>
                      <a:pt x="706" y="683"/>
                    </a:lnTo>
                    <a:lnTo>
                      <a:pt x="706" y="681"/>
                    </a:lnTo>
                    <a:lnTo>
                      <a:pt x="707" y="681"/>
                    </a:lnTo>
                    <a:lnTo>
                      <a:pt x="709" y="679"/>
                    </a:lnTo>
                    <a:lnTo>
                      <a:pt x="711" y="679"/>
                    </a:lnTo>
                    <a:lnTo>
                      <a:pt x="709" y="675"/>
                    </a:lnTo>
                    <a:lnTo>
                      <a:pt x="711" y="675"/>
                    </a:lnTo>
                    <a:close/>
                    <a:moveTo>
                      <a:pt x="879" y="425"/>
                    </a:moveTo>
                    <a:lnTo>
                      <a:pt x="889" y="425"/>
                    </a:lnTo>
                    <a:lnTo>
                      <a:pt x="889" y="429"/>
                    </a:lnTo>
                    <a:lnTo>
                      <a:pt x="889" y="431"/>
                    </a:lnTo>
                    <a:lnTo>
                      <a:pt x="871" y="439"/>
                    </a:lnTo>
                    <a:lnTo>
                      <a:pt x="868" y="439"/>
                    </a:lnTo>
                    <a:lnTo>
                      <a:pt x="871" y="433"/>
                    </a:lnTo>
                    <a:lnTo>
                      <a:pt x="871" y="429"/>
                    </a:lnTo>
                    <a:lnTo>
                      <a:pt x="873" y="429"/>
                    </a:lnTo>
                    <a:lnTo>
                      <a:pt x="875" y="427"/>
                    </a:lnTo>
                    <a:lnTo>
                      <a:pt x="879" y="425"/>
                    </a:lnTo>
                    <a:close/>
                    <a:moveTo>
                      <a:pt x="1100" y="933"/>
                    </a:moveTo>
                    <a:lnTo>
                      <a:pt x="1102" y="933"/>
                    </a:lnTo>
                    <a:lnTo>
                      <a:pt x="1106" y="933"/>
                    </a:lnTo>
                    <a:lnTo>
                      <a:pt x="1108" y="933"/>
                    </a:lnTo>
                    <a:lnTo>
                      <a:pt x="1108" y="935"/>
                    </a:lnTo>
                    <a:lnTo>
                      <a:pt x="1108" y="938"/>
                    </a:lnTo>
                    <a:lnTo>
                      <a:pt x="1104" y="938"/>
                    </a:lnTo>
                    <a:lnTo>
                      <a:pt x="1100" y="942"/>
                    </a:lnTo>
                    <a:lnTo>
                      <a:pt x="1098" y="942"/>
                    </a:lnTo>
                    <a:lnTo>
                      <a:pt x="1096" y="944"/>
                    </a:lnTo>
                    <a:lnTo>
                      <a:pt x="1095" y="938"/>
                    </a:lnTo>
                    <a:lnTo>
                      <a:pt x="1096" y="938"/>
                    </a:lnTo>
                    <a:lnTo>
                      <a:pt x="1095" y="938"/>
                    </a:lnTo>
                    <a:lnTo>
                      <a:pt x="1096" y="938"/>
                    </a:lnTo>
                    <a:lnTo>
                      <a:pt x="1098" y="937"/>
                    </a:lnTo>
                    <a:lnTo>
                      <a:pt x="1098" y="931"/>
                    </a:lnTo>
                    <a:lnTo>
                      <a:pt x="1100" y="931"/>
                    </a:lnTo>
                    <a:lnTo>
                      <a:pt x="1100" y="933"/>
                    </a:lnTo>
                    <a:close/>
                    <a:moveTo>
                      <a:pt x="646" y="601"/>
                    </a:moveTo>
                    <a:lnTo>
                      <a:pt x="648" y="601"/>
                    </a:lnTo>
                    <a:lnTo>
                      <a:pt x="648" y="603"/>
                    </a:lnTo>
                    <a:lnTo>
                      <a:pt x="641" y="610"/>
                    </a:lnTo>
                    <a:lnTo>
                      <a:pt x="635" y="612"/>
                    </a:lnTo>
                    <a:lnTo>
                      <a:pt x="631" y="616"/>
                    </a:lnTo>
                    <a:lnTo>
                      <a:pt x="625" y="612"/>
                    </a:lnTo>
                    <a:lnTo>
                      <a:pt x="629" y="608"/>
                    </a:lnTo>
                    <a:lnTo>
                      <a:pt x="635" y="608"/>
                    </a:lnTo>
                    <a:lnTo>
                      <a:pt x="635" y="606"/>
                    </a:lnTo>
                    <a:lnTo>
                      <a:pt x="637" y="606"/>
                    </a:lnTo>
                    <a:lnTo>
                      <a:pt x="637" y="605"/>
                    </a:lnTo>
                    <a:lnTo>
                      <a:pt x="639" y="603"/>
                    </a:lnTo>
                    <a:lnTo>
                      <a:pt x="641" y="601"/>
                    </a:lnTo>
                    <a:lnTo>
                      <a:pt x="646" y="601"/>
                    </a:lnTo>
                    <a:close/>
                    <a:moveTo>
                      <a:pt x="988" y="645"/>
                    </a:moveTo>
                    <a:lnTo>
                      <a:pt x="990" y="646"/>
                    </a:lnTo>
                    <a:lnTo>
                      <a:pt x="990" y="648"/>
                    </a:lnTo>
                    <a:lnTo>
                      <a:pt x="986" y="652"/>
                    </a:lnTo>
                    <a:lnTo>
                      <a:pt x="984" y="656"/>
                    </a:lnTo>
                    <a:lnTo>
                      <a:pt x="986" y="658"/>
                    </a:lnTo>
                    <a:lnTo>
                      <a:pt x="988" y="660"/>
                    </a:lnTo>
                    <a:lnTo>
                      <a:pt x="990" y="662"/>
                    </a:lnTo>
                    <a:lnTo>
                      <a:pt x="986" y="664"/>
                    </a:lnTo>
                    <a:lnTo>
                      <a:pt x="988" y="660"/>
                    </a:lnTo>
                    <a:lnTo>
                      <a:pt x="984" y="662"/>
                    </a:lnTo>
                    <a:lnTo>
                      <a:pt x="982" y="660"/>
                    </a:lnTo>
                    <a:lnTo>
                      <a:pt x="980" y="662"/>
                    </a:lnTo>
                    <a:lnTo>
                      <a:pt x="982" y="664"/>
                    </a:lnTo>
                    <a:lnTo>
                      <a:pt x="980" y="666"/>
                    </a:lnTo>
                    <a:lnTo>
                      <a:pt x="980" y="664"/>
                    </a:lnTo>
                    <a:lnTo>
                      <a:pt x="978" y="664"/>
                    </a:lnTo>
                    <a:lnTo>
                      <a:pt x="978" y="662"/>
                    </a:lnTo>
                    <a:lnTo>
                      <a:pt x="974" y="662"/>
                    </a:lnTo>
                    <a:lnTo>
                      <a:pt x="974" y="660"/>
                    </a:lnTo>
                    <a:lnTo>
                      <a:pt x="978" y="658"/>
                    </a:lnTo>
                    <a:lnTo>
                      <a:pt x="978" y="656"/>
                    </a:lnTo>
                    <a:lnTo>
                      <a:pt x="980" y="656"/>
                    </a:lnTo>
                    <a:lnTo>
                      <a:pt x="982" y="652"/>
                    </a:lnTo>
                    <a:lnTo>
                      <a:pt x="984" y="648"/>
                    </a:lnTo>
                    <a:lnTo>
                      <a:pt x="986" y="646"/>
                    </a:lnTo>
                    <a:lnTo>
                      <a:pt x="986" y="645"/>
                    </a:lnTo>
                    <a:lnTo>
                      <a:pt x="988" y="645"/>
                    </a:lnTo>
                    <a:close/>
                    <a:moveTo>
                      <a:pt x="706" y="822"/>
                    </a:moveTo>
                    <a:lnTo>
                      <a:pt x="706" y="826"/>
                    </a:lnTo>
                    <a:lnTo>
                      <a:pt x="706" y="824"/>
                    </a:lnTo>
                    <a:lnTo>
                      <a:pt x="707" y="830"/>
                    </a:lnTo>
                    <a:lnTo>
                      <a:pt x="706" y="835"/>
                    </a:lnTo>
                    <a:lnTo>
                      <a:pt x="702" y="835"/>
                    </a:lnTo>
                    <a:lnTo>
                      <a:pt x="700" y="832"/>
                    </a:lnTo>
                    <a:lnTo>
                      <a:pt x="700" y="826"/>
                    </a:lnTo>
                    <a:lnTo>
                      <a:pt x="700" y="824"/>
                    </a:lnTo>
                    <a:lnTo>
                      <a:pt x="704" y="820"/>
                    </a:lnTo>
                    <a:lnTo>
                      <a:pt x="706" y="822"/>
                    </a:lnTo>
                    <a:close/>
                    <a:moveTo>
                      <a:pt x="219" y="1581"/>
                    </a:moveTo>
                    <a:lnTo>
                      <a:pt x="219" y="1583"/>
                    </a:lnTo>
                    <a:lnTo>
                      <a:pt x="221" y="1583"/>
                    </a:lnTo>
                    <a:lnTo>
                      <a:pt x="219" y="1585"/>
                    </a:lnTo>
                    <a:lnTo>
                      <a:pt x="217" y="1585"/>
                    </a:lnTo>
                    <a:lnTo>
                      <a:pt x="217" y="1587"/>
                    </a:lnTo>
                    <a:lnTo>
                      <a:pt x="216" y="1587"/>
                    </a:lnTo>
                    <a:lnTo>
                      <a:pt x="216" y="1589"/>
                    </a:lnTo>
                    <a:lnTo>
                      <a:pt x="214" y="1589"/>
                    </a:lnTo>
                    <a:lnTo>
                      <a:pt x="214" y="1591"/>
                    </a:lnTo>
                    <a:lnTo>
                      <a:pt x="212" y="1593"/>
                    </a:lnTo>
                    <a:lnTo>
                      <a:pt x="210" y="1595"/>
                    </a:lnTo>
                    <a:lnTo>
                      <a:pt x="210" y="1593"/>
                    </a:lnTo>
                    <a:lnTo>
                      <a:pt x="210" y="1591"/>
                    </a:lnTo>
                    <a:lnTo>
                      <a:pt x="210" y="1589"/>
                    </a:lnTo>
                    <a:lnTo>
                      <a:pt x="212" y="1589"/>
                    </a:lnTo>
                    <a:lnTo>
                      <a:pt x="210" y="1589"/>
                    </a:lnTo>
                    <a:lnTo>
                      <a:pt x="212" y="1585"/>
                    </a:lnTo>
                    <a:lnTo>
                      <a:pt x="214" y="1585"/>
                    </a:lnTo>
                    <a:lnTo>
                      <a:pt x="214" y="1587"/>
                    </a:lnTo>
                    <a:lnTo>
                      <a:pt x="214" y="1585"/>
                    </a:lnTo>
                    <a:lnTo>
                      <a:pt x="216" y="1585"/>
                    </a:lnTo>
                    <a:lnTo>
                      <a:pt x="216" y="1583"/>
                    </a:lnTo>
                    <a:lnTo>
                      <a:pt x="217" y="1581"/>
                    </a:lnTo>
                    <a:lnTo>
                      <a:pt x="219" y="1581"/>
                    </a:lnTo>
                    <a:close/>
                    <a:moveTo>
                      <a:pt x="721" y="999"/>
                    </a:moveTo>
                    <a:lnTo>
                      <a:pt x="723" y="999"/>
                    </a:lnTo>
                    <a:lnTo>
                      <a:pt x="723" y="1001"/>
                    </a:lnTo>
                    <a:lnTo>
                      <a:pt x="723" y="999"/>
                    </a:lnTo>
                    <a:lnTo>
                      <a:pt x="725" y="1001"/>
                    </a:lnTo>
                    <a:lnTo>
                      <a:pt x="725" y="1003"/>
                    </a:lnTo>
                    <a:lnTo>
                      <a:pt x="728" y="1005"/>
                    </a:lnTo>
                    <a:lnTo>
                      <a:pt x="727" y="1007"/>
                    </a:lnTo>
                    <a:lnTo>
                      <a:pt x="727" y="1009"/>
                    </a:lnTo>
                    <a:lnTo>
                      <a:pt x="727" y="1011"/>
                    </a:lnTo>
                    <a:lnTo>
                      <a:pt x="725" y="1009"/>
                    </a:lnTo>
                    <a:lnTo>
                      <a:pt x="727" y="1011"/>
                    </a:lnTo>
                    <a:lnTo>
                      <a:pt x="725" y="1011"/>
                    </a:lnTo>
                    <a:lnTo>
                      <a:pt x="725" y="1013"/>
                    </a:lnTo>
                    <a:lnTo>
                      <a:pt x="723" y="1013"/>
                    </a:lnTo>
                    <a:lnTo>
                      <a:pt x="721" y="1013"/>
                    </a:lnTo>
                    <a:lnTo>
                      <a:pt x="723" y="1013"/>
                    </a:lnTo>
                    <a:lnTo>
                      <a:pt x="721" y="1011"/>
                    </a:lnTo>
                    <a:lnTo>
                      <a:pt x="723" y="1011"/>
                    </a:lnTo>
                    <a:lnTo>
                      <a:pt x="721" y="1009"/>
                    </a:lnTo>
                    <a:lnTo>
                      <a:pt x="723" y="1009"/>
                    </a:lnTo>
                    <a:lnTo>
                      <a:pt x="723" y="1007"/>
                    </a:lnTo>
                    <a:lnTo>
                      <a:pt x="723" y="1005"/>
                    </a:lnTo>
                    <a:lnTo>
                      <a:pt x="723" y="1003"/>
                    </a:lnTo>
                    <a:lnTo>
                      <a:pt x="721" y="1001"/>
                    </a:lnTo>
                    <a:lnTo>
                      <a:pt x="719" y="1001"/>
                    </a:lnTo>
                    <a:lnTo>
                      <a:pt x="721" y="1007"/>
                    </a:lnTo>
                    <a:lnTo>
                      <a:pt x="719" y="1009"/>
                    </a:lnTo>
                    <a:lnTo>
                      <a:pt x="719" y="1011"/>
                    </a:lnTo>
                    <a:lnTo>
                      <a:pt x="721" y="1013"/>
                    </a:lnTo>
                    <a:lnTo>
                      <a:pt x="719" y="1011"/>
                    </a:lnTo>
                    <a:lnTo>
                      <a:pt x="717" y="1011"/>
                    </a:lnTo>
                    <a:lnTo>
                      <a:pt x="719" y="1011"/>
                    </a:lnTo>
                    <a:lnTo>
                      <a:pt x="717" y="1007"/>
                    </a:lnTo>
                    <a:lnTo>
                      <a:pt x="719" y="1009"/>
                    </a:lnTo>
                    <a:lnTo>
                      <a:pt x="717" y="1005"/>
                    </a:lnTo>
                    <a:lnTo>
                      <a:pt x="719" y="1003"/>
                    </a:lnTo>
                    <a:lnTo>
                      <a:pt x="719" y="1001"/>
                    </a:lnTo>
                    <a:lnTo>
                      <a:pt x="719" y="999"/>
                    </a:lnTo>
                    <a:lnTo>
                      <a:pt x="721" y="1001"/>
                    </a:lnTo>
                    <a:lnTo>
                      <a:pt x="721" y="999"/>
                    </a:lnTo>
                    <a:close/>
                    <a:moveTo>
                      <a:pt x="1001" y="994"/>
                    </a:moveTo>
                    <a:lnTo>
                      <a:pt x="1003" y="996"/>
                    </a:lnTo>
                    <a:lnTo>
                      <a:pt x="1003" y="998"/>
                    </a:lnTo>
                    <a:lnTo>
                      <a:pt x="1001" y="1001"/>
                    </a:lnTo>
                    <a:lnTo>
                      <a:pt x="999" y="1001"/>
                    </a:lnTo>
                    <a:lnTo>
                      <a:pt x="995" y="1005"/>
                    </a:lnTo>
                    <a:lnTo>
                      <a:pt x="994" y="1003"/>
                    </a:lnTo>
                    <a:lnTo>
                      <a:pt x="992" y="1005"/>
                    </a:lnTo>
                    <a:lnTo>
                      <a:pt x="990" y="1007"/>
                    </a:lnTo>
                    <a:lnTo>
                      <a:pt x="990" y="1005"/>
                    </a:lnTo>
                    <a:lnTo>
                      <a:pt x="994" y="999"/>
                    </a:lnTo>
                    <a:lnTo>
                      <a:pt x="995" y="998"/>
                    </a:lnTo>
                    <a:lnTo>
                      <a:pt x="997" y="999"/>
                    </a:lnTo>
                    <a:lnTo>
                      <a:pt x="997" y="996"/>
                    </a:lnTo>
                    <a:lnTo>
                      <a:pt x="999" y="996"/>
                    </a:lnTo>
                    <a:lnTo>
                      <a:pt x="997" y="998"/>
                    </a:lnTo>
                    <a:lnTo>
                      <a:pt x="999" y="998"/>
                    </a:lnTo>
                    <a:lnTo>
                      <a:pt x="999" y="994"/>
                    </a:lnTo>
                    <a:lnTo>
                      <a:pt x="999" y="996"/>
                    </a:lnTo>
                    <a:lnTo>
                      <a:pt x="1001" y="994"/>
                    </a:lnTo>
                    <a:close/>
                    <a:moveTo>
                      <a:pt x="646" y="1026"/>
                    </a:moveTo>
                    <a:lnTo>
                      <a:pt x="648" y="1026"/>
                    </a:lnTo>
                    <a:lnTo>
                      <a:pt x="648" y="1030"/>
                    </a:lnTo>
                    <a:lnTo>
                      <a:pt x="650" y="1032"/>
                    </a:lnTo>
                    <a:lnTo>
                      <a:pt x="652" y="1032"/>
                    </a:lnTo>
                    <a:lnTo>
                      <a:pt x="650" y="1032"/>
                    </a:lnTo>
                    <a:lnTo>
                      <a:pt x="650" y="1034"/>
                    </a:lnTo>
                    <a:lnTo>
                      <a:pt x="650" y="1036"/>
                    </a:lnTo>
                    <a:lnTo>
                      <a:pt x="650" y="1038"/>
                    </a:lnTo>
                    <a:lnTo>
                      <a:pt x="648" y="1038"/>
                    </a:lnTo>
                    <a:lnTo>
                      <a:pt x="648" y="1040"/>
                    </a:lnTo>
                    <a:lnTo>
                      <a:pt x="648" y="1041"/>
                    </a:lnTo>
                    <a:lnTo>
                      <a:pt x="646" y="1040"/>
                    </a:lnTo>
                    <a:lnTo>
                      <a:pt x="646" y="1038"/>
                    </a:lnTo>
                    <a:lnTo>
                      <a:pt x="646" y="1036"/>
                    </a:lnTo>
                    <a:lnTo>
                      <a:pt x="645" y="1038"/>
                    </a:lnTo>
                    <a:lnTo>
                      <a:pt x="643" y="1038"/>
                    </a:lnTo>
                    <a:lnTo>
                      <a:pt x="645" y="1032"/>
                    </a:lnTo>
                    <a:lnTo>
                      <a:pt x="643" y="1030"/>
                    </a:lnTo>
                    <a:lnTo>
                      <a:pt x="645" y="1032"/>
                    </a:lnTo>
                    <a:lnTo>
                      <a:pt x="645" y="1030"/>
                    </a:lnTo>
                    <a:lnTo>
                      <a:pt x="643" y="1028"/>
                    </a:lnTo>
                    <a:lnTo>
                      <a:pt x="645" y="1026"/>
                    </a:lnTo>
                    <a:lnTo>
                      <a:pt x="646" y="1026"/>
                    </a:lnTo>
                    <a:close/>
                    <a:moveTo>
                      <a:pt x="858" y="975"/>
                    </a:moveTo>
                    <a:lnTo>
                      <a:pt x="860" y="977"/>
                    </a:lnTo>
                    <a:lnTo>
                      <a:pt x="864" y="978"/>
                    </a:lnTo>
                    <a:lnTo>
                      <a:pt x="866" y="977"/>
                    </a:lnTo>
                    <a:lnTo>
                      <a:pt x="868" y="980"/>
                    </a:lnTo>
                    <a:lnTo>
                      <a:pt x="868" y="982"/>
                    </a:lnTo>
                    <a:lnTo>
                      <a:pt x="864" y="984"/>
                    </a:lnTo>
                    <a:lnTo>
                      <a:pt x="862" y="982"/>
                    </a:lnTo>
                    <a:lnTo>
                      <a:pt x="860" y="980"/>
                    </a:lnTo>
                    <a:lnTo>
                      <a:pt x="858" y="982"/>
                    </a:lnTo>
                    <a:lnTo>
                      <a:pt x="856" y="980"/>
                    </a:lnTo>
                    <a:lnTo>
                      <a:pt x="856" y="978"/>
                    </a:lnTo>
                    <a:lnTo>
                      <a:pt x="854" y="977"/>
                    </a:lnTo>
                    <a:lnTo>
                      <a:pt x="856" y="977"/>
                    </a:lnTo>
                    <a:lnTo>
                      <a:pt x="858" y="977"/>
                    </a:lnTo>
                    <a:lnTo>
                      <a:pt x="858" y="975"/>
                    </a:lnTo>
                    <a:close/>
                    <a:moveTo>
                      <a:pt x="742" y="654"/>
                    </a:moveTo>
                    <a:lnTo>
                      <a:pt x="744" y="667"/>
                    </a:lnTo>
                    <a:lnTo>
                      <a:pt x="738" y="669"/>
                    </a:lnTo>
                    <a:lnTo>
                      <a:pt x="736" y="666"/>
                    </a:lnTo>
                    <a:lnTo>
                      <a:pt x="736" y="660"/>
                    </a:lnTo>
                    <a:lnTo>
                      <a:pt x="734" y="656"/>
                    </a:lnTo>
                    <a:lnTo>
                      <a:pt x="736" y="656"/>
                    </a:lnTo>
                    <a:lnTo>
                      <a:pt x="738" y="656"/>
                    </a:lnTo>
                    <a:lnTo>
                      <a:pt x="740" y="652"/>
                    </a:lnTo>
                    <a:lnTo>
                      <a:pt x="742" y="654"/>
                    </a:lnTo>
                    <a:close/>
                    <a:moveTo>
                      <a:pt x="624" y="1036"/>
                    </a:moveTo>
                    <a:lnTo>
                      <a:pt x="625" y="1036"/>
                    </a:lnTo>
                    <a:lnTo>
                      <a:pt x="625" y="1038"/>
                    </a:lnTo>
                    <a:lnTo>
                      <a:pt x="627" y="1040"/>
                    </a:lnTo>
                    <a:lnTo>
                      <a:pt x="625" y="1043"/>
                    </a:lnTo>
                    <a:lnTo>
                      <a:pt x="624" y="1043"/>
                    </a:lnTo>
                    <a:lnTo>
                      <a:pt x="625" y="1043"/>
                    </a:lnTo>
                    <a:lnTo>
                      <a:pt x="624" y="1047"/>
                    </a:lnTo>
                    <a:lnTo>
                      <a:pt x="622" y="1045"/>
                    </a:lnTo>
                    <a:lnTo>
                      <a:pt x="622" y="1043"/>
                    </a:lnTo>
                    <a:lnTo>
                      <a:pt x="620" y="1045"/>
                    </a:lnTo>
                    <a:lnTo>
                      <a:pt x="620" y="1043"/>
                    </a:lnTo>
                    <a:lnTo>
                      <a:pt x="618" y="1043"/>
                    </a:lnTo>
                    <a:lnTo>
                      <a:pt x="616" y="1041"/>
                    </a:lnTo>
                    <a:lnTo>
                      <a:pt x="620" y="1038"/>
                    </a:lnTo>
                    <a:lnTo>
                      <a:pt x="622" y="1036"/>
                    </a:lnTo>
                    <a:lnTo>
                      <a:pt x="624" y="1036"/>
                    </a:lnTo>
                    <a:close/>
                    <a:moveTo>
                      <a:pt x="576" y="1045"/>
                    </a:moveTo>
                    <a:lnTo>
                      <a:pt x="580" y="1047"/>
                    </a:lnTo>
                    <a:lnTo>
                      <a:pt x="582" y="1047"/>
                    </a:lnTo>
                    <a:lnTo>
                      <a:pt x="584" y="1051"/>
                    </a:lnTo>
                    <a:lnTo>
                      <a:pt x="582" y="1053"/>
                    </a:lnTo>
                    <a:lnTo>
                      <a:pt x="580" y="1055"/>
                    </a:lnTo>
                    <a:lnTo>
                      <a:pt x="578" y="1053"/>
                    </a:lnTo>
                    <a:lnTo>
                      <a:pt x="574" y="1051"/>
                    </a:lnTo>
                    <a:lnTo>
                      <a:pt x="572" y="1047"/>
                    </a:lnTo>
                    <a:lnTo>
                      <a:pt x="576" y="1045"/>
                    </a:lnTo>
                    <a:close/>
                    <a:moveTo>
                      <a:pt x="170" y="1538"/>
                    </a:moveTo>
                    <a:lnTo>
                      <a:pt x="172" y="1538"/>
                    </a:lnTo>
                    <a:lnTo>
                      <a:pt x="172" y="1539"/>
                    </a:lnTo>
                    <a:lnTo>
                      <a:pt x="172" y="1541"/>
                    </a:lnTo>
                    <a:lnTo>
                      <a:pt x="172" y="1543"/>
                    </a:lnTo>
                    <a:lnTo>
                      <a:pt x="170" y="1543"/>
                    </a:lnTo>
                    <a:lnTo>
                      <a:pt x="170" y="1545"/>
                    </a:lnTo>
                    <a:lnTo>
                      <a:pt x="170" y="1543"/>
                    </a:lnTo>
                    <a:lnTo>
                      <a:pt x="168" y="1543"/>
                    </a:lnTo>
                    <a:lnTo>
                      <a:pt x="168" y="1541"/>
                    </a:lnTo>
                    <a:lnTo>
                      <a:pt x="166" y="1541"/>
                    </a:lnTo>
                    <a:lnTo>
                      <a:pt x="164" y="1543"/>
                    </a:lnTo>
                    <a:lnTo>
                      <a:pt x="166" y="1543"/>
                    </a:lnTo>
                    <a:lnTo>
                      <a:pt x="164" y="1543"/>
                    </a:lnTo>
                    <a:lnTo>
                      <a:pt x="164" y="1541"/>
                    </a:lnTo>
                    <a:lnTo>
                      <a:pt x="166" y="1539"/>
                    </a:lnTo>
                    <a:lnTo>
                      <a:pt x="168" y="1539"/>
                    </a:lnTo>
                    <a:lnTo>
                      <a:pt x="168" y="1538"/>
                    </a:lnTo>
                    <a:lnTo>
                      <a:pt x="170" y="1538"/>
                    </a:lnTo>
                    <a:close/>
                    <a:moveTo>
                      <a:pt x="1215" y="1278"/>
                    </a:moveTo>
                    <a:lnTo>
                      <a:pt x="1215" y="1280"/>
                    </a:lnTo>
                    <a:lnTo>
                      <a:pt x="1217" y="1280"/>
                    </a:lnTo>
                    <a:lnTo>
                      <a:pt x="1217" y="1278"/>
                    </a:lnTo>
                    <a:lnTo>
                      <a:pt x="1219" y="1280"/>
                    </a:lnTo>
                    <a:lnTo>
                      <a:pt x="1220" y="1280"/>
                    </a:lnTo>
                    <a:lnTo>
                      <a:pt x="1219" y="1280"/>
                    </a:lnTo>
                    <a:lnTo>
                      <a:pt x="1220" y="1282"/>
                    </a:lnTo>
                    <a:lnTo>
                      <a:pt x="1219" y="1282"/>
                    </a:lnTo>
                    <a:lnTo>
                      <a:pt x="1220" y="1282"/>
                    </a:lnTo>
                    <a:lnTo>
                      <a:pt x="1219" y="1284"/>
                    </a:lnTo>
                    <a:lnTo>
                      <a:pt x="1219" y="1282"/>
                    </a:lnTo>
                    <a:lnTo>
                      <a:pt x="1219" y="1284"/>
                    </a:lnTo>
                    <a:lnTo>
                      <a:pt x="1219" y="1286"/>
                    </a:lnTo>
                    <a:lnTo>
                      <a:pt x="1217" y="1286"/>
                    </a:lnTo>
                    <a:lnTo>
                      <a:pt x="1215" y="1286"/>
                    </a:lnTo>
                    <a:lnTo>
                      <a:pt x="1213" y="1284"/>
                    </a:lnTo>
                    <a:lnTo>
                      <a:pt x="1211" y="1284"/>
                    </a:lnTo>
                    <a:lnTo>
                      <a:pt x="1211" y="1282"/>
                    </a:lnTo>
                    <a:lnTo>
                      <a:pt x="1213" y="1282"/>
                    </a:lnTo>
                    <a:lnTo>
                      <a:pt x="1213" y="1280"/>
                    </a:lnTo>
                    <a:lnTo>
                      <a:pt x="1215" y="1278"/>
                    </a:lnTo>
                    <a:close/>
                    <a:moveTo>
                      <a:pt x="706" y="1001"/>
                    </a:moveTo>
                    <a:lnTo>
                      <a:pt x="707" y="1003"/>
                    </a:lnTo>
                    <a:lnTo>
                      <a:pt x="711" y="1001"/>
                    </a:lnTo>
                    <a:lnTo>
                      <a:pt x="713" y="1003"/>
                    </a:lnTo>
                    <a:lnTo>
                      <a:pt x="715" y="1001"/>
                    </a:lnTo>
                    <a:lnTo>
                      <a:pt x="715" y="1005"/>
                    </a:lnTo>
                    <a:lnTo>
                      <a:pt x="715" y="1007"/>
                    </a:lnTo>
                    <a:lnTo>
                      <a:pt x="715" y="1009"/>
                    </a:lnTo>
                    <a:lnTo>
                      <a:pt x="715" y="1011"/>
                    </a:lnTo>
                    <a:lnTo>
                      <a:pt x="711" y="1009"/>
                    </a:lnTo>
                    <a:lnTo>
                      <a:pt x="711" y="1007"/>
                    </a:lnTo>
                    <a:lnTo>
                      <a:pt x="709" y="1007"/>
                    </a:lnTo>
                    <a:lnTo>
                      <a:pt x="707" y="1005"/>
                    </a:lnTo>
                    <a:lnTo>
                      <a:pt x="707" y="1003"/>
                    </a:lnTo>
                    <a:lnTo>
                      <a:pt x="706" y="1001"/>
                    </a:lnTo>
                    <a:close/>
                    <a:moveTo>
                      <a:pt x="1081" y="908"/>
                    </a:moveTo>
                    <a:lnTo>
                      <a:pt x="1079" y="912"/>
                    </a:lnTo>
                    <a:lnTo>
                      <a:pt x="1079" y="914"/>
                    </a:lnTo>
                    <a:lnTo>
                      <a:pt x="1083" y="908"/>
                    </a:lnTo>
                    <a:lnTo>
                      <a:pt x="1085" y="912"/>
                    </a:lnTo>
                    <a:lnTo>
                      <a:pt x="1081" y="914"/>
                    </a:lnTo>
                    <a:lnTo>
                      <a:pt x="1083" y="919"/>
                    </a:lnTo>
                    <a:lnTo>
                      <a:pt x="1081" y="919"/>
                    </a:lnTo>
                    <a:lnTo>
                      <a:pt x="1081" y="917"/>
                    </a:lnTo>
                    <a:lnTo>
                      <a:pt x="1079" y="917"/>
                    </a:lnTo>
                    <a:lnTo>
                      <a:pt x="1077" y="916"/>
                    </a:lnTo>
                    <a:lnTo>
                      <a:pt x="1079" y="914"/>
                    </a:lnTo>
                    <a:lnTo>
                      <a:pt x="1076" y="908"/>
                    </a:lnTo>
                    <a:lnTo>
                      <a:pt x="1081" y="906"/>
                    </a:lnTo>
                    <a:lnTo>
                      <a:pt x="1081" y="908"/>
                    </a:lnTo>
                    <a:close/>
                    <a:moveTo>
                      <a:pt x="227" y="1646"/>
                    </a:moveTo>
                    <a:lnTo>
                      <a:pt x="229" y="1646"/>
                    </a:lnTo>
                    <a:lnTo>
                      <a:pt x="229" y="1650"/>
                    </a:lnTo>
                    <a:lnTo>
                      <a:pt x="231" y="1652"/>
                    </a:lnTo>
                    <a:lnTo>
                      <a:pt x="229" y="1652"/>
                    </a:lnTo>
                    <a:lnTo>
                      <a:pt x="231" y="1654"/>
                    </a:lnTo>
                    <a:lnTo>
                      <a:pt x="229" y="1654"/>
                    </a:lnTo>
                    <a:lnTo>
                      <a:pt x="229" y="1652"/>
                    </a:lnTo>
                    <a:lnTo>
                      <a:pt x="227" y="1652"/>
                    </a:lnTo>
                    <a:lnTo>
                      <a:pt x="225" y="1650"/>
                    </a:lnTo>
                    <a:lnTo>
                      <a:pt x="223" y="1648"/>
                    </a:lnTo>
                    <a:lnTo>
                      <a:pt x="225" y="1648"/>
                    </a:lnTo>
                    <a:lnTo>
                      <a:pt x="225" y="1650"/>
                    </a:lnTo>
                    <a:lnTo>
                      <a:pt x="225" y="1648"/>
                    </a:lnTo>
                    <a:lnTo>
                      <a:pt x="227" y="1648"/>
                    </a:lnTo>
                    <a:lnTo>
                      <a:pt x="225" y="1648"/>
                    </a:lnTo>
                    <a:lnTo>
                      <a:pt x="225" y="1646"/>
                    </a:lnTo>
                    <a:lnTo>
                      <a:pt x="227" y="1646"/>
                    </a:lnTo>
                    <a:close/>
                    <a:moveTo>
                      <a:pt x="1266" y="1456"/>
                    </a:moveTo>
                    <a:lnTo>
                      <a:pt x="1266" y="1457"/>
                    </a:lnTo>
                    <a:lnTo>
                      <a:pt x="1268" y="1457"/>
                    </a:lnTo>
                    <a:lnTo>
                      <a:pt x="1266" y="1459"/>
                    </a:lnTo>
                    <a:lnTo>
                      <a:pt x="1268" y="1459"/>
                    </a:lnTo>
                    <a:lnTo>
                      <a:pt x="1266" y="1461"/>
                    </a:lnTo>
                    <a:lnTo>
                      <a:pt x="1266" y="1459"/>
                    </a:lnTo>
                    <a:lnTo>
                      <a:pt x="1266" y="1461"/>
                    </a:lnTo>
                    <a:lnTo>
                      <a:pt x="1264" y="1461"/>
                    </a:lnTo>
                    <a:lnTo>
                      <a:pt x="1266" y="1461"/>
                    </a:lnTo>
                    <a:lnTo>
                      <a:pt x="1268" y="1461"/>
                    </a:lnTo>
                    <a:lnTo>
                      <a:pt x="1268" y="1463"/>
                    </a:lnTo>
                    <a:lnTo>
                      <a:pt x="1268" y="1465"/>
                    </a:lnTo>
                    <a:lnTo>
                      <a:pt x="1266" y="1465"/>
                    </a:lnTo>
                    <a:lnTo>
                      <a:pt x="1268" y="1465"/>
                    </a:lnTo>
                    <a:lnTo>
                      <a:pt x="1266" y="1467"/>
                    </a:lnTo>
                    <a:lnTo>
                      <a:pt x="1268" y="1467"/>
                    </a:lnTo>
                    <a:lnTo>
                      <a:pt x="1266" y="1467"/>
                    </a:lnTo>
                    <a:lnTo>
                      <a:pt x="1266" y="1465"/>
                    </a:lnTo>
                    <a:lnTo>
                      <a:pt x="1264" y="1465"/>
                    </a:lnTo>
                    <a:lnTo>
                      <a:pt x="1264" y="1463"/>
                    </a:lnTo>
                    <a:lnTo>
                      <a:pt x="1262" y="1465"/>
                    </a:lnTo>
                    <a:lnTo>
                      <a:pt x="1264" y="1463"/>
                    </a:lnTo>
                    <a:lnTo>
                      <a:pt x="1262" y="1463"/>
                    </a:lnTo>
                    <a:lnTo>
                      <a:pt x="1262" y="1461"/>
                    </a:lnTo>
                    <a:lnTo>
                      <a:pt x="1262" y="1463"/>
                    </a:lnTo>
                    <a:lnTo>
                      <a:pt x="1262" y="1461"/>
                    </a:lnTo>
                    <a:lnTo>
                      <a:pt x="1264" y="1461"/>
                    </a:lnTo>
                    <a:lnTo>
                      <a:pt x="1262" y="1459"/>
                    </a:lnTo>
                    <a:lnTo>
                      <a:pt x="1264" y="1457"/>
                    </a:lnTo>
                    <a:lnTo>
                      <a:pt x="1266" y="1457"/>
                    </a:lnTo>
                    <a:lnTo>
                      <a:pt x="1266" y="1456"/>
                    </a:lnTo>
                    <a:close/>
                    <a:moveTo>
                      <a:pt x="198" y="1574"/>
                    </a:moveTo>
                    <a:lnTo>
                      <a:pt x="200" y="1578"/>
                    </a:lnTo>
                    <a:lnTo>
                      <a:pt x="200" y="1580"/>
                    </a:lnTo>
                    <a:lnTo>
                      <a:pt x="200" y="1581"/>
                    </a:lnTo>
                    <a:lnTo>
                      <a:pt x="196" y="1580"/>
                    </a:lnTo>
                    <a:lnTo>
                      <a:pt x="198" y="1581"/>
                    </a:lnTo>
                    <a:lnTo>
                      <a:pt x="198" y="1583"/>
                    </a:lnTo>
                    <a:lnTo>
                      <a:pt x="196" y="1585"/>
                    </a:lnTo>
                    <a:lnTo>
                      <a:pt x="196" y="1583"/>
                    </a:lnTo>
                    <a:lnTo>
                      <a:pt x="196" y="1580"/>
                    </a:lnTo>
                    <a:lnTo>
                      <a:pt x="195" y="1580"/>
                    </a:lnTo>
                    <a:lnTo>
                      <a:pt x="195" y="1578"/>
                    </a:lnTo>
                    <a:lnTo>
                      <a:pt x="196" y="1580"/>
                    </a:lnTo>
                    <a:lnTo>
                      <a:pt x="196" y="1578"/>
                    </a:lnTo>
                    <a:lnTo>
                      <a:pt x="196" y="1576"/>
                    </a:lnTo>
                    <a:lnTo>
                      <a:pt x="198" y="1578"/>
                    </a:lnTo>
                    <a:lnTo>
                      <a:pt x="198" y="1574"/>
                    </a:lnTo>
                    <a:close/>
                    <a:moveTo>
                      <a:pt x="730" y="276"/>
                    </a:moveTo>
                    <a:lnTo>
                      <a:pt x="734" y="280"/>
                    </a:lnTo>
                    <a:lnTo>
                      <a:pt x="734" y="284"/>
                    </a:lnTo>
                    <a:lnTo>
                      <a:pt x="730" y="286"/>
                    </a:lnTo>
                    <a:lnTo>
                      <a:pt x="723" y="282"/>
                    </a:lnTo>
                    <a:lnTo>
                      <a:pt x="719" y="282"/>
                    </a:lnTo>
                    <a:lnTo>
                      <a:pt x="715" y="280"/>
                    </a:lnTo>
                    <a:lnTo>
                      <a:pt x="719" y="276"/>
                    </a:lnTo>
                    <a:lnTo>
                      <a:pt x="730" y="276"/>
                    </a:lnTo>
                    <a:close/>
                    <a:moveTo>
                      <a:pt x="725" y="738"/>
                    </a:moveTo>
                    <a:lnTo>
                      <a:pt x="728" y="740"/>
                    </a:lnTo>
                    <a:lnTo>
                      <a:pt x="728" y="746"/>
                    </a:lnTo>
                    <a:lnTo>
                      <a:pt x="725" y="746"/>
                    </a:lnTo>
                    <a:lnTo>
                      <a:pt x="719" y="742"/>
                    </a:lnTo>
                    <a:lnTo>
                      <a:pt x="721" y="740"/>
                    </a:lnTo>
                    <a:lnTo>
                      <a:pt x="721" y="738"/>
                    </a:lnTo>
                    <a:lnTo>
                      <a:pt x="723" y="738"/>
                    </a:lnTo>
                    <a:lnTo>
                      <a:pt x="725" y="738"/>
                    </a:lnTo>
                    <a:close/>
                    <a:moveTo>
                      <a:pt x="187" y="1570"/>
                    </a:moveTo>
                    <a:lnTo>
                      <a:pt x="191" y="1574"/>
                    </a:lnTo>
                    <a:lnTo>
                      <a:pt x="193" y="1576"/>
                    </a:lnTo>
                    <a:lnTo>
                      <a:pt x="193" y="1580"/>
                    </a:lnTo>
                    <a:lnTo>
                      <a:pt x="193" y="1581"/>
                    </a:lnTo>
                    <a:lnTo>
                      <a:pt x="193" y="1580"/>
                    </a:lnTo>
                    <a:lnTo>
                      <a:pt x="191" y="1578"/>
                    </a:lnTo>
                    <a:lnTo>
                      <a:pt x="191" y="1580"/>
                    </a:lnTo>
                    <a:lnTo>
                      <a:pt x="191" y="1578"/>
                    </a:lnTo>
                    <a:lnTo>
                      <a:pt x="189" y="1578"/>
                    </a:lnTo>
                    <a:lnTo>
                      <a:pt x="191" y="1576"/>
                    </a:lnTo>
                    <a:lnTo>
                      <a:pt x="189" y="1578"/>
                    </a:lnTo>
                    <a:lnTo>
                      <a:pt x="189" y="1576"/>
                    </a:lnTo>
                    <a:lnTo>
                      <a:pt x="189" y="1574"/>
                    </a:lnTo>
                    <a:lnTo>
                      <a:pt x="187" y="1574"/>
                    </a:lnTo>
                    <a:lnTo>
                      <a:pt x="187" y="1572"/>
                    </a:lnTo>
                    <a:lnTo>
                      <a:pt x="187" y="1570"/>
                    </a:lnTo>
                    <a:close/>
                    <a:moveTo>
                      <a:pt x="643" y="948"/>
                    </a:moveTo>
                    <a:lnTo>
                      <a:pt x="643" y="950"/>
                    </a:lnTo>
                    <a:lnTo>
                      <a:pt x="645" y="952"/>
                    </a:lnTo>
                    <a:lnTo>
                      <a:pt x="645" y="950"/>
                    </a:lnTo>
                    <a:lnTo>
                      <a:pt x="646" y="950"/>
                    </a:lnTo>
                    <a:lnTo>
                      <a:pt x="646" y="952"/>
                    </a:lnTo>
                    <a:lnTo>
                      <a:pt x="648" y="952"/>
                    </a:lnTo>
                    <a:lnTo>
                      <a:pt x="646" y="952"/>
                    </a:lnTo>
                    <a:lnTo>
                      <a:pt x="648" y="954"/>
                    </a:lnTo>
                    <a:lnTo>
                      <a:pt x="650" y="956"/>
                    </a:lnTo>
                    <a:lnTo>
                      <a:pt x="648" y="954"/>
                    </a:lnTo>
                    <a:lnTo>
                      <a:pt x="646" y="954"/>
                    </a:lnTo>
                    <a:lnTo>
                      <a:pt x="646" y="956"/>
                    </a:lnTo>
                    <a:lnTo>
                      <a:pt x="648" y="956"/>
                    </a:lnTo>
                    <a:lnTo>
                      <a:pt x="648" y="958"/>
                    </a:lnTo>
                    <a:lnTo>
                      <a:pt x="650" y="959"/>
                    </a:lnTo>
                    <a:lnTo>
                      <a:pt x="648" y="959"/>
                    </a:lnTo>
                    <a:lnTo>
                      <a:pt x="645" y="958"/>
                    </a:lnTo>
                    <a:lnTo>
                      <a:pt x="643" y="956"/>
                    </a:lnTo>
                    <a:lnTo>
                      <a:pt x="643" y="952"/>
                    </a:lnTo>
                    <a:lnTo>
                      <a:pt x="643" y="950"/>
                    </a:lnTo>
                    <a:lnTo>
                      <a:pt x="643" y="948"/>
                    </a:lnTo>
                    <a:close/>
                    <a:moveTo>
                      <a:pt x="986" y="1055"/>
                    </a:moveTo>
                    <a:lnTo>
                      <a:pt x="988" y="1055"/>
                    </a:lnTo>
                    <a:lnTo>
                      <a:pt x="990" y="1059"/>
                    </a:lnTo>
                    <a:lnTo>
                      <a:pt x="988" y="1062"/>
                    </a:lnTo>
                    <a:lnTo>
                      <a:pt x="986" y="1064"/>
                    </a:lnTo>
                    <a:lnTo>
                      <a:pt x="984" y="1062"/>
                    </a:lnTo>
                    <a:lnTo>
                      <a:pt x="984" y="1057"/>
                    </a:lnTo>
                    <a:lnTo>
                      <a:pt x="984" y="1055"/>
                    </a:lnTo>
                    <a:lnTo>
                      <a:pt x="986" y="1055"/>
                    </a:lnTo>
                    <a:close/>
                    <a:moveTo>
                      <a:pt x="208" y="1591"/>
                    </a:moveTo>
                    <a:lnTo>
                      <a:pt x="208" y="1593"/>
                    </a:lnTo>
                    <a:lnTo>
                      <a:pt x="208" y="1595"/>
                    </a:lnTo>
                    <a:lnTo>
                      <a:pt x="208" y="1597"/>
                    </a:lnTo>
                    <a:lnTo>
                      <a:pt x="206" y="1597"/>
                    </a:lnTo>
                    <a:lnTo>
                      <a:pt x="208" y="1597"/>
                    </a:lnTo>
                    <a:lnTo>
                      <a:pt x="206" y="1599"/>
                    </a:lnTo>
                    <a:lnTo>
                      <a:pt x="206" y="1597"/>
                    </a:lnTo>
                    <a:lnTo>
                      <a:pt x="206" y="1595"/>
                    </a:lnTo>
                    <a:lnTo>
                      <a:pt x="206" y="1597"/>
                    </a:lnTo>
                    <a:lnTo>
                      <a:pt x="204" y="1597"/>
                    </a:lnTo>
                    <a:lnTo>
                      <a:pt x="204" y="1595"/>
                    </a:lnTo>
                    <a:lnTo>
                      <a:pt x="206" y="1595"/>
                    </a:lnTo>
                    <a:lnTo>
                      <a:pt x="204" y="1595"/>
                    </a:lnTo>
                    <a:lnTo>
                      <a:pt x="204" y="1593"/>
                    </a:lnTo>
                    <a:lnTo>
                      <a:pt x="206" y="1593"/>
                    </a:lnTo>
                    <a:lnTo>
                      <a:pt x="206" y="1591"/>
                    </a:lnTo>
                    <a:lnTo>
                      <a:pt x="208" y="1591"/>
                    </a:lnTo>
                    <a:close/>
                    <a:moveTo>
                      <a:pt x="992" y="1471"/>
                    </a:moveTo>
                    <a:lnTo>
                      <a:pt x="994" y="1473"/>
                    </a:lnTo>
                    <a:lnTo>
                      <a:pt x="994" y="1477"/>
                    </a:lnTo>
                    <a:lnTo>
                      <a:pt x="992" y="1477"/>
                    </a:lnTo>
                    <a:lnTo>
                      <a:pt x="994" y="1477"/>
                    </a:lnTo>
                    <a:lnTo>
                      <a:pt x="994" y="1478"/>
                    </a:lnTo>
                    <a:lnTo>
                      <a:pt x="992" y="1478"/>
                    </a:lnTo>
                    <a:lnTo>
                      <a:pt x="992" y="1480"/>
                    </a:lnTo>
                    <a:lnTo>
                      <a:pt x="990" y="1478"/>
                    </a:lnTo>
                    <a:lnTo>
                      <a:pt x="990" y="1480"/>
                    </a:lnTo>
                    <a:lnTo>
                      <a:pt x="988" y="1480"/>
                    </a:lnTo>
                    <a:lnTo>
                      <a:pt x="990" y="1480"/>
                    </a:lnTo>
                    <a:lnTo>
                      <a:pt x="990" y="1478"/>
                    </a:lnTo>
                    <a:lnTo>
                      <a:pt x="988" y="1480"/>
                    </a:lnTo>
                    <a:lnTo>
                      <a:pt x="990" y="1478"/>
                    </a:lnTo>
                    <a:lnTo>
                      <a:pt x="990" y="1477"/>
                    </a:lnTo>
                    <a:lnTo>
                      <a:pt x="990" y="1475"/>
                    </a:lnTo>
                    <a:lnTo>
                      <a:pt x="992" y="1471"/>
                    </a:lnTo>
                    <a:close/>
                    <a:moveTo>
                      <a:pt x="195" y="1547"/>
                    </a:moveTo>
                    <a:lnTo>
                      <a:pt x="195" y="1549"/>
                    </a:lnTo>
                    <a:lnTo>
                      <a:pt x="195" y="1551"/>
                    </a:lnTo>
                    <a:lnTo>
                      <a:pt x="193" y="1551"/>
                    </a:lnTo>
                    <a:lnTo>
                      <a:pt x="191" y="1551"/>
                    </a:lnTo>
                    <a:lnTo>
                      <a:pt x="191" y="1553"/>
                    </a:lnTo>
                    <a:lnTo>
                      <a:pt x="191" y="1555"/>
                    </a:lnTo>
                    <a:lnTo>
                      <a:pt x="189" y="1555"/>
                    </a:lnTo>
                    <a:lnTo>
                      <a:pt x="189" y="1557"/>
                    </a:lnTo>
                    <a:lnTo>
                      <a:pt x="189" y="1549"/>
                    </a:lnTo>
                    <a:lnTo>
                      <a:pt x="191" y="1549"/>
                    </a:lnTo>
                    <a:lnTo>
                      <a:pt x="193" y="1547"/>
                    </a:lnTo>
                    <a:lnTo>
                      <a:pt x="195" y="1547"/>
                    </a:lnTo>
                    <a:close/>
                    <a:moveTo>
                      <a:pt x="1217" y="1230"/>
                    </a:moveTo>
                    <a:lnTo>
                      <a:pt x="1217" y="1232"/>
                    </a:lnTo>
                    <a:lnTo>
                      <a:pt x="1217" y="1230"/>
                    </a:lnTo>
                    <a:lnTo>
                      <a:pt x="1217" y="1232"/>
                    </a:lnTo>
                    <a:lnTo>
                      <a:pt x="1217" y="1234"/>
                    </a:lnTo>
                    <a:lnTo>
                      <a:pt x="1219" y="1234"/>
                    </a:lnTo>
                    <a:lnTo>
                      <a:pt x="1217" y="1236"/>
                    </a:lnTo>
                    <a:lnTo>
                      <a:pt x="1219" y="1238"/>
                    </a:lnTo>
                    <a:lnTo>
                      <a:pt x="1219" y="1236"/>
                    </a:lnTo>
                    <a:lnTo>
                      <a:pt x="1220" y="1238"/>
                    </a:lnTo>
                    <a:lnTo>
                      <a:pt x="1219" y="1238"/>
                    </a:lnTo>
                    <a:lnTo>
                      <a:pt x="1220" y="1240"/>
                    </a:lnTo>
                    <a:lnTo>
                      <a:pt x="1219" y="1240"/>
                    </a:lnTo>
                    <a:lnTo>
                      <a:pt x="1219" y="1238"/>
                    </a:lnTo>
                    <a:lnTo>
                      <a:pt x="1217" y="1238"/>
                    </a:lnTo>
                    <a:lnTo>
                      <a:pt x="1215" y="1236"/>
                    </a:lnTo>
                    <a:lnTo>
                      <a:pt x="1213" y="1236"/>
                    </a:lnTo>
                    <a:lnTo>
                      <a:pt x="1211" y="1236"/>
                    </a:lnTo>
                    <a:lnTo>
                      <a:pt x="1211" y="1234"/>
                    </a:lnTo>
                    <a:lnTo>
                      <a:pt x="1213" y="1232"/>
                    </a:lnTo>
                    <a:lnTo>
                      <a:pt x="1213" y="1234"/>
                    </a:lnTo>
                    <a:lnTo>
                      <a:pt x="1215" y="1234"/>
                    </a:lnTo>
                    <a:lnTo>
                      <a:pt x="1213" y="1232"/>
                    </a:lnTo>
                    <a:lnTo>
                      <a:pt x="1215" y="1232"/>
                    </a:lnTo>
                    <a:lnTo>
                      <a:pt x="1215" y="1234"/>
                    </a:lnTo>
                    <a:lnTo>
                      <a:pt x="1215" y="1232"/>
                    </a:lnTo>
                    <a:lnTo>
                      <a:pt x="1217" y="1230"/>
                    </a:lnTo>
                    <a:close/>
                    <a:moveTo>
                      <a:pt x="990" y="1041"/>
                    </a:moveTo>
                    <a:lnTo>
                      <a:pt x="992" y="1043"/>
                    </a:lnTo>
                    <a:lnTo>
                      <a:pt x="994" y="1043"/>
                    </a:lnTo>
                    <a:lnTo>
                      <a:pt x="995" y="1045"/>
                    </a:lnTo>
                    <a:lnTo>
                      <a:pt x="995" y="1047"/>
                    </a:lnTo>
                    <a:lnTo>
                      <a:pt x="994" y="1047"/>
                    </a:lnTo>
                    <a:lnTo>
                      <a:pt x="992" y="1047"/>
                    </a:lnTo>
                    <a:lnTo>
                      <a:pt x="992" y="1049"/>
                    </a:lnTo>
                    <a:lnTo>
                      <a:pt x="994" y="1049"/>
                    </a:lnTo>
                    <a:lnTo>
                      <a:pt x="992" y="1051"/>
                    </a:lnTo>
                    <a:lnTo>
                      <a:pt x="990" y="1053"/>
                    </a:lnTo>
                    <a:lnTo>
                      <a:pt x="990" y="1051"/>
                    </a:lnTo>
                    <a:lnTo>
                      <a:pt x="988" y="1051"/>
                    </a:lnTo>
                    <a:lnTo>
                      <a:pt x="988" y="1049"/>
                    </a:lnTo>
                    <a:lnTo>
                      <a:pt x="990" y="1049"/>
                    </a:lnTo>
                    <a:lnTo>
                      <a:pt x="990" y="1047"/>
                    </a:lnTo>
                    <a:lnTo>
                      <a:pt x="992" y="1047"/>
                    </a:lnTo>
                    <a:lnTo>
                      <a:pt x="992" y="1045"/>
                    </a:lnTo>
                    <a:lnTo>
                      <a:pt x="990" y="1043"/>
                    </a:lnTo>
                    <a:lnTo>
                      <a:pt x="990" y="1041"/>
                    </a:lnTo>
                    <a:close/>
                    <a:moveTo>
                      <a:pt x="1165" y="998"/>
                    </a:moveTo>
                    <a:lnTo>
                      <a:pt x="1167" y="998"/>
                    </a:lnTo>
                    <a:lnTo>
                      <a:pt x="1165" y="999"/>
                    </a:lnTo>
                    <a:lnTo>
                      <a:pt x="1163" y="1003"/>
                    </a:lnTo>
                    <a:lnTo>
                      <a:pt x="1161" y="1003"/>
                    </a:lnTo>
                    <a:lnTo>
                      <a:pt x="1158" y="1001"/>
                    </a:lnTo>
                    <a:lnTo>
                      <a:pt x="1159" y="999"/>
                    </a:lnTo>
                    <a:lnTo>
                      <a:pt x="1161" y="998"/>
                    </a:lnTo>
                    <a:lnTo>
                      <a:pt x="1163" y="998"/>
                    </a:lnTo>
                    <a:lnTo>
                      <a:pt x="1165" y="998"/>
                    </a:lnTo>
                    <a:lnTo>
                      <a:pt x="1163" y="996"/>
                    </a:lnTo>
                    <a:lnTo>
                      <a:pt x="1165" y="998"/>
                    </a:lnTo>
                    <a:close/>
                    <a:moveTo>
                      <a:pt x="235" y="1622"/>
                    </a:moveTo>
                    <a:lnTo>
                      <a:pt x="235" y="1623"/>
                    </a:lnTo>
                    <a:lnTo>
                      <a:pt x="236" y="1622"/>
                    </a:lnTo>
                    <a:lnTo>
                      <a:pt x="236" y="1623"/>
                    </a:lnTo>
                    <a:lnTo>
                      <a:pt x="236" y="1625"/>
                    </a:lnTo>
                    <a:lnTo>
                      <a:pt x="235" y="1627"/>
                    </a:lnTo>
                    <a:lnTo>
                      <a:pt x="233" y="1625"/>
                    </a:lnTo>
                    <a:lnTo>
                      <a:pt x="231" y="1627"/>
                    </a:lnTo>
                    <a:lnTo>
                      <a:pt x="233" y="1627"/>
                    </a:lnTo>
                    <a:lnTo>
                      <a:pt x="233" y="1625"/>
                    </a:lnTo>
                    <a:lnTo>
                      <a:pt x="233" y="1627"/>
                    </a:lnTo>
                    <a:lnTo>
                      <a:pt x="231" y="1627"/>
                    </a:lnTo>
                    <a:lnTo>
                      <a:pt x="231" y="1625"/>
                    </a:lnTo>
                    <a:lnTo>
                      <a:pt x="231" y="1623"/>
                    </a:lnTo>
                    <a:lnTo>
                      <a:pt x="233" y="1625"/>
                    </a:lnTo>
                    <a:lnTo>
                      <a:pt x="231" y="1625"/>
                    </a:lnTo>
                    <a:lnTo>
                      <a:pt x="233" y="1623"/>
                    </a:lnTo>
                    <a:lnTo>
                      <a:pt x="235" y="1623"/>
                    </a:lnTo>
                    <a:lnTo>
                      <a:pt x="233" y="1623"/>
                    </a:lnTo>
                    <a:lnTo>
                      <a:pt x="235" y="1622"/>
                    </a:lnTo>
                    <a:close/>
                    <a:moveTo>
                      <a:pt x="797" y="566"/>
                    </a:moveTo>
                    <a:lnTo>
                      <a:pt x="799" y="566"/>
                    </a:lnTo>
                    <a:lnTo>
                      <a:pt x="801" y="570"/>
                    </a:lnTo>
                    <a:lnTo>
                      <a:pt x="801" y="572"/>
                    </a:lnTo>
                    <a:lnTo>
                      <a:pt x="797" y="574"/>
                    </a:lnTo>
                    <a:lnTo>
                      <a:pt x="795" y="574"/>
                    </a:lnTo>
                    <a:lnTo>
                      <a:pt x="791" y="570"/>
                    </a:lnTo>
                    <a:lnTo>
                      <a:pt x="791" y="568"/>
                    </a:lnTo>
                    <a:lnTo>
                      <a:pt x="793" y="566"/>
                    </a:lnTo>
                    <a:lnTo>
                      <a:pt x="797" y="566"/>
                    </a:lnTo>
                    <a:close/>
                    <a:moveTo>
                      <a:pt x="1220" y="1240"/>
                    </a:moveTo>
                    <a:lnTo>
                      <a:pt x="1220" y="1242"/>
                    </a:lnTo>
                    <a:lnTo>
                      <a:pt x="1220" y="1244"/>
                    </a:lnTo>
                    <a:lnTo>
                      <a:pt x="1222" y="1246"/>
                    </a:lnTo>
                    <a:lnTo>
                      <a:pt x="1220" y="1246"/>
                    </a:lnTo>
                    <a:lnTo>
                      <a:pt x="1222" y="1246"/>
                    </a:lnTo>
                    <a:lnTo>
                      <a:pt x="1220" y="1246"/>
                    </a:lnTo>
                    <a:lnTo>
                      <a:pt x="1222" y="1246"/>
                    </a:lnTo>
                    <a:lnTo>
                      <a:pt x="1222" y="1248"/>
                    </a:lnTo>
                    <a:lnTo>
                      <a:pt x="1222" y="1249"/>
                    </a:lnTo>
                    <a:lnTo>
                      <a:pt x="1224" y="1249"/>
                    </a:lnTo>
                    <a:lnTo>
                      <a:pt x="1222" y="1251"/>
                    </a:lnTo>
                    <a:lnTo>
                      <a:pt x="1224" y="1251"/>
                    </a:lnTo>
                    <a:lnTo>
                      <a:pt x="1224" y="1253"/>
                    </a:lnTo>
                    <a:lnTo>
                      <a:pt x="1226" y="1253"/>
                    </a:lnTo>
                    <a:lnTo>
                      <a:pt x="1224" y="1253"/>
                    </a:lnTo>
                    <a:lnTo>
                      <a:pt x="1222" y="1251"/>
                    </a:lnTo>
                    <a:lnTo>
                      <a:pt x="1224" y="1253"/>
                    </a:lnTo>
                    <a:lnTo>
                      <a:pt x="1222" y="1253"/>
                    </a:lnTo>
                    <a:lnTo>
                      <a:pt x="1222" y="1251"/>
                    </a:lnTo>
                    <a:lnTo>
                      <a:pt x="1220" y="1251"/>
                    </a:lnTo>
                    <a:lnTo>
                      <a:pt x="1220" y="1249"/>
                    </a:lnTo>
                    <a:lnTo>
                      <a:pt x="1220" y="1248"/>
                    </a:lnTo>
                    <a:lnTo>
                      <a:pt x="1219" y="1248"/>
                    </a:lnTo>
                    <a:lnTo>
                      <a:pt x="1220" y="1248"/>
                    </a:lnTo>
                    <a:lnTo>
                      <a:pt x="1219" y="1246"/>
                    </a:lnTo>
                    <a:lnTo>
                      <a:pt x="1220" y="1246"/>
                    </a:lnTo>
                    <a:lnTo>
                      <a:pt x="1219" y="1242"/>
                    </a:lnTo>
                    <a:lnTo>
                      <a:pt x="1219" y="1240"/>
                    </a:lnTo>
                    <a:lnTo>
                      <a:pt x="1220" y="1240"/>
                    </a:lnTo>
                    <a:close/>
                    <a:moveTo>
                      <a:pt x="1207" y="1301"/>
                    </a:moveTo>
                    <a:lnTo>
                      <a:pt x="1209" y="1301"/>
                    </a:lnTo>
                    <a:lnTo>
                      <a:pt x="1209" y="1303"/>
                    </a:lnTo>
                    <a:lnTo>
                      <a:pt x="1211" y="1303"/>
                    </a:lnTo>
                    <a:lnTo>
                      <a:pt x="1211" y="1305"/>
                    </a:lnTo>
                    <a:lnTo>
                      <a:pt x="1211" y="1303"/>
                    </a:lnTo>
                    <a:lnTo>
                      <a:pt x="1213" y="1305"/>
                    </a:lnTo>
                    <a:lnTo>
                      <a:pt x="1213" y="1307"/>
                    </a:lnTo>
                    <a:lnTo>
                      <a:pt x="1211" y="1309"/>
                    </a:lnTo>
                    <a:lnTo>
                      <a:pt x="1209" y="1307"/>
                    </a:lnTo>
                    <a:lnTo>
                      <a:pt x="1207" y="1305"/>
                    </a:lnTo>
                    <a:lnTo>
                      <a:pt x="1207" y="1303"/>
                    </a:lnTo>
                    <a:lnTo>
                      <a:pt x="1205" y="1303"/>
                    </a:lnTo>
                    <a:lnTo>
                      <a:pt x="1207" y="1301"/>
                    </a:lnTo>
                    <a:close/>
                    <a:moveTo>
                      <a:pt x="606" y="490"/>
                    </a:moveTo>
                    <a:lnTo>
                      <a:pt x="608" y="490"/>
                    </a:lnTo>
                    <a:lnTo>
                      <a:pt x="608" y="494"/>
                    </a:lnTo>
                    <a:lnTo>
                      <a:pt x="605" y="501"/>
                    </a:lnTo>
                    <a:lnTo>
                      <a:pt x="601" y="501"/>
                    </a:lnTo>
                    <a:lnTo>
                      <a:pt x="601" y="500"/>
                    </a:lnTo>
                    <a:lnTo>
                      <a:pt x="601" y="496"/>
                    </a:lnTo>
                    <a:lnTo>
                      <a:pt x="605" y="490"/>
                    </a:lnTo>
                    <a:lnTo>
                      <a:pt x="606" y="490"/>
                    </a:lnTo>
                    <a:close/>
                    <a:moveTo>
                      <a:pt x="978" y="1469"/>
                    </a:moveTo>
                    <a:lnTo>
                      <a:pt x="978" y="1475"/>
                    </a:lnTo>
                    <a:lnTo>
                      <a:pt x="976" y="1477"/>
                    </a:lnTo>
                    <a:lnTo>
                      <a:pt x="971" y="1478"/>
                    </a:lnTo>
                    <a:lnTo>
                      <a:pt x="969" y="1478"/>
                    </a:lnTo>
                    <a:lnTo>
                      <a:pt x="971" y="1477"/>
                    </a:lnTo>
                    <a:lnTo>
                      <a:pt x="971" y="1475"/>
                    </a:lnTo>
                    <a:lnTo>
                      <a:pt x="971" y="1477"/>
                    </a:lnTo>
                    <a:lnTo>
                      <a:pt x="971" y="1475"/>
                    </a:lnTo>
                    <a:lnTo>
                      <a:pt x="973" y="1475"/>
                    </a:lnTo>
                    <a:lnTo>
                      <a:pt x="974" y="1475"/>
                    </a:lnTo>
                    <a:lnTo>
                      <a:pt x="973" y="1473"/>
                    </a:lnTo>
                    <a:lnTo>
                      <a:pt x="976" y="1475"/>
                    </a:lnTo>
                    <a:lnTo>
                      <a:pt x="976" y="1473"/>
                    </a:lnTo>
                    <a:lnTo>
                      <a:pt x="978" y="1473"/>
                    </a:lnTo>
                    <a:lnTo>
                      <a:pt x="978" y="1469"/>
                    </a:lnTo>
                    <a:close/>
                    <a:moveTo>
                      <a:pt x="1203" y="1202"/>
                    </a:moveTo>
                    <a:lnTo>
                      <a:pt x="1203" y="1206"/>
                    </a:lnTo>
                    <a:lnTo>
                      <a:pt x="1203" y="1204"/>
                    </a:lnTo>
                    <a:lnTo>
                      <a:pt x="1205" y="1202"/>
                    </a:lnTo>
                    <a:lnTo>
                      <a:pt x="1207" y="1202"/>
                    </a:lnTo>
                    <a:lnTo>
                      <a:pt x="1205" y="1202"/>
                    </a:lnTo>
                    <a:lnTo>
                      <a:pt x="1205" y="1204"/>
                    </a:lnTo>
                    <a:lnTo>
                      <a:pt x="1207" y="1204"/>
                    </a:lnTo>
                    <a:lnTo>
                      <a:pt x="1205" y="1204"/>
                    </a:lnTo>
                    <a:lnTo>
                      <a:pt x="1207" y="1204"/>
                    </a:lnTo>
                    <a:lnTo>
                      <a:pt x="1205" y="1206"/>
                    </a:lnTo>
                    <a:lnTo>
                      <a:pt x="1207" y="1204"/>
                    </a:lnTo>
                    <a:lnTo>
                      <a:pt x="1207" y="1206"/>
                    </a:lnTo>
                    <a:lnTo>
                      <a:pt x="1205" y="1206"/>
                    </a:lnTo>
                    <a:lnTo>
                      <a:pt x="1203" y="1206"/>
                    </a:lnTo>
                    <a:lnTo>
                      <a:pt x="1203" y="1207"/>
                    </a:lnTo>
                    <a:lnTo>
                      <a:pt x="1205" y="1207"/>
                    </a:lnTo>
                    <a:lnTo>
                      <a:pt x="1201" y="1207"/>
                    </a:lnTo>
                    <a:lnTo>
                      <a:pt x="1201" y="1209"/>
                    </a:lnTo>
                    <a:lnTo>
                      <a:pt x="1203" y="1207"/>
                    </a:lnTo>
                    <a:lnTo>
                      <a:pt x="1203" y="1209"/>
                    </a:lnTo>
                    <a:lnTo>
                      <a:pt x="1199" y="1209"/>
                    </a:lnTo>
                    <a:lnTo>
                      <a:pt x="1199" y="1206"/>
                    </a:lnTo>
                    <a:lnTo>
                      <a:pt x="1201" y="1206"/>
                    </a:lnTo>
                    <a:lnTo>
                      <a:pt x="1201" y="1204"/>
                    </a:lnTo>
                    <a:lnTo>
                      <a:pt x="1203" y="1204"/>
                    </a:lnTo>
                    <a:lnTo>
                      <a:pt x="1203" y="1200"/>
                    </a:lnTo>
                    <a:lnTo>
                      <a:pt x="1203" y="1202"/>
                    </a:lnTo>
                    <a:close/>
                    <a:moveTo>
                      <a:pt x="887" y="542"/>
                    </a:moveTo>
                    <a:lnTo>
                      <a:pt x="892" y="542"/>
                    </a:lnTo>
                    <a:lnTo>
                      <a:pt x="892" y="545"/>
                    </a:lnTo>
                    <a:lnTo>
                      <a:pt x="894" y="547"/>
                    </a:lnTo>
                    <a:lnTo>
                      <a:pt x="891" y="551"/>
                    </a:lnTo>
                    <a:lnTo>
                      <a:pt x="889" y="551"/>
                    </a:lnTo>
                    <a:lnTo>
                      <a:pt x="889" y="547"/>
                    </a:lnTo>
                    <a:lnTo>
                      <a:pt x="889" y="545"/>
                    </a:lnTo>
                    <a:lnTo>
                      <a:pt x="883" y="545"/>
                    </a:lnTo>
                    <a:lnTo>
                      <a:pt x="887" y="542"/>
                    </a:lnTo>
                    <a:close/>
                    <a:moveTo>
                      <a:pt x="696" y="740"/>
                    </a:moveTo>
                    <a:lnTo>
                      <a:pt x="694" y="746"/>
                    </a:lnTo>
                    <a:lnTo>
                      <a:pt x="690" y="748"/>
                    </a:lnTo>
                    <a:lnTo>
                      <a:pt x="688" y="748"/>
                    </a:lnTo>
                    <a:lnTo>
                      <a:pt x="688" y="744"/>
                    </a:lnTo>
                    <a:lnTo>
                      <a:pt x="692" y="744"/>
                    </a:lnTo>
                    <a:lnTo>
                      <a:pt x="690" y="742"/>
                    </a:lnTo>
                    <a:lnTo>
                      <a:pt x="692" y="740"/>
                    </a:lnTo>
                    <a:lnTo>
                      <a:pt x="694" y="738"/>
                    </a:lnTo>
                    <a:lnTo>
                      <a:pt x="696" y="738"/>
                    </a:lnTo>
                    <a:lnTo>
                      <a:pt x="696" y="740"/>
                    </a:lnTo>
                    <a:close/>
                    <a:moveTo>
                      <a:pt x="1213" y="1349"/>
                    </a:moveTo>
                    <a:lnTo>
                      <a:pt x="1215" y="1349"/>
                    </a:lnTo>
                    <a:lnTo>
                      <a:pt x="1217" y="1349"/>
                    </a:lnTo>
                    <a:lnTo>
                      <a:pt x="1217" y="1351"/>
                    </a:lnTo>
                    <a:lnTo>
                      <a:pt x="1217" y="1352"/>
                    </a:lnTo>
                    <a:lnTo>
                      <a:pt x="1219" y="1351"/>
                    </a:lnTo>
                    <a:lnTo>
                      <a:pt x="1219" y="1352"/>
                    </a:lnTo>
                    <a:lnTo>
                      <a:pt x="1219" y="1354"/>
                    </a:lnTo>
                    <a:lnTo>
                      <a:pt x="1219" y="1352"/>
                    </a:lnTo>
                    <a:lnTo>
                      <a:pt x="1219" y="1354"/>
                    </a:lnTo>
                    <a:lnTo>
                      <a:pt x="1217" y="1354"/>
                    </a:lnTo>
                    <a:lnTo>
                      <a:pt x="1217" y="1352"/>
                    </a:lnTo>
                    <a:lnTo>
                      <a:pt x="1215" y="1352"/>
                    </a:lnTo>
                    <a:lnTo>
                      <a:pt x="1213" y="1351"/>
                    </a:lnTo>
                    <a:lnTo>
                      <a:pt x="1213" y="1349"/>
                    </a:lnTo>
                    <a:close/>
                    <a:moveTo>
                      <a:pt x="206" y="1601"/>
                    </a:moveTo>
                    <a:lnTo>
                      <a:pt x="206" y="1602"/>
                    </a:lnTo>
                    <a:lnTo>
                      <a:pt x="206" y="1601"/>
                    </a:lnTo>
                    <a:lnTo>
                      <a:pt x="206" y="1602"/>
                    </a:lnTo>
                    <a:lnTo>
                      <a:pt x="206" y="1601"/>
                    </a:lnTo>
                    <a:lnTo>
                      <a:pt x="208" y="1601"/>
                    </a:lnTo>
                    <a:lnTo>
                      <a:pt x="210" y="1602"/>
                    </a:lnTo>
                    <a:lnTo>
                      <a:pt x="210" y="1604"/>
                    </a:lnTo>
                    <a:lnTo>
                      <a:pt x="208" y="1604"/>
                    </a:lnTo>
                    <a:lnTo>
                      <a:pt x="210" y="1604"/>
                    </a:lnTo>
                    <a:lnTo>
                      <a:pt x="210" y="1606"/>
                    </a:lnTo>
                    <a:lnTo>
                      <a:pt x="210" y="1608"/>
                    </a:lnTo>
                    <a:lnTo>
                      <a:pt x="208" y="1606"/>
                    </a:lnTo>
                    <a:lnTo>
                      <a:pt x="206" y="1606"/>
                    </a:lnTo>
                    <a:lnTo>
                      <a:pt x="206" y="1602"/>
                    </a:lnTo>
                    <a:lnTo>
                      <a:pt x="206" y="1601"/>
                    </a:lnTo>
                    <a:close/>
                    <a:moveTo>
                      <a:pt x="982" y="1589"/>
                    </a:moveTo>
                    <a:lnTo>
                      <a:pt x="984" y="1591"/>
                    </a:lnTo>
                    <a:lnTo>
                      <a:pt x="982" y="1591"/>
                    </a:lnTo>
                    <a:lnTo>
                      <a:pt x="982" y="1593"/>
                    </a:lnTo>
                    <a:lnTo>
                      <a:pt x="982" y="1595"/>
                    </a:lnTo>
                    <a:lnTo>
                      <a:pt x="978" y="1595"/>
                    </a:lnTo>
                    <a:lnTo>
                      <a:pt x="976" y="1595"/>
                    </a:lnTo>
                    <a:lnTo>
                      <a:pt x="976" y="1593"/>
                    </a:lnTo>
                    <a:lnTo>
                      <a:pt x="978" y="1593"/>
                    </a:lnTo>
                    <a:lnTo>
                      <a:pt x="980" y="1591"/>
                    </a:lnTo>
                    <a:lnTo>
                      <a:pt x="982" y="1589"/>
                    </a:lnTo>
                    <a:close/>
                    <a:moveTo>
                      <a:pt x="172" y="1545"/>
                    </a:moveTo>
                    <a:lnTo>
                      <a:pt x="172" y="1547"/>
                    </a:lnTo>
                    <a:lnTo>
                      <a:pt x="174" y="1547"/>
                    </a:lnTo>
                    <a:lnTo>
                      <a:pt x="174" y="1549"/>
                    </a:lnTo>
                    <a:lnTo>
                      <a:pt x="175" y="1551"/>
                    </a:lnTo>
                    <a:lnTo>
                      <a:pt x="174" y="1551"/>
                    </a:lnTo>
                    <a:lnTo>
                      <a:pt x="172" y="1551"/>
                    </a:lnTo>
                    <a:lnTo>
                      <a:pt x="172" y="1549"/>
                    </a:lnTo>
                    <a:lnTo>
                      <a:pt x="170" y="1549"/>
                    </a:lnTo>
                    <a:lnTo>
                      <a:pt x="170" y="1547"/>
                    </a:lnTo>
                    <a:lnTo>
                      <a:pt x="172" y="1547"/>
                    </a:lnTo>
                    <a:lnTo>
                      <a:pt x="172" y="1545"/>
                    </a:lnTo>
                    <a:close/>
                    <a:moveTo>
                      <a:pt x="809" y="1009"/>
                    </a:moveTo>
                    <a:lnTo>
                      <a:pt x="810" y="1009"/>
                    </a:lnTo>
                    <a:lnTo>
                      <a:pt x="809" y="1011"/>
                    </a:lnTo>
                    <a:lnTo>
                      <a:pt x="810" y="1011"/>
                    </a:lnTo>
                    <a:lnTo>
                      <a:pt x="809" y="1013"/>
                    </a:lnTo>
                    <a:lnTo>
                      <a:pt x="809" y="1015"/>
                    </a:lnTo>
                    <a:lnTo>
                      <a:pt x="807" y="1017"/>
                    </a:lnTo>
                    <a:lnTo>
                      <a:pt x="809" y="1015"/>
                    </a:lnTo>
                    <a:lnTo>
                      <a:pt x="807" y="1015"/>
                    </a:lnTo>
                    <a:lnTo>
                      <a:pt x="805" y="1015"/>
                    </a:lnTo>
                    <a:lnTo>
                      <a:pt x="805" y="1013"/>
                    </a:lnTo>
                    <a:lnTo>
                      <a:pt x="805" y="1011"/>
                    </a:lnTo>
                    <a:lnTo>
                      <a:pt x="807" y="1009"/>
                    </a:lnTo>
                    <a:lnTo>
                      <a:pt x="809" y="1007"/>
                    </a:lnTo>
                    <a:lnTo>
                      <a:pt x="809" y="1009"/>
                    </a:lnTo>
                    <a:lnTo>
                      <a:pt x="809" y="1011"/>
                    </a:lnTo>
                    <a:lnTo>
                      <a:pt x="809" y="1009"/>
                    </a:lnTo>
                    <a:lnTo>
                      <a:pt x="809" y="1007"/>
                    </a:lnTo>
                    <a:lnTo>
                      <a:pt x="809" y="1009"/>
                    </a:lnTo>
                    <a:close/>
                    <a:moveTo>
                      <a:pt x="706" y="837"/>
                    </a:moveTo>
                    <a:lnTo>
                      <a:pt x="706" y="841"/>
                    </a:lnTo>
                    <a:lnTo>
                      <a:pt x="707" y="843"/>
                    </a:lnTo>
                    <a:lnTo>
                      <a:pt x="706" y="847"/>
                    </a:lnTo>
                    <a:lnTo>
                      <a:pt x="702" y="845"/>
                    </a:lnTo>
                    <a:lnTo>
                      <a:pt x="702" y="843"/>
                    </a:lnTo>
                    <a:lnTo>
                      <a:pt x="704" y="841"/>
                    </a:lnTo>
                    <a:lnTo>
                      <a:pt x="704" y="839"/>
                    </a:lnTo>
                    <a:lnTo>
                      <a:pt x="704" y="837"/>
                    </a:lnTo>
                    <a:lnTo>
                      <a:pt x="706" y="837"/>
                    </a:lnTo>
                    <a:close/>
                    <a:moveTo>
                      <a:pt x="633" y="1001"/>
                    </a:moveTo>
                    <a:lnTo>
                      <a:pt x="633" y="1003"/>
                    </a:lnTo>
                    <a:lnTo>
                      <a:pt x="635" y="1001"/>
                    </a:lnTo>
                    <a:lnTo>
                      <a:pt x="635" y="1003"/>
                    </a:lnTo>
                    <a:lnTo>
                      <a:pt x="635" y="1001"/>
                    </a:lnTo>
                    <a:lnTo>
                      <a:pt x="635" y="1003"/>
                    </a:lnTo>
                    <a:lnTo>
                      <a:pt x="635" y="1001"/>
                    </a:lnTo>
                    <a:lnTo>
                      <a:pt x="637" y="1003"/>
                    </a:lnTo>
                    <a:lnTo>
                      <a:pt x="637" y="1005"/>
                    </a:lnTo>
                    <a:lnTo>
                      <a:pt x="637" y="1003"/>
                    </a:lnTo>
                    <a:lnTo>
                      <a:pt x="637" y="1005"/>
                    </a:lnTo>
                    <a:lnTo>
                      <a:pt x="639" y="1005"/>
                    </a:lnTo>
                    <a:lnTo>
                      <a:pt x="637" y="1007"/>
                    </a:lnTo>
                    <a:lnTo>
                      <a:pt x="635" y="1007"/>
                    </a:lnTo>
                    <a:lnTo>
                      <a:pt x="637" y="1009"/>
                    </a:lnTo>
                    <a:lnTo>
                      <a:pt x="635" y="1009"/>
                    </a:lnTo>
                    <a:lnTo>
                      <a:pt x="635" y="1011"/>
                    </a:lnTo>
                    <a:lnTo>
                      <a:pt x="635" y="1009"/>
                    </a:lnTo>
                    <a:lnTo>
                      <a:pt x="633" y="1009"/>
                    </a:lnTo>
                    <a:lnTo>
                      <a:pt x="635" y="1011"/>
                    </a:lnTo>
                    <a:lnTo>
                      <a:pt x="633" y="1011"/>
                    </a:lnTo>
                    <a:lnTo>
                      <a:pt x="633" y="1009"/>
                    </a:lnTo>
                    <a:lnTo>
                      <a:pt x="633" y="1011"/>
                    </a:lnTo>
                    <a:lnTo>
                      <a:pt x="633" y="1009"/>
                    </a:lnTo>
                    <a:lnTo>
                      <a:pt x="633" y="1007"/>
                    </a:lnTo>
                    <a:lnTo>
                      <a:pt x="635" y="1007"/>
                    </a:lnTo>
                    <a:lnTo>
                      <a:pt x="633" y="1007"/>
                    </a:lnTo>
                    <a:lnTo>
                      <a:pt x="635" y="1007"/>
                    </a:lnTo>
                    <a:lnTo>
                      <a:pt x="635" y="1005"/>
                    </a:lnTo>
                    <a:lnTo>
                      <a:pt x="633" y="1005"/>
                    </a:lnTo>
                    <a:lnTo>
                      <a:pt x="631" y="1003"/>
                    </a:lnTo>
                    <a:lnTo>
                      <a:pt x="633" y="1001"/>
                    </a:lnTo>
                    <a:close/>
                    <a:moveTo>
                      <a:pt x="320" y="656"/>
                    </a:moveTo>
                    <a:lnTo>
                      <a:pt x="322" y="658"/>
                    </a:lnTo>
                    <a:lnTo>
                      <a:pt x="320" y="662"/>
                    </a:lnTo>
                    <a:lnTo>
                      <a:pt x="318" y="669"/>
                    </a:lnTo>
                    <a:lnTo>
                      <a:pt x="317" y="669"/>
                    </a:lnTo>
                    <a:lnTo>
                      <a:pt x="315" y="667"/>
                    </a:lnTo>
                    <a:lnTo>
                      <a:pt x="318" y="666"/>
                    </a:lnTo>
                    <a:lnTo>
                      <a:pt x="318" y="664"/>
                    </a:lnTo>
                    <a:lnTo>
                      <a:pt x="318" y="658"/>
                    </a:lnTo>
                    <a:lnTo>
                      <a:pt x="318" y="656"/>
                    </a:lnTo>
                    <a:lnTo>
                      <a:pt x="320" y="656"/>
                    </a:lnTo>
                    <a:close/>
                    <a:moveTo>
                      <a:pt x="261" y="1648"/>
                    </a:moveTo>
                    <a:lnTo>
                      <a:pt x="263" y="1648"/>
                    </a:lnTo>
                    <a:lnTo>
                      <a:pt x="265" y="1650"/>
                    </a:lnTo>
                    <a:lnTo>
                      <a:pt x="267" y="1652"/>
                    </a:lnTo>
                    <a:lnTo>
                      <a:pt x="269" y="1654"/>
                    </a:lnTo>
                    <a:lnTo>
                      <a:pt x="269" y="1656"/>
                    </a:lnTo>
                    <a:lnTo>
                      <a:pt x="265" y="1652"/>
                    </a:lnTo>
                    <a:lnTo>
                      <a:pt x="263" y="1650"/>
                    </a:lnTo>
                    <a:lnTo>
                      <a:pt x="261" y="1650"/>
                    </a:lnTo>
                    <a:lnTo>
                      <a:pt x="261" y="1648"/>
                    </a:lnTo>
                    <a:close/>
                    <a:moveTo>
                      <a:pt x="1058" y="1272"/>
                    </a:moveTo>
                    <a:lnTo>
                      <a:pt x="1060" y="1274"/>
                    </a:lnTo>
                    <a:lnTo>
                      <a:pt x="1062" y="1274"/>
                    </a:lnTo>
                    <a:lnTo>
                      <a:pt x="1060" y="1276"/>
                    </a:lnTo>
                    <a:lnTo>
                      <a:pt x="1064" y="1274"/>
                    </a:lnTo>
                    <a:lnTo>
                      <a:pt x="1066" y="1276"/>
                    </a:lnTo>
                    <a:lnTo>
                      <a:pt x="1068" y="1276"/>
                    </a:lnTo>
                    <a:lnTo>
                      <a:pt x="1066" y="1276"/>
                    </a:lnTo>
                    <a:lnTo>
                      <a:pt x="1068" y="1276"/>
                    </a:lnTo>
                    <a:lnTo>
                      <a:pt x="1066" y="1278"/>
                    </a:lnTo>
                    <a:lnTo>
                      <a:pt x="1068" y="1278"/>
                    </a:lnTo>
                    <a:lnTo>
                      <a:pt x="1064" y="1278"/>
                    </a:lnTo>
                    <a:lnTo>
                      <a:pt x="1062" y="1276"/>
                    </a:lnTo>
                    <a:lnTo>
                      <a:pt x="1060" y="1276"/>
                    </a:lnTo>
                    <a:lnTo>
                      <a:pt x="1058" y="1276"/>
                    </a:lnTo>
                    <a:lnTo>
                      <a:pt x="1056" y="1274"/>
                    </a:lnTo>
                    <a:lnTo>
                      <a:pt x="1058" y="1272"/>
                    </a:lnTo>
                    <a:close/>
                    <a:moveTo>
                      <a:pt x="652" y="1020"/>
                    </a:moveTo>
                    <a:lnTo>
                      <a:pt x="654" y="1022"/>
                    </a:lnTo>
                    <a:lnTo>
                      <a:pt x="652" y="1024"/>
                    </a:lnTo>
                    <a:lnTo>
                      <a:pt x="654" y="1030"/>
                    </a:lnTo>
                    <a:lnTo>
                      <a:pt x="650" y="1030"/>
                    </a:lnTo>
                    <a:lnTo>
                      <a:pt x="650" y="1028"/>
                    </a:lnTo>
                    <a:lnTo>
                      <a:pt x="650" y="1024"/>
                    </a:lnTo>
                    <a:lnTo>
                      <a:pt x="650" y="1022"/>
                    </a:lnTo>
                    <a:lnTo>
                      <a:pt x="650" y="1020"/>
                    </a:lnTo>
                    <a:lnTo>
                      <a:pt x="652" y="1020"/>
                    </a:lnTo>
                    <a:close/>
                    <a:moveTo>
                      <a:pt x="1062" y="1051"/>
                    </a:moveTo>
                    <a:lnTo>
                      <a:pt x="1066" y="1057"/>
                    </a:lnTo>
                    <a:lnTo>
                      <a:pt x="1064" y="1061"/>
                    </a:lnTo>
                    <a:lnTo>
                      <a:pt x="1062" y="1059"/>
                    </a:lnTo>
                    <a:lnTo>
                      <a:pt x="1064" y="1057"/>
                    </a:lnTo>
                    <a:lnTo>
                      <a:pt x="1062" y="1057"/>
                    </a:lnTo>
                    <a:lnTo>
                      <a:pt x="1060" y="1053"/>
                    </a:lnTo>
                    <a:lnTo>
                      <a:pt x="1060" y="1051"/>
                    </a:lnTo>
                    <a:lnTo>
                      <a:pt x="1062" y="1051"/>
                    </a:lnTo>
                    <a:close/>
                    <a:moveTo>
                      <a:pt x="1087" y="902"/>
                    </a:moveTo>
                    <a:lnTo>
                      <a:pt x="1087" y="904"/>
                    </a:lnTo>
                    <a:lnTo>
                      <a:pt x="1087" y="908"/>
                    </a:lnTo>
                    <a:lnTo>
                      <a:pt x="1085" y="908"/>
                    </a:lnTo>
                    <a:lnTo>
                      <a:pt x="1083" y="906"/>
                    </a:lnTo>
                    <a:lnTo>
                      <a:pt x="1081" y="904"/>
                    </a:lnTo>
                    <a:lnTo>
                      <a:pt x="1083" y="902"/>
                    </a:lnTo>
                    <a:lnTo>
                      <a:pt x="1087" y="902"/>
                    </a:lnTo>
                    <a:close/>
                    <a:moveTo>
                      <a:pt x="252" y="1635"/>
                    </a:moveTo>
                    <a:lnTo>
                      <a:pt x="252" y="1637"/>
                    </a:lnTo>
                    <a:lnTo>
                      <a:pt x="254" y="1637"/>
                    </a:lnTo>
                    <a:lnTo>
                      <a:pt x="254" y="1639"/>
                    </a:lnTo>
                    <a:lnTo>
                      <a:pt x="252" y="1639"/>
                    </a:lnTo>
                    <a:lnTo>
                      <a:pt x="252" y="1641"/>
                    </a:lnTo>
                    <a:lnTo>
                      <a:pt x="254" y="1641"/>
                    </a:lnTo>
                    <a:lnTo>
                      <a:pt x="254" y="1643"/>
                    </a:lnTo>
                    <a:lnTo>
                      <a:pt x="252" y="1643"/>
                    </a:lnTo>
                    <a:lnTo>
                      <a:pt x="252" y="1641"/>
                    </a:lnTo>
                    <a:lnTo>
                      <a:pt x="250" y="1641"/>
                    </a:lnTo>
                    <a:lnTo>
                      <a:pt x="250" y="1639"/>
                    </a:lnTo>
                    <a:lnTo>
                      <a:pt x="250" y="1637"/>
                    </a:lnTo>
                    <a:lnTo>
                      <a:pt x="252" y="1635"/>
                    </a:lnTo>
                    <a:close/>
                    <a:moveTo>
                      <a:pt x="1068" y="2"/>
                    </a:moveTo>
                    <a:lnTo>
                      <a:pt x="1070" y="3"/>
                    </a:lnTo>
                    <a:lnTo>
                      <a:pt x="1066" y="9"/>
                    </a:lnTo>
                    <a:lnTo>
                      <a:pt x="1056" y="5"/>
                    </a:lnTo>
                    <a:lnTo>
                      <a:pt x="1058" y="2"/>
                    </a:lnTo>
                    <a:lnTo>
                      <a:pt x="1062" y="2"/>
                    </a:lnTo>
                    <a:lnTo>
                      <a:pt x="1064" y="0"/>
                    </a:lnTo>
                    <a:lnTo>
                      <a:pt x="1068" y="2"/>
                    </a:lnTo>
                    <a:close/>
                    <a:moveTo>
                      <a:pt x="1056" y="450"/>
                    </a:moveTo>
                    <a:lnTo>
                      <a:pt x="1064" y="454"/>
                    </a:lnTo>
                    <a:lnTo>
                      <a:pt x="1062" y="458"/>
                    </a:lnTo>
                    <a:lnTo>
                      <a:pt x="1058" y="456"/>
                    </a:lnTo>
                    <a:lnTo>
                      <a:pt x="1056" y="454"/>
                    </a:lnTo>
                    <a:lnTo>
                      <a:pt x="1055" y="452"/>
                    </a:lnTo>
                    <a:lnTo>
                      <a:pt x="1056" y="450"/>
                    </a:lnTo>
                    <a:close/>
                    <a:moveTo>
                      <a:pt x="803" y="1011"/>
                    </a:moveTo>
                    <a:lnTo>
                      <a:pt x="805" y="1013"/>
                    </a:lnTo>
                    <a:lnTo>
                      <a:pt x="803" y="1015"/>
                    </a:lnTo>
                    <a:lnTo>
                      <a:pt x="805" y="1015"/>
                    </a:lnTo>
                    <a:lnTo>
                      <a:pt x="805" y="1017"/>
                    </a:lnTo>
                    <a:lnTo>
                      <a:pt x="805" y="1019"/>
                    </a:lnTo>
                    <a:lnTo>
                      <a:pt x="803" y="1019"/>
                    </a:lnTo>
                    <a:lnTo>
                      <a:pt x="803" y="1017"/>
                    </a:lnTo>
                    <a:lnTo>
                      <a:pt x="801" y="1017"/>
                    </a:lnTo>
                    <a:lnTo>
                      <a:pt x="803" y="1017"/>
                    </a:lnTo>
                    <a:lnTo>
                      <a:pt x="801" y="1017"/>
                    </a:lnTo>
                    <a:lnTo>
                      <a:pt x="801" y="1015"/>
                    </a:lnTo>
                    <a:lnTo>
                      <a:pt x="803" y="1011"/>
                    </a:lnTo>
                    <a:lnTo>
                      <a:pt x="799" y="1015"/>
                    </a:lnTo>
                    <a:lnTo>
                      <a:pt x="799" y="1013"/>
                    </a:lnTo>
                    <a:lnTo>
                      <a:pt x="801" y="1011"/>
                    </a:lnTo>
                    <a:lnTo>
                      <a:pt x="803" y="1011"/>
                    </a:lnTo>
                    <a:close/>
                    <a:moveTo>
                      <a:pt x="845" y="1671"/>
                    </a:moveTo>
                    <a:lnTo>
                      <a:pt x="849" y="1671"/>
                    </a:lnTo>
                    <a:lnTo>
                      <a:pt x="849" y="1673"/>
                    </a:lnTo>
                    <a:lnTo>
                      <a:pt x="847" y="1673"/>
                    </a:lnTo>
                    <a:lnTo>
                      <a:pt x="845" y="1673"/>
                    </a:lnTo>
                    <a:lnTo>
                      <a:pt x="843" y="1675"/>
                    </a:lnTo>
                    <a:lnTo>
                      <a:pt x="845" y="1675"/>
                    </a:lnTo>
                    <a:lnTo>
                      <a:pt x="843" y="1675"/>
                    </a:lnTo>
                    <a:lnTo>
                      <a:pt x="843" y="1673"/>
                    </a:lnTo>
                    <a:lnTo>
                      <a:pt x="845" y="1671"/>
                    </a:lnTo>
                    <a:close/>
                    <a:moveTo>
                      <a:pt x="841" y="482"/>
                    </a:moveTo>
                    <a:lnTo>
                      <a:pt x="841" y="490"/>
                    </a:lnTo>
                    <a:lnTo>
                      <a:pt x="839" y="492"/>
                    </a:lnTo>
                    <a:lnTo>
                      <a:pt x="837" y="488"/>
                    </a:lnTo>
                    <a:lnTo>
                      <a:pt x="839" y="484"/>
                    </a:lnTo>
                    <a:lnTo>
                      <a:pt x="839" y="482"/>
                    </a:lnTo>
                    <a:lnTo>
                      <a:pt x="841" y="482"/>
                    </a:lnTo>
                    <a:lnTo>
                      <a:pt x="839" y="480"/>
                    </a:lnTo>
                    <a:lnTo>
                      <a:pt x="841" y="477"/>
                    </a:lnTo>
                    <a:lnTo>
                      <a:pt x="843" y="475"/>
                    </a:lnTo>
                    <a:lnTo>
                      <a:pt x="843" y="479"/>
                    </a:lnTo>
                    <a:lnTo>
                      <a:pt x="841" y="482"/>
                    </a:lnTo>
                    <a:close/>
                    <a:moveTo>
                      <a:pt x="1009" y="1227"/>
                    </a:moveTo>
                    <a:lnTo>
                      <a:pt x="1011" y="1227"/>
                    </a:lnTo>
                    <a:lnTo>
                      <a:pt x="1009" y="1227"/>
                    </a:lnTo>
                    <a:lnTo>
                      <a:pt x="1011" y="1228"/>
                    </a:lnTo>
                    <a:lnTo>
                      <a:pt x="1009" y="1230"/>
                    </a:lnTo>
                    <a:lnTo>
                      <a:pt x="1003" y="1230"/>
                    </a:lnTo>
                    <a:lnTo>
                      <a:pt x="1003" y="1227"/>
                    </a:lnTo>
                    <a:lnTo>
                      <a:pt x="1005" y="1227"/>
                    </a:lnTo>
                    <a:lnTo>
                      <a:pt x="1007" y="1227"/>
                    </a:lnTo>
                    <a:lnTo>
                      <a:pt x="1009" y="1227"/>
                    </a:lnTo>
                    <a:close/>
                    <a:moveTo>
                      <a:pt x="187" y="1557"/>
                    </a:moveTo>
                    <a:lnTo>
                      <a:pt x="189" y="1559"/>
                    </a:lnTo>
                    <a:lnTo>
                      <a:pt x="189" y="1560"/>
                    </a:lnTo>
                    <a:lnTo>
                      <a:pt x="189" y="1562"/>
                    </a:lnTo>
                    <a:lnTo>
                      <a:pt x="189" y="1564"/>
                    </a:lnTo>
                    <a:lnTo>
                      <a:pt x="187" y="1564"/>
                    </a:lnTo>
                    <a:lnTo>
                      <a:pt x="187" y="1562"/>
                    </a:lnTo>
                    <a:lnTo>
                      <a:pt x="187" y="1560"/>
                    </a:lnTo>
                    <a:lnTo>
                      <a:pt x="189" y="1559"/>
                    </a:lnTo>
                    <a:lnTo>
                      <a:pt x="187" y="1559"/>
                    </a:lnTo>
                    <a:lnTo>
                      <a:pt x="187" y="1557"/>
                    </a:lnTo>
                    <a:close/>
                    <a:moveTo>
                      <a:pt x="202" y="1572"/>
                    </a:moveTo>
                    <a:lnTo>
                      <a:pt x="202" y="1574"/>
                    </a:lnTo>
                    <a:lnTo>
                      <a:pt x="204" y="1574"/>
                    </a:lnTo>
                    <a:lnTo>
                      <a:pt x="204" y="1580"/>
                    </a:lnTo>
                    <a:lnTo>
                      <a:pt x="200" y="1578"/>
                    </a:lnTo>
                    <a:lnTo>
                      <a:pt x="200" y="1574"/>
                    </a:lnTo>
                    <a:lnTo>
                      <a:pt x="202" y="1576"/>
                    </a:lnTo>
                    <a:lnTo>
                      <a:pt x="200" y="1574"/>
                    </a:lnTo>
                    <a:lnTo>
                      <a:pt x="202" y="1574"/>
                    </a:lnTo>
                    <a:lnTo>
                      <a:pt x="200" y="1574"/>
                    </a:lnTo>
                    <a:lnTo>
                      <a:pt x="202" y="1572"/>
                    </a:lnTo>
                    <a:close/>
                    <a:moveTo>
                      <a:pt x="1383" y="1648"/>
                    </a:moveTo>
                    <a:lnTo>
                      <a:pt x="1383" y="1650"/>
                    </a:lnTo>
                    <a:lnTo>
                      <a:pt x="1384" y="1650"/>
                    </a:lnTo>
                    <a:lnTo>
                      <a:pt x="1384" y="1652"/>
                    </a:lnTo>
                    <a:lnTo>
                      <a:pt x="1383" y="1652"/>
                    </a:lnTo>
                    <a:lnTo>
                      <a:pt x="1381" y="1652"/>
                    </a:lnTo>
                    <a:lnTo>
                      <a:pt x="1381" y="1654"/>
                    </a:lnTo>
                    <a:lnTo>
                      <a:pt x="1379" y="1654"/>
                    </a:lnTo>
                    <a:lnTo>
                      <a:pt x="1381" y="1652"/>
                    </a:lnTo>
                    <a:lnTo>
                      <a:pt x="1381" y="1654"/>
                    </a:lnTo>
                    <a:lnTo>
                      <a:pt x="1379" y="1652"/>
                    </a:lnTo>
                    <a:lnTo>
                      <a:pt x="1381" y="1652"/>
                    </a:lnTo>
                    <a:lnTo>
                      <a:pt x="1379" y="1650"/>
                    </a:lnTo>
                    <a:lnTo>
                      <a:pt x="1381" y="1652"/>
                    </a:lnTo>
                    <a:lnTo>
                      <a:pt x="1381" y="1650"/>
                    </a:lnTo>
                    <a:lnTo>
                      <a:pt x="1383" y="1650"/>
                    </a:lnTo>
                    <a:lnTo>
                      <a:pt x="1381" y="1650"/>
                    </a:lnTo>
                    <a:lnTo>
                      <a:pt x="1383" y="1650"/>
                    </a:lnTo>
                    <a:lnTo>
                      <a:pt x="1383" y="1648"/>
                    </a:lnTo>
                    <a:close/>
                    <a:moveTo>
                      <a:pt x="174" y="1511"/>
                    </a:moveTo>
                    <a:lnTo>
                      <a:pt x="174" y="1513"/>
                    </a:lnTo>
                    <a:lnTo>
                      <a:pt x="172" y="1517"/>
                    </a:lnTo>
                    <a:lnTo>
                      <a:pt x="170" y="1518"/>
                    </a:lnTo>
                    <a:lnTo>
                      <a:pt x="168" y="1517"/>
                    </a:lnTo>
                    <a:lnTo>
                      <a:pt x="170" y="1518"/>
                    </a:lnTo>
                    <a:lnTo>
                      <a:pt x="170" y="1517"/>
                    </a:lnTo>
                    <a:lnTo>
                      <a:pt x="172" y="1513"/>
                    </a:lnTo>
                    <a:lnTo>
                      <a:pt x="174" y="1511"/>
                    </a:lnTo>
                    <a:close/>
                    <a:moveTo>
                      <a:pt x="1251" y="1104"/>
                    </a:moveTo>
                    <a:lnTo>
                      <a:pt x="1251" y="1106"/>
                    </a:lnTo>
                    <a:lnTo>
                      <a:pt x="1247" y="1108"/>
                    </a:lnTo>
                    <a:lnTo>
                      <a:pt x="1247" y="1110"/>
                    </a:lnTo>
                    <a:lnTo>
                      <a:pt x="1245" y="1112"/>
                    </a:lnTo>
                    <a:lnTo>
                      <a:pt x="1243" y="1110"/>
                    </a:lnTo>
                    <a:lnTo>
                      <a:pt x="1245" y="1110"/>
                    </a:lnTo>
                    <a:lnTo>
                      <a:pt x="1245" y="1108"/>
                    </a:lnTo>
                    <a:lnTo>
                      <a:pt x="1247" y="1108"/>
                    </a:lnTo>
                    <a:lnTo>
                      <a:pt x="1247" y="1106"/>
                    </a:lnTo>
                    <a:lnTo>
                      <a:pt x="1247" y="1108"/>
                    </a:lnTo>
                    <a:lnTo>
                      <a:pt x="1247" y="1106"/>
                    </a:lnTo>
                    <a:lnTo>
                      <a:pt x="1249" y="1106"/>
                    </a:lnTo>
                    <a:lnTo>
                      <a:pt x="1247" y="1106"/>
                    </a:lnTo>
                    <a:lnTo>
                      <a:pt x="1251" y="1104"/>
                    </a:lnTo>
                    <a:close/>
                    <a:moveTo>
                      <a:pt x="1386" y="1686"/>
                    </a:moveTo>
                    <a:lnTo>
                      <a:pt x="1386" y="1688"/>
                    </a:lnTo>
                    <a:lnTo>
                      <a:pt x="1388" y="1686"/>
                    </a:lnTo>
                    <a:lnTo>
                      <a:pt x="1388" y="1688"/>
                    </a:lnTo>
                    <a:lnTo>
                      <a:pt x="1392" y="1686"/>
                    </a:lnTo>
                    <a:lnTo>
                      <a:pt x="1392" y="1688"/>
                    </a:lnTo>
                    <a:lnTo>
                      <a:pt x="1390" y="1690"/>
                    </a:lnTo>
                    <a:lnTo>
                      <a:pt x="1390" y="1688"/>
                    </a:lnTo>
                    <a:lnTo>
                      <a:pt x="1388" y="1690"/>
                    </a:lnTo>
                    <a:lnTo>
                      <a:pt x="1388" y="1688"/>
                    </a:lnTo>
                    <a:lnTo>
                      <a:pt x="1386" y="1690"/>
                    </a:lnTo>
                    <a:lnTo>
                      <a:pt x="1386" y="1686"/>
                    </a:lnTo>
                    <a:close/>
                    <a:moveTo>
                      <a:pt x="587" y="572"/>
                    </a:moveTo>
                    <a:lnTo>
                      <a:pt x="589" y="572"/>
                    </a:lnTo>
                    <a:lnTo>
                      <a:pt x="589" y="574"/>
                    </a:lnTo>
                    <a:lnTo>
                      <a:pt x="587" y="578"/>
                    </a:lnTo>
                    <a:lnTo>
                      <a:pt x="584" y="578"/>
                    </a:lnTo>
                    <a:lnTo>
                      <a:pt x="584" y="574"/>
                    </a:lnTo>
                    <a:lnTo>
                      <a:pt x="585" y="572"/>
                    </a:lnTo>
                    <a:lnTo>
                      <a:pt x="587" y="572"/>
                    </a:lnTo>
                    <a:close/>
                    <a:moveTo>
                      <a:pt x="193" y="1553"/>
                    </a:moveTo>
                    <a:lnTo>
                      <a:pt x="193" y="1555"/>
                    </a:lnTo>
                    <a:lnTo>
                      <a:pt x="193" y="1557"/>
                    </a:lnTo>
                    <a:lnTo>
                      <a:pt x="193" y="1559"/>
                    </a:lnTo>
                    <a:lnTo>
                      <a:pt x="193" y="1557"/>
                    </a:lnTo>
                    <a:lnTo>
                      <a:pt x="191" y="1557"/>
                    </a:lnTo>
                    <a:lnTo>
                      <a:pt x="191" y="1559"/>
                    </a:lnTo>
                    <a:lnTo>
                      <a:pt x="189" y="1557"/>
                    </a:lnTo>
                    <a:lnTo>
                      <a:pt x="191" y="1555"/>
                    </a:lnTo>
                    <a:lnTo>
                      <a:pt x="191" y="1553"/>
                    </a:lnTo>
                    <a:lnTo>
                      <a:pt x="193" y="1553"/>
                    </a:lnTo>
                    <a:close/>
                    <a:moveTo>
                      <a:pt x="528" y="797"/>
                    </a:moveTo>
                    <a:lnTo>
                      <a:pt x="532" y="797"/>
                    </a:lnTo>
                    <a:lnTo>
                      <a:pt x="532" y="799"/>
                    </a:lnTo>
                    <a:lnTo>
                      <a:pt x="528" y="801"/>
                    </a:lnTo>
                    <a:lnTo>
                      <a:pt x="526" y="801"/>
                    </a:lnTo>
                    <a:lnTo>
                      <a:pt x="526" y="797"/>
                    </a:lnTo>
                    <a:lnTo>
                      <a:pt x="528" y="797"/>
                    </a:lnTo>
                    <a:close/>
                    <a:moveTo>
                      <a:pt x="1226" y="1085"/>
                    </a:moveTo>
                    <a:lnTo>
                      <a:pt x="1228" y="1089"/>
                    </a:lnTo>
                    <a:lnTo>
                      <a:pt x="1230" y="1089"/>
                    </a:lnTo>
                    <a:lnTo>
                      <a:pt x="1230" y="1091"/>
                    </a:lnTo>
                    <a:lnTo>
                      <a:pt x="1230" y="1093"/>
                    </a:lnTo>
                    <a:lnTo>
                      <a:pt x="1226" y="1093"/>
                    </a:lnTo>
                    <a:lnTo>
                      <a:pt x="1224" y="1091"/>
                    </a:lnTo>
                    <a:lnTo>
                      <a:pt x="1226" y="1089"/>
                    </a:lnTo>
                    <a:lnTo>
                      <a:pt x="1226" y="1085"/>
                    </a:lnTo>
                    <a:close/>
                    <a:moveTo>
                      <a:pt x="1142" y="1391"/>
                    </a:moveTo>
                    <a:lnTo>
                      <a:pt x="1144" y="1391"/>
                    </a:lnTo>
                    <a:lnTo>
                      <a:pt x="1144" y="1393"/>
                    </a:lnTo>
                    <a:lnTo>
                      <a:pt x="1144" y="1394"/>
                    </a:lnTo>
                    <a:lnTo>
                      <a:pt x="1142" y="1394"/>
                    </a:lnTo>
                    <a:lnTo>
                      <a:pt x="1142" y="1396"/>
                    </a:lnTo>
                    <a:lnTo>
                      <a:pt x="1140" y="1396"/>
                    </a:lnTo>
                    <a:lnTo>
                      <a:pt x="1142" y="1394"/>
                    </a:lnTo>
                    <a:lnTo>
                      <a:pt x="1142" y="1393"/>
                    </a:lnTo>
                    <a:lnTo>
                      <a:pt x="1140" y="1391"/>
                    </a:lnTo>
                    <a:lnTo>
                      <a:pt x="1142" y="1391"/>
                    </a:lnTo>
                    <a:close/>
                    <a:moveTo>
                      <a:pt x="1055" y="1041"/>
                    </a:moveTo>
                    <a:lnTo>
                      <a:pt x="1056" y="1043"/>
                    </a:lnTo>
                    <a:lnTo>
                      <a:pt x="1056" y="1045"/>
                    </a:lnTo>
                    <a:lnTo>
                      <a:pt x="1058" y="1045"/>
                    </a:lnTo>
                    <a:lnTo>
                      <a:pt x="1058" y="1047"/>
                    </a:lnTo>
                    <a:lnTo>
                      <a:pt x="1056" y="1047"/>
                    </a:lnTo>
                    <a:lnTo>
                      <a:pt x="1055" y="1047"/>
                    </a:lnTo>
                    <a:lnTo>
                      <a:pt x="1053" y="1045"/>
                    </a:lnTo>
                    <a:lnTo>
                      <a:pt x="1053" y="1043"/>
                    </a:lnTo>
                    <a:lnTo>
                      <a:pt x="1055" y="1041"/>
                    </a:lnTo>
                    <a:close/>
                    <a:moveTo>
                      <a:pt x="1272" y="1478"/>
                    </a:moveTo>
                    <a:lnTo>
                      <a:pt x="1272" y="1480"/>
                    </a:lnTo>
                    <a:lnTo>
                      <a:pt x="1274" y="1480"/>
                    </a:lnTo>
                    <a:lnTo>
                      <a:pt x="1274" y="1482"/>
                    </a:lnTo>
                    <a:lnTo>
                      <a:pt x="1272" y="1482"/>
                    </a:lnTo>
                    <a:lnTo>
                      <a:pt x="1274" y="1482"/>
                    </a:lnTo>
                    <a:lnTo>
                      <a:pt x="1274" y="1484"/>
                    </a:lnTo>
                    <a:lnTo>
                      <a:pt x="1274" y="1482"/>
                    </a:lnTo>
                    <a:lnTo>
                      <a:pt x="1274" y="1484"/>
                    </a:lnTo>
                    <a:lnTo>
                      <a:pt x="1272" y="1484"/>
                    </a:lnTo>
                    <a:lnTo>
                      <a:pt x="1270" y="1482"/>
                    </a:lnTo>
                    <a:lnTo>
                      <a:pt x="1270" y="1480"/>
                    </a:lnTo>
                    <a:lnTo>
                      <a:pt x="1270" y="1482"/>
                    </a:lnTo>
                    <a:lnTo>
                      <a:pt x="1272" y="1482"/>
                    </a:lnTo>
                    <a:lnTo>
                      <a:pt x="1270" y="1480"/>
                    </a:lnTo>
                    <a:lnTo>
                      <a:pt x="1272" y="1480"/>
                    </a:lnTo>
                    <a:lnTo>
                      <a:pt x="1270" y="1480"/>
                    </a:lnTo>
                    <a:lnTo>
                      <a:pt x="1272" y="1478"/>
                    </a:lnTo>
                    <a:lnTo>
                      <a:pt x="1272" y="1480"/>
                    </a:lnTo>
                    <a:lnTo>
                      <a:pt x="1272" y="1478"/>
                    </a:lnTo>
                    <a:close/>
                    <a:moveTo>
                      <a:pt x="648" y="677"/>
                    </a:moveTo>
                    <a:lnTo>
                      <a:pt x="650" y="677"/>
                    </a:lnTo>
                    <a:lnTo>
                      <a:pt x="650" y="679"/>
                    </a:lnTo>
                    <a:lnTo>
                      <a:pt x="646" y="681"/>
                    </a:lnTo>
                    <a:lnTo>
                      <a:pt x="648" y="679"/>
                    </a:lnTo>
                    <a:lnTo>
                      <a:pt x="645" y="679"/>
                    </a:lnTo>
                    <a:lnTo>
                      <a:pt x="643" y="681"/>
                    </a:lnTo>
                    <a:lnTo>
                      <a:pt x="639" y="681"/>
                    </a:lnTo>
                    <a:lnTo>
                      <a:pt x="637" y="681"/>
                    </a:lnTo>
                    <a:lnTo>
                      <a:pt x="641" y="679"/>
                    </a:lnTo>
                    <a:lnTo>
                      <a:pt x="643" y="679"/>
                    </a:lnTo>
                    <a:lnTo>
                      <a:pt x="645" y="677"/>
                    </a:lnTo>
                    <a:lnTo>
                      <a:pt x="646" y="677"/>
                    </a:lnTo>
                    <a:lnTo>
                      <a:pt x="648" y="677"/>
                    </a:lnTo>
                    <a:close/>
                    <a:moveTo>
                      <a:pt x="32" y="999"/>
                    </a:moveTo>
                    <a:lnTo>
                      <a:pt x="34" y="999"/>
                    </a:lnTo>
                    <a:lnTo>
                      <a:pt x="36" y="1001"/>
                    </a:lnTo>
                    <a:lnTo>
                      <a:pt x="32" y="1001"/>
                    </a:lnTo>
                    <a:lnTo>
                      <a:pt x="31" y="1005"/>
                    </a:lnTo>
                    <a:lnTo>
                      <a:pt x="29" y="1001"/>
                    </a:lnTo>
                    <a:lnTo>
                      <a:pt x="29" y="1003"/>
                    </a:lnTo>
                    <a:lnTo>
                      <a:pt x="31" y="999"/>
                    </a:lnTo>
                    <a:lnTo>
                      <a:pt x="32" y="999"/>
                    </a:lnTo>
                    <a:close/>
                    <a:moveTo>
                      <a:pt x="1253" y="1164"/>
                    </a:moveTo>
                    <a:lnTo>
                      <a:pt x="1253" y="1165"/>
                    </a:lnTo>
                    <a:lnTo>
                      <a:pt x="1253" y="1164"/>
                    </a:lnTo>
                    <a:lnTo>
                      <a:pt x="1255" y="1164"/>
                    </a:lnTo>
                    <a:lnTo>
                      <a:pt x="1255" y="1165"/>
                    </a:lnTo>
                    <a:lnTo>
                      <a:pt x="1255" y="1167"/>
                    </a:lnTo>
                    <a:lnTo>
                      <a:pt x="1253" y="1167"/>
                    </a:lnTo>
                    <a:lnTo>
                      <a:pt x="1253" y="1165"/>
                    </a:lnTo>
                    <a:lnTo>
                      <a:pt x="1253" y="1167"/>
                    </a:lnTo>
                    <a:lnTo>
                      <a:pt x="1253" y="1165"/>
                    </a:lnTo>
                    <a:lnTo>
                      <a:pt x="1251" y="1167"/>
                    </a:lnTo>
                    <a:lnTo>
                      <a:pt x="1251" y="1165"/>
                    </a:lnTo>
                    <a:lnTo>
                      <a:pt x="1249" y="1165"/>
                    </a:lnTo>
                    <a:lnTo>
                      <a:pt x="1251" y="1165"/>
                    </a:lnTo>
                    <a:lnTo>
                      <a:pt x="1249" y="1164"/>
                    </a:lnTo>
                    <a:lnTo>
                      <a:pt x="1251" y="1164"/>
                    </a:lnTo>
                    <a:lnTo>
                      <a:pt x="1253" y="1164"/>
                    </a:lnTo>
                    <a:close/>
                    <a:moveTo>
                      <a:pt x="524" y="1085"/>
                    </a:moveTo>
                    <a:lnTo>
                      <a:pt x="526" y="1085"/>
                    </a:lnTo>
                    <a:lnTo>
                      <a:pt x="528" y="1089"/>
                    </a:lnTo>
                    <a:lnTo>
                      <a:pt x="526" y="1091"/>
                    </a:lnTo>
                    <a:lnTo>
                      <a:pt x="526" y="1089"/>
                    </a:lnTo>
                    <a:lnTo>
                      <a:pt x="526" y="1091"/>
                    </a:lnTo>
                    <a:lnTo>
                      <a:pt x="524" y="1091"/>
                    </a:lnTo>
                    <a:lnTo>
                      <a:pt x="526" y="1091"/>
                    </a:lnTo>
                    <a:lnTo>
                      <a:pt x="524" y="1093"/>
                    </a:lnTo>
                    <a:lnTo>
                      <a:pt x="524" y="1091"/>
                    </a:lnTo>
                    <a:lnTo>
                      <a:pt x="524" y="1089"/>
                    </a:lnTo>
                    <a:lnTo>
                      <a:pt x="526" y="1089"/>
                    </a:lnTo>
                    <a:lnTo>
                      <a:pt x="524" y="1089"/>
                    </a:lnTo>
                    <a:lnTo>
                      <a:pt x="524" y="1085"/>
                    </a:lnTo>
                    <a:close/>
                    <a:moveTo>
                      <a:pt x="1264" y="1469"/>
                    </a:moveTo>
                    <a:lnTo>
                      <a:pt x="1266" y="1469"/>
                    </a:lnTo>
                    <a:lnTo>
                      <a:pt x="1268" y="1469"/>
                    </a:lnTo>
                    <a:lnTo>
                      <a:pt x="1268" y="1471"/>
                    </a:lnTo>
                    <a:lnTo>
                      <a:pt x="1270" y="1471"/>
                    </a:lnTo>
                    <a:lnTo>
                      <a:pt x="1272" y="1471"/>
                    </a:lnTo>
                    <a:lnTo>
                      <a:pt x="1270" y="1471"/>
                    </a:lnTo>
                    <a:lnTo>
                      <a:pt x="1266" y="1471"/>
                    </a:lnTo>
                    <a:lnTo>
                      <a:pt x="1264" y="1471"/>
                    </a:lnTo>
                    <a:lnTo>
                      <a:pt x="1262" y="1471"/>
                    </a:lnTo>
                    <a:lnTo>
                      <a:pt x="1262" y="1469"/>
                    </a:lnTo>
                    <a:lnTo>
                      <a:pt x="1264" y="1471"/>
                    </a:lnTo>
                    <a:lnTo>
                      <a:pt x="1266" y="1471"/>
                    </a:lnTo>
                    <a:lnTo>
                      <a:pt x="1264" y="1469"/>
                    </a:lnTo>
                    <a:lnTo>
                      <a:pt x="1262" y="1469"/>
                    </a:lnTo>
                    <a:lnTo>
                      <a:pt x="1264" y="1469"/>
                    </a:lnTo>
                    <a:close/>
                    <a:moveTo>
                      <a:pt x="740" y="488"/>
                    </a:moveTo>
                    <a:lnTo>
                      <a:pt x="744" y="494"/>
                    </a:lnTo>
                    <a:lnTo>
                      <a:pt x="744" y="496"/>
                    </a:lnTo>
                    <a:lnTo>
                      <a:pt x="744" y="498"/>
                    </a:lnTo>
                    <a:lnTo>
                      <a:pt x="740" y="496"/>
                    </a:lnTo>
                    <a:lnTo>
                      <a:pt x="738" y="490"/>
                    </a:lnTo>
                    <a:lnTo>
                      <a:pt x="740" y="488"/>
                    </a:lnTo>
                    <a:close/>
                    <a:moveTo>
                      <a:pt x="1190" y="1061"/>
                    </a:moveTo>
                    <a:lnTo>
                      <a:pt x="1190" y="1062"/>
                    </a:lnTo>
                    <a:lnTo>
                      <a:pt x="1190" y="1064"/>
                    </a:lnTo>
                    <a:lnTo>
                      <a:pt x="1188" y="1064"/>
                    </a:lnTo>
                    <a:lnTo>
                      <a:pt x="1184" y="1062"/>
                    </a:lnTo>
                    <a:lnTo>
                      <a:pt x="1186" y="1062"/>
                    </a:lnTo>
                    <a:lnTo>
                      <a:pt x="1186" y="1061"/>
                    </a:lnTo>
                    <a:lnTo>
                      <a:pt x="1188" y="1061"/>
                    </a:lnTo>
                    <a:lnTo>
                      <a:pt x="1190" y="1061"/>
                    </a:lnTo>
                    <a:close/>
                    <a:moveTo>
                      <a:pt x="814" y="1034"/>
                    </a:moveTo>
                    <a:lnTo>
                      <a:pt x="812" y="1034"/>
                    </a:lnTo>
                    <a:lnTo>
                      <a:pt x="814" y="1034"/>
                    </a:lnTo>
                    <a:lnTo>
                      <a:pt x="812" y="1036"/>
                    </a:lnTo>
                    <a:lnTo>
                      <a:pt x="814" y="1036"/>
                    </a:lnTo>
                    <a:lnTo>
                      <a:pt x="812" y="1038"/>
                    </a:lnTo>
                    <a:lnTo>
                      <a:pt x="814" y="1038"/>
                    </a:lnTo>
                    <a:lnTo>
                      <a:pt x="814" y="1036"/>
                    </a:lnTo>
                    <a:lnTo>
                      <a:pt x="814" y="1038"/>
                    </a:lnTo>
                    <a:lnTo>
                      <a:pt x="814" y="1036"/>
                    </a:lnTo>
                    <a:lnTo>
                      <a:pt x="816" y="1038"/>
                    </a:lnTo>
                    <a:lnTo>
                      <a:pt x="814" y="1040"/>
                    </a:lnTo>
                    <a:lnTo>
                      <a:pt x="816" y="1040"/>
                    </a:lnTo>
                    <a:lnTo>
                      <a:pt x="814" y="1040"/>
                    </a:lnTo>
                    <a:lnTo>
                      <a:pt x="814" y="1041"/>
                    </a:lnTo>
                    <a:lnTo>
                      <a:pt x="812" y="1043"/>
                    </a:lnTo>
                    <a:lnTo>
                      <a:pt x="812" y="1041"/>
                    </a:lnTo>
                    <a:lnTo>
                      <a:pt x="814" y="1040"/>
                    </a:lnTo>
                    <a:lnTo>
                      <a:pt x="812" y="1041"/>
                    </a:lnTo>
                    <a:lnTo>
                      <a:pt x="812" y="1040"/>
                    </a:lnTo>
                    <a:lnTo>
                      <a:pt x="812" y="1038"/>
                    </a:lnTo>
                    <a:lnTo>
                      <a:pt x="812" y="1036"/>
                    </a:lnTo>
                    <a:lnTo>
                      <a:pt x="814" y="1034"/>
                    </a:lnTo>
                    <a:close/>
                    <a:moveTo>
                      <a:pt x="919" y="1139"/>
                    </a:moveTo>
                    <a:lnTo>
                      <a:pt x="921" y="1139"/>
                    </a:lnTo>
                    <a:lnTo>
                      <a:pt x="921" y="1141"/>
                    </a:lnTo>
                    <a:lnTo>
                      <a:pt x="923" y="1141"/>
                    </a:lnTo>
                    <a:lnTo>
                      <a:pt x="923" y="1143"/>
                    </a:lnTo>
                    <a:lnTo>
                      <a:pt x="925" y="1143"/>
                    </a:lnTo>
                    <a:lnTo>
                      <a:pt x="923" y="1145"/>
                    </a:lnTo>
                    <a:lnTo>
                      <a:pt x="921" y="1143"/>
                    </a:lnTo>
                    <a:lnTo>
                      <a:pt x="919" y="1143"/>
                    </a:lnTo>
                    <a:lnTo>
                      <a:pt x="919" y="1141"/>
                    </a:lnTo>
                    <a:lnTo>
                      <a:pt x="919" y="1139"/>
                    </a:lnTo>
                    <a:close/>
                    <a:moveTo>
                      <a:pt x="942" y="1009"/>
                    </a:moveTo>
                    <a:lnTo>
                      <a:pt x="944" y="1009"/>
                    </a:lnTo>
                    <a:lnTo>
                      <a:pt x="946" y="1009"/>
                    </a:lnTo>
                    <a:lnTo>
                      <a:pt x="948" y="1009"/>
                    </a:lnTo>
                    <a:lnTo>
                      <a:pt x="948" y="1013"/>
                    </a:lnTo>
                    <a:lnTo>
                      <a:pt x="946" y="1013"/>
                    </a:lnTo>
                    <a:lnTo>
                      <a:pt x="944" y="1011"/>
                    </a:lnTo>
                    <a:lnTo>
                      <a:pt x="946" y="1011"/>
                    </a:lnTo>
                    <a:lnTo>
                      <a:pt x="942" y="1009"/>
                    </a:lnTo>
                    <a:lnTo>
                      <a:pt x="944" y="1011"/>
                    </a:lnTo>
                    <a:lnTo>
                      <a:pt x="942" y="1011"/>
                    </a:lnTo>
                    <a:lnTo>
                      <a:pt x="944" y="1013"/>
                    </a:lnTo>
                    <a:lnTo>
                      <a:pt x="942" y="1013"/>
                    </a:lnTo>
                    <a:lnTo>
                      <a:pt x="940" y="1011"/>
                    </a:lnTo>
                    <a:lnTo>
                      <a:pt x="942" y="1011"/>
                    </a:lnTo>
                    <a:lnTo>
                      <a:pt x="940" y="1009"/>
                    </a:lnTo>
                    <a:lnTo>
                      <a:pt x="942" y="1011"/>
                    </a:lnTo>
                    <a:lnTo>
                      <a:pt x="940" y="1009"/>
                    </a:lnTo>
                    <a:lnTo>
                      <a:pt x="942" y="1009"/>
                    </a:lnTo>
                    <a:close/>
                    <a:moveTo>
                      <a:pt x="1259" y="1438"/>
                    </a:moveTo>
                    <a:lnTo>
                      <a:pt x="1260" y="1438"/>
                    </a:lnTo>
                    <a:lnTo>
                      <a:pt x="1260" y="1440"/>
                    </a:lnTo>
                    <a:lnTo>
                      <a:pt x="1260" y="1442"/>
                    </a:lnTo>
                    <a:lnTo>
                      <a:pt x="1259" y="1442"/>
                    </a:lnTo>
                    <a:lnTo>
                      <a:pt x="1257" y="1440"/>
                    </a:lnTo>
                    <a:lnTo>
                      <a:pt x="1259" y="1440"/>
                    </a:lnTo>
                    <a:lnTo>
                      <a:pt x="1257" y="1440"/>
                    </a:lnTo>
                    <a:lnTo>
                      <a:pt x="1257" y="1438"/>
                    </a:lnTo>
                    <a:lnTo>
                      <a:pt x="1259" y="1438"/>
                    </a:lnTo>
                    <a:close/>
                    <a:moveTo>
                      <a:pt x="1009" y="521"/>
                    </a:moveTo>
                    <a:lnTo>
                      <a:pt x="1009" y="524"/>
                    </a:lnTo>
                    <a:lnTo>
                      <a:pt x="1009" y="526"/>
                    </a:lnTo>
                    <a:lnTo>
                      <a:pt x="1005" y="528"/>
                    </a:lnTo>
                    <a:lnTo>
                      <a:pt x="1003" y="524"/>
                    </a:lnTo>
                    <a:lnTo>
                      <a:pt x="1003" y="522"/>
                    </a:lnTo>
                    <a:lnTo>
                      <a:pt x="1009" y="521"/>
                    </a:lnTo>
                    <a:close/>
                    <a:moveTo>
                      <a:pt x="1232" y="1099"/>
                    </a:moveTo>
                    <a:lnTo>
                      <a:pt x="1232" y="1101"/>
                    </a:lnTo>
                    <a:lnTo>
                      <a:pt x="1234" y="1101"/>
                    </a:lnTo>
                    <a:lnTo>
                      <a:pt x="1234" y="1099"/>
                    </a:lnTo>
                    <a:lnTo>
                      <a:pt x="1236" y="1101"/>
                    </a:lnTo>
                    <a:lnTo>
                      <a:pt x="1228" y="1101"/>
                    </a:lnTo>
                    <a:lnTo>
                      <a:pt x="1230" y="1101"/>
                    </a:lnTo>
                    <a:lnTo>
                      <a:pt x="1230" y="1099"/>
                    </a:lnTo>
                    <a:lnTo>
                      <a:pt x="1232" y="1097"/>
                    </a:lnTo>
                    <a:lnTo>
                      <a:pt x="1232" y="1099"/>
                    </a:lnTo>
                    <a:close/>
                    <a:moveTo>
                      <a:pt x="185" y="1560"/>
                    </a:moveTo>
                    <a:lnTo>
                      <a:pt x="185" y="1564"/>
                    </a:lnTo>
                    <a:lnTo>
                      <a:pt x="187" y="1564"/>
                    </a:lnTo>
                    <a:lnTo>
                      <a:pt x="187" y="1568"/>
                    </a:lnTo>
                    <a:lnTo>
                      <a:pt x="187" y="1566"/>
                    </a:lnTo>
                    <a:lnTo>
                      <a:pt x="185" y="1566"/>
                    </a:lnTo>
                    <a:lnTo>
                      <a:pt x="185" y="1564"/>
                    </a:lnTo>
                    <a:lnTo>
                      <a:pt x="183" y="1562"/>
                    </a:lnTo>
                    <a:lnTo>
                      <a:pt x="183" y="1564"/>
                    </a:lnTo>
                    <a:lnTo>
                      <a:pt x="183" y="1562"/>
                    </a:lnTo>
                    <a:lnTo>
                      <a:pt x="185" y="1560"/>
                    </a:lnTo>
                    <a:close/>
                    <a:moveTo>
                      <a:pt x="153" y="1574"/>
                    </a:moveTo>
                    <a:lnTo>
                      <a:pt x="153" y="1576"/>
                    </a:lnTo>
                    <a:lnTo>
                      <a:pt x="151" y="1576"/>
                    </a:lnTo>
                    <a:lnTo>
                      <a:pt x="151" y="1578"/>
                    </a:lnTo>
                    <a:lnTo>
                      <a:pt x="151" y="1576"/>
                    </a:lnTo>
                    <a:lnTo>
                      <a:pt x="151" y="1578"/>
                    </a:lnTo>
                    <a:lnTo>
                      <a:pt x="149" y="1576"/>
                    </a:lnTo>
                    <a:lnTo>
                      <a:pt x="151" y="1576"/>
                    </a:lnTo>
                    <a:lnTo>
                      <a:pt x="149" y="1574"/>
                    </a:lnTo>
                    <a:lnTo>
                      <a:pt x="151" y="1574"/>
                    </a:lnTo>
                    <a:lnTo>
                      <a:pt x="149" y="1574"/>
                    </a:lnTo>
                    <a:lnTo>
                      <a:pt x="151" y="1574"/>
                    </a:lnTo>
                    <a:lnTo>
                      <a:pt x="153" y="1574"/>
                    </a:lnTo>
                    <a:close/>
                    <a:moveTo>
                      <a:pt x="1377" y="1652"/>
                    </a:moveTo>
                    <a:lnTo>
                      <a:pt x="1375" y="1652"/>
                    </a:lnTo>
                    <a:lnTo>
                      <a:pt x="1377" y="1652"/>
                    </a:lnTo>
                    <a:lnTo>
                      <a:pt x="1375" y="1654"/>
                    </a:lnTo>
                    <a:lnTo>
                      <a:pt x="1377" y="1652"/>
                    </a:lnTo>
                    <a:lnTo>
                      <a:pt x="1377" y="1654"/>
                    </a:lnTo>
                    <a:lnTo>
                      <a:pt x="1375" y="1654"/>
                    </a:lnTo>
                    <a:lnTo>
                      <a:pt x="1373" y="1654"/>
                    </a:lnTo>
                    <a:lnTo>
                      <a:pt x="1373" y="1656"/>
                    </a:lnTo>
                    <a:lnTo>
                      <a:pt x="1371" y="1656"/>
                    </a:lnTo>
                    <a:lnTo>
                      <a:pt x="1371" y="1654"/>
                    </a:lnTo>
                    <a:lnTo>
                      <a:pt x="1371" y="1652"/>
                    </a:lnTo>
                    <a:lnTo>
                      <a:pt x="1371" y="1654"/>
                    </a:lnTo>
                    <a:lnTo>
                      <a:pt x="1371" y="1652"/>
                    </a:lnTo>
                    <a:lnTo>
                      <a:pt x="1371" y="1654"/>
                    </a:lnTo>
                    <a:lnTo>
                      <a:pt x="1371" y="1652"/>
                    </a:lnTo>
                    <a:lnTo>
                      <a:pt x="1371" y="1654"/>
                    </a:lnTo>
                    <a:lnTo>
                      <a:pt x="1373" y="1654"/>
                    </a:lnTo>
                    <a:lnTo>
                      <a:pt x="1375" y="1654"/>
                    </a:lnTo>
                    <a:lnTo>
                      <a:pt x="1373" y="1652"/>
                    </a:lnTo>
                    <a:lnTo>
                      <a:pt x="1375" y="1652"/>
                    </a:lnTo>
                    <a:lnTo>
                      <a:pt x="1377" y="1652"/>
                    </a:lnTo>
                    <a:close/>
                    <a:moveTo>
                      <a:pt x="727" y="566"/>
                    </a:moveTo>
                    <a:lnTo>
                      <a:pt x="730" y="570"/>
                    </a:lnTo>
                    <a:lnTo>
                      <a:pt x="728" y="572"/>
                    </a:lnTo>
                    <a:lnTo>
                      <a:pt x="727" y="572"/>
                    </a:lnTo>
                    <a:lnTo>
                      <a:pt x="723" y="568"/>
                    </a:lnTo>
                    <a:lnTo>
                      <a:pt x="723" y="566"/>
                    </a:lnTo>
                    <a:lnTo>
                      <a:pt x="727" y="566"/>
                    </a:lnTo>
                    <a:close/>
                    <a:moveTo>
                      <a:pt x="278" y="1669"/>
                    </a:moveTo>
                    <a:lnTo>
                      <a:pt x="280" y="1671"/>
                    </a:lnTo>
                    <a:lnTo>
                      <a:pt x="282" y="1673"/>
                    </a:lnTo>
                    <a:lnTo>
                      <a:pt x="280" y="1673"/>
                    </a:lnTo>
                    <a:lnTo>
                      <a:pt x="280" y="1675"/>
                    </a:lnTo>
                    <a:lnTo>
                      <a:pt x="278" y="1673"/>
                    </a:lnTo>
                    <a:lnTo>
                      <a:pt x="278" y="1671"/>
                    </a:lnTo>
                    <a:lnTo>
                      <a:pt x="278" y="1669"/>
                    </a:lnTo>
                    <a:close/>
                    <a:moveTo>
                      <a:pt x="482" y="1047"/>
                    </a:moveTo>
                    <a:lnTo>
                      <a:pt x="482" y="1049"/>
                    </a:lnTo>
                    <a:lnTo>
                      <a:pt x="484" y="1049"/>
                    </a:lnTo>
                    <a:lnTo>
                      <a:pt x="482" y="1049"/>
                    </a:lnTo>
                    <a:lnTo>
                      <a:pt x="479" y="1051"/>
                    </a:lnTo>
                    <a:lnTo>
                      <a:pt x="477" y="1051"/>
                    </a:lnTo>
                    <a:lnTo>
                      <a:pt x="477" y="1049"/>
                    </a:lnTo>
                    <a:lnTo>
                      <a:pt x="482" y="1047"/>
                    </a:lnTo>
                    <a:close/>
                    <a:moveTo>
                      <a:pt x="879" y="1696"/>
                    </a:moveTo>
                    <a:lnTo>
                      <a:pt x="881" y="1696"/>
                    </a:lnTo>
                    <a:lnTo>
                      <a:pt x="883" y="1698"/>
                    </a:lnTo>
                    <a:lnTo>
                      <a:pt x="881" y="1698"/>
                    </a:lnTo>
                    <a:lnTo>
                      <a:pt x="879" y="1698"/>
                    </a:lnTo>
                    <a:lnTo>
                      <a:pt x="877" y="1698"/>
                    </a:lnTo>
                    <a:lnTo>
                      <a:pt x="877" y="1696"/>
                    </a:lnTo>
                    <a:lnTo>
                      <a:pt x="879" y="1696"/>
                    </a:lnTo>
                    <a:close/>
                    <a:moveTo>
                      <a:pt x="986" y="1515"/>
                    </a:moveTo>
                    <a:lnTo>
                      <a:pt x="988" y="1515"/>
                    </a:lnTo>
                    <a:lnTo>
                      <a:pt x="986" y="1515"/>
                    </a:lnTo>
                    <a:lnTo>
                      <a:pt x="982" y="1517"/>
                    </a:lnTo>
                    <a:lnTo>
                      <a:pt x="984" y="1515"/>
                    </a:lnTo>
                    <a:lnTo>
                      <a:pt x="980" y="1517"/>
                    </a:lnTo>
                    <a:lnTo>
                      <a:pt x="982" y="1517"/>
                    </a:lnTo>
                    <a:lnTo>
                      <a:pt x="978" y="1517"/>
                    </a:lnTo>
                    <a:lnTo>
                      <a:pt x="974" y="1518"/>
                    </a:lnTo>
                    <a:lnTo>
                      <a:pt x="976" y="1518"/>
                    </a:lnTo>
                    <a:lnTo>
                      <a:pt x="976" y="1517"/>
                    </a:lnTo>
                    <a:lnTo>
                      <a:pt x="986" y="1515"/>
                    </a:lnTo>
                    <a:close/>
                    <a:moveTo>
                      <a:pt x="1266" y="1700"/>
                    </a:moveTo>
                    <a:lnTo>
                      <a:pt x="1268" y="1700"/>
                    </a:lnTo>
                    <a:lnTo>
                      <a:pt x="1266" y="1702"/>
                    </a:lnTo>
                    <a:lnTo>
                      <a:pt x="1264" y="1702"/>
                    </a:lnTo>
                    <a:lnTo>
                      <a:pt x="1266" y="1702"/>
                    </a:lnTo>
                    <a:lnTo>
                      <a:pt x="1264" y="1702"/>
                    </a:lnTo>
                    <a:lnTo>
                      <a:pt x="1266" y="1702"/>
                    </a:lnTo>
                    <a:lnTo>
                      <a:pt x="1266" y="1700"/>
                    </a:lnTo>
                    <a:lnTo>
                      <a:pt x="1264" y="1702"/>
                    </a:lnTo>
                    <a:lnTo>
                      <a:pt x="1264" y="1700"/>
                    </a:lnTo>
                    <a:lnTo>
                      <a:pt x="1262" y="1702"/>
                    </a:lnTo>
                    <a:lnTo>
                      <a:pt x="1260" y="1705"/>
                    </a:lnTo>
                    <a:lnTo>
                      <a:pt x="1259" y="1705"/>
                    </a:lnTo>
                    <a:lnTo>
                      <a:pt x="1260" y="1705"/>
                    </a:lnTo>
                    <a:lnTo>
                      <a:pt x="1259" y="1707"/>
                    </a:lnTo>
                    <a:lnTo>
                      <a:pt x="1259" y="1709"/>
                    </a:lnTo>
                    <a:lnTo>
                      <a:pt x="1260" y="1709"/>
                    </a:lnTo>
                    <a:lnTo>
                      <a:pt x="1259" y="1709"/>
                    </a:lnTo>
                    <a:lnTo>
                      <a:pt x="1257" y="1709"/>
                    </a:lnTo>
                    <a:lnTo>
                      <a:pt x="1259" y="1707"/>
                    </a:lnTo>
                    <a:lnTo>
                      <a:pt x="1259" y="1705"/>
                    </a:lnTo>
                    <a:lnTo>
                      <a:pt x="1260" y="1704"/>
                    </a:lnTo>
                    <a:lnTo>
                      <a:pt x="1262" y="1702"/>
                    </a:lnTo>
                    <a:lnTo>
                      <a:pt x="1264" y="1700"/>
                    </a:lnTo>
                    <a:lnTo>
                      <a:pt x="1266" y="1700"/>
                    </a:lnTo>
                    <a:close/>
                    <a:moveTo>
                      <a:pt x="257" y="1635"/>
                    </a:moveTo>
                    <a:lnTo>
                      <a:pt x="257" y="1637"/>
                    </a:lnTo>
                    <a:lnTo>
                      <a:pt x="259" y="1637"/>
                    </a:lnTo>
                    <a:lnTo>
                      <a:pt x="257" y="1637"/>
                    </a:lnTo>
                    <a:lnTo>
                      <a:pt x="259" y="1639"/>
                    </a:lnTo>
                    <a:lnTo>
                      <a:pt x="259" y="1641"/>
                    </a:lnTo>
                    <a:lnTo>
                      <a:pt x="257" y="1641"/>
                    </a:lnTo>
                    <a:lnTo>
                      <a:pt x="257" y="1639"/>
                    </a:lnTo>
                    <a:lnTo>
                      <a:pt x="259" y="1639"/>
                    </a:lnTo>
                    <a:lnTo>
                      <a:pt x="257" y="1639"/>
                    </a:lnTo>
                    <a:lnTo>
                      <a:pt x="256" y="1637"/>
                    </a:lnTo>
                    <a:lnTo>
                      <a:pt x="257" y="1635"/>
                    </a:lnTo>
                    <a:close/>
                    <a:moveTo>
                      <a:pt x="162" y="1522"/>
                    </a:moveTo>
                    <a:lnTo>
                      <a:pt x="164" y="1522"/>
                    </a:lnTo>
                    <a:lnTo>
                      <a:pt x="164" y="1524"/>
                    </a:lnTo>
                    <a:lnTo>
                      <a:pt x="162" y="1526"/>
                    </a:lnTo>
                    <a:lnTo>
                      <a:pt x="160" y="1526"/>
                    </a:lnTo>
                    <a:lnTo>
                      <a:pt x="160" y="1528"/>
                    </a:lnTo>
                    <a:lnTo>
                      <a:pt x="160" y="1526"/>
                    </a:lnTo>
                    <a:lnTo>
                      <a:pt x="160" y="1524"/>
                    </a:lnTo>
                    <a:lnTo>
                      <a:pt x="162" y="1522"/>
                    </a:lnTo>
                    <a:close/>
                    <a:moveTo>
                      <a:pt x="927" y="990"/>
                    </a:moveTo>
                    <a:lnTo>
                      <a:pt x="931" y="992"/>
                    </a:lnTo>
                    <a:lnTo>
                      <a:pt x="932" y="992"/>
                    </a:lnTo>
                    <a:lnTo>
                      <a:pt x="932" y="994"/>
                    </a:lnTo>
                    <a:lnTo>
                      <a:pt x="931" y="994"/>
                    </a:lnTo>
                    <a:lnTo>
                      <a:pt x="932" y="996"/>
                    </a:lnTo>
                    <a:lnTo>
                      <a:pt x="929" y="996"/>
                    </a:lnTo>
                    <a:lnTo>
                      <a:pt x="929" y="994"/>
                    </a:lnTo>
                    <a:lnTo>
                      <a:pt x="927" y="994"/>
                    </a:lnTo>
                    <a:lnTo>
                      <a:pt x="929" y="994"/>
                    </a:lnTo>
                    <a:lnTo>
                      <a:pt x="925" y="992"/>
                    </a:lnTo>
                    <a:lnTo>
                      <a:pt x="927" y="992"/>
                    </a:lnTo>
                    <a:lnTo>
                      <a:pt x="925" y="992"/>
                    </a:lnTo>
                    <a:lnTo>
                      <a:pt x="927" y="990"/>
                    </a:lnTo>
                    <a:close/>
                    <a:moveTo>
                      <a:pt x="206" y="1572"/>
                    </a:moveTo>
                    <a:lnTo>
                      <a:pt x="204" y="1574"/>
                    </a:lnTo>
                    <a:lnTo>
                      <a:pt x="204" y="1576"/>
                    </a:lnTo>
                    <a:lnTo>
                      <a:pt x="204" y="1578"/>
                    </a:lnTo>
                    <a:lnTo>
                      <a:pt x="204" y="1576"/>
                    </a:lnTo>
                    <a:lnTo>
                      <a:pt x="202" y="1574"/>
                    </a:lnTo>
                    <a:lnTo>
                      <a:pt x="202" y="1572"/>
                    </a:lnTo>
                    <a:lnTo>
                      <a:pt x="204" y="1572"/>
                    </a:lnTo>
                    <a:lnTo>
                      <a:pt x="206" y="1570"/>
                    </a:lnTo>
                    <a:lnTo>
                      <a:pt x="206" y="1572"/>
                    </a:lnTo>
                    <a:close/>
                    <a:moveTo>
                      <a:pt x="999" y="1337"/>
                    </a:moveTo>
                    <a:lnTo>
                      <a:pt x="999" y="1339"/>
                    </a:lnTo>
                    <a:lnTo>
                      <a:pt x="997" y="1339"/>
                    </a:lnTo>
                    <a:lnTo>
                      <a:pt x="994" y="1341"/>
                    </a:lnTo>
                    <a:lnTo>
                      <a:pt x="992" y="1341"/>
                    </a:lnTo>
                    <a:lnTo>
                      <a:pt x="994" y="1339"/>
                    </a:lnTo>
                    <a:lnTo>
                      <a:pt x="995" y="1337"/>
                    </a:lnTo>
                    <a:lnTo>
                      <a:pt x="995" y="1339"/>
                    </a:lnTo>
                    <a:lnTo>
                      <a:pt x="995" y="1337"/>
                    </a:lnTo>
                    <a:lnTo>
                      <a:pt x="997" y="1337"/>
                    </a:lnTo>
                    <a:lnTo>
                      <a:pt x="999" y="1337"/>
                    </a:lnTo>
                    <a:close/>
                    <a:moveTo>
                      <a:pt x="971" y="1557"/>
                    </a:moveTo>
                    <a:lnTo>
                      <a:pt x="973" y="1557"/>
                    </a:lnTo>
                    <a:lnTo>
                      <a:pt x="973" y="1559"/>
                    </a:lnTo>
                    <a:lnTo>
                      <a:pt x="971" y="1560"/>
                    </a:lnTo>
                    <a:lnTo>
                      <a:pt x="971" y="1559"/>
                    </a:lnTo>
                    <a:lnTo>
                      <a:pt x="969" y="1557"/>
                    </a:lnTo>
                    <a:lnTo>
                      <a:pt x="971" y="1557"/>
                    </a:lnTo>
                    <a:close/>
                    <a:moveTo>
                      <a:pt x="88" y="1026"/>
                    </a:moveTo>
                    <a:lnTo>
                      <a:pt x="90" y="1028"/>
                    </a:lnTo>
                    <a:lnTo>
                      <a:pt x="88" y="1030"/>
                    </a:lnTo>
                    <a:lnTo>
                      <a:pt x="88" y="1032"/>
                    </a:lnTo>
                    <a:lnTo>
                      <a:pt x="86" y="1032"/>
                    </a:lnTo>
                    <a:lnTo>
                      <a:pt x="84" y="1030"/>
                    </a:lnTo>
                    <a:lnTo>
                      <a:pt x="84" y="1028"/>
                    </a:lnTo>
                    <a:lnTo>
                      <a:pt x="84" y="1030"/>
                    </a:lnTo>
                    <a:lnTo>
                      <a:pt x="84" y="1028"/>
                    </a:lnTo>
                    <a:lnTo>
                      <a:pt x="86" y="1028"/>
                    </a:lnTo>
                    <a:lnTo>
                      <a:pt x="88" y="1026"/>
                    </a:lnTo>
                    <a:close/>
                    <a:moveTo>
                      <a:pt x="252" y="1631"/>
                    </a:moveTo>
                    <a:lnTo>
                      <a:pt x="254" y="1633"/>
                    </a:lnTo>
                    <a:lnTo>
                      <a:pt x="254" y="1635"/>
                    </a:lnTo>
                    <a:lnTo>
                      <a:pt x="252" y="1635"/>
                    </a:lnTo>
                    <a:lnTo>
                      <a:pt x="250" y="1635"/>
                    </a:lnTo>
                    <a:lnTo>
                      <a:pt x="252" y="1635"/>
                    </a:lnTo>
                    <a:lnTo>
                      <a:pt x="250" y="1635"/>
                    </a:lnTo>
                    <a:lnTo>
                      <a:pt x="250" y="1633"/>
                    </a:lnTo>
                    <a:lnTo>
                      <a:pt x="252" y="1631"/>
                    </a:lnTo>
                    <a:close/>
                    <a:moveTo>
                      <a:pt x="1156" y="1036"/>
                    </a:moveTo>
                    <a:lnTo>
                      <a:pt x="1158" y="1038"/>
                    </a:lnTo>
                    <a:lnTo>
                      <a:pt x="1158" y="1036"/>
                    </a:lnTo>
                    <a:lnTo>
                      <a:pt x="1159" y="1038"/>
                    </a:lnTo>
                    <a:lnTo>
                      <a:pt x="1167" y="1040"/>
                    </a:lnTo>
                    <a:lnTo>
                      <a:pt x="1163" y="1041"/>
                    </a:lnTo>
                    <a:lnTo>
                      <a:pt x="1156" y="1038"/>
                    </a:lnTo>
                    <a:lnTo>
                      <a:pt x="1154" y="1036"/>
                    </a:lnTo>
                    <a:lnTo>
                      <a:pt x="1156" y="1036"/>
                    </a:lnTo>
                    <a:close/>
                    <a:moveTo>
                      <a:pt x="988" y="862"/>
                    </a:moveTo>
                    <a:lnTo>
                      <a:pt x="990" y="862"/>
                    </a:lnTo>
                    <a:lnTo>
                      <a:pt x="992" y="866"/>
                    </a:lnTo>
                    <a:lnTo>
                      <a:pt x="990" y="866"/>
                    </a:lnTo>
                    <a:lnTo>
                      <a:pt x="988" y="866"/>
                    </a:lnTo>
                    <a:lnTo>
                      <a:pt x="986" y="866"/>
                    </a:lnTo>
                    <a:lnTo>
                      <a:pt x="986" y="862"/>
                    </a:lnTo>
                    <a:lnTo>
                      <a:pt x="988" y="862"/>
                    </a:lnTo>
                    <a:close/>
                    <a:moveTo>
                      <a:pt x="1262" y="1438"/>
                    </a:moveTo>
                    <a:lnTo>
                      <a:pt x="1262" y="1440"/>
                    </a:lnTo>
                    <a:lnTo>
                      <a:pt x="1262" y="1442"/>
                    </a:lnTo>
                    <a:lnTo>
                      <a:pt x="1260" y="1442"/>
                    </a:lnTo>
                    <a:lnTo>
                      <a:pt x="1262" y="1442"/>
                    </a:lnTo>
                    <a:lnTo>
                      <a:pt x="1264" y="1442"/>
                    </a:lnTo>
                    <a:lnTo>
                      <a:pt x="1262" y="1444"/>
                    </a:lnTo>
                    <a:lnTo>
                      <a:pt x="1260" y="1444"/>
                    </a:lnTo>
                    <a:lnTo>
                      <a:pt x="1259" y="1442"/>
                    </a:lnTo>
                    <a:lnTo>
                      <a:pt x="1260" y="1442"/>
                    </a:lnTo>
                    <a:lnTo>
                      <a:pt x="1260" y="1440"/>
                    </a:lnTo>
                    <a:lnTo>
                      <a:pt x="1262" y="1438"/>
                    </a:lnTo>
                    <a:close/>
                    <a:moveTo>
                      <a:pt x="1260" y="1431"/>
                    </a:moveTo>
                    <a:lnTo>
                      <a:pt x="1262" y="1431"/>
                    </a:lnTo>
                    <a:lnTo>
                      <a:pt x="1262" y="1433"/>
                    </a:lnTo>
                    <a:lnTo>
                      <a:pt x="1262" y="1431"/>
                    </a:lnTo>
                    <a:lnTo>
                      <a:pt x="1262" y="1433"/>
                    </a:lnTo>
                    <a:lnTo>
                      <a:pt x="1262" y="1435"/>
                    </a:lnTo>
                    <a:lnTo>
                      <a:pt x="1260" y="1435"/>
                    </a:lnTo>
                    <a:lnTo>
                      <a:pt x="1260" y="1433"/>
                    </a:lnTo>
                    <a:lnTo>
                      <a:pt x="1259" y="1433"/>
                    </a:lnTo>
                    <a:lnTo>
                      <a:pt x="1260" y="1431"/>
                    </a:lnTo>
                    <a:close/>
                    <a:moveTo>
                      <a:pt x="1260" y="1473"/>
                    </a:moveTo>
                    <a:lnTo>
                      <a:pt x="1264" y="1473"/>
                    </a:lnTo>
                    <a:lnTo>
                      <a:pt x="1266" y="1473"/>
                    </a:lnTo>
                    <a:lnTo>
                      <a:pt x="1266" y="1475"/>
                    </a:lnTo>
                    <a:lnTo>
                      <a:pt x="1264" y="1475"/>
                    </a:lnTo>
                    <a:lnTo>
                      <a:pt x="1266" y="1475"/>
                    </a:lnTo>
                    <a:lnTo>
                      <a:pt x="1264" y="1475"/>
                    </a:lnTo>
                    <a:lnTo>
                      <a:pt x="1262" y="1473"/>
                    </a:lnTo>
                    <a:lnTo>
                      <a:pt x="1264" y="1475"/>
                    </a:lnTo>
                    <a:lnTo>
                      <a:pt x="1262" y="1475"/>
                    </a:lnTo>
                    <a:lnTo>
                      <a:pt x="1264" y="1475"/>
                    </a:lnTo>
                    <a:lnTo>
                      <a:pt x="1262" y="1475"/>
                    </a:lnTo>
                    <a:lnTo>
                      <a:pt x="1262" y="1473"/>
                    </a:lnTo>
                    <a:lnTo>
                      <a:pt x="1260" y="1473"/>
                    </a:lnTo>
                    <a:close/>
                    <a:moveTo>
                      <a:pt x="912" y="990"/>
                    </a:moveTo>
                    <a:lnTo>
                      <a:pt x="915" y="992"/>
                    </a:lnTo>
                    <a:lnTo>
                      <a:pt x="913" y="992"/>
                    </a:lnTo>
                    <a:lnTo>
                      <a:pt x="913" y="994"/>
                    </a:lnTo>
                    <a:lnTo>
                      <a:pt x="912" y="994"/>
                    </a:lnTo>
                    <a:lnTo>
                      <a:pt x="913" y="996"/>
                    </a:lnTo>
                    <a:lnTo>
                      <a:pt x="910" y="992"/>
                    </a:lnTo>
                    <a:lnTo>
                      <a:pt x="910" y="990"/>
                    </a:lnTo>
                    <a:lnTo>
                      <a:pt x="912" y="990"/>
                    </a:lnTo>
                    <a:close/>
                    <a:moveTo>
                      <a:pt x="235" y="1627"/>
                    </a:moveTo>
                    <a:lnTo>
                      <a:pt x="236" y="1629"/>
                    </a:lnTo>
                    <a:lnTo>
                      <a:pt x="235" y="1629"/>
                    </a:lnTo>
                    <a:lnTo>
                      <a:pt x="236" y="1629"/>
                    </a:lnTo>
                    <a:lnTo>
                      <a:pt x="235" y="1629"/>
                    </a:lnTo>
                    <a:lnTo>
                      <a:pt x="231" y="1629"/>
                    </a:lnTo>
                    <a:lnTo>
                      <a:pt x="229" y="1629"/>
                    </a:lnTo>
                    <a:lnTo>
                      <a:pt x="231" y="1629"/>
                    </a:lnTo>
                    <a:lnTo>
                      <a:pt x="229" y="1629"/>
                    </a:lnTo>
                    <a:lnTo>
                      <a:pt x="233" y="1629"/>
                    </a:lnTo>
                    <a:lnTo>
                      <a:pt x="235" y="1629"/>
                    </a:lnTo>
                    <a:lnTo>
                      <a:pt x="235" y="1627"/>
                    </a:lnTo>
                    <a:lnTo>
                      <a:pt x="235" y="1629"/>
                    </a:lnTo>
                    <a:lnTo>
                      <a:pt x="235" y="1627"/>
                    </a:lnTo>
                    <a:close/>
                    <a:moveTo>
                      <a:pt x="532" y="1104"/>
                    </a:moveTo>
                    <a:lnTo>
                      <a:pt x="536" y="1108"/>
                    </a:lnTo>
                    <a:lnTo>
                      <a:pt x="538" y="1108"/>
                    </a:lnTo>
                    <a:lnTo>
                      <a:pt x="534" y="1110"/>
                    </a:lnTo>
                    <a:lnTo>
                      <a:pt x="532" y="1104"/>
                    </a:lnTo>
                    <a:close/>
                    <a:moveTo>
                      <a:pt x="1211" y="1246"/>
                    </a:moveTo>
                    <a:lnTo>
                      <a:pt x="1213" y="1249"/>
                    </a:lnTo>
                    <a:lnTo>
                      <a:pt x="1211" y="1249"/>
                    </a:lnTo>
                    <a:lnTo>
                      <a:pt x="1211" y="1246"/>
                    </a:lnTo>
                    <a:lnTo>
                      <a:pt x="1209" y="1246"/>
                    </a:lnTo>
                    <a:lnTo>
                      <a:pt x="1209" y="1244"/>
                    </a:lnTo>
                    <a:lnTo>
                      <a:pt x="1211" y="1246"/>
                    </a:lnTo>
                    <a:lnTo>
                      <a:pt x="1209" y="1244"/>
                    </a:lnTo>
                    <a:lnTo>
                      <a:pt x="1211" y="1244"/>
                    </a:lnTo>
                    <a:lnTo>
                      <a:pt x="1211" y="1246"/>
                    </a:lnTo>
                    <a:close/>
                    <a:moveTo>
                      <a:pt x="507" y="1072"/>
                    </a:moveTo>
                    <a:lnTo>
                      <a:pt x="509" y="1074"/>
                    </a:lnTo>
                    <a:lnTo>
                      <a:pt x="509" y="1072"/>
                    </a:lnTo>
                    <a:lnTo>
                      <a:pt x="511" y="1072"/>
                    </a:lnTo>
                    <a:lnTo>
                      <a:pt x="513" y="1072"/>
                    </a:lnTo>
                    <a:lnTo>
                      <a:pt x="511" y="1074"/>
                    </a:lnTo>
                    <a:lnTo>
                      <a:pt x="513" y="1076"/>
                    </a:lnTo>
                    <a:lnTo>
                      <a:pt x="511" y="1076"/>
                    </a:lnTo>
                    <a:lnTo>
                      <a:pt x="509" y="1076"/>
                    </a:lnTo>
                    <a:lnTo>
                      <a:pt x="509" y="1074"/>
                    </a:lnTo>
                    <a:lnTo>
                      <a:pt x="507" y="1074"/>
                    </a:lnTo>
                    <a:lnTo>
                      <a:pt x="507" y="1072"/>
                    </a:lnTo>
                    <a:close/>
                    <a:moveTo>
                      <a:pt x="238" y="1658"/>
                    </a:moveTo>
                    <a:lnTo>
                      <a:pt x="238" y="1662"/>
                    </a:lnTo>
                    <a:lnTo>
                      <a:pt x="238" y="1660"/>
                    </a:lnTo>
                    <a:lnTo>
                      <a:pt x="238" y="1662"/>
                    </a:lnTo>
                    <a:lnTo>
                      <a:pt x="236" y="1662"/>
                    </a:lnTo>
                    <a:lnTo>
                      <a:pt x="236" y="1660"/>
                    </a:lnTo>
                    <a:lnTo>
                      <a:pt x="236" y="1658"/>
                    </a:lnTo>
                    <a:lnTo>
                      <a:pt x="238" y="1658"/>
                    </a:lnTo>
                    <a:close/>
                    <a:moveTo>
                      <a:pt x="599" y="660"/>
                    </a:moveTo>
                    <a:lnTo>
                      <a:pt x="599" y="662"/>
                    </a:lnTo>
                    <a:lnTo>
                      <a:pt x="597" y="664"/>
                    </a:lnTo>
                    <a:lnTo>
                      <a:pt x="593" y="662"/>
                    </a:lnTo>
                    <a:lnTo>
                      <a:pt x="591" y="662"/>
                    </a:lnTo>
                    <a:lnTo>
                      <a:pt x="591" y="660"/>
                    </a:lnTo>
                    <a:lnTo>
                      <a:pt x="599" y="660"/>
                    </a:lnTo>
                    <a:close/>
                    <a:moveTo>
                      <a:pt x="660" y="601"/>
                    </a:moveTo>
                    <a:lnTo>
                      <a:pt x="660" y="603"/>
                    </a:lnTo>
                    <a:lnTo>
                      <a:pt x="664" y="605"/>
                    </a:lnTo>
                    <a:lnTo>
                      <a:pt x="662" y="606"/>
                    </a:lnTo>
                    <a:lnTo>
                      <a:pt x="658" y="606"/>
                    </a:lnTo>
                    <a:lnTo>
                      <a:pt x="662" y="605"/>
                    </a:lnTo>
                    <a:lnTo>
                      <a:pt x="658" y="605"/>
                    </a:lnTo>
                    <a:lnTo>
                      <a:pt x="656" y="605"/>
                    </a:lnTo>
                    <a:lnTo>
                      <a:pt x="654" y="603"/>
                    </a:lnTo>
                    <a:lnTo>
                      <a:pt x="652" y="603"/>
                    </a:lnTo>
                    <a:lnTo>
                      <a:pt x="654" y="603"/>
                    </a:lnTo>
                    <a:lnTo>
                      <a:pt x="656" y="603"/>
                    </a:lnTo>
                    <a:lnTo>
                      <a:pt x="660" y="601"/>
                    </a:lnTo>
                    <a:close/>
                    <a:moveTo>
                      <a:pt x="181" y="1562"/>
                    </a:moveTo>
                    <a:lnTo>
                      <a:pt x="183" y="1564"/>
                    </a:lnTo>
                    <a:lnTo>
                      <a:pt x="183" y="1566"/>
                    </a:lnTo>
                    <a:lnTo>
                      <a:pt x="183" y="1568"/>
                    </a:lnTo>
                    <a:lnTo>
                      <a:pt x="183" y="1566"/>
                    </a:lnTo>
                    <a:lnTo>
                      <a:pt x="183" y="1568"/>
                    </a:lnTo>
                    <a:lnTo>
                      <a:pt x="181" y="1568"/>
                    </a:lnTo>
                    <a:lnTo>
                      <a:pt x="181" y="1566"/>
                    </a:lnTo>
                    <a:lnTo>
                      <a:pt x="181" y="1564"/>
                    </a:lnTo>
                    <a:lnTo>
                      <a:pt x="179" y="1564"/>
                    </a:lnTo>
                    <a:lnTo>
                      <a:pt x="181" y="1564"/>
                    </a:lnTo>
                    <a:lnTo>
                      <a:pt x="179" y="1564"/>
                    </a:lnTo>
                    <a:lnTo>
                      <a:pt x="179" y="1562"/>
                    </a:lnTo>
                    <a:lnTo>
                      <a:pt x="181" y="1562"/>
                    </a:lnTo>
                    <a:close/>
                    <a:moveTo>
                      <a:pt x="629" y="1017"/>
                    </a:moveTo>
                    <a:lnTo>
                      <a:pt x="629" y="1019"/>
                    </a:lnTo>
                    <a:lnTo>
                      <a:pt x="629" y="1020"/>
                    </a:lnTo>
                    <a:lnTo>
                      <a:pt x="629" y="1022"/>
                    </a:lnTo>
                    <a:lnTo>
                      <a:pt x="627" y="1022"/>
                    </a:lnTo>
                    <a:lnTo>
                      <a:pt x="627" y="1024"/>
                    </a:lnTo>
                    <a:lnTo>
                      <a:pt x="625" y="1022"/>
                    </a:lnTo>
                    <a:lnTo>
                      <a:pt x="627" y="1022"/>
                    </a:lnTo>
                    <a:lnTo>
                      <a:pt x="627" y="1020"/>
                    </a:lnTo>
                    <a:lnTo>
                      <a:pt x="625" y="1020"/>
                    </a:lnTo>
                    <a:lnTo>
                      <a:pt x="625" y="1019"/>
                    </a:lnTo>
                    <a:lnTo>
                      <a:pt x="627" y="1019"/>
                    </a:lnTo>
                    <a:lnTo>
                      <a:pt x="629" y="1017"/>
                    </a:lnTo>
                    <a:close/>
                    <a:moveTo>
                      <a:pt x="460" y="965"/>
                    </a:moveTo>
                    <a:lnTo>
                      <a:pt x="465" y="967"/>
                    </a:lnTo>
                    <a:lnTo>
                      <a:pt x="469" y="967"/>
                    </a:lnTo>
                    <a:lnTo>
                      <a:pt x="461" y="969"/>
                    </a:lnTo>
                    <a:lnTo>
                      <a:pt x="458" y="965"/>
                    </a:lnTo>
                    <a:lnTo>
                      <a:pt x="460" y="965"/>
                    </a:lnTo>
                    <a:close/>
                    <a:moveTo>
                      <a:pt x="206" y="1587"/>
                    </a:moveTo>
                    <a:lnTo>
                      <a:pt x="206" y="1591"/>
                    </a:lnTo>
                    <a:lnTo>
                      <a:pt x="204" y="1591"/>
                    </a:lnTo>
                    <a:lnTo>
                      <a:pt x="204" y="1593"/>
                    </a:lnTo>
                    <a:lnTo>
                      <a:pt x="204" y="1591"/>
                    </a:lnTo>
                    <a:lnTo>
                      <a:pt x="204" y="1593"/>
                    </a:lnTo>
                    <a:lnTo>
                      <a:pt x="204" y="1591"/>
                    </a:lnTo>
                    <a:lnTo>
                      <a:pt x="204" y="1589"/>
                    </a:lnTo>
                    <a:lnTo>
                      <a:pt x="204" y="1587"/>
                    </a:lnTo>
                    <a:lnTo>
                      <a:pt x="206" y="1587"/>
                    </a:lnTo>
                    <a:lnTo>
                      <a:pt x="204" y="1587"/>
                    </a:lnTo>
                    <a:lnTo>
                      <a:pt x="206" y="1587"/>
                    </a:lnTo>
                    <a:close/>
                    <a:moveTo>
                      <a:pt x="1217" y="1694"/>
                    </a:moveTo>
                    <a:lnTo>
                      <a:pt x="1219" y="1694"/>
                    </a:lnTo>
                    <a:lnTo>
                      <a:pt x="1219" y="1696"/>
                    </a:lnTo>
                    <a:lnTo>
                      <a:pt x="1217" y="1698"/>
                    </a:lnTo>
                    <a:lnTo>
                      <a:pt x="1215" y="1698"/>
                    </a:lnTo>
                    <a:lnTo>
                      <a:pt x="1217" y="1696"/>
                    </a:lnTo>
                    <a:lnTo>
                      <a:pt x="1215" y="1696"/>
                    </a:lnTo>
                    <a:lnTo>
                      <a:pt x="1215" y="1694"/>
                    </a:lnTo>
                    <a:lnTo>
                      <a:pt x="1217" y="1694"/>
                    </a:lnTo>
                    <a:close/>
                    <a:moveTo>
                      <a:pt x="1169" y="1001"/>
                    </a:moveTo>
                    <a:lnTo>
                      <a:pt x="1171" y="1001"/>
                    </a:lnTo>
                    <a:lnTo>
                      <a:pt x="1173" y="1001"/>
                    </a:lnTo>
                    <a:lnTo>
                      <a:pt x="1173" y="1003"/>
                    </a:lnTo>
                    <a:lnTo>
                      <a:pt x="1169" y="1003"/>
                    </a:lnTo>
                    <a:lnTo>
                      <a:pt x="1171" y="1005"/>
                    </a:lnTo>
                    <a:lnTo>
                      <a:pt x="1169" y="1005"/>
                    </a:lnTo>
                    <a:lnTo>
                      <a:pt x="1165" y="1003"/>
                    </a:lnTo>
                    <a:lnTo>
                      <a:pt x="1167" y="1003"/>
                    </a:lnTo>
                    <a:lnTo>
                      <a:pt x="1169" y="1001"/>
                    </a:lnTo>
                    <a:lnTo>
                      <a:pt x="1169" y="999"/>
                    </a:lnTo>
                    <a:lnTo>
                      <a:pt x="1169" y="1001"/>
                    </a:lnTo>
                    <a:close/>
                    <a:moveTo>
                      <a:pt x="812" y="772"/>
                    </a:moveTo>
                    <a:lnTo>
                      <a:pt x="814" y="772"/>
                    </a:lnTo>
                    <a:lnTo>
                      <a:pt x="812" y="776"/>
                    </a:lnTo>
                    <a:lnTo>
                      <a:pt x="809" y="774"/>
                    </a:lnTo>
                    <a:lnTo>
                      <a:pt x="809" y="772"/>
                    </a:lnTo>
                    <a:lnTo>
                      <a:pt x="812" y="772"/>
                    </a:lnTo>
                    <a:close/>
                    <a:moveTo>
                      <a:pt x="229" y="1622"/>
                    </a:moveTo>
                    <a:lnTo>
                      <a:pt x="231" y="1622"/>
                    </a:lnTo>
                    <a:lnTo>
                      <a:pt x="231" y="1623"/>
                    </a:lnTo>
                    <a:lnTo>
                      <a:pt x="229" y="1623"/>
                    </a:lnTo>
                    <a:lnTo>
                      <a:pt x="227" y="1623"/>
                    </a:lnTo>
                    <a:lnTo>
                      <a:pt x="225" y="1622"/>
                    </a:lnTo>
                    <a:lnTo>
                      <a:pt x="227" y="1622"/>
                    </a:lnTo>
                    <a:lnTo>
                      <a:pt x="227" y="1623"/>
                    </a:lnTo>
                    <a:lnTo>
                      <a:pt x="227" y="1622"/>
                    </a:lnTo>
                    <a:lnTo>
                      <a:pt x="229" y="1622"/>
                    </a:lnTo>
                    <a:close/>
                    <a:moveTo>
                      <a:pt x="200" y="1585"/>
                    </a:moveTo>
                    <a:lnTo>
                      <a:pt x="202" y="1587"/>
                    </a:lnTo>
                    <a:lnTo>
                      <a:pt x="204" y="1585"/>
                    </a:lnTo>
                    <a:lnTo>
                      <a:pt x="204" y="1587"/>
                    </a:lnTo>
                    <a:lnTo>
                      <a:pt x="202" y="1589"/>
                    </a:lnTo>
                    <a:lnTo>
                      <a:pt x="202" y="1587"/>
                    </a:lnTo>
                    <a:lnTo>
                      <a:pt x="202" y="1589"/>
                    </a:lnTo>
                    <a:lnTo>
                      <a:pt x="202" y="1587"/>
                    </a:lnTo>
                    <a:lnTo>
                      <a:pt x="202" y="1589"/>
                    </a:lnTo>
                    <a:lnTo>
                      <a:pt x="200" y="1589"/>
                    </a:lnTo>
                    <a:lnTo>
                      <a:pt x="202" y="1589"/>
                    </a:lnTo>
                    <a:lnTo>
                      <a:pt x="200" y="1587"/>
                    </a:lnTo>
                    <a:lnTo>
                      <a:pt x="200" y="1589"/>
                    </a:lnTo>
                    <a:lnTo>
                      <a:pt x="200" y="1587"/>
                    </a:lnTo>
                    <a:lnTo>
                      <a:pt x="200" y="1585"/>
                    </a:lnTo>
                    <a:close/>
                    <a:moveTo>
                      <a:pt x="1209" y="1215"/>
                    </a:moveTo>
                    <a:lnTo>
                      <a:pt x="1211" y="1217"/>
                    </a:lnTo>
                    <a:lnTo>
                      <a:pt x="1209" y="1217"/>
                    </a:lnTo>
                    <a:lnTo>
                      <a:pt x="1211" y="1217"/>
                    </a:lnTo>
                    <a:lnTo>
                      <a:pt x="1209" y="1217"/>
                    </a:lnTo>
                    <a:lnTo>
                      <a:pt x="1211" y="1217"/>
                    </a:lnTo>
                    <a:lnTo>
                      <a:pt x="1211" y="1219"/>
                    </a:lnTo>
                    <a:lnTo>
                      <a:pt x="1211" y="1221"/>
                    </a:lnTo>
                    <a:lnTo>
                      <a:pt x="1209" y="1221"/>
                    </a:lnTo>
                    <a:lnTo>
                      <a:pt x="1209" y="1217"/>
                    </a:lnTo>
                    <a:lnTo>
                      <a:pt x="1209" y="1215"/>
                    </a:lnTo>
                    <a:close/>
                    <a:moveTo>
                      <a:pt x="1178" y="1137"/>
                    </a:moveTo>
                    <a:lnTo>
                      <a:pt x="1180" y="1137"/>
                    </a:lnTo>
                    <a:lnTo>
                      <a:pt x="1182" y="1139"/>
                    </a:lnTo>
                    <a:lnTo>
                      <a:pt x="1184" y="1139"/>
                    </a:lnTo>
                    <a:lnTo>
                      <a:pt x="1184" y="1141"/>
                    </a:lnTo>
                    <a:lnTo>
                      <a:pt x="1182" y="1141"/>
                    </a:lnTo>
                    <a:lnTo>
                      <a:pt x="1180" y="1141"/>
                    </a:lnTo>
                    <a:lnTo>
                      <a:pt x="1182" y="1139"/>
                    </a:lnTo>
                    <a:lnTo>
                      <a:pt x="1180" y="1139"/>
                    </a:lnTo>
                    <a:lnTo>
                      <a:pt x="1182" y="1139"/>
                    </a:lnTo>
                    <a:lnTo>
                      <a:pt x="1180" y="1137"/>
                    </a:lnTo>
                    <a:lnTo>
                      <a:pt x="1178" y="1137"/>
                    </a:lnTo>
                    <a:close/>
                    <a:moveTo>
                      <a:pt x="978" y="860"/>
                    </a:moveTo>
                    <a:lnTo>
                      <a:pt x="980" y="862"/>
                    </a:lnTo>
                    <a:lnTo>
                      <a:pt x="980" y="864"/>
                    </a:lnTo>
                    <a:lnTo>
                      <a:pt x="978" y="866"/>
                    </a:lnTo>
                    <a:lnTo>
                      <a:pt x="976" y="862"/>
                    </a:lnTo>
                    <a:lnTo>
                      <a:pt x="978" y="860"/>
                    </a:lnTo>
                    <a:close/>
                    <a:moveTo>
                      <a:pt x="736" y="645"/>
                    </a:moveTo>
                    <a:lnTo>
                      <a:pt x="734" y="648"/>
                    </a:lnTo>
                    <a:lnTo>
                      <a:pt x="732" y="648"/>
                    </a:lnTo>
                    <a:lnTo>
                      <a:pt x="730" y="645"/>
                    </a:lnTo>
                    <a:lnTo>
                      <a:pt x="732" y="645"/>
                    </a:lnTo>
                    <a:lnTo>
                      <a:pt x="734" y="645"/>
                    </a:lnTo>
                    <a:lnTo>
                      <a:pt x="734" y="643"/>
                    </a:lnTo>
                    <a:lnTo>
                      <a:pt x="736" y="645"/>
                    </a:lnTo>
                    <a:close/>
                    <a:moveTo>
                      <a:pt x="629" y="498"/>
                    </a:moveTo>
                    <a:lnTo>
                      <a:pt x="627" y="500"/>
                    </a:lnTo>
                    <a:lnTo>
                      <a:pt x="625" y="498"/>
                    </a:lnTo>
                    <a:lnTo>
                      <a:pt x="624" y="498"/>
                    </a:lnTo>
                    <a:lnTo>
                      <a:pt x="625" y="490"/>
                    </a:lnTo>
                    <a:lnTo>
                      <a:pt x="627" y="494"/>
                    </a:lnTo>
                    <a:lnTo>
                      <a:pt x="629" y="498"/>
                    </a:lnTo>
                    <a:close/>
                    <a:moveTo>
                      <a:pt x="256" y="1637"/>
                    </a:moveTo>
                    <a:lnTo>
                      <a:pt x="257" y="1639"/>
                    </a:lnTo>
                    <a:lnTo>
                      <a:pt x="257" y="1641"/>
                    </a:lnTo>
                    <a:lnTo>
                      <a:pt x="257" y="1639"/>
                    </a:lnTo>
                    <a:lnTo>
                      <a:pt x="257" y="1641"/>
                    </a:lnTo>
                    <a:lnTo>
                      <a:pt x="256" y="1643"/>
                    </a:lnTo>
                    <a:lnTo>
                      <a:pt x="256" y="1641"/>
                    </a:lnTo>
                    <a:lnTo>
                      <a:pt x="254" y="1641"/>
                    </a:lnTo>
                    <a:lnTo>
                      <a:pt x="256" y="1639"/>
                    </a:lnTo>
                    <a:lnTo>
                      <a:pt x="256" y="1637"/>
                    </a:lnTo>
                    <a:close/>
                    <a:moveTo>
                      <a:pt x="1001" y="23"/>
                    </a:moveTo>
                    <a:lnTo>
                      <a:pt x="1001" y="24"/>
                    </a:lnTo>
                    <a:lnTo>
                      <a:pt x="997" y="32"/>
                    </a:lnTo>
                    <a:lnTo>
                      <a:pt x="995" y="23"/>
                    </a:lnTo>
                    <a:lnTo>
                      <a:pt x="999" y="21"/>
                    </a:lnTo>
                    <a:lnTo>
                      <a:pt x="1001" y="23"/>
                    </a:lnTo>
                    <a:close/>
                    <a:moveTo>
                      <a:pt x="158" y="1589"/>
                    </a:moveTo>
                    <a:lnTo>
                      <a:pt x="160" y="1589"/>
                    </a:lnTo>
                    <a:lnTo>
                      <a:pt x="158" y="1589"/>
                    </a:lnTo>
                    <a:lnTo>
                      <a:pt x="160" y="1589"/>
                    </a:lnTo>
                    <a:lnTo>
                      <a:pt x="160" y="1591"/>
                    </a:lnTo>
                    <a:lnTo>
                      <a:pt x="160" y="1589"/>
                    </a:lnTo>
                    <a:lnTo>
                      <a:pt x="162" y="1589"/>
                    </a:lnTo>
                    <a:lnTo>
                      <a:pt x="160" y="1591"/>
                    </a:lnTo>
                    <a:lnTo>
                      <a:pt x="158" y="1591"/>
                    </a:lnTo>
                    <a:lnTo>
                      <a:pt x="160" y="1591"/>
                    </a:lnTo>
                    <a:lnTo>
                      <a:pt x="160" y="1593"/>
                    </a:lnTo>
                    <a:lnTo>
                      <a:pt x="160" y="1591"/>
                    </a:lnTo>
                    <a:lnTo>
                      <a:pt x="160" y="1593"/>
                    </a:lnTo>
                    <a:lnTo>
                      <a:pt x="160" y="1595"/>
                    </a:lnTo>
                    <a:lnTo>
                      <a:pt x="158" y="1593"/>
                    </a:lnTo>
                    <a:lnTo>
                      <a:pt x="158" y="1591"/>
                    </a:lnTo>
                    <a:lnTo>
                      <a:pt x="158" y="1589"/>
                    </a:lnTo>
                    <a:close/>
                    <a:moveTo>
                      <a:pt x="784" y="183"/>
                    </a:moveTo>
                    <a:lnTo>
                      <a:pt x="788" y="185"/>
                    </a:lnTo>
                    <a:lnTo>
                      <a:pt x="786" y="190"/>
                    </a:lnTo>
                    <a:lnTo>
                      <a:pt x="784" y="189"/>
                    </a:lnTo>
                    <a:lnTo>
                      <a:pt x="782" y="185"/>
                    </a:lnTo>
                    <a:lnTo>
                      <a:pt x="784" y="183"/>
                    </a:lnTo>
                    <a:close/>
                    <a:moveTo>
                      <a:pt x="210" y="1587"/>
                    </a:moveTo>
                    <a:lnTo>
                      <a:pt x="210" y="1589"/>
                    </a:lnTo>
                    <a:lnTo>
                      <a:pt x="208" y="1591"/>
                    </a:lnTo>
                    <a:lnTo>
                      <a:pt x="206" y="1589"/>
                    </a:lnTo>
                    <a:lnTo>
                      <a:pt x="208" y="1589"/>
                    </a:lnTo>
                    <a:lnTo>
                      <a:pt x="208" y="1587"/>
                    </a:lnTo>
                    <a:lnTo>
                      <a:pt x="210" y="1589"/>
                    </a:lnTo>
                    <a:lnTo>
                      <a:pt x="210" y="1587"/>
                    </a:lnTo>
                    <a:close/>
                    <a:moveTo>
                      <a:pt x="1182" y="1765"/>
                    </a:moveTo>
                    <a:lnTo>
                      <a:pt x="1182" y="1767"/>
                    </a:lnTo>
                    <a:lnTo>
                      <a:pt x="1182" y="1768"/>
                    </a:lnTo>
                    <a:lnTo>
                      <a:pt x="1180" y="1768"/>
                    </a:lnTo>
                    <a:lnTo>
                      <a:pt x="1180" y="1770"/>
                    </a:lnTo>
                    <a:lnTo>
                      <a:pt x="1180" y="1767"/>
                    </a:lnTo>
                    <a:lnTo>
                      <a:pt x="1182" y="1765"/>
                    </a:lnTo>
                    <a:close/>
                    <a:moveTo>
                      <a:pt x="528" y="1093"/>
                    </a:moveTo>
                    <a:lnTo>
                      <a:pt x="528" y="1095"/>
                    </a:lnTo>
                    <a:lnTo>
                      <a:pt x="528" y="1097"/>
                    </a:lnTo>
                    <a:lnTo>
                      <a:pt x="526" y="1097"/>
                    </a:lnTo>
                    <a:lnTo>
                      <a:pt x="528" y="1099"/>
                    </a:lnTo>
                    <a:lnTo>
                      <a:pt x="526" y="1101"/>
                    </a:lnTo>
                    <a:lnTo>
                      <a:pt x="526" y="1097"/>
                    </a:lnTo>
                    <a:lnTo>
                      <a:pt x="524" y="1095"/>
                    </a:lnTo>
                    <a:lnTo>
                      <a:pt x="526" y="1095"/>
                    </a:lnTo>
                    <a:lnTo>
                      <a:pt x="526" y="1093"/>
                    </a:lnTo>
                    <a:lnTo>
                      <a:pt x="528" y="1093"/>
                    </a:lnTo>
                    <a:close/>
                    <a:moveTo>
                      <a:pt x="763" y="1301"/>
                    </a:moveTo>
                    <a:lnTo>
                      <a:pt x="765" y="1301"/>
                    </a:lnTo>
                    <a:lnTo>
                      <a:pt x="763" y="1301"/>
                    </a:lnTo>
                    <a:lnTo>
                      <a:pt x="765" y="1303"/>
                    </a:lnTo>
                    <a:lnTo>
                      <a:pt x="763" y="1303"/>
                    </a:lnTo>
                    <a:lnTo>
                      <a:pt x="761" y="1303"/>
                    </a:lnTo>
                    <a:lnTo>
                      <a:pt x="761" y="1301"/>
                    </a:lnTo>
                    <a:lnTo>
                      <a:pt x="763" y="1301"/>
                    </a:lnTo>
                    <a:close/>
                    <a:moveTo>
                      <a:pt x="521" y="1089"/>
                    </a:moveTo>
                    <a:lnTo>
                      <a:pt x="523" y="1089"/>
                    </a:lnTo>
                    <a:lnTo>
                      <a:pt x="521" y="1091"/>
                    </a:lnTo>
                    <a:lnTo>
                      <a:pt x="523" y="1093"/>
                    </a:lnTo>
                    <a:lnTo>
                      <a:pt x="521" y="1093"/>
                    </a:lnTo>
                    <a:lnTo>
                      <a:pt x="519" y="1091"/>
                    </a:lnTo>
                    <a:lnTo>
                      <a:pt x="519" y="1089"/>
                    </a:lnTo>
                    <a:lnTo>
                      <a:pt x="521" y="1089"/>
                    </a:lnTo>
                    <a:lnTo>
                      <a:pt x="521" y="1091"/>
                    </a:lnTo>
                    <a:lnTo>
                      <a:pt x="521" y="1089"/>
                    </a:lnTo>
                    <a:close/>
                    <a:moveTo>
                      <a:pt x="296" y="656"/>
                    </a:moveTo>
                    <a:lnTo>
                      <a:pt x="297" y="658"/>
                    </a:lnTo>
                    <a:lnTo>
                      <a:pt x="297" y="662"/>
                    </a:lnTo>
                    <a:lnTo>
                      <a:pt x="296" y="660"/>
                    </a:lnTo>
                    <a:lnTo>
                      <a:pt x="296" y="658"/>
                    </a:lnTo>
                    <a:lnTo>
                      <a:pt x="292" y="658"/>
                    </a:lnTo>
                    <a:lnTo>
                      <a:pt x="294" y="658"/>
                    </a:lnTo>
                    <a:lnTo>
                      <a:pt x="296" y="656"/>
                    </a:lnTo>
                    <a:close/>
                    <a:moveTo>
                      <a:pt x="208" y="1585"/>
                    </a:moveTo>
                    <a:lnTo>
                      <a:pt x="210" y="1585"/>
                    </a:lnTo>
                    <a:lnTo>
                      <a:pt x="210" y="1587"/>
                    </a:lnTo>
                    <a:lnTo>
                      <a:pt x="208" y="1587"/>
                    </a:lnTo>
                    <a:lnTo>
                      <a:pt x="206" y="1587"/>
                    </a:lnTo>
                    <a:lnTo>
                      <a:pt x="208" y="1587"/>
                    </a:lnTo>
                    <a:lnTo>
                      <a:pt x="208" y="1585"/>
                    </a:lnTo>
                    <a:close/>
                    <a:moveTo>
                      <a:pt x="1383" y="1700"/>
                    </a:moveTo>
                    <a:lnTo>
                      <a:pt x="1383" y="1702"/>
                    </a:lnTo>
                    <a:lnTo>
                      <a:pt x="1383" y="1704"/>
                    </a:lnTo>
                    <a:lnTo>
                      <a:pt x="1381" y="1704"/>
                    </a:lnTo>
                    <a:lnTo>
                      <a:pt x="1381" y="1705"/>
                    </a:lnTo>
                    <a:lnTo>
                      <a:pt x="1379" y="1705"/>
                    </a:lnTo>
                    <a:lnTo>
                      <a:pt x="1381" y="1704"/>
                    </a:lnTo>
                    <a:lnTo>
                      <a:pt x="1383" y="1702"/>
                    </a:lnTo>
                    <a:lnTo>
                      <a:pt x="1383" y="1700"/>
                    </a:lnTo>
                    <a:close/>
                    <a:moveTo>
                      <a:pt x="1032" y="1778"/>
                    </a:moveTo>
                    <a:lnTo>
                      <a:pt x="1028" y="1778"/>
                    </a:lnTo>
                    <a:lnTo>
                      <a:pt x="1030" y="1780"/>
                    </a:lnTo>
                    <a:lnTo>
                      <a:pt x="1028" y="1780"/>
                    </a:lnTo>
                    <a:lnTo>
                      <a:pt x="1030" y="1780"/>
                    </a:lnTo>
                    <a:lnTo>
                      <a:pt x="1028" y="1782"/>
                    </a:lnTo>
                    <a:lnTo>
                      <a:pt x="1028" y="1780"/>
                    </a:lnTo>
                    <a:lnTo>
                      <a:pt x="1028" y="1782"/>
                    </a:lnTo>
                    <a:lnTo>
                      <a:pt x="1028" y="1780"/>
                    </a:lnTo>
                    <a:lnTo>
                      <a:pt x="1026" y="1780"/>
                    </a:lnTo>
                    <a:lnTo>
                      <a:pt x="1028" y="1780"/>
                    </a:lnTo>
                    <a:lnTo>
                      <a:pt x="1026" y="1780"/>
                    </a:lnTo>
                    <a:lnTo>
                      <a:pt x="1028" y="1778"/>
                    </a:lnTo>
                    <a:lnTo>
                      <a:pt x="1030" y="1778"/>
                    </a:lnTo>
                    <a:lnTo>
                      <a:pt x="1032" y="1778"/>
                    </a:lnTo>
                    <a:close/>
                    <a:moveTo>
                      <a:pt x="971" y="1368"/>
                    </a:moveTo>
                    <a:lnTo>
                      <a:pt x="973" y="1368"/>
                    </a:lnTo>
                    <a:lnTo>
                      <a:pt x="973" y="1370"/>
                    </a:lnTo>
                    <a:lnTo>
                      <a:pt x="969" y="1372"/>
                    </a:lnTo>
                    <a:lnTo>
                      <a:pt x="969" y="1370"/>
                    </a:lnTo>
                    <a:lnTo>
                      <a:pt x="971" y="1370"/>
                    </a:lnTo>
                    <a:lnTo>
                      <a:pt x="969" y="1370"/>
                    </a:lnTo>
                    <a:lnTo>
                      <a:pt x="969" y="1372"/>
                    </a:lnTo>
                    <a:lnTo>
                      <a:pt x="969" y="1370"/>
                    </a:lnTo>
                    <a:lnTo>
                      <a:pt x="971" y="1368"/>
                    </a:lnTo>
                    <a:close/>
                    <a:moveTo>
                      <a:pt x="206" y="956"/>
                    </a:moveTo>
                    <a:lnTo>
                      <a:pt x="204" y="956"/>
                    </a:lnTo>
                    <a:lnTo>
                      <a:pt x="202" y="958"/>
                    </a:lnTo>
                    <a:lnTo>
                      <a:pt x="204" y="952"/>
                    </a:lnTo>
                    <a:lnTo>
                      <a:pt x="206" y="954"/>
                    </a:lnTo>
                    <a:lnTo>
                      <a:pt x="206" y="956"/>
                    </a:lnTo>
                    <a:close/>
                    <a:moveTo>
                      <a:pt x="698" y="582"/>
                    </a:moveTo>
                    <a:lnTo>
                      <a:pt x="700" y="584"/>
                    </a:lnTo>
                    <a:lnTo>
                      <a:pt x="698" y="584"/>
                    </a:lnTo>
                    <a:lnTo>
                      <a:pt x="696" y="585"/>
                    </a:lnTo>
                    <a:lnTo>
                      <a:pt x="694" y="585"/>
                    </a:lnTo>
                    <a:lnTo>
                      <a:pt x="694" y="584"/>
                    </a:lnTo>
                    <a:lnTo>
                      <a:pt x="694" y="582"/>
                    </a:lnTo>
                    <a:lnTo>
                      <a:pt x="698" y="582"/>
                    </a:lnTo>
                    <a:close/>
                    <a:moveTo>
                      <a:pt x="1079" y="900"/>
                    </a:moveTo>
                    <a:lnTo>
                      <a:pt x="1081" y="900"/>
                    </a:lnTo>
                    <a:lnTo>
                      <a:pt x="1079" y="902"/>
                    </a:lnTo>
                    <a:lnTo>
                      <a:pt x="1077" y="906"/>
                    </a:lnTo>
                    <a:lnTo>
                      <a:pt x="1077" y="908"/>
                    </a:lnTo>
                    <a:lnTo>
                      <a:pt x="1076" y="906"/>
                    </a:lnTo>
                    <a:lnTo>
                      <a:pt x="1076" y="904"/>
                    </a:lnTo>
                    <a:lnTo>
                      <a:pt x="1077" y="900"/>
                    </a:lnTo>
                    <a:lnTo>
                      <a:pt x="1079" y="900"/>
                    </a:lnTo>
                    <a:close/>
                    <a:moveTo>
                      <a:pt x="524" y="1072"/>
                    </a:moveTo>
                    <a:lnTo>
                      <a:pt x="526" y="1072"/>
                    </a:lnTo>
                    <a:lnTo>
                      <a:pt x="524" y="1076"/>
                    </a:lnTo>
                    <a:lnTo>
                      <a:pt x="523" y="1074"/>
                    </a:lnTo>
                    <a:lnTo>
                      <a:pt x="524" y="1072"/>
                    </a:lnTo>
                    <a:close/>
                    <a:moveTo>
                      <a:pt x="877" y="868"/>
                    </a:moveTo>
                    <a:lnTo>
                      <a:pt x="877" y="870"/>
                    </a:lnTo>
                    <a:lnTo>
                      <a:pt x="879" y="870"/>
                    </a:lnTo>
                    <a:lnTo>
                      <a:pt x="877" y="874"/>
                    </a:lnTo>
                    <a:lnTo>
                      <a:pt x="873" y="870"/>
                    </a:lnTo>
                    <a:lnTo>
                      <a:pt x="877" y="868"/>
                    </a:lnTo>
                    <a:close/>
                    <a:moveTo>
                      <a:pt x="1354" y="1553"/>
                    </a:moveTo>
                    <a:lnTo>
                      <a:pt x="1356" y="1553"/>
                    </a:lnTo>
                    <a:lnTo>
                      <a:pt x="1358" y="1555"/>
                    </a:lnTo>
                    <a:lnTo>
                      <a:pt x="1356" y="1555"/>
                    </a:lnTo>
                    <a:lnTo>
                      <a:pt x="1356" y="1557"/>
                    </a:lnTo>
                    <a:lnTo>
                      <a:pt x="1354" y="1555"/>
                    </a:lnTo>
                    <a:lnTo>
                      <a:pt x="1354" y="1553"/>
                    </a:lnTo>
                    <a:close/>
                    <a:moveTo>
                      <a:pt x="1211" y="1278"/>
                    </a:moveTo>
                    <a:lnTo>
                      <a:pt x="1213" y="1278"/>
                    </a:lnTo>
                    <a:lnTo>
                      <a:pt x="1211" y="1280"/>
                    </a:lnTo>
                    <a:lnTo>
                      <a:pt x="1207" y="1280"/>
                    </a:lnTo>
                    <a:lnTo>
                      <a:pt x="1209" y="1278"/>
                    </a:lnTo>
                    <a:lnTo>
                      <a:pt x="1211" y="1278"/>
                    </a:lnTo>
                    <a:close/>
                    <a:moveTo>
                      <a:pt x="250" y="1631"/>
                    </a:moveTo>
                    <a:lnTo>
                      <a:pt x="250" y="1633"/>
                    </a:lnTo>
                    <a:lnTo>
                      <a:pt x="248" y="1635"/>
                    </a:lnTo>
                    <a:lnTo>
                      <a:pt x="246" y="1633"/>
                    </a:lnTo>
                    <a:lnTo>
                      <a:pt x="248" y="1633"/>
                    </a:lnTo>
                    <a:lnTo>
                      <a:pt x="250" y="1631"/>
                    </a:lnTo>
                    <a:close/>
                    <a:moveTo>
                      <a:pt x="168" y="1517"/>
                    </a:moveTo>
                    <a:lnTo>
                      <a:pt x="170" y="1518"/>
                    </a:lnTo>
                    <a:lnTo>
                      <a:pt x="168" y="1520"/>
                    </a:lnTo>
                    <a:lnTo>
                      <a:pt x="166" y="1518"/>
                    </a:lnTo>
                    <a:lnTo>
                      <a:pt x="168" y="1518"/>
                    </a:lnTo>
                    <a:lnTo>
                      <a:pt x="166" y="1518"/>
                    </a:lnTo>
                    <a:lnTo>
                      <a:pt x="168" y="1517"/>
                    </a:lnTo>
                    <a:close/>
                    <a:moveTo>
                      <a:pt x="471" y="1057"/>
                    </a:moveTo>
                    <a:lnTo>
                      <a:pt x="471" y="1059"/>
                    </a:lnTo>
                    <a:lnTo>
                      <a:pt x="469" y="1059"/>
                    </a:lnTo>
                    <a:lnTo>
                      <a:pt x="469" y="1061"/>
                    </a:lnTo>
                    <a:lnTo>
                      <a:pt x="467" y="1062"/>
                    </a:lnTo>
                    <a:lnTo>
                      <a:pt x="467" y="1061"/>
                    </a:lnTo>
                    <a:lnTo>
                      <a:pt x="465" y="1059"/>
                    </a:lnTo>
                    <a:lnTo>
                      <a:pt x="467" y="1059"/>
                    </a:lnTo>
                    <a:lnTo>
                      <a:pt x="471" y="1057"/>
                    </a:lnTo>
                    <a:close/>
                    <a:moveTo>
                      <a:pt x="164" y="1534"/>
                    </a:moveTo>
                    <a:lnTo>
                      <a:pt x="166" y="1536"/>
                    </a:lnTo>
                    <a:lnTo>
                      <a:pt x="168" y="1538"/>
                    </a:lnTo>
                    <a:lnTo>
                      <a:pt x="166" y="1538"/>
                    </a:lnTo>
                    <a:lnTo>
                      <a:pt x="166" y="1536"/>
                    </a:lnTo>
                    <a:lnTo>
                      <a:pt x="166" y="1538"/>
                    </a:lnTo>
                    <a:lnTo>
                      <a:pt x="166" y="1536"/>
                    </a:lnTo>
                    <a:lnTo>
                      <a:pt x="164" y="1536"/>
                    </a:lnTo>
                    <a:lnTo>
                      <a:pt x="162" y="1536"/>
                    </a:lnTo>
                    <a:lnTo>
                      <a:pt x="164" y="1534"/>
                    </a:lnTo>
                    <a:close/>
                    <a:moveTo>
                      <a:pt x="1274" y="1747"/>
                    </a:moveTo>
                    <a:lnTo>
                      <a:pt x="1276" y="1747"/>
                    </a:lnTo>
                    <a:lnTo>
                      <a:pt x="1274" y="1749"/>
                    </a:lnTo>
                    <a:lnTo>
                      <a:pt x="1272" y="1749"/>
                    </a:lnTo>
                    <a:lnTo>
                      <a:pt x="1274" y="1749"/>
                    </a:lnTo>
                    <a:lnTo>
                      <a:pt x="1272" y="1749"/>
                    </a:lnTo>
                    <a:lnTo>
                      <a:pt x="1272" y="1747"/>
                    </a:lnTo>
                    <a:lnTo>
                      <a:pt x="1272" y="1749"/>
                    </a:lnTo>
                    <a:lnTo>
                      <a:pt x="1272" y="1747"/>
                    </a:lnTo>
                    <a:lnTo>
                      <a:pt x="1274" y="1747"/>
                    </a:lnTo>
                    <a:close/>
                    <a:moveTo>
                      <a:pt x="271" y="1648"/>
                    </a:moveTo>
                    <a:lnTo>
                      <a:pt x="271" y="1650"/>
                    </a:lnTo>
                    <a:lnTo>
                      <a:pt x="271" y="1652"/>
                    </a:lnTo>
                    <a:lnTo>
                      <a:pt x="269" y="1652"/>
                    </a:lnTo>
                    <a:lnTo>
                      <a:pt x="269" y="1650"/>
                    </a:lnTo>
                    <a:lnTo>
                      <a:pt x="269" y="1648"/>
                    </a:lnTo>
                    <a:lnTo>
                      <a:pt x="271" y="1650"/>
                    </a:lnTo>
                    <a:lnTo>
                      <a:pt x="271" y="1648"/>
                    </a:lnTo>
                    <a:close/>
                    <a:moveTo>
                      <a:pt x="379" y="954"/>
                    </a:moveTo>
                    <a:lnTo>
                      <a:pt x="381" y="956"/>
                    </a:lnTo>
                    <a:lnTo>
                      <a:pt x="383" y="956"/>
                    </a:lnTo>
                    <a:lnTo>
                      <a:pt x="385" y="956"/>
                    </a:lnTo>
                    <a:lnTo>
                      <a:pt x="381" y="958"/>
                    </a:lnTo>
                    <a:lnTo>
                      <a:pt x="381" y="956"/>
                    </a:lnTo>
                    <a:lnTo>
                      <a:pt x="379" y="958"/>
                    </a:lnTo>
                    <a:lnTo>
                      <a:pt x="379" y="956"/>
                    </a:lnTo>
                    <a:lnTo>
                      <a:pt x="379" y="958"/>
                    </a:lnTo>
                    <a:lnTo>
                      <a:pt x="379" y="956"/>
                    </a:lnTo>
                    <a:lnTo>
                      <a:pt x="378" y="956"/>
                    </a:lnTo>
                    <a:lnTo>
                      <a:pt x="379" y="954"/>
                    </a:lnTo>
                    <a:close/>
                    <a:moveTo>
                      <a:pt x="503" y="1066"/>
                    </a:moveTo>
                    <a:lnTo>
                      <a:pt x="505" y="1068"/>
                    </a:lnTo>
                    <a:lnTo>
                      <a:pt x="505" y="1070"/>
                    </a:lnTo>
                    <a:lnTo>
                      <a:pt x="505" y="1068"/>
                    </a:lnTo>
                    <a:lnTo>
                      <a:pt x="505" y="1070"/>
                    </a:lnTo>
                    <a:lnTo>
                      <a:pt x="505" y="1072"/>
                    </a:lnTo>
                    <a:lnTo>
                      <a:pt x="502" y="1070"/>
                    </a:lnTo>
                    <a:lnTo>
                      <a:pt x="502" y="1068"/>
                    </a:lnTo>
                    <a:lnTo>
                      <a:pt x="503" y="1068"/>
                    </a:lnTo>
                    <a:lnTo>
                      <a:pt x="502" y="1066"/>
                    </a:lnTo>
                    <a:lnTo>
                      <a:pt x="503" y="1066"/>
                    </a:lnTo>
                    <a:close/>
                    <a:moveTo>
                      <a:pt x="259" y="1635"/>
                    </a:moveTo>
                    <a:lnTo>
                      <a:pt x="261" y="1635"/>
                    </a:lnTo>
                    <a:lnTo>
                      <a:pt x="261" y="1639"/>
                    </a:lnTo>
                    <a:lnTo>
                      <a:pt x="259" y="1639"/>
                    </a:lnTo>
                    <a:lnTo>
                      <a:pt x="259" y="1635"/>
                    </a:lnTo>
                    <a:close/>
                    <a:moveTo>
                      <a:pt x="204" y="1580"/>
                    </a:moveTo>
                    <a:lnTo>
                      <a:pt x="204" y="1581"/>
                    </a:lnTo>
                    <a:lnTo>
                      <a:pt x="202" y="1581"/>
                    </a:lnTo>
                    <a:lnTo>
                      <a:pt x="202" y="1583"/>
                    </a:lnTo>
                    <a:lnTo>
                      <a:pt x="200" y="1583"/>
                    </a:lnTo>
                    <a:lnTo>
                      <a:pt x="200" y="1581"/>
                    </a:lnTo>
                    <a:lnTo>
                      <a:pt x="202" y="1581"/>
                    </a:lnTo>
                    <a:lnTo>
                      <a:pt x="204" y="1580"/>
                    </a:lnTo>
                    <a:close/>
                    <a:moveTo>
                      <a:pt x="204" y="1581"/>
                    </a:moveTo>
                    <a:lnTo>
                      <a:pt x="208" y="1581"/>
                    </a:lnTo>
                    <a:lnTo>
                      <a:pt x="208" y="1585"/>
                    </a:lnTo>
                    <a:lnTo>
                      <a:pt x="204" y="1585"/>
                    </a:lnTo>
                    <a:lnTo>
                      <a:pt x="204" y="1581"/>
                    </a:lnTo>
                    <a:close/>
                    <a:moveTo>
                      <a:pt x="200" y="1570"/>
                    </a:moveTo>
                    <a:lnTo>
                      <a:pt x="200" y="1572"/>
                    </a:lnTo>
                    <a:lnTo>
                      <a:pt x="200" y="1574"/>
                    </a:lnTo>
                    <a:lnTo>
                      <a:pt x="200" y="1576"/>
                    </a:lnTo>
                    <a:lnTo>
                      <a:pt x="198" y="1574"/>
                    </a:lnTo>
                    <a:lnTo>
                      <a:pt x="200" y="1570"/>
                    </a:lnTo>
                    <a:close/>
                    <a:moveTo>
                      <a:pt x="974" y="1456"/>
                    </a:moveTo>
                    <a:lnTo>
                      <a:pt x="974" y="1457"/>
                    </a:lnTo>
                    <a:lnTo>
                      <a:pt x="974" y="1459"/>
                    </a:lnTo>
                    <a:lnTo>
                      <a:pt x="974" y="1461"/>
                    </a:lnTo>
                    <a:lnTo>
                      <a:pt x="974" y="1459"/>
                    </a:lnTo>
                    <a:lnTo>
                      <a:pt x="974" y="1457"/>
                    </a:lnTo>
                    <a:lnTo>
                      <a:pt x="974" y="1459"/>
                    </a:lnTo>
                    <a:lnTo>
                      <a:pt x="973" y="1459"/>
                    </a:lnTo>
                    <a:lnTo>
                      <a:pt x="973" y="1457"/>
                    </a:lnTo>
                    <a:lnTo>
                      <a:pt x="974" y="1457"/>
                    </a:lnTo>
                    <a:lnTo>
                      <a:pt x="974" y="1456"/>
                    </a:lnTo>
                    <a:close/>
                    <a:moveTo>
                      <a:pt x="908" y="624"/>
                    </a:moveTo>
                    <a:lnTo>
                      <a:pt x="906" y="622"/>
                    </a:lnTo>
                    <a:lnTo>
                      <a:pt x="906" y="620"/>
                    </a:lnTo>
                    <a:lnTo>
                      <a:pt x="904" y="618"/>
                    </a:lnTo>
                    <a:lnTo>
                      <a:pt x="908" y="618"/>
                    </a:lnTo>
                    <a:lnTo>
                      <a:pt x="910" y="620"/>
                    </a:lnTo>
                    <a:lnTo>
                      <a:pt x="908" y="624"/>
                    </a:lnTo>
                    <a:close/>
                    <a:moveTo>
                      <a:pt x="269" y="797"/>
                    </a:moveTo>
                    <a:lnTo>
                      <a:pt x="271" y="799"/>
                    </a:lnTo>
                    <a:lnTo>
                      <a:pt x="267" y="801"/>
                    </a:lnTo>
                    <a:lnTo>
                      <a:pt x="267" y="795"/>
                    </a:lnTo>
                    <a:lnTo>
                      <a:pt x="267" y="797"/>
                    </a:lnTo>
                    <a:lnTo>
                      <a:pt x="269" y="797"/>
                    </a:lnTo>
                    <a:close/>
                    <a:moveTo>
                      <a:pt x="435" y="572"/>
                    </a:moveTo>
                    <a:lnTo>
                      <a:pt x="437" y="574"/>
                    </a:lnTo>
                    <a:lnTo>
                      <a:pt x="435" y="576"/>
                    </a:lnTo>
                    <a:lnTo>
                      <a:pt x="433" y="576"/>
                    </a:lnTo>
                    <a:lnTo>
                      <a:pt x="431" y="574"/>
                    </a:lnTo>
                    <a:lnTo>
                      <a:pt x="435" y="572"/>
                    </a:lnTo>
                    <a:close/>
                    <a:moveTo>
                      <a:pt x="917" y="1158"/>
                    </a:moveTo>
                    <a:lnTo>
                      <a:pt x="919" y="1158"/>
                    </a:lnTo>
                    <a:lnTo>
                      <a:pt x="919" y="1160"/>
                    </a:lnTo>
                    <a:lnTo>
                      <a:pt x="917" y="1160"/>
                    </a:lnTo>
                    <a:lnTo>
                      <a:pt x="915" y="1160"/>
                    </a:lnTo>
                    <a:lnTo>
                      <a:pt x="915" y="1158"/>
                    </a:lnTo>
                    <a:lnTo>
                      <a:pt x="917" y="1158"/>
                    </a:lnTo>
                    <a:close/>
                    <a:moveTo>
                      <a:pt x="709" y="666"/>
                    </a:moveTo>
                    <a:lnTo>
                      <a:pt x="707" y="667"/>
                    </a:lnTo>
                    <a:lnTo>
                      <a:pt x="707" y="669"/>
                    </a:lnTo>
                    <a:lnTo>
                      <a:pt x="706" y="669"/>
                    </a:lnTo>
                    <a:lnTo>
                      <a:pt x="707" y="666"/>
                    </a:lnTo>
                    <a:lnTo>
                      <a:pt x="709" y="664"/>
                    </a:lnTo>
                    <a:lnTo>
                      <a:pt x="709" y="666"/>
                    </a:lnTo>
                    <a:close/>
                    <a:moveTo>
                      <a:pt x="1056" y="872"/>
                    </a:moveTo>
                    <a:lnTo>
                      <a:pt x="1055" y="875"/>
                    </a:lnTo>
                    <a:lnTo>
                      <a:pt x="1051" y="875"/>
                    </a:lnTo>
                    <a:lnTo>
                      <a:pt x="1053" y="874"/>
                    </a:lnTo>
                    <a:lnTo>
                      <a:pt x="1056" y="872"/>
                    </a:lnTo>
                    <a:close/>
                    <a:moveTo>
                      <a:pt x="1362" y="1623"/>
                    </a:moveTo>
                    <a:lnTo>
                      <a:pt x="1360" y="1625"/>
                    </a:lnTo>
                    <a:lnTo>
                      <a:pt x="1362" y="1625"/>
                    </a:lnTo>
                    <a:lnTo>
                      <a:pt x="1360" y="1625"/>
                    </a:lnTo>
                    <a:lnTo>
                      <a:pt x="1358" y="1625"/>
                    </a:lnTo>
                    <a:lnTo>
                      <a:pt x="1360" y="1623"/>
                    </a:lnTo>
                    <a:lnTo>
                      <a:pt x="1358" y="1623"/>
                    </a:lnTo>
                    <a:lnTo>
                      <a:pt x="1360" y="1623"/>
                    </a:lnTo>
                    <a:lnTo>
                      <a:pt x="1362" y="1623"/>
                    </a:lnTo>
                    <a:close/>
                    <a:moveTo>
                      <a:pt x="1354" y="1698"/>
                    </a:moveTo>
                    <a:lnTo>
                      <a:pt x="1354" y="1700"/>
                    </a:lnTo>
                    <a:lnTo>
                      <a:pt x="1354" y="1702"/>
                    </a:lnTo>
                    <a:lnTo>
                      <a:pt x="1354" y="1700"/>
                    </a:lnTo>
                    <a:lnTo>
                      <a:pt x="1354" y="1702"/>
                    </a:lnTo>
                    <a:lnTo>
                      <a:pt x="1352" y="1702"/>
                    </a:lnTo>
                    <a:lnTo>
                      <a:pt x="1352" y="1700"/>
                    </a:lnTo>
                    <a:lnTo>
                      <a:pt x="1354" y="1700"/>
                    </a:lnTo>
                    <a:lnTo>
                      <a:pt x="1354" y="1698"/>
                    </a:lnTo>
                    <a:close/>
                    <a:moveTo>
                      <a:pt x="84" y="1030"/>
                    </a:moveTo>
                    <a:lnTo>
                      <a:pt x="86" y="1032"/>
                    </a:lnTo>
                    <a:lnTo>
                      <a:pt x="82" y="1030"/>
                    </a:lnTo>
                    <a:lnTo>
                      <a:pt x="84" y="1030"/>
                    </a:lnTo>
                    <a:lnTo>
                      <a:pt x="86" y="1032"/>
                    </a:lnTo>
                    <a:lnTo>
                      <a:pt x="84" y="1030"/>
                    </a:lnTo>
                    <a:lnTo>
                      <a:pt x="82" y="1030"/>
                    </a:lnTo>
                    <a:lnTo>
                      <a:pt x="80" y="1028"/>
                    </a:lnTo>
                    <a:lnTo>
                      <a:pt x="82" y="1028"/>
                    </a:lnTo>
                    <a:lnTo>
                      <a:pt x="84" y="1030"/>
                    </a:lnTo>
                    <a:close/>
                    <a:moveTo>
                      <a:pt x="1220" y="1234"/>
                    </a:moveTo>
                    <a:lnTo>
                      <a:pt x="1222" y="1234"/>
                    </a:lnTo>
                    <a:lnTo>
                      <a:pt x="1222" y="1232"/>
                    </a:lnTo>
                    <a:lnTo>
                      <a:pt x="1222" y="1234"/>
                    </a:lnTo>
                    <a:lnTo>
                      <a:pt x="1222" y="1232"/>
                    </a:lnTo>
                    <a:lnTo>
                      <a:pt x="1222" y="1234"/>
                    </a:lnTo>
                    <a:lnTo>
                      <a:pt x="1222" y="1236"/>
                    </a:lnTo>
                    <a:lnTo>
                      <a:pt x="1220" y="1236"/>
                    </a:lnTo>
                    <a:lnTo>
                      <a:pt x="1220" y="1234"/>
                    </a:lnTo>
                    <a:lnTo>
                      <a:pt x="1220" y="1232"/>
                    </a:lnTo>
                    <a:lnTo>
                      <a:pt x="1220" y="1234"/>
                    </a:lnTo>
                    <a:close/>
                    <a:moveTo>
                      <a:pt x="971" y="1459"/>
                    </a:moveTo>
                    <a:lnTo>
                      <a:pt x="974" y="1459"/>
                    </a:lnTo>
                    <a:lnTo>
                      <a:pt x="974" y="1463"/>
                    </a:lnTo>
                    <a:lnTo>
                      <a:pt x="971" y="1463"/>
                    </a:lnTo>
                    <a:lnTo>
                      <a:pt x="971" y="1459"/>
                    </a:lnTo>
                    <a:close/>
                    <a:moveTo>
                      <a:pt x="788" y="990"/>
                    </a:moveTo>
                    <a:lnTo>
                      <a:pt x="789" y="992"/>
                    </a:lnTo>
                    <a:lnTo>
                      <a:pt x="786" y="994"/>
                    </a:lnTo>
                    <a:lnTo>
                      <a:pt x="784" y="992"/>
                    </a:lnTo>
                    <a:lnTo>
                      <a:pt x="788" y="990"/>
                    </a:lnTo>
                    <a:lnTo>
                      <a:pt x="788" y="992"/>
                    </a:lnTo>
                    <a:lnTo>
                      <a:pt x="788" y="990"/>
                    </a:lnTo>
                    <a:close/>
                    <a:moveTo>
                      <a:pt x="1184" y="185"/>
                    </a:moveTo>
                    <a:lnTo>
                      <a:pt x="1190" y="185"/>
                    </a:lnTo>
                    <a:lnTo>
                      <a:pt x="1186" y="189"/>
                    </a:lnTo>
                    <a:lnTo>
                      <a:pt x="1180" y="187"/>
                    </a:lnTo>
                    <a:lnTo>
                      <a:pt x="1184" y="185"/>
                    </a:lnTo>
                    <a:close/>
                    <a:moveTo>
                      <a:pt x="719" y="824"/>
                    </a:moveTo>
                    <a:lnTo>
                      <a:pt x="723" y="824"/>
                    </a:lnTo>
                    <a:lnTo>
                      <a:pt x="723" y="828"/>
                    </a:lnTo>
                    <a:lnTo>
                      <a:pt x="719" y="828"/>
                    </a:lnTo>
                    <a:lnTo>
                      <a:pt x="719" y="824"/>
                    </a:lnTo>
                    <a:close/>
                    <a:moveTo>
                      <a:pt x="1276" y="1486"/>
                    </a:moveTo>
                    <a:lnTo>
                      <a:pt x="1278" y="1486"/>
                    </a:lnTo>
                    <a:lnTo>
                      <a:pt x="1278" y="1488"/>
                    </a:lnTo>
                    <a:lnTo>
                      <a:pt x="1276" y="1488"/>
                    </a:lnTo>
                    <a:lnTo>
                      <a:pt x="1276" y="1486"/>
                    </a:lnTo>
                    <a:close/>
                    <a:moveTo>
                      <a:pt x="223" y="1625"/>
                    </a:moveTo>
                    <a:lnTo>
                      <a:pt x="225" y="1627"/>
                    </a:lnTo>
                    <a:lnTo>
                      <a:pt x="225" y="1625"/>
                    </a:lnTo>
                    <a:lnTo>
                      <a:pt x="227" y="1627"/>
                    </a:lnTo>
                    <a:lnTo>
                      <a:pt x="225" y="1627"/>
                    </a:lnTo>
                    <a:lnTo>
                      <a:pt x="223" y="1627"/>
                    </a:lnTo>
                    <a:lnTo>
                      <a:pt x="221" y="1627"/>
                    </a:lnTo>
                    <a:lnTo>
                      <a:pt x="223" y="1625"/>
                    </a:lnTo>
                    <a:close/>
                    <a:moveTo>
                      <a:pt x="978" y="1461"/>
                    </a:moveTo>
                    <a:lnTo>
                      <a:pt x="980" y="1461"/>
                    </a:lnTo>
                    <a:lnTo>
                      <a:pt x="980" y="1467"/>
                    </a:lnTo>
                    <a:lnTo>
                      <a:pt x="978" y="1467"/>
                    </a:lnTo>
                    <a:lnTo>
                      <a:pt x="978" y="1461"/>
                    </a:lnTo>
                    <a:close/>
                    <a:moveTo>
                      <a:pt x="1070" y="1213"/>
                    </a:moveTo>
                    <a:lnTo>
                      <a:pt x="1072" y="1213"/>
                    </a:lnTo>
                    <a:lnTo>
                      <a:pt x="1072" y="1219"/>
                    </a:lnTo>
                    <a:lnTo>
                      <a:pt x="1070" y="1219"/>
                    </a:lnTo>
                    <a:lnTo>
                      <a:pt x="1070" y="1213"/>
                    </a:lnTo>
                    <a:close/>
                    <a:moveTo>
                      <a:pt x="248" y="1631"/>
                    </a:moveTo>
                    <a:lnTo>
                      <a:pt x="248" y="1633"/>
                    </a:lnTo>
                    <a:lnTo>
                      <a:pt x="246" y="1633"/>
                    </a:lnTo>
                    <a:lnTo>
                      <a:pt x="242" y="1633"/>
                    </a:lnTo>
                    <a:lnTo>
                      <a:pt x="244" y="1633"/>
                    </a:lnTo>
                    <a:lnTo>
                      <a:pt x="242" y="1633"/>
                    </a:lnTo>
                    <a:lnTo>
                      <a:pt x="244" y="1633"/>
                    </a:lnTo>
                    <a:lnTo>
                      <a:pt x="246" y="1633"/>
                    </a:lnTo>
                    <a:lnTo>
                      <a:pt x="248" y="1631"/>
                    </a:lnTo>
                    <a:close/>
                    <a:moveTo>
                      <a:pt x="973" y="1562"/>
                    </a:moveTo>
                    <a:lnTo>
                      <a:pt x="974" y="1562"/>
                    </a:lnTo>
                    <a:lnTo>
                      <a:pt x="974" y="1564"/>
                    </a:lnTo>
                    <a:lnTo>
                      <a:pt x="973" y="1564"/>
                    </a:lnTo>
                    <a:lnTo>
                      <a:pt x="973" y="1562"/>
                    </a:lnTo>
                    <a:close/>
                    <a:moveTo>
                      <a:pt x="240" y="1662"/>
                    </a:moveTo>
                    <a:lnTo>
                      <a:pt x="244" y="1662"/>
                    </a:lnTo>
                    <a:lnTo>
                      <a:pt x="244" y="1665"/>
                    </a:lnTo>
                    <a:lnTo>
                      <a:pt x="240" y="1665"/>
                    </a:lnTo>
                    <a:lnTo>
                      <a:pt x="240" y="1662"/>
                    </a:lnTo>
                    <a:close/>
                    <a:moveTo>
                      <a:pt x="1240" y="1110"/>
                    </a:moveTo>
                    <a:lnTo>
                      <a:pt x="1241" y="1110"/>
                    </a:lnTo>
                    <a:lnTo>
                      <a:pt x="1243" y="1112"/>
                    </a:lnTo>
                    <a:lnTo>
                      <a:pt x="1240" y="1112"/>
                    </a:lnTo>
                    <a:lnTo>
                      <a:pt x="1240" y="1110"/>
                    </a:lnTo>
                    <a:close/>
                    <a:moveTo>
                      <a:pt x="292" y="648"/>
                    </a:moveTo>
                    <a:lnTo>
                      <a:pt x="294" y="648"/>
                    </a:lnTo>
                    <a:lnTo>
                      <a:pt x="292" y="648"/>
                    </a:lnTo>
                    <a:lnTo>
                      <a:pt x="292" y="650"/>
                    </a:lnTo>
                    <a:lnTo>
                      <a:pt x="290" y="650"/>
                    </a:lnTo>
                    <a:lnTo>
                      <a:pt x="288" y="650"/>
                    </a:lnTo>
                    <a:lnTo>
                      <a:pt x="288" y="652"/>
                    </a:lnTo>
                    <a:lnTo>
                      <a:pt x="288" y="650"/>
                    </a:lnTo>
                    <a:lnTo>
                      <a:pt x="288" y="652"/>
                    </a:lnTo>
                    <a:lnTo>
                      <a:pt x="288" y="650"/>
                    </a:lnTo>
                    <a:lnTo>
                      <a:pt x="286" y="650"/>
                    </a:lnTo>
                    <a:lnTo>
                      <a:pt x="288" y="650"/>
                    </a:lnTo>
                    <a:lnTo>
                      <a:pt x="288" y="648"/>
                    </a:lnTo>
                    <a:lnTo>
                      <a:pt x="288" y="650"/>
                    </a:lnTo>
                    <a:lnTo>
                      <a:pt x="290" y="648"/>
                    </a:lnTo>
                    <a:lnTo>
                      <a:pt x="292" y="648"/>
                    </a:lnTo>
                    <a:lnTo>
                      <a:pt x="290" y="648"/>
                    </a:lnTo>
                    <a:lnTo>
                      <a:pt x="292" y="648"/>
                    </a:lnTo>
                    <a:close/>
                    <a:moveTo>
                      <a:pt x="971" y="856"/>
                    </a:moveTo>
                    <a:lnTo>
                      <a:pt x="973" y="860"/>
                    </a:lnTo>
                    <a:lnTo>
                      <a:pt x="971" y="864"/>
                    </a:lnTo>
                    <a:lnTo>
                      <a:pt x="971" y="860"/>
                    </a:lnTo>
                    <a:lnTo>
                      <a:pt x="969" y="856"/>
                    </a:lnTo>
                    <a:lnTo>
                      <a:pt x="971" y="856"/>
                    </a:lnTo>
                    <a:close/>
                    <a:moveTo>
                      <a:pt x="1272" y="1465"/>
                    </a:moveTo>
                    <a:lnTo>
                      <a:pt x="1272" y="1467"/>
                    </a:lnTo>
                    <a:lnTo>
                      <a:pt x="1272" y="1465"/>
                    </a:lnTo>
                    <a:lnTo>
                      <a:pt x="1272" y="1467"/>
                    </a:lnTo>
                    <a:lnTo>
                      <a:pt x="1270" y="1467"/>
                    </a:lnTo>
                    <a:lnTo>
                      <a:pt x="1270" y="1465"/>
                    </a:lnTo>
                    <a:lnTo>
                      <a:pt x="1272" y="1465"/>
                    </a:lnTo>
                    <a:lnTo>
                      <a:pt x="1270" y="1465"/>
                    </a:lnTo>
                    <a:lnTo>
                      <a:pt x="1272" y="1465"/>
                    </a:lnTo>
                    <a:close/>
                    <a:moveTo>
                      <a:pt x="988" y="1482"/>
                    </a:moveTo>
                    <a:lnTo>
                      <a:pt x="988" y="1484"/>
                    </a:lnTo>
                    <a:lnTo>
                      <a:pt x="988" y="1482"/>
                    </a:lnTo>
                    <a:lnTo>
                      <a:pt x="988" y="1484"/>
                    </a:lnTo>
                    <a:lnTo>
                      <a:pt x="986" y="1488"/>
                    </a:lnTo>
                    <a:lnTo>
                      <a:pt x="986" y="1490"/>
                    </a:lnTo>
                    <a:lnTo>
                      <a:pt x="986" y="1488"/>
                    </a:lnTo>
                    <a:lnTo>
                      <a:pt x="988" y="1482"/>
                    </a:lnTo>
                    <a:close/>
                    <a:moveTo>
                      <a:pt x="1255" y="1145"/>
                    </a:moveTo>
                    <a:lnTo>
                      <a:pt x="1251" y="1145"/>
                    </a:lnTo>
                    <a:lnTo>
                      <a:pt x="1253" y="1143"/>
                    </a:lnTo>
                    <a:lnTo>
                      <a:pt x="1255" y="1145"/>
                    </a:lnTo>
                    <a:close/>
                    <a:moveTo>
                      <a:pt x="242" y="1631"/>
                    </a:moveTo>
                    <a:lnTo>
                      <a:pt x="244" y="1633"/>
                    </a:lnTo>
                    <a:lnTo>
                      <a:pt x="240" y="1633"/>
                    </a:lnTo>
                    <a:lnTo>
                      <a:pt x="242" y="1631"/>
                    </a:lnTo>
                    <a:close/>
                    <a:moveTo>
                      <a:pt x="1003" y="1278"/>
                    </a:moveTo>
                    <a:lnTo>
                      <a:pt x="1005" y="1278"/>
                    </a:lnTo>
                    <a:lnTo>
                      <a:pt x="1005" y="1280"/>
                    </a:lnTo>
                    <a:lnTo>
                      <a:pt x="1003" y="1280"/>
                    </a:lnTo>
                    <a:lnTo>
                      <a:pt x="1003" y="1278"/>
                    </a:lnTo>
                    <a:lnTo>
                      <a:pt x="1001" y="1278"/>
                    </a:lnTo>
                    <a:lnTo>
                      <a:pt x="1003" y="1278"/>
                    </a:lnTo>
                    <a:close/>
                    <a:moveTo>
                      <a:pt x="707" y="919"/>
                    </a:moveTo>
                    <a:lnTo>
                      <a:pt x="709" y="921"/>
                    </a:lnTo>
                    <a:lnTo>
                      <a:pt x="707" y="923"/>
                    </a:lnTo>
                    <a:lnTo>
                      <a:pt x="709" y="923"/>
                    </a:lnTo>
                    <a:lnTo>
                      <a:pt x="709" y="925"/>
                    </a:lnTo>
                    <a:lnTo>
                      <a:pt x="709" y="923"/>
                    </a:lnTo>
                    <a:lnTo>
                      <a:pt x="707" y="925"/>
                    </a:lnTo>
                    <a:lnTo>
                      <a:pt x="707" y="923"/>
                    </a:lnTo>
                    <a:lnTo>
                      <a:pt x="707" y="921"/>
                    </a:lnTo>
                    <a:lnTo>
                      <a:pt x="707" y="919"/>
                    </a:lnTo>
                    <a:close/>
                    <a:moveTo>
                      <a:pt x="389" y="956"/>
                    </a:moveTo>
                    <a:lnTo>
                      <a:pt x="391" y="956"/>
                    </a:lnTo>
                    <a:lnTo>
                      <a:pt x="391" y="958"/>
                    </a:lnTo>
                    <a:lnTo>
                      <a:pt x="391" y="956"/>
                    </a:lnTo>
                    <a:lnTo>
                      <a:pt x="395" y="958"/>
                    </a:lnTo>
                    <a:lnTo>
                      <a:pt x="391" y="958"/>
                    </a:lnTo>
                    <a:lnTo>
                      <a:pt x="393" y="958"/>
                    </a:lnTo>
                    <a:lnTo>
                      <a:pt x="391" y="958"/>
                    </a:lnTo>
                    <a:lnTo>
                      <a:pt x="389" y="958"/>
                    </a:lnTo>
                    <a:lnTo>
                      <a:pt x="389" y="956"/>
                    </a:lnTo>
                    <a:lnTo>
                      <a:pt x="387" y="958"/>
                    </a:lnTo>
                    <a:lnTo>
                      <a:pt x="387" y="956"/>
                    </a:lnTo>
                    <a:lnTo>
                      <a:pt x="389" y="956"/>
                    </a:lnTo>
                    <a:close/>
                    <a:moveTo>
                      <a:pt x="1260" y="1444"/>
                    </a:moveTo>
                    <a:lnTo>
                      <a:pt x="1264" y="1444"/>
                    </a:lnTo>
                    <a:lnTo>
                      <a:pt x="1264" y="1446"/>
                    </a:lnTo>
                    <a:lnTo>
                      <a:pt x="1260" y="1446"/>
                    </a:lnTo>
                    <a:lnTo>
                      <a:pt x="1260" y="1444"/>
                    </a:lnTo>
                    <a:close/>
                    <a:moveTo>
                      <a:pt x="1062" y="1209"/>
                    </a:moveTo>
                    <a:lnTo>
                      <a:pt x="1062" y="1211"/>
                    </a:lnTo>
                    <a:lnTo>
                      <a:pt x="1064" y="1211"/>
                    </a:lnTo>
                    <a:lnTo>
                      <a:pt x="1062" y="1213"/>
                    </a:lnTo>
                    <a:lnTo>
                      <a:pt x="1062" y="1211"/>
                    </a:lnTo>
                    <a:lnTo>
                      <a:pt x="1062" y="1213"/>
                    </a:lnTo>
                    <a:lnTo>
                      <a:pt x="1060" y="1211"/>
                    </a:lnTo>
                    <a:lnTo>
                      <a:pt x="1062" y="1211"/>
                    </a:lnTo>
                    <a:lnTo>
                      <a:pt x="1062" y="1209"/>
                    </a:lnTo>
                    <a:close/>
                    <a:moveTo>
                      <a:pt x="1167" y="1414"/>
                    </a:moveTo>
                    <a:lnTo>
                      <a:pt x="1169" y="1414"/>
                    </a:lnTo>
                    <a:lnTo>
                      <a:pt x="1169" y="1417"/>
                    </a:lnTo>
                    <a:lnTo>
                      <a:pt x="1167" y="1417"/>
                    </a:lnTo>
                    <a:lnTo>
                      <a:pt x="1167" y="1414"/>
                    </a:lnTo>
                    <a:close/>
                    <a:moveTo>
                      <a:pt x="849" y="1671"/>
                    </a:moveTo>
                    <a:lnTo>
                      <a:pt x="850" y="1671"/>
                    </a:lnTo>
                    <a:lnTo>
                      <a:pt x="850" y="1673"/>
                    </a:lnTo>
                    <a:lnTo>
                      <a:pt x="849" y="1673"/>
                    </a:lnTo>
                    <a:lnTo>
                      <a:pt x="849" y="1671"/>
                    </a:lnTo>
                    <a:close/>
                    <a:moveTo>
                      <a:pt x="1207" y="1221"/>
                    </a:moveTo>
                    <a:lnTo>
                      <a:pt x="1209" y="1221"/>
                    </a:lnTo>
                    <a:lnTo>
                      <a:pt x="1209" y="1223"/>
                    </a:lnTo>
                    <a:lnTo>
                      <a:pt x="1209" y="1221"/>
                    </a:lnTo>
                    <a:lnTo>
                      <a:pt x="1209" y="1223"/>
                    </a:lnTo>
                    <a:lnTo>
                      <a:pt x="1207" y="1223"/>
                    </a:lnTo>
                    <a:lnTo>
                      <a:pt x="1207" y="1221"/>
                    </a:lnTo>
                    <a:lnTo>
                      <a:pt x="1207" y="1219"/>
                    </a:lnTo>
                    <a:lnTo>
                      <a:pt x="1207" y="1221"/>
                    </a:lnTo>
                    <a:close/>
                    <a:moveTo>
                      <a:pt x="1217" y="1690"/>
                    </a:moveTo>
                    <a:lnTo>
                      <a:pt x="1219" y="1690"/>
                    </a:lnTo>
                    <a:lnTo>
                      <a:pt x="1219" y="1694"/>
                    </a:lnTo>
                    <a:lnTo>
                      <a:pt x="1217" y="1694"/>
                    </a:lnTo>
                    <a:lnTo>
                      <a:pt x="1217" y="1690"/>
                    </a:lnTo>
                    <a:close/>
                    <a:moveTo>
                      <a:pt x="1222" y="1242"/>
                    </a:moveTo>
                    <a:lnTo>
                      <a:pt x="1224" y="1242"/>
                    </a:lnTo>
                    <a:lnTo>
                      <a:pt x="1224" y="1246"/>
                    </a:lnTo>
                    <a:lnTo>
                      <a:pt x="1222" y="1246"/>
                    </a:lnTo>
                    <a:lnTo>
                      <a:pt x="1222" y="1242"/>
                    </a:lnTo>
                    <a:close/>
                    <a:moveTo>
                      <a:pt x="80" y="1028"/>
                    </a:moveTo>
                    <a:lnTo>
                      <a:pt x="80" y="1030"/>
                    </a:lnTo>
                    <a:lnTo>
                      <a:pt x="82" y="1030"/>
                    </a:lnTo>
                    <a:lnTo>
                      <a:pt x="86" y="1032"/>
                    </a:lnTo>
                    <a:lnTo>
                      <a:pt x="82" y="1032"/>
                    </a:lnTo>
                    <a:lnTo>
                      <a:pt x="80" y="1030"/>
                    </a:lnTo>
                    <a:lnTo>
                      <a:pt x="78" y="1028"/>
                    </a:lnTo>
                    <a:lnTo>
                      <a:pt x="80" y="1028"/>
                    </a:lnTo>
                    <a:close/>
                    <a:moveTo>
                      <a:pt x="1211" y="171"/>
                    </a:moveTo>
                    <a:lnTo>
                      <a:pt x="1213" y="171"/>
                    </a:lnTo>
                    <a:lnTo>
                      <a:pt x="1209" y="173"/>
                    </a:lnTo>
                    <a:lnTo>
                      <a:pt x="1207" y="171"/>
                    </a:lnTo>
                    <a:lnTo>
                      <a:pt x="1211" y="169"/>
                    </a:lnTo>
                    <a:lnTo>
                      <a:pt x="1211" y="171"/>
                    </a:lnTo>
                    <a:close/>
                    <a:moveTo>
                      <a:pt x="1110" y="931"/>
                    </a:moveTo>
                    <a:lnTo>
                      <a:pt x="1110" y="929"/>
                    </a:lnTo>
                    <a:lnTo>
                      <a:pt x="1114" y="927"/>
                    </a:lnTo>
                    <a:lnTo>
                      <a:pt x="1112" y="931"/>
                    </a:lnTo>
                    <a:lnTo>
                      <a:pt x="1110" y="931"/>
                    </a:lnTo>
                    <a:close/>
                    <a:moveTo>
                      <a:pt x="263" y="1641"/>
                    </a:moveTo>
                    <a:lnTo>
                      <a:pt x="265" y="1641"/>
                    </a:lnTo>
                    <a:lnTo>
                      <a:pt x="265" y="1643"/>
                    </a:lnTo>
                    <a:lnTo>
                      <a:pt x="263" y="1643"/>
                    </a:lnTo>
                    <a:lnTo>
                      <a:pt x="263" y="1641"/>
                    </a:lnTo>
                    <a:close/>
                    <a:moveTo>
                      <a:pt x="1211" y="1213"/>
                    </a:moveTo>
                    <a:lnTo>
                      <a:pt x="1211" y="1215"/>
                    </a:lnTo>
                    <a:lnTo>
                      <a:pt x="1213" y="1215"/>
                    </a:lnTo>
                    <a:lnTo>
                      <a:pt x="1213" y="1217"/>
                    </a:lnTo>
                    <a:lnTo>
                      <a:pt x="1211" y="1215"/>
                    </a:lnTo>
                    <a:lnTo>
                      <a:pt x="1211" y="1213"/>
                    </a:lnTo>
                    <a:close/>
                    <a:moveTo>
                      <a:pt x="1171" y="1162"/>
                    </a:moveTo>
                    <a:lnTo>
                      <a:pt x="1171" y="1164"/>
                    </a:lnTo>
                    <a:lnTo>
                      <a:pt x="1169" y="1164"/>
                    </a:lnTo>
                    <a:lnTo>
                      <a:pt x="1167" y="1165"/>
                    </a:lnTo>
                    <a:lnTo>
                      <a:pt x="1167" y="1164"/>
                    </a:lnTo>
                    <a:lnTo>
                      <a:pt x="1169" y="1164"/>
                    </a:lnTo>
                    <a:lnTo>
                      <a:pt x="1169" y="1162"/>
                    </a:lnTo>
                    <a:lnTo>
                      <a:pt x="1169" y="1164"/>
                    </a:lnTo>
                    <a:lnTo>
                      <a:pt x="1171" y="1164"/>
                    </a:lnTo>
                    <a:lnTo>
                      <a:pt x="1171" y="1162"/>
                    </a:lnTo>
                    <a:close/>
                    <a:moveTo>
                      <a:pt x="280" y="1654"/>
                    </a:moveTo>
                    <a:lnTo>
                      <a:pt x="282" y="1654"/>
                    </a:lnTo>
                    <a:lnTo>
                      <a:pt x="282" y="1658"/>
                    </a:lnTo>
                    <a:lnTo>
                      <a:pt x="280" y="1658"/>
                    </a:lnTo>
                    <a:lnTo>
                      <a:pt x="280" y="1654"/>
                    </a:lnTo>
                    <a:close/>
                    <a:moveTo>
                      <a:pt x="675" y="755"/>
                    </a:moveTo>
                    <a:lnTo>
                      <a:pt x="677" y="757"/>
                    </a:lnTo>
                    <a:lnTo>
                      <a:pt x="671" y="757"/>
                    </a:lnTo>
                    <a:lnTo>
                      <a:pt x="673" y="757"/>
                    </a:lnTo>
                    <a:lnTo>
                      <a:pt x="673" y="755"/>
                    </a:lnTo>
                    <a:lnTo>
                      <a:pt x="675" y="755"/>
                    </a:lnTo>
                    <a:close/>
                    <a:moveTo>
                      <a:pt x="809" y="1020"/>
                    </a:moveTo>
                    <a:lnTo>
                      <a:pt x="810" y="1020"/>
                    </a:lnTo>
                    <a:lnTo>
                      <a:pt x="810" y="1026"/>
                    </a:lnTo>
                    <a:lnTo>
                      <a:pt x="809" y="1026"/>
                    </a:lnTo>
                    <a:lnTo>
                      <a:pt x="809" y="1020"/>
                    </a:lnTo>
                    <a:close/>
                    <a:moveTo>
                      <a:pt x="1224" y="1236"/>
                    </a:moveTo>
                    <a:lnTo>
                      <a:pt x="1224" y="1238"/>
                    </a:lnTo>
                    <a:lnTo>
                      <a:pt x="1226" y="1238"/>
                    </a:lnTo>
                    <a:lnTo>
                      <a:pt x="1224" y="1238"/>
                    </a:lnTo>
                    <a:lnTo>
                      <a:pt x="1226" y="1240"/>
                    </a:lnTo>
                    <a:lnTo>
                      <a:pt x="1224" y="1240"/>
                    </a:lnTo>
                    <a:lnTo>
                      <a:pt x="1224" y="1238"/>
                    </a:lnTo>
                    <a:lnTo>
                      <a:pt x="1222" y="1238"/>
                    </a:lnTo>
                    <a:lnTo>
                      <a:pt x="1224" y="1240"/>
                    </a:lnTo>
                    <a:lnTo>
                      <a:pt x="1222" y="1240"/>
                    </a:lnTo>
                    <a:lnTo>
                      <a:pt x="1222" y="1238"/>
                    </a:lnTo>
                    <a:lnTo>
                      <a:pt x="1224" y="1236"/>
                    </a:lnTo>
                    <a:close/>
                    <a:moveTo>
                      <a:pt x="618" y="994"/>
                    </a:moveTo>
                    <a:lnTo>
                      <a:pt x="620" y="994"/>
                    </a:lnTo>
                    <a:lnTo>
                      <a:pt x="620" y="998"/>
                    </a:lnTo>
                    <a:lnTo>
                      <a:pt x="618" y="998"/>
                    </a:lnTo>
                    <a:lnTo>
                      <a:pt x="618" y="994"/>
                    </a:lnTo>
                    <a:close/>
                    <a:moveTo>
                      <a:pt x="265" y="1654"/>
                    </a:moveTo>
                    <a:lnTo>
                      <a:pt x="265" y="1656"/>
                    </a:lnTo>
                    <a:lnTo>
                      <a:pt x="267" y="1656"/>
                    </a:lnTo>
                    <a:lnTo>
                      <a:pt x="269" y="1656"/>
                    </a:lnTo>
                    <a:lnTo>
                      <a:pt x="267" y="1656"/>
                    </a:lnTo>
                    <a:lnTo>
                      <a:pt x="265" y="1656"/>
                    </a:lnTo>
                    <a:lnTo>
                      <a:pt x="265" y="1654"/>
                    </a:lnTo>
                    <a:close/>
                    <a:moveTo>
                      <a:pt x="1199" y="1156"/>
                    </a:moveTo>
                    <a:lnTo>
                      <a:pt x="1201" y="1156"/>
                    </a:lnTo>
                    <a:lnTo>
                      <a:pt x="1201" y="1160"/>
                    </a:lnTo>
                    <a:lnTo>
                      <a:pt x="1199" y="1160"/>
                    </a:lnTo>
                    <a:lnTo>
                      <a:pt x="1199" y="1156"/>
                    </a:lnTo>
                    <a:close/>
                    <a:moveTo>
                      <a:pt x="1198" y="1064"/>
                    </a:moveTo>
                    <a:lnTo>
                      <a:pt x="1201" y="1064"/>
                    </a:lnTo>
                    <a:lnTo>
                      <a:pt x="1201" y="1068"/>
                    </a:lnTo>
                    <a:lnTo>
                      <a:pt x="1198" y="1068"/>
                    </a:lnTo>
                    <a:lnTo>
                      <a:pt x="1198" y="1064"/>
                    </a:lnTo>
                    <a:close/>
                    <a:moveTo>
                      <a:pt x="706" y="675"/>
                    </a:moveTo>
                    <a:lnTo>
                      <a:pt x="704" y="677"/>
                    </a:lnTo>
                    <a:lnTo>
                      <a:pt x="702" y="679"/>
                    </a:lnTo>
                    <a:lnTo>
                      <a:pt x="702" y="677"/>
                    </a:lnTo>
                    <a:lnTo>
                      <a:pt x="706" y="673"/>
                    </a:lnTo>
                    <a:lnTo>
                      <a:pt x="706" y="675"/>
                    </a:lnTo>
                    <a:close/>
                    <a:moveTo>
                      <a:pt x="980" y="1471"/>
                    </a:moveTo>
                    <a:lnTo>
                      <a:pt x="978" y="1473"/>
                    </a:lnTo>
                    <a:lnTo>
                      <a:pt x="980" y="1473"/>
                    </a:lnTo>
                    <a:lnTo>
                      <a:pt x="978" y="1477"/>
                    </a:lnTo>
                    <a:lnTo>
                      <a:pt x="976" y="1477"/>
                    </a:lnTo>
                    <a:lnTo>
                      <a:pt x="978" y="1473"/>
                    </a:lnTo>
                    <a:lnTo>
                      <a:pt x="980" y="1471"/>
                    </a:lnTo>
                    <a:close/>
                    <a:moveTo>
                      <a:pt x="1272" y="1486"/>
                    </a:moveTo>
                    <a:lnTo>
                      <a:pt x="1276" y="1486"/>
                    </a:lnTo>
                    <a:lnTo>
                      <a:pt x="1276" y="1488"/>
                    </a:lnTo>
                    <a:lnTo>
                      <a:pt x="1272" y="1488"/>
                    </a:lnTo>
                    <a:lnTo>
                      <a:pt x="1272" y="1486"/>
                    </a:lnTo>
                    <a:close/>
                    <a:moveTo>
                      <a:pt x="788" y="1242"/>
                    </a:moveTo>
                    <a:lnTo>
                      <a:pt x="789" y="1242"/>
                    </a:lnTo>
                    <a:lnTo>
                      <a:pt x="791" y="1242"/>
                    </a:lnTo>
                    <a:lnTo>
                      <a:pt x="791" y="1244"/>
                    </a:lnTo>
                    <a:lnTo>
                      <a:pt x="789" y="1244"/>
                    </a:lnTo>
                    <a:lnTo>
                      <a:pt x="788" y="1244"/>
                    </a:lnTo>
                    <a:lnTo>
                      <a:pt x="788" y="1242"/>
                    </a:lnTo>
                    <a:close/>
                    <a:moveTo>
                      <a:pt x="967" y="1372"/>
                    </a:moveTo>
                    <a:lnTo>
                      <a:pt x="969" y="1372"/>
                    </a:lnTo>
                    <a:lnTo>
                      <a:pt x="969" y="1375"/>
                    </a:lnTo>
                    <a:lnTo>
                      <a:pt x="967" y="1375"/>
                    </a:lnTo>
                    <a:lnTo>
                      <a:pt x="967" y="1372"/>
                    </a:lnTo>
                    <a:close/>
                    <a:moveTo>
                      <a:pt x="694" y="984"/>
                    </a:moveTo>
                    <a:lnTo>
                      <a:pt x="696" y="984"/>
                    </a:lnTo>
                    <a:lnTo>
                      <a:pt x="696" y="986"/>
                    </a:lnTo>
                    <a:lnTo>
                      <a:pt x="696" y="988"/>
                    </a:lnTo>
                    <a:lnTo>
                      <a:pt x="696" y="986"/>
                    </a:lnTo>
                    <a:lnTo>
                      <a:pt x="694" y="986"/>
                    </a:lnTo>
                    <a:lnTo>
                      <a:pt x="694" y="984"/>
                    </a:lnTo>
                    <a:close/>
                    <a:moveTo>
                      <a:pt x="1077" y="1219"/>
                    </a:moveTo>
                    <a:lnTo>
                      <a:pt x="1077" y="1221"/>
                    </a:lnTo>
                    <a:lnTo>
                      <a:pt x="1079" y="1221"/>
                    </a:lnTo>
                    <a:lnTo>
                      <a:pt x="1077" y="1221"/>
                    </a:lnTo>
                    <a:lnTo>
                      <a:pt x="1079" y="1221"/>
                    </a:lnTo>
                    <a:lnTo>
                      <a:pt x="1077" y="1221"/>
                    </a:lnTo>
                    <a:lnTo>
                      <a:pt x="1079" y="1223"/>
                    </a:lnTo>
                    <a:lnTo>
                      <a:pt x="1077" y="1223"/>
                    </a:lnTo>
                    <a:lnTo>
                      <a:pt x="1076" y="1221"/>
                    </a:lnTo>
                    <a:lnTo>
                      <a:pt x="1077" y="1221"/>
                    </a:lnTo>
                    <a:lnTo>
                      <a:pt x="1076" y="1221"/>
                    </a:lnTo>
                    <a:lnTo>
                      <a:pt x="1077" y="1221"/>
                    </a:lnTo>
                    <a:lnTo>
                      <a:pt x="1077" y="1219"/>
                    </a:lnTo>
                    <a:close/>
                    <a:moveTo>
                      <a:pt x="212" y="1620"/>
                    </a:moveTo>
                    <a:lnTo>
                      <a:pt x="214" y="1622"/>
                    </a:lnTo>
                    <a:lnTo>
                      <a:pt x="210" y="1622"/>
                    </a:lnTo>
                    <a:lnTo>
                      <a:pt x="212" y="1620"/>
                    </a:lnTo>
                    <a:close/>
                    <a:moveTo>
                      <a:pt x="702" y="816"/>
                    </a:moveTo>
                    <a:lnTo>
                      <a:pt x="702" y="818"/>
                    </a:lnTo>
                    <a:lnTo>
                      <a:pt x="704" y="818"/>
                    </a:lnTo>
                    <a:lnTo>
                      <a:pt x="700" y="818"/>
                    </a:lnTo>
                    <a:lnTo>
                      <a:pt x="700" y="816"/>
                    </a:lnTo>
                    <a:lnTo>
                      <a:pt x="702" y="816"/>
                    </a:lnTo>
                    <a:close/>
                    <a:moveTo>
                      <a:pt x="114" y="1001"/>
                    </a:moveTo>
                    <a:lnTo>
                      <a:pt x="113" y="1001"/>
                    </a:lnTo>
                    <a:lnTo>
                      <a:pt x="114" y="1003"/>
                    </a:lnTo>
                    <a:lnTo>
                      <a:pt x="113" y="1003"/>
                    </a:lnTo>
                    <a:lnTo>
                      <a:pt x="113" y="1001"/>
                    </a:lnTo>
                    <a:lnTo>
                      <a:pt x="114" y="999"/>
                    </a:lnTo>
                    <a:lnTo>
                      <a:pt x="114" y="1001"/>
                    </a:lnTo>
                    <a:close/>
                    <a:moveTo>
                      <a:pt x="1354" y="1564"/>
                    </a:moveTo>
                    <a:lnTo>
                      <a:pt x="1358" y="1564"/>
                    </a:lnTo>
                    <a:lnTo>
                      <a:pt x="1358" y="1566"/>
                    </a:lnTo>
                    <a:lnTo>
                      <a:pt x="1354" y="1566"/>
                    </a:lnTo>
                    <a:lnTo>
                      <a:pt x="1354" y="1564"/>
                    </a:lnTo>
                    <a:close/>
                    <a:moveTo>
                      <a:pt x="484" y="1045"/>
                    </a:moveTo>
                    <a:lnTo>
                      <a:pt x="484" y="1047"/>
                    </a:lnTo>
                    <a:lnTo>
                      <a:pt x="486" y="1047"/>
                    </a:lnTo>
                    <a:lnTo>
                      <a:pt x="486" y="1049"/>
                    </a:lnTo>
                    <a:lnTo>
                      <a:pt x="484" y="1049"/>
                    </a:lnTo>
                    <a:lnTo>
                      <a:pt x="484" y="1047"/>
                    </a:lnTo>
                    <a:lnTo>
                      <a:pt x="482" y="1047"/>
                    </a:lnTo>
                    <a:lnTo>
                      <a:pt x="482" y="1045"/>
                    </a:lnTo>
                    <a:lnTo>
                      <a:pt x="484" y="1047"/>
                    </a:lnTo>
                    <a:lnTo>
                      <a:pt x="484" y="1045"/>
                    </a:lnTo>
                    <a:close/>
                    <a:moveTo>
                      <a:pt x="1220" y="1234"/>
                    </a:moveTo>
                    <a:lnTo>
                      <a:pt x="1222" y="1234"/>
                    </a:lnTo>
                    <a:lnTo>
                      <a:pt x="1222" y="1238"/>
                    </a:lnTo>
                    <a:lnTo>
                      <a:pt x="1220" y="1238"/>
                    </a:lnTo>
                    <a:lnTo>
                      <a:pt x="1220" y="1234"/>
                    </a:lnTo>
                    <a:close/>
                    <a:moveTo>
                      <a:pt x="200" y="1578"/>
                    </a:moveTo>
                    <a:lnTo>
                      <a:pt x="204" y="1578"/>
                    </a:lnTo>
                    <a:lnTo>
                      <a:pt x="204" y="1580"/>
                    </a:lnTo>
                    <a:lnTo>
                      <a:pt x="200" y="1580"/>
                    </a:lnTo>
                    <a:lnTo>
                      <a:pt x="200" y="1578"/>
                    </a:lnTo>
                    <a:close/>
                    <a:moveTo>
                      <a:pt x="502" y="1061"/>
                    </a:moveTo>
                    <a:lnTo>
                      <a:pt x="502" y="1062"/>
                    </a:lnTo>
                    <a:lnTo>
                      <a:pt x="500" y="1062"/>
                    </a:lnTo>
                    <a:lnTo>
                      <a:pt x="500" y="1064"/>
                    </a:lnTo>
                    <a:lnTo>
                      <a:pt x="498" y="1064"/>
                    </a:lnTo>
                    <a:lnTo>
                      <a:pt x="500" y="1061"/>
                    </a:lnTo>
                    <a:lnTo>
                      <a:pt x="502" y="1061"/>
                    </a:lnTo>
                    <a:close/>
                    <a:moveTo>
                      <a:pt x="170" y="1518"/>
                    </a:moveTo>
                    <a:lnTo>
                      <a:pt x="174" y="1518"/>
                    </a:lnTo>
                    <a:lnTo>
                      <a:pt x="174" y="1520"/>
                    </a:lnTo>
                    <a:lnTo>
                      <a:pt x="170" y="1520"/>
                    </a:lnTo>
                    <a:lnTo>
                      <a:pt x="170" y="1518"/>
                    </a:lnTo>
                    <a:close/>
                    <a:moveTo>
                      <a:pt x="90" y="1009"/>
                    </a:moveTo>
                    <a:lnTo>
                      <a:pt x="92" y="1011"/>
                    </a:lnTo>
                    <a:lnTo>
                      <a:pt x="92" y="1013"/>
                    </a:lnTo>
                    <a:lnTo>
                      <a:pt x="92" y="1011"/>
                    </a:lnTo>
                    <a:lnTo>
                      <a:pt x="92" y="1013"/>
                    </a:lnTo>
                    <a:lnTo>
                      <a:pt x="92" y="1015"/>
                    </a:lnTo>
                    <a:lnTo>
                      <a:pt x="90" y="1013"/>
                    </a:lnTo>
                    <a:lnTo>
                      <a:pt x="90" y="1011"/>
                    </a:lnTo>
                    <a:lnTo>
                      <a:pt x="90" y="1009"/>
                    </a:lnTo>
                    <a:close/>
                    <a:moveTo>
                      <a:pt x="667" y="1068"/>
                    </a:moveTo>
                    <a:lnTo>
                      <a:pt x="669" y="1068"/>
                    </a:lnTo>
                    <a:lnTo>
                      <a:pt x="669" y="1072"/>
                    </a:lnTo>
                    <a:lnTo>
                      <a:pt x="667" y="1072"/>
                    </a:lnTo>
                    <a:lnTo>
                      <a:pt x="667" y="1068"/>
                    </a:lnTo>
                    <a:close/>
                    <a:moveTo>
                      <a:pt x="185" y="1555"/>
                    </a:moveTo>
                    <a:lnTo>
                      <a:pt x="187" y="1555"/>
                    </a:lnTo>
                    <a:lnTo>
                      <a:pt x="187" y="1559"/>
                    </a:lnTo>
                    <a:lnTo>
                      <a:pt x="185" y="1559"/>
                    </a:lnTo>
                    <a:lnTo>
                      <a:pt x="185" y="1555"/>
                    </a:lnTo>
                    <a:close/>
                    <a:moveTo>
                      <a:pt x="400" y="954"/>
                    </a:moveTo>
                    <a:lnTo>
                      <a:pt x="402" y="956"/>
                    </a:lnTo>
                    <a:lnTo>
                      <a:pt x="402" y="954"/>
                    </a:lnTo>
                    <a:lnTo>
                      <a:pt x="400" y="956"/>
                    </a:lnTo>
                    <a:lnTo>
                      <a:pt x="397" y="956"/>
                    </a:lnTo>
                    <a:lnTo>
                      <a:pt x="399" y="956"/>
                    </a:lnTo>
                    <a:lnTo>
                      <a:pt x="400" y="956"/>
                    </a:lnTo>
                    <a:lnTo>
                      <a:pt x="400" y="954"/>
                    </a:lnTo>
                    <a:close/>
                    <a:moveTo>
                      <a:pt x="1257" y="1108"/>
                    </a:moveTo>
                    <a:lnTo>
                      <a:pt x="1253" y="1110"/>
                    </a:lnTo>
                    <a:lnTo>
                      <a:pt x="1253" y="1108"/>
                    </a:lnTo>
                    <a:lnTo>
                      <a:pt x="1255" y="1108"/>
                    </a:lnTo>
                    <a:lnTo>
                      <a:pt x="1257" y="1108"/>
                    </a:lnTo>
                    <a:close/>
                    <a:moveTo>
                      <a:pt x="1024" y="1780"/>
                    </a:moveTo>
                    <a:lnTo>
                      <a:pt x="1024" y="1782"/>
                    </a:lnTo>
                    <a:lnTo>
                      <a:pt x="1024" y="1780"/>
                    </a:lnTo>
                    <a:lnTo>
                      <a:pt x="1022" y="1782"/>
                    </a:lnTo>
                    <a:lnTo>
                      <a:pt x="1022" y="1780"/>
                    </a:lnTo>
                    <a:lnTo>
                      <a:pt x="1024" y="1780"/>
                    </a:lnTo>
                    <a:close/>
                    <a:moveTo>
                      <a:pt x="170" y="1530"/>
                    </a:moveTo>
                    <a:lnTo>
                      <a:pt x="172" y="1530"/>
                    </a:lnTo>
                    <a:lnTo>
                      <a:pt x="172" y="1534"/>
                    </a:lnTo>
                    <a:lnTo>
                      <a:pt x="170" y="1534"/>
                    </a:lnTo>
                    <a:lnTo>
                      <a:pt x="170" y="1530"/>
                    </a:lnTo>
                    <a:close/>
                    <a:moveTo>
                      <a:pt x="1337" y="1545"/>
                    </a:moveTo>
                    <a:lnTo>
                      <a:pt x="1341" y="1545"/>
                    </a:lnTo>
                    <a:lnTo>
                      <a:pt x="1339" y="1545"/>
                    </a:lnTo>
                    <a:lnTo>
                      <a:pt x="1339" y="1547"/>
                    </a:lnTo>
                    <a:lnTo>
                      <a:pt x="1337" y="1545"/>
                    </a:lnTo>
                    <a:close/>
                    <a:moveTo>
                      <a:pt x="164" y="999"/>
                    </a:moveTo>
                    <a:lnTo>
                      <a:pt x="166" y="999"/>
                    </a:lnTo>
                    <a:lnTo>
                      <a:pt x="166" y="1003"/>
                    </a:lnTo>
                    <a:lnTo>
                      <a:pt x="164" y="1003"/>
                    </a:lnTo>
                    <a:lnTo>
                      <a:pt x="164" y="999"/>
                    </a:lnTo>
                    <a:close/>
                    <a:moveTo>
                      <a:pt x="1253" y="1154"/>
                    </a:moveTo>
                    <a:lnTo>
                      <a:pt x="1255" y="1154"/>
                    </a:lnTo>
                    <a:lnTo>
                      <a:pt x="1255" y="1158"/>
                    </a:lnTo>
                    <a:lnTo>
                      <a:pt x="1253" y="1158"/>
                    </a:lnTo>
                    <a:lnTo>
                      <a:pt x="1253" y="1154"/>
                    </a:lnTo>
                    <a:close/>
                    <a:moveTo>
                      <a:pt x="698" y="593"/>
                    </a:moveTo>
                    <a:lnTo>
                      <a:pt x="702" y="597"/>
                    </a:lnTo>
                    <a:lnTo>
                      <a:pt x="700" y="599"/>
                    </a:lnTo>
                    <a:lnTo>
                      <a:pt x="698" y="595"/>
                    </a:lnTo>
                    <a:lnTo>
                      <a:pt x="698" y="593"/>
                    </a:lnTo>
                    <a:close/>
                    <a:moveTo>
                      <a:pt x="254" y="1637"/>
                    </a:moveTo>
                    <a:lnTo>
                      <a:pt x="256" y="1637"/>
                    </a:lnTo>
                    <a:lnTo>
                      <a:pt x="256" y="1641"/>
                    </a:lnTo>
                    <a:lnTo>
                      <a:pt x="254" y="1641"/>
                    </a:lnTo>
                    <a:lnTo>
                      <a:pt x="254" y="1637"/>
                    </a:lnTo>
                    <a:close/>
                    <a:moveTo>
                      <a:pt x="252" y="1635"/>
                    </a:moveTo>
                    <a:lnTo>
                      <a:pt x="254" y="1635"/>
                    </a:lnTo>
                    <a:lnTo>
                      <a:pt x="254" y="1637"/>
                    </a:lnTo>
                    <a:lnTo>
                      <a:pt x="252" y="1637"/>
                    </a:lnTo>
                    <a:lnTo>
                      <a:pt x="252" y="1635"/>
                    </a:lnTo>
                    <a:close/>
                    <a:moveTo>
                      <a:pt x="719" y="654"/>
                    </a:moveTo>
                    <a:lnTo>
                      <a:pt x="721" y="654"/>
                    </a:lnTo>
                    <a:lnTo>
                      <a:pt x="721" y="660"/>
                    </a:lnTo>
                    <a:lnTo>
                      <a:pt x="719" y="660"/>
                    </a:lnTo>
                    <a:lnTo>
                      <a:pt x="719" y="654"/>
                    </a:lnTo>
                    <a:close/>
                    <a:moveTo>
                      <a:pt x="278" y="1667"/>
                    </a:moveTo>
                    <a:lnTo>
                      <a:pt x="280" y="1669"/>
                    </a:lnTo>
                    <a:lnTo>
                      <a:pt x="282" y="1669"/>
                    </a:lnTo>
                    <a:lnTo>
                      <a:pt x="282" y="1671"/>
                    </a:lnTo>
                    <a:lnTo>
                      <a:pt x="280" y="1671"/>
                    </a:lnTo>
                    <a:lnTo>
                      <a:pt x="280" y="1669"/>
                    </a:lnTo>
                    <a:lnTo>
                      <a:pt x="278" y="1667"/>
                    </a:lnTo>
                    <a:close/>
                    <a:moveTo>
                      <a:pt x="469" y="660"/>
                    </a:moveTo>
                    <a:lnTo>
                      <a:pt x="467" y="660"/>
                    </a:lnTo>
                    <a:lnTo>
                      <a:pt x="469" y="662"/>
                    </a:lnTo>
                    <a:lnTo>
                      <a:pt x="467" y="662"/>
                    </a:lnTo>
                    <a:lnTo>
                      <a:pt x="463" y="662"/>
                    </a:lnTo>
                    <a:lnTo>
                      <a:pt x="465" y="660"/>
                    </a:lnTo>
                    <a:lnTo>
                      <a:pt x="469" y="660"/>
                    </a:lnTo>
                    <a:close/>
                    <a:moveTo>
                      <a:pt x="1091" y="1238"/>
                    </a:moveTo>
                    <a:lnTo>
                      <a:pt x="1091" y="1240"/>
                    </a:lnTo>
                    <a:lnTo>
                      <a:pt x="1089" y="1240"/>
                    </a:lnTo>
                    <a:lnTo>
                      <a:pt x="1091" y="1240"/>
                    </a:lnTo>
                    <a:lnTo>
                      <a:pt x="1089" y="1242"/>
                    </a:lnTo>
                    <a:lnTo>
                      <a:pt x="1089" y="1240"/>
                    </a:lnTo>
                    <a:lnTo>
                      <a:pt x="1087" y="1240"/>
                    </a:lnTo>
                    <a:lnTo>
                      <a:pt x="1091" y="1238"/>
                    </a:lnTo>
                    <a:close/>
                    <a:moveTo>
                      <a:pt x="235" y="1627"/>
                    </a:moveTo>
                    <a:lnTo>
                      <a:pt x="233" y="1629"/>
                    </a:lnTo>
                    <a:lnTo>
                      <a:pt x="231" y="1629"/>
                    </a:lnTo>
                    <a:lnTo>
                      <a:pt x="233" y="1629"/>
                    </a:lnTo>
                    <a:lnTo>
                      <a:pt x="231" y="1627"/>
                    </a:lnTo>
                    <a:lnTo>
                      <a:pt x="233" y="1627"/>
                    </a:lnTo>
                    <a:lnTo>
                      <a:pt x="235" y="1627"/>
                    </a:lnTo>
                    <a:close/>
                    <a:moveTo>
                      <a:pt x="974" y="1436"/>
                    </a:moveTo>
                    <a:lnTo>
                      <a:pt x="976" y="1436"/>
                    </a:lnTo>
                    <a:lnTo>
                      <a:pt x="976" y="1440"/>
                    </a:lnTo>
                    <a:lnTo>
                      <a:pt x="974" y="1440"/>
                    </a:lnTo>
                    <a:lnTo>
                      <a:pt x="974" y="1436"/>
                    </a:lnTo>
                    <a:close/>
                    <a:moveTo>
                      <a:pt x="524" y="1112"/>
                    </a:moveTo>
                    <a:lnTo>
                      <a:pt x="526" y="1112"/>
                    </a:lnTo>
                    <a:lnTo>
                      <a:pt x="526" y="1118"/>
                    </a:lnTo>
                    <a:lnTo>
                      <a:pt x="524" y="1118"/>
                    </a:lnTo>
                    <a:lnTo>
                      <a:pt x="524" y="1112"/>
                    </a:lnTo>
                    <a:close/>
                    <a:moveTo>
                      <a:pt x="523" y="1089"/>
                    </a:moveTo>
                    <a:lnTo>
                      <a:pt x="524" y="1089"/>
                    </a:lnTo>
                    <a:lnTo>
                      <a:pt x="524" y="1095"/>
                    </a:lnTo>
                    <a:lnTo>
                      <a:pt x="523" y="1095"/>
                    </a:lnTo>
                    <a:lnTo>
                      <a:pt x="523" y="1089"/>
                    </a:lnTo>
                    <a:close/>
                    <a:moveTo>
                      <a:pt x="172" y="1534"/>
                    </a:moveTo>
                    <a:lnTo>
                      <a:pt x="174" y="1534"/>
                    </a:lnTo>
                    <a:lnTo>
                      <a:pt x="174" y="1536"/>
                    </a:lnTo>
                    <a:lnTo>
                      <a:pt x="172" y="1536"/>
                    </a:lnTo>
                    <a:lnTo>
                      <a:pt x="172" y="1534"/>
                    </a:lnTo>
                    <a:close/>
                    <a:moveTo>
                      <a:pt x="650" y="1055"/>
                    </a:moveTo>
                    <a:lnTo>
                      <a:pt x="652" y="1055"/>
                    </a:lnTo>
                    <a:lnTo>
                      <a:pt x="652" y="1059"/>
                    </a:lnTo>
                    <a:lnTo>
                      <a:pt x="650" y="1059"/>
                    </a:lnTo>
                    <a:lnTo>
                      <a:pt x="650" y="1055"/>
                    </a:lnTo>
                    <a:close/>
                    <a:moveTo>
                      <a:pt x="88" y="999"/>
                    </a:moveTo>
                    <a:lnTo>
                      <a:pt x="90" y="999"/>
                    </a:lnTo>
                    <a:lnTo>
                      <a:pt x="90" y="1003"/>
                    </a:lnTo>
                    <a:lnTo>
                      <a:pt x="88" y="1003"/>
                    </a:lnTo>
                    <a:lnTo>
                      <a:pt x="88" y="999"/>
                    </a:lnTo>
                    <a:close/>
                    <a:moveTo>
                      <a:pt x="1196" y="1305"/>
                    </a:moveTo>
                    <a:lnTo>
                      <a:pt x="1198" y="1305"/>
                    </a:lnTo>
                    <a:lnTo>
                      <a:pt x="1198" y="1307"/>
                    </a:lnTo>
                    <a:lnTo>
                      <a:pt x="1196" y="1307"/>
                    </a:lnTo>
                    <a:lnTo>
                      <a:pt x="1196" y="1305"/>
                    </a:lnTo>
                    <a:close/>
                    <a:moveTo>
                      <a:pt x="952" y="639"/>
                    </a:moveTo>
                    <a:lnTo>
                      <a:pt x="952" y="641"/>
                    </a:lnTo>
                    <a:lnTo>
                      <a:pt x="950" y="643"/>
                    </a:lnTo>
                    <a:lnTo>
                      <a:pt x="948" y="641"/>
                    </a:lnTo>
                    <a:lnTo>
                      <a:pt x="950" y="641"/>
                    </a:lnTo>
                    <a:lnTo>
                      <a:pt x="952" y="639"/>
                    </a:lnTo>
                    <a:close/>
                    <a:moveTo>
                      <a:pt x="1314" y="1610"/>
                    </a:moveTo>
                    <a:lnTo>
                      <a:pt x="1314" y="1612"/>
                    </a:lnTo>
                    <a:lnTo>
                      <a:pt x="1316" y="1612"/>
                    </a:lnTo>
                    <a:lnTo>
                      <a:pt x="1314" y="1612"/>
                    </a:lnTo>
                    <a:lnTo>
                      <a:pt x="1312" y="1612"/>
                    </a:lnTo>
                    <a:lnTo>
                      <a:pt x="1314" y="1610"/>
                    </a:lnTo>
                    <a:close/>
                    <a:moveTo>
                      <a:pt x="784" y="988"/>
                    </a:moveTo>
                    <a:lnTo>
                      <a:pt x="786" y="990"/>
                    </a:lnTo>
                    <a:lnTo>
                      <a:pt x="786" y="988"/>
                    </a:lnTo>
                    <a:lnTo>
                      <a:pt x="784" y="990"/>
                    </a:lnTo>
                    <a:lnTo>
                      <a:pt x="784" y="988"/>
                    </a:lnTo>
                    <a:close/>
                    <a:moveTo>
                      <a:pt x="1331" y="1524"/>
                    </a:moveTo>
                    <a:lnTo>
                      <a:pt x="1333" y="1524"/>
                    </a:lnTo>
                    <a:lnTo>
                      <a:pt x="1333" y="1526"/>
                    </a:lnTo>
                    <a:lnTo>
                      <a:pt x="1331" y="1526"/>
                    </a:lnTo>
                    <a:lnTo>
                      <a:pt x="1331" y="1524"/>
                    </a:lnTo>
                    <a:close/>
                    <a:moveTo>
                      <a:pt x="793" y="1274"/>
                    </a:moveTo>
                    <a:lnTo>
                      <a:pt x="795" y="1274"/>
                    </a:lnTo>
                    <a:lnTo>
                      <a:pt x="797" y="1276"/>
                    </a:lnTo>
                    <a:lnTo>
                      <a:pt x="795" y="1276"/>
                    </a:lnTo>
                    <a:lnTo>
                      <a:pt x="793" y="1274"/>
                    </a:lnTo>
                    <a:lnTo>
                      <a:pt x="791" y="1274"/>
                    </a:lnTo>
                    <a:lnTo>
                      <a:pt x="793" y="1274"/>
                    </a:lnTo>
                    <a:close/>
                    <a:moveTo>
                      <a:pt x="482" y="1072"/>
                    </a:moveTo>
                    <a:lnTo>
                      <a:pt x="481" y="1076"/>
                    </a:lnTo>
                    <a:lnTo>
                      <a:pt x="481" y="1074"/>
                    </a:lnTo>
                    <a:lnTo>
                      <a:pt x="479" y="1076"/>
                    </a:lnTo>
                    <a:lnTo>
                      <a:pt x="477" y="1078"/>
                    </a:lnTo>
                    <a:lnTo>
                      <a:pt x="477" y="1076"/>
                    </a:lnTo>
                    <a:lnTo>
                      <a:pt x="482" y="1072"/>
                    </a:lnTo>
                    <a:close/>
                    <a:moveTo>
                      <a:pt x="700" y="896"/>
                    </a:moveTo>
                    <a:lnTo>
                      <a:pt x="704" y="896"/>
                    </a:lnTo>
                    <a:lnTo>
                      <a:pt x="704" y="898"/>
                    </a:lnTo>
                    <a:lnTo>
                      <a:pt x="700" y="898"/>
                    </a:lnTo>
                    <a:lnTo>
                      <a:pt x="700" y="896"/>
                    </a:lnTo>
                    <a:close/>
                    <a:moveTo>
                      <a:pt x="1062" y="1207"/>
                    </a:moveTo>
                    <a:lnTo>
                      <a:pt x="1064" y="1207"/>
                    </a:lnTo>
                    <a:lnTo>
                      <a:pt x="1064" y="1209"/>
                    </a:lnTo>
                    <a:lnTo>
                      <a:pt x="1064" y="1211"/>
                    </a:lnTo>
                    <a:lnTo>
                      <a:pt x="1062" y="1207"/>
                    </a:lnTo>
                    <a:lnTo>
                      <a:pt x="1060" y="1207"/>
                    </a:lnTo>
                    <a:lnTo>
                      <a:pt x="1062" y="1207"/>
                    </a:lnTo>
                    <a:close/>
                    <a:moveTo>
                      <a:pt x="526" y="1112"/>
                    </a:moveTo>
                    <a:lnTo>
                      <a:pt x="530" y="1112"/>
                    </a:lnTo>
                    <a:lnTo>
                      <a:pt x="530" y="1118"/>
                    </a:lnTo>
                    <a:lnTo>
                      <a:pt x="526" y="1118"/>
                    </a:lnTo>
                    <a:lnTo>
                      <a:pt x="526" y="1112"/>
                    </a:lnTo>
                    <a:close/>
                    <a:moveTo>
                      <a:pt x="442" y="576"/>
                    </a:moveTo>
                    <a:lnTo>
                      <a:pt x="441" y="578"/>
                    </a:lnTo>
                    <a:lnTo>
                      <a:pt x="439" y="576"/>
                    </a:lnTo>
                    <a:lnTo>
                      <a:pt x="441" y="574"/>
                    </a:lnTo>
                    <a:lnTo>
                      <a:pt x="442" y="576"/>
                    </a:lnTo>
                    <a:close/>
                    <a:moveTo>
                      <a:pt x="444" y="967"/>
                    </a:moveTo>
                    <a:lnTo>
                      <a:pt x="446" y="967"/>
                    </a:lnTo>
                    <a:lnTo>
                      <a:pt x="448" y="969"/>
                    </a:lnTo>
                    <a:lnTo>
                      <a:pt x="446" y="969"/>
                    </a:lnTo>
                    <a:lnTo>
                      <a:pt x="442" y="967"/>
                    </a:lnTo>
                    <a:lnTo>
                      <a:pt x="444" y="967"/>
                    </a:lnTo>
                    <a:close/>
                    <a:moveTo>
                      <a:pt x="275" y="1663"/>
                    </a:moveTo>
                    <a:lnTo>
                      <a:pt x="277" y="1663"/>
                    </a:lnTo>
                    <a:lnTo>
                      <a:pt x="275" y="1663"/>
                    </a:lnTo>
                    <a:lnTo>
                      <a:pt x="273" y="1663"/>
                    </a:lnTo>
                    <a:lnTo>
                      <a:pt x="275" y="1663"/>
                    </a:lnTo>
                    <a:close/>
                    <a:moveTo>
                      <a:pt x="685" y="614"/>
                    </a:moveTo>
                    <a:lnTo>
                      <a:pt x="688" y="616"/>
                    </a:lnTo>
                    <a:lnTo>
                      <a:pt x="687" y="616"/>
                    </a:lnTo>
                    <a:lnTo>
                      <a:pt x="685" y="614"/>
                    </a:lnTo>
                    <a:lnTo>
                      <a:pt x="685" y="616"/>
                    </a:lnTo>
                    <a:lnTo>
                      <a:pt x="683" y="614"/>
                    </a:lnTo>
                    <a:lnTo>
                      <a:pt x="685" y="614"/>
                    </a:lnTo>
                    <a:close/>
                    <a:moveTo>
                      <a:pt x="633" y="681"/>
                    </a:moveTo>
                    <a:lnTo>
                      <a:pt x="633" y="683"/>
                    </a:lnTo>
                    <a:lnTo>
                      <a:pt x="629" y="683"/>
                    </a:lnTo>
                    <a:lnTo>
                      <a:pt x="629" y="681"/>
                    </a:lnTo>
                    <a:lnTo>
                      <a:pt x="633" y="681"/>
                    </a:lnTo>
                    <a:close/>
                    <a:moveTo>
                      <a:pt x="1007" y="1278"/>
                    </a:moveTo>
                    <a:lnTo>
                      <a:pt x="1009" y="1278"/>
                    </a:lnTo>
                    <a:lnTo>
                      <a:pt x="1007" y="1280"/>
                    </a:lnTo>
                    <a:lnTo>
                      <a:pt x="1005" y="1278"/>
                    </a:lnTo>
                    <a:lnTo>
                      <a:pt x="1007" y="1278"/>
                    </a:lnTo>
                    <a:close/>
                    <a:moveTo>
                      <a:pt x="257" y="1652"/>
                    </a:moveTo>
                    <a:lnTo>
                      <a:pt x="261" y="1652"/>
                    </a:lnTo>
                    <a:lnTo>
                      <a:pt x="261" y="1656"/>
                    </a:lnTo>
                    <a:lnTo>
                      <a:pt x="257" y="1656"/>
                    </a:lnTo>
                    <a:lnTo>
                      <a:pt x="257" y="1652"/>
                    </a:lnTo>
                    <a:close/>
                    <a:moveTo>
                      <a:pt x="78" y="1020"/>
                    </a:moveTo>
                    <a:lnTo>
                      <a:pt x="80" y="1022"/>
                    </a:lnTo>
                    <a:lnTo>
                      <a:pt x="80" y="1024"/>
                    </a:lnTo>
                    <a:lnTo>
                      <a:pt x="78" y="1022"/>
                    </a:lnTo>
                    <a:lnTo>
                      <a:pt x="78" y="1020"/>
                    </a:lnTo>
                    <a:lnTo>
                      <a:pt x="78" y="1022"/>
                    </a:lnTo>
                    <a:lnTo>
                      <a:pt x="78" y="1020"/>
                    </a:lnTo>
                    <a:lnTo>
                      <a:pt x="76" y="1020"/>
                    </a:lnTo>
                    <a:lnTo>
                      <a:pt x="78" y="1020"/>
                    </a:lnTo>
                    <a:close/>
                    <a:moveTo>
                      <a:pt x="320" y="601"/>
                    </a:moveTo>
                    <a:lnTo>
                      <a:pt x="322" y="603"/>
                    </a:lnTo>
                    <a:lnTo>
                      <a:pt x="320" y="603"/>
                    </a:lnTo>
                    <a:lnTo>
                      <a:pt x="317" y="603"/>
                    </a:lnTo>
                    <a:lnTo>
                      <a:pt x="318" y="603"/>
                    </a:lnTo>
                    <a:lnTo>
                      <a:pt x="318" y="601"/>
                    </a:lnTo>
                    <a:lnTo>
                      <a:pt x="320" y="601"/>
                    </a:lnTo>
                    <a:close/>
                    <a:moveTo>
                      <a:pt x="1198" y="1303"/>
                    </a:moveTo>
                    <a:lnTo>
                      <a:pt x="1199" y="1303"/>
                    </a:lnTo>
                    <a:lnTo>
                      <a:pt x="1199" y="1307"/>
                    </a:lnTo>
                    <a:lnTo>
                      <a:pt x="1198" y="1307"/>
                    </a:lnTo>
                    <a:lnTo>
                      <a:pt x="1198" y="1303"/>
                    </a:lnTo>
                    <a:close/>
                    <a:moveTo>
                      <a:pt x="1180" y="1055"/>
                    </a:moveTo>
                    <a:lnTo>
                      <a:pt x="1182" y="1055"/>
                    </a:lnTo>
                    <a:lnTo>
                      <a:pt x="1182" y="1057"/>
                    </a:lnTo>
                    <a:lnTo>
                      <a:pt x="1180" y="1057"/>
                    </a:lnTo>
                    <a:lnTo>
                      <a:pt x="1178" y="1057"/>
                    </a:lnTo>
                    <a:lnTo>
                      <a:pt x="1178" y="1055"/>
                    </a:lnTo>
                    <a:lnTo>
                      <a:pt x="1180" y="1055"/>
                    </a:lnTo>
                    <a:close/>
                    <a:moveTo>
                      <a:pt x="1178" y="1177"/>
                    </a:moveTo>
                    <a:lnTo>
                      <a:pt x="1178" y="1181"/>
                    </a:lnTo>
                    <a:lnTo>
                      <a:pt x="1178" y="1177"/>
                    </a:lnTo>
                    <a:close/>
                    <a:moveTo>
                      <a:pt x="1194" y="1064"/>
                    </a:moveTo>
                    <a:lnTo>
                      <a:pt x="1196" y="1064"/>
                    </a:lnTo>
                    <a:lnTo>
                      <a:pt x="1196" y="1070"/>
                    </a:lnTo>
                    <a:lnTo>
                      <a:pt x="1194" y="1070"/>
                    </a:lnTo>
                    <a:lnTo>
                      <a:pt x="1194" y="1064"/>
                    </a:lnTo>
                    <a:close/>
                    <a:moveTo>
                      <a:pt x="1165" y="1045"/>
                    </a:moveTo>
                    <a:lnTo>
                      <a:pt x="1161" y="1043"/>
                    </a:lnTo>
                    <a:lnTo>
                      <a:pt x="1163" y="1043"/>
                    </a:lnTo>
                    <a:lnTo>
                      <a:pt x="1165" y="1045"/>
                    </a:lnTo>
                    <a:lnTo>
                      <a:pt x="1165" y="1043"/>
                    </a:lnTo>
                    <a:lnTo>
                      <a:pt x="1165" y="1045"/>
                    </a:lnTo>
                    <a:close/>
                    <a:moveTo>
                      <a:pt x="1243" y="1167"/>
                    </a:moveTo>
                    <a:lnTo>
                      <a:pt x="1245" y="1167"/>
                    </a:lnTo>
                    <a:lnTo>
                      <a:pt x="1245" y="1171"/>
                    </a:lnTo>
                    <a:lnTo>
                      <a:pt x="1243" y="1171"/>
                    </a:lnTo>
                    <a:lnTo>
                      <a:pt x="1243" y="1167"/>
                    </a:lnTo>
                    <a:close/>
                    <a:moveTo>
                      <a:pt x="1022" y="1450"/>
                    </a:moveTo>
                    <a:lnTo>
                      <a:pt x="1024" y="1450"/>
                    </a:lnTo>
                    <a:lnTo>
                      <a:pt x="1024" y="1454"/>
                    </a:lnTo>
                    <a:lnTo>
                      <a:pt x="1022" y="1454"/>
                    </a:lnTo>
                    <a:lnTo>
                      <a:pt x="1022" y="1450"/>
                    </a:lnTo>
                    <a:close/>
                    <a:moveTo>
                      <a:pt x="696" y="694"/>
                    </a:moveTo>
                    <a:lnTo>
                      <a:pt x="700" y="694"/>
                    </a:lnTo>
                    <a:lnTo>
                      <a:pt x="700" y="700"/>
                    </a:lnTo>
                    <a:lnTo>
                      <a:pt x="696" y="700"/>
                    </a:lnTo>
                    <a:lnTo>
                      <a:pt x="696" y="694"/>
                    </a:lnTo>
                    <a:close/>
                    <a:moveTo>
                      <a:pt x="280" y="1658"/>
                    </a:moveTo>
                    <a:lnTo>
                      <a:pt x="282" y="1658"/>
                    </a:lnTo>
                    <a:lnTo>
                      <a:pt x="282" y="1660"/>
                    </a:lnTo>
                    <a:lnTo>
                      <a:pt x="280" y="1660"/>
                    </a:lnTo>
                    <a:lnTo>
                      <a:pt x="280" y="1658"/>
                    </a:lnTo>
                    <a:close/>
                    <a:moveTo>
                      <a:pt x="523" y="881"/>
                    </a:moveTo>
                    <a:lnTo>
                      <a:pt x="524" y="881"/>
                    </a:lnTo>
                    <a:lnTo>
                      <a:pt x="524" y="885"/>
                    </a:lnTo>
                    <a:lnTo>
                      <a:pt x="523" y="885"/>
                    </a:lnTo>
                    <a:lnTo>
                      <a:pt x="523" y="881"/>
                    </a:lnTo>
                    <a:close/>
                    <a:moveTo>
                      <a:pt x="208" y="1585"/>
                    </a:moveTo>
                    <a:lnTo>
                      <a:pt x="206" y="1587"/>
                    </a:lnTo>
                    <a:lnTo>
                      <a:pt x="204" y="1587"/>
                    </a:lnTo>
                    <a:lnTo>
                      <a:pt x="206" y="1585"/>
                    </a:lnTo>
                    <a:lnTo>
                      <a:pt x="208" y="1585"/>
                    </a:lnTo>
                    <a:close/>
                    <a:moveTo>
                      <a:pt x="793" y="999"/>
                    </a:moveTo>
                    <a:lnTo>
                      <a:pt x="797" y="999"/>
                    </a:lnTo>
                    <a:lnTo>
                      <a:pt x="797" y="1003"/>
                    </a:lnTo>
                    <a:lnTo>
                      <a:pt x="793" y="1003"/>
                    </a:lnTo>
                    <a:lnTo>
                      <a:pt x="793" y="999"/>
                    </a:lnTo>
                    <a:close/>
                    <a:moveTo>
                      <a:pt x="812" y="1028"/>
                    </a:moveTo>
                    <a:lnTo>
                      <a:pt x="814" y="1028"/>
                    </a:lnTo>
                    <a:lnTo>
                      <a:pt x="814" y="1032"/>
                    </a:lnTo>
                    <a:lnTo>
                      <a:pt x="812" y="1032"/>
                    </a:lnTo>
                    <a:lnTo>
                      <a:pt x="812" y="1028"/>
                    </a:lnTo>
                    <a:close/>
                    <a:moveTo>
                      <a:pt x="1196" y="1293"/>
                    </a:moveTo>
                    <a:lnTo>
                      <a:pt x="1198" y="1295"/>
                    </a:lnTo>
                    <a:lnTo>
                      <a:pt x="1196" y="1295"/>
                    </a:lnTo>
                    <a:lnTo>
                      <a:pt x="1196" y="1293"/>
                    </a:lnTo>
                    <a:lnTo>
                      <a:pt x="1194" y="1293"/>
                    </a:lnTo>
                    <a:lnTo>
                      <a:pt x="1196" y="1293"/>
                    </a:lnTo>
                    <a:close/>
                    <a:moveTo>
                      <a:pt x="639" y="967"/>
                    </a:moveTo>
                    <a:lnTo>
                      <a:pt x="643" y="967"/>
                    </a:lnTo>
                    <a:lnTo>
                      <a:pt x="643" y="971"/>
                    </a:lnTo>
                    <a:lnTo>
                      <a:pt x="639" y="971"/>
                    </a:lnTo>
                    <a:lnTo>
                      <a:pt x="639" y="967"/>
                    </a:lnTo>
                    <a:close/>
                    <a:moveTo>
                      <a:pt x="1240" y="1112"/>
                    </a:moveTo>
                    <a:lnTo>
                      <a:pt x="1241" y="1112"/>
                    </a:lnTo>
                    <a:lnTo>
                      <a:pt x="1241" y="1114"/>
                    </a:lnTo>
                    <a:lnTo>
                      <a:pt x="1240" y="1114"/>
                    </a:lnTo>
                    <a:lnTo>
                      <a:pt x="1240" y="1112"/>
                    </a:lnTo>
                    <a:close/>
                    <a:moveTo>
                      <a:pt x="1064" y="1061"/>
                    </a:moveTo>
                    <a:lnTo>
                      <a:pt x="1066" y="1061"/>
                    </a:lnTo>
                    <a:lnTo>
                      <a:pt x="1066" y="1064"/>
                    </a:lnTo>
                    <a:lnTo>
                      <a:pt x="1064" y="1064"/>
                    </a:lnTo>
                    <a:lnTo>
                      <a:pt x="1064" y="1061"/>
                    </a:lnTo>
                    <a:close/>
                    <a:moveTo>
                      <a:pt x="669" y="916"/>
                    </a:moveTo>
                    <a:lnTo>
                      <a:pt x="671" y="916"/>
                    </a:lnTo>
                    <a:lnTo>
                      <a:pt x="671" y="919"/>
                    </a:lnTo>
                    <a:lnTo>
                      <a:pt x="669" y="919"/>
                    </a:lnTo>
                    <a:lnTo>
                      <a:pt x="669" y="916"/>
                    </a:lnTo>
                    <a:close/>
                    <a:moveTo>
                      <a:pt x="1211" y="1225"/>
                    </a:moveTo>
                    <a:lnTo>
                      <a:pt x="1213" y="1225"/>
                    </a:lnTo>
                    <a:lnTo>
                      <a:pt x="1209" y="1225"/>
                    </a:lnTo>
                    <a:lnTo>
                      <a:pt x="1211" y="1225"/>
                    </a:lnTo>
                    <a:close/>
                    <a:moveTo>
                      <a:pt x="172" y="1538"/>
                    </a:moveTo>
                    <a:lnTo>
                      <a:pt x="174" y="1538"/>
                    </a:lnTo>
                    <a:lnTo>
                      <a:pt x="174" y="1539"/>
                    </a:lnTo>
                    <a:lnTo>
                      <a:pt x="172" y="1539"/>
                    </a:lnTo>
                    <a:lnTo>
                      <a:pt x="172" y="1538"/>
                    </a:lnTo>
                    <a:close/>
                    <a:moveTo>
                      <a:pt x="1022" y="1442"/>
                    </a:moveTo>
                    <a:lnTo>
                      <a:pt x="1024" y="1442"/>
                    </a:lnTo>
                    <a:lnTo>
                      <a:pt x="1024" y="1448"/>
                    </a:lnTo>
                    <a:lnTo>
                      <a:pt x="1022" y="1448"/>
                    </a:lnTo>
                    <a:lnTo>
                      <a:pt x="1022" y="1442"/>
                    </a:lnTo>
                    <a:close/>
                    <a:moveTo>
                      <a:pt x="1161" y="1251"/>
                    </a:moveTo>
                    <a:lnTo>
                      <a:pt x="1161" y="1253"/>
                    </a:lnTo>
                    <a:lnTo>
                      <a:pt x="1163" y="1255"/>
                    </a:lnTo>
                    <a:lnTo>
                      <a:pt x="1163" y="1257"/>
                    </a:lnTo>
                    <a:lnTo>
                      <a:pt x="1161" y="1255"/>
                    </a:lnTo>
                    <a:lnTo>
                      <a:pt x="1161" y="1251"/>
                    </a:lnTo>
                    <a:close/>
                    <a:moveTo>
                      <a:pt x="206" y="1599"/>
                    </a:moveTo>
                    <a:lnTo>
                      <a:pt x="208" y="1599"/>
                    </a:lnTo>
                    <a:lnTo>
                      <a:pt x="208" y="1601"/>
                    </a:lnTo>
                    <a:lnTo>
                      <a:pt x="206" y="1601"/>
                    </a:lnTo>
                    <a:lnTo>
                      <a:pt x="206" y="1599"/>
                    </a:lnTo>
                    <a:close/>
                    <a:moveTo>
                      <a:pt x="1074" y="17"/>
                    </a:moveTo>
                    <a:lnTo>
                      <a:pt x="1076" y="19"/>
                    </a:lnTo>
                    <a:lnTo>
                      <a:pt x="1072" y="21"/>
                    </a:lnTo>
                    <a:lnTo>
                      <a:pt x="1070" y="17"/>
                    </a:lnTo>
                    <a:lnTo>
                      <a:pt x="1072" y="19"/>
                    </a:lnTo>
                    <a:lnTo>
                      <a:pt x="1074" y="17"/>
                    </a:lnTo>
                    <a:close/>
                    <a:moveTo>
                      <a:pt x="494" y="1064"/>
                    </a:moveTo>
                    <a:lnTo>
                      <a:pt x="498" y="1064"/>
                    </a:lnTo>
                    <a:lnTo>
                      <a:pt x="498" y="1066"/>
                    </a:lnTo>
                    <a:lnTo>
                      <a:pt x="494" y="1066"/>
                    </a:lnTo>
                    <a:lnTo>
                      <a:pt x="494" y="1064"/>
                    </a:lnTo>
                    <a:close/>
                    <a:moveTo>
                      <a:pt x="1131" y="1330"/>
                    </a:moveTo>
                    <a:lnTo>
                      <a:pt x="1131" y="1333"/>
                    </a:lnTo>
                    <a:lnTo>
                      <a:pt x="1131" y="1330"/>
                    </a:lnTo>
                    <a:close/>
                    <a:moveTo>
                      <a:pt x="1100" y="1240"/>
                    </a:moveTo>
                    <a:lnTo>
                      <a:pt x="1102" y="1240"/>
                    </a:lnTo>
                    <a:lnTo>
                      <a:pt x="1102" y="1242"/>
                    </a:lnTo>
                    <a:lnTo>
                      <a:pt x="1100" y="1242"/>
                    </a:lnTo>
                    <a:lnTo>
                      <a:pt x="1100" y="1240"/>
                    </a:lnTo>
                    <a:close/>
                    <a:moveTo>
                      <a:pt x="175" y="1551"/>
                    </a:moveTo>
                    <a:lnTo>
                      <a:pt x="177" y="1551"/>
                    </a:lnTo>
                    <a:lnTo>
                      <a:pt x="177" y="1555"/>
                    </a:lnTo>
                    <a:lnTo>
                      <a:pt x="175" y="1555"/>
                    </a:lnTo>
                    <a:lnTo>
                      <a:pt x="175" y="1551"/>
                    </a:lnTo>
                    <a:close/>
                    <a:moveTo>
                      <a:pt x="1217" y="1223"/>
                    </a:moveTo>
                    <a:lnTo>
                      <a:pt x="1219" y="1223"/>
                    </a:lnTo>
                    <a:lnTo>
                      <a:pt x="1220" y="1225"/>
                    </a:lnTo>
                    <a:lnTo>
                      <a:pt x="1219" y="1225"/>
                    </a:lnTo>
                    <a:lnTo>
                      <a:pt x="1217" y="1223"/>
                    </a:lnTo>
                    <a:close/>
                    <a:moveTo>
                      <a:pt x="1236" y="1179"/>
                    </a:moveTo>
                    <a:lnTo>
                      <a:pt x="1240" y="1179"/>
                    </a:lnTo>
                    <a:lnTo>
                      <a:pt x="1240" y="1183"/>
                    </a:lnTo>
                    <a:lnTo>
                      <a:pt x="1236" y="1183"/>
                    </a:lnTo>
                    <a:lnTo>
                      <a:pt x="1236" y="1179"/>
                    </a:lnTo>
                    <a:close/>
                    <a:moveTo>
                      <a:pt x="509" y="591"/>
                    </a:moveTo>
                    <a:lnTo>
                      <a:pt x="505" y="589"/>
                    </a:lnTo>
                    <a:lnTo>
                      <a:pt x="507" y="589"/>
                    </a:lnTo>
                    <a:lnTo>
                      <a:pt x="509" y="591"/>
                    </a:lnTo>
                    <a:close/>
                    <a:moveTo>
                      <a:pt x="822" y="622"/>
                    </a:moveTo>
                    <a:lnTo>
                      <a:pt x="818" y="622"/>
                    </a:lnTo>
                    <a:lnTo>
                      <a:pt x="820" y="620"/>
                    </a:lnTo>
                    <a:lnTo>
                      <a:pt x="822" y="622"/>
                    </a:lnTo>
                    <a:close/>
                    <a:moveTo>
                      <a:pt x="1373" y="1656"/>
                    </a:moveTo>
                    <a:lnTo>
                      <a:pt x="1375" y="1656"/>
                    </a:lnTo>
                    <a:lnTo>
                      <a:pt x="1375" y="1658"/>
                    </a:lnTo>
                    <a:lnTo>
                      <a:pt x="1373" y="1658"/>
                    </a:lnTo>
                    <a:lnTo>
                      <a:pt x="1373" y="1656"/>
                    </a:lnTo>
                    <a:close/>
                    <a:moveTo>
                      <a:pt x="946" y="1219"/>
                    </a:moveTo>
                    <a:lnTo>
                      <a:pt x="950" y="1219"/>
                    </a:lnTo>
                    <a:lnTo>
                      <a:pt x="950" y="1221"/>
                    </a:lnTo>
                    <a:lnTo>
                      <a:pt x="946" y="1221"/>
                    </a:lnTo>
                    <a:lnTo>
                      <a:pt x="946" y="1219"/>
                    </a:lnTo>
                    <a:close/>
                    <a:moveTo>
                      <a:pt x="227" y="1622"/>
                    </a:moveTo>
                    <a:lnTo>
                      <a:pt x="229" y="1622"/>
                    </a:lnTo>
                    <a:lnTo>
                      <a:pt x="227" y="1622"/>
                    </a:lnTo>
                    <a:lnTo>
                      <a:pt x="225" y="1622"/>
                    </a:lnTo>
                    <a:lnTo>
                      <a:pt x="227" y="1622"/>
                    </a:lnTo>
                    <a:lnTo>
                      <a:pt x="225" y="1622"/>
                    </a:lnTo>
                    <a:lnTo>
                      <a:pt x="227" y="1622"/>
                    </a:lnTo>
                    <a:close/>
                    <a:moveTo>
                      <a:pt x="946" y="1005"/>
                    </a:moveTo>
                    <a:lnTo>
                      <a:pt x="948" y="1007"/>
                    </a:lnTo>
                    <a:lnTo>
                      <a:pt x="944" y="1005"/>
                    </a:lnTo>
                    <a:lnTo>
                      <a:pt x="946" y="1003"/>
                    </a:lnTo>
                    <a:lnTo>
                      <a:pt x="946" y="1005"/>
                    </a:lnTo>
                    <a:close/>
                    <a:moveTo>
                      <a:pt x="80" y="1026"/>
                    </a:moveTo>
                    <a:lnTo>
                      <a:pt x="84" y="1026"/>
                    </a:lnTo>
                    <a:lnTo>
                      <a:pt x="84" y="1028"/>
                    </a:lnTo>
                    <a:lnTo>
                      <a:pt x="80" y="1028"/>
                    </a:lnTo>
                    <a:lnTo>
                      <a:pt x="80" y="1026"/>
                    </a:lnTo>
                    <a:close/>
                    <a:moveTo>
                      <a:pt x="195" y="1545"/>
                    </a:moveTo>
                    <a:lnTo>
                      <a:pt x="193" y="1547"/>
                    </a:lnTo>
                    <a:lnTo>
                      <a:pt x="191" y="1549"/>
                    </a:lnTo>
                    <a:lnTo>
                      <a:pt x="191" y="1547"/>
                    </a:lnTo>
                    <a:lnTo>
                      <a:pt x="195" y="1545"/>
                    </a:lnTo>
                    <a:close/>
                    <a:moveTo>
                      <a:pt x="1299" y="1627"/>
                    </a:moveTo>
                    <a:lnTo>
                      <a:pt x="1301" y="1627"/>
                    </a:lnTo>
                    <a:lnTo>
                      <a:pt x="1301" y="1629"/>
                    </a:lnTo>
                    <a:lnTo>
                      <a:pt x="1299" y="1629"/>
                    </a:lnTo>
                    <a:lnTo>
                      <a:pt x="1299" y="1627"/>
                    </a:lnTo>
                    <a:close/>
                    <a:moveTo>
                      <a:pt x="1285" y="1501"/>
                    </a:moveTo>
                    <a:lnTo>
                      <a:pt x="1287" y="1501"/>
                    </a:lnTo>
                    <a:lnTo>
                      <a:pt x="1287" y="1503"/>
                    </a:lnTo>
                    <a:lnTo>
                      <a:pt x="1285" y="1503"/>
                    </a:lnTo>
                    <a:lnTo>
                      <a:pt x="1285" y="1501"/>
                    </a:lnTo>
                    <a:close/>
                    <a:moveTo>
                      <a:pt x="1358" y="1618"/>
                    </a:moveTo>
                    <a:lnTo>
                      <a:pt x="1360" y="1618"/>
                    </a:lnTo>
                    <a:lnTo>
                      <a:pt x="1360" y="1622"/>
                    </a:lnTo>
                    <a:lnTo>
                      <a:pt x="1358" y="1622"/>
                    </a:lnTo>
                    <a:lnTo>
                      <a:pt x="1358" y="1618"/>
                    </a:lnTo>
                    <a:close/>
                    <a:moveTo>
                      <a:pt x="994" y="1059"/>
                    </a:moveTo>
                    <a:lnTo>
                      <a:pt x="995" y="1059"/>
                    </a:lnTo>
                    <a:lnTo>
                      <a:pt x="995" y="1062"/>
                    </a:lnTo>
                    <a:lnTo>
                      <a:pt x="994" y="1062"/>
                    </a:lnTo>
                    <a:lnTo>
                      <a:pt x="994" y="1059"/>
                    </a:lnTo>
                    <a:close/>
                    <a:moveTo>
                      <a:pt x="1177" y="1137"/>
                    </a:moveTo>
                    <a:lnTo>
                      <a:pt x="1178" y="1137"/>
                    </a:lnTo>
                    <a:lnTo>
                      <a:pt x="1178" y="1139"/>
                    </a:lnTo>
                    <a:lnTo>
                      <a:pt x="1180" y="1139"/>
                    </a:lnTo>
                    <a:lnTo>
                      <a:pt x="1178" y="1139"/>
                    </a:lnTo>
                    <a:lnTo>
                      <a:pt x="1177" y="1137"/>
                    </a:lnTo>
                    <a:close/>
                    <a:moveTo>
                      <a:pt x="919" y="992"/>
                    </a:moveTo>
                    <a:lnTo>
                      <a:pt x="925" y="994"/>
                    </a:lnTo>
                    <a:lnTo>
                      <a:pt x="921" y="994"/>
                    </a:lnTo>
                    <a:lnTo>
                      <a:pt x="919" y="992"/>
                    </a:lnTo>
                    <a:close/>
                    <a:moveTo>
                      <a:pt x="826" y="1684"/>
                    </a:moveTo>
                    <a:lnTo>
                      <a:pt x="828" y="1684"/>
                    </a:lnTo>
                    <a:lnTo>
                      <a:pt x="828" y="1686"/>
                    </a:lnTo>
                    <a:lnTo>
                      <a:pt x="826" y="1686"/>
                    </a:lnTo>
                    <a:lnTo>
                      <a:pt x="826" y="1684"/>
                    </a:lnTo>
                    <a:close/>
                    <a:moveTo>
                      <a:pt x="824" y="152"/>
                    </a:moveTo>
                    <a:lnTo>
                      <a:pt x="824" y="156"/>
                    </a:lnTo>
                    <a:lnTo>
                      <a:pt x="822" y="152"/>
                    </a:lnTo>
                    <a:lnTo>
                      <a:pt x="824" y="152"/>
                    </a:lnTo>
                    <a:close/>
                    <a:moveTo>
                      <a:pt x="1201" y="1068"/>
                    </a:moveTo>
                    <a:lnTo>
                      <a:pt x="1203" y="1068"/>
                    </a:lnTo>
                    <a:lnTo>
                      <a:pt x="1203" y="1070"/>
                    </a:lnTo>
                    <a:lnTo>
                      <a:pt x="1201" y="1070"/>
                    </a:lnTo>
                    <a:lnTo>
                      <a:pt x="1201" y="1068"/>
                    </a:lnTo>
                    <a:close/>
                    <a:moveTo>
                      <a:pt x="995" y="1246"/>
                    </a:moveTo>
                    <a:lnTo>
                      <a:pt x="995" y="1248"/>
                    </a:lnTo>
                    <a:lnTo>
                      <a:pt x="995" y="1246"/>
                    </a:lnTo>
                    <a:close/>
                    <a:moveTo>
                      <a:pt x="715" y="1078"/>
                    </a:moveTo>
                    <a:lnTo>
                      <a:pt x="717" y="1078"/>
                    </a:lnTo>
                    <a:lnTo>
                      <a:pt x="717" y="1080"/>
                    </a:lnTo>
                    <a:lnTo>
                      <a:pt x="715" y="1080"/>
                    </a:lnTo>
                    <a:lnTo>
                      <a:pt x="715" y="1078"/>
                    </a:lnTo>
                    <a:close/>
                    <a:moveTo>
                      <a:pt x="982" y="1465"/>
                    </a:moveTo>
                    <a:lnTo>
                      <a:pt x="986" y="1465"/>
                    </a:lnTo>
                    <a:lnTo>
                      <a:pt x="986" y="1467"/>
                    </a:lnTo>
                    <a:lnTo>
                      <a:pt x="982" y="1467"/>
                    </a:lnTo>
                    <a:lnTo>
                      <a:pt x="982" y="1465"/>
                    </a:lnTo>
                    <a:close/>
                    <a:moveTo>
                      <a:pt x="789" y="992"/>
                    </a:moveTo>
                    <a:lnTo>
                      <a:pt x="789" y="994"/>
                    </a:lnTo>
                    <a:lnTo>
                      <a:pt x="788" y="996"/>
                    </a:lnTo>
                    <a:lnTo>
                      <a:pt x="786" y="994"/>
                    </a:lnTo>
                    <a:lnTo>
                      <a:pt x="789" y="992"/>
                    </a:lnTo>
                    <a:close/>
                    <a:moveTo>
                      <a:pt x="1068" y="1213"/>
                    </a:moveTo>
                    <a:lnTo>
                      <a:pt x="1070" y="1213"/>
                    </a:lnTo>
                    <a:lnTo>
                      <a:pt x="1070" y="1217"/>
                    </a:lnTo>
                    <a:lnTo>
                      <a:pt x="1068" y="1217"/>
                    </a:lnTo>
                    <a:lnTo>
                      <a:pt x="1068" y="1213"/>
                    </a:lnTo>
                    <a:close/>
                    <a:moveTo>
                      <a:pt x="494" y="1066"/>
                    </a:moveTo>
                    <a:lnTo>
                      <a:pt x="494" y="1068"/>
                    </a:lnTo>
                    <a:lnTo>
                      <a:pt x="494" y="1066"/>
                    </a:lnTo>
                    <a:lnTo>
                      <a:pt x="494" y="1068"/>
                    </a:lnTo>
                    <a:lnTo>
                      <a:pt x="492" y="1068"/>
                    </a:lnTo>
                    <a:lnTo>
                      <a:pt x="490" y="1068"/>
                    </a:lnTo>
                    <a:lnTo>
                      <a:pt x="494" y="1066"/>
                    </a:lnTo>
                    <a:close/>
                    <a:moveTo>
                      <a:pt x="530" y="1099"/>
                    </a:moveTo>
                    <a:lnTo>
                      <a:pt x="532" y="1099"/>
                    </a:lnTo>
                    <a:lnTo>
                      <a:pt x="532" y="1103"/>
                    </a:lnTo>
                    <a:lnTo>
                      <a:pt x="530" y="1103"/>
                    </a:lnTo>
                    <a:lnTo>
                      <a:pt x="530" y="1099"/>
                    </a:lnTo>
                    <a:close/>
                    <a:moveTo>
                      <a:pt x="1178" y="1133"/>
                    </a:moveTo>
                    <a:lnTo>
                      <a:pt x="1180" y="1135"/>
                    </a:lnTo>
                    <a:lnTo>
                      <a:pt x="1178" y="1135"/>
                    </a:lnTo>
                    <a:lnTo>
                      <a:pt x="1177" y="1135"/>
                    </a:lnTo>
                    <a:lnTo>
                      <a:pt x="1178" y="1133"/>
                    </a:lnTo>
                    <a:close/>
                    <a:moveTo>
                      <a:pt x="1041" y="1215"/>
                    </a:moveTo>
                    <a:lnTo>
                      <a:pt x="1043" y="1217"/>
                    </a:lnTo>
                    <a:lnTo>
                      <a:pt x="1041" y="1217"/>
                    </a:lnTo>
                    <a:lnTo>
                      <a:pt x="1043" y="1217"/>
                    </a:lnTo>
                    <a:lnTo>
                      <a:pt x="1041" y="1217"/>
                    </a:lnTo>
                    <a:lnTo>
                      <a:pt x="1039" y="1217"/>
                    </a:lnTo>
                    <a:lnTo>
                      <a:pt x="1039" y="1215"/>
                    </a:lnTo>
                    <a:lnTo>
                      <a:pt x="1041" y="1215"/>
                    </a:lnTo>
                    <a:close/>
                    <a:moveTo>
                      <a:pt x="113" y="1013"/>
                    </a:moveTo>
                    <a:lnTo>
                      <a:pt x="114" y="1013"/>
                    </a:lnTo>
                    <a:lnTo>
                      <a:pt x="114" y="1015"/>
                    </a:lnTo>
                    <a:lnTo>
                      <a:pt x="113" y="1015"/>
                    </a:lnTo>
                    <a:lnTo>
                      <a:pt x="113" y="1013"/>
                    </a:lnTo>
                    <a:close/>
                    <a:moveTo>
                      <a:pt x="995" y="1446"/>
                    </a:moveTo>
                    <a:lnTo>
                      <a:pt x="997" y="1446"/>
                    </a:lnTo>
                    <a:lnTo>
                      <a:pt x="997" y="1448"/>
                    </a:lnTo>
                    <a:lnTo>
                      <a:pt x="995" y="1448"/>
                    </a:lnTo>
                    <a:lnTo>
                      <a:pt x="995" y="1446"/>
                    </a:lnTo>
                    <a:close/>
                    <a:moveTo>
                      <a:pt x="1087" y="1236"/>
                    </a:moveTo>
                    <a:lnTo>
                      <a:pt x="1089" y="1236"/>
                    </a:lnTo>
                    <a:lnTo>
                      <a:pt x="1089" y="1240"/>
                    </a:lnTo>
                    <a:lnTo>
                      <a:pt x="1087" y="1240"/>
                    </a:lnTo>
                    <a:lnTo>
                      <a:pt x="1087" y="1236"/>
                    </a:lnTo>
                    <a:close/>
                    <a:moveTo>
                      <a:pt x="1205" y="1070"/>
                    </a:moveTo>
                    <a:lnTo>
                      <a:pt x="1205" y="1072"/>
                    </a:lnTo>
                    <a:lnTo>
                      <a:pt x="1207" y="1072"/>
                    </a:lnTo>
                    <a:lnTo>
                      <a:pt x="1205" y="1072"/>
                    </a:lnTo>
                    <a:lnTo>
                      <a:pt x="1205" y="1074"/>
                    </a:lnTo>
                    <a:lnTo>
                      <a:pt x="1203" y="1072"/>
                    </a:lnTo>
                    <a:lnTo>
                      <a:pt x="1205" y="1070"/>
                    </a:lnTo>
                    <a:close/>
                    <a:moveTo>
                      <a:pt x="216" y="1610"/>
                    </a:moveTo>
                    <a:lnTo>
                      <a:pt x="217" y="1610"/>
                    </a:lnTo>
                    <a:lnTo>
                      <a:pt x="214" y="1612"/>
                    </a:lnTo>
                    <a:lnTo>
                      <a:pt x="216" y="1610"/>
                    </a:lnTo>
                    <a:lnTo>
                      <a:pt x="214" y="1610"/>
                    </a:lnTo>
                    <a:lnTo>
                      <a:pt x="216" y="1610"/>
                    </a:lnTo>
                    <a:close/>
                    <a:moveTo>
                      <a:pt x="1165" y="1242"/>
                    </a:moveTo>
                    <a:lnTo>
                      <a:pt x="1167" y="1242"/>
                    </a:lnTo>
                    <a:lnTo>
                      <a:pt x="1167" y="1244"/>
                    </a:lnTo>
                    <a:lnTo>
                      <a:pt x="1165" y="1244"/>
                    </a:lnTo>
                    <a:lnTo>
                      <a:pt x="1165" y="1242"/>
                    </a:lnTo>
                    <a:close/>
                    <a:moveTo>
                      <a:pt x="1260" y="1471"/>
                    </a:moveTo>
                    <a:lnTo>
                      <a:pt x="1262" y="1471"/>
                    </a:lnTo>
                    <a:lnTo>
                      <a:pt x="1259" y="1471"/>
                    </a:lnTo>
                    <a:lnTo>
                      <a:pt x="1260" y="1471"/>
                    </a:lnTo>
                    <a:close/>
                    <a:moveTo>
                      <a:pt x="166" y="1543"/>
                    </a:moveTo>
                    <a:lnTo>
                      <a:pt x="168" y="1543"/>
                    </a:lnTo>
                    <a:lnTo>
                      <a:pt x="168" y="1545"/>
                    </a:lnTo>
                    <a:lnTo>
                      <a:pt x="166" y="1545"/>
                    </a:lnTo>
                    <a:lnTo>
                      <a:pt x="166" y="1543"/>
                    </a:lnTo>
                    <a:close/>
                    <a:moveTo>
                      <a:pt x="1207" y="1206"/>
                    </a:moveTo>
                    <a:lnTo>
                      <a:pt x="1209" y="1206"/>
                    </a:lnTo>
                    <a:lnTo>
                      <a:pt x="1209" y="1207"/>
                    </a:lnTo>
                    <a:lnTo>
                      <a:pt x="1207" y="1207"/>
                    </a:lnTo>
                    <a:lnTo>
                      <a:pt x="1207" y="1206"/>
                    </a:lnTo>
                    <a:close/>
                    <a:moveTo>
                      <a:pt x="1083" y="1236"/>
                    </a:moveTo>
                    <a:lnTo>
                      <a:pt x="1087" y="1236"/>
                    </a:lnTo>
                    <a:lnTo>
                      <a:pt x="1087" y="1238"/>
                    </a:lnTo>
                    <a:lnTo>
                      <a:pt x="1083" y="1238"/>
                    </a:lnTo>
                    <a:lnTo>
                      <a:pt x="1083" y="1236"/>
                    </a:lnTo>
                    <a:close/>
                    <a:moveTo>
                      <a:pt x="1308" y="1513"/>
                    </a:moveTo>
                    <a:lnTo>
                      <a:pt x="1310" y="1513"/>
                    </a:lnTo>
                    <a:lnTo>
                      <a:pt x="1310" y="1515"/>
                    </a:lnTo>
                    <a:lnTo>
                      <a:pt x="1308" y="1515"/>
                    </a:lnTo>
                    <a:lnTo>
                      <a:pt x="1308" y="1513"/>
                    </a:lnTo>
                    <a:close/>
                    <a:moveTo>
                      <a:pt x="1224" y="1242"/>
                    </a:moveTo>
                    <a:lnTo>
                      <a:pt x="1226" y="1242"/>
                    </a:lnTo>
                    <a:lnTo>
                      <a:pt x="1226" y="1244"/>
                    </a:lnTo>
                    <a:lnTo>
                      <a:pt x="1224" y="1244"/>
                    </a:lnTo>
                    <a:lnTo>
                      <a:pt x="1224" y="1242"/>
                    </a:lnTo>
                    <a:close/>
                    <a:moveTo>
                      <a:pt x="229" y="1627"/>
                    </a:moveTo>
                    <a:lnTo>
                      <a:pt x="231" y="1627"/>
                    </a:lnTo>
                    <a:lnTo>
                      <a:pt x="231" y="1629"/>
                    </a:lnTo>
                    <a:lnTo>
                      <a:pt x="229" y="1629"/>
                    </a:lnTo>
                    <a:lnTo>
                      <a:pt x="229" y="1627"/>
                    </a:lnTo>
                    <a:close/>
                    <a:moveTo>
                      <a:pt x="1335" y="1547"/>
                    </a:moveTo>
                    <a:lnTo>
                      <a:pt x="1337" y="1547"/>
                    </a:lnTo>
                    <a:lnTo>
                      <a:pt x="1337" y="1549"/>
                    </a:lnTo>
                    <a:lnTo>
                      <a:pt x="1335" y="1549"/>
                    </a:lnTo>
                    <a:lnTo>
                      <a:pt x="1335" y="1547"/>
                    </a:lnTo>
                    <a:close/>
                    <a:moveTo>
                      <a:pt x="168" y="1530"/>
                    </a:moveTo>
                    <a:lnTo>
                      <a:pt x="170" y="1530"/>
                    </a:lnTo>
                    <a:lnTo>
                      <a:pt x="170" y="1534"/>
                    </a:lnTo>
                    <a:lnTo>
                      <a:pt x="168" y="1534"/>
                    </a:lnTo>
                    <a:lnTo>
                      <a:pt x="168" y="1530"/>
                    </a:lnTo>
                    <a:close/>
                    <a:moveTo>
                      <a:pt x="1159" y="1253"/>
                    </a:moveTo>
                    <a:lnTo>
                      <a:pt x="1161" y="1253"/>
                    </a:lnTo>
                    <a:lnTo>
                      <a:pt x="1161" y="1257"/>
                    </a:lnTo>
                    <a:lnTo>
                      <a:pt x="1159" y="1257"/>
                    </a:lnTo>
                    <a:lnTo>
                      <a:pt x="1159" y="1253"/>
                    </a:lnTo>
                    <a:close/>
                    <a:moveTo>
                      <a:pt x="208" y="1620"/>
                    </a:moveTo>
                    <a:lnTo>
                      <a:pt x="210" y="1620"/>
                    </a:lnTo>
                    <a:lnTo>
                      <a:pt x="210" y="1622"/>
                    </a:lnTo>
                    <a:lnTo>
                      <a:pt x="208" y="1622"/>
                    </a:lnTo>
                    <a:lnTo>
                      <a:pt x="208" y="1620"/>
                    </a:lnTo>
                    <a:close/>
                    <a:moveTo>
                      <a:pt x="84" y="1005"/>
                    </a:moveTo>
                    <a:lnTo>
                      <a:pt x="88" y="1005"/>
                    </a:lnTo>
                    <a:lnTo>
                      <a:pt x="88" y="1007"/>
                    </a:lnTo>
                    <a:lnTo>
                      <a:pt x="84" y="1005"/>
                    </a:lnTo>
                    <a:close/>
                    <a:moveTo>
                      <a:pt x="1154" y="973"/>
                    </a:moveTo>
                    <a:lnTo>
                      <a:pt x="1156" y="973"/>
                    </a:lnTo>
                    <a:lnTo>
                      <a:pt x="1156" y="975"/>
                    </a:lnTo>
                    <a:lnTo>
                      <a:pt x="1154" y="975"/>
                    </a:lnTo>
                    <a:lnTo>
                      <a:pt x="1154" y="973"/>
                    </a:lnTo>
                    <a:close/>
                    <a:moveTo>
                      <a:pt x="1114" y="1267"/>
                    </a:moveTo>
                    <a:lnTo>
                      <a:pt x="1116" y="1267"/>
                    </a:lnTo>
                    <a:lnTo>
                      <a:pt x="1117" y="1269"/>
                    </a:lnTo>
                    <a:lnTo>
                      <a:pt x="1116" y="1269"/>
                    </a:lnTo>
                    <a:lnTo>
                      <a:pt x="1114" y="1267"/>
                    </a:lnTo>
                    <a:close/>
                    <a:moveTo>
                      <a:pt x="1177" y="1259"/>
                    </a:moveTo>
                    <a:lnTo>
                      <a:pt x="1180" y="1261"/>
                    </a:lnTo>
                    <a:lnTo>
                      <a:pt x="1180" y="1265"/>
                    </a:lnTo>
                    <a:lnTo>
                      <a:pt x="1177" y="1259"/>
                    </a:lnTo>
                    <a:close/>
                    <a:moveTo>
                      <a:pt x="1049" y="1038"/>
                    </a:moveTo>
                    <a:lnTo>
                      <a:pt x="1051" y="1038"/>
                    </a:lnTo>
                    <a:lnTo>
                      <a:pt x="1051" y="1041"/>
                    </a:lnTo>
                    <a:lnTo>
                      <a:pt x="1049" y="1041"/>
                    </a:lnTo>
                    <a:lnTo>
                      <a:pt x="1049" y="1038"/>
                    </a:lnTo>
                    <a:close/>
                    <a:moveTo>
                      <a:pt x="1352" y="1698"/>
                    </a:moveTo>
                    <a:lnTo>
                      <a:pt x="1356" y="1698"/>
                    </a:lnTo>
                    <a:lnTo>
                      <a:pt x="1352" y="1698"/>
                    </a:lnTo>
                    <a:close/>
                    <a:moveTo>
                      <a:pt x="887" y="1022"/>
                    </a:moveTo>
                    <a:lnTo>
                      <a:pt x="889" y="1022"/>
                    </a:lnTo>
                    <a:lnTo>
                      <a:pt x="889" y="1024"/>
                    </a:lnTo>
                    <a:lnTo>
                      <a:pt x="887" y="1024"/>
                    </a:lnTo>
                    <a:lnTo>
                      <a:pt x="887" y="1022"/>
                    </a:lnTo>
                    <a:close/>
                    <a:moveTo>
                      <a:pt x="517" y="851"/>
                    </a:moveTo>
                    <a:lnTo>
                      <a:pt x="519" y="851"/>
                    </a:lnTo>
                    <a:lnTo>
                      <a:pt x="519" y="853"/>
                    </a:lnTo>
                    <a:lnTo>
                      <a:pt x="517" y="853"/>
                    </a:lnTo>
                    <a:lnTo>
                      <a:pt x="517" y="851"/>
                    </a:lnTo>
                    <a:close/>
                    <a:moveTo>
                      <a:pt x="601" y="950"/>
                    </a:moveTo>
                    <a:lnTo>
                      <a:pt x="603" y="950"/>
                    </a:lnTo>
                    <a:lnTo>
                      <a:pt x="603" y="952"/>
                    </a:lnTo>
                    <a:lnTo>
                      <a:pt x="601" y="952"/>
                    </a:lnTo>
                    <a:lnTo>
                      <a:pt x="601" y="950"/>
                    </a:lnTo>
                    <a:close/>
                    <a:moveTo>
                      <a:pt x="1178" y="1763"/>
                    </a:moveTo>
                    <a:lnTo>
                      <a:pt x="1180" y="1763"/>
                    </a:lnTo>
                    <a:lnTo>
                      <a:pt x="1180" y="1765"/>
                    </a:lnTo>
                    <a:lnTo>
                      <a:pt x="1178" y="1765"/>
                    </a:lnTo>
                    <a:lnTo>
                      <a:pt x="1178" y="1763"/>
                    </a:lnTo>
                    <a:close/>
                    <a:moveTo>
                      <a:pt x="1356" y="1654"/>
                    </a:moveTo>
                    <a:lnTo>
                      <a:pt x="1358" y="1654"/>
                    </a:lnTo>
                    <a:lnTo>
                      <a:pt x="1358" y="1656"/>
                    </a:lnTo>
                    <a:lnTo>
                      <a:pt x="1356" y="1656"/>
                    </a:lnTo>
                    <a:lnTo>
                      <a:pt x="1356" y="1654"/>
                    </a:lnTo>
                    <a:close/>
                    <a:moveTo>
                      <a:pt x="1190" y="1194"/>
                    </a:moveTo>
                    <a:lnTo>
                      <a:pt x="1192" y="1194"/>
                    </a:lnTo>
                    <a:lnTo>
                      <a:pt x="1192" y="1196"/>
                    </a:lnTo>
                    <a:lnTo>
                      <a:pt x="1190" y="1196"/>
                    </a:lnTo>
                    <a:lnTo>
                      <a:pt x="1190" y="1194"/>
                    </a:lnTo>
                    <a:close/>
                    <a:moveTo>
                      <a:pt x="1236" y="1192"/>
                    </a:moveTo>
                    <a:lnTo>
                      <a:pt x="1238" y="1192"/>
                    </a:lnTo>
                    <a:lnTo>
                      <a:pt x="1238" y="1194"/>
                    </a:lnTo>
                    <a:lnTo>
                      <a:pt x="1236" y="1194"/>
                    </a:lnTo>
                    <a:lnTo>
                      <a:pt x="1236" y="1192"/>
                    </a:lnTo>
                    <a:close/>
                    <a:moveTo>
                      <a:pt x="1251" y="1112"/>
                    </a:moveTo>
                    <a:lnTo>
                      <a:pt x="1253" y="1112"/>
                    </a:lnTo>
                    <a:lnTo>
                      <a:pt x="1253" y="1116"/>
                    </a:lnTo>
                    <a:lnTo>
                      <a:pt x="1251" y="1116"/>
                    </a:lnTo>
                    <a:lnTo>
                      <a:pt x="1251" y="1112"/>
                    </a:lnTo>
                    <a:close/>
                    <a:moveTo>
                      <a:pt x="433" y="1045"/>
                    </a:moveTo>
                    <a:lnTo>
                      <a:pt x="435" y="1045"/>
                    </a:lnTo>
                    <a:lnTo>
                      <a:pt x="431" y="1045"/>
                    </a:lnTo>
                    <a:lnTo>
                      <a:pt x="433" y="1045"/>
                    </a:lnTo>
                    <a:close/>
                    <a:moveTo>
                      <a:pt x="666" y="326"/>
                    </a:moveTo>
                    <a:lnTo>
                      <a:pt x="667" y="328"/>
                    </a:lnTo>
                    <a:lnTo>
                      <a:pt x="664" y="328"/>
                    </a:lnTo>
                    <a:lnTo>
                      <a:pt x="666" y="330"/>
                    </a:lnTo>
                    <a:lnTo>
                      <a:pt x="664" y="330"/>
                    </a:lnTo>
                    <a:lnTo>
                      <a:pt x="664" y="326"/>
                    </a:lnTo>
                    <a:lnTo>
                      <a:pt x="666" y="326"/>
                    </a:lnTo>
                    <a:close/>
                    <a:moveTo>
                      <a:pt x="519" y="1085"/>
                    </a:moveTo>
                    <a:lnTo>
                      <a:pt x="521" y="1087"/>
                    </a:lnTo>
                    <a:lnTo>
                      <a:pt x="521" y="1089"/>
                    </a:lnTo>
                    <a:lnTo>
                      <a:pt x="521" y="1087"/>
                    </a:lnTo>
                    <a:lnTo>
                      <a:pt x="519" y="1089"/>
                    </a:lnTo>
                    <a:lnTo>
                      <a:pt x="519" y="1087"/>
                    </a:lnTo>
                    <a:lnTo>
                      <a:pt x="519" y="1085"/>
                    </a:lnTo>
                    <a:close/>
                    <a:moveTo>
                      <a:pt x="1095" y="1244"/>
                    </a:moveTo>
                    <a:lnTo>
                      <a:pt x="1096" y="1244"/>
                    </a:lnTo>
                    <a:lnTo>
                      <a:pt x="1096" y="1246"/>
                    </a:lnTo>
                    <a:lnTo>
                      <a:pt x="1095" y="1246"/>
                    </a:lnTo>
                    <a:lnTo>
                      <a:pt x="1095" y="1244"/>
                    </a:lnTo>
                    <a:close/>
                    <a:moveTo>
                      <a:pt x="1081" y="1223"/>
                    </a:moveTo>
                    <a:lnTo>
                      <a:pt x="1083" y="1223"/>
                    </a:lnTo>
                    <a:lnTo>
                      <a:pt x="1083" y="1225"/>
                    </a:lnTo>
                    <a:lnTo>
                      <a:pt x="1081" y="1225"/>
                    </a:lnTo>
                    <a:lnTo>
                      <a:pt x="1081" y="1223"/>
                    </a:lnTo>
                    <a:close/>
                    <a:moveTo>
                      <a:pt x="929" y="1829"/>
                    </a:moveTo>
                    <a:lnTo>
                      <a:pt x="929" y="1833"/>
                    </a:lnTo>
                    <a:lnTo>
                      <a:pt x="929" y="1829"/>
                    </a:lnTo>
                    <a:close/>
                    <a:moveTo>
                      <a:pt x="1165" y="1255"/>
                    </a:moveTo>
                    <a:lnTo>
                      <a:pt x="1167" y="1255"/>
                    </a:lnTo>
                    <a:lnTo>
                      <a:pt x="1167" y="1257"/>
                    </a:lnTo>
                    <a:lnTo>
                      <a:pt x="1165" y="1257"/>
                    </a:lnTo>
                    <a:lnTo>
                      <a:pt x="1165" y="1255"/>
                    </a:lnTo>
                    <a:close/>
                    <a:moveTo>
                      <a:pt x="1186" y="1267"/>
                    </a:moveTo>
                    <a:lnTo>
                      <a:pt x="1186" y="1269"/>
                    </a:lnTo>
                    <a:lnTo>
                      <a:pt x="1188" y="1269"/>
                    </a:lnTo>
                    <a:lnTo>
                      <a:pt x="1186" y="1269"/>
                    </a:lnTo>
                    <a:lnTo>
                      <a:pt x="1186" y="1267"/>
                    </a:lnTo>
                    <a:lnTo>
                      <a:pt x="1184" y="1267"/>
                    </a:lnTo>
                    <a:lnTo>
                      <a:pt x="1186" y="1267"/>
                    </a:lnTo>
                    <a:close/>
                    <a:moveTo>
                      <a:pt x="92" y="1005"/>
                    </a:moveTo>
                    <a:lnTo>
                      <a:pt x="93" y="1005"/>
                    </a:lnTo>
                    <a:lnTo>
                      <a:pt x="92" y="1007"/>
                    </a:lnTo>
                    <a:lnTo>
                      <a:pt x="90" y="1005"/>
                    </a:lnTo>
                    <a:lnTo>
                      <a:pt x="92" y="1005"/>
                    </a:lnTo>
                    <a:lnTo>
                      <a:pt x="90" y="1005"/>
                    </a:lnTo>
                    <a:lnTo>
                      <a:pt x="92" y="1005"/>
                    </a:lnTo>
                    <a:close/>
                    <a:moveTo>
                      <a:pt x="1383" y="1698"/>
                    </a:moveTo>
                    <a:lnTo>
                      <a:pt x="1384" y="1700"/>
                    </a:lnTo>
                    <a:lnTo>
                      <a:pt x="1383" y="1700"/>
                    </a:lnTo>
                    <a:lnTo>
                      <a:pt x="1384" y="1702"/>
                    </a:lnTo>
                    <a:lnTo>
                      <a:pt x="1383" y="1702"/>
                    </a:lnTo>
                    <a:lnTo>
                      <a:pt x="1384" y="1702"/>
                    </a:lnTo>
                    <a:lnTo>
                      <a:pt x="1383" y="1704"/>
                    </a:lnTo>
                    <a:lnTo>
                      <a:pt x="1384" y="1704"/>
                    </a:lnTo>
                    <a:lnTo>
                      <a:pt x="1383" y="1704"/>
                    </a:lnTo>
                    <a:lnTo>
                      <a:pt x="1383" y="1702"/>
                    </a:lnTo>
                    <a:lnTo>
                      <a:pt x="1383" y="1698"/>
                    </a:lnTo>
                    <a:close/>
                    <a:moveTo>
                      <a:pt x="1022" y="517"/>
                    </a:moveTo>
                    <a:lnTo>
                      <a:pt x="1024" y="519"/>
                    </a:lnTo>
                    <a:lnTo>
                      <a:pt x="1022" y="521"/>
                    </a:lnTo>
                    <a:lnTo>
                      <a:pt x="1022" y="519"/>
                    </a:lnTo>
                    <a:lnTo>
                      <a:pt x="1022" y="517"/>
                    </a:lnTo>
                    <a:close/>
                    <a:moveTo>
                      <a:pt x="139" y="1566"/>
                    </a:moveTo>
                    <a:lnTo>
                      <a:pt x="141" y="1566"/>
                    </a:lnTo>
                    <a:lnTo>
                      <a:pt x="139" y="1568"/>
                    </a:lnTo>
                    <a:lnTo>
                      <a:pt x="139" y="1566"/>
                    </a:lnTo>
                    <a:lnTo>
                      <a:pt x="137" y="1566"/>
                    </a:lnTo>
                    <a:lnTo>
                      <a:pt x="139" y="1566"/>
                    </a:lnTo>
                    <a:close/>
                    <a:moveTo>
                      <a:pt x="128" y="1532"/>
                    </a:moveTo>
                    <a:lnTo>
                      <a:pt x="130" y="1532"/>
                    </a:lnTo>
                    <a:lnTo>
                      <a:pt x="130" y="1534"/>
                    </a:lnTo>
                    <a:lnTo>
                      <a:pt x="128" y="1534"/>
                    </a:lnTo>
                    <a:lnTo>
                      <a:pt x="128" y="1532"/>
                    </a:lnTo>
                    <a:close/>
                    <a:moveTo>
                      <a:pt x="1177" y="1152"/>
                    </a:moveTo>
                    <a:lnTo>
                      <a:pt x="1178" y="1152"/>
                    </a:lnTo>
                    <a:lnTo>
                      <a:pt x="1177" y="1152"/>
                    </a:lnTo>
                    <a:lnTo>
                      <a:pt x="1178" y="1152"/>
                    </a:lnTo>
                    <a:lnTo>
                      <a:pt x="1178" y="1154"/>
                    </a:lnTo>
                    <a:lnTo>
                      <a:pt x="1177" y="1154"/>
                    </a:lnTo>
                    <a:lnTo>
                      <a:pt x="1177" y="1152"/>
                    </a:lnTo>
                    <a:close/>
                    <a:moveTo>
                      <a:pt x="742" y="585"/>
                    </a:moveTo>
                    <a:lnTo>
                      <a:pt x="744" y="585"/>
                    </a:lnTo>
                    <a:lnTo>
                      <a:pt x="744" y="589"/>
                    </a:lnTo>
                    <a:lnTo>
                      <a:pt x="742" y="589"/>
                    </a:lnTo>
                    <a:lnTo>
                      <a:pt x="742" y="585"/>
                    </a:lnTo>
                    <a:close/>
                    <a:moveTo>
                      <a:pt x="1358" y="1652"/>
                    </a:moveTo>
                    <a:lnTo>
                      <a:pt x="1360" y="1652"/>
                    </a:lnTo>
                    <a:lnTo>
                      <a:pt x="1360" y="1654"/>
                    </a:lnTo>
                    <a:lnTo>
                      <a:pt x="1358" y="1654"/>
                    </a:lnTo>
                    <a:lnTo>
                      <a:pt x="1358" y="1652"/>
                    </a:lnTo>
                    <a:close/>
                    <a:moveTo>
                      <a:pt x="256" y="975"/>
                    </a:moveTo>
                    <a:lnTo>
                      <a:pt x="256" y="977"/>
                    </a:lnTo>
                    <a:lnTo>
                      <a:pt x="254" y="977"/>
                    </a:lnTo>
                    <a:lnTo>
                      <a:pt x="254" y="975"/>
                    </a:lnTo>
                    <a:lnTo>
                      <a:pt x="256" y="975"/>
                    </a:lnTo>
                    <a:close/>
                    <a:moveTo>
                      <a:pt x="969" y="1009"/>
                    </a:moveTo>
                    <a:lnTo>
                      <a:pt x="971" y="1009"/>
                    </a:lnTo>
                    <a:lnTo>
                      <a:pt x="971" y="1011"/>
                    </a:lnTo>
                    <a:lnTo>
                      <a:pt x="969" y="1011"/>
                    </a:lnTo>
                    <a:lnTo>
                      <a:pt x="969" y="1009"/>
                    </a:lnTo>
                    <a:close/>
                    <a:moveTo>
                      <a:pt x="1196" y="1303"/>
                    </a:moveTo>
                    <a:lnTo>
                      <a:pt x="1198" y="1303"/>
                    </a:lnTo>
                    <a:lnTo>
                      <a:pt x="1198" y="1307"/>
                    </a:lnTo>
                    <a:lnTo>
                      <a:pt x="1196" y="1307"/>
                    </a:lnTo>
                    <a:lnTo>
                      <a:pt x="1196" y="1303"/>
                    </a:lnTo>
                    <a:close/>
                    <a:moveTo>
                      <a:pt x="507" y="1080"/>
                    </a:moveTo>
                    <a:lnTo>
                      <a:pt x="509" y="1080"/>
                    </a:lnTo>
                    <a:lnTo>
                      <a:pt x="509" y="1082"/>
                    </a:lnTo>
                    <a:lnTo>
                      <a:pt x="507" y="1082"/>
                    </a:lnTo>
                    <a:lnTo>
                      <a:pt x="507" y="1080"/>
                    </a:lnTo>
                    <a:close/>
                    <a:moveTo>
                      <a:pt x="809" y="1017"/>
                    </a:moveTo>
                    <a:lnTo>
                      <a:pt x="810" y="1017"/>
                    </a:lnTo>
                    <a:lnTo>
                      <a:pt x="810" y="1020"/>
                    </a:lnTo>
                    <a:lnTo>
                      <a:pt x="809" y="1020"/>
                    </a:lnTo>
                    <a:lnTo>
                      <a:pt x="809" y="1017"/>
                    </a:lnTo>
                    <a:close/>
                    <a:moveTo>
                      <a:pt x="1199" y="1793"/>
                    </a:moveTo>
                    <a:lnTo>
                      <a:pt x="1201" y="1793"/>
                    </a:lnTo>
                    <a:lnTo>
                      <a:pt x="1201" y="1797"/>
                    </a:lnTo>
                    <a:lnTo>
                      <a:pt x="1199" y="1797"/>
                    </a:lnTo>
                    <a:lnTo>
                      <a:pt x="1199" y="1793"/>
                    </a:lnTo>
                    <a:close/>
                    <a:moveTo>
                      <a:pt x="1217" y="1219"/>
                    </a:moveTo>
                    <a:lnTo>
                      <a:pt x="1219" y="1219"/>
                    </a:lnTo>
                    <a:lnTo>
                      <a:pt x="1217" y="1221"/>
                    </a:lnTo>
                    <a:lnTo>
                      <a:pt x="1215" y="1219"/>
                    </a:lnTo>
                    <a:lnTo>
                      <a:pt x="1217" y="1219"/>
                    </a:lnTo>
                    <a:close/>
                    <a:moveTo>
                      <a:pt x="1161" y="1158"/>
                    </a:moveTo>
                    <a:lnTo>
                      <a:pt x="1163" y="1158"/>
                    </a:lnTo>
                    <a:lnTo>
                      <a:pt x="1163" y="1160"/>
                    </a:lnTo>
                    <a:lnTo>
                      <a:pt x="1161" y="1160"/>
                    </a:lnTo>
                    <a:lnTo>
                      <a:pt x="1161" y="1158"/>
                    </a:lnTo>
                    <a:close/>
                    <a:moveTo>
                      <a:pt x="1188" y="1774"/>
                    </a:moveTo>
                    <a:lnTo>
                      <a:pt x="1190" y="1774"/>
                    </a:lnTo>
                    <a:lnTo>
                      <a:pt x="1190" y="1778"/>
                    </a:lnTo>
                    <a:lnTo>
                      <a:pt x="1188" y="1778"/>
                    </a:lnTo>
                    <a:lnTo>
                      <a:pt x="1188" y="1774"/>
                    </a:lnTo>
                    <a:close/>
                    <a:moveTo>
                      <a:pt x="214" y="1602"/>
                    </a:moveTo>
                    <a:lnTo>
                      <a:pt x="216" y="1602"/>
                    </a:lnTo>
                    <a:lnTo>
                      <a:pt x="216" y="1606"/>
                    </a:lnTo>
                    <a:lnTo>
                      <a:pt x="214" y="1606"/>
                    </a:lnTo>
                    <a:lnTo>
                      <a:pt x="214" y="1602"/>
                    </a:lnTo>
                    <a:close/>
                    <a:moveTo>
                      <a:pt x="1030" y="1776"/>
                    </a:moveTo>
                    <a:lnTo>
                      <a:pt x="1032" y="1776"/>
                    </a:lnTo>
                    <a:lnTo>
                      <a:pt x="1032" y="1778"/>
                    </a:lnTo>
                    <a:lnTo>
                      <a:pt x="1030" y="1778"/>
                    </a:lnTo>
                    <a:lnTo>
                      <a:pt x="1030" y="1776"/>
                    </a:lnTo>
                    <a:close/>
                    <a:moveTo>
                      <a:pt x="1287" y="1501"/>
                    </a:moveTo>
                    <a:lnTo>
                      <a:pt x="1289" y="1501"/>
                    </a:lnTo>
                    <a:lnTo>
                      <a:pt x="1289" y="1503"/>
                    </a:lnTo>
                    <a:lnTo>
                      <a:pt x="1287" y="1503"/>
                    </a:lnTo>
                    <a:lnTo>
                      <a:pt x="1287" y="1501"/>
                    </a:lnTo>
                    <a:close/>
                    <a:moveTo>
                      <a:pt x="1180" y="1062"/>
                    </a:moveTo>
                    <a:lnTo>
                      <a:pt x="1182" y="1062"/>
                    </a:lnTo>
                    <a:lnTo>
                      <a:pt x="1182" y="1064"/>
                    </a:lnTo>
                    <a:lnTo>
                      <a:pt x="1180" y="1064"/>
                    </a:lnTo>
                    <a:lnTo>
                      <a:pt x="1180" y="1062"/>
                    </a:lnTo>
                    <a:close/>
                    <a:moveTo>
                      <a:pt x="1026" y="1219"/>
                    </a:moveTo>
                    <a:lnTo>
                      <a:pt x="1028" y="1219"/>
                    </a:lnTo>
                    <a:lnTo>
                      <a:pt x="1028" y="1221"/>
                    </a:lnTo>
                    <a:lnTo>
                      <a:pt x="1026" y="1221"/>
                    </a:lnTo>
                    <a:lnTo>
                      <a:pt x="1026" y="1219"/>
                    </a:lnTo>
                    <a:close/>
                    <a:moveTo>
                      <a:pt x="709" y="1059"/>
                    </a:moveTo>
                    <a:lnTo>
                      <a:pt x="713" y="1059"/>
                    </a:lnTo>
                    <a:lnTo>
                      <a:pt x="713" y="1062"/>
                    </a:lnTo>
                    <a:lnTo>
                      <a:pt x="709" y="1062"/>
                    </a:lnTo>
                    <a:lnTo>
                      <a:pt x="709" y="1059"/>
                    </a:lnTo>
                    <a:close/>
                    <a:moveTo>
                      <a:pt x="641" y="1051"/>
                    </a:moveTo>
                    <a:lnTo>
                      <a:pt x="643" y="1053"/>
                    </a:lnTo>
                    <a:lnTo>
                      <a:pt x="641" y="1053"/>
                    </a:lnTo>
                    <a:lnTo>
                      <a:pt x="639" y="1051"/>
                    </a:lnTo>
                    <a:lnTo>
                      <a:pt x="641" y="1051"/>
                    </a:lnTo>
                    <a:close/>
                    <a:moveTo>
                      <a:pt x="519" y="1066"/>
                    </a:moveTo>
                    <a:lnTo>
                      <a:pt x="521" y="1066"/>
                    </a:lnTo>
                    <a:lnTo>
                      <a:pt x="521" y="1068"/>
                    </a:lnTo>
                    <a:lnTo>
                      <a:pt x="519" y="1068"/>
                    </a:lnTo>
                    <a:lnTo>
                      <a:pt x="519" y="1066"/>
                    </a:lnTo>
                    <a:close/>
                    <a:moveTo>
                      <a:pt x="568" y="1045"/>
                    </a:moveTo>
                    <a:lnTo>
                      <a:pt x="572" y="1045"/>
                    </a:lnTo>
                    <a:lnTo>
                      <a:pt x="572" y="1047"/>
                    </a:lnTo>
                    <a:lnTo>
                      <a:pt x="568" y="1047"/>
                    </a:lnTo>
                    <a:lnTo>
                      <a:pt x="568" y="1045"/>
                    </a:lnTo>
                    <a:close/>
                    <a:moveTo>
                      <a:pt x="702" y="587"/>
                    </a:moveTo>
                    <a:lnTo>
                      <a:pt x="702" y="589"/>
                    </a:lnTo>
                    <a:lnTo>
                      <a:pt x="702" y="587"/>
                    </a:lnTo>
                    <a:lnTo>
                      <a:pt x="700" y="587"/>
                    </a:lnTo>
                    <a:lnTo>
                      <a:pt x="702" y="585"/>
                    </a:lnTo>
                    <a:lnTo>
                      <a:pt x="702" y="587"/>
                    </a:lnTo>
                    <a:close/>
                    <a:moveTo>
                      <a:pt x="442" y="1074"/>
                    </a:moveTo>
                    <a:lnTo>
                      <a:pt x="442" y="1076"/>
                    </a:lnTo>
                    <a:lnTo>
                      <a:pt x="437" y="1076"/>
                    </a:lnTo>
                    <a:lnTo>
                      <a:pt x="441" y="1076"/>
                    </a:lnTo>
                    <a:lnTo>
                      <a:pt x="441" y="1074"/>
                    </a:lnTo>
                    <a:lnTo>
                      <a:pt x="442" y="1074"/>
                    </a:lnTo>
                    <a:close/>
                    <a:moveTo>
                      <a:pt x="1215" y="1255"/>
                    </a:moveTo>
                    <a:lnTo>
                      <a:pt x="1215" y="1257"/>
                    </a:lnTo>
                    <a:lnTo>
                      <a:pt x="1215" y="1255"/>
                    </a:lnTo>
                    <a:close/>
                    <a:moveTo>
                      <a:pt x="284" y="1671"/>
                    </a:moveTo>
                    <a:lnTo>
                      <a:pt x="286" y="1671"/>
                    </a:lnTo>
                    <a:lnTo>
                      <a:pt x="286" y="1673"/>
                    </a:lnTo>
                    <a:lnTo>
                      <a:pt x="284" y="1673"/>
                    </a:lnTo>
                    <a:lnTo>
                      <a:pt x="284" y="1671"/>
                    </a:lnTo>
                    <a:close/>
                    <a:moveTo>
                      <a:pt x="88" y="1007"/>
                    </a:moveTo>
                    <a:lnTo>
                      <a:pt x="90" y="1007"/>
                    </a:lnTo>
                    <a:lnTo>
                      <a:pt x="90" y="1009"/>
                    </a:lnTo>
                    <a:lnTo>
                      <a:pt x="88" y="1009"/>
                    </a:lnTo>
                    <a:lnTo>
                      <a:pt x="88" y="1007"/>
                    </a:lnTo>
                    <a:close/>
                    <a:moveTo>
                      <a:pt x="1238" y="1108"/>
                    </a:moveTo>
                    <a:lnTo>
                      <a:pt x="1241" y="1108"/>
                    </a:lnTo>
                    <a:lnTo>
                      <a:pt x="1241" y="1110"/>
                    </a:lnTo>
                    <a:lnTo>
                      <a:pt x="1238" y="1110"/>
                    </a:lnTo>
                    <a:lnTo>
                      <a:pt x="1238" y="1108"/>
                    </a:lnTo>
                    <a:close/>
                    <a:moveTo>
                      <a:pt x="643" y="841"/>
                    </a:moveTo>
                    <a:lnTo>
                      <a:pt x="646" y="843"/>
                    </a:lnTo>
                    <a:lnTo>
                      <a:pt x="643" y="843"/>
                    </a:lnTo>
                    <a:lnTo>
                      <a:pt x="643" y="841"/>
                    </a:lnTo>
                    <a:close/>
                    <a:moveTo>
                      <a:pt x="1283" y="1501"/>
                    </a:moveTo>
                    <a:lnTo>
                      <a:pt x="1285" y="1501"/>
                    </a:lnTo>
                    <a:lnTo>
                      <a:pt x="1285" y="1505"/>
                    </a:lnTo>
                    <a:lnTo>
                      <a:pt x="1283" y="1505"/>
                    </a:lnTo>
                    <a:lnTo>
                      <a:pt x="1283" y="1501"/>
                    </a:lnTo>
                    <a:close/>
                    <a:moveTo>
                      <a:pt x="681" y="730"/>
                    </a:moveTo>
                    <a:lnTo>
                      <a:pt x="683" y="730"/>
                    </a:lnTo>
                    <a:lnTo>
                      <a:pt x="681" y="732"/>
                    </a:lnTo>
                    <a:lnTo>
                      <a:pt x="679" y="730"/>
                    </a:lnTo>
                    <a:lnTo>
                      <a:pt x="681" y="730"/>
                    </a:lnTo>
                    <a:close/>
                    <a:moveTo>
                      <a:pt x="1373" y="1650"/>
                    </a:moveTo>
                    <a:lnTo>
                      <a:pt x="1373" y="1652"/>
                    </a:lnTo>
                    <a:lnTo>
                      <a:pt x="1373" y="1650"/>
                    </a:lnTo>
                    <a:close/>
                    <a:moveTo>
                      <a:pt x="263" y="780"/>
                    </a:moveTo>
                    <a:lnTo>
                      <a:pt x="265" y="780"/>
                    </a:lnTo>
                    <a:lnTo>
                      <a:pt x="265" y="782"/>
                    </a:lnTo>
                    <a:lnTo>
                      <a:pt x="263" y="782"/>
                    </a:lnTo>
                    <a:lnTo>
                      <a:pt x="263" y="780"/>
                    </a:lnTo>
                    <a:close/>
                    <a:moveTo>
                      <a:pt x="908" y="421"/>
                    </a:moveTo>
                    <a:lnTo>
                      <a:pt x="912" y="421"/>
                    </a:lnTo>
                    <a:lnTo>
                      <a:pt x="912" y="425"/>
                    </a:lnTo>
                    <a:lnTo>
                      <a:pt x="908" y="425"/>
                    </a:lnTo>
                    <a:lnTo>
                      <a:pt x="908" y="421"/>
                    </a:lnTo>
                    <a:close/>
                    <a:moveTo>
                      <a:pt x="1178" y="1131"/>
                    </a:moveTo>
                    <a:lnTo>
                      <a:pt x="1180" y="1131"/>
                    </a:lnTo>
                    <a:lnTo>
                      <a:pt x="1180" y="1133"/>
                    </a:lnTo>
                    <a:lnTo>
                      <a:pt x="1178" y="1133"/>
                    </a:lnTo>
                    <a:lnTo>
                      <a:pt x="1178" y="1131"/>
                    </a:lnTo>
                    <a:close/>
                    <a:moveTo>
                      <a:pt x="505" y="841"/>
                    </a:moveTo>
                    <a:lnTo>
                      <a:pt x="507" y="841"/>
                    </a:lnTo>
                    <a:lnTo>
                      <a:pt x="507" y="843"/>
                    </a:lnTo>
                    <a:lnTo>
                      <a:pt x="503" y="841"/>
                    </a:lnTo>
                    <a:lnTo>
                      <a:pt x="505" y="841"/>
                    </a:lnTo>
                    <a:close/>
                    <a:moveTo>
                      <a:pt x="913" y="1146"/>
                    </a:moveTo>
                    <a:lnTo>
                      <a:pt x="915" y="1146"/>
                    </a:lnTo>
                    <a:lnTo>
                      <a:pt x="915" y="1150"/>
                    </a:lnTo>
                    <a:lnTo>
                      <a:pt x="913" y="1150"/>
                    </a:lnTo>
                    <a:lnTo>
                      <a:pt x="913" y="1146"/>
                    </a:lnTo>
                    <a:close/>
                    <a:moveTo>
                      <a:pt x="238" y="1662"/>
                    </a:moveTo>
                    <a:lnTo>
                      <a:pt x="240" y="1662"/>
                    </a:lnTo>
                    <a:lnTo>
                      <a:pt x="240" y="1663"/>
                    </a:lnTo>
                    <a:lnTo>
                      <a:pt x="238" y="1663"/>
                    </a:lnTo>
                    <a:lnTo>
                      <a:pt x="238" y="1662"/>
                    </a:lnTo>
                    <a:close/>
                    <a:moveTo>
                      <a:pt x="1163" y="1030"/>
                    </a:moveTo>
                    <a:lnTo>
                      <a:pt x="1165" y="1030"/>
                    </a:lnTo>
                    <a:lnTo>
                      <a:pt x="1165" y="1032"/>
                    </a:lnTo>
                    <a:lnTo>
                      <a:pt x="1163" y="1032"/>
                    </a:lnTo>
                    <a:lnTo>
                      <a:pt x="1163" y="1030"/>
                    </a:lnTo>
                    <a:close/>
                    <a:moveTo>
                      <a:pt x="88" y="1011"/>
                    </a:moveTo>
                    <a:lnTo>
                      <a:pt x="90" y="1011"/>
                    </a:lnTo>
                    <a:lnTo>
                      <a:pt x="90" y="1013"/>
                    </a:lnTo>
                    <a:lnTo>
                      <a:pt x="88" y="1013"/>
                    </a:lnTo>
                    <a:lnTo>
                      <a:pt x="88" y="1011"/>
                    </a:lnTo>
                    <a:close/>
                    <a:moveTo>
                      <a:pt x="259" y="1654"/>
                    </a:moveTo>
                    <a:lnTo>
                      <a:pt x="261" y="1654"/>
                    </a:lnTo>
                    <a:lnTo>
                      <a:pt x="261" y="1656"/>
                    </a:lnTo>
                    <a:lnTo>
                      <a:pt x="259" y="1656"/>
                    </a:lnTo>
                    <a:lnTo>
                      <a:pt x="259" y="1654"/>
                    </a:lnTo>
                    <a:close/>
                    <a:moveTo>
                      <a:pt x="948" y="551"/>
                    </a:moveTo>
                    <a:lnTo>
                      <a:pt x="948" y="555"/>
                    </a:lnTo>
                    <a:lnTo>
                      <a:pt x="948" y="551"/>
                    </a:lnTo>
                    <a:close/>
                    <a:moveTo>
                      <a:pt x="1264" y="1702"/>
                    </a:moveTo>
                    <a:lnTo>
                      <a:pt x="1262" y="1704"/>
                    </a:lnTo>
                    <a:lnTo>
                      <a:pt x="1260" y="1705"/>
                    </a:lnTo>
                    <a:lnTo>
                      <a:pt x="1260" y="1704"/>
                    </a:lnTo>
                    <a:lnTo>
                      <a:pt x="1262" y="1704"/>
                    </a:lnTo>
                    <a:lnTo>
                      <a:pt x="1262" y="1702"/>
                    </a:lnTo>
                    <a:lnTo>
                      <a:pt x="1264" y="1702"/>
                    </a:lnTo>
                    <a:close/>
                    <a:moveTo>
                      <a:pt x="1024" y="1463"/>
                    </a:moveTo>
                    <a:lnTo>
                      <a:pt x="1026" y="1463"/>
                    </a:lnTo>
                    <a:lnTo>
                      <a:pt x="1026" y="1469"/>
                    </a:lnTo>
                    <a:lnTo>
                      <a:pt x="1024" y="1469"/>
                    </a:lnTo>
                    <a:lnTo>
                      <a:pt x="1024" y="1463"/>
                    </a:lnTo>
                    <a:close/>
                    <a:moveTo>
                      <a:pt x="599" y="948"/>
                    </a:moveTo>
                    <a:lnTo>
                      <a:pt x="601" y="948"/>
                    </a:lnTo>
                    <a:lnTo>
                      <a:pt x="601" y="950"/>
                    </a:lnTo>
                    <a:lnTo>
                      <a:pt x="599" y="950"/>
                    </a:lnTo>
                    <a:lnTo>
                      <a:pt x="599" y="948"/>
                    </a:lnTo>
                    <a:close/>
                    <a:moveTo>
                      <a:pt x="427" y="1076"/>
                    </a:moveTo>
                    <a:lnTo>
                      <a:pt x="429" y="1076"/>
                    </a:lnTo>
                    <a:lnTo>
                      <a:pt x="433" y="1076"/>
                    </a:lnTo>
                    <a:lnTo>
                      <a:pt x="427" y="1076"/>
                    </a:lnTo>
                    <a:lnTo>
                      <a:pt x="425" y="1076"/>
                    </a:lnTo>
                    <a:lnTo>
                      <a:pt x="427" y="1076"/>
                    </a:lnTo>
                    <a:close/>
                    <a:moveTo>
                      <a:pt x="1178" y="1761"/>
                    </a:moveTo>
                    <a:lnTo>
                      <a:pt x="1178" y="1763"/>
                    </a:lnTo>
                    <a:lnTo>
                      <a:pt x="1178" y="1761"/>
                    </a:lnTo>
                    <a:close/>
                    <a:moveTo>
                      <a:pt x="1215" y="1343"/>
                    </a:moveTo>
                    <a:lnTo>
                      <a:pt x="1217" y="1343"/>
                    </a:lnTo>
                    <a:lnTo>
                      <a:pt x="1217" y="1345"/>
                    </a:lnTo>
                    <a:lnTo>
                      <a:pt x="1215" y="1345"/>
                    </a:lnTo>
                    <a:lnTo>
                      <a:pt x="1215" y="1343"/>
                    </a:lnTo>
                    <a:close/>
                    <a:moveTo>
                      <a:pt x="1308" y="1616"/>
                    </a:moveTo>
                    <a:lnTo>
                      <a:pt x="1310" y="1616"/>
                    </a:lnTo>
                    <a:lnTo>
                      <a:pt x="1310" y="1618"/>
                    </a:lnTo>
                    <a:lnTo>
                      <a:pt x="1308" y="1618"/>
                    </a:lnTo>
                    <a:lnTo>
                      <a:pt x="1308" y="1616"/>
                    </a:lnTo>
                    <a:close/>
                    <a:moveTo>
                      <a:pt x="519" y="1074"/>
                    </a:moveTo>
                    <a:lnTo>
                      <a:pt x="521" y="1076"/>
                    </a:lnTo>
                    <a:lnTo>
                      <a:pt x="521" y="1074"/>
                    </a:lnTo>
                    <a:lnTo>
                      <a:pt x="521" y="1076"/>
                    </a:lnTo>
                    <a:lnTo>
                      <a:pt x="519" y="1076"/>
                    </a:lnTo>
                    <a:lnTo>
                      <a:pt x="517" y="1076"/>
                    </a:lnTo>
                    <a:lnTo>
                      <a:pt x="517" y="1074"/>
                    </a:lnTo>
                    <a:lnTo>
                      <a:pt x="519" y="1074"/>
                    </a:lnTo>
                    <a:close/>
                    <a:moveTo>
                      <a:pt x="1169" y="1032"/>
                    </a:moveTo>
                    <a:lnTo>
                      <a:pt x="1167" y="1032"/>
                    </a:lnTo>
                    <a:lnTo>
                      <a:pt x="1165" y="1032"/>
                    </a:lnTo>
                    <a:lnTo>
                      <a:pt x="1169" y="1032"/>
                    </a:lnTo>
                    <a:close/>
                    <a:moveTo>
                      <a:pt x="219" y="1643"/>
                    </a:moveTo>
                    <a:lnTo>
                      <a:pt x="219" y="1644"/>
                    </a:lnTo>
                    <a:lnTo>
                      <a:pt x="219" y="1643"/>
                    </a:lnTo>
                    <a:close/>
                    <a:moveTo>
                      <a:pt x="1169" y="1036"/>
                    </a:moveTo>
                    <a:lnTo>
                      <a:pt x="1167" y="1036"/>
                    </a:lnTo>
                    <a:lnTo>
                      <a:pt x="1169" y="1036"/>
                    </a:lnTo>
                    <a:close/>
                    <a:moveTo>
                      <a:pt x="1365" y="1660"/>
                    </a:moveTo>
                    <a:lnTo>
                      <a:pt x="1367" y="1660"/>
                    </a:lnTo>
                    <a:lnTo>
                      <a:pt x="1367" y="1662"/>
                    </a:lnTo>
                    <a:lnTo>
                      <a:pt x="1365" y="1662"/>
                    </a:lnTo>
                    <a:lnTo>
                      <a:pt x="1365" y="1660"/>
                    </a:lnTo>
                    <a:close/>
                    <a:moveTo>
                      <a:pt x="1001" y="986"/>
                    </a:moveTo>
                    <a:lnTo>
                      <a:pt x="1003" y="986"/>
                    </a:lnTo>
                    <a:lnTo>
                      <a:pt x="1003" y="990"/>
                    </a:lnTo>
                    <a:lnTo>
                      <a:pt x="1001" y="990"/>
                    </a:lnTo>
                    <a:lnTo>
                      <a:pt x="1001" y="986"/>
                    </a:lnTo>
                    <a:close/>
                    <a:moveTo>
                      <a:pt x="1283" y="1488"/>
                    </a:moveTo>
                    <a:lnTo>
                      <a:pt x="1285" y="1488"/>
                    </a:lnTo>
                    <a:lnTo>
                      <a:pt x="1285" y="1490"/>
                    </a:lnTo>
                    <a:lnTo>
                      <a:pt x="1283" y="1490"/>
                    </a:lnTo>
                    <a:lnTo>
                      <a:pt x="1283" y="1488"/>
                    </a:lnTo>
                    <a:close/>
                    <a:moveTo>
                      <a:pt x="1123" y="1705"/>
                    </a:moveTo>
                    <a:lnTo>
                      <a:pt x="1125" y="1705"/>
                    </a:lnTo>
                    <a:lnTo>
                      <a:pt x="1123" y="1705"/>
                    </a:lnTo>
                    <a:close/>
                    <a:moveTo>
                      <a:pt x="263" y="793"/>
                    </a:moveTo>
                    <a:lnTo>
                      <a:pt x="261" y="793"/>
                    </a:lnTo>
                    <a:lnTo>
                      <a:pt x="259" y="792"/>
                    </a:lnTo>
                    <a:lnTo>
                      <a:pt x="263" y="793"/>
                    </a:lnTo>
                    <a:close/>
                    <a:moveTo>
                      <a:pt x="1074" y="1217"/>
                    </a:moveTo>
                    <a:lnTo>
                      <a:pt x="1076" y="1217"/>
                    </a:lnTo>
                    <a:lnTo>
                      <a:pt x="1076" y="1219"/>
                    </a:lnTo>
                    <a:lnTo>
                      <a:pt x="1074" y="1219"/>
                    </a:lnTo>
                    <a:lnTo>
                      <a:pt x="1074" y="1217"/>
                    </a:lnTo>
                    <a:close/>
                    <a:moveTo>
                      <a:pt x="448" y="1064"/>
                    </a:moveTo>
                    <a:lnTo>
                      <a:pt x="450" y="1064"/>
                    </a:lnTo>
                    <a:lnTo>
                      <a:pt x="448" y="1064"/>
                    </a:lnTo>
                    <a:close/>
                    <a:moveTo>
                      <a:pt x="1264" y="1467"/>
                    </a:moveTo>
                    <a:lnTo>
                      <a:pt x="1266" y="1467"/>
                    </a:lnTo>
                    <a:lnTo>
                      <a:pt x="1264" y="1467"/>
                    </a:lnTo>
                    <a:close/>
                    <a:moveTo>
                      <a:pt x="1144" y="1394"/>
                    </a:moveTo>
                    <a:lnTo>
                      <a:pt x="1146" y="1394"/>
                    </a:lnTo>
                    <a:lnTo>
                      <a:pt x="1146" y="1396"/>
                    </a:lnTo>
                    <a:lnTo>
                      <a:pt x="1144" y="1396"/>
                    </a:lnTo>
                    <a:lnTo>
                      <a:pt x="1144" y="1394"/>
                    </a:lnTo>
                    <a:close/>
                    <a:moveTo>
                      <a:pt x="427" y="1041"/>
                    </a:moveTo>
                    <a:lnTo>
                      <a:pt x="431" y="1045"/>
                    </a:lnTo>
                    <a:lnTo>
                      <a:pt x="429" y="1043"/>
                    </a:lnTo>
                    <a:lnTo>
                      <a:pt x="427" y="1041"/>
                    </a:lnTo>
                    <a:close/>
                    <a:moveTo>
                      <a:pt x="1295" y="1784"/>
                    </a:moveTo>
                    <a:lnTo>
                      <a:pt x="1293" y="1784"/>
                    </a:lnTo>
                    <a:lnTo>
                      <a:pt x="1291" y="1786"/>
                    </a:lnTo>
                    <a:lnTo>
                      <a:pt x="1289" y="1786"/>
                    </a:lnTo>
                    <a:lnTo>
                      <a:pt x="1287" y="1784"/>
                    </a:lnTo>
                    <a:lnTo>
                      <a:pt x="1289" y="1784"/>
                    </a:lnTo>
                    <a:lnTo>
                      <a:pt x="1291" y="1784"/>
                    </a:lnTo>
                    <a:lnTo>
                      <a:pt x="1293" y="1784"/>
                    </a:lnTo>
                    <a:lnTo>
                      <a:pt x="1295" y="1784"/>
                    </a:lnTo>
                    <a:close/>
                    <a:moveTo>
                      <a:pt x="76" y="1022"/>
                    </a:moveTo>
                    <a:lnTo>
                      <a:pt x="78" y="1022"/>
                    </a:lnTo>
                    <a:lnTo>
                      <a:pt x="78" y="1024"/>
                    </a:lnTo>
                    <a:lnTo>
                      <a:pt x="76" y="1024"/>
                    </a:lnTo>
                    <a:lnTo>
                      <a:pt x="76" y="1022"/>
                    </a:lnTo>
                    <a:close/>
                    <a:moveTo>
                      <a:pt x="810" y="1022"/>
                    </a:moveTo>
                    <a:lnTo>
                      <a:pt x="812" y="1022"/>
                    </a:lnTo>
                    <a:lnTo>
                      <a:pt x="812" y="1024"/>
                    </a:lnTo>
                    <a:lnTo>
                      <a:pt x="810" y="1024"/>
                    </a:lnTo>
                    <a:lnTo>
                      <a:pt x="810" y="1022"/>
                    </a:lnTo>
                    <a:close/>
                    <a:moveTo>
                      <a:pt x="1356" y="1566"/>
                    </a:moveTo>
                    <a:lnTo>
                      <a:pt x="1356" y="1568"/>
                    </a:lnTo>
                    <a:lnTo>
                      <a:pt x="1356" y="1566"/>
                    </a:lnTo>
                    <a:close/>
                    <a:moveTo>
                      <a:pt x="1400" y="1700"/>
                    </a:moveTo>
                    <a:lnTo>
                      <a:pt x="1402" y="1700"/>
                    </a:lnTo>
                    <a:lnTo>
                      <a:pt x="1402" y="1702"/>
                    </a:lnTo>
                    <a:lnTo>
                      <a:pt x="1400" y="1702"/>
                    </a:lnTo>
                    <a:lnTo>
                      <a:pt x="1400" y="1700"/>
                    </a:lnTo>
                    <a:close/>
                    <a:moveTo>
                      <a:pt x="801" y="1244"/>
                    </a:moveTo>
                    <a:lnTo>
                      <a:pt x="803" y="1244"/>
                    </a:lnTo>
                    <a:lnTo>
                      <a:pt x="803" y="1246"/>
                    </a:lnTo>
                    <a:lnTo>
                      <a:pt x="801" y="1246"/>
                    </a:lnTo>
                    <a:lnTo>
                      <a:pt x="801" y="1244"/>
                    </a:lnTo>
                    <a:close/>
                    <a:moveTo>
                      <a:pt x="1009" y="1228"/>
                    </a:moveTo>
                    <a:lnTo>
                      <a:pt x="1011" y="1228"/>
                    </a:lnTo>
                    <a:lnTo>
                      <a:pt x="1011" y="1230"/>
                    </a:lnTo>
                    <a:lnTo>
                      <a:pt x="1009" y="1230"/>
                    </a:lnTo>
                    <a:lnTo>
                      <a:pt x="1009" y="1228"/>
                    </a:lnTo>
                    <a:close/>
                    <a:moveTo>
                      <a:pt x="1024" y="1219"/>
                    </a:moveTo>
                    <a:lnTo>
                      <a:pt x="1026" y="1219"/>
                    </a:lnTo>
                    <a:lnTo>
                      <a:pt x="1026" y="1221"/>
                    </a:lnTo>
                    <a:lnTo>
                      <a:pt x="1024" y="1221"/>
                    </a:lnTo>
                    <a:lnTo>
                      <a:pt x="1024" y="1219"/>
                    </a:lnTo>
                    <a:close/>
                    <a:moveTo>
                      <a:pt x="1178" y="1057"/>
                    </a:moveTo>
                    <a:lnTo>
                      <a:pt x="1182" y="1057"/>
                    </a:lnTo>
                    <a:lnTo>
                      <a:pt x="1182" y="1061"/>
                    </a:lnTo>
                    <a:lnTo>
                      <a:pt x="1178" y="1061"/>
                    </a:lnTo>
                    <a:lnTo>
                      <a:pt x="1178" y="1057"/>
                    </a:lnTo>
                    <a:close/>
                    <a:moveTo>
                      <a:pt x="486" y="1068"/>
                    </a:moveTo>
                    <a:lnTo>
                      <a:pt x="490" y="1068"/>
                    </a:lnTo>
                    <a:lnTo>
                      <a:pt x="490" y="1070"/>
                    </a:lnTo>
                    <a:lnTo>
                      <a:pt x="486" y="1070"/>
                    </a:lnTo>
                    <a:lnTo>
                      <a:pt x="486" y="1068"/>
                    </a:lnTo>
                    <a:close/>
                    <a:moveTo>
                      <a:pt x="1240" y="1408"/>
                    </a:moveTo>
                    <a:lnTo>
                      <a:pt x="1241" y="1408"/>
                    </a:lnTo>
                    <a:lnTo>
                      <a:pt x="1241" y="1410"/>
                    </a:lnTo>
                    <a:lnTo>
                      <a:pt x="1240" y="1410"/>
                    </a:lnTo>
                    <a:lnTo>
                      <a:pt x="1240" y="1408"/>
                    </a:lnTo>
                    <a:close/>
                    <a:moveTo>
                      <a:pt x="858" y="1675"/>
                    </a:moveTo>
                    <a:lnTo>
                      <a:pt x="860" y="1675"/>
                    </a:lnTo>
                    <a:lnTo>
                      <a:pt x="860" y="1677"/>
                    </a:lnTo>
                    <a:lnTo>
                      <a:pt x="858" y="1677"/>
                    </a:lnTo>
                    <a:lnTo>
                      <a:pt x="858" y="1675"/>
                    </a:lnTo>
                    <a:close/>
                    <a:moveTo>
                      <a:pt x="879" y="872"/>
                    </a:moveTo>
                    <a:lnTo>
                      <a:pt x="881" y="872"/>
                    </a:lnTo>
                    <a:lnTo>
                      <a:pt x="881" y="875"/>
                    </a:lnTo>
                    <a:lnTo>
                      <a:pt x="879" y="875"/>
                    </a:lnTo>
                    <a:lnTo>
                      <a:pt x="879" y="872"/>
                    </a:lnTo>
                    <a:close/>
                    <a:moveTo>
                      <a:pt x="793" y="996"/>
                    </a:moveTo>
                    <a:lnTo>
                      <a:pt x="795" y="996"/>
                    </a:lnTo>
                    <a:lnTo>
                      <a:pt x="795" y="998"/>
                    </a:lnTo>
                    <a:lnTo>
                      <a:pt x="793" y="998"/>
                    </a:lnTo>
                    <a:lnTo>
                      <a:pt x="793" y="996"/>
                    </a:lnTo>
                    <a:close/>
                    <a:moveTo>
                      <a:pt x="1167" y="1160"/>
                    </a:moveTo>
                    <a:lnTo>
                      <a:pt x="1169" y="1160"/>
                    </a:lnTo>
                    <a:lnTo>
                      <a:pt x="1167" y="1160"/>
                    </a:lnTo>
                    <a:close/>
                    <a:moveTo>
                      <a:pt x="1253" y="1440"/>
                    </a:moveTo>
                    <a:lnTo>
                      <a:pt x="1255" y="1440"/>
                    </a:lnTo>
                    <a:lnTo>
                      <a:pt x="1255" y="1442"/>
                    </a:lnTo>
                    <a:lnTo>
                      <a:pt x="1253" y="1442"/>
                    </a:lnTo>
                    <a:lnTo>
                      <a:pt x="1253" y="1440"/>
                    </a:lnTo>
                    <a:close/>
                    <a:moveTo>
                      <a:pt x="1220" y="1242"/>
                    </a:moveTo>
                    <a:lnTo>
                      <a:pt x="1222" y="1242"/>
                    </a:lnTo>
                    <a:lnTo>
                      <a:pt x="1222" y="1246"/>
                    </a:lnTo>
                    <a:lnTo>
                      <a:pt x="1220" y="1246"/>
                    </a:lnTo>
                    <a:lnTo>
                      <a:pt x="1220" y="1242"/>
                    </a:lnTo>
                    <a:close/>
                    <a:moveTo>
                      <a:pt x="1093" y="1242"/>
                    </a:moveTo>
                    <a:lnTo>
                      <a:pt x="1095" y="1242"/>
                    </a:lnTo>
                    <a:lnTo>
                      <a:pt x="1095" y="1244"/>
                    </a:lnTo>
                    <a:lnTo>
                      <a:pt x="1093" y="1244"/>
                    </a:lnTo>
                    <a:lnTo>
                      <a:pt x="1093" y="1242"/>
                    </a:lnTo>
                    <a:close/>
                    <a:moveTo>
                      <a:pt x="704" y="999"/>
                    </a:moveTo>
                    <a:lnTo>
                      <a:pt x="706" y="999"/>
                    </a:lnTo>
                    <a:lnTo>
                      <a:pt x="706" y="1003"/>
                    </a:lnTo>
                    <a:lnTo>
                      <a:pt x="704" y="1003"/>
                    </a:lnTo>
                    <a:lnTo>
                      <a:pt x="704" y="999"/>
                    </a:lnTo>
                    <a:close/>
                    <a:moveTo>
                      <a:pt x="1003" y="1415"/>
                    </a:moveTo>
                    <a:lnTo>
                      <a:pt x="1007" y="1417"/>
                    </a:lnTo>
                    <a:lnTo>
                      <a:pt x="1005" y="1417"/>
                    </a:lnTo>
                    <a:lnTo>
                      <a:pt x="1003" y="1415"/>
                    </a:lnTo>
                    <a:close/>
                    <a:moveTo>
                      <a:pt x="450" y="967"/>
                    </a:moveTo>
                    <a:lnTo>
                      <a:pt x="452" y="967"/>
                    </a:lnTo>
                    <a:lnTo>
                      <a:pt x="452" y="969"/>
                    </a:lnTo>
                    <a:lnTo>
                      <a:pt x="450" y="969"/>
                    </a:lnTo>
                    <a:lnTo>
                      <a:pt x="450" y="967"/>
                    </a:lnTo>
                    <a:close/>
                    <a:moveTo>
                      <a:pt x="164" y="1528"/>
                    </a:moveTo>
                    <a:lnTo>
                      <a:pt x="164" y="1530"/>
                    </a:lnTo>
                    <a:lnTo>
                      <a:pt x="164" y="1528"/>
                    </a:lnTo>
                    <a:close/>
                    <a:moveTo>
                      <a:pt x="282" y="1671"/>
                    </a:moveTo>
                    <a:lnTo>
                      <a:pt x="284" y="1671"/>
                    </a:lnTo>
                    <a:lnTo>
                      <a:pt x="284" y="1673"/>
                    </a:lnTo>
                    <a:lnTo>
                      <a:pt x="282" y="1673"/>
                    </a:lnTo>
                    <a:lnTo>
                      <a:pt x="282" y="1671"/>
                    </a:lnTo>
                    <a:close/>
                    <a:moveTo>
                      <a:pt x="1064" y="1209"/>
                    </a:moveTo>
                    <a:lnTo>
                      <a:pt x="1066" y="1209"/>
                    </a:lnTo>
                    <a:lnTo>
                      <a:pt x="1066" y="1211"/>
                    </a:lnTo>
                    <a:lnTo>
                      <a:pt x="1064" y="1211"/>
                    </a:lnTo>
                    <a:lnTo>
                      <a:pt x="1064" y="1209"/>
                    </a:lnTo>
                    <a:close/>
                    <a:moveTo>
                      <a:pt x="850" y="931"/>
                    </a:moveTo>
                    <a:lnTo>
                      <a:pt x="852" y="931"/>
                    </a:lnTo>
                    <a:lnTo>
                      <a:pt x="852" y="933"/>
                    </a:lnTo>
                    <a:lnTo>
                      <a:pt x="850" y="933"/>
                    </a:lnTo>
                    <a:lnTo>
                      <a:pt x="850" y="931"/>
                    </a:lnTo>
                    <a:close/>
                    <a:moveTo>
                      <a:pt x="669" y="606"/>
                    </a:moveTo>
                    <a:lnTo>
                      <a:pt x="669" y="608"/>
                    </a:lnTo>
                    <a:lnTo>
                      <a:pt x="671" y="608"/>
                    </a:lnTo>
                    <a:lnTo>
                      <a:pt x="669" y="610"/>
                    </a:lnTo>
                    <a:lnTo>
                      <a:pt x="669" y="608"/>
                    </a:lnTo>
                    <a:lnTo>
                      <a:pt x="667" y="606"/>
                    </a:lnTo>
                    <a:lnTo>
                      <a:pt x="669" y="606"/>
                    </a:lnTo>
                    <a:close/>
                    <a:moveTo>
                      <a:pt x="801" y="1020"/>
                    </a:moveTo>
                    <a:lnTo>
                      <a:pt x="803" y="1020"/>
                    </a:lnTo>
                    <a:lnTo>
                      <a:pt x="801" y="1020"/>
                    </a:lnTo>
                    <a:close/>
                    <a:moveTo>
                      <a:pt x="1245" y="1408"/>
                    </a:moveTo>
                    <a:lnTo>
                      <a:pt x="1247" y="1408"/>
                    </a:lnTo>
                    <a:lnTo>
                      <a:pt x="1247" y="1410"/>
                    </a:lnTo>
                    <a:lnTo>
                      <a:pt x="1245" y="1410"/>
                    </a:lnTo>
                    <a:lnTo>
                      <a:pt x="1245" y="1408"/>
                    </a:lnTo>
                    <a:close/>
                    <a:moveTo>
                      <a:pt x="1013" y="1497"/>
                    </a:moveTo>
                    <a:lnTo>
                      <a:pt x="1011" y="1499"/>
                    </a:lnTo>
                    <a:lnTo>
                      <a:pt x="1009" y="1499"/>
                    </a:lnTo>
                    <a:lnTo>
                      <a:pt x="1013" y="1497"/>
                    </a:lnTo>
                    <a:close/>
                    <a:moveTo>
                      <a:pt x="1085" y="1228"/>
                    </a:moveTo>
                    <a:lnTo>
                      <a:pt x="1087" y="1230"/>
                    </a:lnTo>
                    <a:lnTo>
                      <a:pt x="1085" y="1230"/>
                    </a:lnTo>
                    <a:lnTo>
                      <a:pt x="1087" y="1230"/>
                    </a:lnTo>
                    <a:lnTo>
                      <a:pt x="1085" y="1230"/>
                    </a:lnTo>
                    <a:lnTo>
                      <a:pt x="1083" y="1228"/>
                    </a:lnTo>
                    <a:lnTo>
                      <a:pt x="1085" y="1230"/>
                    </a:lnTo>
                    <a:lnTo>
                      <a:pt x="1085" y="1228"/>
                    </a:lnTo>
                    <a:close/>
                    <a:moveTo>
                      <a:pt x="1102" y="1242"/>
                    </a:moveTo>
                    <a:lnTo>
                      <a:pt x="1104" y="1242"/>
                    </a:lnTo>
                    <a:lnTo>
                      <a:pt x="1104" y="1244"/>
                    </a:lnTo>
                    <a:lnTo>
                      <a:pt x="1102" y="1244"/>
                    </a:lnTo>
                    <a:lnTo>
                      <a:pt x="1102" y="1242"/>
                    </a:lnTo>
                    <a:close/>
                    <a:moveTo>
                      <a:pt x="536" y="1062"/>
                    </a:moveTo>
                    <a:lnTo>
                      <a:pt x="538" y="1062"/>
                    </a:lnTo>
                    <a:lnTo>
                      <a:pt x="536" y="1062"/>
                    </a:lnTo>
                    <a:close/>
                    <a:moveTo>
                      <a:pt x="1024" y="1221"/>
                    </a:moveTo>
                    <a:lnTo>
                      <a:pt x="1026" y="1221"/>
                    </a:lnTo>
                    <a:lnTo>
                      <a:pt x="1026" y="1223"/>
                    </a:lnTo>
                    <a:lnTo>
                      <a:pt x="1024" y="1223"/>
                    </a:lnTo>
                    <a:lnTo>
                      <a:pt x="1024" y="1221"/>
                    </a:lnTo>
                    <a:close/>
                    <a:moveTo>
                      <a:pt x="1093" y="1240"/>
                    </a:moveTo>
                    <a:lnTo>
                      <a:pt x="1091" y="1242"/>
                    </a:lnTo>
                    <a:lnTo>
                      <a:pt x="1093" y="1242"/>
                    </a:lnTo>
                    <a:lnTo>
                      <a:pt x="1091" y="1242"/>
                    </a:lnTo>
                    <a:lnTo>
                      <a:pt x="1093" y="1240"/>
                    </a:lnTo>
                    <a:close/>
                    <a:moveTo>
                      <a:pt x="736" y="646"/>
                    </a:moveTo>
                    <a:lnTo>
                      <a:pt x="736" y="650"/>
                    </a:lnTo>
                    <a:lnTo>
                      <a:pt x="736" y="646"/>
                    </a:lnTo>
                    <a:close/>
                    <a:moveTo>
                      <a:pt x="862" y="238"/>
                    </a:moveTo>
                    <a:lnTo>
                      <a:pt x="864" y="238"/>
                    </a:lnTo>
                    <a:lnTo>
                      <a:pt x="864" y="242"/>
                    </a:lnTo>
                    <a:lnTo>
                      <a:pt x="862" y="242"/>
                    </a:lnTo>
                    <a:lnTo>
                      <a:pt x="862" y="238"/>
                    </a:lnTo>
                    <a:close/>
                    <a:moveTo>
                      <a:pt x="986" y="1475"/>
                    </a:moveTo>
                    <a:lnTo>
                      <a:pt x="988" y="1475"/>
                    </a:lnTo>
                    <a:lnTo>
                      <a:pt x="988" y="1478"/>
                    </a:lnTo>
                    <a:lnTo>
                      <a:pt x="986" y="1478"/>
                    </a:lnTo>
                    <a:lnTo>
                      <a:pt x="986" y="1475"/>
                    </a:lnTo>
                    <a:close/>
                    <a:moveTo>
                      <a:pt x="892" y="1036"/>
                    </a:moveTo>
                    <a:lnTo>
                      <a:pt x="894" y="1036"/>
                    </a:lnTo>
                    <a:lnTo>
                      <a:pt x="894" y="1038"/>
                    </a:lnTo>
                    <a:lnTo>
                      <a:pt x="892" y="1038"/>
                    </a:lnTo>
                    <a:lnTo>
                      <a:pt x="892" y="1036"/>
                    </a:lnTo>
                    <a:close/>
                    <a:moveTo>
                      <a:pt x="889" y="1024"/>
                    </a:moveTo>
                    <a:lnTo>
                      <a:pt x="891" y="1024"/>
                    </a:lnTo>
                    <a:lnTo>
                      <a:pt x="891" y="1026"/>
                    </a:lnTo>
                    <a:lnTo>
                      <a:pt x="889" y="1026"/>
                    </a:lnTo>
                    <a:lnTo>
                      <a:pt x="889" y="1024"/>
                    </a:lnTo>
                    <a:close/>
                    <a:moveTo>
                      <a:pt x="1022" y="1478"/>
                    </a:moveTo>
                    <a:lnTo>
                      <a:pt x="1024" y="1478"/>
                    </a:lnTo>
                    <a:lnTo>
                      <a:pt x="1024" y="1480"/>
                    </a:lnTo>
                    <a:lnTo>
                      <a:pt x="1022" y="1480"/>
                    </a:lnTo>
                    <a:lnTo>
                      <a:pt x="1022" y="1478"/>
                    </a:lnTo>
                    <a:close/>
                    <a:moveTo>
                      <a:pt x="395" y="956"/>
                    </a:moveTo>
                    <a:lnTo>
                      <a:pt x="397" y="956"/>
                    </a:lnTo>
                    <a:lnTo>
                      <a:pt x="397" y="958"/>
                    </a:lnTo>
                    <a:lnTo>
                      <a:pt x="397" y="956"/>
                    </a:lnTo>
                    <a:lnTo>
                      <a:pt x="395" y="958"/>
                    </a:lnTo>
                    <a:lnTo>
                      <a:pt x="393" y="956"/>
                    </a:lnTo>
                    <a:lnTo>
                      <a:pt x="395" y="956"/>
                    </a:lnTo>
                    <a:lnTo>
                      <a:pt x="393" y="956"/>
                    </a:lnTo>
                    <a:lnTo>
                      <a:pt x="395" y="956"/>
                    </a:lnTo>
                    <a:close/>
                    <a:moveTo>
                      <a:pt x="534" y="1062"/>
                    </a:moveTo>
                    <a:lnTo>
                      <a:pt x="536" y="1062"/>
                    </a:lnTo>
                    <a:lnTo>
                      <a:pt x="536" y="1064"/>
                    </a:lnTo>
                    <a:lnTo>
                      <a:pt x="534" y="1064"/>
                    </a:lnTo>
                    <a:lnTo>
                      <a:pt x="534" y="1062"/>
                    </a:lnTo>
                    <a:close/>
                    <a:moveTo>
                      <a:pt x="896" y="1146"/>
                    </a:moveTo>
                    <a:lnTo>
                      <a:pt x="898" y="1146"/>
                    </a:lnTo>
                    <a:lnTo>
                      <a:pt x="896" y="1146"/>
                    </a:lnTo>
                    <a:close/>
                    <a:moveTo>
                      <a:pt x="1226" y="1637"/>
                    </a:moveTo>
                    <a:lnTo>
                      <a:pt x="1228" y="1637"/>
                    </a:lnTo>
                    <a:lnTo>
                      <a:pt x="1228" y="1639"/>
                    </a:lnTo>
                    <a:lnTo>
                      <a:pt x="1226" y="1639"/>
                    </a:lnTo>
                    <a:lnTo>
                      <a:pt x="1226" y="1637"/>
                    </a:lnTo>
                    <a:close/>
                    <a:moveTo>
                      <a:pt x="1358" y="1654"/>
                    </a:moveTo>
                    <a:lnTo>
                      <a:pt x="1360" y="1654"/>
                    </a:lnTo>
                    <a:lnTo>
                      <a:pt x="1360" y="1656"/>
                    </a:lnTo>
                    <a:lnTo>
                      <a:pt x="1358" y="1656"/>
                    </a:lnTo>
                    <a:lnTo>
                      <a:pt x="1358" y="1654"/>
                    </a:lnTo>
                    <a:close/>
                    <a:moveTo>
                      <a:pt x="610" y="1034"/>
                    </a:moveTo>
                    <a:lnTo>
                      <a:pt x="612" y="1034"/>
                    </a:lnTo>
                    <a:lnTo>
                      <a:pt x="612" y="1036"/>
                    </a:lnTo>
                    <a:lnTo>
                      <a:pt x="610" y="1036"/>
                    </a:lnTo>
                    <a:lnTo>
                      <a:pt x="610" y="1034"/>
                    </a:lnTo>
                    <a:close/>
                    <a:moveTo>
                      <a:pt x="902" y="1145"/>
                    </a:moveTo>
                    <a:lnTo>
                      <a:pt x="904" y="1145"/>
                    </a:lnTo>
                    <a:lnTo>
                      <a:pt x="904" y="1146"/>
                    </a:lnTo>
                    <a:lnTo>
                      <a:pt x="902" y="1146"/>
                    </a:lnTo>
                    <a:lnTo>
                      <a:pt x="902" y="1145"/>
                    </a:lnTo>
                    <a:close/>
                    <a:moveTo>
                      <a:pt x="990" y="1581"/>
                    </a:moveTo>
                    <a:lnTo>
                      <a:pt x="992" y="1581"/>
                    </a:lnTo>
                    <a:lnTo>
                      <a:pt x="990" y="1581"/>
                    </a:lnTo>
                    <a:close/>
                    <a:moveTo>
                      <a:pt x="214" y="1616"/>
                    </a:moveTo>
                    <a:lnTo>
                      <a:pt x="216" y="1616"/>
                    </a:lnTo>
                    <a:lnTo>
                      <a:pt x="214" y="1616"/>
                    </a:lnTo>
                    <a:close/>
                    <a:moveTo>
                      <a:pt x="702" y="900"/>
                    </a:moveTo>
                    <a:lnTo>
                      <a:pt x="704" y="900"/>
                    </a:lnTo>
                    <a:lnTo>
                      <a:pt x="704" y="902"/>
                    </a:lnTo>
                    <a:lnTo>
                      <a:pt x="702" y="902"/>
                    </a:lnTo>
                    <a:lnTo>
                      <a:pt x="702" y="900"/>
                    </a:lnTo>
                    <a:close/>
                    <a:moveTo>
                      <a:pt x="780" y="192"/>
                    </a:moveTo>
                    <a:lnTo>
                      <a:pt x="784" y="192"/>
                    </a:lnTo>
                    <a:lnTo>
                      <a:pt x="784" y="196"/>
                    </a:lnTo>
                    <a:lnTo>
                      <a:pt x="780" y="196"/>
                    </a:lnTo>
                    <a:lnTo>
                      <a:pt x="780" y="192"/>
                    </a:lnTo>
                    <a:close/>
                    <a:moveTo>
                      <a:pt x="277" y="1663"/>
                    </a:moveTo>
                    <a:lnTo>
                      <a:pt x="278" y="1663"/>
                    </a:lnTo>
                    <a:lnTo>
                      <a:pt x="278" y="1667"/>
                    </a:lnTo>
                    <a:lnTo>
                      <a:pt x="277" y="1667"/>
                    </a:lnTo>
                    <a:lnTo>
                      <a:pt x="277" y="1663"/>
                    </a:lnTo>
                    <a:close/>
                    <a:moveTo>
                      <a:pt x="696" y="986"/>
                    </a:moveTo>
                    <a:lnTo>
                      <a:pt x="698" y="986"/>
                    </a:lnTo>
                    <a:lnTo>
                      <a:pt x="698" y="988"/>
                    </a:lnTo>
                    <a:lnTo>
                      <a:pt x="696" y="988"/>
                    </a:lnTo>
                    <a:lnTo>
                      <a:pt x="696" y="986"/>
                    </a:lnTo>
                    <a:close/>
                    <a:moveTo>
                      <a:pt x="799" y="973"/>
                    </a:moveTo>
                    <a:lnTo>
                      <a:pt x="801" y="973"/>
                    </a:lnTo>
                    <a:lnTo>
                      <a:pt x="801" y="975"/>
                    </a:lnTo>
                    <a:lnTo>
                      <a:pt x="799" y="975"/>
                    </a:lnTo>
                    <a:lnTo>
                      <a:pt x="799" y="973"/>
                    </a:lnTo>
                    <a:close/>
                    <a:moveTo>
                      <a:pt x="1213" y="1219"/>
                    </a:moveTo>
                    <a:lnTo>
                      <a:pt x="1215" y="1219"/>
                    </a:lnTo>
                    <a:lnTo>
                      <a:pt x="1215" y="1221"/>
                    </a:lnTo>
                    <a:lnTo>
                      <a:pt x="1213" y="1221"/>
                    </a:lnTo>
                    <a:lnTo>
                      <a:pt x="1213" y="1219"/>
                    </a:lnTo>
                    <a:close/>
                    <a:moveTo>
                      <a:pt x="162" y="1526"/>
                    </a:moveTo>
                    <a:lnTo>
                      <a:pt x="164" y="1526"/>
                    </a:lnTo>
                    <a:lnTo>
                      <a:pt x="164" y="1528"/>
                    </a:lnTo>
                    <a:lnTo>
                      <a:pt x="162" y="1528"/>
                    </a:lnTo>
                    <a:lnTo>
                      <a:pt x="162" y="1526"/>
                    </a:lnTo>
                    <a:close/>
                    <a:moveTo>
                      <a:pt x="1354" y="1572"/>
                    </a:moveTo>
                    <a:lnTo>
                      <a:pt x="1356" y="1572"/>
                    </a:lnTo>
                    <a:lnTo>
                      <a:pt x="1356" y="1574"/>
                    </a:lnTo>
                    <a:lnTo>
                      <a:pt x="1354" y="1574"/>
                    </a:lnTo>
                    <a:lnTo>
                      <a:pt x="1354" y="1572"/>
                    </a:lnTo>
                    <a:close/>
                    <a:moveTo>
                      <a:pt x="1161" y="1156"/>
                    </a:moveTo>
                    <a:lnTo>
                      <a:pt x="1163" y="1156"/>
                    </a:lnTo>
                    <a:lnTo>
                      <a:pt x="1163" y="1158"/>
                    </a:lnTo>
                    <a:lnTo>
                      <a:pt x="1161" y="1158"/>
                    </a:lnTo>
                    <a:lnTo>
                      <a:pt x="1161" y="1156"/>
                    </a:lnTo>
                    <a:close/>
                    <a:moveTo>
                      <a:pt x="1274" y="1484"/>
                    </a:moveTo>
                    <a:lnTo>
                      <a:pt x="1276" y="1484"/>
                    </a:lnTo>
                    <a:lnTo>
                      <a:pt x="1276" y="1486"/>
                    </a:lnTo>
                    <a:lnTo>
                      <a:pt x="1274" y="1486"/>
                    </a:lnTo>
                    <a:lnTo>
                      <a:pt x="1274" y="1484"/>
                    </a:lnTo>
                    <a:close/>
                    <a:moveTo>
                      <a:pt x="1096" y="1301"/>
                    </a:moveTo>
                    <a:lnTo>
                      <a:pt x="1098" y="1301"/>
                    </a:lnTo>
                    <a:lnTo>
                      <a:pt x="1098" y="1303"/>
                    </a:lnTo>
                    <a:lnTo>
                      <a:pt x="1096" y="1303"/>
                    </a:lnTo>
                    <a:lnTo>
                      <a:pt x="1096" y="1301"/>
                    </a:lnTo>
                    <a:close/>
                    <a:moveTo>
                      <a:pt x="1354" y="1578"/>
                    </a:moveTo>
                    <a:lnTo>
                      <a:pt x="1358" y="1578"/>
                    </a:lnTo>
                    <a:lnTo>
                      <a:pt x="1358" y="1580"/>
                    </a:lnTo>
                    <a:lnTo>
                      <a:pt x="1354" y="1580"/>
                    </a:lnTo>
                    <a:lnTo>
                      <a:pt x="1354" y="1578"/>
                    </a:lnTo>
                    <a:close/>
                    <a:moveTo>
                      <a:pt x="982" y="1490"/>
                    </a:moveTo>
                    <a:lnTo>
                      <a:pt x="984" y="1490"/>
                    </a:lnTo>
                    <a:lnTo>
                      <a:pt x="984" y="1494"/>
                    </a:lnTo>
                    <a:lnTo>
                      <a:pt x="982" y="1494"/>
                    </a:lnTo>
                    <a:lnTo>
                      <a:pt x="982" y="1490"/>
                    </a:lnTo>
                    <a:close/>
                    <a:moveTo>
                      <a:pt x="742" y="408"/>
                    </a:moveTo>
                    <a:lnTo>
                      <a:pt x="742" y="410"/>
                    </a:lnTo>
                    <a:lnTo>
                      <a:pt x="740" y="412"/>
                    </a:lnTo>
                    <a:lnTo>
                      <a:pt x="740" y="410"/>
                    </a:lnTo>
                    <a:lnTo>
                      <a:pt x="742" y="408"/>
                    </a:lnTo>
                    <a:close/>
                    <a:moveTo>
                      <a:pt x="1268" y="1473"/>
                    </a:moveTo>
                    <a:lnTo>
                      <a:pt x="1270" y="1473"/>
                    </a:lnTo>
                    <a:lnTo>
                      <a:pt x="1270" y="1475"/>
                    </a:lnTo>
                    <a:lnTo>
                      <a:pt x="1268" y="1475"/>
                    </a:lnTo>
                    <a:lnTo>
                      <a:pt x="1268" y="1473"/>
                    </a:lnTo>
                    <a:close/>
                    <a:moveTo>
                      <a:pt x="994" y="1406"/>
                    </a:moveTo>
                    <a:lnTo>
                      <a:pt x="995" y="1406"/>
                    </a:lnTo>
                    <a:lnTo>
                      <a:pt x="995" y="1408"/>
                    </a:lnTo>
                    <a:lnTo>
                      <a:pt x="994" y="1408"/>
                    </a:lnTo>
                    <a:lnTo>
                      <a:pt x="994" y="1406"/>
                    </a:lnTo>
                    <a:close/>
                    <a:moveTo>
                      <a:pt x="650" y="961"/>
                    </a:moveTo>
                    <a:lnTo>
                      <a:pt x="652" y="961"/>
                    </a:lnTo>
                    <a:lnTo>
                      <a:pt x="652" y="965"/>
                    </a:lnTo>
                    <a:lnTo>
                      <a:pt x="650" y="965"/>
                    </a:lnTo>
                    <a:lnTo>
                      <a:pt x="650" y="961"/>
                    </a:lnTo>
                    <a:close/>
                    <a:moveTo>
                      <a:pt x="1226" y="1188"/>
                    </a:moveTo>
                    <a:lnTo>
                      <a:pt x="1226" y="1190"/>
                    </a:lnTo>
                    <a:lnTo>
                      <a:pt x="1226" y="1188"/>
                    </a:lnTo>
                    <a:close/>
                    <a:moveTo>
                      <a:pt x="149" y="1572"/>
                    </a:moveTo>
                    <a:lnTo>
                      <a:pt x="151" y="1572"/>
                    </a:lnTo>
                    <a:lnTo>
                      <a:pt x="151" y="1574"/>
                    </a:lnTo>
                    <a:lnTo>
                      <a:pt x="149" y="1574"/>
                    </a:lnTo>
                    <a:lnTo>
                      <a:pt x="149" y="1572"/>
                    </a:lnTo>
                    <a:close/>
                    <a:moveTo>
                      <a:pt x="429" y="1072"/>
                    </a:moveTo>
                    <a:lnTo>
                      <a:pt x="429" y="1074"/>
                    </a:lnTo>
                    <a:lnTo>
                      <a:pt x="425" y="1074"/>
                    </a:lnTo>
                    <a:lnTo>
                      <a:pt x="429" y="1072"/>
                    </a:lnTo>
                    <a:close/>
                    <a:moveTo>
                      <a:pt x="1016" y="1494"/>
                    </a:moveTo>
                    <a:lnTo>
                      <a:pt x="1014" y="1496"/>
                    </a:lnTo>
                    <a:lnTo>
                      <a:pt x="1013" y="1497"/>
                    </a:lnTo>
                    <a:lnTo>
                      <a:pt x="1016" y="1494"/>
                    </a:lnTo>
                    <a:close/>
                    <a:moveTo>
                      <a:pt x="1270" y="1459"/>
                    </a:moveTo>
                    <a:lnTo>
                      <a:pt x="1272" y="1459"/>
                    </a:lnTo>
                    <a:lnTo>
                      <a:pt x="1272" y="1461"/>
                    </a:lnTo>
                    <a:lnTo>
                      <a:pt x="1270" y="1461"/>
                    </a:lnTo>
                    <a:lnTo>
                      <a:pt x="1270" y="1459"/>
                    </a:lnTo>
                    <a:close/>
                    <a:moveTo>
                      <a:pt x="231" y="1650"/>
                    </a:moveTo>
                    <a:lnTo>
                      <a:pt x="233" y="1650"/>
                    </a:lnTo>
                    <a:lnTo>
                      <a:pt x="233" y="1652"/>
                    </a:lnTo>
                    <a:lnTo>
                      <a:pt x="231" y="1652"/>
                    </a:lnTo>
                    <a:lnTo>
                      <a:pt x="231" y="1650"/>
                    </a:lnTo>
                    <a:close/>
                    <a:moveTo>
                      <a:pt x="1264" y="1477"/>
                    </a:moveTo>
                    <a:lnTo>
                      <a:pt x="1266" y="1477"/>
                    </a:lnTo>
                    <a:lnTo>
                      <a:pt x="1264" y="1477"/>
                    </a:lnTo>
                    <a:close/>
                    <a:moveTo>
                      <a:pt x="1058" y="898"/>
                    </a:moveTo>
                    <a:lnTo>
                      <a:pt x="1060" y="898"/>
                    </a:lnTo>
                    <a:lnTo>
                      <a:pt x="1058" y="898"/>
                    </a:lnTo>
                    <a:close/>
                    <a:moveTo>
                      <a:pt x="990" y="585"/>
                    </a:moveTo>
                    <a:lnTo>
                      <a:pt x="992" y="585"/>
                    </a:lnTo>
                    <a:lnTo>
                      <a:pt x="992" y="591"/>
                    </a:lnTo>
                    <a:lnTo>
                      <a:pt x="990" y="591"/>
                    </a:lnTo>
                    <a:lnTo>
                      <a:pt x="990" y="585"/>
                    </a:lnTo>
                    <a:close/>
                    <a:moveTo>
                      <a:pt x="282" y="1671"/>
                    </a:moveTo>
                    <a:lnTo>
                      <a:pt x="284" y="1671"/>
                    </a:lnTo>
                    <a:lnTo>
                      <a:pt x="282" y="1671"/>
                    </a:lnTo>
                    <a:close/>
                    <a:moveTo>
                      <a:pt x="1182" y="1053"/>
                    </a:moveTo>
                    <a:lnTo>
                      <a:pt x="1184" y="1053"/>
                    </a:lnTo>
                    <a:lnTo>
                      <a:pt x="1184" y="1055"/>
                    </a:lnTo>
                    <a:lnTo>
                      <a:pt x="1182" y="1055"/>
                    </a:lnTo>
                    <a:lnTo>
                      <a:pt x="1182" y="1053"/>
                    </a:lnTo>
                    <a:close/>
                    <a:moveTo>
                      <a:pt x="1003" y="980"/>
                    </a:moveTo>
                    <a:lnTo>
                      <a:pt x="1005" y="980"/>
                    </a:lnTo>
                    <a:lnTo>
                      <a:pt x="1005" y="982"/>
                    </a:lnTo>
                    <a:lnTo>
                      <a:pt x="1003" y="982"/>
                    </a:lnTo>
                    <a:lnTo>
                      <a:pt x="1003" y="980"/>
                    </a:lnTo>
                    <a:close/>
                    <a:moveTo>
                      <a:pt x="1171" y="1162"/>
                    </a:moveTo>
                    <a:lnTo>
                      <a:pt x="1173" y="1162"/>
                    </a:lnTo>
                    <a:lnTo>
                      <a:pt x="1173" y="1164"/>
                    </a:lnTo>
                    <a:lnTo>
                      <a:pt x="1171" y="1164"/>
                    </a:lnTo>
                    <a:lnTo>
                      <a:pt x="1171" y="1162"/>
                    </a:lnTo>
                    <a:close/>
                    <a:moveTo>
                      <a:pt x="1024" y="1454"/>
                    </a:moveTo>
                    <a:lnTo>
                      <a:pt x="1024" y="1456"/>
                    </a:lnTo>
                    <a:lnTo>
                      <a:pt x="1024" y="1454"/>
                    </a:lnTo>
                    <a:close/>
                    <a:moveTo>
                      <a:pt x="1112" y="1265"/>
                    </a:moveTo>
                    <a:lnTo>
                      <a:pt x="1114" y="1267"/>
                    </a:lnTo>
                    <a:lnTo>
                      <a:pt x="1112" y="1267"/>
                    </a:lnTo>
                    <a:lnTo>
                      <a:pt x="1112" y="1265"/>
                    </a:lnTo>
                    <a:close/>
                    <a:moveTo>
                      <a:pt x="1249" y="1169"/>
                    </a:moveTo>
                    <a:lnTo>
                      <a:pt x="1251" y="1169"/>
                    </a:lnTo>
                    <a:lnTo>
                      <a:pt x="1251" y="1171"/>
                    </a:lnTo>
                    <a:lnTo>
                      <a:pt x="1249" y="1171"/>
                    </a:lnTo>
                    <a:lnTo>
                      <a:pt x="1249" y="1169"/>
                    </a:lnTo>
                    <a:close/>
                    <a:moveTo>
                      <a:pt x="536" y="1112"/>
                    </a:moveTo>
                    <a:lnTo>
                      <a:pt x="538" y="1112"/>
                    </a:lnTo>
                    <a:lnTo>
                      <a:pt x="538" y="1116"/>
                    </a:lnTo>
                    <a:lnTo>
                      <a:pt x="536" y="1116"/>
                    </a:lnTo>
                    <a:lnTo>
                      <a:pt x="536" y="1112"/>
                    </a:lnTo>
                    <a:close/>
                    <a:moveTo>
                      <a:pt x="1161" y="1246"/>
                    </a:moveTo>
                    <a:lnTo>
                      <a:pt x="1163" y="1246"/>
                    </a:lnTo>
                    <a:lnTo>
                      <a:pt x="1163" y="1248"/>
                    </a:lnTo>
                    <a:lnTo>
                      <a:pt x="1161" y="1248"/>
                    </a:lnTo>
                    <a:lnTo>
                      <a:pt x="1161" y="1246"/>
                    </a:lnTo>
                    <a:close/>
                    <a:moveTo>
                      <a:pt x="1379" y="1650"/>
                    </a:moveTo>
                    <a:lnTo>
                      <a:pt x="1379" y="1654"/>
                    </a:lnTo>
                    <a:lnTo>
                      <a:pt x="1379" y="1650"/>
                    </a:lnTo>
                    <a:close/>
                    <a:moveTo>
                      <a:pt x="1074" y="1225"/>
                    </a:moveTo>
                    <a:lnTo>
                      <a:pt x="1072" y="1225"/>
                    </a:lnTo>
                    <a:lnTo>
                      <a:pt x="1070" y="1225"/>
                    </a:lnTo>
                    <a:lnTo>
                      <a:pt x="1072" y="1225"/>
                    </a:lnTo>
                    <a:lnTo>
                      <a:pt x="1074" y="1225"/>
                    </a:lnTo>
                    <a:close/>
                    <a:moveTo>
                      <a:pt x="791" y="1246"/>
                    </a:moveTo>
                    <a:lnTo>
                      <a:pt x="793" y="1246"/>
                    </a:lnTo>
                    <a:lnTo>
                      <a:pt x="791" y="1246"/>
                    </a:lnTo>
                    <a:close/>
                    <a:moveTo>
                      <a:pt x="997" y="1450"/>
                    </a:moveTo>
                    <a:lnTo>
                      <a:pt x="999" y="1450"/>
                    </a:lnTo>
                    <a:lnTo>
                      <a:pt x="997" y="1450"/>
                    </a:lnTo>
                    <a:close/>
                    <a:moveTo>
                      <a:pt x="78" y="1024"/>
                    </a:moveTo>
                    <a:lnTo>
                      <a:pt x="80" y="1024"/>
                    </a:lnTo>
                    <a:lnTo>
                      <a:pt x="80" y="1026"/>
                    </a:lnTo>
                    <a:lnTo>
                      <a:pt x="78" y="1026"/>
                    </a:lnTo>
                    <a:lnTo>
                      <a:pt x="78" y="1024"/>
                    </a:lnTo>
                    <a:close/>
                    <a:moveTo>
                      <a:pt x="1381" y="1705"/>
                    </a:moveTo>
                    <a:lnTo>
                      <a:pt x="1383" y="1705"/>
                    </a:lnTo>
                    <a:lnTo>
                      <a:pt x="1383" y="1707"/>
                    </a:lnTo>
                    <a:lnTo>
                      <a:pt x="1381" y="1707"/>
                    </a:lnTo>
                    <a:lnTo>
                      <a:pt x="1381" y="1705"/>
                    </a:lnTo>
                    <a:close/>
                    <a:moveTo>
                      <a:pt x="1213" y="1074"/>
                    </a:moveTo>
                    <a:lnTo>
                      <a:pt x="1215" y="1074"/>
                    </a:lnTo>
                    <a:lnTo>
                      <a:pt x="1215" y="1076"/>
                    </a:lnTo>
                    <a:lnTo>
                      <a:pt x="1213" y="1076"/>
                    </a:lnTo>
                    <a:lnTo>
                      <a:pt x="1213" y="1074"/>
                    </a:lnTo>
                    <a:close/>
                    <a:moveTo>
                      <a:pt x="1314" y="1612"/>
                    </a:moveTo>
                    <a:lnTo>
                      <a:pt x="1316" y="1612"/>
                    </a:lnTo>
                    <a:lnTo>
                      <a:pt x="1316" y="1614"/>
                    </a:lnTo>
                    <a:lnTo>
                      <a:pt x="1314" y="1614"/>
                    </a:lnTo>
                    <a:lnTo>
                      <a:pt x="1314" y="1612"/>
                    </a:lnTo>
                    <a:close/>
                    <a:moveTo>
                      <a:pt x="698" y="618"/>
                    </a:moveTo>
                    <a:lnTo>
                      <a:pt x="700" y="618"/>
                    </a:lnTo>
                    <a:lnTo>
                      <a:pt x="700" y="622"/>
                    </a:lnTo>
                    <a:lnTo>
                      <a:pt x="698" y="622"/>
                    </a:lnTo>
                    <a:lnTo>
                      <a:pt x="698" y="618"/>
                    </a:lnTo>
                    <a:close/>
                    <a:moveTo>
                      <a:pt x="974" y="1440"/>
                    </a:moveTo>
                    <a:lnTo>
                      <a:pt x="974" y="1444"/>
                    </a:lnTo>
                    <a:lnTo>
                      <a:pt x="974" y="1440"/>
                    </a:lnTo>
                    <a:close/>
                    <a:moveTo>
                      <a:pt x="1213" y="1318"/>
                    </a:moveTo>
                    <a:lnTo>
                      <a:pt x="1215" y="1318"/>
                    </a:lnTo>
                    <a:lnTo>
                      <a:pt x="1215" y="1320"/>
                    </a:lnTo>
                    <a:lnTo>
                      <a:pt x="1213" y="1320"/>
                    </a:lnTo>
                    <a:lnTo>
                      <a:pt x="1213" y="1318"/>
                    </a:lnTo>
                    <a:close/>
                    <a:moveTo>
                      <a:pt x="1354" y="1654"/>
                    </a:moveTo>
                    <a:lnTo>
                      <a:pt x="1356" y="1654"/>
                    </a:lnTo>
                    <a:lnTo>
                      <a:pt x="1354" y="1654"/>
                    </a:lnTo>
                    <a:close/>
                    <a:moveTo>
                      <a:pt x="118" y="1005"/>
                    </a:moveTo>
                    <a:lnTo>
                      <a:pt x="120" y="1005"/>
                    </a:lnTo>
                    <a:lnTo>
                      <a:pt x="118" y="1005"/>
                    </a:lnTo>
                    <a:close/>
                    <a:moveTo>
                      <a:pt x="1253" y="1425"/>
                    </a:moveTo>
                    <a:lnTo>
                      <a:pt x="1255" y="1425"/>
                    </a:lnTo>
                    <a:lnTo>
                      <a:pt x="1255" y="1427"/>
                    </a:lnTo>
                    <a:lnTo>
                      <a:pt x="1253" y="1427"/>
                    </a:lnTo>
                    <a:lnTo>
                      <a:pt x="1253" y="1425"/>
                    </a:lnTo>
                    <a:close/>
                    <a:moveTo>
                      <a:pt x="1228" y="1097"/>
                    </a:moveTo>
                    <a:lnTo>
                      <a:pt x="1228" y="1099"/>
                    </a:lnTo>
                    <a:lnTo>
                      <a:pt x="1228" y="1097"/>
                    </a:lnTo>
                    <a:close/>
                    <a:moveTo>
                      <a:pt x="1196" y="1164"/>
                    </a:moveTo>
                    <a:lnTo>
                      <a:pt x="1198" y="1164"/>
                    </a:lnTo>
                    <a:lnTo>
                      <a:pt x="1198" y="1165"/>
                    </a:lnTo>
                    <a:lnTo>
                      <a:pt x="1196" y="1165"/>
                    </a:lnTo>
                    <a:lnTo>
                      <a:pt x="1196" y="1164"/>
                    </a:lnTo>
                    <a:close/>
                    <a:moveTo>
                      <a:pt x="1388" y="1671"/>
                    </a:moveTo>
                    <a:lnTo>
                      <a:pt x="1390" y="1671"/>
                    </a:lnTo>
                    <a:lnTo>
                      <a:pt x="1388" y="1671"/>
                    </a:lnTo>
                    <a:close/>
                    <a:moveTo>
                      <a:pt x="1264" y="1446"/>
                    </a:moveTo>
                    <a:lnTo>
                      <a:pt x="1266" y="1446"/>
                    </a:lnTo>
                    <a:lnTo>
                      <a:pt x="1266" y="1448"/>
                    </a:lnTo>
                    <a:lnTo>
                      <a:pt x="1264" y="1448"/>
                    </a:lnTo>
                    <a:lnTo>
                      <a:pt x="1264" y="1446"/>
                    </a:lnTo>
                    <a:close/>
                    <a:moveTo>
                      <a:pt x="1074" y="912"/>
                    </a:moveTo>
                    <a:lnTo>
                      <a:pt x="1076" y="912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4" y="912"/>
                    </a:lnTo>
                    <a:close/>
                    <a:moveTo>
                      <a:pt x="1262" y="1465"/>
                    </a:moveTo>
                    <a:lnTo>
                      <a:pt x="1264" y="1465"/>
                    </a:lnTo>
                    <a:lnTo>
                      <a:pt x="1264" y="1467"/>
                    </a:lnTo>
                    <a:lnTo>
                      <a:pt x="1262" y="1467"/>
                    </a:lnTo>
                    <a:lnTo>
                      <a:pt x="1262" y="1465"/>
                    </a:lnTo>
                    <a:close/>
                    <a:moveTo>
                      <a:pt x="1201" y="1064"/>
                    </a:moveTo>
                    <a:lnTo>
                      <a:pt x="1201" y="1066"/>
                    </a:lnTo>
                    <a:lnTo>
                      <a:pt x="1201" y="1064"/>
                    </a:lnTo>
                    <a:close/>
                    <a:moveTo>
                      <a:pt x="799" y="1003"/>
                    </a:moveTo>
                    <a:lnTo>
                      <a:pt x="801" y="1003"/>
                    </a:lnTo>
                    <a:lnTo>
                      <a:pt x="801" y="1005"/>
                    </a:lnTo>
                    <a:lnTo>
                      <a:pt x="799" y="1005"/>
                    </a:lnTo>
                    <a:lnTo>
                      <a:pt x="799" y="1003"/>
                    </a:lnTo>
                    <a:close/>
                    <a:moveTo>
                      <a:pt x="788" y="990"/>
                    </a:moveTo>
                    <a:lnTo>
                      <a:pt x="789" y="990"/>
                    </a:lnTo>
                    <a:lnTo>
                      <a:pt x="789" y="992"/>
                    </a:lnTo>
                    <a:lnTo>
                      <a:pt x="788" y="992"/>
                    </a:lnTo>
                    <a:lnTo>
                      <a:pt x="788" y="990"/>
                    </a:lnTo>
                    <a:close/>
                    <a:moveTo>
                      <a:pt x="805" y="148"/>
                    </a:moveTo>
                    <a:lnTo>
                      <a:pt x="803" y="150"/>
                    </a:lnTo>
                    <a:lnTo>
                      <a:pt x="803" y="148"/>
                    </a:lnTo>
                    <a:lnTo>
                      <a:pt x="801" y="148"/>
                    </a:lnTo>
                    <a:lnTo>
                      <a:pt x="803" y="147"/>
                    </a:lnTo>
                    <a:lnTo>
                      <a:pt x="805" y="148"/>
                    </a:lnTo>
                    <a:close/>
                    <a:moveTo>
                      <a:pt x="80" y="1019"/>
                    </a:moveTo>
                    <a:lnTo>
                      <a:pt x="80" y="1022"/>
                    </a:lnTo>
                    <a:lnTo>
                      <a:pt x="80" y="1019"/>
                    </a:lnTo>
                    <a:close/>
                    <a:moveTo>
                      <a:pt x="1169" y="1139"/>
                    </a:moveTo>
                    <a:lnTo>
                      <a:pt x="1171" y="1139"/>
                    </a:lnTo>
                    <a:lnTo>
                      <a:pt x="1171" y="1141"/>
                    </a:lnTo>
                    <a:lnTo>
                      <a:pt x="1169" y="1141"/>
                    </a:lnTo>
                    <a:lnTo>
                      <a:pt x="1169" y="1139"/>
                    </a:lnTo>
                    <a:close/>
                    <a:moveTo>
                      <a:pt x="1159" y="1253"/>
                    </a:moveTo>
                    <a:lnTo>
                      <a:pt x="1161" y="1253"/>
                    </a:lnTo>
                    <a:lnTo>
                      <a:pt x="1161" y="1257"/>
                    </a:lnTo>
                    <a:lnTo>
                      <a:pt x="1159" y="1257"/>
                    </a:lnTo>
                    <a:lnTo>
                      <a:pt x="1159" y="1253"/>
                    </a:lnTo>
                    <a:close/>
                    <a:moveTo>
                      <a:pt x="484" y="853"/>
                    </a:moveTo>
                    <a:lnTo>
                      <a:pt x="486" y="853"/>
                    </a:lnTo>
                    <a:lnTo>
                      <a:pt x="486" y="854"/>
                    </a:lnTo>
                    <a:lnTo>
                      <a:pt x="484" y="854"/>
                    </a:lnTo>
                    <a:lnTo>
                      <a:pt x="484" y="853"/>
                    </a:lnTo>
                    <a:close/>
                    <a:moveTo>
                      <a:pt x="1356" y="1578"/>
                    </a:moveTo>
                    <a:lnTo>
                      <a:pt x="1358" y="1578"/>
                    </a:lnTo>
                    <a:lnTo>
                      <a:pt x="1356" y="1578"/>
                    </a:lnTo>
                    <a:close/>
                    <a:moveTo>
                      <a:pt x="200" y="1593"/>
                    </a:moveTo>
                    <a:lnTo>
                      <a:pt x="202" y="1593"/>
                    </a:lnTo>
                    <a:lnTo>
                      <a:pt x="202" y="1595"/>
                    </a:lnTo>
                    <a:lnTo>
                      <a:pt x="200" y="1595"/>
                    </a:lnTo>
                    <a:lnTo>
                      <a:pt x="200" y="1593"/>
                    </a:lnTo>
                    <a:close/>
                    <a:moveTo>
                      <a:pt x="721" y="572"/>
                    </a:moveTo>
                    <a:lnTo>
                      <a:pt x="721" y="574"/>
                    </a:lnTo>
                    <a:lnTo>
                      <a:pt x="719" y="574"/>
                    </a:lnTo>
                    <a:lnTo>
                      <a:pt x="721" y="572"/>
                    </a:lnTo>
                    <a:close/>
                    <a:moveTo>
                      <a:pt x="1022" y="1475"/>
                    </a:moveTo>
                    <a:lnTo>
                      <a:pt x="1024" y="1475"/>
                    </a:lnTo>
                    <a:lnTo>
                      <a:pt x="1024" y="1477"/>
                    </a:lnTo>
                    <a:lnTo>
                      <a:pt x="1022" y="1477"/>
                    </a:lnTo>
                    <a:lnTo>
                      <a:pt x="1022" y="1475"/>
                    </a:lnTo>
                    <a:close/>
                    <a:moveTo>
                      <a:pt x="435" y="1072"/>
                    </a:moveTo>
                    <a:lnTo>
                      <a:pt x="431" y="1072"/>
                    </a:lnTo>
                    <a:lnTo>
                      <a:pt x="435" y="1072"/>
                    </a:lnTo>
                    <a:close/>
                    <a:moveTo>
                      <a:pt x="1356" y="1553"/>
                    </a:moveTo>
                    <a:lnTo>
                      <a:pt x="1358" y="1553"/>
                    </a:lnTo>
                    <a:lnTo>
                      <a:pt x="1356" y="1553"/>
                    </a:lnTo>
                    <a:close/>
                    <a:moveTo>
                      <a:pt x="1238" y="1169"/>
                    </a:moveTo>
                    <a:lnTo>
                      <a:pt x="1240" y="1169"/>
                    </a:lnTo>
                    <a:lnTo>
                      <a:pt x="1240" y="1171"/>
                    </a:lnTo>
                    <a:lnTo>
                      <a:pt x="1238" y="1171"/>
                    </a:lnTo>
                    <a:lnTo>
                      <a:pt x="1238" y="1169"/>
                    </a:lnTo>
                    <a:close/>
                    <a:moveTo>
                      <a:pt x="1312" y="1614"/>
                    </a:moveTo>
                    <a:lnTo>
                      <a:pt x="1314" y="1614"/>
                    </a:lnTo>
                    <a:lnTo>
                      <a:pt x="1314" y="1616"/>
                    </a:lnTo>
                    <a:lnTo>
                      <a:pt x="1312" y="1616"/>
                    </a:lnTo>
                    <a:lnTo>
                      <a:pt x="1312" y="1614"/>
                    </a:lnTo>
                    <a:close/>
                    <a:moveTo>
                      <a:pt x="1213" y="1343"/>
                    </a:moveTo>
                    <a:lnTo>
                      <a:pt x="1215" y="1343"/>
                    </a:lnTo>
                    <a:lnTo>
                      <a:pt x="1215" y="1345"/>
                    </a:lnTo>
                    <a:lnTo>
                      <a:pt x="1213" y="1345"/>
                    </a:lnTo>
                    <a:lnTo>
                      <a:pt x="1213" y="1343"/>
                    </a:lnTo>
                    <a:close/>
                    <a:moveTo>
                      <a:pt x="995" y="1396"/>
                    </a:moveTo>
                    <a:lnTo>
                      <a:pt x="997" y="1396"/>
                    </a:lnTo>
                    <a:lnTo>
                      <a:pt x="997" y="1398"/>
                    </a:lnTo>
                    <a:lnTo>
                      <a:pt x="995" y="1398"/>
                    </a:lnTo>
                    <a:lnTo>
                      <a:pt x="995" y="1396"/>
                    </a:lnTo>
                    <a:close/>
                    <a:moveTo>
                      <a:pt x="591" y="578"/>
                    </a:moveTo>
                    <a:lnTo>
                      <a:pt x="593" y="578"/>
                    </a:lnTo>
                    <a:lnTo>
                      <a:pt x="593" y="580"/>
                    </a:lnTo>
                    <a:lnTo>
                      <a:pt x="591" y="580"/>
                    </a:lnTo>
                    <a:lnTo>
                      <a:pt x="591" y="578"/>
                    </a:lnTo>
                    <a:close/>
                    <a:moveTo>
                      <a:pt x="484" y="1045"/>
                    </a:moveTo>
                    <a:lnTo>
                      <a:pt x="488" y="1045"/>
                    </a:lnTo>
                    <a:lnTo>
                      <a:pt x="488" y="1047"/>
                    </a:lnTo>
                    <a:lnTo>
                      <a:pt x="484" y="1047"/>
                    </a:lnTo>
                    <a:lnTo>
                      <a:pt x="484" y="1045"/>
                    </a:lnTo>
                    <a:close/>
                    <a:moveTo>
                      <a:pt x="509" y="1076"/>
                    </a:moveTo>
                    <a:lnTo>
                      <a:pt x="511" y="1076"/>
                    </a:lnTo>
                    <a:lnTo>
                      <a:pt x="511" y="1078"/>
                    </a:lnTo>
                    <a:lnTo>
                      <a:pt x="509" y="1078"/>
                    </a:lnTo>
                    <a:lnTo>
                      <a:pt x="509" y="1076"/>
                    </a:lnTo>
                    <a:close/>
                    <a:moveTo>
                      <a:pt x="200" y="1583"/>
                    </a:moveTo>
                    <a:lnTo>
                      <a:pt x="202" y="1583"/>
                    </a:lnTo>
                    <a:lnTo>
                      <a:pt x="200" y="1583"/>
                    </a:lnTo>
                    <a:close/>
                    <a:moveTo>
                      <a:pt x="1249" y="1167"/>
                    </a:moveTo>
                    <a:lnTo>
                      <a:pt x="1251" y="1167"/>
                    </a:lnTo>
                    <a:lnTo>
                      <a:pt x="1251" y="1169"/>
                    </a:lnTo>
                    <a:lnTo>
                      <a:pt x="1249" y="1169"/>
                    </a:lnTo>
                    <a:lnTo>
                      <a:pt x="1249" y="1167"/>
                    </a:lnTo>
                    <a:close/>
                    <a:moveTo>
                      <a:pt x="1287" y="1503"/>
                    </a:moveTo>
                    <a:lnTo>
                      <a:pt x="1289" y="1503"/>
                    </a:lnTo>
                    <a:lnTo>
                      <a:pt x="1289" y="1505"/>
                    </a:lnTo>
                    <a:lnTo>
                      <a:pt x="1287" y="1505"/>
                    </a:lnTo>
                    <a:lnTo>
                      <a:pt x="1287" y="1503"/>
                    </a:lnTo>
                    <a:close/>
                    <a:moveTo>
                      <a:pt x="1220" y="1278"/>
                    </a:moveTo>
                    <a:lnTo>
                      <a:pt x="1220" y="1280"/>
                    </a:lnTo>
                    <a:lnTo>
                      <a:pt x="1220" y="1278"/>
                    </a:lnTo>
                    <a:close/>
                    <a:moveTo>
                      <a:pt x="717" y="568"/>
                    </a:moveTo>
                    <a:lnTo>
                      <a:pt x="719" y="568"/>
                    </a:lnTo>
                    <a:lnTo>
                      <a:pt x="717" y="568"/>
                    </a:lnTo>
                    <a:close/>
                    <a:moveTo>
                      <a:pt x="1112" y="1270"/>
                    </a:moveTo>
                    <a:lnTo>
                      <a:pt x="1114" y="1270"/>
                    </a:lnTo>
                    <a:lnTo>
                      <a:pt x="1112" y="1270"/>
                    </a:lnTo>
                    <a:close/>
                    <a:moveTo>
                      <a:pt x="1213" y="1219"/>
                    </a:moveTo>
                    <a:lnTo>
                      <a:pt x="1215" y="1219"/>
                    </a:lnTo>
                    <a:lnTo>
                      <a:pt x="1215" y="1221"/>
                    </a:lnTo>
                    <a:lnTo>
                      <a:pt x="1213" y="1221"/>
                    </a:lnTo>
                    <a:lnTo>
                      <a:pt x="1213" y="1219"/>
                    </a:lnTo>
                    <a:close/>
                    <a:moveTo>
                      <a:pt x="696" y="780"/>
                    </a:moveTo>
                    <a:lnTo>
                      <a:pt x="698" y="780"/>
                    </a:lnTo>
                    <a:lnTo>
                      <a:pt x="698" y="784"/>
                    </a:lnTo>
                    <a:lnTo>
                      <a:pt x="696" y="784"/>
                    </a:lnTo>
                    <a:lnTo>
                      <a:pt x="696" y="780"/>
                    </a:lnTo>
                    <a:close/>
                    <a:moveTo>
                      <a:pt x="477" y="1051"/>
                    </a:moveTo>
                    <a:lnTo>
                      <a:pt x="477" y="1053"/>
                    </a:lnTo>
                    <a:lnTo>
                      <a:pt x="477" y="1051"/>
                    </a:lnTo>
                    <a:close/>
                    <a:moveTo>
                      <a:pt x="898" y="1717"/>
                    </a:moveTo>
                    <a:lnTo>
                      <a:pt x="900" y="1717"/>
                    </a:lnTo>
                    <a:lnTo>
                      <a:pt x="900" y="1719"/>
                    </a:lnTo>
                    <a:lnTo>
                      <a:pt x="898" y="1719"/>
                    </a:lnTo>
                    <a:lnTo>
                      <a:pt x="898" y="1717"/>
                    </a:lnTo>
                    <a:close/>
                    <a:moveTo>
                      <a:pt x="1178" y="1045"/>
                    </a:moveTo>
                    <a:lnTo>
                      <a:pt x="1180" y="1045"/>
                    </a:lnTo>
                    <a:lnTo>
                      <a:pt x="1180" y="1047"/>
                    </a:lnTo>
                    <a:lnTo>
                      <a:pt x="1178" y="1047"/>
                    </a:lnTo>
                    <a:lnTo>
                      <a:pt x="1178" y="1045"/>
                    </a:lnTo>
                    <a:close/>
                    <a:moveTo>
                      <a:pt x="1175" y="1152"/>
                    </a:moveTo>
                    <a:lnTo>
                      <a:pt x="1177" y="1152"/>
                    </a:lnTo>
                    <a:lnTo>
                      <a:pt x="1177" y="1156"/>
                    </a:lnTo>
                    <a:lnTo>
                      <a:pt x="1175" y="1156"/>
                    </a:lnTo>
                    <a:lnTo>
                      <a:pt x="1175" y="1152"/>
                    </a:lnTo>
                    <a:close/>
                    <a:moveTo>
                      <a:pt x="988" y="1480"/>
                    </a:moveTo>
                    <a:lnTo>
                      <a:pt x="990" y="1480"/>
                    </a:lnTo>
                    <a:lnTo>
                      <a:pt x="990" y="1482"/>
                    </a:lnTo>
                    <a:lnTo>
                      <a:pt x="988" y="1482"/>
                    </a:lnTo>
                    <a:lnTo>
                      <a:pt x="988" y="1480"/>
                    </a:lnTo>
                    <a:close/>
                    <a:moveTo>
                      <a:pt x="99" y="996"/>
                    </a:moveTo>
                    <a:lnTo>
                      <a:pt x="101" y="998"/>
                    </a:lnTo>
                    <a:lnTo>
                      <a:pt x="99" y="996"/>
                    </a:lnTo>
                    <a:lnTo>
                      <a:pt x="97" y="998"/>
                    </a:lnTo>
                    <a:lnTo>
                      <a:pt x="97" y="996"/>
                    </a:lnTo>
                    <a:lnTo>
                      <a:pt x="99" y="996"/>
                    </a:lnTo>
                    <a:close/>
                    <a:moveTo>
                      <a:pt x="486" y="853"/>
                    </a:moveTo>
                    <a:lnTo>
                      <a:pt x="488" y="853"/>
                    </a:lnTo>
                    <a:lnTo>
                      <a:pt x="486" y="853"/>
                    </a:lnTo>
                    <a:close/>
                    <a:moveTo>
                      <a:pt x="1175" y="1167"/>
                    </a:moveTo>
                    <a:lnTo>
                      <a:pt x="1175" y="1171"/>
                    </a:lnTo>
                    <a:lnTo>
                      <a:pt x="1175" y="1167"/>
                    </a:lnTo>
                    <a:close/>
                    <a:moveTo>
                      <a:pt x="978" y="1585"/>
                    </a:moveTo>
                    <a:lnTo>
                      <a:pt x="982" y="1585"/>
                    </a:lnTo>
                    <a:lnTo>
                      <a:pt x="982" y="1587"/>
                    </a:lnTo>
                    <a:lnTo>
                      <a:pt x="978" y="1587"/>
                    </a:lnTo>
                    <a:lnTo>
                      <a:pt x="978" y="1585"/>
                    </a:lnTo>
                    <a:close/>
                    <a:moveTo>
                      <a:pt x="250" y="994"/>
                    </a:moveTo>
                    <a:lnTo>
                      <a:pt x="252" y="994"/>
                    </a:lnTo>
                    <a:lnTo>
                      <a:pt x="252" y="996"/>
                    </a:lnTo>
                    <a:lnTo>
                      <a:pt x="250" y="996"/>
                    </a:lnTo>
                    <a:lnTo>
                      <a:pt x="250" y="994"/>
                    </a:lnTo>
                    <a:close/>
                    <a:moveTo>
                      <a:pt x="387" y="959"/>
                    </a:moveTo>
                    <a:lnTo>
                      <a:pt x="391" y="959"/>
                    </a:lnTo>
                    <a:lnTo>
                      <a:pt x="387" y="959"/>
                    </a:lnTo>
                    <a:close/>
                    <a:moveTo>
                      <a:pt x="810" y="1028"/>
                    </a:moveTo>
                    <a:lnTo>
                      <a:pt x="812" y="1028"/>
                    </a:lnTo>
                    <a:lnTo>
                      <a:pt x="812" y="1030"/>
                    </a:lnTo>
                    <a:lnTo>
                      <a:pt x="810" y="1030"/>
                    </a:lnTo>
                    <a:lnTo>
                      <a:pt x="810" y="1028"/>
                    </a:lnTo>
                    <a:close/>
                    <a:moveTo>
                      <a:pt x="698" y="610"/>
                    </a:moveTo>
                    <a:lnTo>
                      <a:pt x="700" y="610"/>
                    </a:lnTo>
                    <a:lnTo>
                      <a:pt x="700" y="614"/>
                    </a:lnTo>
                    <a:lnTo>
                      <a:pt x="698" y="614"/>
                    </a:lnTo>
                    <a:lnTo>
                      <a:pt x="698" y="610"/>
                    </a:lnTo>
                    <a:close/>
                    <a:moveTo>
                      <a:pt x="976" y="1457"/>
                    </a:moveTo>
                    <a:lnTo>
                      <a:pt x="976" y="1459"/>
                    </a:lnTo>
                    <a:lnTo>
                      <a:pt x="976" y="1457"/>
                    </a:lnTo>
                    <a:close/>
                    <a:moveTo>
                      <a:pt x="78" y="1019"/>
                    </a:moveTo>
                    <a:lnTo>
                      <a:pt x="80" y="1019"/>
                    </a:lnTo>
                    <a:lnTo>
                      <a:pt x="80" y="1020"/>
                    </a:lnTo>
                    <a:lnTo>
                      <a:pt x="78" y="1020"/>
                    </a:lnTo>
                    <a:lnTo>
                      <a:pt x="78" y="1019"/>
                    </a:lnTo>
                    <a:close/>
                    <a:moveTo>
                      <a:pt x="1121" y="1711"/>
                    </a:moveTo>
                    <a:lnTo>
                      <a:pt x="1123" y="1711"/>
                    </a:lnTo>
                    <a:lnTo>
                      <a:pt x="1123" y="1715"/>
                    </a:lnTo>
                    <a:lnTo>
                      <a:pt x="1121" y="1715"/>
                    </a:lnTo>
                    <a:lnTo>
                      <a:pt x="1121" y="1711"/>
                    </a:lnTo>
                    <a:close/>
                    <a:moveTo>
                      <a:pt x="835" y="1173"/>
                    </a:moveTo>
                    <a:lnTo>
                      <a:pt x="837" y="1173"/>
                    </a:lnTo>
                    <a:lnTo>
                      <a:pt x="835" y="1173"/>
                    </a:lnTo>
                    <a:close/>
                    <a:moveTo>
                      <a:pt x="1310" y="1614"/>
                    </a:moveTo>
                    <a:lnTo>
                      <a:pt x="1312" y="1614"/>
                    </a:lnTo>
                    <a:lnTo>
                      <a:pt x="1312" y="1616"/>
                    </a:lnTo>
                    <a:lnTo>
                      <a:pt x="1310" y="1616"/>
                    </a:lnTo>
                    <a:lnTo>
                      <a:pt x="1310" y="1614"/>
                    </a:lnTo>
                    <a:close/>
                    <a:moveTo>
                      <a:pt x="639" y="982"/>
                    </a:moveTo>
                    <a:lnTo>
                      <a:pt x="641" y="982"/>
                    </a:lnTo>
                    <a:lnTo>
                      <a:pt x="641" y="986"/>
                    </a:lnTo>
                    <a:lnTo>
                      <a:pt x="639" y="986"/>
                    </a:lnTo>
                    <a:lnTo>
                      <a:pt x="639" y="982"/>
                    </a:lnTo>
                    <a:close/>
                    <a:moveTo>
                      <a:pt x="999" y="1414"/>
                    </a:moveTo>
                    <a:lnTo>
                      <a:pt x="1001" y="1414"/>
                    </a:lnTo>
                    <a:lnTo>
                      <a:pt x="999" y="1414"/>
                    </a:lnTo>
                    <a:close/>
                    <a:moveTo>
                      <a:pt x="709" y="610"/>
                    </a:moveTo>
                    <a:lnTo>
                      <a:pt x="711" y="610"/>
                    </a:lnTo>
                    <a:lnTo>
                      <a:pt x="711" y="614"/>
                    </a:lnTo>
                    <a:lnTo>
                      <a:pt x="709" y="614"/>
                    </a:lnTo>
                    <a:lnTo>
                      <a:pt x="709" y="610"/>
                    </a:lnTo>
                    <a:close/>
                    <a:moveTo>
                      <a:pt x="202" y="1587"/>
                    </a:moveTo>
                    <a:lnTo>
                      <a:pt x="202" y="1591"/>
                    </a:lnTo>
                    <a:lnTo>
                      <a:pt x="202" y="1587"/>
                    </a:lnTo>
                    <a:close/>
                    <a:moveTo>
                      <a:pt x="891" y="1150"/>
                    </a:moveTo>
                    <a:lnTo>
                      <a:pt x="892" y="1150"/>
                    </a:lnTo>
                    <a:lnTo>
                      <a:pt x="891" y="1150"/>
                    </a:lnTo>
                    <a:close/>
                    <a:moveTo>
                      <a:pt x="168" y="1545"/>
                    </a:moveTo>
                    <a:lnTo>
                      <a:pt x="170" y="1545"/>
                    </a:lnTo>
                    <a:lnTo>
                      <a:pt x="170" y="1547"/>
                    </a:lnTo>
                    <a:lnTo>
                      <a:pt x="168" y="1547"/>
                    </a:lnTo>
                    <a:lnTo>
                      <a:pt x="168" y="1545"/>
                    </a:lnTo>
                    <a:close/>
                    <a:moveTo>
                      <a:pt x="1354" y="1707"/>
                    </a:moveTo>
                    <a:lnTo>
                      <a:pt x="1356" y="1707"/>
                    </a:lnTo>
                    <a:lnTo>
                      <a:pt x="1356" y="1709"/>
                    </a:lnTo>
                    <a:lnTo>
                      <a:pt x="1354" y="1709"/>
                    </a:lnTo>
                    <a:lnTo>
                      <a:pt x="1354" y="1707"/>
                    </a:lnTo>
                    <a:close/>
                    <a:moveTo>
                      <a:pt x="1333" y="1622"/>
                    </a:moveTo>
                    <a:lnTo>
                      <a:pt x="1335" y="1622"/>
                    </a:lnTo>
                    <a:lnTo>
                      <a:pt x="1335" y="1623"/>
                    </a:lnTo>
                    <a:lnTo>
                      <a:pt x="1333" y="1623"/>
                    </a:lnTo>
                    <a:lnTo>
                      <a:pt x="1333" y="1622"/>
                    </a:lnTo>
                    <a:close/>
                    <a:moveTo>
                      <a:pt x="1272" y="1477"/>
                    </a:moveTo>
                    <a:lnTo>
                      <a:pt x="1272" y="1478"/>
                    </a:lnTo>
                    <a:lnTo>
                      <a:pt x="1270" y="1477"/>
                    </a:lnTo>
                    <a:lnTo>
                      <a:pt x="1272" y="1477"/>
                    </a:lnTo>
                    <a:close/>
                    <a:moveTo>
                      <a:pt x="1091" y="1297"/>
                    </a:moveTo>
                    <a:lnTo>
                      <a:pt x="1093" y="1297"/>
                    </a:lnTo>
                    <a:lnTo>
                      <a:pt x="1091" y="1297"/>
                    </a:lnTo>
                    <a:close/>
                    <a:moveTo>
                      <a:pt x="1356" y="1637"/>
                    </a:moveTo>
                    <a:lnTo>
                      <a:pt x="1358" y="1637"/>
                    </a:lnTo>
                    <a:lnTo>
                      <a:pt x="1358" y="1639"/>
                    </a:lnTo>
                    <a:lnTo>
                      <a:pt x="1356" y="1639"/>
                    </a:lnTo>
                    <a:lnTo>
                      <a:pt x="1356" y="1637"/>
                    </a:lnTo>
                    <a:close/>
                    <a:moveTo>
                      <a:pt x="1255" y="1141"/>
                    </a:moveTo>
                    <a:lnTo>
                      <a:pt x="1257" y="1141"/>
                    </a:lnTo>
                    <a:lnTo>
                      <a:pt x="1257" y="1143"/>
                    </a:lnTo>
                    <a:lnTo>
                      <a:pt x="1255" y="1143"/>
                    </a:lnTo>
                    <a:lnTo>
                      <a:pt x="1255" y="1141"/>
                    </a:lnTo>
                    <a:close/>
                    <a:moveTo>
                      <a:pt x="80" y="1030"/>
                    </a:moveTo>
                    <a:lnTo>
                      <a:pt x="84" y="1034"/>
                    </a:lnTo>
                    <a:lnTo>
                      <a:pt x="82" y="1032"/>
                    </a:lnTo>
                    <a:lnTo>
                      <a:pt x="80" y="1030"/>
                    </a:lnTo>
                    <a:close/>
                    <a:moveTo>
                      <a:pt x="597" y="950"/>
                    </a:moveTo>
                    <a:lnTo>
                      <a:pt x="599" y="950"/>
                    </a:lnTo>
                    <a:lnTo>
                      <a:pt x="599" y="954"/>
                    </a:lnTo>
                    <a:lnTo>
                      <a:pt x="597" y="954"/>
                    </a:lnTo>
                    <a:lnTo>
                      <a:pt x="597" y="950"/>
                    </a:lnTo>
                    <a:close/>
                    <a:moveTo>
                      <a:pt x="1262" y="1427"/>
                    </a:moveTo>
                    <a:lnTo>
                      <a:pt x="1262" y="1429"/>
                    </a:lnTo>
                    <a:lnTo>
                      <a:pt x="1262" y="1427"/>
                    </a:lnTo>
                    <a:close/>
                    <a:moveTo>
                      <a:pt x="1163" y="1249"/>
                    </a:moveTo>
                    <a:lnTo>
                      <a:pt x="1163" y="1251"/>
                    </a:lnTo>
                    <a:lnTo>
                      <a:pt x="1163" y="1249"/>
                    </a:lnTo>
                    <a:close/>
                    <a:moveTo>
                      <a:pt x="524" y="1095"/>
                    </a:moveTo>
                    <a:lnTo>
                      <a:pt x="526" y="1095"/>
                    </a:lnTo>
                    <a:lnTo>
                      <a:pt x="526" y="1097"/>
                    </a:lnTo>
                    <a:lnTo>
                      <a:pt x="524" y="1097"/>
                    </a:lnTo>
                    <a:lnTo>
                      <a:pt x="524" y="1095"/>
                    </a:lnTo>
                    <a:close/>
                    <a:moveTo>
                      <a:pt x="206" y="1597"/>
                    </a:moveTo>
                    <a:lnTo>
                      <a:pt x="208" y="1597"/>
                    </a:lnTo>
                    <a:lnTo>
                      <a:pt x="208" y="1599"/>
                    </a:lnTo>
                    <a:lnTo>
                      <a:pt x="206" y="1599"/>
                    </a:lnTo>
                    <a:lnTo>
                      <a:pt x="206" y="1597"/>
                    </a:lnTo>
                    <a:close/>
                    <a:moveTo>
                      <a:pt x="961" y="875"/>
                    </a:moveTo>
                    <a:lnTo>
                      <a:pt x="963" y="875"/>
                    </a:lnTo>
                    <a:lnTo>
                      <a:pt x="963" y="877"/>
                    </a:lnTo>
                    <a:lnTo>
                      <a:pt x="961" y="877"/>
                    </a:lnTo>
                    <a:lnTo>
                      <a:pt x="961" y="875"/>
                    </a:lnTo>
                    <a:close/>
                    <a:moveTo>
                      <a:pt x="778" y="956"/>
                    </a:moveTo>
                    <a:lnTo>
                      <a:pt x="780" y="956"/>
                    </a:lnTo>
                    <a:lnTo>
                      <a:pt x="780" y="958"/>
                    </a:lnTo>
                    <a:lnTo>
                      <a:pt x="778" y="958"/>
                    </a:lnTo>
                    <a:lnTo>
                      <a:pt x="778" y="956"/>
                    </a:lnTo>
                    <a:close/>
                    <a:moveTo>
                      <a:pt x="513" y="853"/>
                    </a:moveTo>
                    <a:lnTo>
                      <a:pt x="515" y="853"/>
                    </a:lnTo>
                    <a:lnTo>
                      <a:pt x="513" y="853"/>
                    </a:lnTo>
                    <a:close/>
                    <a:moveTo>
                      <a:pt x="1177" y="1181"/>
                    </a:moveTo>
                    <a:lnTo>
                      <a:pt x="1178" y="1181"/>
                    </a:lnTo>
                    <a:lnTo>
                      <a:pt x="1178" y="1183"/>
                    </a:lnTo>
                    <a:lnTo>
                      <a:pt x="1177" y="1183"/>
                    </a:lnTo>
                    <a:lnTo>
                      <a:pt x="1177" y="1181"/>
                    </a:lnTo>
                    <a:close/>
                    <a:moveTo>
                      <a:pt x="113" y="999"/>
                    </a:moveTo>
                    <a:lnTo>
                      <a:pt x="113" y="1001"/>
                    </a:lnTo>
                    <a:lnTo>
                      <a:pt x="109" y="1001"/>
                    </a:lnTo>
                    <a:lnTo>
                      <a:pt x="113" y="999"/>
                    </a:lnTo>
                    <a:close/>
                    <a:moveTo>
                      <a:pt x="1144" y="1391"/>
                    </a:moveTo>
                    <a:lnTo>
                      <a:pt x="1144" y="1393"/>
                    </a:lnTo>
                    <a:lnTo>
                      <a:pt x="1144" y="1391"/>
                    </a:lnTo>
                    <a:close/>
                    <a:moveTo>
                      <a:pt x="1262" y="1471"/>
                    </a:moveTo>
                    <a:lnTo>
                      <a:pt x="1264" y="1471"/>
                    </a:lnTo>
                    <a:lnTo>
                      <a:pt x="1264" y="1473"/>
                    </a:lnTo>
                    <a:lnTo>
                      <a:pt x="1262" y="1473"/>
                    </a:lnTo>
                    <a:lnTo>
                      <a:pt x="1262" y="1471"/>
                    </a:lnTo>
                    <a:close/>
                    <a:moveTo>
                      <a:pt x="1003" y="1475"/>
                    </a:moveTo>
                    <a:lnTo>
                      <a:pt x="1005" y="1475"/>
                    </a:lnTo>
                    <a:lnTo>
                      <a:pt x="1005" y="1477"/>
                    </a:lnTo>
                    <a:lnTo>
                      <a:pt x="1003" y="1477"/>
                    </a:lnTo>
                    <a:lnTo>
                      <a:pt x="1003" y="1475"/>
                    </a:lnTo>
                    <a:close/>
                    <a:moveTo>
                      <a:pt x="856" y="1059"/>
                    </a:moveTo>
                    <a:lnTo>
                      <a:pt x="858" y="1059"/>
                    </a:lnTo>
                    <a:lnTo>
                      <a:pt x="858" y="1061"/>
                    </a:lnTo>
                    <a:lnTo>
                      <a:pt x="856" y="1061"/>
                    </a:lnTo>
                    <a:lnTo>
                      <a:pt x="856" y="1059"/>
                    </a:lnTo>
                    <a:close/>
                    <a:moveTo>
                      <a:pt x="515" y="1062"/>
                    </a:moveTo>
                    <a:lnTo>
                      <a:pt x="517" y="1062"/>
                    </a:lnTo>
                    <a:lnTo>
                      <a:pt x="517" y="1064"/>
                    </a:lnTo>
                    <a:lnTo>
                      <a:pt x="515" y="1064"/>
                    </a:lnTo>
                    <a:lnTo>
                      <a:pt x="515" y="1062"/>
                    </a:lnTo>
                    <a:close/>
                    <a:moveTo>
                      <a:pt x="854" y="975"/>
                    </a:moveTo>
                    <a:lnTo>
                      <a:pt x="856" y="975"/>
                    </a:lnTo>
                    <a:lnTo>
                      <a:pt x="854" y="975"/>
                    </a:lnTo>
                    <a:close/>
                    <a:moveTo>
                      <a:pt x="1222" y="1230"/>
                    </a:moveTo>
                    <a:lnTo>
                      <a:pt x="1224" y="1230"/>
                    </a:lnTo>
                    <a:lnTo>
                      <a:pt x="1224" y="1232"/>
                    </a:lnTo>
                    <a:lnTo>
                      <a:pt x="1222" y="1232"/>
                    </a:lnTo>
                    <a:lnTo>
                      <a:pt x="1222" y="1230"/>
                    </a:lnTo>
                    <a:close/>
                    <a:moveTo>
                      <a:pt x="654" y="1022"/>
                    </a:moveTo>
                    <a:lnTo>
                      <a:pt x="656" y="1022"/>
                    </a:lnTo>
                    <a:lnTo>
                      <a:pt x="656" y="1024"/>
                    </a:lnTo>
                    <a:lnTo>
                      <a:pt x="654" y="1024"/>
                    </a:lnTo>
                    <a:lnTo>
                      <a:pt x="654" y="1022"/>
                    </a:lnTo>
                    <a:close/>
                    <a:moveTo>
                      <a:pt x="631" y="425"/>
                    </a:moveTo>
                    <a:lnTo>
                      <a:pt x="633" y="429"/>
                    </a:lnTo>
                    <a:lnTo>
                      <a:pt x="629" y="425"/>
                    </a:lnTo>
                    <a:lnTo>
                      <a:pt x="631" y="425"/>
                    </a:lnTo>
                    <a:close/>
                    <a:moveTo>
                      <a:pt x="92" y="1041"/>
                    </a:moveTo>
                    <a:lnTo>
                      <a:pt x="93" y="1041"/>
                    </a:lnTo>
                    <a:lnTo>
                      <a:pt x="93" y="1043"/>
                    </a:lnTo>
                    <a:lnTo>
                      <a:pt x="92" y="1043"/>
                    </a:lnTo>
                    <a:lnTo>
                      <a:pt x="92" y="1041"/>
                    </a:lnTo>
                    <a:close/>
                    <a:moveTo>
                      <a:pt x="423" y="1032"/>
                    </a:moveTo>
                    <a:lnTo>
                      <a:pt x="425" y="1032"/>
                    </a:lnTo>
                    <a:lnTo>
                      <a:pt x="425" y="1034"/>
                    </a:lnTo>
                    <a:lnTo>
                      <a:pt x="423" y="1034"/>
                    </a:lnTo>
                    <a:lnTo>
                      <a:pt x="423" y="1032"/>
                    </a:lnTo>
                    <a:close/>
                    <a:moveTo>
                      <a:pt x="519" y="853"/>
                    </a:moveTo>
                    <a:lnTo>
                      <a:pt x="519" y="854"/>
                    </a:lnTo>
                    <a:lnTo>
                      <a:pt x="519" y="853"/>
                    </a:lnTo>
                    <a:close/>
                    <a:moveTo>
                      <a:pt x="507" y="1061"/>
                    </a:moveTo>
                    <a:lnTo>
                      <a:pt x="509" y="1061"/>
                    </a:lnTo>
                    <a:lnTo>
                      <a:pt x="509" y="1062"/>
                    </a:lnTo>
                    <a:lnTo>
                      <a:pt x="507" y="1062"/>
                    </a:lnTo>
                    <a:lnTo>
                      <a:pt x="507" y="1061"/>
                    </a:lnTo>
                    <a:close/>
                    <a:moveTo>
                      <a:pt x="673" y="1061"/>
                    </a:moveTo>
                    <a:lnTo>
                      <a:pt x="675" y="1061"/>
                    </a:lnTo>
                    <a:lnTo>
                      <a:pt x="675" y="1064"/>
                    </a:lnTo>
                    <a:lnTo>
                      <a:pt x="673" y="1064"/>
                    </a:lnTo>
                    <a:lnTo>
                      <a:pt x="673" y="1061"/>
                    </a:lnTo>
                    <a:close/>
                    <a:moveTo>
                      <a:pt x="1251" y="1110"/>
                    </a:moveTo>
                    <a:lnTo>
                      <a:pt x="1253" y="1110"/>
                    </a:lnTo>
                    <a:lnTo>
                      <a:pt x="1253" y="1112"/>
                    </a:lnTo>
                    <a:lnTo>
                      <a:pt x="1251" y="1112"/>
                    </a:lnTo>
                    <a:lnTo>
                      <a:pt x="1251" y="1110"/>
                    </a:lnTo>
                    <a:close/>
                    <a:moveTo>
                      <a:pt x="1171" y="1251"/>
                    </a:moveTo>
                    <a:lnTo>
                      <a:pt x="1173" y="1251"/>
                    </a:lnTo>
                    <a:lnTo>
                      <a:pt x="1173" y="1253"/>
                    </a:lnTo>
                    <a:lnTo>
                      <a:pt x="1171" y="1253"/>
                    </a:lnTo>
                    <a:lnTo>
                      <a:pt x="1171" y="1251"/>
                    </a:lnTo>
                    <a:close/>
                    <a:moveTo>
                      <a:pt x="1058" y="1213"/>
                    </a:moveTo>
                    <a:lnTo>
                      <a:pt x="1060" y="1213"/>
                    </a:lnTo>
                    <a:lnTo>
                      <a:pt x="1058" y="1213"/>
                    </a:lnTo>
                    <a:close/>
                    <a:moveTo>
                      <a:pt x="153" y="1578"/>
                    </a:moveTo>
                    <a:lnTo>
                      <a:pt x="154" y="1578"/>
                    </a:lnTo>
                    <a:lnTo>
                      <a:pt x="153" y="1578"/>
                    </a:lnTo>
                    <a:close/>
                    <a:moveTo>
                      <a:pt x="170" y="1545"/>
                    </a:moveTo>
                    <a:lnTo>
                      <a:pt x="172" y="1545"/>
                    </a:lnTo>
                    <a:lnTo>
                      <a:pt x="172" y="1547"/>
                    </a:lnTo>
                    <a:lnTo>
                      <a:pt x="170" y="1547"/>
                    </a:lnTo>
                    <a:lnTo>
                      <a:pt x="170" y="1545"/>
                    </a:lnTo>
                    <a:close/>
                    <a:moveTo>
                      <a:pt x="990" y="1465"/>
                    </a:moveTo>
                    <a:lnTo>
                      <a:pt x="992" y="1465"/>
                    </a:lnTo>
                    <a:lnTo>
                      <a:pt x="990" y="1465"/>
                    </a:lnTo>
                    <a:close/>
                    <a:moveTo>
                      <a:pt x="1222" y="1280"/>
                    </a:moveTo>
                    <a:lnTo>
                      <a:pt x="1224" y="1280"/>
                    </a:lnTo>
                    <a:lnTo>
                      <a:pt x="1222" y="1280"/>
                    </a:lnTo>
                    <a:close/>
                    <a:moveTo>
                      <a:pt x="713" y="730"/>
                    </a:moveTo>
                    <a:lnTo>
                      <a:pt x="715" y="730"/>
                    </a:lnTo>
                    <a:lnTo>
                      <a:pt x="715" y="732"/>
                    </a:lnTo>
                    <a:lnTo>
                      <a:pt x="713" y="732"/>
                    </a:lnTo>
                    <a:lnTo>
                      <a:pt x="713" y="730"/>
                    </a:lnTo>
                    <a:close/>
                    <a:moveTo>
                      <a:pt x="256" y="1635"/>
                    </a:moveTo>
                    <a:lnTo>
                      <a:pt x="256" y="1637"/>
                    </a:lnTo>
                    <a:lnTo>
                      <a:pt x="256" y="1635"/>
                    </a:lnTo>
                    <a:close/>
                    <a:moveTo>
                      <a:pt x="254" y="1633"/>
                    </a:moveTo>
                    <a:lnTo>
                      <a:pt x="254" y="1635"/>
                    </a:lnTo>
                    <a:lnTo>
                      <a:pt x="254" y="1633"/>
                    </a:lnTo>
                    <a:close/>
                    <a:moveTo>
                      <a:pt x="807" y="1001"/>
                    </a:moveTo>
                    <a:lnTo>
                      <a:pt x="807" y="1003"/>
                    </a:lnTo>
                    <a:lnTo>
                      <a:pt x="807" y="1001"/>
                    </a:lnTo>
                    <a:close/>
                    <a:moveTo>
                      <a:pt x="254" y="1669"/>
                    </a:moveTo>
                    <a:lnTo>
                      <a:pt x="256" y="1669"/>
                    </a:lnTo>
                    <a:lnTo>
                      <a:pt x="254" y="1669"/>
                    </a:lnTo>
                    <a:close/>
                    <a:moveTo>
                      <a:pt x="788" y="1240"/>
                    </a:moveTo>
                    <a:lnTo>
                      <a:pt x="789" y="1240"/>
                    </a:lnTo>
                    <a:lnTo>
                      <a:pt x="789" y="1242"/>
                    </a:lnTo>
                    <a:lnTo>
                      <a:pt x="788" y="1242"/>
                    </a:lnTo>
                    <a:lnTo>
                      <a:pt x="788" y="1240"/>
                    </a:lnTo>
                    <a:close/>
                    <a:moveTo>
                      <a:pt x="995" y="1444"/>
                    </a:moveTo>
                    <a:lnTo>
                      <a:pt x="997" y="1444"/>
                    </a:lnTo>
                    <a:lnTo>
                      <a:pt x="995" y="1444"/>
                    </a:lnTo>
                    <a:close/>
                    <a:moveTo>
                      <a:pt x="652" y="675"/>
                    </a:moveTo>
                    <a:lnTo>
                      <a:pt x="654" y="675"/>
                    </a:lnTo>
                    <a:lnTo>
                      <a:pt x="654" y="677"/>
                    </a:lnTo>
                    <a:lnTo>
                      <a:pt x="652" y="677"/>
                    </a:lnTo>
                    <a:lnTo>
                      <a:pt x="652" y="675"/>
                    </a:lnTo>
                    <a:close/>
                    <a:moveTo>
                      <a:pt x="1173" y="1047"/>
                    </a:moveTo>
                    <a:lnTo>
                      <a:pt x="1175" y="1047"/>
                    </a:lnTo>
                    <a:lnTo>
                      <a:pt x="1175" y="1049"/>
                    </a:lnTo>
                    <a:lnTo>
                      <a:pt x="1173" y="1049"/>
                    </a:lnTo>
                    <a:lnTo>
                      <a:pt x="1173" y="1047"/>
                    </a:lnTo>
                    <a:close/>
                    <a:moveTo>
                      <a:pt x="965" y="1373"/>
                    </a:moveTo>
                    <a:lnTo>
                      <a:pt x="965" y="1375"/>
                    </a:lnTo>
                    <a:lnTo>
                      <a:pt x="965" y="1373"/>
                    </a:lnTo>
                    <a:close/>
                    <a:moveTo>
                      <a:pt x="572" y="1047"/>
                    </a:moveTo>
                    <a:lnTo>
                      <a:pt x="574" y="1047"/>
                    </a:lnTo>
                    <a:lnTo>
                      <a:pt x="574" y="1049"/>
                    </a:lnTo>
                    <a:lnTo>
                      <a:pt x="572" y="1049"/>
                    </a:lnTo>
                    <a:lnTo>
                      <a:pt x="572" y="1047"/>
                    </a:lnTo>
                    <a:close/>
                    <a:moveTo>
                      <a:pt x="934" y="271"/>
                    </a:moveTo>
                    <a:lnTo>
                      <a:pt x="936" y="271"/>
                    </a:lnTo>
                    <a:lnTo>
                      <a:pt x="936" y="273"/>
                    </a:lnTo>
                    <a:lnTo>
                      <a:pt x="934" y="273"/>
                    </a:lnTo>
                    <a:lnTo>
                      <a:pt x="934" y="271"/>
                    </a:lnTo>
                    <a:close/>
                    <a:moveTo>
                      <a:pt x="509" y="845"/>
                    </a:moveTo>
                    <a:lnTo>
                      <a:pt x="511" y="845"/>
                    </a:lnTo>
                    <a:lnTo>
                      <a:pt x="511" y="847"/>
                    </a:lnTo>
                    <a:lnTo>
                      <a:pt x="509" y="847"/>
                    </a:lnTo>
                    <a:lnTo>
                      <a:pt x="509" y="845"/>
                    </a:lnTo>
                    <a:close/>
                    <a:moveTo>
                      <a:pt x="1238" y="1637"/>
                    </a:moveTo>
                    <a:lnTo>
                      <a:pt x="1240" y="1637"/>
                    </a:lnTo>
                    <a:lnTo>
                      <a:pt x="1240" y="1639"/>
                    </a:lnTo>
                    <a:lnTo>
                      <a:pt x="1238" y="1639"/>
                    </a:lnTo>
                    <a:lnTo>
                      <a:pt x="1238" y="1637"/>
                    </a:lnTo>
                    <a:close/>
                    <a:moveTo>
                      <a:pt x="1196" y="1295"/>
                    </a:moveTo>
                    <a:lnTo>
                      <a:pt x="1196" y="1297"/>
                    </a:lnTo>
                    <a:lnTo>
                      <a:pt x="1196" y="1295"/>
                    </a:lnTo>
                    <a:close/>
                    <a:moveTo>
                      <a:pt x="881" y="872"/>
                    </a:moveTo>
                    <a:lnTo>
                      <a:pt x="883" y="872"/>
                    </a:lnTo>
                    <a:lnTo>
                      <a:pt x="883" y="874"/>
                    </a:lnTo>
                    <a:lnTo>
                      <a:pt x="881" y="874"/>
                    </a:lnTo>
                    <a:lnTo>
                      <a:pt x="881" y="872"/>
                    </a:lnTo>
                    <a:close/>
                    <a:moveTo>
                      <a:pt x="1188" y="1145"/>
                    </a:moveTo>
                    <a:lnTo>
                      <a:pt x="1190" y="1145"/>
                    </a:lnTo>
                    <a:lnTo>
                      <a:pt x="1190" y="1146"/>
                    </a:lnTo>
                    <a:lnTo>
                      <a:pt x="1188" y="1146"/>
                    </a:lnTo>
                    <a:lnTo>
                      <a:pt x="1188" y="1145"/>
                    </a:lnTo>
                    <a:close/>
                    <a:moveTo>
                      <a:pt x="795" y="1246"/>
                    </a:moveTo>
                    <a:lnTo>
                      <a:pt x="797" y="1246"/>
                    </a:lnTo>
                    <a:lnTo>
                      <a:pt x="797" y="1248"/>
                    </a:lnTo>
                    <a:lnTo>
                      <a:pt x="795" y="1248"/>
                    </a:lnTo>
                    <a:lnTo>
                      <a:pt x="795" y="1246"/>
                    </a:lnTo>
                    <a:close/>
                    <a:moveTo>
                      <a:pt x="528" y="1072"/>
                    </a:moveTo>
                    <a:lnTo>
                      <a:pt x="528" y="1076"/>
                    </a:lnTo>
                    <a:lnTo>
                      <a:pt x="528" y="1072"/>
                    </a:lnTo>
                    <a:close/>
                    <a:moveTo>
                      <a:pt x="1079" y="1223"/>
                    </a:moveTo>
                    <a:lnTo>
                      <a:pt x="1081" y="1223"/>
                    </a:lnTo>
                    <a:lnTo>
                      <a:pt x="1081" y="1225"/>
                    </a:lnTo>
                    <a:lnTo>
                      <a:pt x="1079" y="1225"/>
                    </a:lnTo>
                    <a:lnTo>
                      <a:pt x="1079" y="1223"/>
                    </a:lnTo>
                    <a:close/>
                    <a:moveTo>
                      <a:pt x="1005" y="1309"/>
                    </a:moveTo>
                    <a:lnTo>
                      <a:pt x="1007" y="1309"/>
                    </a:lnTo>
                    <a:lnTo>
                      <a:pt x="1007" y="1311"/>
                    </a:lnTo>
                    <a:lnTo>
                      <a:pt x="1005" y="1311"/>
                    </a:lnTo>
                    <a:lnTo>
                      <a:pt x="1005" y="1309"/>
                    </a:lnTo>
                    <a:close/>
                    <a:moveTo>
                      <a:pt x="913" y="1152"/>
                    </a:moveTo>
                    <a:lnTo>
                      <a:pt x="915" y="1152"/>
                    </a:lnTo>
                    <a:lnTo>
                      <a:pt x="915" y="1154"/>
                    </a:lnTo>
                    <a:lnTo>
                      <a:pt x="913" y="1154"/>
                    </a:lnTo>
                    <a:lnTo>
                      <a:pt x="913" y="1152"/>
                    </a:lnTo>
                    <a:close/>
                    <a:moveTo>
                      <a:pt x="1104" y="1244"/>
                    </a:moveTo>
                    <a:lnTo>
                      <a:pt x="1106" y="1244"/>
                    </a:lnTo>
                    <a:lnTo>
                      <a:pt x="1106" y="1246"/>
                    </a:lnTo>
                    <a:lnTo>
                      <a:pt x="1104" y="1246"/>
                    </a:lnTo>
                    <a:lnTo>
                      <a:pt x="1104" y="1244"/>
                    </a:lnTo>
                    <a:close/>
                    <a:moveTo>
                      <a:pt x="639" y="1043"/>
                    </a:moveTo>
                    <a:lnTo>
                      <a:pt x="643" y="1043"/>
                    </a:lnTo>
                    <a:lnTo>
                      <a:pt x="643" y="1045"/>
                    </a:lnTo>
                    <a:lnTo>
                      <a:pt x="639" y="1045"/>
                    </a:lnTo>
                    <a:lnTo>
                      <a:pt x="639" y="1043"/>
                    </a:lnTo>
                    <a:close/>
                    <a:moveTo>
                      <a:pt x="646" y="1024"/>
                    </a:moveTo>
                    <a:lnTo>
                      <a:pt x="648" y="1024"/>
                    </a:lnTo>
                    <a:lnTo>
                      <a:pt x="646" y="1024"/>
                    </a:lnTo>
                    <a:close/>
                    <a:moveTo>
                      <a:pt x="431" y="486"/>
                    </a:moveTo>
                    <a:lnTo>
                      <a:pt x="433" y="486"/>
                    </a:lnTo>
                    <a:lnTo>
                      <a:pt x="433" y="490"/>
                    </a:lnTo>
                    <a:lnTo>
                      <a:pt x="431" y="490"/>
                    </a:lnTo>
                    <a:lnTo>
                      <a:pt x="431" y="486"/>
                    </a:lnTo>
                    <a:close/>
                    <a:moveTo>
                      <a:pt x="1209" y="1209"/>
                    </a:moveTo>
                    <a:lnTo>
                      <a:pt x="1211" y="1209"/>
                    </a:lnTo>
                    <a:lnTo>
                      <a:pt x="1211" y="1211"/>
                    </a:lnTo>
                    <a:lnTo>
                      <a:pt x="1209" y="1211"/>
                    </a:lnTo>
                    <a:lnTo>
                      <a:pt x="1209" y="1209"/>
                    </a:lnTo>
                    <a:close/>
                    <a:moveTo>
                      <a:pt x="187" y="1570"/>
                    </a:moveTo>
                    <a:lnTo>
                      <a:pt x="187" y="1572"/>
                    </a:lnTo>
                    <a:lnTo>
                      <a:pt x="187" y="1570"/>
                    </a:lnTo>
                    <a:close/>
                    <a:moveTo>
                      <a:pt x="1150" y="1240"/>
                    </a:moveTo>
                    <a:lnTo>
                      <a:pt x="1152" y="1240"/>
                    </a:lnTo>
                    <a:lnTo>
                      <a:pt x="1152" y="1242"/>
                    </a:lnTo>
                    <a:lnTo>
                      <a:pt x="1150" y="1242"/>
                    </a:lnTo>
                    <a:lnTo>
                      <a:pt x="1150" y="1240"/>
                    </a:lnTo>
                    <a:close/>
                    <a:moveTo>
                      <a:pt x="1247" y="1104"/>
                    </a:moveTo>
                    <a:lnTo>
                      <a:pt x="1249" y="1104"/>
                    </a:lnTo>
                    <a:lnTo>
                      <a:pt x="1247" y="1104"/>
                    </a:lnTo>
                    <a:close/>
                    <a:moveTo>
                      <a:pt x="1169" y="1293"/>
                    </a:moveTo>
                    <a:lnTo>
                      <a:pt x="1171" y="1293"/>
                    </a:lnTo>
                    <a:lnTo>
                      <a:pt x="1169" y="1293"/>
                    </a:lnTo>
                    <a:close/>
                    <a:moveTo>
                      <a:pt x="166" y="1541"/>
                    </a:moveTo>
                    <a:lnTo>
                      <a:pt x="166" y="1543"/>
                    </a:lnTo>
                    <a:lnTo>
                      <a:pt x="166" y="1541"/>
                    </a:lnTo>
                    <a:close/>
                    <a:moveTo>
                      <a:pt x="913" y="1148"/>
                    </a:moveTo>
                    <a:lnTo>
                      <a:pt x="915" y="1148"/>
                    </a:lnTo>
                    <a:lnTo>
                      <a:pt x="915" y="1150"/>
                    </a:lnTo>
                    <a:lnTo>
                      <a:pt x="913" y="1150"/>
                    </a:lnTo>
                    <a:lnTo>
                      <a:pt x="913" y="1148"/>
                    </a:lnTo>
                    <a:close/>
                    <a:moveTo>
                      <a:pt x="1169" y="1034"/>
                    </a:moveTo>
                    <a:lnTo>
                      <a:pt x="1167" y="1034"/>
                    </a:lnTo>
                    <a:lnTo>
                      <a:pt x="1169" y="1034"/>
                    </a:lnTo>
                    <a:close/>
                    <a:moveTo>
                      <a:pt x="999" y="1339"/>
                    </a:moveTo>
                    <a:lnTo>
                      <a:pt x="1001" y="1339"/>
                    </a:lnTo>
                    <a:lnTo>
                      <a:pt x="999" y="1339"/>
                    </a:lnTo>
                    <a:close/>
                    <a:moveTo>
                      <a:pt x="1020" y="1438"/>
                    </a:moveTo>
                    <a:lnTo>
                      <a:pt x="1020" y="1440"/>
                    </a:lnTo>
                    <a:lnTo>
                      <a:pt x="1020" y="1438"/>
                    </a:lnTo>
                    <a:close/>
                    <a:moveTo>
                      <a:pt x="1007" y="1417"/>
                    </a:moveTo>
                    <a:lnTo>
                      <a:pt x="1009" y="1417"/>
                    </a:lnTo>
                    <a:lnTo>
                      <a:pt x="1009" y="1419"/>
                    </a:lnTo>
                    <a:lnTo>
                      <a:pt x="1007" y="1419"/>
                    </a:lnTo>
                    <a:lnTo>
                      <a:pt x="1007" y="1417"/>
                    </a:lnTo>
                    <a:close/>
                    <a:moveTo>
                      <a:pt x="1024" y="1471"/>
                    </a:moveTo>
                    <a:lnTo>
                      <a:pt x="1026" y="1471"/>
                    </a:lnTo>
                    <a:lnTo>
                      <a:pt x="1026" y="1473"/>
                    </a:lnTo>
                    <a:lnTo>
                      <a:pt x="1024" y="1473"/>
                    </a:lnTo>
                    <a:lnTo>
                      <a:pt x="1024" y="1471"/>
                    </a:lnTo>
                    <a:close/>
                    <a:moveTo>
                      <a:pt x="1388" y="1671"/>
                    </a:moveTo>
                    <a:lnTo>
                      <a:pt x="1390" y="1671"/>
                    </a:lnTo>
                    <a:lnTo>
                      <a:pt x="1390" y="1673"/>
                    </a:lnTo>
                    <a:lnTo>
                      <a:pt x="1388" y="1673"/>
                    </a:lnTo>
                    <a:lnTo>
                      <a:pt x="1388" y="1671"/>
                    </a:lnTo>
                    <a:close/>
                    <a:moveTo>
                      <a:pt x="1207" y="1280"/>
                    </a:moveTo>
                    <a:lnTo>
                      <a:pt x="1209" y="1280"/>
                    </a:lnTo>
                    <a:lnTo>
                      <a:pt x="1209" y="1282"/>
                    </a:lnTo>
                    <a:lnTo>
                      <a:pt x="1207" y="1282"/>
                    </a:lnTo>
                    <a:lnTo>
                      <a:pt x="1207" y="1280"/>
                    </a:lnTo>
                    <a:close/>
                    <a:moveTo>
                      <a:pt x="992" y="1404"/>
                    </a:moveTo>
                    <a:lnTo>
                      <a:pt x="994" y="1404"/>
                    </a:lnTo>
                    <a:lnTo>
                      <a:pt x="994" y="1406"/>
                    </a:lnTo>
                    <a:lnTo>
                      <a:pt x="992" y="1406"/>
                    </a:lnTo>
                    <a:lnTo>
                      <a:pt x="992" y="1404"/>
                    </a:lnTo>
                    <a:close/>
                    <a:moveTo>
                      <a:pt x="1022" y="1448"/>
                    </a:moveTo>
                    <a:lnTo>
                      <a:pt x="1024" y="1448"/>
                    </a:lnTo>
                    <a:lnTo>
                      <a:pt x="1024" y="1450"/>
                    </a:lnTo>
                    <a:lnTo>
                      <a:pt x="1022" y="1450"/>
                    </a:lnTo>
                    <a:lnTo>
                      <a:pt x="1022" y="1448"/>
                    </a:lnTo>
                    <a:close/>
                    <a:moveTo>
                      <a:pt x="891" y="1024"/>
                    </a:moveTo>
                    <a:lnTo>
                      <a:pt x="892" y="1024"/>
                    </a:lnTo>
                    <a:lnTo>
                      <a:pt x="891" y="1024"/>
                    </a:lnTo>
                    <a:close/>
                    <a:moveTo>
                      <a:pt x="833" y="1681"/>
                    </a:moveTo>
                    <a:lnTo>
                      <a:pt x="835" y="1681"/>
                    </a:lnTo>
                    <a:lnTo>
                      <a:pt x="835" y="1683"/>
                    </a:lnTo>
                    <a:lnTo>
                      <a:pt x="833" y="1683"/>
                    </a:lnTo>
                    <a:lnTo>
                      <a:pt x="833" y="1681"/>
                    </a:lnTo>
                    <a:close/>
                    <a:moveTo>
                      <a:pt x="1266" y="1473"/>
                    </a:moveTo>
                    <a:lnTo>
                      <a:pt x="1268" y="1473"/>
                    </a:lnTo>
                    <a:lnTo>
                      <a:pt x="1266" y="1473"/>
                    </a:lnTo>
                    <a:close/>
                    <a:moveTo>
                      <a:pt x="1003" y="1227"/>
                    </a:moveTo>
                    <a:lnTo>
                      <a:pt x="1003" y="1228"/>
                    </a:lnTo>
                    <a:lnTo>
                      <a:pt x="1003" y="1227"/>
                    </a:lnTo>
                    <a:close/>
                    <a:moveTo>
                      <a:pt x="1152" y="1240"/>
                    </a:moveTo>
                    <a:lnTo>
                      <a:pt x="1152" y="1242"/>
                    </a:lnTo>
                    <a:lnTo>
                      <a:pt x="1152" y="1240"/>
                    </a:lnTo>
                    <a:close/>
                    <a:moveTo>
                      <a:pt x="1177" y="1173"/>
                    </a:moveTo>
                    <a:lnTo>
                      <a:pt x="1178" y="1173"/>
                    </a:lnTo>
                    <a:lnTo>
                      <a:pt x="1178" y="1175"/>
                    </a:lnTo>
                    <a:lnTo>
                      <a:pt x="1177" y="1175"/>
                    </a:lnTo>
                    <a:lnTo>
                      <a:pt x="1177" y="1173"/>
                    </a:lnTo>
                    <a:close/>
                    <a:moveTo>
                      <a:pt x="204" y="1593"/>
                    </a:moveTo>
                    <a:lnTo>
                      <a:pt x="204" y="1595"/>
                    </a:lnTo>
                    <a:lnTo>
                      <a:pt x="204" y="1593"/>
                    </a:lnTo>
                    <a:close/>
                    <a:moveTo>
                      <a:pt x="1106" y="1263"/>
                    </a:moveTo>
                    <a:lnTo>
                      <a:pt x="1108" y="1263"/>
                    </a:lnTo>
                    <a:lnTo>
                      <a:pt x="1106" y="1263"/>
                    </a:lnTo>
                    <a:close/>
                    <a:moveTo>
                      <a:pt x="1264" y="1442"/>
                    </a:moveTo>
                    <a:lnTo>
                      <a:pt x="1266" y="1442"/>
                    </a:lnTo>
                    <a:lnTo>
                      <a:pt x="1264" y="1442"/>
                    </a:lnTo>
                    <a:close/>
                    <a:moveTo>
                      <a:pt x="467" y="1057"/>
                    </a:moveTo>
                    <a:lnTo>
                      <a:pt x="469" y="1057"/>
                    </a:lnTo>
                    <a:lnTo>
                      <a:pt x="467" y="1057"/>
                    </a:lnTo>
                    <a:close/>
                    <a:moveTo>
                      <a:pt x="789" y="990"/>
                    </a:moveTo>
                    <a:lnTo>
                      <a:pt x="791" y="990"/>
                    </a:lnTo>
                    <a:lnTo>
                      <a:pt x="791" y="992"/>
                    </a:lnTo>
                    <a:lnTo>
                      <a:pt x="789" y="992"/>
                    </a:lnTo>
                    <a:lnTo>
                      <a:pt x="789" y="990"/>
                    </a:lnTo>
                    <a:close/>
                    <a:moveTo>
                      <a:pt x="963" y="1379"/>
                    </a:moveTo>
                    <a:lnTo>
                      <a:pt x="965" y="1379"/>
                    </a:lnTo>
                    <a:lnTo>
                      <a:pt x="965" y="1383"/>
                    </a:lnTo>
                    <a:lnTo>
                      <a:pt x="963" y="1383"/>
                    </a:lnTo>
                    <a:lnTo>
                      <a:pt x="963" y="1379"/>
                    </a:lnTo>
                    <a:close/>
                    <a:moveTo>
                      <a:pt x="509" y="1080"/>
                    </a:moveTo>
                    <a:lnTo>
                      <a:pt x="511" y="1080"/>
                    </a:lnTo>
                    <a:lnTo>
                      <a:pt x="511" y="1082"/>
                    </a:lnTo>
                    <a:lnTo>
                      <a:pt x="509" y="1082"/>
                    </a:lnTo>
                    <a:lnTo>
                      <a:pt x="509" y="1080"/>
                    </a:lnTo>
                    <a:close/>
                    <a:moveTo>
                      <a:pt x="910" y="1164"/>
                    </a:moveTo>
                    <a:lnTo>
                      <a:pt x="910" y="1165"/>
                    </a:lnTo>
                    <a:lnTo>
                      <a:pt x="910" y="1164"/>
                    </a:lnTo>
                    <a:close/>
                    <a:moveTo>
                      <a:pt x="1152" y="973"/>
                    </a:moveTo>
                    <a:lnTo>
                      <a:pt x="1154" y="973"/>
                    </a:lnTo>
                    <a:lnTo>
                      <a:pt x="1154" y="975"/>
                    </a:lnTo>
                    <a:lnTo>
                      <a:pt x="1152" y="975"/>
                    </a:lnTo>
                    <a:lnTo>
                      <a:pt x="1152" y="973"/>
                    </a:lnTo>
                    <a:close/>
                    <a:moveTo>
                      <a:pt x="1066" y="1217"/>
                    </a:moveTo>
                    <a:lnTo>
                      <a:pt x="1068" y="1217"/>
                    </a:lnTo>
                    <a:lnTo>
                      <a:pt x="1066" y="1217"/>
                    </a:lnTo>
                    <a:close/>
                    <a:moveTo>
                      <a:pt x="1106" y="1320"/>
                    </a:moveTo>
                    <a:lnTo>
                      <a:pt x="1106" y="1322"/>
                    </a:lnTo>
                    <a:lnTo>
                      <a:pt x="1106" y="1320"/>
                    </a:lnTo>
                    <a:close/>
                    <a:moveTo>
                      <a:pt x="690" y="713"/>
                    </a:moveTo>
                    <a:lnTo>
                      <a:pt x="692" y="713"/>
                    </a:lnTo>
                    <a:lnTo>
                      <a:pt x="692" y="715"/>
                    </a:lnTo>
                    <a:lnTo>
                      <a:pt x="690" y="715"/>
                    </a:lnTo>
                    <a:lnTo>
                      <a:pt x="690" y="713"/>
                    </a:lnTo>
                    <a:close/>
                    <a:moveTo>
                      <a:pt x="1262" y="1435"/>
                    </a:moveTo>
                    <a:lnTo>
                      <a:pt x="1262" y="1436"/>
                    </a:lnTo>
                    <a:lnTo>
                      <a:pt x="1262" y="1435"/>
                    </a:lnTo>
                    <a:close/>
                    <a:moveTo>
                      <a:pt x="1129" y="1278"/>
                    </a:moveTo>
                    <a:lnTo>
                      <a:pt x="1131" y="1278"/>
                    </a:lnTo>
                    <a:lnTo>
                      <a:pt x="1131" y="1280"/>
                    </a:lnTo>
                    <a:lnTo>
                      <a:pt x="1129" y="1280"/>
                    </a:lnTo>
                    <a:lnTo>
                      <a:pt x="1129" y="1278"/>
                    </a:lnTo>
                    <a:close/>
                    <a:moveTo>
                      <a:pt x="879" y="1053"/>
                    </a:moveTo>
                    <a:lnTo>
                      <a:pt x="879" y="1055"/>
                    </a:lnTo>
                    <a:lnTo>
                      <a:pt x="879" y="1053"/>
                    </a:lnTo>
                    <a:close/>
                    <a:moveTo>
                      <a:pt x="1167" y="1162"/>
                    </a:moveTo>
                    <a:lnTo>
                      <a:pt x="1169" y="1162"/>
                    </a:lnTo>
                    <a:lnTo>
                      <a:pt x="1167" y="1162"/>
                    </a:lnTo>
                    <a:close/>
                    <a:moveTo>
                      <a:pt x="1079" y="1221"/>
                    </a:moveTo>
                    <a:lnTo>
                      <a:pt x="1081" y="1221"/>
                    </a:lnTo>
                    <a:lnTo>
                      <a:pt x="1081" y="1223"/>
                    </a:lnTo>
                    <a:lnTo>
                      <a:pt x="1079" y="1223"/>
                    </a:lnTo>
                    <a:lnTo>
                      <a:pt x="1079" y="1221"/>
                    </a:lnTo>
                    <a:close/>
                    <a:moveTo>
                      <a:pt x="1226" y="1093"/>
                    </a:moveTo>
                    <a:lnTo>
                      <a:pt x="1228" y="1093"/>
                    </a:lnTo>
                    <a:lnTo>
                      <a:pt x="1228" y="1097"/>
                    </a:lnTo>
                    <a:lnTo>
                      <a:pt x="1226" y="1097"/>
                    </a:lnTo>
                    <a:lnTo>
                      <a:pt x="1226" y="1093"/>
                    </a:lnTo>
                    <a:close/>
                    <a:moveTo>
                      <a:pt x="187" y="1555"/>
                    </a:moveTo>
                    <a:lnTo>
                      <a:pt x="189" y="1555"/>
                    </a:lnTo>
                    <a:lnTo>
                      <a:pt x="189" y="1557"/>
                    </a:lnTo>
                    <a:lnTo>
                      <a:pt x="187" y="1557"/>
                    </a:lnTo>
                    <a:lnTo>
                      <a:pt x="187" y="1555"/>
                    </a:lnTo>
                    <a:close/>
                    <a:moveTo>
                      <a:pt x="982" y="1593"/>
                    </a:moveTo>
                    <a:lnTo>
                      <a:pt x="984" y="1593"/>
                    </a:lnTo>
                    <a:lnTo>
                      <a:pt x="984" y="1595"/>
                    </a:lnTo>
                    <a:lnTo>
                      <a:pt x="982" y="1595"/>
                    </a:lnTo>
                    <a:lnTo>
                      <a:pt x="982" y="1593"/>
                    </a:lnTo>
                    <a:close/>
                    <a:moveTo>
                      <a:pt x="1203" y="1307"/>
                    </a:moveTo>
                    <a:lnTo>
                      <a:pt x="1205" y="1307"/>
                    </a:lnTo>
                    <a:lnTo>
                      <a:pt x="1205" y="1309"/>
                    </a:lnTo>
                    <a:lnTo>
                      <a:pt x="1203" y="1309"/>
                    </a:lnTo>
                    <a:lnTo>
                      <a:pt x="1203" y="1307"/>
                    </a:lnTo>
                    <a:close/>
                    <a:moveTo>
                      <a:pt x="974" y="637"/>
                    </a:moveTo>
                    <a:lnTo>
                      <a:pt x="974" y="639"/>
                    </a:lnTo>
                    <a:lnTo>
                      <a:pt x="974" y="637"/>
                    </a:lnTo>
                    <a:close/>
                    <a:moveTo>
                      <a:pt x="1194" y="1396"/>
                    </a:moveTo>
                    <a:lnTo>
                      <a:pt x="1196" y="1396"/>
                    </a:lnTo>
                    <a:lnTo>
                      <a:pt x="1194" y="1396"/>
                    </a:lnTo>
                    <a:close/>
                    <a:moveTo>
                      <a:pt x="683" y="1053"/>
                    </a:moveTo>
                    <a:lnTo>
                      <a:pt x="687" y="1053"/>
                    </a:lnTo>
                    <a:lnTo>
                      <a:pt x="687" y="1055"/>
                    </a:lnTo>
                    <a:lnTo>
                      <a:pt x="683" y="1055"/>
                    </a:lnTo>
                    <a:lnTo>
                      <a:pt x="683" y="1053"/>
                    </a:lnTo>
                    <a:close/>
                    <a:moveTo>
                      <a:pt x="227" y="1629"/>
                    </a:moveTo>
                    <a:lnTo>
                      <a:pt x="229" y="1629"/>
                    </a:lnTo>
                    <a:lnTo>
                      <a:pt x="227" y="1629"/>
                    </a:lnTo>
                    <a:close/>
                    <a:moveTo>
                      <a:pt x="1177" y="1135"/>
                    </a:moveTo>
                    <a:lnTo>
                      <a:pt x="1178" y="1135"/>
                    </a:lnTo>
                    <a:lnTo>
                      <a:pt x="1178" y="1137"/>
                    </a:lnTo>
                    <a:lnTo>
                      <a:pt x="1177" y="1137"/>
                    </a:lnTo>
                    <a:lnTo>
                      <a:pt x="1177" y="1135"/>
                    </a:lnTo>
                    <a:close/>
                    <a:moveTo>
                      <a:pt x="1222" y="1234"/>
                    </a:moveTo>
                    <a:lnTo>
                      <a:pt x="1224" y="1234"/>
                    </a:lnTo>
                    <a:lnTo>
                      <a:pt x="1224" y="1236"/>
                    </a:lnTo>
                    <a:lnTo>
                      <a:pt x="1222" y="1236"/>
                    </a:lnTo>
                    <a:lnTo>
                      <a:pt x="1222" y="1234"/>
                    </a:lnTo>
                    <a:close/>
                    <a:moveTo>
                      <a:pt x="517" y="1061"/>
                    </a:moveTo>
                    <a:lnTo>
                      <a:pt x="517" y="1062"/>
                    </a:lnTo>
                    <a:lnTo>
                      <a:pt x="517" y="1061"/>
                    </a:lnTo>
                    <a:close/>
                    <a:moveTo>
                      <a:pt x="488" y="851"/>
                    </a:moveTo>
                    <a:lnTo>
                      <a:pt x="490" y="851"/>
                    </a:lnTo>
                    <a:lnTo>
                      <a:pt x="488" y="851"/>
                    </a:lnTo>
                    <a:close/>
                    <a:moveTo>
                      <a:pt x="1331" y="1532"/>
                    </a:moveTo>
                    <a:lnTo>
                      <a:pt x="1333" y="1532"/>
                    </a:lnTo>
                    <a:lnTo>
                      <a:pt x="1333" y="1534"/>
                    </a:lnTo>
                    <a:lnTo>
                      <a:pt x="1331" y="1534"/>
                    </a:lnTo>
                    <a:lnTo>
                      <a:pt x="1331" y="1532"/>
                    </a:lnTo>
                    <a:close/>
                    <a:moveTo>
                      <a:pt x="1293" y="1738"/>
                    </a:moveTo>
                    <a:lnTo>
                      <a:pt x="1295" y="1738"/>
                    </a:lnTo>
                    <a:lnTo>
                      <a:pt x="1293" y="1738"/>
                    </a:lnTo>
                    <a:close/>
                    <a:moveTo>
                      <a:pt x="404" y="956"/>
                    </a:moveTo>
                    <a:lnTo>
                      <a:pt x="406" y="956"/>
                    </a:lnTo>
                    <a:lnTo>
                      <a:pt x="406" y="958"/>
                    </a:lnTo>
                    <a:lnTo>
                      <a:pt x="404" y="958"/>
                    </a:lnTo>
                    <a:lnTo>
                      <a:pt x="404" y="956"/>
                    </a:lnTo>
                    <a:close/>
                    <a:moveTo>
                      <a:pt x="799" y="1017"/>
                    </a:moveTo>
                    <a:lnTo>
                      <a:pt x="801" y="1017"/>
                    </a:lnTo>
                    <a:lnTo>
                      <a:pt x="801" y="1019"/>
                    </a:lnTo>
                    <a:lnTo>
                      <a:pt x="799" y="1019"/>
                    </a:lnTo>
                    <a:lnTo>
                      <a:pt x="799" y="1017"/>
                    </a:lnTo>
                    <a:close/>
                    <a:moveTo>
                      <a:pt x="961" y="1373"/>
                    </a:moveTo>
                    <a:lnTo>
                      <a:pt x="963" y="1373"/>
                    </a:lnTo>
                    <a:lnTo>
                      <a:pt x="963" y="1375"/>
                    </a:lnTo>
                    <a:lnTo>
                      <a:pt x="961" y="1375"/>
                    </a:lnTo>
                    <a:lnTo>
                      <a:pt x="961" y="1373"/>
                    </a:lnTo>
                    <a:close/>
                    <a:moveTo>
                      <a:pt x="469" y="969"/>
                    </a:moveTo>
                    <a:lnTo>
                      <a:pt x="467" y="969"/>
                    </a:lnTo>
                    <a:lnTo>
                      <a:pt x="469" y="969"/>
                    </a:lnTo>
                    <a:lnTo>
                      <a:pt x="467" y="969"/>
                    </a:lnTo>
                    <a:lnTo>
                      <a:pt x="465" y="969"/>
                    </a:lnTo>
                    <a:lnTo>
                      <a:pt x="469" y="969"/>
                    </a:lnTo>
                    <a:close/>
                    <a:moveTo>
                      <a:pt x="1268" y="1480"/>
                    </a:moveTo>
                    <a:lnTo>
                      <a:pt x="1270" y="1480"/>
                    </a:lnTo>
                    <a:lnTo>
                      <a:pt x="1268" y="1480"/>
                    </a:lnTo>
                    <a:close/>
                    <a:moveTo>
                      <a:pt x="812" y="1032"/>
                    </a:moveTo>
                    <a:lnTo>
                      <a:pt x="812" y="1034"/>
                    </a:lnTo>
                    <a:lnTo>
                      <a:pt x="812" y="1032"/>
                    </a:lnTo>
                    <a:close/>
                    <a:moveTo>
                      <a:pt x="1220" y="1358"/>
                    </a:moveTo>
                    <a:lnTo>
                      <a:pt x="1222" y="1358"/>
                    </a:lnTo>
                    <a:lnTo>
                      <a:pt x="1220" y="1358"/>
                    </a:lnTo>
                    <a:close/>
                    <a:moveTo>
                      <a:pt x="162" y="1526"/>
                    </a:moveTo>
                    <a:lnTo>
                      <a:pt x="164" y="1526"/>
                    </a:lnTo>
                    <a:lnTo>
                      <a:pt x="164" y="1528"/>
                    </a:lnTo>
                    <a:lnTo>
                      <a:pt x="162" y="1528"/>
                    </a:lnTo>
                    <a:lnTo>
                      <a:pt x="162" y="1526"/>
                    </a:lnTo>
                    <a:close/>
                    <a:moveTo>
                      <a:pt x="929" y="1263"/>
                    </a:moveTo>
                    <a:lnTo>
                      <a:pt x="931" y="1263"/>
                    </a:lnTo>
                    <a:lnTo>
                      <a:pt x="931" y="1265"/>
                    </a:lnTo>
                    <a:lnTo>
                      <a:pt x="929" y="1265"/>
                    </a:lnTo>
                    <a:lnTo>
                      <a:pt x="929" y="1263"/>
                    </a:lnTo>
                    <a:close/>
                    <a:moveTo>
                      <a:pt x="727" y="1001"/>
                    </a:moveTo>
                    <a:lnTo>
                      <a:pt x="727" y="1003"/>
                    </a:lnTo>
                    <a:lnTo>
                      <a:pt x="727" y="1001"/>
                    </a:lnTo>
                    <a:close/>
                    <a:moveTo>
                      <a:pt x="187" y="1559"/>
                    </a:moveTo>
                    <a:lnTo>
                      <a:pt x="187" y="1560"/>
                    </a:lnTo>
                    <a:lnTo>
                      <a:pt x="187" y="1559"/>
                    </a:lnTo>
                    <a:close/>
                    <a:moveTo>
                      <a:pt x="727" y="524"/>
                    </a:moveTo>
                    <a:lnTo>
                      <a:pt x="728" y="524"/>
                    </a:lnTo>
                    <a:lnTo>
                      <a:pt x="728" y="526"/>
                    </a:lnTo>
                    <a:lnTo>
                      <a:pt x="727" y="526"/>
                    </a:lnTo>
                    <a:lnTo>
                      <a:pt x="727" y="524"/>
                    </a:lnTo>
                    <a:close/>
                    <a:moveTo>
                      <a:pt x="650" y="603"/>
                    </a:moveTo>
                    <a:lnTo>
                      <a:pt x="652" y="603"/>
                    </a:lnTo>
                    <a:lnTo>
                      <a:pt x="652" y="605"/>
                    </a:lnTo>
                    <a:lnTo>
                      <a:pt x="650" y="605"/>
                    </a:lnTo>
                    <a:lnTo>
                      <a:pt x="650" y="603"/>
                    </a:lnTo>
                    <a:close/>
                    <a:moveTo>
                      <a:pt x="519" y="1066"/>
                    </a:moveTo>
                    <a:lnTo>
                      <a:pt x="519" y="1070"/>
                    </a:lnTo>
                    <a:lnTo>
                      <a:pt x="519" y="1066"/>
                    </a:lnTo>
                    <a:close/>
                    <a:moveTo>
                      <a:pt x="423" y="1080"/>
                    </a:moveTo>
                    <a:lnTo>
                      <a:pt x="425" y="1080"/>
                    </a:lnTo>
                    <a:lnTo>
                      <a:pt x="425" y="1082"/>
                    </a:lnTo>
                    <a:lnTo>
                      <a:pt x="423" y="1082"/>
                    </a:lnTo>
                    <a:lnTo>
                      <a:pt x="423" y="1080"/>
                    </a:lnTo>
                    <a:close/>
                    <a:moveTo>
                      <a:pt x="593" y="580"/>
                    </a:moveTo>
                    <a:lnTo>
                      <a:pt x="595" y="580"/>
                    </a:lnTo>
                    <a:lnTo>
                      <a:pt x="595" y="582"/>
                    </a:lnTo>
                    <a:lnTo>
                      <a:pt x="593" y="582"/>
                    </a:lnTo>
                    <a:lnTo>
                      <a:pt x="593" y="580"/>
                    </a:lnTo>
                    <a:close/>
                    <a:moveTo>
                      <a:pt x="254" y="973"/>
                    </a:moveTo>
                    <a:lnTo>
                      <a:pt x="256" y="973"/>
                    </a:lnTo>
                    <a:lnTo>
                      <a:pt x="256" y="975"/>
                    </a:lnTo>
                    <a:lnTo>
                      <a:pt x="254" y="975"/>
                    </a:lnTo>
                    <a:lnTo>
                      <a:pt x="254" y="973"/>
                    </a:lnTo>
                    <a:close/>
                    <a:moveTo>
                      <a:pt x="1175" y="1171"/>
                    </a:moveTo>
                    <a:lnTo>
                      <a:pt x="1177" y="1171"/>
                    </a:lnTo>
                    <a:lnTo>
                      <a:pt x="1177" y="1173"/>
                    </a:lnTo>
                    <a:lnTo>
                      <a:pt x="1175" y="1173"/>
                    </a:lnTo>
                    <a:lnTo>
                      <a:pt x="1175" y="1171"/>
                    </a:lnTo>
                    <a:close/>
                    <a:moveTo>
                      <a:pt x="986" y="1589"/>
                    </a:moveTo>
                    <a:lnTo>
                      <a:pt x="988" y="1589"/>
                    </a:lnTo>
                    <a:lnTo>
                      <a:pt x="986" y="1589"/>
                    </a:lnTo>
                    <a:close/>
                    <a:moveTo>
                      <a:pt x="646" y="946"/>
                    </a:moveTo>
                    <a:lnTo>
                      <a:pt x="648" y="946"/>
                    </a:lnTo>
                    <a:lnTo>
                      <a:pt x="648" y="948"/>
                    </a:lnTo>
                    <a:lnTo>
                      <a:pt x="646" y="948"/>
                    </a:lnTo>
                    <a:lnTo>
                      <a:pt x="646" y="946"/>
                    </a:lnTo>
                    <a:close/>
                    <a:moveTo>
                      <a:pt x="1055" y="397"/>
                    </a:moveTo>
                    <a:lnTo>
                      <a:pt x="1056" y="397"/>
                    </a:lnTo>
                    <a:lnTo>
                      <a:pt x="1056" y="398"/>
                    </a:lnTo>
                    <a:lnTo>
                      <a:pt x="1055" y="398"/>
                    </a:lnTo>
                    <a:lnTo>
                      <a:pt x="1055" y="397"/>
                    </a:lnTo>
                    <a:close/>
                    <a:moveTo>
                      <a:pt x="685" y="1053"/>
                    </a:moveTo>
                    <a:lnTo>
                      <a:pt x="687" y="1053"/>
                    </a:lnTo>
                    <a:lnTo>
                      <a:pt x="687" y="1055"/>
                    </a:lnTo>
                    <a:lnTo>
                      <a:pt x="685" y="1055"/>
                    </a:lnTo>
                    <a:lnTo>
                      <a:pt x="685" y="1053"/>
                    </a:lnTo>
                    <a:close/>
                    <a:moveTo>
                      <a:pt x="1009" y="1419"/>
                    </a:moveTo>
                    <a:lnTo>
                      <a:pt x="1011" y="1419"/>
                    </a:lnTo>
                    <a:lnTo>
                      <a:pt x="1011" y="1421"/>
                    </a:lnTo>
                    <a:lnTo>
                      <a:pt x="1009" y="1421"/>
                    </a:lnTo>
                    <a:lnTo>
                      <a:pt x="1009" y="1419"/>
                    </a:lnTo>
                    <a:close/>
                    <a:moveTo>
                      <a:pt x="1350" y="1553"/>
                    </a:moveTo>
                    <a:lnTo>
                      <a:pt x="1352" y="1553"/>
                    </a:lnTo>
                    <a:lnTo>
                      <a:pt x="1350" y="1553"/>
                    </a:lnTo>
                    <a:close/>
                    <a:moveTo>
                      <a:pt x="448" y="1074"/>
                    </a:moveTo>
                    <a:lnTo>
                      <a:pt x="446" y="1074"/>
                    </a:lnTo>
                    <a:lnTo>
                      <a:pt x="444" y="1074"/>
                    </a:lnTo>
                    <a:lnTo>
                      <a:pt x="448" y="1074"/>
                    </a:lnTo>
                    <a:close/>
                    <a:moveTo>
                      <a:pt x="913" y="1156"/>
                    </a:moveTo>
                    <a:lnTo>
                      <a:pt x="915" y="1156"/>
                    </a:lnTo>
                    <a:lnTo>
                      <a:pt x="915" y="1158"/>
                    </a:lnTo>
                    <a:lnTo>
                      <a:pt x="913" y="1158"/>
                    </a:lnTo>
                    <a:lnTo>
                      <a:pt x="913" y="1156"/>
                    </a:lnTo>
                    <a:close/>
                    <a:moveTo>
                      <a:pt x="1272" y="1457"/>
                    </a:moveTo>
                    <a:lnTo>
                      <a:pt x="1272" y="1459"/>
                    </a:lnTo>
                    <a:lnTo>
                      <a:pt x="1272" y="1457"/>
                    </a:lnTo>
                    <a:close/>
                    <a:moveTo>
                      <a:pt x="1175" y="1177"/>
                    </a:moveTo>
                    <a:lnTo>
                      <a:pt x="1177" y="1177"/>
                    </a:lnTo>
                    <a:lnTo>
                      <a:pt x="1177" y="1179"/>
                    </a:lnTo>
                    <a:lnTo>
                      <a:pt x="1175" y="1179"/>
                    </a:lnTo>
                    <a:lnTo>
                      <a:pt x="1175" y="1177"/>
                    </a:lnTo>
                    <a:close/>
                    <a:moveTo>
                      <a:pt x="1268" y="1480"/>
                    </a:moveTo>
                    <a:lnTo>
                      <a:pt x="1270" y="1480"/>
                    </a:lnTo>
                    <a:lnTo>
                      <a:pt x="1270" y="1482"/>
                    </a:lnTo>
                    <a:lnTo>
                      <a:pt x="1268" y="1482"/>
                    </a:lnTo>
                    <a:lnTo>
                      <a:pt x="1268" y="1480"/>
                    </a:lnTo>
                    <a:close/>
                    <a:moveTo>
                      <a:pt x="606" y="1005"/>
                    </a:moveTo>
                    <a:lnTo>
                      <a:pt x="608" y="1005"/>
                    </a:lnTo>
                    <a:lnTo>
                      <a:pt x="608" y="1007"/>
                    </a:lnTo>
                    <a:lnTo>
                      <a:pt x="606" y="1007"/>
                    </a:lnTo>
                    <a:lnTo>
                      <a:pt x="606" y="1005"/>
                    </a:lnTo>
                    <a:close/>
                    <a:moveTo>
                      <a:pt x="843" y="1675"/>
                    </a:moveTo>
                    <a:lnTo>
                      <a:pt x="843" y="1677"/>
                    </a:lnTo>
                    <a:lnTo>
                      <a:pt x="843" y="1675"/>
                    </a:lnTo>
                    <a:close/>
                    <a:moveTo>
                      <a:pt x="923" y="1746"/>
                    </a:moveTo>
                    <a:lnTo>
                      <a:pt x="925" y="1746"/>
                    </a:lnTo>
                    <a:lnTo>
                      <a:pt x="925" y="1747"/>
                    </a:lnTo>
                    <a:lnTo>
                      <a:pt x="923" y="1747"/>
                    </a:lnTo>
                    <a:lnTo>
                      <a:pt x="923" y="1746"/>
                    </a:lnTo>
                    <a:close/>
                    <a:moveTo>
                      <a:pt x="1257" y="1112"/>
                    </a:moveTo>
                    <a:lnTo>
                      <a:pt x="1259" y="1112"/>
                    </a:lnTo>
                    <a:lnTo>
                      <a:pt x="1259" y="1114"/>
                    </a:lnTo>
                    <a:lnTo>
                      <a:pt x="1257" y="1114"/>
                    </a:lnTo>
                    <a:lnTo>
                      <a:pt x="1257" y="1112"/>
                    </a:lnTo>
                    <a:close/>
                    <a:moveTo>
                      <a:pt x="1211" y="1221"/>
                    </a:moveTo>
                    <a:lnTo>
                      <a:pt x="1211" y="1223"/>
                    </a:lnTo>
                    <a:lnTo>
                      <a:pt x="1211" y="1221"/>
                    </a:lnTo>
                    <a:close/>
                    <a:moveTo>
                      <a:pt x="229" y="1623"/>
                    </a:moveTo>
                    <a:lnTo>
                      <a:pt x="231" y="1623"/>
                    </a:lnTo>
                    <a:lnTo>
                      <a:pt x="231" y="1625"/>
                    </a:lnTo>
                    <a:lnTo>
                      <a:pt x="229" y="1625"/>
                    </a:lnTo>
                    <a:lnTo>
                      <a:pt x="229" y="1623"/>
                    </a:lnTo>
                    <a:close/>
                    <a:moveTo>
                      <a:pt x="441" y="536"/>
                    </a:moveTo>
                    <a:lnTo>
                      <a:pt x="442" y="536"/>
                    </a:lnTo>
                    <a:lnTo>
                      <a:pt x="442" y="538"/>
                    </a:lnTo>
                    <a:lnTo>
                      <a:pt x="441" y="538"/>
                    </a:lnTo>
                    <a:lnTo>
                      <a:pt x="441" y="536"/>
                    </a:lnTo>
                    <a:close/>
                    <a:moveTo>
                      <a:pt x="696" y="681"/>
                    </a:moveTo>
                    <a:lnTo>
                      <a:pt x="698" y="681"/>
                    </a:lnTo>
                    <a:lnTo>
                      <a:pt x="698" y="685"/>
                    </a:lnTo>
                    <a:lnTo>
                      <a:pt x="696" y="685"/>
                    </a:lnTo>
                    <a:lnTo>
                      <a:pt x="696" y="681"/>
                    </a:lnTo>
                    <a:close/>
                    <a:moveTo>
                      <a:pt x="690" y="694"/>
                    </a:moveTo>
                    <a:lnTo>
                      <a:pt x="692" y="694"/>
                    </a:lnTo>
                    <a:lnTo>
                      <a:pt x="692" y="696"/>
                    </a:lnTo>
                    <a:lnTo>
                      <a:pt x="690" y="696"/>
                    </a:lnTo>
                    <a:lnTo>
                      <a:pt x="690" y="694"/>
                    </a:lnTo>
                    <a:close/>
                    <a:moveTo>
                      <a:pt x="769" y="994"/>
                    </a:moveTo>
                    <a:lnTo>
                      <a:pt x="770" y="994"/>
                    </a:lnTo>
                    <a:lnTo>
                      <a:pt x="770" y="996"/>
                    </a:lnTo>
                    <a:lnTo>
                      <a:pt x="769" y="996"/>
                    </a:lnTo>
                    <a:lnTo>
                      <a:pt x="769" y="994"/>
                    </a:lnTo>
                    <a:close/>
                    <a:moveTo>
                      <a:pt x="1056" y="875"/>
                    </a:moveTo>
                    <a:lnTo>
                      <a:pt x="1056" y="877"/>
                    </a:lnTo>
                    <a:lnTo>
                      <a:pt x="1056" y="875"/>
                    </a:lnTo>
                    <a:close/>
                    <a:moveTo>
                      <a:pt x="1264" y="1133"/>
                    </a:moveTo>
                    <a:lnTo>
                      <a:pt x="1266" y="1133"/>
                    </a:lnTo>
                    <a:lnTo>
                      <a:pt x="1266" y="1135"/>
                    </a:lnTo>
                    <a:lnTo>
                      <a:pt x="1264" y="1135"/>
                    </a:lnTo>
                    <a:lnTo>
                      <a:pt x="1264" y="1133"/>
                    </a:lnTo>
                    <a:close/>
                    <a:moveTo>
                      <a:pt x="229" y="1623"/>
                    </a:moveTo>
                    <a:lnTo>
                      <a:pt x="229" y="1625"/>
                    </a:lnTo>
                    <a:lnTo>
                      <a:pt x="229" y="1623"/>
                    </a:lnTo>
                    <a:close/>
                    <a:moveTo>
                      <a:pt x="667" y="1051"/>
                    </a:moveTo>
                    <a:lnTo>
                      <a:pt x="669" y="1051"/>
                    </a:lnTo>
                    <a:lnTo>
                      <a:pt x="669" y="1055"/>
                    </a:lnTo>
                    <a:lnTo>
                      <a:pt x="667" y="1055"/>
                    </a:lnTo>
                    <a:lnTo>
                      <a:pt x="667" y="1051"/>
                    </a:lnTo>
                    <a:close/>
                    <a:moveTo>
                      <a:pt x="433" y="1076"/>
                    </a:moveTo>
                    <a:lnTo>
                      <a:pt x="435" y="1076"/>
                    </a:lnTo>
                    <a:lnTo>
                      <a:pt x="433" y="1076"/>
                    </a:lnTo>
                    <a:close/>
                    <a:moveTo>
                      <a:pt x="1249" y="1110"/>
                    </a:moveTo>
                    <a:lnTo>
                      <a:pt x="1251" y="1110"/>
                    </a:lnTo>
                    <a:lnTo>
                      <a:pt x="1251" y="1112"/>
                    </a:lnTo>
                    <a:lnTo>
                      <a:pt x="1249" y="1112"/>
                    </a:lnTo>
                    <a:lnTo>
                      <a:pt x="1249" y="1110"/>
                    </a:lnTo>
                    <a:close/>
                    <a:moveTo>
                      <a:pt x="814" y="1225"/>
                    </a:moveTo>
                    <a:lnTo>
                      <a:pt x="816" y="1225"/>
                    </a:lnTo>
                    <a:lnTo>
                      <a:pt x="816" y="1227"/>
                    </a:lnTo>
                    <a:lnTo>
                      <a:pt x="814" y="1227"/>
                    </a:lnTo>
                    <a:lnTo>
                      <a:pt x="814" y="1225"/>
                    </a:lnTo>
                    <a:close/>
                    <a:moveTo>
                      <a:pt x="271" y="996"/>
                    </a:moveTo>
                    <a:lnTo>
                      <a:pt x="273" y="996"/>
                    </a:lnTo>
                    <a:lnTo>
                      <a:pt x="273" y="998"/>
                    </a:lnTo>
                    <a:lnTo>
                      <a:pt x="271" y="998"/>
                    </a:lnTo>
                    <a:lnTo>
                      <a:pt x="271" y="996"/>
                    </a:lnTo>
                    <a:close/>
                    <a:moveTo>
                      <a:pt x="1381" y="1698"/>
                    </a:moveTo>
                    <a:lnTo>
                      <a:pt x="1381" y="1700"/>
                    </a:lnTo>
                    <a:lnTo>
                      <a:pt x="1381" y="1698"/>
                    </a:lnTo>
                    <a:close/>
                    <a:moveTo>
                      <a:pt x="1096" y="1238"/>
                    </a:moveTo>
                    <a:lnTo>
                      <a:pt x="1096" y="1240"/>
                    </a:lnTo>
                    <a:lnTo>
                      <a:pt x="1096" y="1238"/>
                    </a:lnTo>
                    <a:close/>
                    <a:moveTo>
                      <a:pt x="1220" y="1282"/>
                    </a:moveTo>
                    <a:lnTo>
                      <a:pt x="1220" y="1284"/>
                    </a:lnTo>
                    <a:lnTo>
                      <a:pt x="1220" y="1282"/>
                    </a:lnTo>
                    <a:close/>
                    <a:moveTo>
                      <a:pt x="1211" y="1175"/>
                    </a:moveTo>
                    <a:lnTo>
                      <a:pt x="1213" y="1175"/>
                    </a:lnTo>
                    <a:lnTo>
                      <a:pt x="1213" y="1177"/>
                    </a:lnTo>
                    <a:lnTo>
                      <a:pt x="1211" y="1177"/>
                    </a:lnTo>
                    <a:lnTo>
                      <a:pt x="1211" y="1175"/>
                    </a:lnTo>
                    <a:close/>
                    <a:moveTo>
                      <a:pt x="1241" y="1179"/>
                    </a:moveTo>
                    <a:lnTo>
                      <a:pt x="1241" y="1181"/>
                    </a:lnTo>
                    <a:lnTo>
                      <a:pt x="1241" y="1179"/>
                    </a:lnTo>
                    <a:close/>
                    <a:moveTo>
                      <a:pt x="385" y="958"/>
                    </a:moveTo>
                    <a:lnTo>
                      <a:pt x="387" y="958"/>
                    </a:lnTo>
                    <a:lnTo>
                      <a:pt x="387" y="959"/>
                    </a:lnTo>
                    <a:lnTo>
                      <a:pt x="385" y="959"/>
                    </a:lnTo>
                    <a:lnTo>
                      <a:pt x="385" y="958"/>
                    </a:lnTo>
                    <a:close/>
                    <a:moveTo>
                      <a:pt x="652" y="601"/>
                    </a:moveTo>
                    <a:lnTo>
                      <a:pt x="652" y="603"/>
                    </a:lnTo>
                    <a:lnTo>
                      <a:pt x="652" y="601"/>
                    </a:lnTo>
                    <a:close/>
                    <a:moveTo>
                      <a:pt x="193" y="1545"/>
                    </a:moveTo>
                    <a:lnTo>
                      <a:pt x="195" y="1545"/>
                    </a:lnTo>
                    <a:lnTo>
                      <a:pt x="195" y="1547"/>
                    </a:lnTo>
                    <a:lnTo>
                      <a:pt x="193" y="1547"/>
                    </a:lnTo>
                    <a:lnTo>
                      <a:pt x="193" y="1545"/>
                    </a:lnTo>
                    <a:close/>
                    <a:moveTo>
                      <a:pt x="397" y="538"/>
                    </a:moveTo>
                    <a:lnTo>
                      <a:pt x="400" y="538"/>
                    </a:lnTo>
                    <a:lnTo>
                      <a:pt x="400" y="540"/>
                    </a:lnTo>
                    <a:lnTo>
                      <a:pt x="397" y="540"/>
                    </a:lnTo>
                    <a:lnTo>
                      <a:pt x="397" y="538"/>
                    </a:lnTo>
                    <a:close/>
                    <a:moveTo>
                      <a:pt x="889" y="1032"/>
                    </a:moveTo>
                    <a:lnTo>
                      <a:pt x="891" y="1032"/>
                    </a:lnTo>
                    <a:lnTo>
                      <a:pt x="889" y="1032"/>
                    </a:lnTo>
                    <a:close/>
                    <a:moveTo>
                      <a:pt x="441" y="1061"/>
                    </a:moveTo>
                    <a:lnTo>
                      <a:pt x="442" y="1061"/>
                    </a:lnTo>
                    <a:lnTo>
                      <a:pt x="442" y="1062"/>
                    </a:lnTo>
                    <a:lnTo>
                      <a:pt x="441" y="1062"/>
                    </a:lnTo>
                    <a:lnTo>
                      <a:pt x="441" y="1061"/>
                    </a:lnTo>
                    <a:close/>
                    <a:moveTo>
                      <a:pt x="1171" y="1162"/>
                    </a:moveTo>
                    <a:lnTo>
                      <a:pt x="1173" y="1162"/>
                    </a:lnTo>
                    <a:lnTo>
                      <a:pt x="1171" y="1162"/>
                    </a:lnTo>
                    <a:close/>
                    <a:moveTo>
                      <a:pt x="1169" y="1414"/>
                    </a:moveTo>
                    <a:lnTo>
                      <a:pt x="1171" y="1414"/>
                    </a:lnTo>
                    <a:lnTo>
                      <a:pt x="1171" y="1415"/>
                    </a:lnTo>
                    <a:lnTo>
                      <a:pt x="1169" y="1415"/>
                    </a:lnTo>
                    <a:lnTo>
                      <a:pt x="1169" y="1414"/>
                    </a:lnTo>
                    <a:close/>
                    <a:moveTo>
                      <a:pt x="212" y="1604"/>
                    </a:moveTo>
                    <a:lnTo>
                      <a:pt x="214" y="1604"/>
                    </a:lnTo>
                    <a:lnTo>
                      <a:pt x="214" y="1606"/>
                    </a:lnTo>
                    <a:lnTo>
                      <a:pt x="212" y="1606"/>
                    </a:lnTo>
                    <a:lnTo>
                      <a:pt x="212" y="1604"/>
                    </a:lnTo>
                    <a:close/>
                    <a:moveTo>
                      <a:pt x="229" y="1625"/>
                    </a:moveTo>
                    <a:lnTo>
                      <a:pt x="231" y="1625"/>
                    </a:lnTo>
                    <a:lnTo>
                      <a:pt x="229" y="1625"/>
                    </a:lnTo>
                    <a:close/>
                    <a:moveTo>
                      <a:pt x="885" y="1024"/>
                    </a:moveTo>
                    <a:lnTo>
                      <a:pt x="885" y="1026"/>
                    </a:lnTo>
                    <a:lnTo>
                      <a:pt x="885" y="1024"/>
                    </a:lnTo>
                    <a:close/>
                    <a:moveTo>
                      <a:pt x="1032" y="427"/>
                    </a:moveTo>
                    <a:lnTo>
                      <a:pt x="1034" y="427"/>
                    </a:lnTo>
                    <a:lnTo>
                      <a:pt x="1034" y="429"/>
                    </a:lnTo>
                    <a:lnTo>
                      <a:pt x="1032" y="429"/>
                    </a:lnTo>
                    <a:lnTo>
                      <a:pt x="1032" y="427"/>
                    </a:lnTo>
                    <a:close/>
                    <a:moveTo>
                      <a:pt x="648" y="687"/>
                    </a:moveTo>
                    <a:lnTo>
                      <a:pt x="645" y="687"/>
                    </a:lnTo>
                    <a:lnTo>
                      <a:pt x="646" y="687"/>
                    </a:lnTo>
                    <a:lnTo>
                      <a:pt x="648" y="687"/>
                    </a:lnTo>
                    <a:close/>
                    <a:moveTo>
                      <a:pt x="1135" y="1366"/>
                    </a:moveTo>
                    <a:lnTo>
                      <a:pt x="1137" y="1366"/>
                    </a:lnTo>
                    <a:lnTo>
                      <a:pt x="1135" y="1366"/>
                    </a:lnTo>
                    <a:close/>
                    <a:moveTo>
                      <a:pt x="912" y="1253"/>
                    </a:moveTo>
                    <a:lnTo>
                      <a:pt x="913" y="1253"/>
                    </a:lnTo>
                    <a:lnTo>
                      <a:pt x="913" y="1255"/>
                    </a:lnTo>
                    <a:lnTo>
                      <a:pt x="912" y="1255"/>
                    </a:lnTo>
                    <a:lnTo>
                      <a:pt x="912" y="1253"/>
                    </a:lnTo>
                    <a:close/>
                    <a:moveTo>
                      <a:pt x="524" y="1076"/>
                    </a:moveTo>
                    <a:lnTo>
                      <a:pt x="526" y="1076"/>
                    </a:lnTo>
                    <a:lnTo>
                      <a:pt x="526" y="1080"/>
                    </a:lnTo>
                    <a:lnTo>
                      <a:pt x="524" y="1080"/>
                    </a:lnTo>
                    <a:lnTo>
                      <a:pt x="524" y="1076"/>
                    </a:lnTo>
                    <a:close/>
                    <a:moveTo>
                      <a:pt x="1268" y="1478"/>
                    </a:moveTo>
                    <a:lnTo>
                      <a:pt x="1270" y="1478"/>
                    </a:lnTo>
                    <a:lnTo>
                      <a:pt x="1268" y="1478"/>
                    </a:lnTo>
                    <a:close/>
                    <a:moveTo>
                      <a:pt x="992" y="1400"/>
                    </a:moveTo>
                    <a:lnTo>
                      <a:pt x="994" y="1400"/>
                    </a:lnTo>
                    <a:lnTo>
                      <a:pt x="994" y="1402"/>
                    </a:lnTo>
                    <a:lnTo>
                      <a:pt x="992" y="1402"/>
                    </a:lnTo>
                    <a:lnTo>
                      <a:pt x="992" y="1400"/>
                    </a:lnTo>
                    <a:close/>
                    <a:moveTo>
                      <a:pt x="88" y="1009"/>
                    </a:moveTo>
                    <a:lnTo>
                      <a:pt x="88" y="1011"/>
                    </a:lnTo>
                    <a:lnTo>
                      <a:pt x="88" y="1009"/>
                    </a:lnTo>
                    <a:close/>
                    <a:moveTo>
                      <a:pt x="976" y="1578"/>
                    </a:moveTo>
                    <a:lnTo>
                      <a:pt x="978" y="1578"/>
                    </a:lnTo>
                    <a:lnTo>
                      <a:pt x="978" y="1580"/>
                    </a:lnTo>
                    <a:lnTo>
                      <a:pt x="976" y="1580"/>
                    </a:lnTo>
                    <a:lnTo>
                      <a:pt x="976" y="1578"/>
                    </a:lnTo>
                    <a:close/>
                    <a:moveTo>
                      <a:pt x="1272" y="1484"/>
                    </a:moveTo>
                    <a:lnTo>
                      <a:pt x="1274" y="1484"/>
                    </a:lnTo>
                    <a:lnTo>
                      <a:pt x="1274" y="1486"/>
                    </a:lnTo>
                    <a:lnTo>
                      <a:pt x="1272" y="1486"/>
                    </a:lnTo>
                    <a:lnTo>
                      <a:pt x="1272" y="1484"/>
                    </a:lnTo>
                    <a:close/>
                    <a:moveTo>
                      <a:pt x="912" y="1146"/>
                    </a:moveTo>
                    <a:lnTo>
                      <a:pt x="912" y="1148"/>
                    </a:lnTo>
                    <a:lnTo>
                      <a:pt x="912" y="1146"/>
                    </a:lnTo>
                    <a:close/>
                    <a:moveTo>
                      <a:pt x="1306" y="1511"/>
                    </a:moveTo>
                    <a:lnTo>
                      <a:pt x="1308" y="1511"/>
                    </a:lnTo>
                    <a:lnTo>
                      <a:pt x="1308" y="1513"/>
                    </a:lnTo>
                    <a:lnTo>
                      <a:pt x="1306" y="1513"/>
                    </a:lnTo>
                    <a:lnTo>
                      <a:pt x="1306" y="1511"/>
                    </a:lnTo>
                    <a:close/>
                    <a:moveTo>
                      <a:pt x="892" y="1024"/>
                    </a:moveTo>
                    <a:lnTo>
                      <a:pt x="894" y="1024"/>
                    </a:lnTo>
                    <a:lnTo>
                      <a:pt x="894" y="1026"/>
                    </a:lnTo>
                    <a:lnTo>
                      <a:pt x="892" y="1026"/>
                    </a:lnTo>
                    <a:lnTo>
                      <a:pt x="892" y="1024"/>
                    </a:lnTo>
                    <a:close/>
                    <a:moveTo>
                      <a:pt x="795" y="1017"/>
                    </a:moveTo>
                    <a:lnTo>
                      <a:pt x="797" y="1017"/>
                    </a:lnTo>
                    <a:lnTo>
                      <a:pt x="795" y="1017"/>
                    </a:lnTo>
                    <a:close/>
                    <a:moveTo>
                      <a:pt x="1358" y="1585"/>
                    </a:moveTo>
                    <a:lnTo>
                      <a:pt x="1360" y="1585"/>
                    </a:lnTo>
                    <a:lnTo>
                      <a:pt x="1358" y="1585"/>
                    </a:lnTo>
                    <a:close/>
                    <a:moveTo>
                      <a:pt x="1308" y="1511"/>
                    </a:moveTo>
                    <a:lnTo>
                      <a:pt x="1308" y="1513"/>
                    </a:lnTo>
                    <a:lnTo>
                      <a:pt x="1308" y="1511"/>
                    </a:lnTo>
                    <a:close/>
                    <a:moveTo>
                      <a:pt x="1260" y="1438"/>
                    </a:moveTo>
                    <a:lnTo>
                      <a:pt x="1262" y="1438"/>
                    </a:lnTo>
                    <a:lnTo>
                      <a:pt x="1260" y="1438"/>
                    </a:lnTo>
                    <a:close/>
                    <a:moveTo>
                      <a:pt x="793" y="998"/>
                    </a:moveTo>
                    <a:lnTo>
                      <a:pt x="793" y="999"/>
                    </a:lnTo>
                    <a:lnTo>
                      <a:pt x="793" y="998"/>
                    </a:lnTo>
                    <a:close/>
                    <a:moveTo>
                      <a:pt x="826" y="1175"/>
                    </a:moveTo>
                    <a:lnTo>
                      <a:pt x="828" y="1175"/>
                    </a:lnTo>
                    <a:lnTo>
                      <a:pt x="828" y="1177"/>
                    </a:lnTo>
                    <a:lnTo>
                      <a:pt x="826" y="1177"/>
                    </a:lnTo>
                    <a:lnTo>
                      <a:pt x="826" y="1175"/>
                    </a:lnTo>
                    <a:close/>
                    <a:moveTo>
                      <a:pt x="1226" y="1099"/>
                    </a:moveTo>
                    <a:lnTo>
                      <a:pt x="1228" y="1099"/>
                    </a:lnTo>
                    <a:lnTo>
                      <a:pt x="1228" y="1101"/>
                    </a:lnTo>
                    <a:lnTo>
                      <a:pt x="1226" y="1101"/>
                    </a:lnTo>
                    <a:lnTo>
                      <a:pt x="1226" y="1099"/>
                    </a:lnTo>
                    <a:close/>
                    <a:moveTo>
                      <a:pt x="196" y="1543"/>
                    </a:moveTo>
                    <a:lnTo>
                      <a:pt x="196" y="1545"/>
                    </a:lnTo>
                    <a:lnTo>
                      <a:pt x="196" y="1543"/>
                    </a:lnTo>
                    <a:close/>
                    <a:moveTo>
                      <a:pt x="1163" y="1032"/>
                    </a:moveTo>
                    <a:lnTo>
                      <a:pt x="1165" y="1032"/>
                    </a:lnTo>
                    <a:lnTo>
                      <a:pt x="1165" y="1034"/>
                    </a:lnTo>
                    <a:lnTo>
                      <a:pt x="1163" y="1034"/>
                    </a:lnTo>
                    <a:lnTo>
                      <a:pt x="1163" y="1032"/>
                    </a:lnTo>
                    <a:close/>
                    <a:moveTo>
                      <a:pt x="402" y="532"/>
                    </a:moveTo>
                    <a:lnTo>
                      <a:pt x="404" y="532"/>
                    </a:lnTo>
                    <a:lnTo>
                      <a:pt x="402" y="532"/>
                    </a:lnTo>
                    <a:lnTo>
                      <a:pt x="400" y="530"/>
                    </a:lnTo>
                    <a:lnTo>
                      <a:pt x="402" y="532"/>
                    </a:lnTo>
                    <a:close/>
                    <a:moveTo>
                      <a:pt x="671" y="1066"/>
                    </a:moveTo>
                    <a:lnTo>
                      <a:pt x="673" y="1066"/>
                    </a:lnTo>
                    <a:lnTo>
                      <a:pt x="673" y="1068"/>
                    </a:lnTo>
                    <a:lnTo>
                      <a:pt x="671" y="1068"/>
                    </a:lnTo>
                    <a:lnTo>
                      <a:pt x="671" y="1066"/>
                    </a:lnTo>
                    <a:close/>
                    <a:moveTo>
                      <a:pt x="715" y="1097"/>
                    </a:moveTo>
                    <a:lnTo>
                      <a:pt x="715" y="1099"/>
                    </a:lnTo>
                    <a:lnTo>
                      <a:pt x="715" y="1097"/>
                    </a:lnTo>
                    <a:close/>
                    <a:moveTo>
                      <a:pt x="664" y="608"/>
                    </a:moveTo>
                    <a:lnTo>
                      <a:pt x="666" y="608"/>
                    </a:lnTo>
                    <a:lnTo>
                      <a:pt x="666" y="610"/>
                    </a:lnTo>
                    <a:lnTo>
                      <a:pt x="664" y="610"/>
                    </a:lnTo>
                    <a:lnTo>
                      <a:pt x="664" y="608"/>
                    </a:lnTo>
                    <a:close/>
                    <a:moveTo>
                      <a:pt x="92" y="1007"/>
                    </a:moveTo>
                    <a:lnTo>
                      <a:pt x="93" y="1007"/>
                    </a:lnTo>
                    <a:lnTo>
                      <a:pt x="92" y="1007"/>
                    </a:lnTo>
                    <a:close/>
                    <a:moveTo>
                      <a:pt x="789" y="618"/>
                    </a:moveTo>
                    <a:lnTo>
                      <a:pt x="791" y="618"/>
                    </a:lnTo>
                    <a:lnTo>
                      <a:pt x="791" y="620"/>
                    </a:lnTo>
                    <a:lnTo>
                      <a:pt x="789" y="620"/>
                    </a:lnTo>
                    <a:lnTo>
                      <a:pt x="789" y="618"/>
                    </a:lnTo>
                    <a:close/>
                    <a:moveTo>
                      <a:pt x="690" y="687"/>
                    </a:moveTo>
                    <a:lnTo>
                      <a:pt x="692" y="687"/>
                    </a:lnTo>
                    <a:lnTo>
                      <a:pt x="692" y="690"/>
                    </a:lnTo>
                    <a:lnTo>
                      <a:pt x="690" y="690"/>
                    </a:lnTo>
                    <a:lnTo>
                      <a:pt x="690" y="687"/>
                    </a:lnTo>
                    <a:close/>
                    <a:moveTo>
                      <a:pt x="1089" y="1234"/>
                    </a:moveTo>
                    <a:lnTo>
                      <a:pt x="1091" y="1234"/>
                    </a:lnTo>
                    <a:lnTo>
                      <a:pt x="1089" y="1234"/>
                    </a:lnTo>
                    <a:close/>
                    <a:moveTo>
                      <a:pt x="1213" y="1696"/>
                    </a:moveTo>
                    <a:lnTo>
                      <a:pt x="1215" y="1696"/>
                    </a:lnTo>
                    <a:lnTo>
                      <a:pt x="1213" y="1696"/>
                    </a:lnTo>
                    <a:close/>
                    <a:moveTo>
                      <a:pt x="1247" y="1742"/>
                    </a:moveTo>
                    <a:lnTo>
                      <a:pt x="1249" y="1742"/>
                    </a:lnTo>
                    <a:lnTo>
                      <a:pt x="1247" y="1742"/>
                    </a:lnTo>
                    <a:close/>
                    <a:moveTo>
                      <a:pt x="141" y="994"/>
                    </a:moveTo>
                    <a:lnTo>
                      <a:pt x="137" y="994"/>
                    </a:lnTo>
                    <a:lnTo>
                      <a:pt x="135" y="994"/>
                    </a:lnTo>
                    <a:lnTo>
                      <a:pt x="139" y="994"/>
                    </a:lnTo>
                    <a:lnTo>
                      <a:pt x="141" y="994"/>
                    </a:lnTo>
                    <a:close/>
                    <a:moveTo>
                      <a:pt x="713" y="292"/>
                    </a:moveTo>
                    <a:lnTo>
                      <a:pt x="713" y="295"/>
                    </a:lnTo>
                    <a:lnTo>
                      <a:pt x="713" y="292"/>
                    </a:lnTo>
                    <a:close/>
                    <a:moveTo>
                      <a:pt x="78" y="1034"/>
                    </a:moveTo>
                    <a:lnTo>
                      <a:pt x="80" y="1034"/>
                    </a:lnTo>
                    <a:lnTo>
                      <a:pt x="78" y="1034"/>
                    </a:lnTo>
                    <a:close/>
                    <a:moveTo>
                      <a:pt x="1150" y="1242"/>
                    </a:moveTo>
                    <a:lnTo>
                      <a:pt x="1152" y="1242"/>
                    </a:lnTo>
                    <a:lnTo>
                      <a:pt x="1152" y="1244"/>
                    </a:lnTo>
                    <a:lnTo>
                      <a:pt x="1150" y="1244"/>
                    </a:lnTo>
                    <a:lnTo>
                      <a:pt x="1150" y="1242"/>
                    </a:lnTo>
                    <a:close/>
                    <a:moveTo>
                      <a:pt x="1167" y="1137"/>
                    </a:moveTo>
                    <a:lnTo>
                      <a:pt x="1169" y="1137"/>
                    </a:lnTo>
                    <a:lnTo>
                      <a:pt x="1167" y="1137"/>
                    </a:lnTo>
                    <a:close/>
                    <a:moveTo>
                      <a:pt x="1198" y="1070"/>
                    </a:moveTo>
                    <a:lnTo>
                      <a:pt x="1198" y="1072"/>
                    </a:lnTo>
                    <a:lnTo>
                      <a:pt x="1198" y="1070"/>
                    </a:lnTo>
                    <a:close/>
                    <a:moveTo>
                      <a:pt x="1196" y="1162"/>
                    </a:moveTo>
                    <a:lnTo>
                      <a:pt x="1198" y="1162"/>
                    </a:lnTo>
                    <a:lnTo>
                      <a:pt x="1196" y="1162"/>
                    </a:lnTo>
                    <a:close/>
                    <a:moveTo>
                      <a:pt x="715" y="1083"/>
                    </a:moveTo>
                    <a:lnTo>
                      <a:pt x="715" y="1087"/>
                    </a:lnTo>
                    <a:lnTo>
                      <a:pt x="715" y="1083"/>
                    </a:lnTo>
                    <a:close/>
                    <a:moveTo>
                      <a:pt x="1163" y="1253"/>
                    </a:moveTo>
                    <a:lnTo>
                      <a:pt x="1165" y="1253"/>
                    </a:lnTo>
                    <a:lnTo>
                      <a:pt x="1165" y="1255"/>
                    </a:lnTo>
                    <a:lnTo>
                      <a:pt x="1163" y="1255"/>
                    </a:lnTo>
                    <a:lnTo>
                      <a:pt x="1163" y="1253"/>
                    </a:lnTo>
                    <a:close/>
                    <a:moveTo>
                      <a:pt x="158" y="1522"/>
                    </a:moveTo>
                    <a:lnTo>
                      <a:pt x="160" y="1522"/>
                    </a:lnTo>
                    <a:lnTo>
                      <a:pt x="160" y="1524"/>
                    </a:lnTo>
                    <a:lnTo>
                      <a:pt x="158" y="1524"/>
                    </a:lnTo>
                    <a:lnTo>
                      <a:pt x="158" y="1522"/>
                    </a:lnTo>
                    <a:close/>
                    <a:moveTo>
                      <a:pt x="1072" y="1221"/>
                    </a:moveTo>
                    <a:lnTo>
                      <a:pt x="1074" y="1221"/>
                    </a:lnTo>
                    <a:lnTo>
                      <a:pt x="1072" y="1221"/>
                    </a:lnTo>
                    <a:close/>
                    <a:moveTo>
                      <a:pt x="1211" y="1076"/>
                    </a:moveTo>
                    <a:lnTo>
                      <a:pt x="1213" y="1076"/>
                    </a:lnTo>
                    <a:lnTo>
                      <a:pt x="1213" y="1078"/>
                    </a:lnTo>
                    <a:lnTo>
                      <a:pt x="1211" y="1078"/>
                    </a:lnTo>
                    <a:lnTo>
                      <a:pt x="1211" y="1076"/>
                    </a:lnTo>
                    <a:close/>
                    <a:moveTo>
                      <a:pt x="984" y="1467"/>
                    </a:moveTo>
                    <a:lnTo>
                      <a:pt x="986" y="1467"/>
                    </a:lnTo>
                    <a:lnTo>
                      <a:pt x="986" y="1469"/>
                    </a:lnTo>
                    <a:lnTo>
                      <a:pt x="984" y="1469"/>
                    </a:lnTo>
                    <a:lnTo>
                      <a:pt x="984" y="1467"/>
                    </a:lnTo>
                    <a:close/>
                    <a:moveTo>
                      <a:pt x="435" y="484"/>
                    </a:moveTo>
                    <a:lnTo>
                      <a:pt x="437" y="484"/>
                    </a:lnTo>
                    <a:lnTo>
                      <a:pt x="437" y="486"/>
                    </a:lnTo>
                    <a:lnTo>
                      <a:pt x="435" y="486"/>
                    </a:lnTo>
                    <a:lnTo>
                      <a:pt x="435" y="484"/>
                    </a:lnTo>
                    <a:close/>
                    <a:moveTo>
                      <a:pt x="1062" y="1213"/>
                    </a:moveTo>
                    <a:lnTo>
                      <a:pt x="1064" y="1213"/>
                    </a:lnTo>
                    <a:lnTo>
                      <a:pt x="1062" y="1213"/>
                    </a:lnTo>
                    <a:close/>
                    <a:moveTo>
                      <a:pt x="635" y="845"/>
                    </a:moveTo>
                    <a:lnTo>
                      <a:pt x="637" y="845"/>
                    </a:lnTo>
                    <a:lnTo>
                      <a:pt x="637" y="847"/>
                    </a:lnTo>
                    <a:lnTo>
                      <a:pt x="635" y="847"/>
                    </a:lnTo>
                    <a:lnTo>
                      <a:pt x="635" y="845"/>
                    </a:lnTo>
                    <a:close/>
                    <a:moveTo>
                      <a:pt x="883" y="549"/>
                    </a:moveTo>
                    <a:lnTo>
                      <a:pt x="885" y="549"/>
                    </a:lnTo>
                    <a:lnTo>
                      <a:pt x="885" y="551"/>
                    </a:lnTo>
                    <a:lnTo>
                      <a:pt x="883" y="551"/>
                    </a:lnTo>
                    <a:lnTo>
                      <a:pt x="883" y="549"/>
                    </a:lnTo>
                    <a:close/>
                    <a:moveTo>
                      <a:pt x="105" y="996"/>
                    </a:moveTo>
                    <a:lnTo>
                      <a:pt x="107" y="996"/>
                    </a:lnTo>
                    <a:lnTo>
                      <a:pt x="105" y="996"/>
                    </a:lnTo>
                    <a:close/>
                    <a:moveTo>
                      <a:pt x="801" y="1019"/>
                    </a:moveTo>
                    <a:lnTo>
                      <a:pt x="801" y="1020"/>
                    </a:lnTo>
                    <a:lnTo>
                      <a:pt x="801" y="1019"/>
                    </a:lnTo>
                    <a:close/>
                    <a:moveTo>
                      <a:pt x="1173" y="1160"/>
                    </a:moveTo>
                    <a:lnTo>
                      <a:pt x="1173" y="1162"/>
                    </a:lnTo>
                    <a:lnTo>
                      <a:pt x="1173" y="1160"/>
                    </a:lnTo>
                    <a:close/>
                    <a:moveTo>
                      <a:pt x="725" y="669"/>
                    </a:moveTo>
                    <a:lnTo>
                      <a:pt x="727" y="669"/>
                    </a:lnTo>
                    <a:lnTo>
                      <a:pt x="727" y="671"/>
                    </a:lnTo>
                    <a:lnTo>
                      <a:pt x="725" y="671"/>
                    </a:lnTo>
                    <a:lnTo>
                      <a:pt x="725" y="669"/>
                    </a:lnTo>
                    <a:close/>
                    <a:moveTo>
                      <a:pt x="515" y="1076"/>
                    </a:moveTo>
                    <a:lnTo>
                      <a:pt x="517" y="1076"/>
                    </a:lnTo>
                    <a:lnTo>
                      <a:pt x="517" y="1078"/>
                    </a:lnTo>
                    <a:lnTo>
                      <a:pt x="515" y="1078"/>
                    </a:lnTo>
                    <a:lnTo>
                      <a:pt x="515" y="1076"/>
                    </a:lnTo>
                    <a:close/>
                    <a:moveTo>
                      <a:pt x="475" y="847"/>
                    </a:moveTo>
                    <a:lnTo>
                      <a:pt x="477" y="847"/>
                    </a:lnTo>
                    <a:lnTo>
                      <a:pt x="477" y="849"/>
                    </a:lnTo>
                    <a:lnTo>
                      <a:pt x="475" y="849"/>
                    </a:lnTo>
                    <a:lnTo>
                      <a:pt x="475" y="847"/>
                    </a:lnTo>
                    <a:close/>
                    <a:moveTo>
                      <a:pt x="595" y="650"/>
                    </a:moveTo>
                    <a:lnTo>
                      <a:pt x="599" y="650"/>
                    </a:lnTo>
                    <a:lnTo>
                      <a:pt x="595" y="650"/>
                    </a:lnTo>
                    <a:close/>
                    <a:moveTo>
                      <a:pt x="1375" y="1654"/>
                    </a:moveTo>
                    <a:lnTo>
                      <a:pt x="1375" y="1656"/>
                    </a:lnTo>
                    <a:lnTo>
                      <a:pt x="1375" y="1654"/>
                    </a:lnTo>
                    <a:close/>
                    <a:moveTo>
                      <a:pt x="1024" y="1461"/>
                    </a:moveTo>
                    <a:lnTo>
                      <a:pt x="1026" y="1461"/>
                    </a:lnTo>
                    <a:lnTo>
                      <a:pt x="1026" y="1463"/>
                    </a:lnTo>
                    <a:lnTo>
                      <a:pt x="1024" y="1463"/>
                    </a:lnTo>
                    <a:lnTo>
                      <a:pt x="1024" y="1461"/>
                    </a:lnTo>
                    <a:close/>
                    <a:moveTo>
                      <a:pt x="1354" y="1578"/>
                    </a:moveTo>
                    <a:lnTo>
                      <a:pt x="1354" y="1580"/>
                    </a:lnTo>
                    <a:lnTo>
                      <a:pt x="1354" y="1578"/>
                    </a:lnTo>
                    <a:close/>
                    <a:moveTo>
                      <a:pt x="1138" y="1690"/>
                    </a:moveTo>
                    <a:lnTo>
                      <a:pt x="1140" y="1690"/>
                    </a:lnTo>
                    <a:lnTo>
                      <a:pt x="1140" y="1692"/>
                    </a:lnTo>
                    <a:lnTo>
                      <a:pt x="1138" y="1692"/>
                    </a:lnTo>
                    <a:lnTo>
                      <a:pt x="1138" y="1690"/>
                    </a:lnTo>
                    <a:close/>
                    <a:moveTo>
                      <a:pt x="1180" y="1183"/>
                    </a:moveTo>
                    <a:lnTo>
                      <a:pt x="1182" y="1183"/>
                    </a:lnTo>
                    <a:lnTo>
                      <a:pt x="1182" y="1185"/>
                    </a:lnTo>
                    <a:lnTo>
                      <a:pt x="1180" y="1185"/>
                    </a:lnTo>
                    <a:lnTo>
                      <a:pt x="1180" y="1183"/>
                    </a:lnTo>
                    <a:close/>
                    <a:moveTo>
                      <a:pt x="113" y="1015"/>
                    </a:moveTo>
                    <a:lnTo>
                      <a:pt x="111" y="1017"/>
                    </a:lnTo>
                    <a:lnTo>
                      <a:pt x="113" y="1015"/>
                    </a:lnTo>
                    <a:lnTo>
                      <a:pt x="114" y="1015"/>
                    </a:lnTo>
                    <a:lnTo>
                      <a:pt x="113" y="1015"/>
                    </a:lnTo>
                    <a:close/>
                    <a:moveTo>
                      <a:pt x="1245" y="1408"/>
                    </a:moveTo>
                    <a:lnTo>
                      <a:pt x="1245" y="1410"/>
                    </a:lnTo>
                    <a:lnTo>
                      <a:pt x="1245" y="1408"/>
                    </a:lnTo>
                    <a:close/>
                    <a:moveTo>
                      <a:pt x="1297" y="1629"/>
                    </a:moveTo>
                    <a:lnTo>
                      <a:pt x="1299" y="1629"/>
                    </a:lnTo>
                    <a:lnTo>
                      <a:pt x="1297" y="1629"/>
                    </a:lnTo>
                    <a:close/>
                    <a:moveTo>
                      <a:pt x="988" y="1398"/>
                    </a:moveTo>
                    <a:lnTo>
                      <a:pt x="990" y="1398"/>
                    </a:lnTo>
                    <a:lnTo>
                      <a:pt x="990" y="1400"/>
                    </a:lnTo>
                    <a:lnTo>
                      <a:pt x="988" y="1400"/>
                    </a:lnTo>
                    <a:lnTo>
                      <a:pt x="988" y="1398"/>
                    </a:lnTo>
                    <a:close/>
                    <a:moveTo>
                      <a:pt x="509" y="843"/>
                    </a:moveTo>
                    <a:lnTo>
                      <a:pt x="511" y="843"/>
                    </a:lnTo>
                    <a:lnTo>
                      <a:pt x="511" y="845"/>
                    </a:lnTo>
                    <a:lnTo>
                      <a:pt x="509" y="845"/>
                    </a:lnTo>
                    <a:lnTo>
                      <a:pt x="509" y="843"/>
                    </a:lnTo>
                    <a:close/>
                    <a:moveTo>
                      <a:pt x="1198" y="1389"/>
                    </a:moveTo>
                    <a:lnTo>
                      <a:pt x="1198" y="1391"/>
                    </a:lnTo>
                    <a:lnTo>
                      <a:pt x="1198" y="1389"/>
                    </a:lnTo>
                    <a:close/>
                    <a:moveTo>
                      <a:pt x="1014" y="1490"/>
                    </a:moveTo>
                    <a:lnTo>
                      <a:pt x="1016" y="1490"/>
                    </a:lnTo>
                    <a:lnTo>
                      <a:pt x="1016" y="1492"/>
                    </a:lnTo>
                    <a:lnTo>
                      <a:pt x="1014" y="1492"/>
                    </a:lnTo>
                    <a:lnTo>
                      <a:pt x="1014" y="1490"/>
                    </a:lnTo>
                    <a:close/>
                    <a:moveTo>
                      <a:pt x="1388" y="1715"/>
                    </a:moveTo>
                    <a:lnTo>
                      <a:pt x="1390" y="1715"/>
                    </a:lnTo>
                    <a:lnTo>
                      <a:pt x="1390" y="1717"/>
                    </a:lnTo>
                    <a:lnTo>
                      <a:pt x="1388" y="1717"/>
                    </a:lnTo>
                    <a:lnTo>
                      <a:pt x="1388" y="1715"/>
                    </a:lnTo>
                    <a:close/>
                    <a:moveTo>
                      <a:pt x="1167" y="1162"/>
                    </a:moveTo>
                    <a:lnTo>
                      <a:pt x="1169" y="1162"/>
                    </a:lnTo>
                    <a:lnTo>
                      <a:pt x="1167" y="1162"/>
                    </a:lnTo>
                    <a:close/>
                    <a:moveTo>
                      <a:pt x="795" y="1001"/>
                    </a:moveTo>
                    <a:lnTo>
                      <a:pt x="797" y="1001"/>
                    </a:lnTo>
                    <a:lnTo>
                      <a:pt x="797" y="1003"/>
                    </a:lnTo>
                    <a:lnTo>
                      <a:pt x="795" y="1003"/>
                    </a:lnTo>
                    <a:lnTo>
                      <a:pt x="795" y="1001"/>
                    </a:lnTo>
                    <a:close/>
                    <a:moveTo>
                      <a:pt x="885" y="1026"/>
                    </a:moveTo>
                    <a:lnTo>
                      <a:pt x="887" y="1026"/>
                    </a:lnTo>
                    <a:lnTo>
                      <a:pt x="887" y="1028"/>
                    </a:lnTo>
                    <a:lnTo>
                      <a:pt x="885" y="1028"/>
                    </a:lnTo>
                    <a:lnTo>
                      <a:pt x="885" y="1026"/>
                    </a:lnTo>
                    <a:close/>
                    <a:moveTo>
                      <a:pt x="889" y="1036"/>
                    </a:moveTo>
                    <a:lnTo>
                      <a:pt x="891" y="1036"/>
                    </a:lnTo>
                    <a:lnTo>
                      <a:pt x="891" y="1038"/>
                    </a:lnTo>
                    <a:lnTo>
                      <a:pt x="889" y="1038"/>
                    </a:lnTo>
                    <a:lnTo>
                      <a:pt x="889" y="1036"/>
                    </a:lnTo>
                    <a:close/>
                    <a:moveTo>
                      <a:pt x="519" y="854"/>
                    </a:moveTo>
                    <a:lnTo>
                      <a:pt x="521" y="854"/>
                    </a:lnTo>
                    <a:lnTo>
                      <a:pt x="521" y="856"/>
                    </a:lnTo>
                    <a:lnTo>
                      <a:pt x="519" y="856"/>
                    </a:lnTo>
                    <a:lnTo>
                      <a:pt x="519" y="854"/>
                    </a:lnTo>
                    <a:close/>
                    <a:moveTo>
                      <a:pt x="406" y="954"/>
                    </a:moveTo>
                    <a:lnTo>
                      <a:pt x="408" y="954"/>
                    </a:lnTo>
                    <a:lnTo>
                      <a:pt x="408" y="956"/>
                    </a:lnTo>
                    <a:lnTo>
                      <a:pt x="406" y="956"/>
                    </a:lnTo>
                    <a:lnTo>
                      <a:pt x="406" y="954"/>
                    </a:lnTo>
                    <a:close/>
                    <a:moveTo>
                      <a:pt x="723" y="1013"/>
                    </a:moveTo>
                    <a:lnTo>
                      <a:pt x="723" y="1015"/>
                    </a:lnTo>
                    <a:lnTo>
                      <a:pt x="723" y="1013"/>
                    </a:lnTo>
                    <a:close/>
                    <a:moveTo>
                      <a:pt x="513" y="717"/>
                    </a:moveTo>
                    <a:lnTo>
                      <a:pt x="515" y="717"/>
                    </a:lnTo>
                    <a:lnTo>
                      <a:pt x="515" y="719"/>
                    </a:lnTo>
                    <a:lnTo>
                      <a:pt x="513" y="719"/>
                    </a:lnTo>
                    <a:lnTo>
                      <a:pt x="513" y="717"/>
                    </a:lnTo>
                    <a:close/>
                    <a:moveTo>
                      <a:pt x="780" y="1269"/>
                    </a:moveTo>
                    <a:lnTo>
                      <a:pt x="782" y="1269"/>
                    </a:lnTo>
                    <a:lnTo>
                      <a:pt x="782" y="1270"/>
                    </a:lnTo>
                    <a:lnTo>
                      <a:pt x="780" y="1270"/>
                    </a:lnTo>
                    <a:lnTo>
                      <a:pt x="780" y="1269"/>
                    </a:lnTo>
                    <a:close/>
                    <a:moveTo>
                      <a:pt x="174" y="1536"/>
                    </a:moveTo>
                    <a:lnTo>
                      <a:pt x="174" y="1538"/>
                    </a:lnTo>
                    <a:lnTo>
                      <a:pt x="174" y="1536"/>
                    </a:lnTo>
                    <a:close/>
                    <a:moveTo>
                      <a:pt x="650" y="832"/>
                    </a:moveTo>
                    <a:lnTo>
                      <a:pt x="652" y="832"/>
                    </a:lnTo>
                    <a:lnTo>
                      <a:pt x="652" y="833"/>
                    </a:lnTo>
                    <a:lnTo>
                      <a:pt x="650" y="833"/>
                    </a:lnTo>
                    <a:lnTo>
                      <a:pt x="650" y="832"/>
                    </a:lnTo>
                    <a:close/>
                    <a:moveTo>
                      <a:pt x="721" y="1049"/>
                    </a:moveTo>
                    <a:lnTo>
                      <a:pt x="723" y="1049"/>
                    </a:lnTo>
                    <a:lnTo>
                      <a:pt x="723" y="1051"/>
                    </a:lnTo>
                    <a:lnTo>
                      <a:pt x="721" y="1051"/>
                    </a:lnTo>
                    <a:lnTo>
                      <a:pt x="721" y="1049"/>
                    </a:lnTo>
                    <a:close/>
                    <a:moveTo>
                      <a:pt x="898" y="435"/>
                    </a:moveTo>
                    <a:lnTo>
                      <a:pt x="900" y="435"/>
                    </a:lnTo>
                    <a:lnTo>
                      <a:pt x="900" y="437"/>
                    </a:lnTo>
                    <a:lnTo>
                      <a:pt x="898" y="437"/>
                    </a:lnTo>
                    <a:lnTo>
                      <a:pt x="898" y="435"/>
                    </a:lnTo>
                    <a:close/>
                    <a:moveTo>
                      <a:pt x="789" y="990"/>
                    </a:moveTo>
                    <a:lnTo>
                      <a:pt x="791" y="990"/>
                    </a:lnTo>
                    <a:lnTo>
                      <a:pt x="791" y="992"/>
                    </a:lnTo>
                    <a:lnTo>
                      <a:pt x="789" y="992"/>
                    </a:lnTo>
                    <a:lnTo>
                      <a:pt x="789" y="990"/>
                    </a:lnTo>
                    <a:close/>
                    <a:moveTo>
                      <a:pt x="1077" y="1225"/>
                    </a:moveTo>
                    <a:lnTo>
                      <a:pt x="1079" y="1225"/>
                    </a:lnTo>
                    <a:lnTo>
                      <a:pt x="1077" y="1225"/>
                    </a:lnTo>
                    <a:close/>
                    <a:moveTo>
                      <a:pt x="1177" y="1179"/>
                    </a:moveTo>
                    <a:lnTo>
                      <a:pt x="1178" y="1179"/>
                    </a:lnTo>
                    <a:lnTo>
                      <a:pt x="1178" y="1181"/>
                    </a:lnTo>
                    <a:lnTo>
                      <a:pt x="1177" y="1181"/>
                    </a:lnTo>
                    <a:lnTo>
                      <a:pt x="1177" y="1179"/>
                    </a:lnTo>
                    <a:close/>
                    <a:moveTo>
                      <a:pt x="505" y="1062"/>
                    </a:moveTo>
                    <a:lnTo>
                      <a:pt x="505" y="1064"/>
                    </a:lnTo>
                    <a:lnTo>
                      <a:pt x="505" y="1062"/>
                    </a:lnTo>
                    <a:close/>
                    <a:moveTo>
                      <a:pt x="1022" y="1477"/>
                    </a:moveTo>
                    <a:lnTo>
                      <a:pt x="1024" y="1477"/>
                    </a:lnTo>
                    <a:lnTo>
                      <a:pt x="1024" y="1478"/>
                    </a:lnTo>
                    <a:lnTo>
                      <a:pt x="1022" y="1478"/>
                    </a:lnTo>
                    <a:lnTo>
                      <a:pt x="1022" y="1477"/>
                    </a:lnTo>
                    <a:close/>
                    <a:moveTo>
                      <a:pt x="1262" y="1467"/>
                    </a:moveTo>
                    <a:lnTo>
                      <a:pt x="1264" y="1467"/>
                    </a:lnTo>
                    <a:lnTo>
                      <a:pt x="1262" y="1467"/>
                    </a:lnTo>
                    <a:close/>
                    <a:moveTo>
                      <a:pt x="1180" y="1181"/>
                    </a:moveTo>
                    <a:lnTo>
                      <a:pt x="1180" y="1183"/>
                    </a:lnTo>
                    <a:lnTo>
                      <a:pt x="1180" y="1181"/>
                    </a:lnTo>
                    <a:close/>
                    <a:moveTo>
                      <a:pt x="1213" y="1347"/>
                    </a:moveTo>
                    <a:lnTo>
                      <a:pt x="1215" y="1347"/>
                    </a:lnTo>
                    <a:lnTo>
                      <a:pt x="1215" y="1349"/>
                    </a:lnTo>
                    <a:lnTo>
                      <a:pt x="1213" y="1349"/>
                    </a:lnTo>
                    <a:lnTo>
                      <a:pt x="1213" y="1347"/>
                    </a:lnTo>
                    <a:close/>
                    <a:moveTo>
                      <a:pt x="1388" y="1669"/>
                    </a:moveTo>
                    <a:lnTo>
                      <a:pt x="1390" y="1669"/>
                    </a:lnTo>
                    <a:lnTo>
                      <a:pt x="1390" y="1671"/>
                    </a:lnTo>
                    <a:lnTo>
                      <a:pt x="1388" y="1671"/>
                    </a:lnTo>
                    <a:lnTo>
                      <a:pt x="1388" y="1669"/>
                    </a:lnTo>
                    <a:close/>
                    <a:moveTo>
                      <a:pt x="809" y="1059"/>
                    </a:moveTo>
                    <a:lnTo>
                      <a:pt x="810" y="1059"/>
                    </a:lnTo>
                    <a:lnTo>
                      <a:pt x="810" y="1061"/>
                    </a:lnTo>
                    <a:lnTo>
                      <a:pt x="809" y="1061"/>
                    </a:lnTo>
                    <a:lnTo>
                      <a:pt x="809" y="1059"/>
                    </a:lnTo>
                    <a:close/>
                    <a:moveTo>
                      <a:pt x="465" y="1061"/>
                    </a:moveTo>
                    <a:lnTo>
                      <a:pt x="467" y="1061"/>
                    </a:lnTo>
                    <a:lnTo>
                      <a:pt x="467" y="1062"/>
                    </a:lnTo>
                    <a:lnTo>
                      <a:pt x="465" y="1062"/>
                    </a:lnTo>
                    <a:lnTo>
                      <a:pt x="465" y="1061"/>
                    </a:lnTo>
                    <a:close/>
                    <a:moveTo>
                      <a:pt x="711" y="725"/>
                    </a:moveTo>
                    <a:lnTo>
                      <a:pt x="711" y="727"/>
                    </a:lnTo>
                    <a:lnTo>
                      <a:pt x="711" y="725"/>
                    </a:lnTo>
                    <a:close/>
                    <a:moveTo>
                      <a:pt x="1188" y="1776"/>
                    </a:moveTo>
                    <a:lnTo>
                      <a:pt x="1188" y="1778"/>
                    </a:lnTo>
                    <a:lnTo>
                      <a:pt x="1188" y="1776"/>
                    </a:lnTo>
                    <a:close/>
                    <a:moveTo>
                      <a:pt x="420" y="1038"/>
                    </a:moveTo>
                    <a:lnTo>
                      <a:pt x="421" y="1038"/>
                    </a:lnTo>
                    <a:lnTo>
                      <a:pt x="420" y="1038"/>
                    </a:lnTo>
                    <a:close/>
                    <a:moveTo>
                      <a:pt x="461" y="662"/>
                    </a:moveTo>
                    <a:lnTo>
                      <a:pt x="463" y="662"/>
                    </a:lnTo>
                    <a:lnTo>
                      <a:pt x="463" y="664"/>
                    </a:lnTo>
                    <a:lnTo>
                      <a:pt x="461" y="664"/>
                    </a:lnTo>
                    <a:lnTo>
                      <a:pt x="461" y="662"/>
                    </a:lnTo>
                    <a:close/>
                    <a:moveTo>
                      <a:pt x="812" y="1022"/>
                    </a:moveTo>
                    <a:lnTo>
                      <a:pt x="814" y="1022"/>
                    </a:lnTo>
                    <a:lnTo>
                      <a:pt x="812" y="1022"/>
                    </a:lnTo>
                    <a:close/>
                    <a:moveTo>
                      <a:pt x="425" y="1078"/>
                    </a:moveTo>
                    <a:lnTo>
                      <a:pt x="427" y="1078"/>
                    </a:lnTo>
                    <a:lnTo>
                      <a:pt x="427" y="1080"/>
                    </a:lnTo>
                    <a:lnTo>
                      <a:pt x="425" y="1080"/>
                    </a:lnTo>
                    <a:lnTo>
                      <a:pt x="425" y="1078"/>
                    </a:lnTo>
                    <a:close/>
                    <a:moveTo>
                      <a:pt x="936" y="998"/>
                    </a:moveTo>
                    <a:lnTo>
                      <a:pt x="938" y="998"/>
                    </a:lnTo>
                    <a:lnTo>
                      <a:pt x="938" y="999"/>
                    </a:lnTo>
                    <a:lnTo>
                      <a:pt x="936" y="999"/>
                    </a:lnTo>
                    <a:lnTo>
                      <a:pt x="936" y="998"/>
                    </a:lnTo>
                    <a:close/>
                    <a:moveTo>
                      <a:pt x="566" y="1041"/>
                    </a:moveTo>
                    <a:lnTo>
                      <a:pt x="568" y="1041"/>
                    </a:lnTo>
                    <a:lnTo>
                      <a:pt x="568" y="1043"/>
                    </a:lnTo>
                    <a:lnTo>
                      <a:pt x="566" y="1043"/>
                    </a:lnTo>
                    <a:lnTo>
                      <a:pt x="566" y="1041"/>
                    </a:lnTo>
                    <a:close/>
                    <a:moveTo>
                      <a:pt x="728" y="629"/>
                    </a:moveTo>
                    <a:lnTo>
                      <a:pt x="728" y="631"/>
                    </a:lnTo>
                    <a:lnTo>
                      <a:pt x="728" y="629"/>
                    </a:lnTo>
                    <a:close/>
                    <a:moveTo>
                      <a:pt x="1190" y="1064"/>
                    </a:moveTo>
                    <a:lnTo>
                      <a:pt x="1190" y="1066"/>
                    </a:lnTo>
                    <a:lnTo>
                      <a:pt x="1190" y="1064"/>
                    </a:lnTo>
                    <a:close/>
                    <a:moveTo>
                      <a:pt x="1388" y="1677"/>
                    </a:moveTo>
                    <a:lnTo>
                      <a:pt x="1390" y="1677"/>
                    </a:lnTo>
                    <a:lnTo>
                      <a:pt x="1388" y="1677"/>
                    </a:lnTo>
                    <a:close/>
                    <a:moveTo>
                      <a:pt x="498" y="1076"/>
                    </a:moveTo>
                    <a:lnTo>
                      <a:pt x="500" y="1076"/>
                    </a:lnTo>
                    <a:lnTo>
                      <a:pt x="500" y="1078"/>
                    </a:lnTo>
                    <a:lnTo>
                      <a:pt x="498" y="1078"/>
                    </a:lnTo>
                    <a:lnTo>
                      <a:pt x="498" y="1076"/>
                    </a:lnTo>
                    <a:close/>
                    <a:moveTo>
                      <a:pt x="509" y="1076"/>
                    </a:moveTo>
                    <a:lnTo>
                      <a:pt x="511" y="1076"/>
                    </a:lnTo>
                    <a:lnTo>
                      <a:pt x="511" y="1078"/>
                    </a:lnTo>
                    <a:lnTo>
                      <a:pt x="509" y="1078"/>
                    </a:lnTo>
                    <a:lnTo>
                      <a:pt x="509" y="1076"/>
                    </a:lnTo>
                    <a:close/>
                    <a:moveTo>
                      <a:pt x="433" y="1078"/>
                    </a:moveTo>
                    <a:lnTo>
                      <a:pt x="435" y="1078"/>
                    </a:lnTo>
                    <a:lnTo>
                      <a:pt x="435" y="1080"/>
                    </a:lnTo>
                    <a:lnTo>
                      <a:pt x="433" y="1080"/>
                    </a:lnTo>
                    <a:lnTo>
                      <a:pt x="433" y="1078"/>
                    </a:lnTo>
                    <a:close/>
                    <a:moveTo>
                      <a:pt x="1325" y="1606"/>
                    </a:moveTo>
                    <a:lnTo>
                      <a:pt x="1325" y="1608"/>
                    </a:lnTo>
                    <a:lnTo>
                      <a:pt x="1325" y="1606"/>
                    </a:lnTo>
                    <a:close/>
                    <a:moveTo>
                      <a:pt x="992" y="1406"/>
                    </a:moveTo>
                    <a:lnTo>
                      <a:pt x="994" y="1406"/>
                    </a:lnTo>
                    <a:lnTo>
                      <a:pt x="994" y="1408"/>
                    </a:lnTo>
                    <a:lnTo>
                      <a:pt x="992" y="1408"/>
                    </a:lnTo>
                    <a:lnTo>
                      <a:pt x="992" y="1406"/>
                    </a:lnTo>
                    <a:close/>
                    <a:moveTo>
                      <a:pt x="1247" y="1112"/>
                    </a:moveTo>
                    <a:lnTo>
                      <a:pt x="1249" y="1112"/>
                    </a:lnTo>
                    <a:lnTo>
                      <a:pt x="1249" y="1114"/>
                    </a:lnTo>
                    <a:lnTo>
                      <a:pt x="1247" y="1114"/>
                    </a:lnTo>
                    <a:lnTo>
                      <a:pt x="1247" y="1112"/>
                    </a:lnTo>
                    <a:close/>
                    <a:moveTo>
                      <a:pt x="805" y="1003"/>
                    </a:moveTo>
                    <a:lnTo>
                      <a:pt x="807" y="1003"/>
                    </a:lnTo>
                    <a:lnTo>
                      <a:pt x="807" y="1005"/>
                    </a:lnTo>
                    <a:lnTo>
                      <a:pt x="805" y="1005"/>
                    </a:lnTo>
                    <a:lnTo>
                      <a:pt x="805" y="1003"/>
                    </a:lnTo>
                    <a:close/>
                    <a:moveTo>
                      <a:pt x="896" y="1169"/>
                    </a:moveTo>
                    <a:lnTo>
                      <a:pt x="898" y="1169"/>
                    </a:lnTo>
                    <a:lnTo>
                      <a:pt x="898" y="1171"/>
                    </a:lnTo>
                    <a:lnTo>
                      <a:pt x="896" y="1171"/>
                    </a:lnTo>
                    <a:lnTo>
                      <a:pt x="896" y="1169"/>
                    </a:lnTo>
                    <a:close/>
                    <a:moveTo>
                      <a:pt x="707" y="610"/>
                    </a:moveTo>
                    <a:lnTo>
                      <a:pt x="709" y="610"/>
                    </a:lnTo>
                    <a:lnTo>
                      <a:pt x="707" y="610"/>
                    </a:lnTo>
                    <a:close/>
                    <a:moveTo>
                      <a:pt x="896" y="1721"/>
                    </a:moveTo>
                    <a:lnTo>
                      <a:pt x="896" y="1723"/>
                    </a:lnTo>
                    <a:lnTo>
                      <a:pt x="896" y="1721"/>
                    </a:lnTo>
                    <a:close/>
                    <a:moveTo>
                      <a:pt x="793" y="999"/>
                    </a:moveTo>
                    <a:lnTo>
                      <a:pt x="795" y="999"/>
                    </a:lnTo>
                    <a:lnTo>
                      <a:pt x="793" y="999"/>
                    </a:lnTo>
                    <a:close/>
                    <a:moveTo>
                      <a:pt x="1055" y="1200"/>
                    </a:moveTo>
                    <a:lnTo>
                      <a:pt x="1055" y="1202"/>
                    </a:lnTo>
                    <a:lnTo>
                      <a:pt x="1055" y="1200"/>
                    </a:lnTo>
                    <a:close/>
                    <a:moveTo>
                      <a:pt x="982" y="1599"/>
                    </a:moveTo>
                    <a:lnTo>
                      <a:pt x="984" y="1599"/>
                    </a:lnTo>
                    <a:lnTo>
                      <a:pt x="982" y="1599"/>
                    </a:lnTo>
                    <a:close/>
                    <a:moveTo>
                      <a:pt x="778" y="404"/>
                    </a:moveTo>
                    <a:lnTo>
                      <a:pt x="782" y="404"/>
                    </a:lnTo>
                    <a:lnTo>
                      <a:pt x="778" y="404"/>
                    </a:lnTo>
                    <a:close/>
                    <a:moveTo>
                      <a:pt x="1388" y="1667"/>
                    </a:moveTo>
                    <a:lnTo>
                      <a:pt x="1388" y="1669"/>
                    </a:lnTo>
                    <a:lnTo>
                      <a:pt x="1388" y="1667"/>
                    </a:lnTo>
                    <a:close/>
                    <a:moveTo>
                      <a:pt x="408" y="954"/>
                    </a:moveTo>
                    <a:lnTo>
                      <a:pt x="410" y="954"/>
                    </a:lnTo>
                    <a:lnTo>
                      <a:pt x="410" y="956"/>
                    </a:lnTo>
                    <a:lnTo>
                      <a:pt x="408" y="956"/>
                    </a:lnTo>
                    <a:lnTo>
                      <a:pt x="408" y="954"/>
                    </a:lnTo>
                    <a:close/>
                    <a:moveTo>
                      <a:pt x="645" y="1076"/>
                    </a:moveTo>
                    <a:lnTo>
                      <a:pt x="646" y="1076"/>
                    </a:lnTo>
                    <a:lnTo>
                      <a:pt x="646" y="1078"/>
                    </a:lnTo>
                    <a:lnTo>
                      <a:pt x="645" y="1078"/>
                    </a:lnTo>
                    <a:lnTo>
                      <a:pt x="645" y="1076"/>
                    </a:lnTo>
                    <a:close/>
                    <a:moveTo>
                      <a:pt x="534" y="812"/>
                    </a:moveTo>
                    <a:lnTo>
                      <a:pt x="536" y="812"/>
                    </a:lnTo>
                    <a:lnTo>
                      <a:pt x="534" y="812"/>
                    </a:lnTo>
                    <a:close/>
                    <a:moveTo>
                      <a:pt x="887" y="1024"/>
                    </a:moveTo>
                    <a:lnTo>
                      <a:pt x="889" y="1024"/>
                    </a:lnTo>
                    <a:lnTo>
                      <a:pt x="889" y="1026"/>
                    </a:lnTo>
                    <a:lnTo>
                      <a:pt x="887" y="1026"/>
                    </a:lnTo>
                    <a:lnTo>
                      <a:pt x="887" y="1024"/>
                    </a:lnTo>
                    <a:close/>
                    <a:moveTo>
                      <a:pt x="757" y="1303"/>
                    </a:moveTo>
                    <a:lnTo>
                      <a:pt x="759" y="1303"/>
                    </a:lnTo>
                    <a:lnTo>
                      <a:pt x="759" y="1305"/>
                    </a:lnTo>
                    <a:lnTo>
                      <a:pt x="757" y="1305"/>
                    </a:lnTo>
                    <a:lnTo>
                      <a:pt x="757" y="1303"/>
                    </a:lnTo>
                    <a:close/>
                    <a:moveTo>
                      <a:pt x="1268" y="1457"/>
                    </a:moveTo>
                    <a:lnTo>
                      <a:pt x="1270" y="1457"/>
                    </a:lnTo>
                    <a:lnTo>
                      <a:pt x="1270" y="1459"/>
                    </a:lnTo>
                    <a:lnTo>
                      <a:pt x="1268" y="1459"/>
                    </a:lnTo>
                    <a:lnTo>
                      <a:pt x="1268" y="1457"/>
                    </a:lnTo>
                    <a:close/>
                    <a:moveTo>
                      <a:pt x="149" y="1572"/>
                    </a:moveTo>
                    <a:lnTo>
                      <a:pt x="149" y="1574"/>
                    </a:lnTo>
                    <a:lnTo>
                      <a:pt x="149" y="1572"/>
                    </a:lnTo>
                    <a:close/>
                    <a:moveTo>
                      <a:pt x="467" y="967"/>
                    </a:moveTo>
                    <a:lnTo>
                      <a:pt x="469" y="967"/>
                    </a:lnTo>
                    <a:lnTo>
                      <a:pt x="467" y="967"/>
                    </a:lnTo>
                    <a:close/>
                    <a:moveTo>
                      <a:pt x="1381" y="1700"/>
                    </a:moveTo>
                    <a:lnTo>
                      <a:pt x="1383" y="1700"/>
                    </a:lnTo>
                    <a:lnTo>
                      <a:pt x="1383" y="1702"/>
                    </a:lnTo>
                    <a:lnTo>
                      <a:pt x="1381" y="1702"/>
                    </a:lnTo>
                    <a:lnTo>
                      <a:pt x="1381" y="1700"/>
                    </a:lnTo>
                    <a:close/>
                    <a:moveTo>
                      <a:pt x="1188" y="1146"/>
                    </a:moveTo>
                    <a:lnTo>
                      <a:pt x="1190" y="1146"/>
                    </a:lnTo>
                    <a:lnTo>
                      <a:pt x="1188" y="1146"/>
                    </a:lnTo>
                    <a:close/>
                    <a:moveTo>
                      <a:pt x="1098" y="1242"/>
                    </a:moveTo>
                    <a:lnTo>
                      <a:pt x="1100" y="1242"/>
                    </a:lnTo>
                    <a:lnTo>
                      <a:pt x="1098" y="1242"/>
                    </a:lnTo>
                    <a:close/>
                    <a:moveTo>
                      <a:pt x="256" y="1643"/>
                    </a:moveTo>
                    <a:lnTo>
                      <a:pt x="257" y="1643"/>
                    </a:lnTo>
                    <a:lnTo>
                      <a:pt x="257" y="1644"/>
                    </a:lnTo>
                    <a:lnTo>
                      <a:pt x="256" y="1644"/>
                    </a:lnTo>
                    <a:lnTo>
                      <a:pt x="256" y="1643"/>
                    </a:lnTo>
                    <a:close/>
                    <a:moveTo>
                      <a:pt x="460" y="1062"/>
                    </a:moveTo>
                    <a:lnTo>
                      <a:pt x="461" y="1062"/>
                    </a:lnTo>
                    <a:lnTo>
                      <a:pt x="461" y="1064"/>
                    </a:lnTo>
                    <a:lnTo>
                      <a:pt x="460" y="1064"/>
                    </a:lnTo>
                    <a:lnTo>
                      <a:pt x="460" y="1062"/>
                    </a:lnTo>
                    <a:close/>
                    <a:moveTo>
                      <a:pt x="982" y="1490"/>
                    </a:moveTo>
                    <a:lnTo>
                      <a:pt x="984" y="1490"/>
                    </a:lnTo>
                    <a:lnTo>
                      <a:pt x="984" y="1494"/>
                    </a:lnTo>
                    <a:lnTo>
                      <a:pt x="982" y="1494"/>
                    </a:lnTo>
                    <a:lnTo>
                      <a:pt x="982" y="1490"/>
                    </a:lnTo>
                    <a:close/>
                    <a:moveTo>
                      <a:pt x="786" y="990"/>
                    </a:moveTo>
                    <a:lnTo>
                      <a:pt x="788" y="990"/>
                    </a:lnTo>
                    <a:lnTo>
                      <a:pt x="786" y="990"/>
                    </a:lnTo>
                    <a:close/>
                    <a:moveTo>
                      <a:pt x="1167" y="1156"/>
                    </a:moveTo>
                    <a:lnTo>
                      <a:pt x="1167" y="1158"/>
                    </a:lnTo>
                    <a:lnTo>
                      <a:pt x="1167" y="1156"/>
                    </a:lnTo>
                    <a:close/>
                    <a:moveTo>
                      <a:pt x="1182" y="1186"/>
                    </a:moveTo>
                    <a:lnTo>
                      <a:pt x="1184" y="1186"/>
                    </a:lnTo>
                    <a:lnTo>
                      <a:pt x="1184" y="1188"/>
                    </a:lnTo>
                    <a:lnTo>
                      <a:pt x="1182" y="1188"/>
                    </a:lnTo>
                    <a:lnTo>
                      <a:pt x="1182" y="1186"/>
                    </a:lnTo>
                    <a:close/>
                    <a:moveTo>
                      <a:pt x="923" y="1505"/>
                    </a:moveTo>
                    <a:lnTo>
                      <a:pt x="925" y="1505"/>
                    </a:lnTo>
                    <a:lnTo>
                      <a:pt x="923" y="1505"/>
                    </a:lnTo>
                    <a:close/>
                    <a:moveTo>
                      <a:pt x="1175" y="1152"/>
                    </a:moveTo>
                    <a:lnTo>
                      <a:pt x="1177" y="1152"/>
                    </a:lnTo>
                    <a:lnTo>
                      <a:pt x="1177" y="1154"/>
                    </a:lnTo>
                    <a:lnTo>
                      <a:pt x="1175" y="1154"/>
                    </a:lnTo>
                    <a:lnTo>
                      <a:pt x="1175" y="1152"/>
                    </a:lnTo>
                    <a:close/>
                    <a:moveTo>
                      <a:pt x="1260" y="1435"/>
                    </a:moveTo>
                    <a:lnTo>
                      <a:pt x="1260" y="1436"/>
                    </a:lnTo>
                    <a:lnTo>
                      <a:pt x="1260" y="1435"/>
                    </a:lnTo>
                    <a:close/>
                    <a:moveTo>
                      <a:pt x="988" y="1589"/>
                    </a:moveTo>
                    <a:lnTo>
                      <a:pt x="988" y="1591"/>
                    </a:lnTo>
                    <a:lnTo>
                      <a:pt x="988" y="1589"/>
                    </a:lnTo>
                    <a:close/>
                    <a:moveTo>
                      <a:pt x="929" y="990"/>
                    </a:moveTo>
                    <a:lnTo>
                      <a:pt x="931" y="990"/>
                    </a:lnTo>
                    <a:lnTo>
                      <a:pt x="931" y="992"/>
                    </a:lnTo>
                    <a:lnTo>
                      <a:pt x="929" y="992"/>
                    </a:lnTo>
                    <a:lnTo>
                      <a:pt x="929" y="990"/>
                    </a:lnTo>
                    <a:close/>
                    <a:moveTo>
                      <a:pt x="780" y="958"/>
                    </a:moveTo>
                    <a:lnTo>
                      <a:pt x="782" y="958"/>
                    </a:lnTo>
                    <a:lnTo>
                      <a:pt x="782" y="959"/>
                    </a:lnTo>
                    <a:lnTo>
                      <a:pt x="780" y="959"/>
                    </a:lnTo>
                    <a:lnTo>
                      <a:pt x="780" y="958"/>
                    </a:lnTo>
                    <a:close/>
                    <a:moveTo>
                      <a:pt x="107" y="996"/>
                    </a:moveTo>
                    <a:lnTo>
                      <a:pt x="111" y="996"/>
                    </a:lnTo>
                    <a:lnTo>
                      <a:pt x="111" y="998"/>
                    </a:lnTo>
                    <a:lnTo>
                      <a:pt x="107" y="998"/>
                    </a:lnTo>
                    <a:lnTo>
                      <a:pt x="107" y="996"/>
                    </a:lnTo>
                    <a:close/>
                    <a:moveTo>
                      <a:pt x="778" y="999"/>
                    </a:moveTo>
                    <a:lnTo>
                      <a:pt x="780" y="999"/>
                    </a:lnTo>
                    <a:lnTo>
                      <a:pt x="778" y="999"/>
                    </a:lnTo>
                    <a:close/>
                    <a:moveTo>
                      <a:pt x="1024" y="1456"/>
                    </a:moveTo>
                    <a:lnTo>
                      <a:pt x="1024" y="1457"/>
                    </a:lnTo>
                    <a:lnTo>
                      <a:pt x="1024" y="1456"/>
                    </a:lnTo>
                    <a:close/>
                    <a:moveTo>
                      <a:pt x="812" y="1034"/>
                    </a:moveTo>
                    <a:lnTo>
                      <a:pt x="812" y="1036"/>
                    </a:lnTo>
                    <a:lnTo>
                      <a:pt x="812" y="1034"/>
                    </a:lnTo>
                    <a:close/>
                    <a:moveTo>
                      <a:pt x="1180" y="1175"/>
                    </a:moveTo>
                    <a:lnTo>
                      <a:pt x="1180" y="1177"/>
                    </a:lnTo>
                    <a:lnTo>
                      <a:pt x="1180" y="1175"/>
                    </a:lnTo>
                    <a:close/>
                    <a:moveTo>
                      <a:pt x="1339" y="1648"/>
                    </a:moveTo>
                    <a:lnTo>
                      <a:pt x="1341" y="1648"/>
                    </a:lnTo>
                    <a:lnTo>
                      <a:pt x="1339" y="1648"/>
                    </a:lnTo>
                    <a:close/>
                    <a:moveTo>
                      <a:pt x="1255" y="1440"/>
                    </a:moveTo>
                    <a:lnTo>
                      <a:pt x="1257" y="1440"/>
                    </a:lnTo>
                    <a:lnTo>
                      <a:pt x="1255" y="1440"/>
                    </a:lnTo>
                    <a:close/>
                    <a:moveTo>
                      <a:pt x="1291" y="1633"/>
                    </a:moveTo>
                    <a:lnTo>
                      <a:pt x="1293" y="1633"/>
                    </a:lnTo>
                    <a:lnTo>
                      <a:pt x="1291" y="1633"/>
                    </a:lnTo>
                    <a:close/>
                    <a:moveTo>
                      <a:pt x="673" y="1038"/>
                    </a:moveTo>
                    <a:lnTo>
                      <a:pt x="675" y="1038"/>
                    </a:lnTo>
                    <a:lnTo>
                      <a:pt x="673" y="1038"/>
                    </a:lnTo>
                    <a:close/>
                    <a:moveTo>
                      <a:pt x="1138" y="1396"/>
                    </a:moveTo>
                    <a:lnTo>
                      <a:pt x="1140" y="1396"/>
                    </a:lnTo>
                    <a:lnTo>
                      <a:pt x="1138" y="1396"/>
                    </a:lnTo>
                    <a:close/>
                    <a:moveTo>
                      <a:pt x="1169" y="1141"/>
                    </a:moveTo>
                    <a:lnTo>
                      <a:pt x="1171" y="1141"/>
                    </a:lnTo>
                    <a:lnTo>
                      <a:pt x="1169" y="1141"/>
                    </a:lnTo>
                    <a:close/>
                    <a:moveTo>
                      <a:pt x="1205" y="1368"/>
                    </a:moveTo>
                    <a:lnTo>
                      <a:pt x="1205" y="1370"/>
                    </a:lnTo>
                    <a:lnTo>
                      <a:pt x="1205" y="1368"/>
                    </a:lnTo>
                    <a:close/>
                    <a:moveTo>
                      <a:pt x="1260" y="1467"/>
                    </a:moveTo>
                    <a:lnTo>
                      <a:pt x="1262" y="1467"/>
                    </a:lnTo>
                    <a:lnTo>
                      <a:pt x="1260" y="1467"/>
                    </a:lnTo>
                    <a:close/>
                    <a:moveTo>
                      <a:pt x="1087" y="1230"/>
                    </a:moveTo>
                    <a:lnTo>
                      <a:pt x="1089" y="1230"/>
                    </a:lnTo>
                    <a:lnTo>
                      <a:pt x="1089" y="1232"/>
                    </a:lnTo>
                    <a:lnTo>
                      <a:pt x="1087" y="1232"/>
                    </a:lnTo>
                    <a:lnTo>
                      <a:pt x="1087" y="1230"/>
                    </a:lnTo>
                    <a:close/>
                    <a:moveTo>
                      <a:pt x="1215" y="1341"/>
                    </a:moveTo>
                    <a:lnTo>
                      <a:pt x="1217" y="1341"/>
                    </a:lnTo>
                    <a:lnTo>
                      <a:pt x="1217" y="1343"/>
                    </a:lnTo>
                    <a:lnTo>
                      <a:pt x="1215" y="1343"/>
                    </a:lnTo>
                    <a:lnTo>
                      <a:pt x="1215" y="1341"/>
                    </a:lnTo>
                    <a:close/>
                    <a:moveTo>
                      <a:pt x="236" y="1625"/>
                    </a:moveTo>
                    <a:lnTo>
                      <a:pt x="236" y="1627"/>
                    </a:lnTo>
                    <a:lnTo>
                      <a:pt x="236" y="1625"/>
                    </a:lnTo>
                    <a:close/>
                    <a:moveTo>
                      <a:pt x="1175" y="49"/>
                    </a:moveTo>
                    <a:lnTo>
                      <a:pt x="1177" y="47"/>
                    </a:lnTo>
                    <a:lnTo>
                      <a:pt x="1175" y="49"/>
                    </a:lnTo>
                    <a:close/>
                    <a:moveTo>
                      <a:pt x="973" y="984"/>
                    </a:moveTo>
                    <a:lnTo>
                      <a:pt x="973" y="986"/>
                    </a:lnTo>
                    <a:lnTo>
                      <a:pt x="973" y="984"/>
                    </a:lnTo>
                    <a:close/>
                    <a:moveTo>
                      <a:pt x="277" y="1667"/>
                    </a:moveTo>
                    <a:lnTo>
                      <a:pt x="277" y="1669"/>
                    </a:lnTo>
                    <a:lnTo>
                      <a:pt x="277" y="1667"/>
                    </a:lnTo>
                    <a:close/>
                    <a:moveTo>
                      <a:pt x="994" y="1400"/>
                    </a:moveTo>
                    <a:lnTo>
                      <a:pt x="994" y="1402"/>
                    </a:lnTo>
                    <a:lnTo>
                      <a:pt x="994" y="1400"/>
                    </a:lnTo>
                    <a:close/>
                    <a:moveTo>
                      <a:pt x="1001" y="1284"/>
                    </a:moveTo>
                    <a:lnTo>
                      <a:pt x="1003" y="1284"/>
                    </a:lnTo>
                    <a:lnTo>
                      <a:pt x="1003" y="1286"/>
                    </a:lnTo>
                    <a:lnTo>
                      <a:pt x="1001" y="1286"/>
                    </a:lnTo>
                    <a:lnTo>
                      <a:pt x="1001" y="1284"/>
                    </a:lnTo>
                    <a:close/>
                    <a:moveTo>
                      <a:pt x="1270" y="1747"/>
                    </a:moveTo>
                    <a:lnTo>
                      <a:pt x="1272" y="1747"/>
                    </a:lnTo>
                    <a:lnTo>
                      <a:pt x="1272" y="1749"/>
                    </a:lnTo>
                    <a:lnTo>
                      <a:pt x="1270" y="1749"/>
                    </a:lnTo>
                    <a:lnTo>
                      <a:pt x="1270" y="1747"/>
                    </a:lnTo>
                    <a:close/>
                    <a:moveTo>
                      <a:pt x="196" y="1622"/>
                    </a:moveTo>
                    <a:lnTo>
                      <a:pt x="198" y="1622"/>
                    </a:lnTo>
                    <a:lnTo>
                      <a:pt x="198" y="1623"/>
                    </a:lnTo>
                    <a:lnTo>
                      <a:pt x="196" y="1623"/>
                    </a:lnTo>
                    <a:lnTo>
                      <a:pt x="196" y="1622"/>
                    </a:lnTo>
                    <a:close/>
                    <a:moveTo>
                      <a:pt x="852" y="1673"/>
                    </a:moveTo>
                    <a:lnTo>
                      <a:pt x="854" y="1673"/>
                    </a:lnTo>
                    <a:lnTo>
                      <a:pt x="852" y="1673"/>
                    </a:lnTo>
                    <a:close/>
                    <a:moveTo>
                      <a:pt x="1219" y="1778"/>
                    </a:moveTo>
                    <a:lnTo>
                      <a:pt x="1220" y="1778"/>
                    </a:lnTo>
                    <a:lnTo>
                      <a:pt x="1220" y="1780"/>
                    </a:lnTo>
                    <a:lnTo>
                      <a:pt x="1219" y="1780"/>
                    </a:lnTo>
                    <a:lnTo>
                      <a:pt x="1219" y="1778"/>
                    </a:lnTo>
                    <a:close/>
                    <a:moveTo>
                      <a:pt x="282" y="1654"/>
                    </a:moveTo>
                    <a:lnTo>
                      <a:pt x="282" y="1656"/>
                    </a:lnTo>
                    <a:lnTo>
                      <a:pt x="282" y="1654"/>
                    </a:lnTo>
                    <a:close/>
                    <a:moveTo>
                      <a:pt x="1371" y="1658"/>
                    </a:moveTo>
                    <a:lnTo>
                      <a:pt x="1373" y="1658"/>
                    </a:lnTo>
                    <a:lnTo>
                      <a:pt x="1371" y="1658"/>
                    </a:lnTo>
                    <a:close/>
                    <a:moveTo>
                      <a:pt x="71" y="1032"/>
                    </a:moveTo>
                    <a:lnTo>
                      <a:pt x="72" y="1032"/>
                    </a:lnTo>
                    <a:lnTo>
                      <a:pt x="71" y="1032"/>
                    </a:lnTo>
                    <a:close/>
                    <a:moveTo>
                      <a:pt x="1182" y="1057"/>
                    </a:moveTo>
                    <a:lnTo>
                      <a:pt x="1182" y="1059"/>
                    </a:lnTo>
                    <a:lnTo>
                      <a:pt x="1182" y="1057"/>
                    </a:lnTo>
                    <a:close/>
                    <a:moveTo>
                      <a:pt x="742" y="240"/>
                    </a:moveTo>
                    <a:lnTo>
                      <a:pt x="746" y="240"/>
                    </a:lnTo>
                    <a:lnTo>
                      <a:pt x="746" y="242"/>
                    </a:lnTo>
                    <a:lnTo>
                      <a:pt x="742" y="242"/>
                    </a:lnTo>
                    <a:lnTo>
                      <a:pt x="742" y="240"/>
                    </a:lnTo>
                    <a:close/>
                    <a:moveTo>
                      <a:pt x="1224" y="1246"/>
                    </a:moveTo>
                    <a:lnTo>
                      <a:pt x="1224" y="1248"/>
                    </a:lnTo>
                    <a:lnTo>
                      <a:pt x="1224" y="1246"/>
                    </a:lnTo>
                    <a:close/>
                    <a:moveTo>
                      <a:pt x="774" y="996"/>
                    </a:moveTo>
                    <a:lnTo>
                      <a:pt x="776" y="996"/>
                    </a:lnTo>
                    <a:lnTo>
                      <a:pt x="776" y="998"/>
                    </a:lnTo>
                    <a:lnTo>
                      <a:pt x="774" y="998"/>
                    </a:lnTo>
                    <a:lnTo>
                      <a:pt x="774" y="996"/>
                    </a:lnTo>
                    <a:close/>
                    <a:moveTo>
                      <a:pt x="1255" y="1152"/>
                    </a:moveTo>
                    <a:lnTo>
                      <a:pt x="1257" y="1152"/>
                    </a:lnTo>
                    <a:lnTo>
                      <a:pt x="1257" y="1154"/>
                    </a:lnTo>
                    <a:lnTo>
                      <a:pt x="1255" y="1154"/>
                    </a:lnTo>
                    <a:lnTo>
                      <a:pt x="1255" y="1152"/>
                    </a:lnTo>
                    <a:close/>
                    <a:moveTo>
                      <a:pt x="1306" y="1622"/>
                    </a:moveTo>
                    <a:lnTo>
                      <a:pt x="1308" y="1622"/>
                    </a:lnTo>
                    <a:lnTo>
                      <a:pt x="1308" y="1623"/>
                    </a:lnTo>
                    <a:lnTo>
                      <a:pt x="1306" y="1623"/>
                    </a:lnTo>
                    <a:lnTo>
                      <a:pt x="1306" y="1622"/>
                    </a:lnTo>
                    <a:close/>
                    <a:moveTo>
                      <a:pt x="961" y="1383"/>
                    </a:moveTo>
                    <a:lnTo>
                      <a:pt x="963" y="1383"/>
                    </a:lnTo>
                    <a:lnTo>
                      <a:pt x="963" y="1385"/>
                    </a:lnTo>
                    <a:lnTo>
                      <a:pt x="961" y="1385"/>
                    </a:lnTo>
                    <a:lnTo>
                      <a:pt x="961" y="1383"/>
                    </a:lnTo>
                    <a:close/>
                    <a:moveTo>
                      <a:pt x="776" y="1288"/>
                    </a:moveTo>
                    <a:lnTo>
                      <a:pt x="778" y="1288"/>
                    </a:lnTo>
                    <a:lnTo>
                      <a:pt x="776" y="1288"/>
                    </a:lnTo>
                    <a:close/>
                    <a:moveTo>
                      <a:pt x="259" y="759"/>
                    </a:moveTo>
                    <a:lnTo>
                      <a:pt x="263" y="759"/>
                    </a:lnTo>
                    <a:lnTo>
                      <a:pt x="263" y="761"/>
                    </a:lnTo>
                    <a:lnTo>
                      <a:pt x="259" y="761"/>
                    </a:lnTo>
                    <a:lnTo>
                      <a:pt x="259" y="759"/>
                    </a:lnTo>
                    <a:close/>
                    <a:moveTo>
                      <a:pt x="984" y="1547"/>
                    </a:moveTo>
                    <a:lnTo>
                      <a:pt x="986" y="1547"/>
                    </a:lnTo>
                    <a:lnTo>
                      <a:pt x="984" y="1547"/>
                    </a:lnTo>
                    <a:close/>
                    <a:moveTo>
                      <a:pt x="835" y="729"/>
                    </a:moveTo>
                    <a:lnTo>
                      <a:pt x="835" y="730"/>
                    </a:lnTo>
                    <a:lnTo>
                      <a:pt x="835" y="729"/>
                    </a:lnTo>
                    <a:close/>
                    <a:moveTo>
                      <a:pt x="1260" y="1141"/>
                    </a:moveTo>
                    <a:lnTo>
                      <a:pt x="1262" y="1141"/>
                    </a:lnTo>
                    <a:lnTo>
                      <a:pt x="1262" y="1143"/>
                    </a:lnTo>
                    <a:lnTo>
                      <a:pt x="1260" y="1143"/>
                    </a:lnTo>
                    <a:lnTo>
                      <a:pt x="1260" y="1141"/>
                    </a:lnTo>
                    <a:close/>
                    <a:moveTo>
                      <a:pt x="1323" y="1530"/>
                    </a:moveTo>
                    <a:lnTo>
                      <a:pt x="1325" y="1530"/>
                    </a:lnTo>
                    <a:lnTo>
                      <a:pt x="1323" y="1530"/>
                    </a:lnTo>
                    <a:close/>
                    <a:moveTo>
                      <a:pt x="748" y="1007"/>
                    </a:moveTo>
                    <a:lnTo>
                      <a:pt x="749" y="1007"/>
                    </a:lnTo>
                    <a:lnTo>
                      <a:pt x="749" y="1009"/>
                    </a:lnTo>
                    <a:lnTo>
                      <a:pt x="748" y="1009"/>
                    </a:lnTo>
                    <a:lnTo>
                      <a:pt x="748" y="1007"/>
                    </a:lnTo>
                    <a:close/>
                    <a:moveTo>
                      <a:pt x="505" y="1074"/>
                    </a:moveTo>
                    <a:lnTo>
                      <a:pt x="505" y="1076"/>
                    </a:lnTo>
                    <a:lnTo>
                      <a:pt x="505" y="1074"/>
                    </a:lnTo>
                    <a:close/>
                    <a:moveTo>
                      <a:pt x="1180" y="1181"/>
                    </a:moveTo>
                    <a:lnTo>
                      <a:pt x="1180" y="1183"/>
                    </a:lnTo>
                    <a:lnTo>
                      <a:pt x="1180" y="1181"/>
                    </a:lnTo>
                    <a:close/>
                    <a:moveTo>
                      <a:pt x="1255" y="1423"/>
                    </a:moveTo>
                    <a:lnTo>
                      <a:pt x="1255" y="1425"/>
                    </a:lnTo>
                    <a:lnTo>
                      <a:pt x="1255" y="1423"/>
                    </a:lnTo>
                    <a:close/>
                    <a:moveTo>
                      <a:pt x="88" y="1030"/>
                    </a:moveTo>
                    <a:lnTo>
                      <a:pt x="90" y="1030"/>
                    </a:lnTo>
                    <a:lnTo>
                      <a:pt x="90" y="1032"/>
                    </a:lnTo>
                    <a:lnTo>
                      <a:pt x="88" y="1032"/>
                    </a:lnTo>
                    <a:lnTo>
                      <a:pt x="88" y="1030"/>
                    </a:lnTo>
                    <a:close/>
                    <a:moveTo>
                      <a:pt x="1007" y="1373"/>
                    </a:moveTo>
                    <a:lnTo>
                      <a:pt x="1009" y="1373"/>
                    </a:lnTo>
                    <a:lnTo>
                      <a:pt x="1007" y="1373"/>
                    </a:lnTo>
                    <a:close/>
                    <a:moveTo>
                      <a:pt x="898" y="1158"/>
                    </a:moveTo>
                    <a:lnTo>
                      <a:pt x="898" y="1160"/>
                    </a:lnTo>
                    <a:lnTo>
                      <a:pt x="898" y="1158"/>
                    </a:lnTo>
                    <a:close/>
                    <a:moveTo>
                      <a:pt x="1196" y="1394"/>
                    </a:moveTo>
                    <a:lnTo>
                      <a:pt x="1196" y="1396"/>
                    </a:lnTo>
                    <a:lnTo>
                      <a:pt x="1196" y="1394"/>
                    </a:lnTo>
                    <a:close/>
                    <a:moveTo>
                      <a:pt x="282" y="1675"/>
                    </a:moveTo>
                    <a:lnTo>
                      <a:pt x="282" y="1677"/>
                    </a:lnTo>
                    <a:lnTo>
                      <a:pt x="282" y="1675"/>
                    </a:lnTo>
                    <a:close/>
                    <a:moveTo>
                      <a:pt x="1180" y="1173"/>
                    </a:moveTo>
                    <a:lnTo>
                      <a:pt x="1180" y="1175"/>
                    </a:lnTo>
                    <a:lnTo>
                      <a:pt x="1180" y="1173"/>
                    </a:lnTo>
                    <a:close/>
                    <a:moveTo>
                      <a:pt x="1058" y="1049"/>
                    </a:moveTo>
                    <a:lnTo>
                      <a:pt x="1060" y="1049"/>
                    </a:lnTo>
                    <a:lnTo>
                      <a:pt x="1058" y="1049"/>
                    </a:lnTo>
                    <a:close/>
                    <a:moveTo>
                      <a:pt x="420" y="1074"/>
                    </a:moveTo>
                    <a:lnTo>
                      <a:pt x="421" y="1074"/>
                    </a:lnTo>
                    <a:lnTo>
                      <a:pt x="420" y="1074"/>
                    </a:lnTo>
                    <a:close/>
                    <a:moveTo>
                      <a:pt x="179" y="971"/>
                    </a:moveTo>
                    <a:lnTo>
                      <a:pt x="179" y="973"/>
                    </a:lnTo>
                    <a:lnTo>
                      <a:pt x="179" y="971"/>
                    </a:lnTo>
                    <a:close/>
                    <a:moveTo>
                      <a:pt x="849" y="1064"/>
                    </a:moveTo>
                    <a:lnTo>
                      <a:pt x="850" y="1064"/>
                    </a:lnTo>
                    <a:lnTo>
                      <a:pt x="850" y="1066"/>
                    </a:lnTo>
                    <a:lnTo>
                      <a:pt x="849" y="1066"/>
                    </a:lnTo>
                    <a:lnTo>
                      <a:pt x="849" y="1064"/>
                    </a:lnTo>
                    <a:close/>
                    <a:moveTo>
                      <a:pt x="683" y="826"/>
                    </a:moveTo>
                    <a:lnTo>
                      <a:pt x="685" y="826"/>
                    </a:lnTo>
                    <a:lnTo>
                      <a:pt x="685" y="828"/>
                    </a:lnTo>
                    <a:lnTo>
                      <a:pt x="683" y="828"/>
                    </a:lnTo>
                    <a:lnTo>
                      <a:pt x="683" y="826"/>
                    </a:lnTo>
                    <a:close/>
                    <a:moveTo>
                      <a:pt x="254" y="1641"/>
                    </a:moveTo>
                    <a:lnTo>
                      <a:pt x="256" y="1641"/>
                    </a:lnTo>
                    <a:lnTo>
                      <a:pt x="256" y="1643"/>
                    </a:lnTo>
                    <a:lnTo>
                      <a:pt x="254" y="1643"/>
                    </a:lnTo>
                    <a:lnTo>
                      <a:pt x="254" y="1641"/>
                    </a:lnTo>
                    <a:close/>
                    <a:moveTo>
                      <a:pt x="1232" y="1637"/>
                    </a:moveTo>
                    <a:lnTo>
                      <a:pt x="1232" y="1639"/>
                    </a:lnTo>
                    <a:lnTo>
                      <a:pt x="1232" y="1637"/>
                    </a:lnTo>
                    <a:close/>
                    <a:moveTo>
                      <a:pt x="1135" y="1694"/>
                    </a:moveTo>
                    <a:lnTo>
                      <a:pt x="1135" y="1696"/>
                    </a:lnTo>
                    <a:lnTo>
                      <a:pt x="1135" y="1694"/>
                    </a:lnTo>
                    <a:close/>
                    <a:moveTo>
                      <a:pt x="875" y="881"/>
                    </a:moveTo>
                    <a:lnTo>
                      <a:pt x="875" y="883"/>
                    </a:lnTo>
                    <a:lnTo>
                      <a:pt x="875" y="881"/>
                    </a:lnTo>
                    <a:close/>
                    <a:moveTo>
                      <a:pt x="1203" y="1070"/>
                    </a:moveTo>
                    <a:lnTo>
                      <a:pt x="1205" y="1070"/>
                    </a:lnTo>
                    <a:lnTo>
                      <a:pt x="1205" y="1072"/>
                    </a:lnTo>
                    <a:lnTo>
                      <a:pt x="1203" y="1072"/>
                    </a:lnTo>
                    <a:lnTo>
                      <a:pt x="1203" y="1070"/>
                    </a:lnTo>
                    <a:close/>
                    <a:moveTo>
                      <a:pt x="1283" y="1490"/>
                    </a:moveTo>
                    <a:lnTo>
                      <a:pt x="1285" y="1490"/>
                    </a:lnTo>
                    <a:lnTo>
                      <a:pt x="1285" y="1492"/>
                    </a:lnTo>
                    <a:lnTo>
                      <a:pt x="1283" y="1492"/>
                    </a:lnTo>
                    <a:lnTo>
                      <a:pt x="1283" y="1490"/>
                    </a:lnTo>
                    <a:close/>
                    <a:moveTo>
                      <a:pt x="1199" y="1068"/>
                    </a:moveTo>
                    <a:lnTo>
                      <a:pt x="1201" y="1068"/>
                    </a:lnTo>
                    <a:lnTo>
                      <a:pt x="1199" y="1068"/>
                    </a:lnTo>
                    <a:close/>
                    <a:moveTo>
                      <a:pt x="677" y="896"/>
                    </a:moveTo>
                    <a:lnTo>
                      <a:pt x="679" y="896"/>
                    </a:lnTo>
                    <a:lnTo>
                      <a:pt x="679" y="898"/>
                    </a:lnTo>
                    <a:lnTo>
                      <a:pt x="677" y="898"/>
                    </a:lnTo>
                    <a:lnTo>
                      <a:pt x="677" y="896"/>
                    </a:lnTo>
                    <a:close/>
                    <a:moveTo>
                      <a:pt x="1274" y="1749"/>
                    </a:moveTo>
                    <a:lnTo>
                      <a:pt x="1276" y="1749"/>
                    </a:lnTo>
                    <a:lnTo>
                      <a:pt x="1274" y="1749"/>
                    </a:lnTo>
                    <a:close/>
                    <a:moveTo>
                      <a:pt x="751" y="551"/>
                    </a:moveTo>
                    <a:lnTo>
                      <a:pt x="753" y="551"/>
                    </a:lnTo>
                    <a:lnTo>
                      <a:pt x="753" y="553"/>
                    </a:lnTo>
                    <a:lnTo>
                      <a:pt x="751" y="553"/>
                    </a:lnTo>
                    <a:lnTo>
                      <a:pt x="751" y="551"/>
                    </a:lnTo>
                    <a:close/>
                    <a:moveTo>
                      <a:pt x="887" y="1024"/>
                    </a:moveTo>
                    <a:lnTo>
                      <a:pt x="887" y="1026"/>
                    </a:lnTo>
                    <a:lnTo>
                      <a:pt x="887" y="1024"/>
                    </a:lnTo>
                    <a:close/>
                    <a:moveTo>
                      <a:pt x="1081" y="1227"/>
                    </a:moveTo>
                    <a:lnTo>
                      <a:pt x="1083" y="1227"/>
                    </a:lnTo>
                    <a:lnTo>
                      <a:pt x="1081" y="1227"/>
                    </a:lnTo>
                    <a:close/>
                    <a:moveTo>
                      <a:pt x="1314" y="1515"/>
                    </a:moveTo>
                    <a:lnTo>
                      <a:pt x="1316" y="1515"/>
                    </a:lnTo>
                    <a:lnTo>
                      <a:pt x="1316" y="1517"/>
                    </a:lnTo>
                    <a:lnTo>
                      <a:pt x="1314" y="1517"/>
                    </a:lnTo>
                    <a:lnTo>
                      <a:pt x="1314" y="1515"/>
                    </a:lnTo>
                    <a:close/>
                    <a:moveTo>
                      <a:pt x="172" y="977"/>
                    </a:moveTo>
                    <a:lnTo>
                      <a:pt x="174" y="977"/>
                    </a:lnTo>
                    <a:lnTo>
                      <a:pt x="174" y="978"/>
                    </a:lnTo>
                    <a:lnTo>
                      <a:pt x="172" y="978"/>
                    </a:lnTo>
                    <a:lnTo>
                      <a:pt x="172" y="977"/>
                    </a:lnTo>
                    <a:close/>
                    <a:moveTo>
                      <a:pt x="671" y="1053"/>
                    </a:moveTo>
                    <a:lnTo>
                      <a:pt x="673" y="1053"/>
                    </a:lnTo>
                    <a:lnTo>
                      <a:pt x="673" y="1055"/>
                    </a:lnTo>
                    <a:lnTo>
                      <a:pt x="671" y="1055"/>
                    </a:lnTo>
                    <a:lnTo>
                      <a:pt x="671" y="1053"/>
                    </a:lnTo>
                    <a:close/>
                    <a:moveTo>
                      <a:pt x="1152" y="977"/>
                    </a:moveTo>
                    <a:lnTo>
                      <a:pt x="1152" y="978"/>
                    </a:lnTo>
                    <a:lnTo>
                      <a:pt x="1152" y="977"/>
                    </a:lnTo>
                    <a:close/>
                    <a:moveTo>
                      <a:pt x="770" y="946"/>
                    </a:moveTo>
                    <a:lnTo>
                      <a:pt x="772" y="946"/>
                    </a:lnTo>
                    <a:lnTo>
                      <a:pt x="772" y="948"/>
                    </a:lnTo>
                    <a:lnTo>
                      <a:pt x="770" y="948"/>
                    </a:lnTo>
                    <a:lnTo>
                      <a:pt x="770" y="946"/>
                    </a:lnTo>
                    <a:close/>
                    <a:moveTo>
                      <a:pt x="1152" y="975"/>
                    </a:moveTo>
                    <a:lnTo>
                      <a:pt x="1154" y="975"/>
                    </a:lnTo>
                    <a:lnTo>
                      <a:pt x="1154" y="977"/>
                    </a:lnTo>
                    <a:lnTo>
                      <a:pt x="1152" y="977"/>
                    </a:lnTo>
                    <a:lnTo>
                      <a:pt x="1152" y="975"/>
                    </a:lnTo>
                    <a:close/>
                    <a:moveTo>
                      <a:pt x="1363" y="1702"/>
                    </a:moveTo>
                    <a:lnTo>
                      <a:pt x="1363" y="1704"/>
                    </a:lnTo>
                    <a:lnTo>
                      <a:pt x="1363" y="1702"/>
                    </a:lnTo>
                    <a:close/>
                    <a:moveTo>
                      <a:pt x="1182" y="1183"/>
                    </a:moveTo>
                    <a:lnTo>
                      <a:pt x="1184" y="1183"/>
                    </a:lnTo>
                    <a:lnTo>
                      <a:pt x="1184" y="1185"/>
                    </a:lnTo>
                    <a:lnTo>
                      <a:pt x="1182" y="1185"/>
                    </a:lnTo>
                    <a:lnTo>
                      <a:pt x="1182" y="1183"/>
                    </a:lnTo>
                    <a:close/>
                    <a:moveTo>
                      <a:pt x="738" y="1032"/>
                    </a:moveTo>
                    <a:lnTo>
                      <a:pt x="740" y="1032"/>
                    </a:lnTo>
                    <a:lnTo>
                      <a:pt x="740" y="1034"/>
                    </a:lnTo>
                    <a:lnTo>
                      <a:pt x="738" y="1034"/>
                    </a:lnTo>
                    <a:lnTo>
                      <a:pt x="738" y="1032"/>
                    </a:lnTo>
                    <a:close/>
                    <a:moveTo>
                      <a:pt x="1087" y="1230"/>
                    </a:moveTo>
                    <a:lnTo>
                      <a:pt x="1087" y="1232"/>
                    </a:lnTo>
                    <a:lnTo>
                      <a:pt x="1087" y="1230"/>
                    </a:lnTo>
                    <a:close/>
                    <a:moveTo>
                      <a:pt x="1171" y="1160"/>
                    </a:moveTo>
                    <a:lnTo>
                      <a:pt x="1173" y="1160"/>
                    </a:lnTo>
                    <a:lnTo>
                      <a:pt x="1173" y="1162"/>
                    </a:lnTo>
                    <a:lnTo>
                      <a:pt x="1171" y="1162"/>
                    </a:lnTo>
                    <a:lnTo>
                      <a:pt x="1171" y="1160"/>
                    </a:lnTo>
                    <a:close/>
                    <a:moveTo>
                      <a:pt x="1001" y="1415"/>
                    </a:moveTo>
                    <a:lnTo>
                      <a:pt x="1003" y="1415"/>
                    </a:lnTo>
                    <a:lnTo>
                      <a:pt x="1001" y="1415"/>
                    </a:lnTo>
                    <a:close/>
                    <a:moveTo>
                      <a:pt x="1367" y="1654"/>
                    </a:moveTo>
                    <a:lnTo>
                      <a:pt x="1367" y="1656"/>
                    </a:lnTo>
                    <a:lnTo>
                      <a:pt x="1367" y="1654"/>
                    </a:lnTo>
                    <a:close/>
                    <a:moveTo>
                      <a:pt x="1272" y="1471"/>
                    </a:moveTo>
                    <a:lnTo>
                      <a:pt x="1272" y="1473"/>
                    </a:lnTo>
                    <a:lnTo>
                      <a:pt x="1272" y="1471"/>
                    </a:lnTo>
                    <a:close/>
                    <a:moveTo>
                      <a:pt x="1320" y="1530"/>
                    </a:moveTo>
                    <a:lnTo>
                      <a:pt x="1322" y="1530"/>
                    </a:lnTo>
                    <a:lnTo>
                      <a:pt x="1322" y="1532"/>
                    </a:lnTo>
                    <a:lnTo>
                      <a:pt x="1320" y="1532"/>
                    </a:lnTo>
                    <a:lnTo>
                      <a:pt x="1320" y="1530"/>
                    </a:lnTo>
                    <a:close/>
                    <a:moveTo>
                      <a:pt x="887" y="1028"/>
                    </a:moveTo>
                    <a:lnTo>
                      <a:pt x="889" y="1028"/>
                    </a:lnTo>
                    <a:lnTo>
                      <a:pt x="889" y="1030"/>
                    </a:lnTo>
                    <a:lnTo>
                      <a:pt x="887" y="1030"/>
                    </a:lnTo>
                    <a:lnTo>
                      <a:pt x="887" y="1028"/>
                    </a:lnTo>
                    <a:close/>
                    <a:moveTo>
                      <a:pt x="1106" y="1261"/>
                    </a:moveTo>
                    <a:lnTo>
                      <a:pt x="1108" y="1261"/>
                    </a:lnTo>
                    <a:lnTo>
                      <a:pt x="1106" y="1261"/>
                    </a:lnTo>
                    <a:close/>
                    <a:moveTo>
                      <a:pt x="1163" y="1020"/>
                    </a:moveTo>
                    <a:lnTo>
                      <a:pt x="1165" y="1020"/>
                    </a:lnTo>
                    <a:lnTo>
                      <a:pt x="1165" y="1022"/>
                    </a:lnTo>
                    <a:lnTo>
                      <a:pt x="1163" y="1022"/>
                    </a:lnTo>
                    <a:lnTo>
                      <a:pt x="1163" y="1020"/>
                    </a:lnTo>
                    <a:close/>
                    <a:moveTo>
                      <a:pt x="1308" y="1507"/>
                    </a:moveTo>
                    <a:lnTo>
                      <a:pt x="1308" y="1509"/>
                    </a:lnTo>
                    <a:lnTo>
                      <a:pt x="1308" y="1507"/>
                    </a:lnTo>
                    <a:close/>
                    <a:moveTo>
                      <a:pt x="1217" y="1217"/>
                    </a:moveTo>
                    <a:lnTo>
                      <a:pt x="1217" y="1219"/>
                    </a:lnTo>
                    <a:lnTo>
                      <a:pt x="1217" y="1217"/>
                    </a:lnTo>
                    <a:close/>
                    <a:moveTo>
                      <a:pt x="1013" y="1238"/>
                    </a:moveTo>
                    <a:lnTo>
                      <a:pt x="1013" y="1240"/>
                    </a:lnTo>
                    <a:lnTo>
                      <a:pt x="1013" y="1238"/>
                    </a:lnTo>
                    <a:close/>
                    <a:moveTo>
                      <a:pt x="1131" y="1335"/>
                    </a:moveTo>
                    <a:lnTo>
                      <a:pt x="1133" y="1335"/>
                    </a:lnTo>
                    <a:lnTo>
                      <a:pt x="1133" y="1337"/>
                    </a:lnTo>
                    <a:lnTo>
                      <a:pt x="1131" y="1337"/>
                    </a:lnTo>
                    <a:lnTo>
                      <a:pt x="1131" y="1335"/>
                    </a:lnTo>
                    <a:close/>
                    <a:moveTo>
                      <a:pt x="505" y="1070"/>
                    </a:moveTo>
                    <a:lnTo>
                      <a:pt x="507" y="1070"/>
                    </a:lnTo>
                    <a:lnTo>
                      <a:pt x="507" y="1072"/>
                    </a:lnTo>
                    <a:lnTo>
                      <a:pt x="505" y="1072"/>
                    </a:lnTo>
                    <a:lnTo>
                      <a:pt x="505" y="1070"/>
                    </a:lnTo>
                    <a:close/>
                    <a:moveTo>
                      <a:pt x="1306" y="1511"/>
                    </a:moveTo>
                    <a:lnTo>
                      <a:pt x="1306" y="1513"/>
                    </a:lnTo>
                    <a:lnTo>
                      <a:pt x="1306" y="1511"/>
                    </a:lnTo>
                    <a:close/>
                    <a:moveTo>
                      <a:pt x="378" y="956"/>
                    </a:moveTo>
                    <a:lnTo>
                      <a:pt x="378" y="958"/>
                    </a:lnTo>
                    <a:lnTo>
                      <a:pt x="378" y="956"/>
                    </a:lnTo>
                    <a:close/>
                    <a:moveTo>
                      <a:pt x="107" y="992"/>
                    </a:moveTo>
                    <a:lnTo>
                      <a:pt x="109" y="992"/>
                    </a:lnTo>
                    <a:lnTo>
                      <a:pt x="109" y="994"/>
                    </a:lnTo>
                    <a:lnTo>
                      <a:pt x="107" y="994"/>
                    </a:lnTo>
                    <a:lnTo>
                      <a:pt x="107" y="992"/>
                    </a:lnTo>
                    <a:close/>
                    <a:moveTo>
                      <a:pt x="973" y="1366"/>
                    </a:moveTo>
                    <a:lnTo>
                      <a:pt x="974" y="1366"/>
                    </a:lnTo>
                    <a:lnTo>
                      <a:pt x="974" y="1368"/>
                    </a:lnTo>
                    <a:lnTo>
                      <a:pt x="973" y="1368"/>
                    </a:lnTo>
                    <a:lnTo>
                      <a:pt x="973" y="1366"/>
                    </a:lnTo>
                    <a:close/>
                    <a:moveTo>
                      <a:pt x="1371" y="1709"/>
                    </a:moveTo>
                    <a:lnTo>
                      <a:pt x="1373" y="1709"/>
                    </a:lnTo>
                    <a:lnTo>
                      <a:pt x="1371" y="1709"/>
                    </a:lnTo>
                    <a:close/>
                    <a:moveTo>
                      <a:pt x="166" y="1553"/>
                    </a:moveTo>
                    <a:lnTo>
                      <a:pt x="166" y="1555"/>
                    </a:lnTo>
                    <a:lnTo>
                      <a:pt x="166" y="1553"/>
                    </a:lnTo>
                    <a:close/>
                    <a:moveTo>
                      <a:pt x="1011" y="843"/>
                    </a:moveTo>
                    <a:lnTo>
                      <a:pt x="1013" y="843"/>
                    </a:lnTo>
                    <a:lnTo>
                      <a:pt x="1013" y="845"/>
                    </a:lnTo>
                    <a:lnTo>
                      <a:pt x="1011" y="845"/>
                    </a:lnTo>
                    <a:lnTo>
                      <a:pt x="1011" y="843"/>
                    </a:lnTo>
                    <a:close/>
                    <a:moveTo>
                      <a:pt x="557" y="1022"/>
                    </a:moveTo>
                    <a:lnTo>
                      <a:pt x="559" y="1022"/>
                    </a:lnTo>
                    <a:lnTo>
                      <a:pt x="557" y="1022"/>
                    </a:lnTo>
                    <a:close/>
                    <a:moveTo>
                      <a:pt x="923" y="982"/>
                    </a:moveTo>
                    <a:lnTo>
                      <a:pt x="925" y="982"/>
                    </a:lnTo>
                    <a:lnTo>
                      <a:pt x="925" y="984"/>
                    </a:lnTo>
                    <a:lnTo>
                      <a:pt x="923" y="984"/>
                    </a:lnTo>
                    <a:lnTo>
                      <a:pt x="923" y="982"/>
                    </a:lnTo>
                    <a:close/>
                    <a:moveTo>
                      <a:pt x="111" y="1013"/>
                    </a:moveTo>
                    <a:lnTo>
                      <a:pt x="113" y="1013"/>
                    </a:lnTo>
                    <a:lnTo>
                      <a:pt x="113" y="1015"/>
                    </a:lnTo>
                    <a:lnTo>
                      <a:pt x="111" y="1015"/>
                    </a:lnTo>
                    <a:lnTo>
                      <a:pt x="111" y="1013"/>
                    </a:lnTo>
                    <a:close/>
                    <a:moveTo>
                      <a:pt x="1175" y="1133"/>
                    </a:moveTo>
                    <a:lnTo>
                      <a:pt x="1177" y="1133"/>
                    </a:lnTo>
                    <a:lnTo>
                      <a:pt x="1177" y="1135"/>
                    </a:lnTo>
                    <a:lnTo>
                      <a:pt x="1175" y="1135"/>
                    </a:lnTo>
                    <a:lnTo>
                      <a:pt x="1175" y="1133"/>
                    </a:lnTo>
                    <a:close/>
                    <a:moveTo>
                      <a:pt x="671" y="1068"/>
                    </a:moveTo>
                    <a:lnTo>
                      <a:pt x="671" y="1070"/>
                    </a:lnTo>
                    <a:lnTo>
                      <a:pt x="671" y="1068"/>
                    </a:lnTo>
                    <a:close/>
                    <a:moveTo>
                      <a:pt x="1030" y="1215"/>
                    </a:moveTo>
                    <a:lnTo>
                      <a:pt x="1032" y="1215"/>
                    </a:lnTo>
                    <a:lnTo>
                      <a:pt x="1030" y="1215"/>
                    </a:lnTo>
                    <a:close/>
                    <a:moveTo>
                      <a:pt x="812" y="1230"/>
                    </a:moveTo>
                    <a:lnTo>
                      <a:pt x="812" y="1232"/>
                    </a:lnTo>
                    <a:lnTo>
                      <a:pt x="812" y="1230"/>
                    </a:lnTo>
                    <a:close/>
                    <a:moveTo>
                      <a:pt x="742" y="885"/>
                    </a:moveTo>
                    <a:lnTo>
                      <a:pt x="742" y="887"/>
                    </a:lnTo>
                    <a:lnTo>
                      <a:pt x="742" y="885"/>
                    </a:lnTo>
                    <a:close/>
                    <a:moveTo>
                      <a:pt x="1333" y="1524"/>
                    </a:moveTo>
                    <a:lnTo>
                      <a:pt x="1335" y="1524"/>
                    </a:lnTo>
                    <a:lnTo>
                      <a:pt x="1333" y="1524"/>
                    </a:lnTo>
                    <a:close/>
                    <a:moveTo>
                      <a:pt x="713" y="295"/>
                    </a:moveTo>
                    <a:lnTo>
                      <a:pt x="715" y="295"/>
                    </a:lnTo>
                    <a:lnTo>
                      <a:pt x="715" y="297"/>
                    </a:lnTo>
                    <a:lnTo>
                      <a:pt x="713" y="297"/>
                    </a:lnTo>
                    <a:lnTo>
                      <a:pt x="713" y="295"/>
                    </a:lnTo>
                    <a:close/>
                    <a:moveTo>
                      <a:pt x="1182" y="1047"/>
                    </a:moveTo>
                    <a:lnTo>
                      <a:pt x="1184" y="1047"/>
                    </a:lnTo>
                    <a:lnTo>
                      <a:pt x="1182" y="1047"/>
                    </a:lnTo>
                    <a:close/>
                    <a:moveTo>
                      <a:pt x="997" y="1394"/>
                    </a:moveTo>
                    <a:lnTo>
                      <a:pt x="997" y="1396"/>
                    </a:lnTo>
                    <a:lnTo>
                      <a:pt x="997" y="1394"/>
                    </a:lnTo>
                    <a:close/>
                    <a:moveTo>
                      <a:pt x="1169" y="1045"/>
                    </a:moveTo>
                    <a:lnTo>
                      <a:pt x="1171" y="1045"/>
                    </a:lnTo>
                    <a:lnTo>
                      <a:pt x="1171" y="1047"/>
                    </a:lnTo>
                    <a:lnTo>
                      <a:pt x="1169" y="1047"/>
                    </a:lnTo>
                    <a:lnTo>
                      <a:pt x="1169" y="1045"/>
                    </a:lnTo>
                    <a:close/>
                    <a:moveTo>
                      <a:pt x="526" y="895"/>
                    </a:moveTo>
                    <a:lnTo>
                      <a:pt x="526" y="896"/>
                    </a:lnTo>
                    <a:lnTo>
                      <a:pt x="526" y="895"/>
                    </a:lnTo>
                    <a:close/>
                    <a:moveTo>
                      <a:pt x="1102" y="1314"/>
                    </a:moveTo>
                    <a:lnTo>
                      <a:pt x="1104" y="1314"/>
                    </a:lnTo>
                    <a:lnTo>
                      <a:pt x="1102" y="1314"/>
                    </a:lnTo>
                    <a:close/>
                    <a:moveTo>
                      <a:pt x="101" y="1003"/>
                    </a:moveTo>
                    <a:lnTo>
                      <a:pt x="101" y="1005"/>
                    </a:lnTo>
                    <a:lnTo>
                      <a:pt x="101" y="1003"/>
                    </a:lnTo>
                    <a:close/>
                    <a:moveTo>
                      <a:pt x="572" y="1051"/>
                    </a:moveTo>
                    <a:lnTo>
                      <a:pt x="574" y="1051"/>
                    </a:lnTo>
                    <a:lnTo>
                      <a:pt x="574" y="1053"/>
                    </a:lnTo>
                    <a:lnTo>
                      <a:pt x="572" y="1053"/>
                    </a:lnTo>
                    <a:lnTo>
                      <a:pt x="572" y="1051"/>
                    </a:lnTo>
                    <a:close/>
                    <a:moveTo>
                      <a:pt x="1198" y="1393"/>
                    </a:moveTo>
                    <a:lnTo>
                      <a:pt x="1199" y="1393"/>
                    </a:lnTo>
                    <a:lnTo>
                      <a:pt x="1198" y="1393"/>
                    </a:lnTo>
                    <a:close/>
                    <a:moveTo>
                      <a:pt x="685" y="828"/>
                    </a:moveTo>
                    <a:lnTo>
                      <a:pt x="685" y="830"/>
                    </a:lnTo>
                    <a:lnTo>
                      <a:pt x="685" y="828"/>
                    </a:lnTo>
                    <a:close/>
                    <a:moveTo>
                      <a:pt x="503" y="1070"/>
                    </a:moveTo>
                    <a:lnTo>
                      <a:pt x="505" y="1070"/>
                    </a:lnTo>
                    <a:lnTo>
                      <a:pt x="505" y="1072"/>
                    </a:lnTo>
                    <a:lnTo>
                      <a:pt x="503" y="1072"/>
                    </a:lnTo>
                    <a:lnTo>
                      <a:pt x="503" y="1070"/>
                    </a:lnTo>
                    <a:close/>
                    <a:moveTo>
                      <a:pt x="1062" y="1213"/>
                    </a:moveTo>
                    <a:lnTo>
                      <a:pt x="1062" y="1215"/>
                    </a:lnTo>
                    <a:lnTo>
                      <a:pt x="1062" y="1213"/>
                    </a:lnTo>
                    <a:close/>
                    <a:moveTo>
                      <a:pt x="1184" y="1059"/>
                    </a:moveTo>
                    <a:lnTo>
                      <a:pt x="1186" y="1059"/>
                    </a:lnTo>
                    <a:lnTo>
                      <a:pt x="1184" y="1059"/>
                    </a:lnTo>
                    <a:close/>
                    <a:moveTo>
                      <a:pt x="471" y="1059"/>
                    </a:moveTo>
                    <a:lnTo>
                      <a:pt x="473" y="1059"/>
                    </a:lnTo>
                    <a:lnTo>
                      <a:pt x="473" y="1061"/>
                    </a:lnTo>
                    <a:lnTo>
                      <a:pt x="471" y="1061"/>
                    </a:lnTo>
                    <a:lnTo>
                      <a:pt x="471" y="1059"/>
                    </a:lnTo>
                    <a:close/>
                    <a:moveTo>
                      <a:pt x="669" y="1055"/>
                    </a:moveTo>
                    <a:lnTo>
                      <a:pt x="669" y="1057"/>
                    </a:lnTo>
                    <a:lnTo>
                      <a:pt x="669" y="1055"/>
                    </a:lnTo>
                    <a:close/>
                    <a:moveTo>
                      <a:pt x="1177" y="47"/>
                    </a:moveTo>
                    <a:lnTo>
                      <a:pt x="1175" y="49"/>
                    </a:lnTo>
                    <a:lnTo>
                      <a:pt x="1177" y="45"/>
                    </a:lnTo>
                    <a:lnTo>
                      <a:pt x="1177" y="47"/>
                    </a:lnTo>
                    <a:close/>
                    <a:moveTo>
                      <a:pt x="624" y="610"/>
                    </a:moveTo>
                    <a:lnTo>
                      <a:pt x="625" y="610"/>
                    </a:lnTo>
                    <a:lnTo>
                      <a:pt x="625" y="612"/>
                    </a:lnTo>
                    <a:lnTo>
                      <a:pt x="624" y="612"/>
                    </a:lnTo>
                    <a:lnTo>
                      <a:pt x="624" y="610"/>
                    </a:lnTo>
                    <a:close/>
                    <a:moveTo>
                      <a:pt x="894" y="1145"/>
                    </a:moveTo>
                    <a:lnTo>
                      <a:pt x="896" y="1145"/>
                    </a:lnTo>
                    <a:lnTo>
                      <a:pt x="894" y="1145"/>
                    </a:lnTo>
                    <a:close/>
                    <a:moveTo>
                      <a:pt x="1228" y="1723"/>
                    </a:moveTo>
                    <a:lnTo>
                      <a:pt x="1230" y="1723"/>
                    </a:lnTo>
                    <a:lnTo>
                      <a:pt x="1230" y="1725"/>
                    </a:lnTo>
                    <a:lnTo>
                      <a:pt x="1228" y="1725"/>
                    </a:lnTo>
                    <a:lnTo>
                      <a:pt x="1228" y="1723"/>
                    </a:lnTo>
                    <a:close/>
                    <a:moveTo>
                      <a:pt x="385" y="956"/>
                    </a:moveTo>
                    <a:lnTo>
                      <a:pt x="387" y="956"/>
                    </a:lnTo>
                    <a:lnTo>
                      <a:pt x="387" y="958"/>
                    </a:lnTo>
                    <a:lnTo>
                      <a:pt x="385" y="958"/>
                    </a:lnTo>
                    <a:lnTo>
                      <a:pt x="385" y="956"/>
                    </a:lnTo>
                    <a:close/>
                    <a:moveTo>
                      <a:pt x="1175" y="1141"/>
                    </a:moveTo>
                    <a:lnTo>
                      <a:pt x="1177" y="1141"/>
                    </a:lnTo>
                    <a:lnTo>
                      <a:pt x="1175" y="1141"/>
                    </a:lnTo>
                    <a:close/>
                    <a:moveTo>
                      <a:pt x="961" y="1393"/>
                    </a:moveTo>
                    <a:lnTo>
                      <a:pt x="963" y="1393"/>
                    </a:lnTo>
                    <a:lnTo>
                      <a:pt x="961" y="1393"/>
                    </a:lnTo>
                    <a:close/>
                    <a:moveTo>
                      <a:pt x="679" y="446"/>
                    </a:moveTo>
                    <a:lnTo>
                      <a:pt x="679" y="448"/>
                    </a:lnTo>
                    <a:lnTo>
                      <a:pt x="679" y="446"/>
                    </a:lnTo>
                    <a:close/>
                    <a:moveTo>
                      <a:pt x="1228" y="1637"/>
                    </a:moveTo>
                    <a:lnTo>
                      <a:pt x="1230" y="1637"/>
                    </a:lnTo>
                    <a:lnTo>
                      <a:pt x="1230" y="1639"/>
                    </a:lnTo>
                    <a:lnTo>
                      <a:pt x="1228" y="1639"/>
                    </a:lnTo>
                    <a:lnTo>
                      <a:pt x="1228" y="1637"/>
                    </a:lnTo>
                    <a:close/>
                    <a:moveTo>
                      <a:pt x="786" y="1276"/>
                    </a:moveTo>
                    <a:lnTo>
                      <a:pt x="788" y="1276"/>
                    </a:lnTo>
                    <a:lnTo>
                      <a:pt x="788" y="1278"/>
                    </a:lnTo>
                    <a:lnTo>
                      <a:pt x="786" y="1278"/>
                    </a:lnTo>
                    <a:lnTo>
                      <a:pt x="786" y="1276"/>
                    </a:lnTo>
                    <a:close/>
                    <a:moveTo>
                      <a:pt x="1299" y="1503"/>
                    </a:moveTo>
                    <a:lnTo>
                      <a:pt x="1301" y="1503"/>
                    </a:lnTo>
                    <a:lnTo>
                      <a:pt x="1301" y="1505"/>
                    </a:lnTo>
                    <a:lnTo>
                      <a:pt x="1299" y="1505"/>
                    </a:lnTo>
                    <a:lnTo>
                      <a:pt x="1299" y="1503"/>
                    </a:lnTo>
                    <a:close/>
                    <a:moveTo>
                      <a:pt x="805" y="486"/>
                    </a:moveTo>
                    <a:lnTo>
                      <a:pt x="807" y="486"/>
                    </a:lnTo>
                    <a:lnTo>
                      <a:pt x="807" y="488"/>
                    </a:lnTo>
                    <a:lnTo>
                      <a:pt x="805" y="488"/>
                    </a:lnTo>
                    <a:lnTo>
                      <a:pt x="805" y="486"/>
                    </a:lnTo>
                    <a:close/>
                    <a:moveTo>
                      <a:pt x="555" y="824"/>
                    </a:moveTo>
                    <a:lnTo>
                      <a:pt x="555" y="828"/>
                    </a:lnTo>
                    <a:lnTo>
                      <a:pt x="555" y="824"/>
                    </a:lnTo>
                    <a:close/>
                    <a:moveTo>
                      <a:pt x="505" y="1072"/>
                    </a:moveTo>
                    <a:lnTo>
                      <a:pt x="507" y="1072"/>
                    </a:lnTo>
                    <a:lnTo>
                      <a:pt x="507" y="1074"/>
                    </a:lnTo>
                    <a:lnTo>
                      <a:pt x="505" y="1074"/>
                    </a:lnTo>
                    <a:lnTo>
                      <a:pt x="505" y="1072"/>
                    </a:lnTo>
                    <a:close/>
                    <a:moveTo>
                      <a:pt x="1163" y="1293"/>
                    </a:moveTo>
                    <a:lnTo>
                      <a:pt x="1165" y="1293"/>
                    </a:lnTo>
                    <a:lnTo>
                      <a:pt x="1163" y="1293"/>
                    </a:lnTo>
                    <a:close/>
                    <a:moveTo>
                      <a:pt x="370" y="950"/>
                    </a:moveTo>
                    <a:lnTo>
                      <a:pt x="372" y="950"/>
                    </a:lnTo>
                    <a:lnTo>
                      <a:pt x="372" y="952"/>
                    </a:lnTo>
                    <a:lnTo>
                      <a:pt x="370" y="952"/>
                    </a:lnTo>
                    <a:lnTo>
                      <a:pt x="370" y="950"/>
                    </a:lnTo>
                    <a:close/>
                    <a:moveTo>
                      <a:pt x="168" y="1524"/>
                    </a:moveTo>
                    <a:lnTo>
                      <a:pt x="170" y="1524"/>
                    </a:lnTo>
                    <a:lnTo>
                      <a:pt x="170" y="1526"/>
                    </a:lnTo>
                    <a:lnTo>
                      <a:pt x="168" y="1526"/>
                    </a:lnTo>
                    <a:lnTo>
                      <a:pt x="168" y="1524"/>
                    </a:lnTo>
                    <a:close/>
                    <a:moveTo>
                      <a:pt x="833" y="328"/>
                    </a:moveTo>
                    <a:lnTo>
                      <a:pt x="835" y="328"/>
                    </a:lnTo>
                    <a:lnTo>
                      <a:pt x="835" y="330"/>
                    </a:lnTo>
                    <a:lnTo>
                      <a:pt x="833" y="330"/>
                    </a:lnTo>
                    <a:lnTo>
                      <a:pt x="833" y="328"/>
                    </a:lnTo>
                    <a:close/>
                    <a:moveTo>
                      <a:pt x="1165" y="1259"/>
                    </a:moveTo>
                    <a:lnTo>
                      <a:pt x="1167" y="1259"/>
                    </a:lnTo>
                    <a:lnTo>
                      <a:pt x="1167" y="1261"/>
                    </a:lnTo>
                    <a:lnTo>
                      <a:pt x="1165" y="1261"/>
                    </a:lnTo>
                    <a:lnTo>
                      <a:pt x="1165" y="1259"/>
                    </a:lnTo>
                    <a:close/>
                    <a:moveTo>
                      <a:pt x="1102" y="1244"/>
                    </a:moveTo>
                    <a:lnTo>
                      <a:pt x="1102" y="1246"/>
                    </a:lnTo>
                    <a:lnTo>
                      <a:pt x="1102" y="1244"/>
                    </a:lnTo>
                    <a:close/>
                    <a:moveTo>
                      <a:pt x="1171" y="1043"/>
                    </a:moveTo>
                    <a:lnTo>
                      <a:pt x="1173" y="1043"/>
                    </a:lnTo>
                    <a:lnTo>
                      <a:pt x="1173" y="1045"/>
                    </a:lnTo>
                    <a:lnTo>
                      <a:pt x="1171" y="1045"/>
                    </a:lnTo>
                    <a:lnTo>
                      <a:pt x="1171" y="1043"/>
                    </a:lnTo>
                    <a:close/>
                    <a:moveTo>
                      <a:pt x="1173" y="1162"/>
                    </a:moveTo>
                    <a:lnTo>
                      <a:pt x="1175" y="1162"/>
                    </a:lnTo>
                    <a:lnTo>
                      <a:pt x="1173" y="1162"/>
                    </a:lnTo>
                    <a:close/>
                    <a:moveTo>
                      <a:pt x="631" y="1005"/>
                    </a:moveTo>
                    <a:lnTo>
                      <a:pt x="633" y="1005"/>
                    </a:lnTo>
                    <a:lnTo>
                      <a:pt x="633" y="1007"/>
                    </a:lnTo>
                    <a:lnTo>
                      <a:pt x="631" y="1007"/>
                    </a:lnTo>
                    <a:lnTo>
                      <a:pt x="631" y="1005"/>
                    </a:lnTo>
                    <a:close/>
                    <a:moveTo>
                      <a:pt x="721" y="805"/>
                    </a:moveTo>
                    <a:lnTo>
                      <a:pt x="723" y="805"/>
                    </a:lnTo>
                    <a:lnTo>
                      <a:pt x="723" y="809"/>
                    </a:lnTo>
                    <a:lnTo>
                      <a:pt x="721" y="809"/>
                    </a:lnTo>
                    <a:lnTo>
                      <a:pt x="721" y="805"/>
                    </a:lnTo>
                    <a:close/>
                    <a:moveTo>
                      <a:pt x="717" y="1101"/>
                    </a:moveTo>
                    <a:lnTo>
                      <a:pt x="719" y="1101"/>
                    </a:lnTo>
                    <a:lnTo>
                      <a:pt x="719" y="1103"/>
                    </a:lnTo>
                    <a:lnTo>
                      <a:pt x="717" y="1103"/>
                    </a:lnTo>
                    <a:lnTo>
                      <a:pt x="717" y="1101"/>
                    </a:lnTo>
                    <a:close/>
                    <a:moveTo>
                      <a:pt x="892" y="431"/>
                    </a:moveTo>
                    <a:lnTo>
                      <a:pt x="894" y="431"/>
                    </a:lnTo>
                    <a:lnTo>
                      <a:pt x="894" y="433"/>
                    </a:lnTo>
                    <a:lnTo>
                      <a:pt x="892" y="433"/>
                    </a:lnTo>
                    <a:lnTo>
                      <a:pt x="892" y="431"/>
                    </a:lnTo>
                    <a:close/>
                    <a:moveTo>
                      <a:pt x="744" y="885"/>
                    </a:moveTo>
                    <a:lnTo>
                      <a:pt x="746" y="885"/>
                    </a:lnTo>
                    <a:lnTo>
                      <a:pt x="746" y="887"/>
                    </a:lnTo>
                    <a:lnTo>
                      <a:pt x="744" y="887"/>
                    </a:lnTo>
                    <a:lnTo>
                      <a:pt x="744" y="885"/>
                    </a:lnTo>
                    <a:close/>
                    <a:moveTo>
                      <a:pt x="1205" y="1207"/>
                    </a:moveTo>
                    <a:lnTo>
                      <a:pt x="1205" y="1209"/>
                    </a:lnTo>
                    <a:lnTo>
                      <a:pt x="1205" y="1207"/>
                    </a:lnTo>
                    <a:close/>
                    <a:moveTo>
                      <a:pt x="858" y="1675"/>
                    </a:moveTo>
                    <a:lnTo>
                      <a:pt x="860" y="1675"/>
                    </a:lnTo>
                    <a:lnTo>
                      <a:pt x="858" y="1675"/>
                    </a:lnTo>
                    <a:close/>
                    <a:moveTo>
                      <a:pt x="1333" y="1526"/>
                    </a:moveTo>
                    <a:lnTo>
                      <a:pt x="1333" y="1528"/>
                    </a:lnTo>
                    <a:lnTo>
                      <a:pt x="1333" y="1526"/>
                    </a:lnTo>
                    <a:close/>
                    <a:moveTo>
                      <a:pt x="1158" y="1251"/>
                    </a:moveTo>
                    <a:lnTo>
                      <a:pt x="1159" y="1251"/>
                    </a:lnTo>
                    <a:lnTo>
                      <a:pt x="1159" y="1253"/>
                    </a:lnTo>
                    <a:lnTo>
                      <a:pt x="1158" y="1253"/>
                    </a:lnTo>
                    <a:lnTo>
                      <a:pt x="1158" y="1251"/>
                    </a:lnTo>
                    <a:close/>
                    <a:moveTo>
                      <a:pt x="706" y="1068"/>
                    </a:moveTo>
                    <a:lnTo>
                      <a:pt x="706" y="1070"/>
                    </a:lnTo>
                    <a:lnTo>
                      <a:pt x="706" y="1068"/>
                    </a:lnTo>
                    <a:close/>
                    <a:moveTo>
                      <a:pt x="1026" y="1217"/>
                    </a:moveTo>
                    <a:lnTo>
                      <a:pt x="1026" y="1219"/>
                    </a:lnTo>
                    <a:lnTo>
                      <a:pt x="1026" y="1217"/>
                    </a:lnTo>
                    <a:close/>
                    <a:moveTo>
                      <a:pt x="1178" y="1272"/>
                    </a:moveTo>
                    <a:lnTo>
                      <a:pt x="1178" y="1274"/>
                    </a:lnTo>
                    <a:lnTo>
                      <a:pt x="1178" y="1272"/>
                    </a:lnTo>
                    <a:close/>
                    <a:moveTo>
                      <a:pt x="1005" y="528"/>
                    </a:moveTo>
                    <a:lnTo>
                      <a:pt x="1005" y="530"/>
                    </a:lnTo>
                    <a:lnTo>
                      <a:pt x="1005" y="528"/>
                    </a:lnTo>
                    <a:close/>
                    <a:moveTo>
                      <a:pt x="606" y="1005"/>
                    </a:moveTo>
                    <a:lnTo>
                      <a:pt x="606" y="1007"/>
                    </a:lnTo>
                    <a:lnTo>
                      <a:pt x="606" y="1005"/>
                    </a:lnTo>
                    <a:close/>
                    <a:moveTo>
                      <a:pt x="1072" y="1219"/>
                    </a:moveTo>
                    <a:lnTo>
                      <a:pt x="1074" y="1219"/>
                    </a:lnTo>
                    <a:lnTo>
                      <a:pt x="1074" y="1221"/>
                    </a:lnTo>
                    <a:lnTo>
                      <a:pt x="1072" y="1221"/>
                    </a:lnTo>
                    <a:lnTo>
                      <a:pt x="1072" y="1219"/>
                    </a:lnTo>
                    <a:close/>
                    <a:moveTo>
                      <a:pt x="1087" y="1234"/>
                    </a:moveTo>
                    <a:lnTo>
                      <a:pt x="1089" y="1234"/>
                    </a:lnTo>
                    <a:lnTo>
                      <a:pt x="1089" y="1236"/>
                    </a:lnTo>
                    <a:lnTo>
                      <a:pt x="1087" y="1236"/>
                    </a:lnTo>
                    <a:lnTo>
                      <a:pt x="1087" y="1234"/>
                    </a:lnTo>
                    <a:close/>
                    <a:moveTo>
                      <a:pt x="648" y="826"/>
                    </a:moveTo>
                    <a:lnTo>
                      <a:pt x="648" y="828"/>
                    </a:lnTo>
                    <a:lnTo>
                      <a:pt x="648" y="826"/>
                    </a:lnTo>
                    <a:close/>
                    <a:moveTo>
                      <a:pt x="894" y="1154"/>
                    </a:moveTo>
                    <a:lnTo>
                      <a:pt x="896" y="1154"/>
                    </a:lnTo>
                    <a:lnTo>
                      <a:pt x="896" y="1156"/>
                    </a:lnTo>
                    <a:lnTo>
                      <a:pt x="894" y="1156"/>
                    </a:lnTo>
                    <a:lnTo>
                      <a:pt x="894" y="1154"/>
                    </a:lnTo>
                    <a:close/>
                    <a:moveTo>
                      <a:pt x="1001" y="1475"/>
                    </a:moveTo>
                    <a:lnTo>
                      <a:pt x="1003" y="1475"/>
                    </a:lnTo>
                    <a:lnTo>
                      <a:pt x="1003" y="1477"/>
                    </a:lnTo>
                    <a:lnTo>
                      <a:pt x="1001" y="1477"/>
                    </a:lnTo>
                    <a:lnTo>
                      <a:pt x="1001" y="1475"/>
                    </a:lnTo>
                    <a:close/>
                    <a:moveTo>
                      <a:pt x="740" y="404"/>
                    </a:moveTo>
                    <a:lnTo>
                      <a:pt x="740" y="406"/>
                    </a:lnTo>
                    <a:lnTo>
                      <a:pt x="740" y="404"/>
                    </a:lnTo>
                    <a:close/>
                    <a:moveTo>
                      <a:pt x="1041" y="1019"/>
                    </a:moveTo>
                    <a:lnTo>
                      <a:pt x="1041" y="1020"/>
                    </a:lnTo>
                    <a:lnTo>
                      <a:pt x="1041" y="1019"/>
                    </a:lnTo>
                    <a:close/>
                    <a:moveTo>
                      <a:pt x="812" y="1026"/>
                    </a:moveTo>
                    <a:lnTo>
                      <a:pt x="814" y="1026"/>
                    </a:lnTo>
                    <a:lnTo>
                      <a:pt x="814" y="1028"/>
                    </a:lnTo>
                    <a:lnTo>
                      <a:pt x="812" y="1028"/>
                    </a:lnTo>
                    <a:lnTo>
                      <a:pt x="812" y="1026"/>
                    </a:lnTo>
                    <a:close/>
                    <a:moveTo>
                      <a:pt x="1156" y="977"/>
                    </a:moveTo>
                    <a:lnTo>
                      <a:pt x="1158" y="977"/>
                    </a:lnTo>
                    <a:lnTo>
                      <a:pt x="1156" y="977"/>
                    </a:lnTo>
                    <a:close/>
                    <a:moveTo>
                      <a:pt x="257" y="984"/>
                    </a:moveTo>
                    <a:lnTo>
                      <a:pt x="259" y="984"/>
                    </a:lnTo>
                    <a:lnTo>
                      <a:pt x="257" y="984"/>
                    </a:lnTo>
                    <a:close/>
                    <a:moveTo>
                      <a:pt x="1178" y="1049"/>
                    </a:moveTo>
                    <a:lnTo>
                      <a:pt x="1178" y="1051"/>
                    </a:lnTo>
                    <a:lnTo>
                      <a:pt x="1178" y="1049"/>
                    </a:lnTo>
                    <a:close/>
                    <a:moveTo>
                      <a:pt x="267" y="1648"/>
                    </a:moveTo>
                    <a:lnTo>
                      <a:pt x="269" y="1648"/>
                    </a:lnTo>
                    <a:lnTo>
                      <a:pt x="269" y="1650"/>
                    </a:lnTo>
                    <a:lnTo>
                      <a:pt x="267" y="1650"/>
                    </a:lnTo>
                    <a:lnTo>
                      <a:pt x="267" y="1648"/>
                    </a:lnTo>
                    <a:close/>
                    <a:moveTo>
                      <a:pt x="807" y="1007"/>
                    </a:moveTo>
                    <a:lnTo>
                      <a:pt x="807" y="1009"/>
                    </a:lnTo>
                    <a:lnTo>
                      <a:pt x="807" y="1007"/>
                    </a:lnTo>
                    <a:close/>
                    <a:moveTo>
                      <a:pt x="984" y="1490"/>
                    </a:moveTo>
                    <a:lnTo>
                      <a:pt x="986" y="1490"/>
                    </a:lnTo>
                    <a:lnTo>
                      <a:pt x="986" y="1494"/>
                    </a:lnTo>
                    <a:lnTo>
                      <a:pt x="984" y="1494"/>
                    </a:lnTo>
                    <a:lnTo>
                      <a:pt x="984" y="1490"/>
                    </a:lnTo>
                    <a:close/>
                    <a:moveTo>
                      <a:pt x="416" y="1074"/>
                    </a:moveTo>
                    <a:lnTo>
                      <a:pt x="418" y="1074"/>
                    </a:lnTo>
                    <a:lnTo>
                      <a:pt x="418" y="1076"/>
                    </a:lnTo>
                    <a:lnTo>
                      <a:pt x="416" y="1076"/>
                    </a:lnTo>
                    <a:lnTo>
                      <a:pt x="416" y="1074"/>
                    </a:lnTo>
                    <a:close/>
                    <a:moveTo>
                      <a:pt x="1371" y="1650"/>
                    </a:moveTo>
                    <a:lnTo>
                      <a:pt x="1373" y="1650"/>
                    </a:lnTo>
                    <a:lnTo>
                      <a:pt x="1373" y="1652"/>
                    </a:lnTo>
                    <a:lnTo>
                      <a:pt x="1371" y="1652"/>
                    </a:lnTo>
                    <a:lnTo>
                      <a:pt x="1371" y="1650"/>
                    </a:lnTo>
                    <a:close/>
                    <a:moveTo>
                      <a:pt x="219" y="1641"/>
                    </a:moveTo>
                    <a:lnTo>
                      <a:pt x="221" y="1641"/>
                    </a:lnTo>
                    <a:lnTo>
                      <a:pt x="221" y="1643"/>
                    </a:lnTo>
                    <a:lnTo>
                      <a:pt x="219" y="1643"/>
                    </a:lnTo>
                    <a:lnTo>
                      <a:pt x="219" y="1641"/>
                    </a:lnTo>
                    <a:close/>
                    <a:moveTo>
                      <a:pt x="891" y="1164"/>
                    </a:moveTo>
                    <a:lnTo>
                      <a:pt x="892" y="1164"/>
                    </a:lnTo>
                    <a:lnTo>
                      <a:pt x="892" y="1165"/>
                    </a:lnTo>
                    <a:lnTo>
                      <a:pt x="891" y="1165"/>
                    </a:lnTo>
                    <a:lnTo>
                      <a:pt x="891" y="1164"/>
                    </a:lnTo>
                    <a:close/>
                    <a:moveTo>
                      <a:pt x="706" y="595"/>
                    </a:moveTo>
                    <a:lnTo>
                      <a:pt x="706" y="597"/>
                    </a:lnTo>
                    <a:lnTo>
                      <a:pt x="706" y="595"/>
                    </a:lnTo>
                    <a:close/>
                    <a:moveTo>
                      <a:pt x="1177" y="1047"/>
                    </a:moveTo>
                    <a:lnTo>
                      <a:pt x="1177" y="1049"/>
                    </a:lnTo>
                    <a:lnTo>
                      <a:pt x="1177" y="1047"/>
                    </a:lnTo>
                    <a:close/>
                    <a:moveTo>
                      <a:pt x="1207" y="1309"/>
                    </a:moveTo>
                    <a:lnTo>
                      <a:pt x="1209" y="1309"/>
                    </a:lnTo>
                    <a:lnTo>
                      <a:pt x="1207" y="1309"/>
                    </a:lnTo>
                    <a:close/>
                    <a:moveTo>
                      <a:pt x="559" y="826"/>
                    </a:moveTo>
                    <a:lnTo>
                      <a:pt x="559" y="828"/>
                    </a:lnTo>
                    <a:lnTo>
                      <a:pt x="559" y="826"/>
                    </a:lnTo>
                    <a:close/>
                    <a:moveTo>
                      <a:pt x="1005" y="973"/>
                    </a:moveTo>
                    <a:lnTo>
                      <a:pt x="1005" y="975"/>
                    </a:lnTo>
                    <a:lnTo>
                      <a:pt x="1005" y="973"/>
                    </a:lnTo>
                    <a:close/>
                    <a:moveTo>
                      <a:pt x="195" y="1576"/>
                    </a:moveTo>
                    <a:lnTo>
                      <a:pt x="196" y="1576"/>
                    </a:lnTo>
                    <a:lnTo>
                      <a:pt x="195" y="1576"/>
                    </a:lnTo>
                    <a:close/>
                    <a:moveTo>
                      <a:pt x="1083" y="1240"/>
                    </a:moveTo>
                    <a:lnTo>
                      <a:pt x="1085" y="1240"/>
                    </a:lnTo>
                    <a:lnTo>
                      <a:pt x="1083" y="1240"/>
                    </a:lnTo>
                    <a:close/>
                    <a:moveTo>
                      <a:pt x="1083" y="1227"/>
                    </a:moveTo>
                    <a:lnTo>
                      <a:pt x="1085" y="1227"/>
                    </a:lnTo>
                    <a:lnTo>
                      <a:pt x="1085" y="1228"/>
                    </a:lnTo>
                    <a:lnTo>
                      <a:pt x="1083" y="1228"/>
                    </a:lnTo>
                    <a:lnTo>
                      <a:pt x="1083" y="1227"/>
                    </a:lnTo>
                    <a:close/>
                    <a:moveTo>
                      <a:pt x="833" y="1461"/>
                    </a:moveTo>
                    <a:lnTo>
                      <a:pt x="835" y="1461"/>
                    </a:lnTo>
                    <a:lnTo>
                      <a:pt x="835" y="1463"/>
                    </a:lnTo>
                    <a:lnTo>
                      <a:pt x="833" y="1463"/>
                    </a:lnTo>
                    <a:lnTo>
                      <a:pt x="833" y="1461"/>
                    </a:lnTo>
                    <a:close/>
                    <a:moveTo>
                      <a:pt x="652" y="675"/>
                    </a:moveTo>
                    <a:lnTo>
                      <a:pt x="654" y="675"/>
                    </a:lnTo>
                    <a:lnTo>
                      <a:pt x="652" y="675"/>
                    </a:lnTo>
                    <a:close/>
                    <a:moveTo>
                      <a:pt x="1007" y="1356"/>
                    </a:moveTo>
                    <a:lnTo>
                      <a:pt x="1009" y="1356"/>
                    </a:lnTo>
                    <a:lnTo>
                      <a:pt x="1009" y="1358"/>
                    </a:lnTo>
                    <a:lnTo>
                      <a:pt x="1007" y="1358"/>
                    </a:lnTo>
                    <a:lnTo>
                      <a:pt x="1007" y="1356"/>
                    </a:lnTo>
                    <a:close/>
                    <a:moveTo>
                      <a:pt x="963" y="1381"/>
                    </a:moveTo>
                    <a:lnTo>
                      <a:pt x="963" y="1383"/>
                    </a:lnTo>
                    <a:lnTo>
                      <a:pt x="963" y="1381"/>
                    </a:lnTo>
                    <a:close/>
                    <a:moveTo>
                      <a:pt x="1224" y="1242"/>
                    </a:moveTo>
                    <a:lnTo>
                      <a:pt x="1224" y="1244"/>
                    </a:lnTo>
                    <a:lnTo>
                      <a:pt x="1224" y="1242"/>
                    </a:lnTo>
                    <a:close/>
                    <a:moveTo>
                      <a:pt x="1201" y="1381"/>
                    </a:moveTo>
                    <a:lnTo>
                      <a:pt x="1201" y="1383"/>
                    </a:lnTo>
                    <a:lnTo>
                      <a:pt x="1201" y="1381"/>
                    </a:lnTo>
                    <a:close/>
                    <a:moveTo>
                      <a:pt x="519" y="1072"/>
                    </a:moveTo>
                    <a:lnTo>
                      <a:pt x="521" y="1072"/>
                    </a:lnTo>
                    <a:lnTo>
                      <a:pt x="519" y="1072"/>
                    </a:lnTo>
                    <a:close/>
                    <a:moveTo>
                      <a:pt x="721" y="1013"/>
                    </a:moveTo>
                    <a:lnTo>
                      <a:pt x="723" y="1013"/>
                    </a:lnTo>
                    <a:lnTo>
                      <a:pt x="723" y="1015"/>
                    </a:lnTo>
                    <a:lnTo>
                      <a:pt x="721" y="1015"/>
                    </a:lnTo>
                    <a:lnTo>
                      <a:pt x="721" y="1013"/>
                    </a:lnTo>
                    <a:close/>
                    <a:moveTo>
                      <a:pt x="202" y="1583"/>
                    </a:moveTo>
                    <a:lnTo>
                      <a:pt x="202" y="1585"/>
                    </a:lnTo>
                    <a:lnTo>
                      <a:pt x="202" y="1583"/>
                    </a:lnTo>
                    <a:close/>
                    <a:moveTo>
                      <a:pt x="1367" y="1656"/>
                    </a:moveTo>
                    <a:lnTo>
                      <a:pt x="1369" y="1656"/>
                    </a:lnTo>
                    <a:lnTo>
                      <a:pt x="1369" y="1658"/>
                    </a:lnTo>
                    <a:lnTo>
                      <a:pt x="1367" y="1658"/>
                    </a:lnTo>
                    <a:lnTo>
                      <a:pt x="1367" y="1656"/>
                    </a:lnTo>
                    <a:close/>
                    <a:moveTo>
                      <a:pt x="431" y="1019"/>
                    </a:moveTo>
                    <a:lnTo>
                      <a:pt x="433" y="1019"/>
                    </a:lnTo>
                    <a:lnTo>
                      <a:pt x="431" y="1019"/>
                    </a:lnTo>
                    <a:close/>
                    <a:moveTo>
                      <a:pt x="618" y="1045"/>
                    </a:moveTo>
                    <a:lnTo>
                      <a:pt x="620" y="1045"/>
                    </a:lnTo>
                    <a:lnTo>
                      <a:pt x="618" y="1045"/>
                    </a:lnTo>
                    <a:close/>
                    <a:moveTo>
                      <a:pt x="446" y="1074"/>
                    </a:moveTo>
                    <a:lnTo>
                      <a:pt x="448" y="1074"/>
                    </a:lnTo>
                    <a:lnTo>
                      <a:pt x="446" y="1074"/>
                    </a:lnTo>
                    <a:close/>
                    <a:moveTo>
                      <a:pt x="534" y="893"/>
                    </a:moveTo>
                    <a:lnTo>
                      <a:pt x="536" y="893"/>
                    </a:lnTo>
                    <a:lnTo>
                      <a:pt x="536" y="895"/>
                    </a:lnTo>
                    <a:lnTo>
                      <a:pt x="534" y="895"/>
                    </a:lnTo>
                    <a:lnTo>
                      <a:pt x="534" y="893"/>
                    </a:lnTo>
                    <a:close/>
                    <a:moveTo>
                      <a:pt x="1177" y="1255"/>
                    </a:moveTo>
                    <a:lnTo>
                      <a:pt x="1178" y="1255"/>
                    </a:lnTo>
                    <a:lnTo>
                      <a:pt x="1178" y="1257"/>
                    </a:lnTo>
                    <a:lnTo>
                      <a:pt x="1177" y="1257"/>
                    </a:lnTo>
                    <a:lnTo>
                      <a:pt x="1177" y="1255"/>
                    </a:lnTo>
                    <a:close/>
                    <a:moveTo>
                      <a:pt x="437" y="1074"/>
                    </a:moveTo>
                    <a:lnTo>
                      <a:pt x="439" y="1074"/>
                    </a:lnTo>
                    <a:lnTo>
                      <a:pt x="437" y="1074"/>
                    </a:lnTo>
                    <a:close/>
                    <a:moveTo>
                      <a:pt x="1072" y="1221"/>
                    </a:moveTo>
                    <a:lnTo>
                      <a:pt x="1072" y="1223"/>
                    </a:lnTo>
                    <a:lnTo>
                      <a:pt x="1072" y="1221"/>
                    </a:lnTo>
                    <a:close/>
                    <a:moveTo>
                      <a:pt x="1264" y="1696"/>
                    </a:moveTo>
                    <a:lnTo>
                      <a:pt x="1266" y="1696"/>
                    </a:lnTo>
                    <a:lnTo>
                      <a:pt x="1264" y="1696"/>
                    </a:lnTo>
                    <a:close/>
                    <a:moveTo>
                      <a:pt x="1222" y="1236"/>
                    </a:moveTo>
                    <a:lnTo>
                      <a:pt x="1222" y="1238"/>
                    </a:lnTo>
                    <a:lnTo>
                      <a:pt x="1222" y="1236"/>
                    </a:lnTo>
                    <a:close/>
                    <a:moveTo>
                      <a:pt x="1272" y="1465"/>
                    </a:moveTo>
                    <a:lnTo>
                      <a:pt x="1274" y="1465"/>
                    </a:lnTo>
                    <a:lnTo>
                      <a:pt x="1272" y="1465"/>
                    </a:lnTo>
                    <a:close/>
                    <a:moveTo>
                      <a:pt x="1182" y="1192"/>
                    </a:moveTo>
                    <a:lnTo>
                      <a:pt x="1184" y="1192"/>
                    </a:lnTo>
                    <a:lnTo>
                      <a:pt x="1184" y="1194"/>
                    </a:lnTo>
                    <a:lnTo>
                      <a:pt x="1182" y="1194"/>
                    </a:lnTo>
                    <a:lnTo>
                      <a:pt x="1182" y="1192"/>
                    </a:lnTo>
                    <a:close/>
                    <a:moveTo>
                      <a:pt x="166" y="1538"/>
                    </a:moveTo>
                    <a:lnTo>
                      <a:pt x="166" y="1539"/>
                    </a:lnTo>
                    <a:lnTo>
                      <a:pt x="166" y="1538"/>
                    </a:lnTo>
                    <a:close/>
                    <a:moveTo>
                      <a:pt x="1236" y="1637"/>
                    </a:moveTo>
                    <a:lnTo>
                      <a:pt x="1238" y="1637"/>
                    </a:lnTo>
                    <a:lnTo>
                      <a:pt x="1238" y="1639"/>
                    </a:lnTo>
                    <a:lnTo>
                      <a:pt x="1236" y="1639"/>
                    </a:lnTo>
                    <a:lnTo>
                      <a:pt x="1236" y="1637"/>
                    </a:lnTo>
                    <a:close/>
                    <a:moveTo>
                      <a:pt x="828" y="1228"/>
                    </a:moveTo>
                    <a:lnTo>
                      <a:pt x="828" y="1230"/>
                    </a:lnTo>
                    <a:lnTo>
                      <a:pt x="828" y="1228"/>
                    </a:lnTo>
                    <a:close/>
                    <a:moveTo>
                      <a:pt x="1196" y="1267"/>
                    </a:moveTo>
                    <a:lnTo>
                      <a:pt x="1198" y="1267"/>
                    </a:lnTo>
                    <a:lnTo>
                      <a:pt x="1196" y="1267"/>
                    </a:lnTo>
                    <a:close/>
                    <a:moveTo>
                      <a:pt x="1165" y="996"/>
                    </a:moveTo>
                    <a:lnTo>
                      <a:pt x="1167" y="996"/>
                    </a:lnTo>
                    <a:lnTo>
                      <a:pt x="1165" y="996"/>
                    </a:lnTo>
                    <a:close/>
                    <a:moveTo>
                      <a:pt x="1173" y="1160"/>
                    </a:moveTo>
                    <a:lnTo>
                      <a:pt x="1175" y="1160"/>
                    </a:lnTo>
                    <a:lnTo>
                      <a:pt x="1173" y="1160"/>
                    </a:lnTo>
                    <a:close/>
                    <a:moveTo>
                      <a:pt x="280" y="1671"/>
                    </a:moveTo>
                    <a:lnTo>
                      <a:pt x="282" y="1671"/>
                    </a:lnTo>
                    <a:lnTo>
                      <a:pt x="282" y="1673"/>
                    </a:lnTo>
                    <a:lnTo>
                      <a:pt x="280" y="1673"/>
                    </a:lnTo>
                    <a:lnTo>
                      <a:pt x="280" y="1671"/>
                    </a:lnTo>
                    <a:close/>
                    <a:moveTo>
                      <a:pt x="1184" y="1263"/>
                    </a:moveTo>
                    <a:lnTo>
                      <a:pt x="1184" y="1265"/>
                    </a:lnTo>
                    <a:lnTo>
                      <a:pt x="1184" y="1263"/>
                    </a:lnTo>
                    <a:close/>
                    <a:moveTo>
                      <a:pt x="1219" y="1349"/>
                    </a:moveTo>
                    <a:lnTo>
                      <a:pt x="1219" y="1351"/>
                    </a:lnTo>
                    <a:lnTo>
                      <a:pt x="1219" y="1349"/>
                    </a:lnTo>
                    <a:close/>
                    <a:moveTo>
                      <a:pt x="776" y="1270"/>
                    </a:moveTo>
                    <a:lnTo>
                      <a:pt x="776" y="1272"/>
                    </a:lnTo>
                    <a:lnTo>
                      <a:pt x="776" y="1270"/>
                    </a:lnTo>
                    <a:close/>
                    <a:moveTo>
                      <a:pt x="202" y="1589"/>
                    </a:moveTo>
                    <a:lnTo>
                      <a:pt x="204" y="1589"/>
                    </a:lnTo>
                    <a:lnTo>
                      <a:pt x="204" y="1591"/>
                    </a:lnTo>
                    <a:lnTo>
                      <a:pt x="202" y="1591"/>
                    </a:lnTo>
                    <a:lnTo>
                      <a:pt x="202" y="1589"/>
                    </a:lnTo>
                    <a:close/>
                    <a:moveTo>
                      <a:pt x="1226" y="1248"/>
                    </a:moveTo>
                    <a:lnTo>
                      <a:pt x="1226" y="1249"/>
                    </a:lnTo>
                    <a:lnTo>
                      <a:pt x="1226" y="1248"/>
                    </a:lnTo>
                    <a:close/>
                    <a:moveTo>
                      <a:pt x="643" y="875"/>
                    </a:moveTo>
                    <a:lnTo>
                      <a:pt x="645" y="875"/>
                    </a:lnTo>
                    <a:lnTo>
                      <a:pt x="645" y="877"/>
                    </a:lnTo>
                    <a:lnTo>
                      <a:pt x="643" y="877"/>
                    </a:lnTo>
                    <a:lnTo>
                      <a:pt x="643" y="875"/>
                    </a:lnTo>
                    <a:close/>
                    <a:moveTo>
                      <a:pt x="879" y="1705"/>
                    </a:moveTo>
                    <a:lnTo>
                      <a:pt x="879" y="1707"/>
                    </a:lnTo>
                    <a:lnTo>
                      <a:pt x="879" y="1705"/>
                    </a:lnTo>
                    <a:close/>
                    <a:moveTo>
                      <a:pt x="101" y="1005"/>
                    </a:moveTo>
                    <a:lnTo>
                      <a:pt x="103" y="1005"/>
                    </a:lnTo>
                    <a:lnTo>
                      <a:pt x="103" y="1007"/>
                    </a:lnTo>
                    <a:lnTo>
                      <a:pt x="101" y="1007"/>
                    </a:lnTo>
                    <a:lnTo>
                      <a:pt x="101" y="1005"/>
                    </a:lnTo>
                    <a:close/>
                    <a:moveTo>
                      <a:pt x="690" y="395"/>
                    </a:moveTo>
                    <a:lnTo>
                      <a:pt x="692" y="395"/>
                    </a:lnTo>
                    <a:lnTo>
                      <a:pt x="692" y="397"/>
                    </a:lnTo>
                    <a:lnTo>
                      <a:pt x="690" y="397"/>
                    </a:lnTo>
                    <a:lnTo>
                      <a:pt x="690" y="395"/>
                    </a:lnTo>
                    <a:close/>
                    <a:moveTo>
                      <a:pt x="349" y="906"/>
                    </a:moveTo>
                    <a:lnTo>
                      <a:pt x="349" y="908"/>
                    </a:lnTo>
                    <a:lnTo>
                      <a:pt x="349" y="906"/>
                    </a:lnTo>
                    <a:close/>
                    <a:moveTo>
                      <a:pt x="887" y="526"/>
                    </a:moveTo>
                    <a:lnTo>
                      <a:pt x="889" y="526"/>
                    </a:lnTo>
                    <a:lnTo>
                      <a:pt x="889" y="528"/>
                    </a:lnTo>
                    <a:lnTo>
                      <a:pt x="887" y="528"/>
                    </a:lnTo>
                    <a:lnTo>
                      <a:pt x="887" y="526"/>
                    </a:lnTo>
                    <a:close/>
                    <a:moveTo>
                      <a:pt x="1241" y="1410"/>
                    </a:moveTo>
                    <a:lnTo>
                      <a:pt x="1243" y="1410"/>
                    </a:lnTo>
                    <a:lnTo>
                      <a:pt x="1241" y="1410"/>
                    </a:lnTo>
                    <a:close/>
                    <a:moveTo>
                      <a:pt x="393" y="704"/>
                    </a:moveTo>
                    <a:lnTo>
                      <a:pt x="395" y="704"/>
                    </a:lnTo>
                    <a:lnTo>
                      <a:pt x="395" y="706"/>
                    </a:lnTo>
                    <a:lnTo>
                      <a:pt x="393" y="706"/>
                    </a:lnTo>
                    <a:lnTo>
                      <a:pt x="393" y="704"/>
                    </a:lnTo>
                    <a:close/>
                    <a:moveTo>
                      <a:pt x="658" y="1078"/>
                    </a:moveTo>
                    <a:lnTo>
                      <a:pt x="660" y="1078"/>
                    </a:lnTo>
                    <a:lnTo>
                      <a:pt x="660" y="1080"/>
                    </a:lnTo>
                    <a:lnTo>
                      <a:pt x="658" y="1080"/>
                    </a:lnTo>
                    <a:lnTo>
                      <a:pt x="658" y="1078"/>
                    </a:lnTo>
                    <a:close/>
                    <a:moveTo>
                      <a:pt x="154" y="1580"/>
                    </a:moveTo>
                    <a:lnTo>
                      <a:pt x="154" y="1581"/>
                    </a:lnTo>
                    <a:lnTo>
                      <a:pt x="154" y="1580"/>
                    </a:lnTo>
                    <a:close/>
                    <a:moveTo>
                      <a:pt x="425" y="1030"/>
                    </a:moveTo>
                    <a:lnTo>
                      <a:pt x="425" y="1032"/>
                    </a:lnTo>
                    <a:lnTo>
                      <a:pt x="425" y="1030"/>
                    </a:lnTo>
                    <a:close/>
                    <a:moveTo>
                      <a:pt x="1346" y="1545"/>
                    </a:moveTo>
                    <a:lnTo>
                      <a:pt x="1348" y="1545"/>
                    </a:lnTo>
                    <a:lnTo>
                      <a:pt x="1346" y="1545"/>
                    </a:lnTo>
                    <a:close/>
                    <a:moveTo>
                      <a:pt x="1177" y="1177"/>
                    </a:moveTo>
                    <a:lnTo>
                      <a:pt x="1178" y="1177"/>
                    </a:lnTo>
                    <a:lnTo>
                      <a:pt x="1177" y="1177"/>
                    </a:lnTo>
                    <a:close/>
                    <a:moveTo>
                      <a:pt x="431" y="1078"/>
                    </a:moveTo>
                    <a:lnTo>
                      <a:pt x="431" y="1080"/>
                    </a:lnTo>
                    <a:lnTo>
                      <a:pt x="431" y="1078"/>
                    </a:lnTo>
                    <a:close/>
                    <a:moveTo>
                      <a:pt x="1079" y="1225"/>
                    </a:moveTo>
                    <a:lnTo>
                      <a:pt x="1081" y="1225"/>
                    </a:lnTo>
                    <a:lnTo>
                      <a:pt x="1079" y="1225"/>
                    </a:lnTo>
                    <a:close/>
                    <a:moveTo>
                      <a:pt x="889" y="1024"/>
                    </a:moveTo>
                    <a:lnTo>
                      <a:pt x="889" y="1026"/>
                    </a:lnTo>
                    <a:lnTo>
                      <a:pt x="889" y="1024"/>
                    </a:lnTo>
                    <a:close/>
                    <a:moveTo>
                      <a:pt x="1163" y="1251"/>
                    </a:moveTo>
                    <a:lnTo>
                      <a:pt x="1165" y="1251"/>
                    </a:lnTo>
                    <a:lnTo>
                      <a:pt x="1165" y="1253"/>
                    </a:lnTo>
                    <a:lnTo>
                      <a:pt x="1163" y="1253"/>
                    </a:lnTo>
                    <a:lnTo>
                      <a:pt x="1163" y="1251"/>
                    </a:lnTo>
                    <a:close/>
                    <a:moveTo>
                      <a:pt x="797" y="999"/>
                    </a:moveTo>
                    <a:lnTo>
                      <a:pt x="797" y="1001"/>
                    </a:lnTo>
                    <a:lnTo>
                      <a:pt x="797" y="999"/>
                    </a:lnTo>
                    <a:close/>
                    <a:moveTo>
                      <a:pt x="810" y="1026"/>
                    </a:moveTo>
                    <a:lnTo>
                      <a:pt x="812" y="1026"/>
                    </a:lnTo>
                    <a:lnTo>
                      <a:pt x="812" y="1028"/>
                    </a:lnTo>
                    <a:lnTo>
                      <a:pt x="810" y="1028"/>
                    </a:lnTo>
                    <a:lnTo>
                      <a:pt x="810" y="1026"/>
                    </a:lnTo>
                    <a:close/>
                    <a:moveTo>
                      <a:pt x="669" y="1057"/>
                    </a:moveTo>
                    <a:lnTo>
                      <a:pt x="669" y="1059"/>
                    </a:lnTo>
                    <a:lnTo>
                      <a:pt x="669" y="1057"/>
                    </a:lnTo>
                    <a:close/>
                    <a:moveTo>
                      <a:pt x="252" y="854"/>
                    </a:moveTo>
                    <a:lnTo>
                      <a:pt x="254" y="854"/>
                    </a:lnTo>
                    <a:lnTo>
                      <a:pt x="254" y="856"/>
                    </a:lnTo>
                    <a:lnTo>
                      <a:pt x="252" y="856"/>
                    </a:lnTo>
                    <a:lnTo>
                      <a:pt x="252" y="854"/>
                    </a:lnTo>
                    <a:close/>
                    <a:moveTo>
                      <a:pt x="1169" y="1293"/>
                    </a:moveTo>
                    <a:lnTo>
                      <a:pt x="1171" y="1293"/>
                    </a:lnTo>
                    <a:lnTo>
                      <a:pt x="1171" y="1295"/>
                    </a:lnTo>
                    <a:lnTo>
                      <a:pt x="1169" y="1295"/>
                    </a:lnTo>
                    <a:lnTo>
                      <a:pt x="1169" y="1293"/>
                    </a:lnTo>
                    <a:close/>
                    <a:moveTo>
                      <a:pt x="995" y="1463"/>
                    </a:moveTo>
                    <a:lnTo>
                      <a:pt x="997" y="1463"/>
                    </a:lnTo>
                    <a:lnTo>
                      <a:pt x="997" y="1465"/>
                    </a:lnTo>
                    <a:lnTo>
                      <a:pt x="995" y="1465"/>
                    </a:lnTo>
                    <a:lnTo>
                      <a:pt x="995" y="1463"/>
                    </a:lnTo>
                    <a:close/>
                    <a:moveTo>
                      <a:pt x="1346" y="1543"/>
                    </a:moveTo>
                    <a:lnTo>
                      <a:pt x="1346" y="1545"/>
                    </a:lnTo>
                    <a:lnTo>
                      <a:pt x="1346" y="1543"/>
                    </a:lnTo>
                    <a:close/>
                    <a:moveTo>
                      <a:pt x="1312" y="1612"/>
                    </a:moveTo>
                    <a:lnTo>
                      <a:pt x="1312" y="1614"/>
                    </a:lnTo>
                    <a:lnTo>
                      <a:pt x="1312" y="1612"/>
                    </a:lnTo>
                    <a:close/>
                    <a:moveTo>
                      <a:pt x="465" y="965"/>
                    </a:moveTo>
                    <a:lnTo>
                      <a:pt x="467" y="965"/>
                    </a:lnTo>
                    <a:lnTo>
                      <a:pt x="467" y="967"/>
                    </a:lnTo>
                    <a:lnTo>
                      <a:pt x="465" y="967"/>
                    </a:lnTo>
                    <a:lnTo>
                      <a:pt x="465" y="965"/>
                    </a:lnTo>
                    <a:close/>
                    <a:moveTo>
                      <a:pt x="1251" y="1414"/>
                    </a:moveTo>
                    <a:lnTo>
                      <a:pt x="1251" y="1415"/>
                    </a:lnTo>
                    <a:lnTo>
                      <a:pt x="1251" y="1414"/>
                    </a:lnTo>
                    <a:close/>
                    <a:moveTo>
                      <a:pt x="1308" y="1513"/>
                    </a:moveTo>
                    <a:lnTo>
                      <a:pt x="1310" y="1513"/>
                    </a:lnTo>
                    <a:lnTo>
                      <a:pt x="1308" y="1513"/>
                    </a:lnTo>
                    <a:close/>
                    <a:moveTo>
                      <a:pt x="185" y="1557"/>
                    </a:moveTo>
                    <a:lnTo>
                      <a:pt x="185" y="1559"/>
                    </a:lnTo>
                    <a:lnTo>
                      <a:pt x="185" y="1557"/>
                    </a:lnTo>
                    <a:close/>
                    <a:moveTo>
                      <a:pt x="856" y="1103"/>
                    </a:moveTo>
                    <a:lnTo>
                      <a:pt x="856" y="1104"/>
                    </a:lnTo>
                    <a:lnTo>
                      <a:pt x="856" y="1103"/>
                    </a:lnTo>
                    <a:close/>
                    <a:moveTo>
                      <a:pt x="1270" y="1478"/>
                    </a:moveTo>
                    <a:lnTo>
                      <a:pt x="1270" y="1480"/>
                    </a:lnTo>
                    <a:lnTo>
                      <a:pt x="1270" y="1478"/>
                    </a:lnTo>
                    <a:close/>
                    <a:moveTo>
                      <a:pt x="1260" y="1446"/>
                    </a:moveTo>
                    <a:lnTo>
                      <a:pt x="1260" y="1448"/>
                    </a:lnTo>
                    <a:lnTo>
                      <a:pt x="1260" y="1446"/>
                    </a:lnTo>
                    <a:close/>
                    <a:moveTo>
                      <a:pt x="1192" y="1267"/>
                    </a:moveTo>
                    <a:lnTo>
                      <a:pt x="1194" y="1267"/>
                    </a:lnTo>
                    <a:lnTo>
                      <a:pt x="1192" y="1267"/>
                    </a:lnTo>
                    <a:close/>
                    <a:moveTo>
                      <a:pt x="210" y="1602"/>
                    </a:moveTo>
                    <a:lnTo>
                      <a:pt x="212" y="1602"/>
                    </a:lnTo>
                    <a:lnTo>
                      <a:pt x="210" y="1602"/>
                    </a:lnTo>
                    <a:close/>
                    <a:moveTo>
                      <a:pt x="399" y="916"/>
                    </a:moveTo>
                    <a:lnTo>
                      <a:pt x="400" y="916"/>
                    </a:lnTo>
                    <a:lnTo>
                      <a:pt x="399" y="916"/>
                    </a:lnTo>
                    <a:close/>
                    <a:moveTo>
                      <a:pt x="797" y="1003"/>
                    </a:moveTo>
                    <a:lnTo>
                      <a:pt x="799" y="1003"/>
                    </a:lnTo>
                    <a:lnTo>
                      <a:pt x="799" y="1005"/>
                    </a:lnTo>
                    <a:lnTo>
                      <a:pt x="797" y="1005"/>
                    </a:lnTo>
                    <a:lnTo>
                      <a:pt x="797" y="1003"/>
                    </a:lnTo>
                    <a:close/>
                    <a:moveTo>
                      <a:pt x="982" y="992"/>
                    </a:moveTo>
                    <a:lnTo>
                      <a:pt x="984" y="992"/>
                    </a:lnTo>
                    <a:lnTo>
                      <a:pt x="984" y="994"/>
                    </a:lnTo>
                    <a:lnTo>
                      <a:pt x="982" y="994"/>
                    </a:lnTo>
                    <a:lnTo>
                      <a:pt x="982" y="992"/>
                    </a:lnTo>
                    <a:close/>
                    <a:moveTo>
                      <a:pt x="1337" y="1543"/>
                    </a:moveTo>
                    <a:lnTo>
                      <a:pt x="1339" y="1543"/>
                    </a:lnTo>
                    <a:lnTo>
                      <a:pt x="1337" y="1543"/>
                    </a:lnTo>
                    <a:close/>
                    <a:moveTo>
                      <a:pt x="1249" y="1414"/>
                    </a:moveTo>
                    <a:lnTo>
                      <a:pt x="1249" y="1415"/>
                    </a:lnTo>
                    <a:lnTo>
                      <a:pt x="1249" y="1414"/>
                    </a:lnTo>
                    <a:close/>
                    <a:moveTo>
                      <a:pt x="1310" y="1515"/>
                    </a:moveTo>
                    <a:lnTo>
                      <a:pt x="1310" y="1517"/>
                    </a:lnTo>
                    <a:lnTo>
                      <a:pt x="1310" y="1515"/>
                    </a:lnTo>
                    <a:close/>
                    <a:moveTo>
                      <a:pt x="92" y="1007"/>
                    </a:moveTo>
                    <a:lnTo>
                      <a:pt x="92" y="1009"/>
                    </a:lnTo>
                    <a:lnTo>
                      <a:pt x="92" y="1007"/>
                    </a:lnTo>
                    <a:close/>
                    <a:moveTo>
                      <a:pt x="891" y="1164"/>
                    </a:moveTo>
                    <a:lnTo>
                      <a:pt x="891" y="1165"/>
                    </a:lnTo>
                    <a:lnTo>
                      <a:pt x="891" y="1164"/>
                    </a:lnTo>
                    <a:close/>
                    <a:moveTo>
                      <a:pt x="448" y="1072"/>
                    </a:moveTo>
                    <a:lnTo>
                      <a:pt x="450" y="1072"/>
                    </a:lnTo>
                    <a:lnTo>
                      <a:pt x="450" y="1074"/>
                    </a:lnTo>
                    <a:lnTo>
                      <a:pt x="448" y="1074"/>
                    </a:lnTo>
                    <a:lnTo>
                      <a:pt x="448" y="1072"/>
                    </a:lnTo>
                    <a:close/>
                    <a:moveTo>
                      <a:pt x="1201" y="1200"/>
                    </a:moveTo>
                    <a:lnTo>
                      <a:pt x="1203" y="1200"/>
                    </a:lnTo>
                    <a:lnTo>
                      <a:pt x="1201" y="1200"/>
                    </a:lnTo>
                    <a:close/>
                    <a:moveTo>
                      <a:pt x="868" y="1093"/>
                    </a:moveTo>
                    <a:lnTo>
                      <a:pt x="868" y="1095"/>
                    </a:lnTo>
                    <a:lnTo>
                      <a:pt x="868" y="1093"/>
                    </a:lnTo>
                    <a:close/>
                    <a:moveTo>
                      <a:pt x="978" y="1534"/>
                    </a:moveTo>
                    <a:lnTo>
                      <a:pt x="980" y="1534"/>
                    </a:lnTo>
                    <a:lnTo>
                      <a:pt x="980" y="1536"/>
                    </a:lnTo>
                    <a:lnTo>
                      <a:pt x="978" y="1536"/>
                    </a:lnTo>
                    <a:lnTo>
                      <a:pt x="978" y="1534"/>
                    </a:lnTo>
                    <a:close/>
                    <a:moveTo>
                      <a:pt x="698" y="616"/>
                    </a:moveTo>
                    <a:lnTo>
                      <a:pt x="698" y="618"/>
                    </a:lnTo>
                    <a:lnTo>
                      <a:pt x="698" y="616"/>
                    </a:lnTo>
                    <a:close/>
                    <a:moveTo>
                      <a:pt x="982" y="1538"/>
                    </a:moveTo>
                    <a:lnTo>
                      <a:pt x="984" y="1538"/>
                    </a:lnTo>
                    <a:lnTo>
                      <a:pt x="982" y="1538"/>
                    </a:lnTo>
                    <a:close/>
                    <a:moveTo>
                      <a:pt x="1354" y="1637"/>
                    </a:moveTo>
                    <a:lnTo>
                      <a:pt x="1356" y="1637"/>
                    </a:lnTo>
                    <a:lnTo>
                      <a:pt x="1356" y="1639"/>
                    </a:lnTo>
                    <a:lnTo>
                      <a:pt x="1354" y="1639"/>
                    </a:lnTo>
                    <a:lnTo>
                      <a:pt x="1354" y="1637"/>
                    </a:lnTo>
                    <a:close/>
                    <a:moveTo>
                      <a:pt x="1096" y="1242"/>
                    </a:moveTo>
                    <a:lnTo>
                      <a:pt x="1096" y="1244"/>
                    </a:lnTo>
                    <a:lnTo>
                      <a:pt x="1096" y="1242"/>
                    </a:lnTo>
                    <a:close/>
                    <a:moveTo>
                      <a:pt x="1117" y="1267"/>
                    </a:moveTo>
                    <a:lnTo>
                      <a:pt x="1119" y="1267"/>
                    </a:lnTo>
                    <a:lnTo>
                      <a:pt x="1119" y="1269"/>
                    </a:lnTo>
                    <a:lnTo>
                      <a:pt x="1117" y="1269"/>
                    </a:lnTo>
                    <a:lnTo>
                      <a:pt x="1117" y="1267"/>
                    </a:lnTo>
                    <a:close/>
                    <a:moveTo>
                      <a:pt x="282" y="1673"/>
                    </a:moveTo>
                    <a:lnTo>
                      <a:pt x="282" y="1675"/>
                    </a:lnTo>
                    <a:lnTo>
                      <a:pt x="282" y="1673"/>
                    </a:lnTo>
                    <a:close/>
                    <a:moveTo>
                      <a:pt x="507" y="1076"/>
                    </a:moveTo>
                    <a:lnTo>
                      <a:pt x="509" y="1076"/>
                    </a:lnTo>
                    <a:lnTo>
                      <a:pt x="507" y="1076"/>
                    </a:lnTo>
                    <a:close/>
                    <a:moveTo>
                      <a:pt x="505" y="1072"/>
                    </a:moveTo>
                    <a:lnTo>
                      <a:pt x="507" y="1072"/>
                    </a:lnTo>
                    <a:lnTo>
                      <a:pt x="505" y="1072"/>
                    </a:lnTo>
                    <a:close/>
                    <a:moveTo>
                      <a:pt x="1051" y="1032"/>
                    </a:moveTo>
                    <a:lnTo>
                      <a:pt x="1053" y="1032"/>
                    </a:lnTo>
                    <a:lnTo>
                      <a:pt x="1051" y="1032"/>
                    </a:lnTo>
                    <a:close/>
                    <a:moveTo>
                      <a:pt x="229" y="1627"/>
                    </a:moveTo>
                    <a:lnTo>
                      <a:pt x="231" y="1627"/>
                    </a:lnTo>
                    <a:lnTo>
                      <a:pt x="229" y="1627"/>
                    </a:lnTo>
                    <a:close/>
                    <a:moveTo>
                      <a:pt x="1009" y="1419"/>
                    </a:moveTo>
                    <a:lnTo>
                      <a:pt x="1011" y="1419"/>
                    </a:lnTo>
                    <a:lnTo>
                      <a:pt x="1009" y="1419"/>
                    </a:lnTo>
                    <a:close/>
                    <a:moveTo>
                      <a:pt x="719" y="1015"/>
                    </a:moveTo>
                    <a:lnTo>
                      <a:pt x="721" y="1015"/>
                    </a:lnTo>
                    <a:lnTo>
                      <a:pt x="719" y="1015"/>
                    </a:lnTo>
                    <a:close/>
                    <a:moveTo>
                      <a:pt x="999" y="1412"/>
                    </a:moveTo>
                    <a:lnTo>
                      <a:pt x="1001" y="1412"/>
                    </a:lnTo>
                    <a:lnTo>
                      <a:pt x="1001" y="1414"/>
                    </a:lnTo>
                    <a:lnTo>
                      <a:pt x="999" y="1414"/>
                    </a:lnTo>
                    <a:lnTo>
                      <a:pt x="999" y="1412"/>
                    </a:lnTo>
                    <a:close/>
                    <a:moveTo>
                      <a:pt x="1262" y="1440"/>
                    </a:moveTo>
                    <a:lnTo>
                      <a:pt x="1264" y="1440"/>
                    </a:lnTo>
                    <a:lnTo>
                      <a:pt x="1264" y="1442"/>
                    </a:lnTo>
                    <a:lnTo>
                      <a:pt x="1262" y="1442"/>
                    </a:lnTo>
                    <a:lnTo>
                      <a:pt x="1262" y="1440"/>
                    </a:lnTo>
                    <a:close/>
                    <a:moveTo>
                      <a:pt x="1276" y="1478"/>
                    </a:moveTo>
                    <a:lnTo>
                      <a:pt x="1278" y="1478"/>
                    </a:lnTo>
                    <a:lnTo>
                      <a:pt x="1278" y="1480"/>
                    </a:lnTo>
                    <a:lnTo>
                      <a:pt x="1276" y="1480"/>
                    </a:lnTo>
                    <a:lnTo>
                      <a:pt x="1276" y="1478"/>
                    </a:lnTo>
                    <a:close/>
                    <a:moveTo>
                      <a:pt x="465" y="709"/>
                    </a:moveTo>
                    <a:lnTo>
                      <a:pt x="465" y="711"/>
                    </a:lnTo>
                    <a:lnTo>
                      <a:pt x="465" y="709"/>
                    </a:lnTo>
                    <a:close/>
                    <a:moveTo>
                      <a:pt x="1352" y="1551"/>
                    </a:moveTo>
                    <a:lnTo>
                      <a:pt x="1354" y="1551"/>
                    </a:lnTo>
                    <a:lnTo>
                      <a:pt x="1352" y="1551"/>
                    </a:lnTo>
                    <a:close/>
                    <a:moveTo>
                      <a:pt x="961" y="1387"/>
                    </a:moveTo>
                    <a:lnTo>
                      <a:pt x="963" y="1387"/>
                    </a:lnTo>
                    <a:lnTo>
                      <a:pt x="961" y="1387"/>
                    </a:lnTo>
                    <a:close/>
                    <a:moveTo>
                      <a:pt x="542" y="1061"/>
                    </a:moveTo>
                    <a:lnTo>
                      <a:pt x="543" y="1061"/>
                    </a:lnTo>
                    <a:lnTo>
                      <a:pt x="542" y="1061"/>
                    </a:lnTo>
                    <a:close/>
                    <a:moveTo>
                      <a:pt x="524" y="1064"/>
                    </a:moveTo>
                    <a:lnTo>
                      <a:pt x="526" y="1064"/>
                    </a:lnTo>
                    <a:lnTo>
                      <a:pt x="526" y="1066"/>
                    </a:lnTo>
                    <a:lnTo>
                      <a:pt x="524" y="1066"/>
                    </a:lnTo>
                    <a:lnTo>
                      <a:pt x="524" y="1064"/>
                    </a:lnTo>
                    <a:close/>
                    <a:moveTo>
                      <a:pt x="214" y="1629"/>
                    </a:moveTo>
                    <a:lnTo>
                      <a:pt x="214" y="1631"/>
                    </a:lnTo>
                    <a:lnTo>
                      <a:pt x="214" y="1629"/>
                    </a:lnTo>
                    <a:close/>
                    <a:moveTo>
                      <a:pt x="1178" y="1297"/>
                    </a:moveTo>
                    <a:lnTo>
                      <a:pt x="1180" y="1297"/>
                    </a:lnTo>
                    <a:lnTo>
                      <a:pt x="1178" y="1297"/>
                    </a:lnTo>
                    <a:close/>
                    <a:moveTo>
                      <a:pt x="1201" y="1202"/>
                    </a:moveTo>
                    <a:lnTo>
                      <a:pt x="1201" y="1204"/>
                    </a:lnTo>
                    <a:lnTo>
                      <a:pt x="1201" y="1202"/>
                    </a:lnTo>
                    <a:close/>
                    <a:moveTo>
                      <a:pt x="421" y="853"/>
                    </a:moveTo>
                    <a:lnTo>
                      <a:pt x="421" y="854"/>
                    </a:lnTo>
                    <a:lnTo>
                      <a:pt x="421" y="853"/>
                    </a:lnTo>
                    <a:close/>
                    <a:moveTo>
                      <a:pt x="650" y="959"/>
                    </a:moveTo>
                    <a:lnTo>
                      <a:pt x="652" y="959"/>
                    </a:lnTo>
                    <a:lnTo>
                      <a:pt x="652" y="961"/>
                    </a:lnTo>
                    <a:lnTo>
                      <a:pt x="650" y="961"/>
                    </a:lnTo>
                    <a:lnTo>
                      <a:pt x="650" y="959"/>
                    </a:lnTo>
                    <a:close/>
                    <a:moveTo>
                      <a:pt x="1310" y="1616"/>
                    </a:moveTo>
                    <a:lnTo>
                      <a:pt x="1312" y="1616"/>
                    </a:lnTo>
                    <a:lnTo>
                      <a:pt x="1310" y="1616"/>
                    </a:lnTo>
                    <a:close/>
                    <a:moveTo>
                      <a:pt x="1264" y="1440"/>
                    </a:moveTo>
                    <a:lnTo>
                      <a:pt x="1266" y="1440"/>
                    </a:lnTo>
                    <a:lnTo>
                      <a:pt x="1266" y="1442"/>
                    </a:lnTo>
                    <a:lnTo>
                      <a:pt x="1264" y="1442"/>
                    </a:lnTo>
                    <a:lnTo>
                      <a:pt x="1264" y="1440"/>
                    </a:lnTo>
                    <a:close/>
                    <a:moveTo>
                      <a:pt x="1219" y="1349"/>
                    </a:moveTo>
                    <a:lnTo>
                      <a:pt x="1219" y="1351"/>
                    </a:lnTo>
                    <a:lnTo>
                      <a:pt x="1219" y="1349"/>
                    </a:lnTo>
                    <a:close/>
                    <a:moveTo>
                      <a:pt x="195" y="1549"/>
                    </a:moveTo>
                    <a:lnTo>
                      <a:pt x="195" y="1551"/>
                    </a:lnTo>
                    <a:lnTo>
                      <a:pt x="195" y="1549"/>
                    </a:lnTo>
                    <a:close/>
                    <a:moveTo>
                      <a:pt x="1287" y="1639"/>
                    </a:moveTo>
                    <a:lnTo>
                      <a:pt x="1289" y="1639"/>
                    </a:lnTo>
                    <a:lnTo>
                      <a:pt x="1287" y="1639"/>
                    </a:lnTo>
                    <a:close/>
                    <a:moveTo>
                      <a:pt x="912" y="1146"/>
                    </a:moveTo>
                    <a:lnTo>
                      <a:pt x="913" y="1146"/>
                    </a:lnTo>
                    <a:lnTo>
                      <a:pt x="913" y="1148"/>
                    </a:lnTo>
                    <a:lnTo>
                      <a:pt x="912" y="1148"/>
                    </a:lnTo>
                    <a:lnTo>
                      <a:pt x="912" y="1146"/>
                    </a:lnTo>
                    <a:close/>
                    <a:moveTo>
                      <a:pt x="444" y="1083"/>
                    </a:moveTo>
                    <a:lnTo>
                      <a:pt x="446" y="1083"/>
                    </a:lnTo>
                    <a:lnTo>
                      <a:pt x="444" y="1083"/>
                    </a:lnTo>
                    <a:close/>
                    <a:moveTo>
                      <a:pt x="1196" y="1158"/>
                    </a:moveTo>
                    <a:lnTo>
                      <a:pt x="1198" y="1158"/>
                    </a:lnTo>
                    <a:lnTo>
                      <a:pt x="1198" y="1160"/>
                    </a:lnTo>
                    <a:lnTo>
                      <a:pt x="1196" y="1160"/>
                    </a:lnTo>
                    <a:lnTo>
                      <a:pt x="1196" y="1158"/>
                    </a:lnTo>
                    <a:close/>
                    <a:moveTo>
                      <a:pt x="809" y="1026"/>
                    </a:moveTo>
                    <a:lnTo>
                      <a:pt x="810" y="1026"/>
                    </a:lnTo>
                    <a:lnTo>
                      <a:pt x="809" y="1026"/>
                    </a:lnTo>
                    <a:close/>
                    <a:moveTo>
                      <a:pt x="921" y="1167"/>
                    </a:moveTo>
                    <a:lnTo>
                      <a:pt x="921" y="1169"/>
                    </a:lnTo>
                    <a:lnTo>
                      <a:pt x="921" y="1167"/>
                    </a:lnTo>
                    <a:close/>
                    <a:moveTo>
                      <a:pt x="641" y="799"/>
                    </a:moveTo>
                    <a:lnTo>
                      <a:pt x="643" y="799"/>
                    </a:lnTo>
                    <a:lnTo>
                      <a:pt x="641" y="799"/>
                    </a:lnTo>
                    <a:close/>
                    <a:moveTo>
                      <a:pt x="1175" y="1141"/>
                    </a:moveTo>
                    <a:lnTo>
                      <a:pt x="1177" y="1141"/>
                    </a:lnTo>
                    <a:lnTo>
                      <a:pt x="1177" y="1143"/>
                    </a:lnTo>
                    <a:lnTo>
                      <a:pt x="1175" y="1143"/>
                    </a:lnTo>
                    <a:lnTo>
                      <a:pt x="1175" y="1141"/>
                    </a:lnTo>
                    <a:close/>
                    <a:moveTo>
                      <a:pt x="1148" y="1681"/>
                    </a:moveTo>
                    <a:lnTo>
                      <a:pt x="1148" y="1683"/>
                    </a:lnTo>
                    <a:lnTo>
                      <a:pt x="1148" y="1681"/>
                    </a:lnTo>
                    <a:close/>
                    <a:moveTo>
                      <a:pt x="1163" y="1248"/>
                    </a:moveTo>
                    <a:lnTo>
                      <a:pt x="1163" y="1249"/>
                    </a:lnTo>
                    <a:lnTo>
                      <a:pt x="1163" y="1248"/>
                    </a:lnTo>
                    <a:close/>
                    <a:moveTo>
                      <a:pt x="976" y="1522"/>
                    </a:moveTo>
                    <a:lnTo>
                      <a:pt x="978" y="1522"/>
                    </a:lnTo>
                    <a:lnTo>
                      <a:pt x="978" y="1524"/>
                    </a:lnTo>
                    <a:lnTo>
                      <a:pt x="976" y="1524"/>
                    </a:lnTo>
                    <a:lnTo>
                      <a:pt x="976" y="1522"/>
                    </a:lnTo>
                    <a:close/>
                    <a:moveTo>
                      <a:pt x="1199" y="1383"/>
                    </a:moveTo>
                    <a:lnTo>
                      <a:pt x="1201" y="1383"/>
                    </a:lnTo>
                    <a:lnTo>
                      <a:pt x="1201" y="1385"/>
                    </a:lnTo>
                    <a:lnTo>
                      <a:pt x="1199" y="1385"/>
                    </a:lnTo>
                    <a:lnTo>
                      <a:pt x="1199" y="1383"/>
                    </a:lnTo>
                    <a:close/>
                    <a:moveTo>
                      <a:pt x="261" y="769"/>
                    </a:moveTo>
                    <a:lnTo>
                      <a:pt x="263" y="769"/>
                    </a:lnTo>
                    <a:lnTo>
                      <a:pt x="263" y="771"/>
                    </a:lnTo>
                    <a:lnTo>
                      <a:pt x="261" y="771"/>
                    </a:lnTo>
                    <a:lnTo>
                      <a:pt x="261" y="769"/>
                    </a:lnTo>
                    <a:close/>
                    <a:moveTo>
                      <a:pt x="1211" y="1351"/>
                    </a:moveTo>
                    <a:lnTo>
                      <a:pt x="1213" y="1351"/>
                    </a:lnTo>
                    <a:lnTo>
                      <a:pt x="1211" y="1351"/>
                    </a:lnTo>
                    <a:close/>
                    <a:moveTo>
                      <a:pt x="841" y="1669"/>
                    </a:moveTo>
                    <a:lnTo>
                      <a:pt x="843" y="1669"/>
                    </a:lnTo>
                    <a:lnTo>
                      <a:pt x="841" y="1669"/>
                    </a:lnTo>
                    <a:close/>
                    <a:moveTo>
                      <a:pt x="1072" y="1223"/>
                    </a:moveTo>
                    <a:lnTo>
                      <a:pt x="1074" y="1223"/>
                    </a:lnTo>
                    <a:lnTo>
                      <a:pt x="1074" y="1225"/>
                    </a:lnTo>
                    <a:lnTo>
                      <a:pt x="1072" y="1225"/>
                    </a:lnTo>
                    <a:lnTo>
                      <a:pt x="1072" y="1223"/>
                    </a:lnTo>
                    <a:close/>
                    <a:moveTo>
                      <a:pt x="1287" y="1497"/>
                    </a:moveTo>
                    <a:lnTo>
                      <a:pt x="1289" y="1497"/>
                    </a:lnTo>
                    <a:lnTo>
                      <a:pt x="1287" y="1497"/>
                    </a:lnTo>
                    <a:close/>
                    <a:moveTo>
                      <a:pt x="1163" y="55"/>
                    </a:moveTo>
                    <a:lnTo>
                      <a:pt x="1165" y="55"/>
                    </a:lnTo>
                    <a:lnTo>
                      <a:pt x="1163" y="55"/>
                    </a:lnTo>
                    <a:close/>
                    <a:moveTo>
                      <a:pt x="685" y="1053"/>
                    </a:moveTo>
                    <a:lnTo>
                      <a:pt x="685" y="1055"/>
                    </a:lnTo>
                    <a:lnTo>
                      <a:pt x="685" y="1053"/>
                    </a:lnTo>
                    <a:close/>
                    <a:moveTo>
                      <a:pt x="645" y="1040"/>
                    </a:moveTo>
                    <a:lnTo>
                      <a:pt x="646" y="1040"/>
                    </a:lnTo>
                    <a:lnTo>
                      <a:pt x="646" y="1041"/>
                    </a:lnTo>
                    <a:lnTo>
                      <a:pt x="645" y="1041"/>
                    </a:lnTo>
                    <a:lnTo>
                      <a:pt x="645" y="1040"/>
                    </a:lnTo>
                    <a:close/>
                    <a:moveTo>
                      <a:pt x="1180" y="1173"/>
                    </a:moveTo>
                    <a:lnTo>
                      <a:pt x="1180" y="1175"/>
                    </a:lnTo>
                    <a:lnTo>
                      <a:pt x="1180" y="1173"/>
                    </a:lnTo>
                    <a:close/>
                    <a:moveTo>
                      <a:pt x="677" y="1068"/>
                    </a:moveTo>
                    <a:lnTo>
                      <a:pt x="679" y="1068"/>
                    </a:lnTo>
                    <a:lnTo>
                      <a:pt x="679" y="1070"/>
                    </a:lnTo>
                    <a:lnTo>
                      <a:pt x="677" y="1070"/>
                    </a:lnTo>
                    <a:lnTo>
                      <a:pt x="677" y="1068"/>
                    </a:lnTo>
                    <a:close/>
                    <a:moveTo>
                      <a:pt x="1316" y="1511"/>
                    </a:moveTo>
                    <a:lnTo>
                      <a:pt x="1318" y="1511"/>
                    </a:lnTo>
                    <a:lnTo>
                      <a:pt x="1318" y="1513"/>
                    </a:lnTo>
                    <a:lnTo>
                      <a:pt x="1316" y="1513"/>
                    </a:lnTo>
                    <a:lnTo>
                      <a:pt x="1316" y="1511"/>
                    </a:lnTo>
                    <a:close/>
                    <a:moveTo>
                      <a:pt x="984" y="1051"/>
                    </a:moveTo>
                    <a:lnTo>
                      <a:pt x="986" y="1051"/>
                    </a:lnTo>
                    <a:lnTo>
                      <a:pt x="986" y="1053"/>
                    </a:lnTo>
                    <a:lnTo>
                      <a:pt x="984" y="1053"/>
                    </a:lnTo>
                    <a:lnTo>
                      <a:pt x="984" y="1051"/>
                    </a:lnTo>
                    <a:close/>
                    <a:moveTo>
                      <a:pt x="673" y="1070"/>
                    </a:moveTo>
                    <a:lnTo>
                      <a:pt x="673" y="1072"/>
                    </a:lnTo>
                    <a:lnTo>
                      <a:pt x="673" y="1070"/>
                    </a:lnTo>
                    <a:close/>
                    <a:moveTo>
                      <a:pt x="1074" y="904"/>
                    </a:moveTo>
                    <a:lnTo>
                      <a:pt x="1076" y="904"/>
                    </a:lnTo>
                    <a:lnTo>
                      <a:pt x="1074" y="904"/>
                    </a:lnTo>
                    <a:close/>
                    <a:moveTo>
                      <a:pt x="1180" y="1185"/>
                    </a:moveTo>
                    <a:lnTo>
                      <a:pt x="1180" y="1186"/>
                    </a:lnTo>
                    <a:lnTo>
                      <a:pt x="1180" y="1185"/>
                    </a:lnTo>
                    <a:close/>
                    <a:moveTo>
                      <a:pt x="559" y="1026"/>
                    </a:moveTo>
                    <a:lnTo>
                      <a:pt x="561" y="1026"/>
                    </a:lnTo>
                    <a:lnTo>
                      <a:pt x="559" y="1026"/>
                    </a:lnTo>
                    <a:close/>
                    <a:moveTo>
                      <a:pt x="461" y="1062"/>
                    </a:moveTo>
                    <a:lnTo>
                      <a:pt x="463" y="1062"/>
                    </a:lnTo>
                    <a:lnTo>
                      <a:pt x="463" y="1064"/>
                    </a:lnTo>
                    <a:lnTo>
                      <a:pt x="461" y="1064"/>
                    </a:lnTo>
                    <a:lnTo>
                      <a:pt x="461" y="1062"/>
                    </a:lnTo>
                    <a:close/>
                    <a:moveTo>
                      <a:pt x="1182" y="1768"/>
                    </a:moveTo>
                    <a:lnTo>
                      <a:pt x="1182" y="1770"/>
                    </a:lnTo>
                    <a:lnTo>
                      <a:pt x="1182" y="1768"/>
                    </a:lnTo>
                    <a:close/>
                    <a:moveTo>
                      <a:pt x="988" y="1566"/>
                    </a:moveTo>
                    <a:lnTo>
                      <a:pt x="990" y="1566"/>
                    </a:lnTo>
                    <a:lnTo>
                      <a:pt x="990" y="1568"/>
                    </a:lnTo>
                    <a:lnTo>
                      <a:pt x="988" y="1568"/>
                    </a:lnTo>
                    <a:lnTo>
                      <a:pt x="988" y="1566"/>
                    </a:lnTo>
                    <a:close/>
                    <a:moveTo>
                      <a:pt x="509" y="1070"/>
                    </a:moveTo>
                    <a:lnTo>
                      <a:pt x="511" y="1070"/>
                    </a:lnTo>
                    <a:lnTo>
                      <a:pt x="511" y="1072"/>
                    </a:lnTo>
                    <a:lnTo>
                      <a:pt x="509" y="1072"/>
                    </a:lnTo>
                    <a:lnTo>
                      <a:pt x="509" y="1070"/>
                    </a:lnTo>
                    <a:close/>
                    <a:moveTo>
                      <a:pt x="666" y="1049"/>
                    </a:moveTo>
                    <a:lnTo>
                      <a:pt x="667" y="1049"/>
                    </a:lnTo>
                    <a:lnTo>
                      <a:pt x="666" y="1049"/>
                    </a:lnTo>
                    <a:close/>
                    <a:moveTo>
                      <a:pt x="885" y="994"/>
                    </a:moveTo>
                    <a:lnTo>
                      <a:pt x="885" y="996"/>
                    </a:lnTo>
                    <a:lnTo>
                      <a:pt x="885" y="994"/>
                    </a:lnTo>
                    <a:close/>
                    <a:moveTo>
                      <a:pt x="1201" y="1198"/>
                    </a:moveTo>
                    <a:lnTo>
                      <a:pt x="1203" y="1198"/>
                    </a:lnTo>
                    <a:lnTo>
                      <a:pt x="1201" y="1198"/>
                    </a:lnTo>
                    <a:close/>
                    <a:moveTo>
                      <a:pt x="1314" y="1517"/>
                    </a:moveTo>
                    <a:lnTo>
                      <a:pt x="1314" y="1518"/>
                    </a:lnTo>
                    <a:lnTo>
                      <a:pt x="1314" y="1517"/>
                    </a:lnTo>
                    <a:close/>
                    <a:moveTo>
                      <a:pt x="919" y="1137"/>
                    </a:moveTo>
                    <a:lnTo>
                      <a:pt x="919" y="1139"/>
                    </a:lnTo>
                    <a:lnTo>
                      <a:pt x="919" y="1137"/>
                    </a:lnTo>
                    <a:close/>
                    <a:moveTo>
                      <a:pt x="452" y="958"/>
                    </a:moveTo>
                    <a:lnTo>
                      <a:pt x="454" y="958"/>
                    </a:lnTo>
                    <a:lnTo>
                      <a:pt x="452" y="958"/>
                    </a:lnTo>
                    <a:close/>
                    <a:moveTo>
                      <a:pt x="461" y="1062"/>
                    </a:moveTo>
                    <a:lnTo>
                      <a:pt x="463" y="1062"/>
                    </a:lnTo>
                    <a:lnTo>
                      <a:pt x="461" y="1062"/>
                    </a:lnTo>
                    <a:close/>
                    <a:moveTo>
                      <a:pt x="90" y="1009"/>
                    </a:moveTo>
                    <a:lnTo>
                      <a:pt x="92" y="1009"/>
                    </a:lnTo>
                    <a:lnTo>
                      <a:pt x="92" y="1011"/>
                    </a:lnTo>
                    <a:lnTo>
                      <a:pt x="90" y="1011"/>
                    </a:lnTo>
                    <a:lnTo>
                      <a:pt x="90" y="1009"/>
                    </a:lnTo>
                    <a:close/>
                    <a:moveTo>
                      <a:pt x="994" y="1438"/>
                    </a:moveTo>
                    <a:lnTo>
                      <a:pt x="995" y="1438"/>
                    </a:lnTo>
                    <a:lnTo>
                      <a:pt x="995" y="1440"/>
                    </a:lnTo>
                    <a:lnTo>
                      <a:pt x="994" y="1440"/>
                    </a:lnTo>
                    <a:lnTo>
                      <a:pt x="994" y="1438"/>
                    </a:lnTo>
                    <a:close/>
                    <a:moveTo>
                      <a:pt x="1072" y="1225"/>
                    </a:moveTo>
                    <a:lnTo>
                      <a:pt x="1074" y="1225"/>
                    </a:lnTo>
                    <a:lnTo>
                      <a:pt x="1072" y="1225"/>
                    </a:lnTo>
                    <a:close/>
                    <a:moveTo>
                      <a:pt x="1201" y="1169"/>
                    </a:moveTo>
                    <a:lnTo>
                      <a:pt x="1201" y="1171"/>
                    </a:lnTo>
                    <a:lnTo>
                      <a:pt x="1201" y="1169"/>
                    </a:lnTo>
                    <a:close/>
                    <a:moveTo>
                      <a:pt x="1388" y="1669"/>
                    </a:moveTo>
                    <a:lnTo>
                      <a:pt x="1390" y="1669"/>
                    </a:lnTo>
                    <a:lnTo>
                      <a:pt x="1388" y="1669"/>
                    </a:lnTo>
                    <a:close/>
                    <a:moveTo>
                      <a:pt x="961" y="1387"/>
                    </a:moveTo>
                    <a:lnTo>
                      <a:pt x="961" y="1389"/>
                    </a:lnTo>
                    <a:lnTo>
                      <a:pt x="961" y="1387"/>
                    </a:lnTo>
                    <a:close/>
                    <a:moveTo>
                      <a:pt x="984" y="1578"/>
                    </a:moveTo>
                    <a:lnTo>
                      <a:pt x="984" y="1580"/>
                    </a:lnTo>
                    <a:lnTo>
                      <a:pt x="984" y="1578"/>
                    </a:lnTo>
                    <a:close/>
                    <a:moveTo>
                      <a:pt x="1215" y="1286"/>
                    </a:moveTo>
                    <a:lnTo>
                      <a:pt x="1217" y="1286"/>
                    </a:lnTo>
                    <a:lnTo>
                      <a:pt x="1215" y="1286"/>
                    </a:lnTo>
                    <a:close/>
                    <a:moveTo>
                      <a:pt x="1262" y="1477"/>
                    </a:moveTo>
                    <a:lnTo>
                      <a:pt x="1264" y="1477"/>
                    </a:lnTo>
                    <a:lnTo>
                      <a:pt x="1262" y="1477"/>
                    </a:lnTo>
                    <a:close/>
                    <a:moveTo>
                      <a:pt x="1133" y="1270"/>
                    </a:moveTo>
                    <a:lnTo>
                      <a:pt x="1135" y="1270"/>
                    </a:lnTo>
                    <a:lnTo>
                      <a:pt x="1135" y="1272"/>
                    </a:lnTo>
                    <a:lnTo>
                      <a:pt x="1133" y="1272"/>
                    </a:lnTo>
                    <a:lnTo>
                      <a:pt x="1133" y="1270"/>
                    </a:lnTo>
                    <a:close/>
                    <a:moveTo>
                      <a:pt x="1014" y="996"/>
                    </a:moveTo>
                    <a:lnTo>
                      <a:pt x="1014" y="998"/>
                    </a:lnTo>
                    <a:lnTo>
                      <a:pt x="1014" y="996"/>
                    </a:lnTo>
                    <a:close/>
                    <a:moveTo>
                      <a:pt x="723" y="851"/>
                    </a:moveTo>
                    <a:lnTo>
                      <a:pt x="723" y="853"/>
                    </a:lnTo>
                    <a:lnTo>
                      <a:pt x="723" y="851"/>
                    </a:lnTo>
                    <a:close/>
                    <a:moveTo>
                      <a:pt x="200" y="1576"/>
                    </a:moveTo>
                    <a:lnTo>
                      <a:pt x="200" y="1578"/>
                    </a:lnTo>
                    <a:lnTo>
                      <a:pt x="200" y="1576"/>
                    </a:lnTo>
                    <a:close/>
                    <a:moveTo>
                      <a:pt x="1070" y="1219"/>
                    </a:moveTo>
                    <a:lnTo>
                      <a:pt x="1070" y="1221"/>
                    </a:lnTo>
                    <a:lnTo>
                      <a:pt x="1070" y="1219"/>
                    </a:lnTo>
                    <a:close/>
                    <a:moveTo>
                      <a:pt x="641" y="1034"/>
                    </a:moveTo>
                    <a:lnTo>
                      <a:pt x="641" y="1036"/>
                    </a:lnTo>
                    <a:lnTo>
                      <a:pt x="641" y="1034"/>
                    </a:lnTo>
                    <a:close/>
                    <a:moveTo>
                      <a:pt x="229" y="1650"/>
                    </a:moveTo>
                    <a:lnTo>
                      <a:pt x="231" y="1650"/>
                    </a:lnTo>
                    <a:lnTo>
                      <a:pt x="229" y="1650"/>
                    </a:lnTo>
                    <a:close/>
                    <a:moveTo>
                      <a:pt x="812" y="1049"/>
                    </a:moveTo>
                    <a:lnTo>
                      <a:pt x="812" y="1051"/>
                    </a:lnTo>
                    <a:lnTo>
                      <a:pt x="812" y="1049"/>
                    </a:lnTo>
                    <a:close/>
                    <a:moveTo>
                      <a:pt x="892" y="1704"/>
                    </a:moveTo>
                    <a:lnTo>
                      <a:pt x="892" y="1705"/>
                    </a:lnTo>
                    <a:lnTo>
                      <a:pt x="892" y="1704"/>
                    </a:lnTo>
                    <a:close/>
                    <a:moveTo>
                      <a:pt x="128" y="1551"/>
                    </a:moveTo>
                    <a:lnTo>
                      <a:pt x="130" y="1551"/>
                    </a:lnTo>
                    <a:lnTo>
                      <a:pt x="130" y="1553"/>
                    </a:lnTo>
                    <a:lnTo>
                      <a:pt x="128" y="1553"/>
                    </a:lnTo>
                    <a:lnTo>
                      <a:pt x="128" y="1551"/>
                    </a:lnTo>
                    <a:close/>
                    <a:moveTo>
                      <a:pt x="397" y="958"/>
                    </a:moveTo>
                    <a:lnTo>
                      <a:pt x="399" y="958"/>
                    </a:lnTo>
                    <a:lnTo>
                      <a:pt x="397" y="958"/>
                    </a:lnTo>
                    <a:close/>
                    <a:moveTo>
                      <a:pt x="711" y="1093"/>
                    </a:moveTo>
                    <a:lnTo>
                      <a:pt x="713" y="1093"/>
                    </a:lnTo>
                    <a:lnTo>
                      <a:pt x="713" y="1095"/>
                    </a:lnTo>
                    <a:lnTo>
                      <a:pt x="711" y="1095"/>
                    </a:lnTo>
                    <a:lnTo>
                      <a:pt x="711" y="1093"/>
                    </a:lnTo>
                    <a:close/>
                    <a:moveTo>
                      <a:pt x="913" y="1135"/>
                    </a:moveTo>
                    <a:lnTo>
                      <a:pt x="915" y="1135"/>
                    </a:lnTo>
                    <a:lnTo>
                      <a:pt x="915" y="1137"/>
                    </a:lnTo>
                    <a:lnTo>
                      <a:pt x="913" y="1137"/>
                    </a:lnTo>
                    <a:lnTo>
                      <a:pt x="913" y="1135"/>
                    </a:lnTo>
                    <a:close/>
                    <a:moveTo>
                      <a:pt x="799" y="1001"/>
                    </a:moveTo>
                    <a:lnTo>
                      <a:pt x="799" y="1003"/>
                    </a:lnTo>
                    <a:lnTo>
                      <a:pt x="799" y="1001"/>
                    </a:lnTo>
                    <a:close/>
                    <a:moveTo>
                      <a:pt x="1196" y="1162"/>
                    </a:moveTo>
                    <a:lnTo>
                      <a:pt x="1198" y="1162"/>
                    </a:lnTo>
                    <a:lnTo>
                      <a:pt x="1198" y="1164"/>
                    </a:lnTo>
                    <a:lnTo>
                      <a:pt x="1196" y="1164"/>
                    </a:lnTo>
                    <a:lnTo>
                      <a:pt x="1196" y="1162"/>
                    </a:lnTo>
                    <a:close/>
                    <a:moveTo>
                      <a:pt x="113" y="1011"/>
                    </a:moveTo>
                    <a:lnTo>
                      <a:pt x="113" y="1013"/>
                    </a:lnTo>
                    <a:lnTo>
                      <a:pt x="113" y="1011"/>
                    </a:lnTo>
                    <a:close/>
                    <a:moveTo>
                      <a:pt x="141" y="1560"/>
                    </a:moveTo>
                    <a:lnTo>
                      <a:pt x="143" y="1560"/>
                    </a:lnTo>
                    <a:lnTo>
                      <a:pt x="141" y="1560"/>
                    </a:lnTo>
                    <a:close/>
                    <a:moveTo>
                      <a:pt x="1302" y="1623"/>
                    </a:moveTo>
                    <a:lnTo>
                      <a:pt x="1304" y="1623"/>
                    </a:lnTo>
                    <a:lnTo>
                      <a:pt x="1302" y="1623"/>
                    </a:lnTo>
                    <a:close/>
                    <a:moveTo>
                      <a:pt x="1209" y="1282"/>
                    </a:moveTo>
                    <a:lnTo>
                      <a:pt x="1211" y="1282"/>
                    </a:lnTo>
                    <a:lnTo>
                      <a:pt x="1209" y="1282"/>
                    </a:lnTo>
                    <a:close/>
                    <a:moveTo>
                      <a:pt x="1076" y="1225"/>
                    </a:moveTo>
                    <a:lnTo>
                      <a:pt x="1076" y="1227"/>
                    </a:lnTo>
                    <a:lnTo>
                      <a:pt x="1076" y="1225"/>
                    </a:lnTo>
                    <a:close/>
                    <a:moveTo>
                      <a:pt x="1264" y="1477"/>
                    </a:moveTo>
                    <a:lnTo>
                      <a:pt x="1264" y="1478"/>
                    </a:lnTo>
                    <a:lnTo>
                      <a:pt x="1264" y="1477"/>
                    </a:lnTo>
                    <a:close/>
                    <a:moveTo>
                      <a:pt x="1367" y="1654"/>
                    </a:moveTo>
                    <a:lnTo>
                      <a:pt x="1367" y="1656"/>
                    </a:lnTo>
                    <a:lnTo>
                      <a:pt x="1367" y="1654"/>
                    </a:lnTo>
                    <a:close/>
                    <a:moveTo>
                      <a:pt x="1074" y="1219"/>
                    </a:moveTo>
                    <a:lnTo>
                      <a:pt x="1076" y="1219"/>
                    </a:lnTo>
                    <a:lnTo>
                      <a:pt x="1076" y="1221"/>
                    </a:lnTo>
                    <a:lnTo>
                      <a:pt x="1074" y="1221"/>
                    </a:lnTo>
                    <a:lnTo>
                      <a:pt x="1074" y="1219"/>
                    </a:lnTo>
                    <a:close/>
                    <a:moveTo>
                      <a:pt x="1215" y="1223"/>
                    </a:moveTo>
                    <a:lnTo>
                      <a:pt x="1217" y="1223"/>
                    </a:lnTo>
                    <a:lnTo>
                      <a:pt x="1217" y="1225"/>
                    </a:lnTo>
                    <a:lnTo>
                      <a:pt x="1215" y="1225"/>
                    </a:lnTo>
                    <a:lnTo>
                      <a:pt x="1215" y="1223"/>
                    </a:lnTo>
                    <a:close/>
                    <a:moveTo>
                      <a:pt x="1373" y="1707"/>
                    </a:moveTo>
                    <a:lnTo>
                      <a:pt x="1375" y="1707"/>
                    </a:lnTo>
                    <a:lnTo>
                      <a:pt x="1373" y="1707"/>
                    </a:lnTo>
                    <a:close/>
                    <a:moveTo>
                      <a:pt x="1240" y="1637"/>
                    </a:moveTo>
                    <a:lnTo>
                      <a:pt x="1241" y="1637"/>
                    </a:lnTo>
                    <a:lnTo>
                      <a:pt x="1240" y="1637"/>
                    </a:lnTo>
                    <a:close/>
                    <a:moveTo>
                      <a:pt x="1274" y="1482"/>
                    </a:moveTo>
                    <a:lnTo>
                      <a:pt x="1276" y="1482"/>
                    </a:lnTo>
                    <a:lnTo>
                      <a:pt x="1274" y="1482"/>
                    </a:lnTo>
                    <a:close/>
                    <a:moveTo>
                      <a:pt x="1154" y="967"/>
                    </a:moveTo>
                    <a:lnTo>
                      <a:pt x="1154" y="969"/>
                    </a:lnTo>
                    <a:lnTo>
                      <a:pt x="1154" y="967"/>
                    </a:lnTo>
                    <a:close/>
                    <a:moveTo>
                      <a:pt x="1240" y="1167"/>
                    </a:moveTo>
                    <a:lnTo>
                      <a:pt x="1240" y="1169"/>
                    </a:lnTo>
                    <a:lnTo>
                      <a:pt x="1240" y="1167"/>
                    </a:lnTo>
                    <a:close/>
                    <a:moveTo>
                      <a:pt x="1316" y="1662"/>
                    </a:moveTo>
                    <a:lnTo>
                      <a:pt x="1318" y="1662"/>
                    </a:lnTo>
                    <a:lnTo>
                      <a:pt x="1316" y="1662"/>
                    </a:lnTo>
                    <a:close/>
                    <a:moveTo>
                      <a:pt x="1100" y="1242"/>
                    </a:moveTo>
                    <a:lnTo>
                      <a:pt x="1102" y="1242"/>
                    </a:lnTo>
                    <a:lnTo>
                      <a:pt x="1102" y="1244"/>
                    </a:lnTo>
                    <a:lnTo>
                      <a:pt x="1100" y="1244"/>
                    </a:lnTo>
                    <a:lnTo>
                      <a:pt x="1100" y="1242"/>
                    </a:lnTo>
                    <a:close/>
                    <a:moveTo>
                      <a:pt x="1192" y="1400"/>
                    </a:moveTo>
                    <a:lnTo>
                      <a:pt x="1194" y="1400"/>
                    </a:lnTo>
                    <a:lnTo>
                      <a:pt x="1192" y="1400"/>
                    </a:lnTo>
                    <a:close/>
                    <a:moveTo>
                      <a:pt x="1213" y="1219"/>
                    </a:moveTo>
                    <a:lnTo>
                      <a:pt x="1213" y="1221"/>
                    </a:lnTo>
                    <a:lnTo>
                      <a:pt x="1213" y="1219"/>
                    </a:lnTo>
                    <a:close/>
                    <a:moveTo>
                      <a:pt x="257" y="1644"/>
                    </a:moveTo>
                    <a:lnTo>
                      <a:pt x="259" y="1644"/>
                    </a:lnTo>
                    <a:lnTo>
                      <a:pt x="257" y="1644"/>
                    </a:lnTo>
                    <a:close/>
                    <a:moveTo>
                      <a:pt x="219" y="1641"/>
                    </a:moveTo>
                    <a:lnTo>
                      <a:pt x="221" y="1641"/>
                    </a:lnTo>
                    <a:lnTo>
                      <a:pt x="219" y="1641"/>
                    </a:lnTo>
                    <a:close/>
                    <a:moveTo>
                      <a:pt x="1003" y="971"/>
                    </a:moveTo>
                    <a:lnTo>
                      <a:pt x="1005" y="971"/>
                    </a:lnTo>
                    <a:lnTo>
                      <a:pt x="1005" y="973"/>
                    </a:lnTo>
                    <a:lnTo>
                      <a:pt x="1003" y="973"/>
                    </a:lnTo>
                    <a:lnTo>
                      <a:pt x="1003" y="971"/>
                    </a:lnTo>
                    <a:close/>
                    <a:moveTo>
                      <a:pt x="1060" y="1213"/>
                    </a:moveTo>
                    <a:lnTo>
                      <a:pt x="1062" y="1213"/>
                    </a:lnTo>
                    <a:lnTo>
                      <a:pt x="1060" y="1213"/>
                    </a:lnTo>
                    <a:close/>
                    <a:moveTo>
                      <a:pt x="646" y="948"/>
                    </a:moveTo>
                    <a:lnTo>
                      <a:pt x="646" y="950"/>
                    </a:lnTo>
                    <a:lnTo>
                      <a:pt x="646" y="948"/>
                    </a:lnTo>
                    <a:close/>
                    <a:moveTo>
                      <a:pt x="810" y="1022"/>
                    </a:moveTo>
                    <a:lnTo>
                      <a:pt x="810" y="1024"/>
                    </a:lnTo>
                    <a:lnTo>
                      <a:pt x="810" y="1022"/>
                    </a:lnTo>
                    <a:close/>
                    <a:moveTo>
                      <a:pt x="1379" y="1654"/>
                    </a:moveTo>
                    <a:lnTo>
                      <a:pt x="1381" y="1654"/>
                    </a:lnTo>
                    <a:lnTo>
                      <a:pt x="1379" y="1654"/>
                    </a:lnTo>
                    <a:close/>
                    <a:moveTo>
                      <a:pt x="978" y="1517"/>
                    </a:moveTo>
                    <a:lnTo>
                      <a:pt x="980" y="1517"/>
                    </a:lnTo>
                    <a:lnTo>
                      <a:pt x="978" y="1517"/>
                    </a:lnTo>
                    <a:close/>
                    <a:moveTo>
                      <a:pt x="974" y="1477"/>
                    </a:moveTo>
                    <a:lnTo>
                      <a:pt x="976" y="1477"/>
                    </a:lnTo>
                    <a:lnTo>
                      <a:pt x="976" y="1478"/>
                    </a:lnTo>
                    <a:lnTo>
                      <a:pt x="974" y="1478"/>
                    </a:lnTo>
                    <a:lnTo>
                      <a:pt x="974" y="1477"/>
                    </a:lnTo>
                    <a:close/>
                    <a:moveTo>
                      <a:pt x="641" y="629"/>
                    </a:moveTo>
                    <a:lnTo>
                      <a:pt x="643" y="629"/>
                    </a:lnTo>
                    <a:lnTo>
                      <a:pt x="641" y="629"/>
                    </a:lnTo>
                    <a:close/>
                    <a:moveTo>
                      <a:pt x="1199" y="1383"/>
                    </a:moveTo>
                    <a:lnTo>
                      <a:pt x="1201" y="1383"/>
                    </a:lnTo>
                    <a:lnTo>
                      <a:pt x="1199" y="1383"/>
                    </a:lnTo>
                    <a:close/>
                    <a:moveTo>
                      <a:pt x="936" y="999"/>
                    </a:moveTo>
                    <a:lnTo>
                      <a:pt x="938" y="999"/>
                    </a:lnTo>
                    <a:lnTo>
                      <a:pt x="936" y="999"/>
                    </a:lnTo>
                    <a:close/>
                    <a:moveTo>
                      <a:pt x="1222" y="1240"/>
                    </a:moveTo>
                    <a:lnTo>
                      <a:pt x="1222" y="1242"/>
                    </a:lnTo>
                    <a:lnTo>
                      <a:pt x="1222" y="1240"/>
                    </a:lnTo>
                    <a:close/>
                    <a:moveTo>
                      <a:pt x="1062" y="1206"/>
                    </a:moveTo>
                    <a:lnTo>
                      <a:pt x="1062" y="1207"/>
                    </a:lnTo>
                    <a:lnTo>
                      <a:pt x="1062" y="1206"/>
                    </a:lnTo>
                    <a:close/>
                    <a:moveTo>
                      <a:pt x="1222" y="1772"/>
                    </a:moveTo>
                    <a:lnTo>
                      <a:pt x="1222" y="1774"/>
                    </a:lnTo>
                    <a:lnTo>
                      <a:pt x="1222" y="1772"/>
                    </a:lnTo>
                    <a:close/>
                    <a:moveTo>
                      <a:pt x="784" y="963"/>
                    </a:moveTo>
                    <a:lnTo>
                      <a:pt x="784" y="965"/>
                    </a:lnTo>
                    <a:lnTo>
                      <a:pt x="784" y="963"/>
                    </a:lnTo>
                    <a:close/>
                    <a:moveTo>
                      <a:pt x="1228" y="1095"/>
                    </a:moveTo>
                    <a:lnTo>
                      <a:pt x="1230" y="1095"/>
                    </a:lnTo>
                    <a:lnTo>
                      <a:pt x="1228" y="1095"/>
                    </a:lnTo>
                    <a:close/>
                    <a:moveTo>
                      <a:pt x="1047" y="1213"/>
                    </a:moveTo>
                    <a:lnTo>
                      <a:pt x="1049" y="1213"/>
                    </a:lnTo>
                    <a:lnTo>
                      <a:pt x="1047" y="1213"/>
                    </a:lnTo>
                    <a:close/>
                    <a:moveTo>
                      <a:pt x="814" y="1230"/>
                    </a:moveTo>
                    <a:lnTo>
                      <a:pt x="814" y="1232"/>
                    </a:lnTo>
                    <a:lnTo>
                      <a:pt x="814" y="1230"/>
                    </a:lnTo>
                    <a:close/>
                    <a:moveTo>
                      <a:pt x="1190" y="1639"/>
                    </a:moveTo>
                    <a:lnTo>
                      <a:pt x="1190" y="1641"/>
                    </a:lnTo>
                    <a:lnTo>
                      <a:pt x="1190" y="1639"/>
                    </a:lnTo>
                    <a:close/>
                    <a:moveTo>
                      <a:pt x="809" y="1020"/>
                    </a:moveTo>
                    <a:lnTo>
                      <a:pt x="810" y="1020"/>
                    </a:lnTo>
                    <a:lnTo>
                      <a:pt x="809" y="1020"/>
                    </a:lnTo>
                    <a:close/>
                    <a:moveTo>
                      <a:pt x="1264" y="1477"/>
                    </a:moveTo>
                    <a:lnTo>
                      <a:pt x="1266" y="1477"/>
                    </a:lnTo>
                    <a:lnTo>
                      <a:pt x="1264" y="1477"/>
                    </a:lnTo>
                    <a:close/>
                    <a:moveTo>
                      <a:pt x="1182" y="1185"/>
                    </a:moveTo>
                    <a:lnTo>
                      <a:pt x="1182" y="1186"/>
                    </a:lnTo>
                    <a:lnTo>
                      <a:pt x="1182" y="1185"/>
                    </a:lnTo>
                    <a:close/>
                    <a:moveTo>
                      <a:pt x="1192" y="1062"/>
                    </a:moveTo>
                    <a:lnTo>
                      <a:pt x="1192" y="1064"/>
                    </a:lnTo>
                    <a:lnTo>
                      <a:pt x="1192" y="1062"/>
                    </a:lnTo>
                    <a:close/>
                    <a:moveTo>
                      <a:pt x="637" y="631"/>
                    </a:moveTo>
                    <a:lnTo>
                      <a:pt x="639" y="631"/>
                    </a:lnTo>
                    <a:lnTo>
                      <a:pt x="637" y="631"/>
                    </a:lnTo>
                    <a:close/>
                    <a:moveTo>
                      <a:pt x="1268" y="1469"/>
                    </a:moveTo>
                    <a:lnTo>
                      <a:pt x="1270" y="1469"/>
                    </a:lnTo>
                    <a:lnTo>
                      <a:pt x="1268" y="1469"/>
                    </a:lnTo>
                    <a:close/>
                    <a:moveTo>
                      <a:pt x="437" y="1070"/>
                    </a:moveTo>
                    <a:lnTo>
                      <a:pt x="439" y="1070"/>
                    </a:lnTo>
                    <a:lnTo>
                      <a:pt x="439" y="1072"/>
                    </a:lnTo>
                    <a:lnTo>
                      <a:pt x="437" y="1072"/>
                    </a:lnTo>
                    <a:lnTo>
                      <a:pt x="437" y="1070"/>
                    </a:lnTo>
                    <a:close/>
                    <a:moveTo>
                      <a:pt x="633" y="597"/>
                    </a:moveTo>
                    <a:lnTo>
                      <a:pt x="633" y="599"/>
                    </a:lnTo>
                    <a:lnTo>
                      <a:pt x="633" y="597"/>
                    </a:lnTo>
                    <a:close/>
                    <a:moveTo>
                      <a:pt x="1175" y="1171"/>
                    </a:moveTo>
                    <a:lnTo>
                      <a:pt x="1177" y="1171"/>
                    </a:lnTo>
                    <a:lnTo>
                      <a:pt x="1175" y="1171"/>
                    </a:lnTo>
                    <a:close/>
                    <a:moveTo>
                      <a:pt x="978" y="1480"/>
                    </a:moveTo>
                    <a:lnTo>
                      <a:pt x="978" y="1482"/>
                    </a:lnTo>
                    <a:lnTo>
                      <a:pt x="978" y="1480"/>
                    </a:lnTo>
                    <a:close/>
                    <a:moveTo>
                      <a:pt x="584" y="898"/>
                    </a:moveTo>
                    <a:lnTo>
                      <a:pt x="584" y="900"/>
                    </a:lnTo>
                    <a:lnTo>
                      <a:pt x="584" y="898"/>
                    </a:lnTo>
                    <a:close/>
                    <a:moveTo>
                      <a:pt x="1213" y="1223"/>
                    </a:moveTo>
                    <a:lnTo>
                      <a:pt x="1215" y="1223"/>
                    </a:lnTo>
                    <a:lnTo>
                      <a:pt x="1215" y="1225"/>
                    </a:lnTo>
                    <a:lnTo>
                      <a:pt x="1213" y="1225"/>
                    </a:lnTo>
                    <a:lnTo>
                      <a:pt x="1213" y="1223"/>
                    </a:lnTo>
                    <a:close/>
                    <a:moveTo>
                      <a:pt x="1083" y="1238"/>
                    </a:moveTo>
                    <a:lnTo>
                      <a:pt x="1085" y="1238"/>
                    </a:lnTo>
                    <a:lnTo>
                      <a:pt x="1085" y="1240"/>
                    </a:lnTo>
                    <a:lnTo>
                      <a:pt x="1083" y="1240"/>
                    </a:lnTo>
                    <a:lnTo>
                      <a:pt x="1083" y="1238"/>
                    </a:lnTo>
                    <a:close/>
                    <a:moveTo>
                      <a:pt x="1323" y="1532"/>
                    </a:moveTo>
                    <a:lnTo>
                      <a:pt x="1325" y="1532"/>
                    </a:lnTo>
                    <a:lnTo>
                      <a:pt x="1323" y="1532"/>
                    </a:lnTo>
                    <a:close/>
                    <a:moveTo>
                      <a:pt x="1354" y="1547"/>
                    </a:moveTo>
                    <a:lnTo>
                      <a:pt x="1354" y="1549"/>
                    </a:lnTo>
                    <a:lnTo>
                      <a:pt x="1354" y="1547"/>
                    </a:lnTo>
                    <a:close/>
                    <a:moveTo>
                      <a:pt x="696" y="988"/>
                    </a:moveTo>
                    <a:lnTo>
                      <a:pt x="696" y="990"/>
                    </a:lnTo>
                    <a:lnTo>
                      <a:pt x="696" y="988"/>
                    </a:lnTo>
                    <a:close/>
                    <a:moveTo>
                      <a:pt x="564" y="832"/>
                    </a:moveTo>
                    <a:lnTo>
                      <a:pt x="564" y="833"/>
                    </a:lnTo>
                    <a:lnTo>
                      <a:pt x="564" y="832"/>
                    </a:lnTo>
                    <a:close/>
                    <a:moveTo>
                      <a:pt x="650" y="1076"/>
                    </a:moveTo>
                    <a:lnTo>
                      <a:pt x="650" y="1078"/>
                    </a:lnTo>
                    <a:lnTo>
                      <a:pt x="650" y="1076"/>
                    </a:lnTo>
                    <a:close/>
                    <a:moveTo>
                      <a:pt x="1230" y="1637"/>
                    </a:moveTo>
                    <a:lnTo>
                      <a:pt x="1230" y="1639"/>
                    </a:lnTo>
                    <a:lnTo>
                      <a:pt x="1230" y="1637"/>
                    </a:lnTo>
                    <a:close/>
                    <a:moveTo>
                      <a:pt x="1238" y="1173"/>
                    </a:moveTo>
                    <a:lnTo>
                      <a:pt x="1238" y="1175"/>
                    </a:lnTo>
                    <a:lnTo>
                      <a:pt x="1238" y="1173"/>
                    </a:lnTo>
                    <a:close/>
                    <a:moveTo>
                      <a:pt x="414" y="1078"/>
                    </a:moveTo>
                    <a:lnTo>
                      <a:pt x="416" y="1078"/>
                    </a:lnTo>
                    <a:lnTo>
                      <a:pt x="416" y="1080"/>
                    </a:lnTo>
                    <a:lnTo>
                      <a:pt x="414" y="1080"/>
                    </a:lnTo>
                    <a:lnTo>
                      <a:pt x="414" y="1078"/>
                    </a:lnTo>
                    <a:close/>
                    <a:moveTo>
                      <a:pt x="1289" y="1637"/>
                    </a:moveTo>
                    <a:lnTo>
                      <a:pt x="1289" y="1639"/>
                    </a:lnTo>
                    <a:lnTo>
                      <a:pt x="1289" y="1637"/>
                    </a:lnTo>
                    <a:close/>
                    <a:moveTo>
                      <a:pt x="961" y="1379"/>
                    </a:moveTo>
                    <a:lnTo>
                      <a:pt x="961" y="1381"/>
                    </a:lnTo>
                    <a:lnTo>
                      <a:pt x="961" y="1379"/>
                    </a:lnTo>
                    <a:close/>
                    <a:moveTo>
                      <a:pt x="740" y="406"/>
                    </a:moveTo>
                    <a:lnTo>
                      <a:pt x="740" y="408"/>
                    </a:lnTo>
                    <a:lnTo>
                      <a:pt x="740" y="406"/>
                    </a:lnTo>
                    <a:close/>
                    <a:moveTo>
                      <a:pt x="1167" y="1024"/>
                    </a:moveTo>
                    <a:lnTo>
                      <a:pt x="1169" y="1024"/>
                    </a:lnTo>
                    <a:lnTo>
                      <a:pt x="1169" y="1026"/>
                    </a:lnTo>
                    <a:lnTo>
                      <a:pt x="1167" y="1026"/>
                    </a:lnTo>
                    <a:lnTo>
                      <a:pt x="1167" y="1024"/>
                    </a:lnTo>
                    <a:close/>
                    <a:moveTo>
                      <a:pt x="671" y="1036"/>
                    </a:moveTo>
                    <a:lnTo>
                      <a:pt x="673" y="1036"/>
                    </a:lnTo>
                    <a:lnTo>
                      <a:pt x="673" y="1038"/>
                    </a:lnTo>
                    <a:lnTo>
                      <a:pt x="671" y="1038"/>
                    </a:lnTo>
                    <a:lnTo>
                      <a:pt x="671" y="1036"/>
                    </a:lnTo>
                    <a:close/>
                    <a:moveTo>
                      <a:pt x="1096" y="1246"/>
                    </a:moveTo>
                    <a:lnTo>
                      <a:pt x="1098" y="1246"/>
                    </a:lnTo>
                    <a:lnTo>
                      <a:pt x="1096" y="1246"/>
                    </a:lnTo>
                    <a:close/>
                    <a:moveTo>
                      <a:pt x="1171" y="1293"/>
                    </a:moveTo>
                    <a:lnTo>
                      <a:pt x="1173" y="1293"/>
                    </a:lnTo>
                    <a:lnTo>
                      <a:pt x="1171" y="1293"/>
                    </a:lnTo>
                    <a:close/>
                    <a:moveTo>
                      <a:pt x="788" y="1242"/>
                    </a:moveTo>
                    <a:lnTo>
                      <a:pt x="789" y="1242"/>
                    </a:lnTo>
                    <a:lnTo>
                      <a:pt x="788" y="1242"/>
                    </a:lnTo>
                    <a:close/>
                    <a:moveTo>
                      <a:pt x="898" y="1167"/>
                    </a:moveTo>
                    <a:lnTo>
                      <a:pt x="900" y="1167"/>
                    </a:lnTo>
                    <a:lnTo>
                      <a:pt x="898" y="1167"/>
                    </a:lnTo>
                    <a:close/>
                    <a:moveTo>
                      <a:pt x="767" y="1299"/>
                    </a:moveTo>
                    <a:lnTo>
                      <a:pt x="767" y="1301"/>
                    </a:lnTo>
                    <a:lnTo>
                      <a:pt x="767" y="1299"/>
                    </a:lnTo>
                    <a:close/>
                    <a:moveTo>
                      <a:pt x="1089" y="1236"/>
                    </a:moveTo>
                    <a:lnTo>
                      <a:pt x="1091" y="1236"/>
                    </a:lnTo>
                    <a:lnTo>
                      <a:pt x="1089" y="1236"/>
                    </a:lnTo>
                    <a:close/>
                    <a:moveTo>
                      <a:pt x="503" y="1072"/>
                    </a:moveTo>
                    <a:lnTo>
                      <a:pt x="503" y="1074"/>
                    </a:lnTo>
                    <a:lnTo>
                      <a:pt x="503" y="1072"/>
                    </a:lnTo>
                    <a:close/>
                    <a:moveTo>
                      <a:pt x="772" y="1282"/>
                    </a:moveTo>
                    <a:lnTo>
                      <a:pt x="774" y="1282"/>
                    </a:lnTo>
                    <a:lnTo>
                      <a:pt x="772" y="1282"/>
                    </a:lnTo>
                    <a:close/>
                    <a:moveTo>
                      <a:pt x="225" y="1627"/>
                    </a:moveTo>
                    <a:lnTo>
                      <a:pt x="225" y="1629"/>
                    </a:lnTo>
                    <a:lnTo>
                      <a:pt x="225" y="1627"/>
                    </a:lnTo>
                    <a:close/>
                    <a:moveTo>
                      <a:pt x="755" y="1303"/>
                    </a:moveTo>
                    <a:lnTo>
                      <a:pt x="757" y="1303"/>
                    </a:lnTo>
                    <a:lnTo>
                      <a:pt x="755" y="1303"/>
                    </a:lnTo>
                    <a:close/>
                    <a:moveTo>
                      <a:pt x="1222" y="1679"/>
                    </a:moveTo>
                    <a:lnTo>
                      <a:pt x="1224" y="1679"/>
                    </a:lnTo>
                    <a:lnTo>
                      <a:pt x="1224" y="1681"/>
                    </a:lnTo>
                    <a:lnTo>
                      <a:pt x="1222" y="1681"/>
                    </a:lnTo>
                    <a:lnTo>
                      <a:pt x="1222" y="1679"/>
                    </a:lnTo>
                    <a:close/>
                    <a:moveTo>
                      <a:pt x="1287" y="1709"/>
                    </a:moveTo>
                    <a:lnTo>
                      <a:pt x="1287" y="1711"/>
                    </a:lnTo>
                    <a:lnTo>
                      <a:pt x="1287" y="1709"/>
                    </a:lnTo>
                    <a:close/>
                    <a:moveTo>
                      <a:pt x="797" y="1274"/>
                    </a:moveTo>
                    <a:lnTo>
                      <a:pt x="797" y="1276"/>
                    </a:lnTo>
                    <a:lnTo>
                      <a:pt x="797" y="1274"/>
                    </a:lnTo>
                    <a:close/>
                    <a:moveTo>
                      <a:pt x="423" y="1076"/>
                    </a:moveTo>
                    <a:lnTo>
                      <a:pt x="425" y="1076"/>
                    </a:lnTo>
                    <a:lnTo>
                      <a:pt x="423" y="1076"/>
                    </a:lnTo>
                    <a:close/>
                    <a:moveTo>
                      <a:pt x="147" y="988"/>
                    </a:moveTo>
                    <a:lnTo>
                      <a:pt x="149" y="988"/>
                    </a:lnTo>
                    <a:lnTo>
                      <a:pt x="149" y="992"/>
                    </a:lnTo>
                    <a:lnTo>
                      <a:pt x="147" y="992"/>
                    </a:lnTo>
                    <a:lnTo>
                      <a:pt x="147" y="988"/>
                    </a:lnTo>
                    <a:close/>
                    <a:moveTo>
                      <a:pt x="1207" y="1307"/>
                    </a:moveTo>
                    <a:lnTo>
                      <a:pt x="1207" y="1309"/>
                    </a:lnTo>
                    <a:lnTo>
                      <a:pt x="1207" y="1307"/>
                    </a:lnTo>
                    <a:close/>
                    <a:moveTo>
                      <a:pt x="206" y="1580"/>
                    </a:moveTo>
                    <a:lnTo>
                      <a:pt x="208" y="1580"/>
                    </a:lnTo>
                    <a:lnTo>
                      <a:pt x="206" y="1580"/>
                    </a:lnTo>
                    <a:close/>
                    <a:moveTo>
                      <a:pt x="700" y="1055"/>
                    </a:moveTo>
                    <a:lnTo>
                      <a:pt x="702" y="1055"/>
                    </a:lnTo>
                    <a:lnTo>
                      <a:pt x="700" y="1055"/>
                    </a:lnTo>
                    <a:close/>
                    <a:moveTo>
                      <a:pt x="984" y="1555"/>
                    </a:moveTo>
                    <a:lnTo>
                      <a:pt x="986" y="1555"/>
                    </a:lnTo>
                    <a:lnTo>
                      <a:pt x="984" y="1555"/>
                    </a:lnTo>
                    <a:close/>
                    <a:moveTo>
                      <a:pt x="1192" y="1288"/>
                    </a:moveTo>
                    <a:lnTo>
                      <a:pt x="1192" y="1290"/>
                    </a:lnTo>
                    <a:lnTo>
                      <a:pt x="1192" y="1288"/>
                    </a:lnTo>
                    <a:close/>
                    <a:moveTo>
                      <a:pt x="1249" y="1112"/>
                    </a:moveTo>
                    <a:lnTo>
                      <a:pt x="1251" y="1112"/>
                    </a:lnTo>
                    <a:lnTo>
                      <a:pt x="1251" y="1114"/>
                    </a:lnTo>
                    <a:lnTo>
                      <a:pt x="1249" y="1114"/>
                    </a:lnTo>
                    <a:lnTo>
                      <a:pt x="1249" y="1112"/>
                    </a:lnTo>
                    <a:close/>
                    <a:moveTo>
                      <a:pt x="175" y="1551"/>
                    </a:moveTo>
                    <a:lnTo>
                      <a:pt x="177" y="1551"/>
                    </a:lnTo>
                    <a:lnTo>
                      <a:pt x="177" y="1553"/>
                    </a:lnTo>
                    <a:lnTo>
                      <a:pt x="175" y="1553"/>
                    </a:lnTo>
                    <a:lnTo>
                      <a:pt x="175" y="1551"/>
                    </a:lnTo>
                    <a:close/>
                    <a:moveTo>
                      <a:pt x="1220" y="1238"/>
                    </a:moveTo>
                    <a:lnTo>
                      <a:pt x="1220" y="1240"/>
                    </a:lnTo>
                    <a:lnTo>
                      <a:pt x="1220" y="1238"/>
                    </a:lnTo>
                    <a:close/>
                    <a:moveTo>
                      <a:pt x="1076" y="1209"/>
                    </a:moveTo>
                    <a:lnTo>
                      <a:pt x="1076" y="1211"/>
                    </a:lnTo>
                    <a:lnTo>
                      <a:pt x="1076" y="1209"/>
                    </a:lnTo>
                    <a:close/>
                    <a:moveTo>
                      <a:pt x="1041" y="1288"/>
                    </a:moveTo>
                    <a:lnTo>
                      <a:pt x="1043" y="1288"/>
                    </a:lnTo>
                    <a:lnTo>
                      <a:pt x="1043" y="1290"/>
                    </a:lnTo>
                    <a:lnTo>
                      <a:pt x="1041" y="1290"/>
                    </a:lnTo>
                    <a:lnTo>
                      <a:pt x="1041" y="1288"/>
                    </a:lnTo>
                    <a:close/>
                    <a:moveTo>
                      <a:pt x="990" y="1480"/>
                    </a:moveTo>
                    <a:lnTo>
                      <a:pt x="992" y="1480"/>
                    </a:lnTo>
                    <a:lnTo>
                      <a:pt x="990" y="1480"/>
                    </a:lnTo>
                    <a:close/>
                    <a:moveTo>
                      <a:pt x="1316" y="1612"/>
                    </a:moveTo>
                    <a:lnTo>
                      <a:pt x="1316" y="1614"/>
                    </a:lnTo>
                    <a:lnTo>
                      <a:pt x="1316" y="1612"/>
                    </a:lnTo>
                    <a:close/>
                    <a:moveTo>
                      <a:pt x="397" y="956"/>
                    </a:moveTo>
                    <a:lnTo>
                      <a:pt x="399" y="956"/>
                    </a:lnTo>
                    <a:lnTo>
                      <a:pt x="397" y="956"/>
                    </a:lnTo>
                    <a:close/>
                    <a:moveTo>
                      <a:pt x="477" y="851"/>
                    </a:moveTo>
                    <a:lnTo>
                      <a:pt x="477" y="853"/>
                    </a:lnTo>
                    <a:lnTo>
                      <a:pt x="477" y="851"/>
                    </a:lnTo>
                    <a:close/>
                    <a:moveTo>
                      <a:pt x="1205" y="1307"/>
                    </a:moveTo>
                    <a:lnTo>
                      <a:pt x="1207" y="1307"/>
                    </a:lnTo>
                    <a:lnTo>
                      <a:pt x="1205" y="1307"/>
                    </a:lnTo>
                    <a:close/>
                    <a:moveTo>
                      <a:pt x="233" y="1652"/>
                    </a:moveTo>
                    <a:lnTo>
                      <a:pt x="235" y="1652"/>
                    </a:lnTo>
                    <a:lnTo>
                      <a:pt x="233" y="1652"/>
                    </a:lnTo>
                    <a:close/>
                    <a:moveTo>
                      <a:pt x="828" y="1227"/>
                    </a:moveTo>
                    <a:lnTo>
                      <a:pt x="828" y="1228"/>
                    </a:lnTo>
                    <a:lnTo>
                      <a:pt x="828" y="1227"/>
                    </a:lnTo>
                    <a:close/>
                    <a:moveTo>
                      <a:pt x="204" y="956"/>
                    </a:moveTo>
                    <a:lnTo>
                      <a:pt x="206" y="956"/>
                    </a:lnTo>
                    <a:lnTo>
                      <a:pt x="206" y="958"/>
                    </a:lnTo>
                    <a:lnTo>
                      <a:pt x="204" y="958"/>
                    </a:lnTo>
                    <a:lnTo>
                      <a:pt x="204" y="956"/>
                    </a:lnTo>
                    <a:close/>
                    <a:moveTo>
                      <a:pt x="1272" y="1465"/>
                    </a:moveTo>
                    <a:lnTo>
                      <a:pt x="1274" y="1465"/>
                    </a:lnTo>
                    <a:lnTo>
                      <a:pt x="1272" y="1465"/>
                    </a:lnTo>
                    <a:close/>
                    <a:moveTo>
                      <a:pt x="711" y="362"/>
                    </a:moveTo>
                    <a:lnTo>
                      <a:pt x="713" y="362"/>
                    </a:lnTo>
                    <a:lnTo>
                      <a:pt x="713" y="364"/>
                    </a:lnTo>
                    <a:lnTo>
                      <a:pt x="711" y="364"/>
                    </a:lnTo>
                    <a:lnTo>
                      <a:pt x="711" y="362"/>
                    </a:lnTo>
                    <a:close/>
                    <a:moveTo>
                      <a:pt x="519" y="874"/>
                    </a:moveTo>
                    <a:lnTo>
                      <a:pt x="519" y="875"/>
                    </a:lnTo>
                    <a:lnTo>
                      <a:pt x="519" y="874"/>
                    </a:lnTo>
                    <a:close/>
                    <a:moveTo>
                      <a:pt x="713" y="1089"/>
                    </a:moveTo>
                    <a:lnTo>
                      <a:pt x="713" y="1091"/>
                    </a:lnTo>
                    <a:lnTo>
                      <a:pt x="713" y="1089"/>
                    </a:lnTo>
                    <a:close/>
                    <a:moveTo>
                      <a:pt x="1268" y="1461"/>
                    </a:moveTo>
                    <a:lnTo>
                      <a:pt x="1268" y="1463"/>
                    </a:lnTo>
                    <a:lnTo>
                      <a:pt x="1268" y="1461"/>
                    </a:lnTo>
                    <a:close/>
                    <a:moveTo>
                      <a:pt x="812" y="1043"/>
                    </a:moveTo>
                    <a:lnTo>
                      <a:pt x="814" y="1043"/>
                    </a:lnTo>
                    <a:lnTo>
                      <a:pt x="812" y="1043"/>
                    </a:lnTo>
                    <a:close/>
                    <a:moveTo>
                      <a:pt x="381" y="998"/>
                    </a:moveTo>
                    <a:lnTo>
                      <a:pt x="383" y="998"/>
                    </a:lnTo>
                    <a:lnTo>
                      <a:pt x="383" y="999"/>
                    </a:lnTo>
                    <a:lnTo>
                      <a:pt x="381" y="999"/>
                    </a:lnTo>
                    <a:lnTo>
                      <a:pt x="381" y="998"/>
                    </a:lnTo>
                    <a:close/>
                    <a:moveTo>
                      <a:pt x="1249" y="1765"/>
                    </a:moveTo>
                    <a:lnTo>
                      <a:pt x="1251" y="1765"/>
                    </a:lnTo>
                    <a:lnTo>
                      <a:pt x="1249" y="1765"/>
                    </a:lnTo>
                    <a:close/>
                    <a:moveTo>
                      <a:pt x="420" y="1061"/>
                    </a:moveTo>
                    <a:lnTo>
                      <a:pt x="420" y="1062"/>
                    </a:lnTo>
                    <a:lnTo>
                      <a:pt x="420" y="1061"/>
                    </a:lnTo>
                    <a:close/>
                    <a:moveTo>
                      <a:pt x="1390" y="1677"/>
                    </a:moveTo>
                    <a:lnTo>
                      <a:pt x="1392" y="1677"/>
                    </a:lnTo>
                    <a:lnTo>
                      <a:pt x="1390" y="1677"/>
                    </a:lnTo>
                    <a:close/>
                    <a:moveTo>
                      <a:pt x="648" y="959"/>
                    </a:moveTo>
                    <a:lnTo>
                      <a:pt x="650" y="959"/>
                    </a:lnTo>
                    <a:lnTo>
                      <a:pt x="650" y="961"/>
                    </a:lnTo>
                    <a:lnTo>
                      <a:pt x="648" y="961"/>
                    </a:lnTo>
                    <a:lnTo>
                      <a:pt x="648" y="959"/>
                    </a:lnTo>
                    <a:close/>
                    <a:moveTo>
                      <a:pt x="463" y="1061"/>
                    </a:moveTo>
                    <a:lnTo>
                      <a:pt x="465" y="1061"/>
                    </a:lnTo>
                    <a:lnTo>
                      <a:pt x="463" y="1061"/>
                    </a:lnTo>
                    <a:close/>
                    <a:moveTo>
                      <a:pt x="153" y="1576"/>
                    </a:moveTo>
                    <a:lnTo>
                      <a:pt x="153" y="1578"/>
                    </a:lnTo>
                    <a:lnTo>
                      <a:pt x="153" y="1576"/>
                    </a:lnTo>
                    <a:close/>
                    <a:moveTo>
                      <a:pt x="795" y="1244"/>
                    </a:moveTo>
                    <a:lnTo>
                      <a:pt x="795" y="1246"/>
                    </a:lnTo>
                    <a:lnTo>
                      <a:pt x="795" y="1244"/>
                    </a:lnTo>
                    <a:close/>
                    <a:moveTo>
                      <a:pt x="1083" y="1225"/>
                    </a:moveTo>
                    <a:lnTo>
                      <a:pt x="1083" y="1227"/>
                    </a:lnTo>
                    <a:lnTo>
                      <a:pt x="1083" y="1225"/>
                    </a:lnTo>
                    <a:close/>
                    <a:moveTo>
                      <a:pt x="1190" y="1692"/>
                    </a:moveTo>
                    <a:lnTo>
                      <a:pt x="1192" y="1692"/>
                    </a:lnTo>
                    <a:lnTo>
                      <a:pt x="1190" y="1692"/>
                    </a:lnTo>
                    <a:close/>
                    <a:moveTo>
                      <a:pt x="986" y="1601"/>
                    </a:moveTo>
                    <a:lnTo>
                      <a:pt x="986" y="1602"/>
                    </a:lnTo>
                    <a:lnTo>
                      <a:pt x="986" y="1601"/>
                    </a:lnTo>
                    <a:close/>
                    <a:moveTo>
                      <a:pt x="1312" y="1614"/>
                    </a:moveTo>
                    <a:lnTo>
                      <a:pt x="1312" y="1616"/>
                    </a:lnTo>
                    <a:lnTo>
                      <a:pt x="1312" y="1614"/>
                    </a:lnTo>
                    <a:close/>
                    <a:moveTo>
                      <a:pt x="1129" y="1276"/>
                    </a:moveTo>
                    <a:lnTo>
                      <a:pt x="1129" y="1278"/>
                    </a:lnTo>
                    <a:lnTo>
                      <a:pt x="1129" y="1276"/>
                    </a:lnTo>
                    <a:close/>
                    <a:moveTo>
                      <a:pt x="433" y="484"/>
                    </a:moveTo>
                    <a:lnTo>
                      <a:pt x="435" y="484"/>
                    </a:lnTo>
                    <a:lnTo>
                      <a:pt x="433" y="484"/>
                    </a:lnTo>
                    <a:close/>
                    <a:moveTo>
                      <a:pt x="1087" y="1232"/>
                    </a:moveTo>
                    <a:lnTo>
                      <a:pt x="1089" y="1232"/>
                    </a:lnTo>
                    <a:lnTo>
                      <a:pt x="1087" y="1232"/>
                    </a:lnTo>
                    <a:close/>
                    <a:moveTo>
                      <a:pt x="866" y="1085"/>
                    </a:moveTo>
                    <a:lnTo>
                      <a:pt x="866" y="1087"/>
                    </a:lnTo>
                    <a:lnTo>
                      <a:pt x="866" y="1085"/>
                    </a:lnTo>
                    <a:close/>
                    <a:moveTo>
                      <a:pt x="1070" y="1217"/>
                    </a:moveTo>
                    <a:lnTo>
                      <a:pt x="1070" y="1219"/>
                    </a:lnTo>
                    <a:lnTo>
                      <a:pt x="1070" y="1217"/>
                    </a:lnTo>
                    <a:close/>
                    <a:moveTo>
                      <a:pt x="1138" y="1276"/>
                    </a:moveTo>
                    <a:lnTo>
                      <a:pt x="1138" y="1278"/>
                    </a:lnTo>
                    <a:lnTo>
                      <a:pt x="1138" y="1276"/>
                    </a:lnTo>
                    <a:close/>
                    <a:moveTo>
                      <a:pt x="990" y="1463"/>
                    </a:moveTo>
                    <a:lnTo>
                      <a:pt x="992" y="1463"/>
                    </a:lnTo>
                    <a:lnTo>
                      <a:pt x="990" y="1463"/>
                    </a:lnTo>
                    <a:close/>
                    <a:moveTo>
                      <a:pt x="1253" y="1154"/>
                    </a:moveTo>
                    <a:lnTo>
                      <a:pt x="1255" y="1154"/>
                    </a:lnTo>
                    <a:lnTo>
                      <a:pt x="1253" y="1154"/>
                    </a:lnTo>
                    <a:close/>
                    <a:moveTo>
                      <a:pt x="1209" y="1181"/>
                    </a:moveTo>
                    <a:lnTo>
                      <a:pt x="1209" y="1183"/>
                    </a:lnTo>
                    <a:lnTo>
                      <a:pt x="1209" y="1181"/>
                    </a:lnTo>
                    <a:close/>
                    <a:moveTo>
                      <a:pt x="1234" y="1768"/>
                    </a:moveTo>
                    <a:lnTo>
                      <a:pt x="1234" y="1770"/>
                    </a:lnTo>
                    <a:lnTo>
                      <a:pt x="1234" y="1768"/>
                    </a:lnTo>
                    <a:close/>
                    <a:moveTo>
                      <a:pt x="639" y="1078"/>
                    </a:moveTo>
                    <a:lnTo>
                      <a:pt x="639" y="1080"/>
                    </a:lnTo>
                    <a:lnTo>
                      <a:pt x="639" y="1078"/>
                    </a:lnTo>
                    <a:close/>
                    <a:moveTo>
                      <a:pt x="1173" y="1171"/>
                    </a:moveTo>
                    <a:lnTo>
                      <a:pt x="1175" y="1171"/>
                    </a:lnTo>
                    <a:lnTo>
                      <a:pt x="1173" y="1171"/>
                    </a:lnTo>
                    <a:close/>
                    <a:moveTo>
                      <a:pt x="990" y="1467"/>
                    </a:moveTo>
                    <a:lnTo>
                      <a:pt x="992" y="1467"/>
                    </a:lnTo>
                    <a:lnTo>
                      <a:pt x="990" y="1467"/>
                    </a:lnTo>
                    <a:close/>
                    <a:moveTo>
                      <a:pt x="809" y="1001"/>
                    </a:moveTo>
                    <a:lnTo>
                      <a:pt x="809" y="1003"/>
                    </a:lnTo>
                    <a:lnTo>
                      <a:pt x="809" y="1001"/>
                    </a:lnTo>
                    <a:close/>
                    <a:moveTo>
                      <a:pt x="216" y="1620"/>
                    </a:moveTo>
                    <a:lnTo>
                      <a:pt x="216" y="1622"/>
                    </a:lnTo>
                    <a:lnTo>
                      <a:pt x="216" y="1620"/>
                    </a:lnTo>
                    <a:close/>
                    <a:moveTo>
                      <a:pt x="1354" y="1557"/>
                    </a:moveTo>
                    <a:lnTo>
                      <a:pt x="1356" y="1557"/>
                    </a:lnTo>
                    <a:lnTo>
                      <a:pt x="1354" y="1557"/>
                    </a:lnTo>
                    <a:close/>
                    <a:moveTo>
                      <a:pt x="1213" y="1286"/>
                    </a:moveTo>
                    <a:lnTo>
                      <a:pt x="1215" y="1286"/>
                    </a:lnTo>
                    <a:lnTo>
                      <a:pt x="1213" y="1286"/>
                    </a:lnTo>
                    <a:close/>
                    <a:moveTo>
                      <a:pt x="683" y="1055"/>
                    </a:moveTo>
                    <a:lnTo>
                      <a:pt x="683" y="1057"/>
                    </a:lnTo>
                    <a:lnTo>
                      <a:pt x="683" y="1055"/>
                    </a:lnTo>
                    <a:close/>
                    <a:moveTo>
                      <a:pt x="118" y="1003"/>
                    </a:moveTo>
                    <a:lnTo>
                      <a:pt x="120" y="1003"/>
                    </a:lnTo>
                    <a:lnTo>
                      <a:pt x="118" y="1003"/>
                    </a:lnTo>
                    <a:close/>
                    <a:moveTo>
                      <a:pt x="1199" y="1385"/>
                    </a:moveTo>
                    <a:lnTo>
                      <a:pt x="1199" y="1387"/>
                    </a:lnTo>
                    <a:lnTo>
                      <a:pt x="1199" y="1385"/>
                    </a:lnTo>
                    <a:close/>
                    <a:moveTo>
                      <a:pt x="1119" y="1269"/>
                    </a:moveTo>
                    <a:lnTo>
                      <a:pt x="1121" y="1269"/>
                    </a:lnTo>
                    <a:lnTo>
                      <a:pt x="1119" y="1269"/>
                    </a:lnTo>
                    <a:close/>
                    <a:moveTo>
                      <a:pt x="1310" y="1509"/>
                    </a:moveTo>
                    <a:lnTo>
                      <a:pt x="1312" y="1509"/>
                    </a:lnTo>
                    <a:lnTo>
                      <a:pt x="1312" y="1511"/>
                    </a:lnTo>
                    <a:lnTo>
                      <a:pt x="1310" y="1511"/>
                    </a:lnTo>
                    <a:lnTo>
                      <a:pt x="1310" y="1509"/>
                    </a:lnTo>
                    <a:close/>
                    <a:moveTo>
                      <a:pt x="624" y="994"/>
                    </a:moveTo>
                    <a:lnTo>
                      <a:pt x="624" y="998"/>
                    </a:lnTo>
                    <a:lnTo>
                      <a:pt x="624" y="994"/>
                    </a:lnTo>
                    <a:close/>
                    <a:moveTo>
                      <a:pt x="1381" y="1696"/>
                    </a:moveTo>
                    <a:lnTo>
                      <a:pt x="1383" y="1696"/>
                    </a:lnTo>
                    <a:lnTo>
                      <a:pt x="1383" y="1698"/>
                    </a:lnTo>
                    <a:lnTo>
                      <a:pt x="1381" y="1698"/>
                    </a:lnTo>
                    <a:lnTo>
                      <a:pt x="1381" y="1696"/>
                    </a:lnTo>
                    <a:close/>
                    <a:moveTo>
                      <a:pt x="1285" y="1501"/>
                    </a:moveTo>
                    <a:lnTo>
                      <a:pt x="1285" y="1503"/>
                    </a:lnTo>
                    <a:lnTo>
                      <a:pt x="1285" y="1501"/>
                    </a:lnTo>
                    <a:close/>
                    <a:moveTo>
                      <a:pt x="997" y="1410"/>
                    </a:moveTo>
                    <a:lnTo>
                      <a:pt x="997" y="1412"/>
                    </a:lnTo>
                    <a:lnTo>
                      <a:pt x="997" y="1410"/>
                    </a:lnTo>
                    <a:close/>
                    <a:moveTo>
                      <a:pt x="852" y="612"/>
                    </a:moveTo>
                    <a:lnTo>
                      <a:pt x="852" y="614"/>
                    </a:lnTo>
                    <a:lnTo>
                      <a:pt x="852" y="612"/>
                    </a:lnTo>
                    <a:close/>
                    <a:moveTo>
                      <a:pt x="1262" y="1707"/>
                    </a:moveTo>
                    <a:lnTo>
                      <a:pt x="1262" y="1709"/>
                    </a:lnTo>
                    <a:lnTo>
                      <a:pt x="1262" y="1707"/>
                    </a:lnTo>
                    <a:close/>
                    <a:moveTo>
                      <a:pt x="774" y="975"/>
                    </a:moveTo>
                    <a:lnTo>
                      <a:pt x="776" y="975"/>
                    </a:lnTo>
                    <a:lnTo>
                      <a:pt x="776" y="977"/>
                    </a:lnTo>
                    <a:lnTo>
                      <a:pt x="774" y="977"/>
                    </a:lnTo>
                    <a:lnTo>
                      <a:pt x="774" y="975"/>
                    </a:lnTo>
                    <a:close/>
                    <a:moveTo>
                      <a:pt x="1209" y="1711"/>
                    </a:moveTo>
                    <a:lnTo>
                      <a:pt x="1211" y="1711"/>
                    </a:lnTo>
                    <a:lnTo>
                      <a:pt x="1211" y="1713"/>
                    </a:lnTo>
                    <a:lnTo>
                      <a:pt x="1209" y="1713"/>
                    </a:lnTo>
                    <a:lnTo>
                      <a:pt x="1209" y="1711"/>
                    </a:lnTo>
                    <a:close/>
                    <a:moveTo>
                      <a:pt x="423" y="1076"/>
                    </a:moveTo>
                    <a:lnTo>
                      <a:pt x="425" y="1076"/>
                    </a:lnTo>
                    <a:lnTo>
                      <a:pt x="425" y="1078"/>
                    </a:lnTo>
                    <a:lnTo>
                      <a:pt x="423" y="1078"/>
                    </a:lnTo>
                    <a:lnTo>
                      <a:pt x="423" y="1076"/>
                    </a:lnTo>
                    <a:close/>
                    <a:moveTo>
                      <a:pt x="1011" y="1471"/>
                    </a:moveTo>
                    <a:lnTo>
                      <a:pt x="1011" y="1473"/>
                    </a:lnTo>
                    <a:lnTo>
                      <a:pt x="1011" y="1471"/>
                    </a:lnTo>
                    <a:close/>
                    <a:moveTo>
                      <a:pt x="671" y="1068"/>
                    </a:moveTo>
                    <a:lnTo>
                      <a:pt x="671" y="1070"/>
                    </a:lnTo>
                    <a:lnTo>
                      <a:pt x="671" y="1068"/>
                    </a:lnTo>
                    <a:close/>
                    <a:moveTo>
                      <a:pt x="566" y="847"/>
                    </a:moveTo>
                    <a:lnTo>
                      <a:pt x="568" y="847"/>
                    </a:lnTo>
                    <a:lnTo>
                      <a:pt x="566" y="847"/>
                    </a:lnTo>
                    <a:close/>
                    <a:moveTo>
                      <a:pt x="969" y="1486"/>
                    </a:moveTo>
                    <a:lnTo>
                      <a:pt x="971" y="1486"/>
                    </a:lnTo>
                    <a:lnTo>
                      <a:pt x="969" y="1486"/>
                    </a:lnTo>
                    <a:close/>
                    <a:moveTo>
                      <a:pt x="1068" y="1223"/>
                    </a:moveTo>
                    <a:lnTo>
                      <a:pt x="1070" y="1223"/>
                    </a:lnTo>
                    <a:lnTo>
                      <a:pt x="1068" y="1223"/>
                    </a:lnTo>
                    <a:close/>
                    <a:moveTo>
                      <a:pt x="1009" y="1354"/>
                    </a:moveTo>
                    <a:lnTo>
                      <a:pt x="1009" y="1356"/>
                    </a:lnTo>
                    <a:lnTo>
                      <a:pt x="1009" y="1354"/>
                    </a:lnTo>
                    <a:close/>
                    <a:moveTo>
                      <a:pt x="229" y="1625"/>
                    </a:moveTo>
                    <a:lnTo>
                      <a:pt x="231" y="1625"/>
                    </a:lnTo>
                    <a:lnTo>
                      <a:pt x="229" y="1625"/>
                    </a:lnTo>
                    <a:close/>
                    <a:moveTo>
                      <a:pt x="214" y="1622"/>
                    </a:moveTo>
                    <a:lnTo>
                      <a:pt x="216" y="1622"/>
                    </a:lnTo>
                    <a:lnTo>
                      <a:pt x="214" y="1622"/>
                    </a:lnTo>
                    <a:close/>
                    <a:moveTo>
                      <a:pt x="1209" y="1267"/>
                    </a:moveTo>
                    <a:lnTo>
                      <a:pt x="1209" y="1269"/>
                    </a:lnTo>
                    <a:lnTo>
                      <a:pt x="1209" y="1267"/>
                    </a:lnTo>
                    <a:close/>
                    <a:moveTo>
                      <a:pt x="1207" y="1213"/>
                    </a:moveTo>
                    <a:lnTo>
                      <a:pt x="1209" y="1213"/>
                    </a:lnTo>
                    <a:lnTo>
                      <a:pt x="1209" y="1215"/>
                    </a:lnTo>
                    <a:lnTo>
                      <a:pt x="1207" y="1215"/>
                    </a:lnTo>
                    <a:lnTo>
                      <a:pt x="1207" y="1213"/>
                    </a:lnTo>
                    <a:close/>
                    <a:moveTo>
                      <a:pt x="620" y="1080"/>
                    </a:moveTo>
                    <a:lnTo>
                      <a:pt x="620" y="1082"/>
                    </a:lnTo>
                    <a:lnTo>
                      <a:pt x="620" y="1080"/>
                    </a:lnTo>
                    <a:close/>
                    <a:moveTo>
                      <a:pt x="1173" y="1145"/>
                    </a:moveTo>
                    <a:lnTo>
                      <a:pt x="1175" y="1145"/>
                    </a:lnTo>
                    <a:lnTo>
                      <a:pt x="1173" y="1145"/>
                    </a:lnTo>
                    <a:close/>
                    <a:moveTo>
                      <a:pt x="1093" y="1238"/>
                    </a:moveTo>
                    <a:lnTo>
                      <a:pt x="1093" y="1240"/>
                    </a:lnTo>
                    <a:lnTo>
                      <a:pt x="1093" y="1238"/>
                    </a:lnTo>
                    <a:close/>
                    <a:moveTo>
                      <a:pt x="1081" y="1238"/>
                    </a:moveTo>
                    <a:lnTo>
                      <a:pt x="1083" y="1238"/>
                    </a:lnTo>
                    <a:lnTo>
                      <a:pt x="1081" y="1238"/>
                    </a:lnTo>
                    <a:close/>
                    <a:moveTo>
                      <a:pt x="78" y="1034"/>
                    </a:moveTo>
                    <a:lnTo>
                      <a:pt x="80" y="1034"/>
                    </a:lnTo>
                    <a:lnTo>
                      <a:pt x="80" y="1036"/>
                    </a:lnTo>
                    <a:lnTo>
                      <a:pt x="78" y="1036"/>
                    </a:lnTo>
                    <a:lnTo>
                      <a:pt x="78" y="1034"/>
                    </a:lnTo>
                    <a:close/>
                    <a:moveTo>
                      <a:pt x="711" y="664"/>
                    </a:moveTo>
                    <a:lnTo>
                      <a:pt x="713" y="664"/>
                    </a:lnTo>
                    <a:lnTo>
                      <a:pt x="711" y="664"/>
                    </a:lnTo>
                    <a:close/>
                    <a:moveTo>
                      <a:pt x="994" y="1408"/>
                    </a:moveTo>
                    <a:lnTo>
                      <a:pt x="995" y="1408"/>
                    </a:lnTo>
                    <a:lnTo>
                      <a:pt x="995" y="1410"/>
                    </a:lnTo>
                    <a:lnTo>
                      <a:pt x="994" y="1410"/>
                    </a:lnTo>
                    <a:lnTo>
                      <a:pt x="994" y="1408"/>
                    </a:lnTo>
                    <a:close/>
                    <a:moveTo>
                      <a:pt x="1274" y="1480"/>
                    </a:moveTo>
                    <a:lnTo>
                      <a:pt x="1276" y="1480"/>
                    </a:lnTo>
                    <a:lnTo>
                      <a:pt x="1274" y="1480"/>
                    </a:lnTo>
                    <a:close/>
                    <a:moveTo>
                      <a:pt x="1163" y="1043"/>
                    </a:moveTo>
                    <a:lnTo>
                      <a:pt x="1165" y="1043"/>
                    </a:lnTo>
                    <a:lnTo>
                      <a:pt x="1163" y="1043"/>
                    </a:lnTo>
                    <a:close/>
                    <a:moveTo>
                      <a:pt x="769" y="1303"/>
                    </a:moveTo>
                    <a:lnTo>
                      <a:pt x="770" y="1303"/>
                    </a:lnTo>
                    <a:lnTo>
                      <a:pt x="769" y="1303"/>
                    </a:lnTo>
                    <a:close/>
                    <a:moveTo>
                      <a:pt x="1163" y="1251"/>
                    </a:moveTo>
                    <a:lnTo>
                      <a:pt x="1163" y="1253"/>
                    </a:lnTo>
                    <a:lnTo>
                      <a:pt x="1163" y="1251"/>
                    </a:lnTo>
                    <a:close/>
                    <a:moveTo>
                      <a:pt x="648" y="1076"/>
                    </a:moveTo>
                    <a:lnTo>
                      <a:pt x="648" y="1078"/>
                    </a:lnTo>
                    <a:lnTo>
                      <a:pt x="648" y="1076"/>
                    </a:lnTo>
                    <a:close/>
                    <a:moveTo>
                      <a:pt x="1089" y="1240"/>
                    </a:moveTo>
                    <a:lnTo>
                      <a:pt x="1091" y="1240"/>
                    </a:lnTo>
                    <a:lnTo>
                      <a:pt x="1089" y="1240"/>
                    </a:lnTo>
                    <a:close/>
                    <a:moveTo>
                      <a:pt x="80" y="1030"/>
                    </a:moveTo>
                    <a:lnTo>
                      <a:pt x="82" y="1030"/>
                    </a:lnTo>
                    <a:lnTo>
                      <a:pt x="80" y="1030"/>
                    </a:lnTo>
                    <a:close/>
                    <a:moveTo>
                      <a:pt x="1081" y="381"/>
                    </a:moveTo>
                    <a:lnTo>
                      <a:pt x="1083" y="381"/>
                    </a:lnTo>
                    <a:lnTo>
                      <a:pt x="1083" y="383"/>
                    </a:lnTo>
                    <a:lnTo>
                      <a:pt x="1081" y="383"/>
                    </a:lnTo>
                    <a:lnTo>
                      <a:pt x="1081" y="381"/>
                    </a:lnTo>
                    <a:close/>
                    <a:moveTo>
                      <a:pt x="685" y="1047"/>
                    </a:moveTo>
                    <a:lnTo>
                      <a:pt x="685" y="1049"/>
                    </a:lnTo>
                    <a:lnTo>
                      <a:pt x="685" y="1047"/>
                    </a:lnTo>
                    <a:close/>
                    <a:moveTo>
                      <a:pt x="641" y="1078"/>
                    </a:moveTo>
                    <a:lnTo>
                      <a:pt x="641" y="1080"/>
                    </a:lnTo>
                    <a:lnTo>
                      <a:pt x="641" y="1078"/>
                    </a:lnTo>
                    <a:close/>
                    <a:moveTo>
                      <a:pt x="805" y="1019"/>
                    </a:moveTo>
                    <a:lnTo>
                      <a:pt x="807" y="1019"/>
                    </a:lnTo>
                    <a:lnTo>
                      <a:pt x="807" y="1020"/>
                    </a:lnTo>
                    <a:lnTo>
                      <a:pt x="805" y="1020"/>
                    </a:lnTo>
                    <a:lnTo>
                      <a:pt x="805" y="1019"/>
                    </a:lnTo>
                    <a:close/>
                    <a:moveTo>
                      <a:pt x="694" y="994"/>
                    </a:moveTo>
                    <a:lnTo>
                      <a:pt x="696" y="994"/>
                    </a:lnTo>
                    <a:lnTo>
                      <a:pt x="694" y="994"/>
                    </a:lnTo>
                    <a:close/>
                    <a:moveTo>
                      <a:pt x="1163" y="1251"/>
                    </a:moveTo>
                    <a:lnTo>
                      <a:pt x="1165" y="1251"/>
                    </a:lnTo>
                    <a:lnTo>
                      <a:pt x="1163" y="1251"/>
                    </a:lnTo>
                    <a:close/>
                    <a:moveTo>
                      <a:pt x="1369" y="1658"/>
                    </a:moveTo>
                    <a:lnTo>
                      <a:pt x="1369" y="1660"/>
                    </a:lnTo>
                    <a:lnTo>
                      <a:pt x="1369" y="1658"/>
                    </a:lnTo>
                    <a:close/>
                    <a:moveTo>
                      <a:pt x="1325" y="1608"/>
                    </a:moveTo>
                    <a:lnTo>
                      <a:pt x="1325" y="1610"/>
                    </a:lnTo>
                    <a:lnTo>
                      <a:pt x="1325" y="1608"/>
                    </a:lnTo>
                    <a:close/>
                    <a:moveTo>
                      <a:pt x="1177" y="1148"/>
                    </a:moveTo>
                    <a:lnTo>
                      <a:pt x="1177" y="1150"/>
                    </a:lnTo>
                    <a:lnTo>
                      <a:pt x="1177" y="1148"/>
                    </a:lnTo>
                    <a:close/>
                    <a:moveTo>
                      <a:pt x="1226" y="1721"/>
                    </a:moveTo>
                    <a:lnTo>
                      <a:pt x="1228" y="1721"/>
                    </a:lnTo>
                    <a:lnTo>
                      <a:pt x="1228" y="1723"/>
                    </a:lnTo>
                    <a:lnTo>
                      <a:pt x="1226" y="1723"/>
                    </a:lnTo>
                    <a:lnTo>
                      <a:pt x="1226" y="1721"/>
                    </a:lnTo>
                    <a:close/>
                    <a:moveTo>
                      <a:pt x="379" y="547"/>
                    </a:moveTo>
                    <a:lnTo>
                      <a:pt x="381" y="547"/>
                    </a:lnTo>
                    <a:lnTo>
                      <a:pt x="379" y="547"/>
                    </a:lnTo>
                    <a:close/>
                    <a:moveTo>
                      <a:pt x="1068" y="1223"/>
                    </a:moveTo>
                    <a:lnTo>
                      <a:pt x="1070" y="1223"/>
                    </a:lnTo>
                    <a:lnTo>
                      <a:pt x="1068" y="1223"/>
                    </a:lnTo>
                    <a:close/>
                    <a:moveTo>
                      <a:pt x="769" y="1295"/>
                    </a:moveTo>
                    <a:lnTo>
                      <a:pt x="770" y="1295"/>
                    </a:lnTo>
                    <a:lnTo>
                      <a:pt x="770" y="1297"/>
                    </a:lnTo>
                    <a:lnTo>
                      <a:pt x="769" y="1297"/>
                    </a:lnTo>
                    <a:lnTo>
                      <a:pt x="769" y="1295"/>
                    </a:lnTo>
                    <a:close/>
                    <a:moveTo>
                      <a:pt x="990" y="1477"/>
                    </a:moveTo>
                    <a:lnTo>
                      <a:pt x="990" y="1478"/>
                    </a:lnTo>
                    <a:lnTo>
                      <a:pt x="990" y="1477"/>
                    </a:lnTo>
                    <a:close/>
                    <a:moveTo>
                      <a:pt x="530" y="1106"/>
                    </a:moveTo>
                    <a:lnTo>
                      <a:pt x="530" y="1108"/>
                    </a:lnTo>
                    <a:lnTo>
                      <a:pt x="530" y="1106"/>
                    </a:lnTo>
                    <a:close/>
                    <a:moveTo>
                      <a:pt x="875" y="1068"/>
                    </a:moveTo>
                    <a:lnTo>
                      <a:pt x="877" y="1068"/>
                    </a:lnTo>
                    <a:lnTo>
                      <a:pt x="877" y="1070"/>
                    </a:lnTo>
                    <a:lnTo>
                      <a:pt x="875" y="1070"/>
                    </a:lnTo>
                    <a:lnTo>
                      <a:pt x="875" y="1068"/>
                    </a:lnTo>
                    <a:close/>
                    <a:moveTo>
                      <a:pt x="505" y="1072"/>
                    </a:moveTo>
                    <a:lnTo>
                      <a:pt x="505" y="1074"/>
                    </a:lnTo>
                    <a:lnTo>
                      <a:pt x="505" y="1072"/>
                    </a:lnTo>
                    <a:close/>
                    <a:moveTo>
                      <a:pt x="1186" y="1263"/>
                    </a:moveTo>
                    <a:lnTo>
                      <a:pt x="1186" y="1265"/>
                    </a:lnTo>
                    <a:lnTo>
                      <a:pt x="1186" y="1263"/>
                    </a:lnTo>
                    <a:close/>
                    <a:moveTo>
                      <a:pt x="683" y="1055"/>
                    </a:moveTo>
                    <a:lnTo>
                      <a:pt x="683" y="1057"/>
                    </a:lnTo>
                    <a:lnTo>
                      <a:pt x="683" y="1055"/>
                    </a:lnTo>
                    <a:close/>
                    <a:moveTo>
                      <a:pt x="1203" y="1309"/>
                    </a:moveTo>
                    <a:lnTo>
                      <a:pt x="1205" y="1309"/>
                    </a:lnTo>
                    <a:lnTo>
                      <a:pt x="1203" y="1309"/>
                    </a:lnTo>
                    <a:close/>
                    <a:moveTo>
                      <a:pt x="1255" y="1419"/>
                    </a:moveTo>
                    <a:lnTo>
                      <a:pt x="1257" y="1419"/>
                    </a:lnTo>
                    <a:lnTo>
                      <a:pt x="1255" y="1419"/>
                    </a:lnTo>
                    <a:close/>
                    <a:moveTo>
                      <a:pt x="456" y="1062"/>
                    </a:moveTo>
                    <a:lnTo>
                      <a:pt x="458" y="1062"/>
                    </a:lnTo>
                    <a:lnTo>
                      <a:pt x="458" y="1064"/>
                    </a:lnTo>
                    <a:lnTo>
                      <a:pt x="456" y="1064"/>
                    </a:lnTo>
                    <a:lnTo>
                      <a:pt x="456" y="1062"/>
                    </a:lnTo>
                    <a:close/>
                    <a:moveTo>
                      <a:pt x="1287" y="1496"/>
                    </a:moveTo>
                    <a:lnTo>
                      <a:pt x="1287" y="1497"/>
                    </a:lnTo>
                    <a:lnTo>
                      <a:pt x="1287" y="1496"/>
                    </a:lnTo>
                    <a:close/>
                    <a:moveTo>
                      <a:pt x="761" y="406"/>
                    </a:moveTo>
                    <a:lnTo>
                      <a:pt x="763" y="406"/>
                    </a:lnTo>
                    <a:lnTo>
                      <a:pt x="763" y="408"/>
                    </a:lnTo>
                    <a:lnTo>
                      <a:pt x="761" y="408"/>
                    </a:lnTo>
                    <a:lnTo>
                      <a:pt x="761" y="406"/>
                    </a:lnTo>
                    <a:close/>
                    <a:moveTo>
                      <a:pt x="1180" y="1759"/>
                    </a:moveTo>
                    <a:lnTo>
                      <a:pt x="1180" y="1761"/>
                    </a:lnTo>
                    <a:lnTo>
                      <a:pt x="1180" y="1759"/>
                    </a:lnTo>
                    <a:close/>
                    <a:moveTo>
                      <a:pt x="580" y="1064"/>
                    </a:moveTo>
                    <a:lnTo>
                      <a:pt x="582" y="1064"/>
                    </a:lnTo>
                    <a:lnTo>
                      <a:pt x="580" y="1064"/>
                    </a:lnTo>
                    <a:close/>
                    <a:moveTo>
                      <a:pt x="1327" y="1606"/>
                    </a:moveTo>
                    <a:lnTo>
                      <a:pt x="1327" y="1608"/>
                    </a:lnTo>
                    <a:lnTo>
                      <a:pt x="1327" y="1606"/>
                    </a:lnTo>
                    <a:close/>
                    <a:moveTo>
                      <a:pt x="1264" y="1467"/>
                    </a:moveTo>
                    <a:lnTo>
                      <a:pt x="1266" y="1467"/>
                    </a:lnTo>
                    <a:lnTo>
                      <a:pt x="1264" y="1467"/>
                    </a:lnTo>
                    <a:close/>
                    <a:moveTo>
                      <a:pt x="717" y="1099"/>
                    </a:moveTo>
                    <a:lnTo>
                      <a:pt x="717" y="1101"/>
                    </a:lnTo>
                    <a:lnTo>
                      <a:pt x="717" y="1099"/>
                    </a:lnTo>
                    <a:close/>
                    <a:moveTo>
                      <a:pt x="170" y="1538"/>
                    </a:moveTo>
                    <a:lnTo>
                      <a:pt x="172" y="1538"/>
                    </a:lnTo>
                    <a:lnTo>
                      <a:pt x="170" y="1538"/>
                    </a:lnTo>
                    <a:close/>
                    <a:moveTo>
                      <a:pt x="1268" y="1465"/>
                    </a:moveTo>
                    <a:lnTo>
                      <a:pt x="1270" y="1465"/>
                    </a:lnTo>
                    <a:lnTo>
                      <a:pt x="1270" y="1467"/>
                    </a:lnTo>
                    <a:lnTo>
                      <a:pt x="1268" y="1467"/>
                    </a:lnTo>
                    <a:lnTo>
                      <a:pt x="1268" y="1465"/>
                    </a:lnTo>
                    <a:close/>
                    <a:moveTo>
                      <a:pt x="1285" y="1503"/>
                    </a:moveTo>
                    <a:lnTo>
                      <a:pt x="1285" y="1505"/>
                    </a:lnTo>
                    <a:lnTo>
                      <a:pt x="1285" y="1503"/>
                    </a:lnTo>
                    <a:close/>
                    <a:moveTo>
                      <a:pt x="965" y="1377"/>
                    </a:moveTo>
                    <a:lnTo>
                      <a:pt x="967" y="1377"/>
                    </a:lnTo>
                    <a:lnTo>
                      <a:pt x="965" y="1377"/>
                    </a:lnTo>
                    <a:close/>
                    <a:moveTo>
                      <a:pt x="1060" y="1215"/>
                    </a:moveTo>
                    <a:lnTo>
                      <a:pt x="1062" y="1215"/>
                    </a:lnTo>
                    <a:lnTo>
                      <a:pt x="1062" y="1217"/>
                    </a:lnTo>
                    <a:lnTo>
                      <a:pt x="1060" y="1217"/>
                    </a:lnTo>
                    <a:lnTo>
                      <a:pt x="1060" y="1215"/>
                    </a:lnTo>
                    <a:close/>
                    <a:moveTo>
                      <a:pt x="532" y="1057"/>
                    </a:moveTo>
                    <a:lnTo>
                      <a:pt x="534" y="1057"/>
                    </a:lnTo>
                    <a:lnTo>
                      <a:pt x="532" y="1057"/>
                    </a:lnTo>
                    <a:close/>
                    <a:moveTo>
                      <a:pt x="1194" y="1795"/>
                    </a:moveTo>
                    <a:lnTo>
                      <a:pt x="1194" y="1797"/>
                    </a:lnTo>
                    <a:lnTo>
                      <a:pt x="1194" y="1795"/>
                    </a:lnTo>
                    <a:close/>
                    <a:moveTo>
                      <a:pt x="622" y="826"/>
                    </a:moveTo>
                    <a:lnTo>
                      <a:pt x="624" y="826"/>
                    </a:lnTo>
                    <a:lnTo>
                      <a:pt x="624" y="828"/>
                    </a:lnTo>
                    <a:lnTo>
                      <a:pt x="622" y="828"/>
                    </a:lnTo>
                    <a:lnTo>
                      <a:pt x="622" y="826"/>
                    </a:lnTo>
                    <a:close/>
                    <a:moveTo>
                      <a:pt x="1074" y="1219"/>
                    </a:moveTo>
                    <a:lnTo>
                      <a:pt x="1074" y="1221"/>
                    </a:lnTo>
                    <a:lnTo>
                      <a:pt x="1074" y="1219"/>
                    </a:lnTo>
                    <a:close/>
                    <a:moveTo>
                      <a:pt x="1331" y="1700"/>
                    </a:moveTo>
                    <a:lnTo>
                      <a:pt x="1331" y="1702"/>
                    </a:lnTo>
                    <a:lnTo>
                      <a:pt x="1331" y="1700"/>
                    </a:lnTo>
                    <a:close/>
                    <a:moveTo>
                      <a:pt x="1175" y="1152"/>
                    </a:moveTo>
                    <a:lnTo>
                      <a:pt x="1177" y="1152"/>
                    </a:lnTo>
                    <a:lnTo>
                      <a:pt x="1175" y="1152"/>
                    </a:lnTo>
                    <a:close/>
                    <a:moveTo>
                      <a:pt x="1196" y="1393"/>
                    </a:moveTo>
                    <a:lnTo>
                      <a:pt x="1196" y="1394"/>
                    </a:lnTo>
                    <a:lnTo>
                      <a:pt x="1196" y="1393"/>
                    </a:lnTo>
                    <a:close/>
                    <a:moveTo>
                      <a:pt x="1320" y="1532"/>
                    </a:moveTo>
                    <a:lnTo>
                      <a:pt x="1322" y="1532"/>
                    </a:lnTo>
                    <a:lnTo>
                      <a:pt x="1320" y="1532"/>
                    </a:lnTo>
                    <a:close/>
                    <a:moveTo>
                      <a:pt x="980" y="1532"/>
                    </a:moveTo>
                    <a:lnTo>
                      <a:pt x="980" y="1534"/>
                    </a:lnTo>
                    <a:lnTo>
                      <a:pt x="980" y="1532"/>
                    </a:lnTo>
                    <a:close/>
                    <a:moveTo>
                      <a:pt x="1091" y="1295"/>
                    </a:moveTo>
                    <a:lnTo>
                      <a:pt x="1093" y="1295"/>
                    </a:lnTo>
                    <a:lnTo>
                      <a:pt x="1091" y="1295"/>
                    </a:lnTo>
                    <a:close/>
                    <a:moveTo>
                      <a:pt x="1169" y="1143"/>
                    </a:moveTo>
                    <a:lnTo>
                      <a:pt x="1169" y="1145"/>
                    </a:lnTo>
                    <a:lnTo>
                      <a:pt x="1169" y="1143"/>
                    </a:lnTo>
                    <a:close/>
                    <a:moveTo>
                      <a:pt x="1270" y="1473"/>
                    </a:moveTo>
                    <a:lnTo>
                      <a:pt x="1270" y="1475"/>
                    </a:lnTo>
                    <a:lnTo>
                      <a:pt x="1270" y="1473"/>
                    </a:lnTo>
                    <a:close/>
                    <a:moveTo>
                      <a:pt x="963" y="1601"/>
                    </a:moveTo>
                    <a:lnTo>
                      <a:pt x="963" y="1602"/>
                    </a:lnTo>
                    <a:lnTo>
                      <a:pt x="963" y="1601"/>
                    </a:lnTo>
                    <a:close/>
                    <a:moveTo>
                      <a:pt x="1274" y="1463"/>
                    </a:moveTo>
                    <a:lnTo>
                      <a:pt x="1276" y="1463"/>
                    </a:lnTo>
                    <a:lnTo>
                      <a:pt x="1276" y="1465"/>
                    </a:lnTo>
                    <a:lnTo>
                      <a:pt x="1274" y="1465"/>
                    </a:lnTo>
                    <a:lnTo>
                      <a:pt x="1274" y="1463"/>
                    </a:lnTo>
                    <a:close/>
                    <a:moveTo>
                      <a:pt x="1070" y="1213"/>
                    </a:moveTo>
                    <a:lnTo>
                      <a:pt x="1072" y="1213"/>
                    </a:lnTo>
                    <a:lnTo>
                      <a:pt x="1070" y="1213"/>
                    </a:lnTo>
                    <a:close/>
                    <a:moveTo>
                      <a:pt x="153" y="1576"/>
                    </a:moveTo>
                    <a:lnTo>
                      <a:pt x="153" y="1578"/>
                    </a:lnTo>
                    <a:lnTo>
                      <a:pt x="153" y="1576"/>
                    </a:lnTo>
                    <a:close/>
                    <a:moveTo>
                      <a:pt x="1014" y="1097"/>
                    </a:moveTo>
                    <a:lnTo>
                      <a:pt x="1016" y="1097"/>
                    </a:lnTo>
                    <a:lnTo>
                      <a:pt x="1014" y="1097"/>
                    </a:lnTo>
                    <a:close/>
                    <a:moveTo>
                      <a:pt x="524" y="891"/>
                    </a:moveTo>
                    <a:lnTo>
                      <a:pt x="524" y="893"/>
                    </a:lnTo>
                    <a:lnTo>
                      <a:pt x="524" y="891"/>
                    </a:lnTo>
                    <a:close/>
                    <a:moveTo>
                      <a:pt x="1201" y="1309"/>
                    </a:moveTo>
                    <a:lnTo>
                      <a:pt x="1203" y="1309"/>
                    </a:lnTo>
                    <a:lnTo>
                      <a:pt x="1201" y="1309"/>
                    </a:lnTo>
                    <a:close/>
                    <a:moveTo>
                      <a:pt x="486" y="622"/>
                    </a:moveTo>
                    <a:lnTo>
                      <a:pt x="488" y="622"/>
                    </a:lnTo>
                    <a:lnTo>
                      <a:pt x="488" y="624"/>
                    </a:lnTo>
                    <a:lnTo>
                      <a:pt x="486" y="624"/>
                    </a:lnTo>
                    <a:lnTo>
                      <a:pt x="486" y="622"/>
                    </a:lnTo>
                    <a:close/>
                    <a:moveTo>
                      <a:pt x="1007" y="1473"/>
                    </a:moveTo>
                    <a:lnTo>
                      <a:pt x="1007" y="1475"/>
                    </a:lnTo>
                    <a:lnTo>
                      <a:pt x="1007" y="1473"/>
                    </a:lnTo>
                    <a:close/>
                    <a:moveTo>
                      <a:pt x="1213" y="1343"/>
                    </a:moveTo>
                    <a:lnTo>
                      <a:pt x="1215" y="1343"/>
                    </a:lnTo>
                    <a:lnTo>
                      <a:pt x="1213" y="1343"/>
                    </a:lnTo>
                    <a:close/>
                    <a:moveTo>
                      <a:pt x="393" y="958"/>
                    </a:moveTo>
                    <a:lnTo>
                      <a:pt x="395" y="958"/>
                    </a:lnTo>
                    <a:lnTo>
                      <a:pt x="393" y="958"/>
                    </a:lnTo>
                    <a:close/>
                    <a:moveTo>
                      <a:pt x="1039" y="1209"/>
                    </a:moveTo>
                    <a:lnTo>
                      <a:pt x="1041" y="1209"/>
                    </a:lnTo>
                    <a:lnTo>
                      <a:pt x="1041" y="1211"/>
                    </a:lnTo>
                    <a:lnTo>
                      <a:pt x="1039" y="1211"/>
                    </a:lnTo>
                    <a:lnTo>
                      <a:pt x="1039" y="1209"/>
                    </a:lnTo>
                    <a:close/>
                    <a:moveTo>
                      <a:pt x="788" y="994"/>
                    </a:moveTo>
                    <a:lnTo>
                      <a:pt x="789" y="994"/>
                    </a:lnTo>
                    <a:lnTo>
                      <a:pt x="789" y="996"/>
                    </a:lnTo>
                    <a:lnTo>
                      <a:pt x="788" y="996"/>
                    </a:lnTo>
                    <a:lnTo>
                      <a:pt x="788" y="994"/>
                    </a:lnTo>
                    <a:close/>
                    <a:moveTo>
                      <a:pt x="1358" y="1702"/>
                    </a:moveTo>
                    <a:lnTo>
                      <a:pt x="1360" y="1702"/>
                    </a:lnTo>
                    <a:lnTo>
                      <a:pt x="1360" y="1704"/>
                    </a:lnTo>
                    <a:lnTo>
                      <a:pt x="1358" y="1704"/>
                    </a:lnTo>
                    <a:lnTo>
                      <a:pt x="1358" y="1702"/>
                    </a:lnTo>
                    <a:close/>
                    <a:moveTo>
                      <a:pt x="511" y="1083"/>
                    </a:moveTo>
                    <a:lnTo>
                      <a:pt x="511" y="1085"/>
                    </a:lnTo>
                    <a:lnTo>
                      <a:pt x="511" y="1083"/>
                    </a:lnTo>
                    <a:close/>
                    <a:moveTo>
                      <a:pt x="1093" y="1297"/>
                    </a:moveTo>
                    <a:lnTo>
                      <a:pt x="1095" y="1297"/>
                    </a:lnTo>
                    <a:lnTo>
                      <a:pt x="1095" y="1299"/>
                    </a:lnTo>
                    <a:lnTo>
                      <a:pt x="1093" y="1299"/>
                    </a:lnTo>
                    <a:lnTo>
                      <a:pt x="1093" y="1297"/>
                    </a:lnTo>
                    <a:close/>
                    <a:moveTo>
                      <a:pt x="1240" y="1167"/>
                    </a:moveTo>
                    <a:lnTo>
                      <a:pt x="1241" y="1167"/>
                    </a:lnTo>
                    <a:lnTo>
                      <a:pt x="1240" y="1167"/>
                    </a:lnTo>
                    <a:close/>
                    <a:moveTo>
                      <a:pt x="1011" y="1240"/>
                    </a:moveTo>
                    <a:lnTo>
                      <a:pt x="1013" y="1240"/>
                    </a:lnTo>
                    <a:lnTo>
                      <a:pt x="1013" y="1242"/>
                    </a:lnTo>
                    <a:lnTo>
                      <a:pt x="1011" y="1242"/>
                    </a:lnTo>
                    <a:lnTo>
                      <a:pt x="1011" y="1240"/>
                    </a:lnTo>
                    <a:close/>
                    <a:moveTo>
                      <a:pt x="1266" y="1436"/>
                    </a:moveTo>
                    <a:lnTo>
                      <a:pt x="1266" y="1438"/>
                    </a:lnTo>
                    <a:lnTo>
                      <a:pt x="1266" y="1436"/>
                    </a:lnTo>
                    <a:close/>
                    <a:moveTo>
                      <a:pt x="503" y="1074"/>
                    </a:moveTo>
                    <a:lnTo>
                      <a:pt x="505" y="1074"/>
                    </a:lnTo>
                    <a:lnTo>
                      <a:pt x="503" y="1074"/>
                    </a:lnTo>
                    <a:close/>
                    <a:moveTo>
                      <a:pt x="1194" y="1295"/>
                    </a:moveTo>
                    <a:lnTo>
                      <a:pt x="1194" y="1297"/>
                    </a:lnTo>
                    <a:lnTo>
                      <a:pt x="1194" y="1295"/>
                    </a:lnTo>
                    <a:close/>
                    <a:moveTo>
                      <a:pt x="1095" y="1299"/>
                    </a:moveTo>
                    <a:lnTo>
                      <a:pt x="1096" y="1299"/>
                    </a:lnTo>
                    <a:lnTo>
                      <a:pt x="1095" y="1299"/>
                    </a:lnTo>
                    <a:close/>
                    <a:moveTo>
                      <a:pt x="749" y="1032"/>
                    </a:moveTo>
                    <a:lnTo>
                      <a:pt x="751" y="1032"/>
                    </a:lnTo>
                    <a:lnTo>
                      <a:pt x="749" y="1032"/>
                    </a:lnTo>
                    <a:close/>
                    <a:moveTo>
                      <a:pt x="988" y="1610"/>
                    </a:moveTo>
                    <a:lnTo>
                      <a:pt x="990" y="1610"/>
                    </a:lnTo>
                    <a:lnTo>
                      <a:pt x="988" y="1610"/>
                    </a:lnTo>
                    <a:close/>
                    <a:moveTo>
                      <a:pt x="1112" y="1267"/>
                    </a:moveTo>
                    <a:lnTo>
                      <a:pt x="1114" y="1267"/>
                    </a:lnTo>
                    <a:lnTo>
                      <a:pt x="1112" y="1267"/>
                    </a:lnTo>
                    <a:close/>
                    <a:moveTo>
                      <a:pt x="1175" y="1169"/>
                    </a:moveTo>
                    <a:lnTo>
                      <a:pt x="1177" y="1169"/>
                    </a:lnTo>
                    <a:lnTo>
                      <a:pt x="1177" y="1171"/>
                    </a:lnTo>
                    <a:lnTo>
                      <a:pt x="1175" y="1171"/>
                    </a:lnTo>
                    <a:lnTo>
                      <a:pt x="1175" y="1169"/>
                    </a:lnTo>
                    <a:close/>
                    <a:moveTo>
                      <a:pt x="994" y="1442"/>
                    </a:moveTo>
                    <a:lnTo>
                      <a:pt x="995" y="1442"/>
                    </a:lnTo>
                    <a:lnTo>
                      <a:pt x="994" y="1442"/>
                    </a:lnTo>
                    <a:close/>
                    <a:moveTo>
                      <a:pt x="1037" y="1207"/>
                    </a:moveTo>
                    <a:lnTo>
                      <a:pt x="1039" y="1207"/>
                    </a:lnTo>
                    <a:lnTo>
                      <a:pt x="1037" y="1207"/>
                    </a:lnTo>
                    <a:close/>
                    <a:moveTo>
                      <a:pt x="1165" y="1251"/>
                    </a:moveTo>
                    <a:lnTo>
                      <a:pt x="1165" y="1253"/>
                    </a:lnTo>
                    <a:lnTo>
                      <a:pt x="1165" y="1251"/>
                    </a:lnTo>
                    <a:close/>
                    <a:moveTo>
                      <a:pt x="1018" y="1784"/>
                    </a:moveTo>
                    <a:lnTo>
                      <a:pt x="1020" y="1784"/>
                    </a:lnTo>
                    <a:lnTo>
                      <a:pt x="1018" y="1784"/>
                    </a:lnTo>
                    <a:close/>
                    <a:moveTo>
                      <a:pt x="225" y="1629"/>
                    </a:moveTo>
                    <a:lnTo>
                      <a:pt x="227" y="1629"/>
                    </a:lnTo>
                    <a:lnTo>
                      <a:pt x="225" y="1629"/>
                    </a:lnTo>
                    <a:close/>
                    <a:moveTo>
                      <a:pt x="1129" y="1333"/>
                    </a:moveTo>
                    <a:lnTo>
                      <a:pt x="1129" y="1335"/>
                    </a:lnTo>
                    <a:lnTo>
                      <a:pt x="1129" y="1333"/>
                    </a:lnTo>
                    <a:close/>
                    <a:moveTo>
                      <a:pt x="1243" y="1108"/>
                    </a:moveTo>
                    <a:lnTo>
                      <a:pt x="1243" y="1110"/>
                    </a:lnTo>
                    <a:lnTo>
                      <a:pt x="1243" y="1108"/>
                    </a:lnTo>
                    <a:close/>
                    <a:moveTo>
                      <a:pt x="1041" y="1211"/>
                    </a:moveTo>
                    <a:lnTo>
                      <a:pt x="1043" y="1211"/>
                    </a:lnTo>
                    <a:lnTo>
                      <a:pt x="1043" y="1213"/>
                    </a:lnTo>
                    <a:lnTo>
                      <a:pt x="1041" y="1213"/>
                    </a:lnTo>
                    <a:lnTo>
                      <a:pt x="1041" y="1211"/>
                    </a:lnTo>
                    <a:close/>
                    <a:moveTo>
                      <a:pt x="856" y="1104"/>
                    </a:moveTo>
                    <a:lnTo>
                      <a:pt x="856" y="1106"/>
                    </a:lnTo>
                    <a:lnTo>
                      <a:pt x="856" y="1104"/>
                    </a:lnTo>
                    <a:close/>
                    <a:moveTo>
                      <a:pt x="807" y="1005"/>
                    </a:moveTo>
                    <a:lnTo>
                      <a:pt x="809" y="1005"/>
                    </a:lnTo>
                    <a:lnTo>
                      <a:pt x="807" y="1005"/>
                    </a:lnTo>
                    <a:close/>
                    <a:moveTo>
                      <a:pt x="984" y="1578"/>
                    </a:moveTo>
                    <a:lnTo>
                      <a:pt x="986" y="1578"/>
                    </a:lnTo>
                    <a:lnTo>
                      <a:pt x="984" y="1578"/>
                    </a:lnTo>
                    <a:close/>
                    <a:moveTo>
                      <a:pt x="1009" y="1372"/>
                    </a:moveTo>
                    <a:lnTo>
                      <a:pt x="1009" y="1373"/>
                    </a:lnTo>
                    <a:lnTo>
                      <a:pt x="1009" y="1372"/>
                    </a:lnTo>
                    <a:close/>
                    <a:moveTo>
                      <a:pt x="1188" y="1265"/>
                    </a:moveTo>
                    <a:lnTo>
                      <a:pt x="1188" y="1267"/>
                    </a:lnTo>
                    <a:lnTo>
                      <a:pt x="1188" y="1265"/>
                    </a:lnTo>
                    <a:close/>
                    <a:moveTo>
                      <a:pt x="425" y="1074"/>
                    </a:moveTo>
                    <a:lnTo>
                      <a:pt x="427" y="1074"/>
                    </a:lnTo>
                    <a:lnTo>
                      <a:pt x="425" y="1074"/>
                    </a:lnTo>
                    <a:close/>
                    <a:moveTo>
                      <a:pt x="1274" y="1753"/>
                    </a:moveTo>
                    <a:lnTo>
                      <a:pt x="1274" y="1755"/>
                    </a:lnTo>
                    <a:lnTo>
                      <a:pt x="1274" y="1753"/>
                    </a:lnTo>
                    <a:close/>
                    <a:moveTo>
                      <a:pt x="1266" y="1477"/>
                    </a:moveTo>
                    <a:lnTo>
                      <a:pt x="1268" y="1477"/>
                    </a:lnTo>
                    <a:lnTo>
                      <a:pt x="1266" y="1477"/>
                    </a:lnTo>
                    <a:close/>
                    <a:moveTo>
                      <a:pt x="1072" y="1217"/>
                    </a:moveTo>
                    <a:lnTo>
                      <a:pt x="1072" y="1219"/>
                    </a:lnTo>
                    <a:lnTo>
                      <a:pt x="1072" y="1217"/>
                    </a:lnTo>
                    <a:close/>
                    <a:moveTo>
                      <a:pt x="704" y="998"/>
                    </a:moveTo>
                    <a:lnTo>
                      <a:pt x="704" y="999"/>
                    </a:lnTo>
                    <a:lnTo>
                      <a:pt x="704" y="998"/>
                    </a:lnTo>
                    <a:close/>
                    <a:moveTo>
                      <a:pt x="568" y="847"/>
                    </a:moveTo>
                    <a:lnTo>
                      <a:pt x="570" y="847"/>
                    </a:lnTo>
                    <a:lnTo>
                      <a:pt x="568" y="847"/>
                    </a:lnTo>
                    <a:close/>
                    <a:moveTo>
                      <a:pt x="78" y="1020"/>
                    </a:moveTo>
                    <a:lnTo>
                      <a:pt x="80" y="1020"/>
                    </a:lnTo>
                    <a:lnTo>
                      <a:pt x="80" y="1022"/>
                    </a:lnTo>
                    <a:lnTo>
                      <a:pt x="78" y="1022"/>
                    </a:lnTo>
                    <a:lnTo>
                      <a:pt x="78" y="1020"/>
                    </a:lnTo>
                    <a:close/>
                    <a:moveTo>
                      <a:pt x="1388" y="1671"/>
                    </a:moveTo>
                    <a:lnTo>
                      <a:pt x="1388" y="1673"/>
                    </a:lnTo>
                    <a:lnTo>
                      <a:pt x="1388" y="1671"/>
                    </a:lnTo>
                    <a:close/>
                    <a:moveTo>
                      <a:pt x="1146" y="1394"/>
                    </a:moveTo>
                    <a:lnTo>
                      <a:pt x="1148" y="1394"/>
                    </a:lnTo>
                    <a:lnTo>
                      <a:pt x="1146" y="1394"/>
                    </a:lnTo>
                    <a:close/>
                    <a:moveTo>
                      <a:pt x="627" y="1007"/>
                    </a:moveTo>
                    <a:lnTo>
                      <a:pt x="627" y="1009"/>
                    </a:lnTo>
                    <a:lnTo>
                      <a:pt x="627" y="1007"/>
                    </a:lnTo>
                    <a:close/>
                    <a:moveTo>
                      <a:pt x="1178" y="1263"/>
                    </a:moveTo>
                    <a:lnTo>
                      <a:pt x="1180" y="1263"/>
                    </a:lnTo>
                    <a:lnTo>
                      <a:pt x="1180" y="1265"/>
                    </a:lnTo>
                    <a:lnTo>
                      <a:pt x="1178" y="1265"/>
                    </a:lnTo>
                    <a:lnTo>
                      <a:pt x="1178" y="1263"/>
                    </a:lnTo>
                    <a:close/>
                    <a:moveTo>
                      <a:pt x="406" y="954"/>
                    </a:moveTo>
                    <a:lnTo>
                      <a:pt x="408" y="954"/>
                    </a:lnTo>
                    <a:lnTo>
                      <a:pt x="406" y="954"/>
                    </a:lnTo>
                    <a:close/>
                    <a:moveTo>
                      <a:pt x="1169" y="1293"/>
                    </a:moveTo>
                    <a:lnTo>
                      <a:pt x="1171" y="1293"/>
                    </a:lnTo>
                    <a:lnTo>
                      <a:pt x="1171" y="1295"/>
                    </a:lnTo>
                    <a:lnTo>
                      <a:pt x="1169" y="1295"/>
                    </a:lnTo>
                    <a:lnTo>
                      <a:pt x="1169" y="1293"/>
                    </a:lnTo>
                    <a:close/>
                    <a:moveTo>
                      <a:pt x="254" y="1669"/>
                    </a:moveTo>
                    <a:lnTo>
                      <a:pt x="254" y="1671"/>
                    </a:lnTo>
                    <a:lnTo>
                      <a:pt x="254" y="1669"/>
                    </a:lnTo>
                    <a:close/>
                    <a:moveTo>
                      <a:pt x="812" y="1043"/>
                    </a:moveTo>
                    <a:lnTo>
                      <a:pt x="812" y="1045"/>
                    </a:lnTo>
                    <a:lnTo>
                      <a:pt x="812" y="1043"/>
                    </a:lnTo>
                    <a:close/>
                    <a:moveTo>
                      <a:pt x="555" y="818"/>
                    </a:moveTo>
                    <a:lnTo>
                      <a:pt x="557" y="818"/>
                    </a:lnTo>
                    <a:lnTo>
                      <a:pt x="557" y="820"/>
                    </a:lnTo>
                    <a:lnTo>
                      <a:pt x="555" y="820"/>
                    </a:lnTo>
                    <a:lnTo>
                      <a:pt x="555" y="818"/>
                    </a:lnTo>
                    <a:close/>
                    <a:moveTo>
                      <a:pt x="1247" y="1415"/>
                    </a:moveTo>
                    <a:lnTo>
                      <a:pt x="1249" y="1415"/>
                    </a:lnTo>
                    <a:lnTo>
                      <a:pt x="1247" y="1415"/>
                    </a:lnTo>
                    <a:close/>
                    <a:moveTo>
                      <a:pt x="1247" y="1765"/>
                    </a:moveTo>
                    <a:lnTo>
                      <a:pt x="1247" y="1767"/>
                    </a:lnTo>
                    <a:lnTo>
                      <a:pt x="1247" y="1765"/>
                    </a:lnTo>
                    <a:close/>
                    <a:moveTo>
                      <a:pt x="986" y="1549"/>
                    </a:moveTo>
                    <a:lnTo>
                      <a:pt x="986" y="1551"/>
                    </a:lnTo>
                    <a:lnTo>
                      <a:pt x="986" y="1549"/>
                    </a:lnTo>
                    <a:close/>
                    <a:moveTo>
                      <a:pt x="656" y="1078"/>
                    </a:moveTo>
                    <a:lnTo>
                      <a:pt x="658" y="1078"/>
                    </a:lnTo>
                    <a:lnTo>
                      <a:pt x="656" y="1078"/>
                    </a:lnTo>
                    <a:close/>
                    <a:moveTo>
                      <a:pt x="1114" y="1270"/>
                    </a:moveTo>
                    <a:lnTo>
                      <a:pt x="1114" y="1272"/>
                    </a:lnTo>
                    <a:lnTo>
                      <a:pt x="1114" y="1270"/>
                    </a:lnTo>
                    <a:close/>
                    <a:moveTo>
                      <a:pt x="685" y="1051"/>
                    </a:moveTo>
                    <a:lnTo>
                      <a:pt x="685" y="1053"/>
                    </a:lnTo>
                    <a:lnTo>
                      <a:pt x="685" y="1051"/>
                    </a:lnTo>
                    <a:close/>
                    <a:moveTo>
                      <a:pt x="1386" y="1669"/>
                    </a:moveTo>
                    <a:lnTo>
                      <a:pt x="1388" y="1669"/>
                    </a:lnTo>
                    <a:lnTo>
                      <a:pt x="1388" y="1671"/>
                    </a:lnTo>
                    <a:lnTo>
                      <a:pt x="1386" y="1671"/>
                    </a:lnTo>
                    <a:lnTo>
                      <a:pt x="1386" y="1669"/>
                    </a:lnTo>
                    <a:close/>
                    <a:moveTo>
                      <a:pt x="1077" y="1225"/>
                    </a:moveTo>
                    <a:lnTo>
                      <a:pt x="1079" y="1225"/>
                    </a:lnTo>
                    <a:lnTo>
                      <a:pt x="1079" y="1227"/>
                    </a:lnTo>
                    <a:lnTo>
                      <a:pt x="1077" y="1227"/>
                    </a:lnTo>
                    <a:lnTo>
                      <a:pt x="1077" y="1225"/>
                    </a:lnTo>
                    <a:close/>
                    <a:moveTo>
                      <a:pt x="793" y="1244"/>
                    </a:moveTo>
                    <a:lnTo>
                      <a:pt x="795" y="1244"/>
                    </a:lnTo>
                    <a:lnTo>
                      <a:pt x="793" y="1244"/>
                    </a:lnTo>
                    <a:close/>
                    <a:moveTo>
                      <a:pt x="685" y="1053"/>
                    </a:moveTo>
                    <a:lnTo>
                      <a:pt x="687" y="1053"/>
                    </a:lnTo>
                    <a:lnTo>
                      <a:pt x="687" y="1055"/>
                    </a:lnTo>
                    <a:lnTo>
                      <a:pt x="685" y="1055"/>
                    </a:lnTo>
                    <a:lnTo>
                      <a:pt x="685" y="1053"/>
                    </a:lnTo>
                    <a:close/>
                    <a:moveTo>
                      <a:pt x="986" y="1557"/>
                    </a:moveTo>
                    <a:lnTo>
                      <a:pt x="988" y="1557"/>
                    </a:lnTo>
                    <a:lnTo>
                      <a:pt x="986" y="1557"/>
                    </a:lnTo>
                    <a:close/>
                    <a:moveTo>
                      <a:pt x="978" y="1471"/>
                    </a:moveTo>
                    <a:lnTo>
                      <a:pt x="980" y="1471"/>
                    </a:lnTo>
                    <a:lnTo>
                      <a:pt x="978" y="1471"/>
                    </a:lnTo>
                    <a:close/>
                    <a:moveTo>
                      <a:pt x="1331" y="1702"/>
                    </a:moveTo>
                    <a:lnTo>
                      <a:pt x="1331" y="1704"/>
                    </a:lnTo>
                    <a:lnTo>
                      <a:pt x="1331" y="1702"/>
                    </a:lnTo>
                    <a:close/>
                    <a:moveTo>
                      <a:pt x="1014" y="1425"/>
                    </a:moveTo>
                    <a:lnTo>
                      <a:pt x="1016" y="1425"/>
                    </a:lnTo>
                    <a:lnTo>
                      <a:pt x="1014" y="1425"/>
                    </a:lnTo>
                    <a:close/>
                    <a:moveTo>
                      <a:pt x="256" y="1643"/>
                    </a:moveTo>
                    <a:lnTo>
                      <a:pt x="257" y="1643"/>
                    </a:lnTo>
                    <a:lnTo>
                      <a:pt x="256" y="1643"/>
                    </a:lnTo>
                    <a:close/>
                    <a:moveTo>
                      <a:pt x="713" y="1093"/>
                    </a:moveTo>
                    <a:lnTo>
                      <a:pt x="713" y="1095"/>
                    </a:lnTo>
                    <a:lnTo>
                      <a:pt x="713" y="1093"/>
                    </a:lnTo>
                    <a:close/>
                    <a:moveTo>
                      <a:pt x="1369" y="1658"/>
                    </a:moveTo>
                    <a:lnTo>
                      <a:pt x="1369" y="1660"/>
                    </a:lnTo>
                    <a:lnTo>
                      <a:pt x="1369" y="1658"/>
                    </a:lnTo>
                    <a:close/>
                    <a:moveTo>
                      <a:pt x="801" y="1244"/>
                    </a:moveTo>
                    <a:lnTo>
                      <a:pt x="803" y="1244"/>
                    </a:lnTo>
                    <a:lnTo>
                      <a:pt x="801" y="1244"/>
                    </a:lnTo>
                    <a:close/>
                    <a:moveTo>
                      <a:pt x="915" y="1165"/>
                    </a:moveTo>
                    <a:lnTo>
                      <a:pt x="915" y="1167"/>
                    </a:lnTo>
                    <a:lnTo>
                      <a:pt x="915" y="1165"/>
                    </a:lnTo>
                    <a:close/>
                    <a:moveTo>
                      <a:pt x="568" y="847"/>
                    </a:moveTo>
                    <a:lnTo>
                      <a:pt x="568" y="849"/>
                    </a:lnTo>
                    <a:lnTo>
                      <a:pt x="568" y="847"/>
                    </a:lnTo>
                    <a:close/>
                    <a:moveTo>
                      <a:pt x="1266" y="1461"/>
                    </a:moveTo>
                    <a:lnTo>
                      <a:pt x="1268" y="1461"/>
                    </a:lnTo>
                    <a:lnTo>
                      <a:pt x="1266" y="1461"/>
                    </a:lnTo>
                    <a:close/>
                    <a:moveTo>
                      <a:pt x="789" y="994"/>
                    </a:moveTo>
                    <a:lnTo>
                      <a:pt x="791" y="994"/>
                    </a:lnTo>
                    <a:lnTo>
                      <a:pt x="791" y="996"/>
                    </a:lnTo>
                    <a:lnTo>
                      <a:pt x="789" y="996"/>
                    </a:lnTo>
                    <a:lnTo>
                      <a:pt x="789" y="994"/>
                    </a:lnTo>
                    <a:close/>
                    <a:moveTo>
                      <a:pt x="1352" y="1572"/>
                    </a:moveTo>
                    <a:lnTo>
                      <a:pt x="1354" y="1572"/>
                    </a:lnTo>
                    <a:lnTo>
                      <a:pt x="1354" y="1574"/>
                    </a:lnTo>
                    <a:lnTo>
                      <a:pt x="1352" y="1574"/>
                    </a:lnTo>
                    <a:lnTo>
                      <a:pt x="1352" y="1572"/>
                    </a:lnTo>
                    <a:close/>
                    <a:moveTo>
                      <a:pt x="1188" y="1145"/>
                    </a:moveTo>
                    <a:lnTo>
                      <a:pt x="1190" y="1145"/>
                    </a:lnTo>
                    <a:lnTo>
                      <a:pt x="1188" y="1145"/>
                    </a:lnTo>
                    <a:close/>
                    <a:moveTo>
                      <a:pt x="1220" y="1232"/>
                    </a:moveTo>
                    <a:lnTo>
                      <a:pt x="1222" y="1232"/>
                    </a:lnTo>
                    <a:lnTo>
                      <a:pt x="1220" y="1232"/>
                    </a:lnTo>
                    <a:close/>
                    <a:moveTo>
                      <a:pt x="685" y="1051"/>
                    </a:moveTo>
                    <a:lnTo>
                      <a:pt x="687" y="1051"/>
                    </a:lnTo>
                    <a:lnTo>
                      <a:pt x="685" y="1051"/>
                    </a:lnTo>
                    <a:close/>
                    <a:moveTo>
                      <a:pt x="1276" y="1482"/>
                    </a:moveTo>
                    <a:lnTo>
                      <a:pt x="1278" y="1482"/>
                    </a:lnTo>
                    <a:lnTo>
                      <a:pt x="1276" y="1482"/>
                    </a:lnTo>
                    <a:close/>
                    <a:moveTo>
                      <a:pt x="1230" y="1381"/>
                    </a:moveTo>
                    <a:lnTo>
                      <a:pt x="1230" y="1383"/>
                    </a:lnTo>
                    <a:lnTo>
                      <a:pt x="1230" y="1381"/>
                    </a:lnTo>
                    <a:close/>
                    <a:moveTo>
                      <a:pt x="997" y="1448"/>
                    </a:moveTo>
                    <a:lnTo>
                      <a:pt x="999" y="1448"/>
                    </a:lnTo>
                    <a:lnTo>
                      <a:pt x="997" y="1448"/>
                    </a:lnTo>
                    <a:close/>
                    <a:moveTo>
                      <a:pt x="1314" y="1610"/>
                    </a:moveTo>
                    <a:lnTo>
                      <a:pt x="1316" y="1610"/>
                    </a:lnTo>
                    <a:lnTo>
                      <a:pt x="1316" y="1612"/>
                    </a:lnTo>
                    <a:lnTo>
                      <a:pt x="1314" y="1612"/>
                    </a:lnTo>
                    <a:lnTo>
                      <a:pt x="1314" y="1610"/>
                    </a:lnTo>
                    <a:close/>
                    <a:moveTo>
                      <a:pt x="1203" y="1793"/>
                    </a:moveTo>
                    <a:lnTo>
                      <a:pt x="1205" y="1793"/>
                    </a:lnTo>
                    <a:lnTo>
                      <a:pt x="1203" y="1793"/>
                    </a:lnTo>
                    <a:close/>
                    <a:moveTo>
                      <a:pt x="1196" y="1160"/>
                    </a:moveTo>
                    <a:lnTo>
                      <a:pt x="1198" y="1160"/>
                    </a:lnTo>
                    <a:lnTo>
                      <a:pt x="1196" y="1160"/>
                    </a:lnTo>
                    <a:close/>
                    <a:moveTo>
                      <a:pt x="1016" y="1217"/>
                    </a:moveTo>
                    <a:lnTo>
                      <a:pt x="1018" y="1217"/>
                    </a:lnTo>
                    <a:lnTo>
                      <a:pt x="1018" y="1219"/>
                    </a:lnTo>
                    <a:lnTo>
                      <a:pt x="1016" y="1219"/>
                    </a:lnTo>
                    <a:lnTo>
                      <a:pt x="1016" y="1217"/>
                    </a:lnTo>
                    <a:close/>
                    <a:moveTo>
                      <a:pt x="639" y="1043"/>
                    </a:moveTo>
                    <a:lnTo>
                      <a:pt x="641" y="1043"/>
                    </a:lnTo>
                    <a:lnTo>
                      <a:pt x="639" y="1043"/>
                    </a:lnTo>
                    <a:close/>
                    <a:moveTo>
                      <a:pt x="216" y="1622"/>
                    </a:moveTo>
                    <a:lnTo>
                      <a:pt x="217" y="1622"/>
                    </a:lnTo>
                    <a:lnTo>
                      <a:pt x="216" y="1622"/>
                    </a:lnTo>
                    <a:close/>
                    <a:moveTo>
                      <a:pt x="820" y="1228"/>
                    </a:moveTo>
                    <a:lnTo>
                      <a:pt x="820" y="1230"/>
                    </a:lnTo>
                    <a:lnTo>
                      <a:pt x="820" y="1228"/>
                    </a:lnTo>
                    <a:close/>
                    <a:moveTo>
                      <a:pt x="1268" y="1461"/>
                    </a:moveTo>
                    <a:lnTo>
                      <a:pt x="1270" y="1461"/>
                    </a:lnTo>
                    <a:lnTo>
                      <a:pt x="1268" y="1461"/>
                    </a:lnTo>
                    <a:close/>
                    <a:moveTo>
                      <a:pt x="967" y="1003"/>
                    </a:moveTo>
                    <a:lnTo>
                      <a:pt x="967" y="1005"/>
                    </a:lnTo>
                    <a:lnTo>
                      <a:pt x="967" y="1003"/>
                    </a:lnTo>
                    <a:close/>
                    <a:moveTo>
                      <a:pt x="1230" y="1097"/>
                    </a:moveTo>
                    <a:lnTo>
                      <a:pt x="1232" y="1097"/>
                    </a:lnTo>
                    <a:lnTo>
                      <a:pt x="1232" y="1099"/>
                    </a:lnTo>
                    <a:lnTo>
                      <a:pt x="1230" y="1099"/>
                    </a:lnTo>
                    <a:lnTo>
                      <a:pt x="1230" y="1097"/>
                    </a:lnTo>
                    <a:close/>
                    <a:moveTo>
                      <a:pt x="469" y="1057"/>
                    </a:moveTo>
                    <a:lnTo>
                      <a:pt x="471" y="1057"/>
                    </a:lnTo>
                    <a:lnTo>
                      <a:pt x="469" y="1057"/>
                    </a:lnTo>
                    <a:close/>
                    <a:moveTo>
                      <a:pt x="1001" y="1284"/>
                    </a:moveTo>
                    <a:lnTo>
                      <a:pt x="1003" y="1284"/>
                    </a:lnTo>
                    <a:lnTo>
                      <a:pt x="1001" y="1284"/>
                    </a:lnTo>
                    <a:close/>
                    <a:moveTo>
                      <a:pt x="442" y="1061"/>
                    </a:moveTo>
                    <a:lnTo>
                      <a:pt x="444" y="1061"/>
                    </a:lnTo>
                    <a:lnTo>
                      <a:pt x="442" y="1061"/>
                    </a:lnTo>
                    <a:close/>
                    <a:moveTo>
                      <a:pt x="580" y="1059"/>
                    </a:moveTo>
                    <a:lnTo>
                      <a:pt x="582" y="1059"/>
                    </a:lnTo>
                    <a:lnTo>
                      <a:pt x="582" y="1061"/>
                    </a:lnTo>
                    <a:lnTo>
                      <a:pt x="580" y="1061"/>
                    </a:lnTo>
                    <a:lnTo>
                      <a:pt x="580" y="1059"/>
                    </a:lnTo>
                    <a:close/>
                    <a:moveTo>
                      <a:pt x="1243" y="1406"/>
                    </a:moveTo>
                    <a:lnTo>
                      <a:pt x="1243" y="1408"/>
                    </a:lnTo>
                    <a:lnTo>
                      <a:pt x="1243" y="1406"/>
                    </a:lnTo>
                    <a:close/>
                    <a:moveTo>
                      <a:pt x="1215" y="1341"/>
                    </a:moveTo>
                    <a:lnTo>
                      <a:pt x="1217" y="1341"/>
                    </a:lnTo>
                    <a:lnTo>
                      <a:pt x="1215" y="1341"/>
                    </a:lnTo>
                    <a:close/>
                    <a:moveTo>
                      <a:pt x="1289" y="1499"/>
                    </a:moveTo>
                    <a:lnTo>
                      <a:pt x="1291" y="1499"/>
                    </a:lnTo>
                    <a:lnTo>
                      <a:pt x="1291" y="1501"/>
                    </a:lnTo>
                    <a:lnTo>
                      <a:pt x="1289" y="1501"/>
                    </a:lnTo>
                    <a:lnTo>
                      <a:pt x="1289" y="1499"/>
                    </a:lnTo>
                    <a:close/>
                    <a:moveTo>
                      <a:pt x="1207" y="1219"/>
                    </a:moveTo>
                    <a:lnTo>
                      <a:pt x="1209" y="1219"/>
                    </a:lnTo>
                    <a:lnTo>
                      <a:pt x="1207" y="1219"/>
                    </a:lnTo>
                    <a:close/>
                    <a:moveTo>
                      <a:pt x="837" y="1173"/>
                    </a:moveTo>
                    <a:lnTo>
                      <a:pt x="837" y="1175"/>
                    </a:lnTo>
                    <a:lnTo>
                      <a:pt x="837" y="1173"/>
                    </a:lnTo>
                    <a:close/>
                    <a:moveTo>
                      <a:pt x="195" y="1574"/>
                    </a:moveTo>
                    <a:lnTo>
                      <a:pt x="195" y="1576"/>
                    </a:lnTo>
                    <a:lnTo>
                      <a:pt x="195" y="1574"/>
                    </a:lnTo>
                    <a:close/>
                    <a:moveTo>
                      <a:pt x="719" y="1051"/>
                    </a:moveTo>
                    <a:lnTo>
                      <a:pt x="721" y="1051"/>
                    </a:lnTo>
                    <a:lnTo>
                      <a:pt x="719" y="1051"/>
                    </a:lnTo>
                    <a:close/>
                    <a:moveTo>
                      <a:pt x="1262" y="1446"/>
                    </a:moveTo>
                    <a:lnTo>
                      <a:pt x="1262" y="1448"/>
                    </a:lnTo>
                    <a:lnTo>
                      <a:pt x="1262" y="1446"/>
                    </a:lnTo>
                    <a:close/>
                    <a:moveTo>
                      <a:pt x="986" y="1555"/>
                    </a:moveTo>
                    <a:lnTo>
                      <a:pt x="988" y="1555"/>
                    </a:lnTo>
                    <a:lnTo>
                      <a:pt x="986" y="1555"/>
                    </a:lnTo>
                    <a:close/>
                    <a:moveTo>
                      <a:pt x="725" y="1074"/>
                    </a:moveTo>
                    <a:lnTo>
                      <a:pt x="725" y="1076"/>
                    </a:lnTo>
                    <a:lnTo>
                      <a:pt x="725" y="1074"/>
                    </a:lnTo>
                    <a:close/>
                    <a:moveTo>
                      <a:pt x="1354" y="1610"/>
                    </a:moveTo>
                    <a:lnTo>
                      <a:pt x="1354" y="1612"/>
                    </a:lnTo>
                    <a:lnTo>
                      <a:pt x="1354" y="1610"/>
                    </a:lnTo>
                    <a:close/>
                    <a:moveTo>
                      <a:pt x="446" y="1064"/>
                    </a:moveTo>
                    <a:lnTo>
                      <a:pt x="448" y="1064"/>
                    </a:lnTo>
                    <a:lnTo>
                      <a:pt x="446" y="1064"/>
                    </a:lnTo>
                    <a:close/>
                    <a:moveTo>
                      <a:pt x="927" y="1141"/>
                    </a:moveTo>
                    <a:lnTo>
                      <a:pt x="927" y="1143"/>
                    </a:lnTo>
                    <a:lnTo>
                      <a:pt x="927" y="1141"/>
                    </a:lnTo>
                    <a:close/>
                    <a:moveTo>
                      <a:pt x="135" y="1547"/>
                    </a:moveTo>
                    <a:lnTo>
                      <a:pt x="137" y="1547"/>
                    </a:lnTo>
                    <a:lnTo>
                      <a:pt x="137" y="1549"/>
                    </a:lnTo>
                    <a:lnTo>
                      <a:pt x="135" y="1549"/>
                    </a:lnTo>
                    <a:lnTo>
                      <a:pt x="135" y="1547"/>
                    </a:lnTo>
                    <a:close/>
                    <a:moveTo>
                      <a:pt x="1173" y="1156"/>
                    </a:moveTo>
                    <a:lnTo>
                      <a:pt x="1175" y="1156"/>
                    </a:lnTo>
                    <a:lnTo>
                      <a:pt x="1173" y="1156"/>
                    </a:lnTo>
                    <a:close/>
                    <a:moveTo>
                      <a:pt x="1093" y="1240"/>
                    </a:moveTo>
                    <a:lnTo>
                      <a:pt x="1095" y="1240"/>
                    </a:lnTo>
                    <a:lnTo>
                      <a:pt x="1093" y="1240"/>
                    </a:lnTo>
                    <a:close/>
                    <a:moveTo>
                      <a:pt x="509" y="1076"/>
                    </a:moveTo>
                    <a:lnTo>
                      <a:pt x="509" y="1078"/>
                    </a:lnTo>
                    <a:lnTo>
                      <a:pt x="509" y="1076"/>
                    </a:lnTo>
                    <a:close/>
                    <a:moveTo>
                      <a:pt x="984" y="1597"/>
                    </a:moveTo>
                    <a:lnTo>
                      <a:pt x="986" y="1597"/>
                    </a:lnTo>
                    <a:lnTo>
                      <a:pt x="984" y="1597"/>
                    </a:lnTo>
                    <a:close/>
                    <a:moveTo>
                      <a:pt x="1386" y="1673"/>
                    </a:moveTo>
                    <a:lnTo>
                      <a:pt x="1388" y="1673"/>
                    </a:lnTo>
                    <a:lnTo>
                      <a:pt x="1388" y="1675"/>
                    </a:lnTo>
                    <a:lnTo>
                      <a:pt x="1386" y="1675"/>
                    </a:lnTo>
                    <a:lnTo>
                      <a:pt x="1386" y="1673"/>
                    </a:lnTo>
                    <a:close/>
                    <a:moveTo>
                      <a:pt x="1268" y="1473"/>
                    </a:moveTo>
                    <a:lnTo>
                      <a:pt x="1270" y="1473"/>
                    </a:lnTo>
                    <a:lnTo>
                      <a:pt x="1268" y="1473"/>
                    </a:lnTo>
                    <a:close/>
                    <a:moveTo>
                      <a:pt x="610" y="1034"/>
                    </a:moveTo>
                    <a:lnTo>
                      <a:pt x="612" y="1034"/>
                    </a:lnTo>
                    <a:lnTo>
                      <a:pt x="610" y="1034"/>
                    </a:lnTo>
                    <a:close/>
                    <a:moveTo>
                      <a:pt x="113" y="1011"/>
                    </a:moveTo>
                    <a:lnTo>
                      <a:pt x="114" y="1011"/>
                    </a:lnTo>
                    <a:lnTo>
                      <a:pt x="113" y="1011"/>
                    </a:lnTo>
                    <a:close/>
                    <a:moveTo>
                      <a:pt x="1365" y="1715"/>
                    </a:moveTo>
                    <a:lnTo>
                      <a:pt x="1367" y="1715"/>
                    </a:lnTo>
                    <a:lnTo>
                      <a:pt x="1365" y="1715"/>
                    </a:lnTo>
                    <a:close/>
                    <a:moveTo>
                      <a:pt x="1213" y="1343"/>
                    </a:moveTo>
                    <a:lnTo>
                      <a:pt x="1215" y="1343"/>
                    </a:lnTo>
                    <a:lnTo>
                      <a:pt x="1213" y="1343"/>
                    </a:lnTo>
                    <a:close/>
                    <a:moveTo>
                      <a:pt x="713" y="1099"/>
                    </a:moveTo>
                    <a:lnTo>
                      <a:pt x="713" y="1101"/>
                    </a:lnTo>
                    <a:lnTo>
                      <a:pt x="713" y="1099"/>
                    </a:lnTo>
                    <a:close/>
                    <a:moveTo>
                      <a:pt x="721" y="1051"/>
                    </a:moveTo>
                    <a:lnTo>
                      <a:pt x="723" y="1051"/>
                    </a:lnTo>
                    <a:lnTo>
                      <a:pt x="721" y="1051"/>
                    </a:lnTo>
                    <a:close/>
                    <a:moveTo>
                      <a:pt x="143" y="1560"/>
                    </a:moveTo>
                    <a:lnTo>
                      <a:pt x="143" y="1562"/>
                    </a:lnTo>
                    <a:lnTo>
                      <a:pt x="143" y="1560"/>
                    </a:lnTo>
                    <a:close/>
                    <a:moveTo>
                      <a:pt x="1367" y="1656"/>
                    </a:moveTo>
                    <a:lnTo>
                      <a:pt x="1369" y="1656"/>
                    </a:lnTo>
                    <a:lnTo>
                      <a:pt x="1367" y="1656"/>
                    </a:lnTo>
                    <a:close/>
                    <a:moveTo>
                      <a:pt x="852" y="1671"/>
                    </a:moveTo>
                    <a:lnTo>
                      <a:pt x="852" y="1673"/>
                    </a:lnTo>
                    <a:lnTo>
                      <a:pt x="852" y="1671"/>
                    </a:lnTo>
                    <a:close/>
                    <a:moveTo>
                      <a:pt x="185" y="1574"/>
                    </a:moveTo>
                    <a:lnTo>
                      <a:pt x="185" y="1576"/>
                    </a:lnTo>
                    <a:lnTo>
                      <a:pt x="185" y="1574"/>
                    </a:lnTo>
                    <a:close/>
                    <a:moveTo>
                      <a:pt x="1178" y="1173"/>
                    </a:moveTo>
                    <a:lnTo>
                      <a:pt x="1178" y="1175"/>
                    </a:lnTo>
                    <a:lnTo>
                      <a:pt x="1178" y="1173"/>
                    </a:lnTo>
                    <a:close/>
                    <a:moveTo>
                      <a:pt x="788" y="973"/>
                    </a:moveTo>
                    <a:lnTo>
                      <a:pt x="789" y="973"/>
                    </a:lnTo>
                    <a:lnTo>
                      <a:pt x="788" y="973"/>
                    </a:lnTo>
                    <a:close/>
                    <a:moveTo>
                      <a:pt x="1301" y="1625"/>
                    </a:moveTo>
                    <a:lnTo>
                      <a:pt x="1302" y="1625"/>
                    </a:lnTo>
                    <a:lnTo>
                      <a:pt x="1301" y="1625"/>
                    </a:lnTo>
                    <a:close/>
                    <a:moveTo>
                      <a:pt x="1009" y="1421"/>
                    </a:moveTo>
                    <a:lnTo>
                      <a:pt x="1011" y="1421"/>
                    </a:lnTo>
                    <a:lnTo>
                      <a:pt x="1009" y="1421"/>
                    </a:lnTo>
                    <a:close/>
                    <a:moveTo>
                      <a:pt x="179" y="969"/>
                    </a:moveTo>
                    <a:lnTo>
                      <a:pt x="181" y="969"/>
                    </a:lnTo>
                    <a:lnTo>
                      <a:pt x="179" y="969"/>
                    </a:lnTo>
                    <a:close/>
                    <a:moveTo>
                      <a:pt x="751" y="1314"/>
                    </a:moveTo>
                    <a:lnTo>
                      <a:pt x="751" y="1316"/>
                    </a:lnTo>
                    <a:lnTo>
                      <a:pt x="751" y="1314"/>
                    </a:lnTo>
                    <a:close/>
                    <a:moveTo>
                      <a:pt x="944" y="1114"/>
                    </a:moveTo>
                    <a:lnTo>
                      <a:pt x="946" y="1114"/>
                    </a:lnTo>
                    <a:lnTo>
                      <a:pt x="946" y="1116"/>
                    </a:lnTo>
                    <a:lnTo>
                      <a:pt x="944" y="1116"/>
                    </a:lnTo>
                    <a:lnTo>
                      <a:pt x="944" y="1114"/>
                    </a:lnTo>
                    <a:close/>
                    <a:moveTo>
                      <a:pt x="986" y="1559"/>
                    </a:moveTo>
                    <a:lnTo>
                      <a:pt x="988" y="1559"/>
                    </a:lnTo>
                    <a:lnTo>
                      <a:pt x="986" y="1559"/>
                    </a:lnTo>
                    <a:close/>
                    <a:moveTo>
                      <a:pt x="1306" y="1505"/>
                    </a:moveTo>
                    <a:lnTo>
                      <a:pt x="1306" y="1507"/>
                    </a:lnTo>
                    <a:lnTo>
                      <a:pt x="1306" y="1505"/>
                    </a:lnTo>
                    <a:close/>
                    <a:moveTo>
                      <a:pt x="1369" y="1709"/>
                    </a:moveTo>
                    <a:lnTo>
                      <a:pt x="1371" y="1709"/>
                    </a:lnTo>
                    <a:lnTo>
                      <a:pt x="1369" y="1709"/>
                    </a:lnTo>
                    <a:close/>
                    <a:moveTo>
                      <a:pt x="1007" y="1473"/>
                    </a:moveTo>
                    <a:lnTo>
                      <a:pt x="1007" y="1475"/>
                    </a:lnTo>
                    <a:lnTo>
                      <a:pt x="1007" y="1473"/>
                    </a:lnTo>
                    <a:close/>
                    <a:moveTo>
                      <a:pt x="675" y="1062"/>
                    </a:moveTo>
                    <a:lnTo>
                      <a:pt x="677" y="1062"/>
                    </a:lnTo>
                    <a:lnTo>
                      <a:pt x="677" y="1064"/>
                    </a:lnTo>
                    <a:lnTo>
                      <a:pt x="675" y="1064"/>
                    </a:lnTo>
                    <a:lnTo>
                      <a:pt x="675" y="1062"/>
                    </a:lnTo>
                    <a:close/>
                    <a:moveTo>
                      <a:pt x="969" y="1005"/>
                    </a:moveTo>
                    <a:lnTo>
                      <a:pt x="969" y="1007"/>
                    </a:lnTo>
                    <a:lnTo>
                      <a:pt x="969" y="1005"/>
                    </a:lnTo>
                    <a:close/>
                    <a:moveTo>
                      <a:pt x="1135" y="1398"/>
                    </a:moveTo>
                    <a:lnTo>
                      <a:pt x="1135" y="1400"/>
                    </a:lnTo>
                    <a:lnTo>
                      <a:pt x="1135" y="1398"/>
                    </a:lnTo>
                    <a:close/>
                    <a:moveTo>
                      <a:pt x="687" y="1045"/>
                    </a:moveTo>
                    <a:lnTo>
                      <a:pt x="687" y="1047"/>
                    </a:lnTo>
                    <a:lnTo>
                      <a:pt x="687" y="1045"/>
                    </a:lnTo>
                    <a:close/>
                    <a:moveTo>
                      <a:pt x="643" y="1076"/>
                    </a:moveTo>
                    <a:lnTo>
                      <a:pt x="643" y="1078"/>
                    </a:lnTo>
                    <a:lnTo>
                      <a:pt x="643" y="1076"/>
                    </a:lnTo>
                    <a:close/>
                    <a:moveTo>
                      <a:pt x="978" y="1518"/>
                    </a:moveTo>
                    <a:lnTo>
                      <a:pt x="978" y="1520"/>
                    </a:lnTo>
                    <a:lnTo>
                      <a:pt x="978" y="1518"/>
                    </a:lnTo>
                    <a:close/>
                    <a:moveTo>
                      <a:pt x="1264" y="1757"/>
                    </a:moveTo>
                    <a:lnTo>
                      <a:pt x="1264" y="1759"/>
                    </a:lnTo>
                    <a:lnTo>
                      <a:pt x="1264" y="1757"/>
                    </a:lnTo>
                    <a:close/>
                    <a:moveTo>
                      <a:pt x="667" y="1066"/>
                    </a:moveTo>
                    <a:lnTo>
                      <a:pt x="669" y="1066"/>
                    </a:lnTo>
                    <a:lnTo>
                      <a:pt x="669" y="1068"/>
                    </a:lnTo>
                    <a:lnTo>
                      <a:pt x="667" y="1068"/>
                    </a:lnTo>
                    <a:lnTo>
                      <a:pt x="667" y="1066"/>
                    </a:lnTo>
                    <a:close/>
                    <a:moveTo>
                      <a:pt x="1165" y="1291"/>
                    </a:moveTo>
                    <a:lnTo>
                      <a:pt x="1165" y="1293"/>
                    </a:lnTo>
                    <a:lnTo>
                      <a:pt x="1165" y="1291"/>
                    </a:lnTo>
                    <a:close/>
                    <a:moveTo>
                      <a:pt x="1074" y="1217"/>
                    </a:moveTo>
                    <a:lnTo>
                      <a:pt x="1074" y="1219"/>
                    </a:lnTo>
                    <a:lnTo>
                      <a:pt x="1074" y="1217"/>
                    </a:lnTo>
                    <a:close/>
                    <a:moveTo>
                      <a:pt x="564" y="1053"/>
                    </a:moveTo>
                    <a:lnTo>
                      <a:pt x="566" y="1053"/>
                    </a:lnTo>
                    <a:lnTo>
                      <a:pt x="564" y="1053"/>
                    </a:lnTo>
                    <a:close/>
                    <a:moveTo>
                      <a:pt x="1310" y="1616"/>
                    </a:moveTo>
                    <a:lnTo>
                      <a:pt x="1310" y="1618"/>
                    </a:lnTo>
                    <a:lnTo>
                      <a:pt x="1310" y="1616"/>
                    </a:lnTo>
                    <a:close/>
                    <a:moveTo>
                      <a:pt x="551" y="820"/>
                    </a:moveTo>
                    <a:lnTo>
                      <a:pt x="553" y="820"/>
                    </a:lnTo>
                    <a:lnTo>
                      <a:pt x="553" y="822"/>
                    </a:lnTo>
                    <a:lnTo>
                      <a:pt x="551" y="822"/>
                    </a:lnTo>
                    <a:lnTo>
                      <a:pt x="551" y="820"/>
                    </a:lnTo>
                    <a:close/>
                    <a:moveTo>
                      <a:pt x="685" y="1049"/>
                    </a:moveTo>
                    <a:lnTo>
                      <a:pt x="687" y="1049"/>
                    </a:lnTo>
                    <a:lnTo>
                      <a:pt x="687" y="1051"/>
                    </a:lnTo>
                    <a:lnTo>
                      <a:pt x="685" y="1051"/>
                    </a:lnTo>
                    <a:lnTo>
                      <a:pt x="685" y="1049"/>
                    </a:lnTo>
                    <a:close/>
                    <a:moveTo>
                      <a:pt x="507" y="1062"/>
                    </a:moveTo>
                    <a:lnTo>
                      <a:pt x="507" y="1064"/>
                    </a:lnTo>
                    <a:lnTo>
                      <a:pt x="507" y="1062"/>
                    </a:lnTo>
                    <a:close/>
                    <a:moveTo>
                      <a:pt x="1390" y="1677"/>
                    </a:moveTo>
                    <a:lnTo>
                      <a:pt x="1390" y="1679"/>
                    </a:lnTo>
                    <a:lnTo>
                      <a:pt x="1390" y="1677"/>
                    </a:lnTo>
                    <a:close/>
                    <a:moveTo>
                      <a:pt x="723" y="828"/>
                    </a:moveTo>
                    <a:lnTo>
                      <a:pt x="723" y="830"/>
                    </a:lnTo>
                    <a:lnTo>
                      <a:pt x="723" y="828"/>
                    </a:lnTo>
                    <a:close/>
                    <a:moveTo>
                      <a:pt x="1312" y="1681"/>
                    </a:moveTo>
                    <a:lnTo>
                      <a:pt x="1314" y="1681"/>
                    </a:lnTo>
                    <a:lnTo>
                      <a:pt x="1312" y="1681"/>
                    </a:lnTo>
                    <a:close/>
                    <a:moveTo>
                      <a:pt x="1238" y="1167"/>
                    </a:moveTo>
                    <a:lnTo>
                      <a:pt x="1240" y="1167"/>
                    </a:lnTo>
                    <a:lnTo>
                      <a:pt x="1240" y="1169"/>
                    </a:lnTo>
                    <a:lnTo>
                      <a:pt x="1238" y="1169"/>
                    </a:lnTo>
                    <a:lnTo>
                      <a:pt x="1238" y="1167"/>
                    </a:lnTo>
                    <a:close/>
                    <a:moveTo>
                      <a:pt x="1114" y="1261"/>
                    </a:moveTo>
                    <a:lnTo>
                      <a:pt x="1114" y="1263"/>
                    </a:lnTo>
                    <a:lnTo>
                      <a:pt x="1114" y="1261"/>
                    </a:lnTo>
                    <a:close/>
                    <a:moveTo>
                      <a:pt x="151" y="1570"/>
                    </a:moveTo>
                    <a:lnTo>
                      <a:pt x="153" y="1570"/>
                    </a:lnTo>
                    <a:lnTo>
                      <a:pt x="151" y="1570"/>
                    </a:lnTo>
                    <a:close/>
                    <a:moveTo>
                      <a:pt x="168" y="1553"/>
                    </a:moveTo>
                    <a:lnTo>
                      <a:pt x="170" y="1553"/>
                    </a:lnTo>
                    <a:lnTo>
                      <a:pt x="168" y="1553"/>
                    </a:lnTo>
                    <a:close/>
                    <a:moveTo>
                      <a:pt x="1076" y="1219"/>
                    </a:moveTo>
                    <a:lnTo>
                      <a:pt x="1077" y="1219"/>
                    </a:lnTo>
                    <a:lnTo>
                      <a:pt x="1076" y="1219"/>
                    </a:lnTo>
                    <a:close/>
                    <a:moveTo>
                      <a:pt x="1312" y="1612"/>
                    </a:moveTo>
                    <a:lnTo>
                      <a:pt x="1314" y="1612"/>
                    </a:lnTo>
                    <a:lnTo>
                      <a:pt x="1312" y="1612"/>
                    </a:lnTo>
                    <a:close/>
                    <a:moveTo>
                      <a:pt x="1213" y="1345"/>
                    </a:moveTo>
                    <a:lnTo>
                      <a:pt x="1215" y="1345"/>
                    </a:lnTo>
                    <a:lnTo>
                      <a:pt x="1213" y="1345"/>
                    </a:lnTo>
                    <a:close/>
                    <a:moveTo>
                      <a:pt x="730" y="730"/>
                    </a:moveTo>
                    <a:lnTo>
                      <a:pt x="730" y="732"/>
                    </a:lnTo>
                    <a:lnTo>
                      <a:pt x="730" y="730"/>
                    </a:lnTo>
                    <a:close/>
                    <a:moveTo>
                      <a:pt x="984" y="1572"/>
                    </a:moveTo>
                    <a:lnTo>
                      <a:pt x="984" y="1574"/>
                    </a:lnTo>
                    <a:lnTo>
                      <a:pt x="984" y="1572"/>
                    </a:lnTo>
                    <a:close/>
                    <a:moveTo>
                      <a:pt x="704" y="1003"/>
                    </a:moveTo>
                    <a:lnTo>
                      <a:pt x="704" y="1005"/>
                    </a:lnTo>
                    <a:lnTo>
                      <a:pt x="704" y="1003"/>
                    </a:lnTo>
                    <a:close/>
                    <a:moveTo>
                      <a:pt x="1222" y="1238"/>
                    </a:moveTo>
                    <a:lnTo>
                      <a:pt x="1222" y="1240"/>
                    </a:lnTo>
                    <a:lnTo>
                      <a:pt x="1222" y="1238"/>
                    </a:lnTo>
                    <a:close/>
                    <a:moveTo>
                      <a:pt x="429" y="845"/>
                    </a:moveTo>
                    <a:lnTo>
                      <a:pt x="431" y="845"/>
                    </a:lnTo>
                    <a:lnTo>
                      <a:pt x="431" y="847"/>
                    </a:lnTo>
                    <a:lnTo>
                      <a:pt x="429" y="847"/>
                    </a:lnTo>
                    <a:lnTo>
                      <a:pt x="429" y="845"/>
                    </a:lnTo>
                    <a:close/>
                    <a:moveTo>
                      <a:pt x="1217" y="1345"/>
                    </a:moveTo>
                    <a:lnTo>
                      <a:pt x="1217" y="1347"/>
                    </a:lnTo>
                    <a:lnTo>
                      <a:pt x="1217" y="1345"/>
                    </a:lnTo>
                    <a:close/>
                    <a:moveTo>
                      <a:pt x="1163" y="1255"/>
                    </a:moveTo>
                    <a:lnTo>
                      <a:pt x="1165" y="1255"/>
                    </a:lnTo>
                    <a:lnTo>
                      <a:pt x="1165" y="1257"/>
                    </a:lnTo>
                    <a:lnTo>
                      <a:pt x="1163" y="1257"/>
                    </a:lnTo>
                    <a:lnTo>
                      <a:pt x="1163" y="1255"/>
                    </a:lnTo>
                    <a:close/>
                    <a:moveTo>
                      <a:pt x="1331" y="1622"/>
                    </a:moveTo>
                    <a:lnTo>
                      <a:pt x="1333" y="1622"/>
                    </a:lnTo>
                    <a:lnTo>
                      <a:pt x="1333" y="1623"/>
                    </a:lnTo>
                    <a:lnTo>
                      <a:pt x="1331" y="1623"/>
                    </a:lnTo>
                    <a:lnTo>
                      <a:pt x="1331" y="1622"/>
                    </a:lnTo>
                    <a:close/>
                    <a:moveTo>
                      <a:pt x="1240" y="1767"/>
                    </a:moveTo>
                    <a:lnTo>
                      <a:pt x="1240" y="1768"/>
                    </a:lnTo>
                    <a:lnTo>
                      <a:pt x="1240" y="1767"/>
                    </a:lnTo>
                    <a:close/>
                    <a:moveTo>
                      <a:pt x="643" y="944"/>
                    </a:moveTo>
                    <a:lnTo>
                      <a:pt x="643" y="946"/>
                    </a:lnTo>
                    <a:lnTo>
                      <a:pt x="643" y="944"/>
                    </a:lnTo>
                    <a:close/>
                    <a:moveTo>
                      <a:pt x="1190" y="1192"/>
                    </a:moveTo>
                    <a:lnTo>
                      <a:pt x="1192" y="1192"/>
                    </a:lnTo>
                    <a:lnTo>
                      <a:pt x="1190" y="1192"/>
                    </a:lnTo>
                    <a:close/>
                    <a:moveTo>
                      <a:pt x="774" y="1280"/>
                    </a:moveTo>
                    <a:lnTo>
                      <a:pt x="774" y="1282"/>
                    </a:lnTo>
                    <a:lnTo>
                      <a:pt x="774" y="1280"/>
                    </a:lnTo>
                    <a:close/>
                    <a:moveTo>
                      <a:pt x="1047" y="1215"/>
                    </a:moveTo>
                    <a:lnTo>
                      <a:pt x="1047" y="1217"/>
                    </a:lnTo>
                    <a:lnTo>
                      <a:pt x="1047" y="1215"/>
                    </a:lnTo>
                    <a:close/>
                    <a:moveTo>
                      <a:pt x="200" y="1587"/>
                    </a:moveTo>
                    <a:lnTo>
                      <a:pt x="200" y="1589"/>
                    </a:lnTo>
                    <a:lnTo>
                      <a:pt x="200" y="1587"/>
                    </a:lnTo>
                    <a:close/>
                    <a:moveTo>
                      <a:pt x="505" y="1072"/>
                    </a:moveTo>
                    <a:lnTo>
                      <a:pt x="507" y="1072"/>
                    </a:lnTo>
                    <a:lnTo>
                      <a:pt x="505" y="1072"/>
                    </a:lnTo>
                    <a:close/>
                    <a:moveTo>
                      <a:pt x="1257" y="1440"/>
                    </a:moveTo>
                    <a:lnTo>
                      <a:pt x="1257" y="1442"/>
                    </a:lnTo>
                    <a:lnTo>
                      <a:pt x="1257" y="1440"/>
                    </a:lnTo>
                    <a:close/>
                    <a:moveTo>
                      <a:pt x="1352" y="1612"/>
                    </a:moveTo>
                    <a:lnTo>
                      <a:pt x="1354" y="1612"/>
                    </a:lnTo>
                    <a:lnTo>
                      <a:pt x="1352" y="1612"/>
                    </a:lnTo>
                    <a:close/>
                    <a:moveTo>
                      <a:pt x="784" y="990"/>
                    </a:moveTo>
                    <a:lnTo>
                      <a:pt x="786" y="990"/>
                    </a:lnTo>
                    <a:lnTo>
                      <a:pt x="784" y="990"/>
                    </a:lnTo>
                    <a:close/>
                    <a:moveTo>
                      <a:pt x="568" y="839"/>
                    </a:moveTo>
                    <a:lnTo>
                      <a:pt x="570" y="839"/>
                    </a:lnTo>
                    <a:lnTo>
                      <a:pt x="568" y="839"/>
                    </a:lnTo>
                    <a:close/>
                    <a:moveTo>
                      <a:pt x="1274" y="1480"/>
                    </a:moveTo>
                    <a:lnTo>
                      <a:pt x="1276" y="1480"/>
                    </a:lnTo>
                    <a:lnTo>
                      <a:pt x="1274" y="1480"/>
                    </a:lnTo>
                    <a:close/>
                    <a:moveTo>
                      <a:pt x="1087" y="1232"/>
                    </a:moveTo>
                    <a:lnTo>
                      <a:pt x="1089" y="1232"/>
                    </a:lnTo>
                    <a:lnTo>
                      <a:pt x="1089" y="1234"/>
                    </a:lnTo>
                    <a:lnTo>
                      <a:pt x="1087" y="1234"/>
                    </a:lnTo>
                    <a:lnTo>
                      <a:pt x="1087" y="1232"/>
                    </a:lnTo>
                    <a:close/>
                    <a:moveTo>
                      <a:pt x="1220" y="1360"/>
                    </a:moveTo>
                    <a:lnTo>
                      <a:pt x="1220" y="1362"/>
                    </a:lnTo>
                    <a:lnTo>
                      <a:pt x="1220" y="1360"/>
                    </a:lnTo>
                    <a:close/>
                    <a:moveTo>
                      <a:pt x="978" y="961"/>
                    </a:moveTo>
                    <a:lnTo>
                      <a:pt x="980" y="961"/>
                    </a:lnTo>
                    <a:lnTo>
                      <a:pt x="978" y="961"/>
                    </a:lnTo>
                    <a:close/>
                    <a:moveTo>
                      <a:pt x="992" y="1578"/>
                    </a:moveTo>
                    <a:lnTo>
                      <a:pt x="992" y="1580"/>
                    </a:lnTo>
                    <a:lnTo>
                      <a:pt x="992" y="1578"/>
                    </a:lnTo>
                    <a:close/>
                    <a:moveTo>
                      <a:pt x="1171" y="1249"/>
                    </a:moveTo>
                    <a:lnTo>
                      <a:pt x="1171" y="1251"/>
                    </a:lnTo>
                    <a:lnTo>
                      <a:pt x="1171" y="1249"/>
                    </a:lnTo>
                    <a:close/>
                    <a:moveTo>
                      <a:pt x="1375" y="1650"/>
                    </a:moveTo>
                    <a:lnTo>
                      <a:pt x="1377" y="1650"/>
                    </a:lnTo>
                    <a:lnTo>
                      <a:pt x="1375" y="1650"/>
                    </a:lnTo>
                    <a:close/>
                    <a:moveTo>
                      <a:pt x="446" y="1083"/>
                    </a:moveTo>
                    <a:lnTo>
                      <a:pt x="448" y="1083"/>
                    </a:lnTo>
                    <a:lnTo>
                      <a:pt x="446" y="1083"/>
                    </a:lnTo>
                    <a:close/>
                    <a:moveTo>
                      <a:pt x="980" y="1791"/>
                    </a:moveTo>
                    <a:lnTo>
                      <a:pt x="982" y="1791"/>
                    </a:lnTo>
                    <a:lnTo>
                      <a:pt x="980" y="1791"/>
                    </a:lnTo>
                    <a:close/>
                    <a:moveTo>
                      <a:pt x="553" y="822"/>
                    </a:moveTo>
                    <a:lnTo>
                      <a:pt x="553" y="824"/>
                    </a:lnTo>
                    <a:lnTo>
                      <a:pt x="553" y="822"/>
                    </a:lnTo>
                    <a:close/>
                    <a:moveTo>
                      <a:pt x="990" y="1593"/>
                    </a:moveTo>
                    <a:lnTo>
                      <a:pt x="990" y="1595"/>
                    </a:lnTo>
                    <a:lnTo>
                      <a:pt x="990" y="1593"/>
                    </a:lnTo>
                    <a:close/>
                    <a:moveTo>
                      <a:pt x="1241" y="1410"/>
                    </a:moveTo>
                    <a:lnTo>
                      <a:pt x="1241" y="1412"/>
                    </a:lnTo>
                    <a:lnTo>
                      <a:pt x="1241" y="1410"/>
                    </a:lnTo>
                    <a:close/>
                    <a:moveTo>
                      <a:pt x="713" y="1093"/>
                    </a:moveTo>
                    <a:lnTo>
                      <a:pt x="713" y="1095"/>
                    </a:lnTo>
                    <a:lnTo>
                      <a:pt x="713" y="1093"/>
                    </a:lnTo>
                    <a:close/>
                    <a:moveTo>
                      <a:pt x="988" y="1566"/>
                    </a:moveTo>
                    <a:lnTo>
                      <a:pt x="988" y="1568"/>
                    </a:lnTo>
                    <a:lnTo>
                      <a:pt x="988" y="1566"/>
                    </a:lnTo>
                    <a:close/>
                    <a:moveTo>
                      <a:pt x="681" y="1053"/>
                    </a:moveTo>
                    <a:lnTo>
                      <a:pt x="681" y="1055"/>
                    </a:lnTo>
                    <a:lnTo>
                      <a:pt x="681" y="1053"/>
                    </a:lnTo>
                    <a:close/>
                    <a:moveTo>
                      <a:pt x="1293" y="1505"/>
                    </a:moveTo>
                    <a:lnTo>
                      <a:pt x="1295" y="1505"/>
                    </a:lnTo>
                    <a:lnTo>
                      <a:pt x="1293" y="1505"/>
                    </a:lnTo>
                    <a:close/>
                    <a:moveTo>
                      <a:pt x="557" y="824"/>
                    </a:moveTo>
                    <a:lnTo>
                      <a:pt x="559" y="824"/>
                    </a:lnTo>
                    <a:lnTo>
                      <a:pt x="559" y="826"/>
                    </a:lnTo>
                    <a:lnTo>
                      <a:pt x="557" y="826"/>
                    </a:lnTo>
                    <a:lnTo>
                      <a:pt x="557" y="824"/>
                    </a:lnTo>
                    <a:close/>
                    <a:moveTo>
                      <a:pt x="738" y="1038"/>
                    </a:moveTo>
                    <a:lnTo>
                      <a:pt x="738" y="1040"/>
                    </a:lnTo>
                    <a:lnTo>
                      <a:pt x="738" y="1038"/>
                    </a:lnTo>
                    <a:close/>
                    <a:moveTo>
                      <a:pt x="275" y="1663"/>
                    </a:moveTo>
                    <a:lnTo>
                      <a:pt x="275" y="1665"/>
                    </a:lnTo>
                    <a:lnTo>
                      <a:pt x="275" y="1663"/>
                    </a:lnTo>
                    <a:close/>
                    <a:moveTo>
                      <a:pt x="1184" y="1265"/>
                    </a:moveTo>
                    <a:lnTo>
                      <a:pt x="1186" y="1265"/>
                    </a:lnTo>
                    <a:lnTo>
                      <a:pt x="1184" y="1265"/>
                    </a:lnTo>
                    <a:close/>
                    <a:moveTo>
                      <a:pt x="1068" y="1213"/>
                    </a:moveTo>
                    <a:lnTo>
                      <a:pt x="1070" y="1213"/>
                    </a:lnTo>
                    <a:lnTo>
                      <a:pt x="1068" y="1213"/>
                    </a:lnTo>
                    <a:close/>
                    <a:moveTo>
                      <a:pt x="1207" y="1713"/>
                    </a:moveTo>
                    <a:lnTo>
                      <a:pt x="1209" y="1713"/>
                    </a:lnTo>
                    <a:lnTo>
                      <a:pt x="1207" y="1713"/>
                    </a:lnTo>
                    <a:close/>
                    <a:moveTo>
                      <a:pt x="978" y="1518"/>
                    </a:moveTo>
                    <a:lnTo>
                      <a:pt x="980" y="1518"/>
                    </a:lnTo>
                    <a:lnTo>
                      <a:pt x="978" y="1518"/>
                    </a:lnTo>
                    <a:close/>
                    <a:moveTo>
                      <a:pt x="456" y="1072"/>
                    </a:moveTo>
                    <a:lnTo>
                      <a:pt x="456" y="1074"/>
                    </a:lnTo>
                    <a:lnTo>
                      <a:pt x="456" y="1072"/>
                    </a:lnTo>
                    <a:close/>
                    <a:moveTo>
                      <a:pt x="484" y="1070"/>
                    </a:moveTo>
                    <a:lnTo>
                      <a:pt x="486" y="1070"/>
                    </a:lnTo>
                    <a:lnTo>
                      <a:pt x="484" y="1070"/>
                    </a:lnTo>
                    <a:close/>
                    <a:moveTo>
                      <a:pt x="280" y="1673"/>
                    </a:moveTo>
                    <a:lnTo>
                      <a:pt x="282" y="1673"/>
                    </a:lnTo>
                    <a:lnTo>
                      <a:pt x="282" y="1675"/>
                    </a:lnTo>
                    <a:lnTo>
                      <a:pt x="280" y="1675"/>
                    </a:lnTo>
                    <a:lnTo>
                      <a:pt x="280" y="1673"/>
                    </a:lnTo>
                    <a:close/>
                    <a:moveTo>
                      <a:pt x="839" y="1175"/>
                    </a:moveTo>
                    <a:lnTo>
                      <a:pt x="841" y="1175"/>
                    </a:lnTo>
                    <a:lnTo>
                      <a:pt x="841" y="1177"/>
                    </a:lnTo>
                    <a:lnTo>
                      <a:pt x="839" y="1177"/>
                    </a:lnTo>
                    <a:lnTo>
                      <a:pt x="839" y="1175"/>
                    </a:lnTo>
                    <a:close/>
                    <a:moveTo>
                      <a:pt x="523" y="1097"/>
                    </a:moveTo>
                    <a:lnTo>
                      <a:pt x="523" y="1099"/>
                    </a:lnTo>
                    <a:lnTo>
                      <a:pt x="523" y="1097"/>
                    </a:lnTo>
                    <a:close/>
                    <a:moveTo>
                      <a:pt x="669" y="1080"/>
                    </a:moveTo>
                    <a:lnTo>
                      <a:pt x="669" y="1082"/>
                    </a:lnTo>
                    <a:lnTo>
                      <a:pt x="669" y="1080"/>
                    </a:lnTo>
                    <a:close/>
                    <a:moveTo>
                      <a:pt x="1169" y="1249"/>
                    </a:moveTo>
                    <a:lnTo>
                      <a:pt x="1169" y="1251"/>
                    </a:lnTo>
                    <a:lnTo>
                      <a:pt x="1169" y="1249"/>
                    </a:lnTo>
                    <a:close/>
                    <a:moveTo>
                      <a:pt x="988" y="1480"/>
                    </a:moveTo>
                    <a:lnTo>
                      <a:pt x="988" y="1482"/>
                    </a:lnTo>
                    <a:lnTo>
                      <a:pt x="988" y="1480"/>
                    </a:lnTo>
                    <a:close/>
                    <a:moveTo>
                      <a:pt x="1072" y="1219"/>
                    </a:moveTo>
                    <a:lnTo>
                      <a:pt x="1072" y="1221"/>
                    </a:lnTo>
                    <a:lnTo>
                      <a:pt x="1072" y="1219"/>
                    </a:lnTo>
                    <a:close/>
                    <a:moveTo>
                      <a:pt x="1005" y="1312"/>
                    </a:moveTo>
                    <a:lnTo>
                      <a:pt x="1007" y="1312"/>
                    </a:lnTo>
                    <a:lnTo>
                      <a:pt x="1005" y="1312"/>
                    </a:lnTo>
                    <a:close/>
                    <a:moveTo>
                      <a:pt x="812" y="1158"/>
                    </a:moveTo>
                    <a:lnTo>
                      <a:pt x="814" y="1158"/>
                    </a:lnTo>
                    <a:lnTo>
                      <a:pt x="814" y="1160"/>
                    </a:lnTo>
                    <a:lnTo>
                      <a:pt x="812" y="1160"/>
                    </a:lnTo>
                    <a:lnTo>
                      <a:pt x="812" y="1158"/>
                    </a:lnTo>
                    <a:close/>
                    <a:moveTo>
                      <a:pt x="961" y="1393"/>
                    </a:moveTo>
                    <a:lnTo>
                      <a:pt x="963" y="1393"/>
                    </a:lnTo>
                    <a:lnTo>
                      <a:pt x="961" y="1393"/>
                    </a:lnTo>
                    <a:close/>
                    <a:moveTo>
                      <a:pt x="1116" y="1270"/>
                    </a:moveTo>
                    <a:lnTo>
                      <a:pt x="1116" y="1272"/>
                    </a:lnTo>
                    <a:lnTo>
                      <a:pt x="1116" y="1270"/>
                    </a:lnTo>
                    <a:close/>
                    <a:moveTo>
                      <a:pt x="1159" y="1242"/>
                    </a:moveTo>
                    <a:lnTo>
                      <a:pt x="1159" y="1244"/>
                    </a:lnTo>
                    <a:lnTo>
                      <a:pt x="1159" y="1242"/>
                    </a:lnTo>
                    <a:close/>
                    <a:moveTo>
                      <a:pt x="765" y="1305"/>
                    </a:moveTo>
                    <a:lnTo>
                      <a:pt x="767" y="1305"/>
                    </a:lnTo>
                    <a:lnTo>
                      <a:pt x="765" y="1305"/>
                    </a:lnTo>
                    <a:close/>
                    <a:moveTo>
                      <a:pt x="1096" y="1240"/>
                    </a:moveTo>
                    <a:lnTo>
                      <a:pt x="1096" y="1242"/>
                    </a:lnTo>
                    <a:lnTo>
                      <a:pt x="1096" y="1240"/>
                    </a:lnTo>
                    <a:close/>
                    <a:moveTo>
                      <a:pt x="250" y="1001"/>
                    </a:moveTo>
                    <a:lnTo>
                      <a:pt x="250" y="1003"/>
                    </a:lnTo>
                    <a:lnTo>
                      <a:pt x="250" y="1001"/>
                    </a:lnTo>
                    <a:close/>
                    <a:moveTo>
                      <a:pt x="1293" y="1635"/>
                    </a:moveTo>
                    <a:lnTo>
                      <a:pt x="1293" y="1637"/>
                    </a:lnTo>
                    <a:lnTo>
                      <a:pt x="1293" y="1635"/>
                    </a:lnTo>
                    <a:close/>
                    <a:moveTo>
                      <a:pt x="641" y="954"/>
                    </a:moveTo>
                    <a:lnTo>
                      <a:pt x="643" y="954"/>
                    </a:lnTo>
                    <a:lnTo>
                      <a:pt x="641" y="954"/>
                    </a:lnTo>
                    <a:close/>
                    <a:moveTo>
                      <a:pt x="990" y="1459"/>
                    </a:moveTo>
                    <a:lnTo>
                      <a:pt x="990" y="1461"/>
                    </a:lnTo>
                    <a:lnTo>
                      <a:pt x="990" y="1459"/>
                    </a:lnTo>
                    <a:close/>
                    <a:moveTo>
                      <a:pt x="202" y="1591"/>
                    </a:moveTo>
                    <a:lnTo>
                      <a:pt x="204" y="1591"/>
                    </a:lnTo>
                    <a:lnTo>
                      <a:pt x="202" y="1591"/>
                    </a:lnTo>
                    <a:close/>
                    <a:moveTo>
                      <a:pt x="1072" y="1165"/>
                    </a:moveTo>
                    <a:lnTo>
                      <a:pt x="1072" y="1167"/>
                    </a:lnTo>
                    <a:lnTo>
                      <a:pt x="1072" y="1165"/>
                    </a:lnTo>
                    <a:close/>
                    <a:moveTo>
                      <a:pt x="172" y="1538"/>
                    </a:moveTo>
                    <a:lnTo>
                      <a:pt x="172" y="1539"/>
                    </a:lnTo>
                    <a:lnTo>
                      <a:pt x="172" y="1538"/>
                    </a:lnTo>
                    <a:close/>
                    <a:moveTo>
                      <a:pt x="229" y="1623"/>
                    </a:moveTo>
                    <a:lnTo>
                      <a:pt x="229" y="1625"/>
                    </a:lnTo>
                    <a:lnTo>
                      <a:pt x="229" y="1623"/>
                    </a:lnTo>
                    <a:close/>
                    <a:moveTo>
                      <a:pt x="433" y="1082"/>
                    </a:moveTo>
                    <a:lnTo>
                      <a:pt x="435" y="1082"/>
                    </a:lnTo>
                    <a:lnTo>
                      <a:pt x="433" y="1082"/>
                    </a:lnTo>
                    <a:close/>
                    <a:moveTo>
                      <a:pt x="439" y="1076"/>
                    </a:moveTo>
                    <a:lnTo>
                      <a:pt x="439" y="1078"/>
                    </a:lnTo>
                    <a:lnTo>
                      <a:pt x="439" y="1076"/>
                    </a:lnTo>
                    <a:close/>
                    <a:moveTo>
                      <a:pt x="1356" y="1560"/>
                    </a:moveTo>
                    <a:lnTo>
                      <a:pt x="1358" y="1560"/>
                    </a:lnTo>
                    <a:lnTo>
                      <a:pt x="1356" y="1560"/>
                    </a:lnTo>
                    <a:close/>
                    <a:moveTo>
                      <a:pt x="1278" y="1484"/>
                    </a:moveTo>
                    <a:lnTo>
                      <a:pt x="1278" y="1486"/>
                    </a:lnTo>
                    <a:lnTo>
                      <a:pt x="1278" y="1484"/>
                    </a:lnTo>
                    <a:close/>
                    <a:moveTo>
                      <a:pt x="1180" y="1768"/>
                    </a:moveTo>
                    <a:lnTo>
                      <a:pt x="1180" y="1770"/>
                    </a:lnTo>
                    <a:lnTo>
                      <a:pt x="1180" y="1768"/>
                    </a:lnTo>
                    <a:close/>
                    <a:moveTo>
                      <a:pt x="660" y="1030"/>
                    </a:moveTo>
                    <a:lnTo>
                      <a:pt x="662" y="1030"/>
                    </a:lnTo>
                    <a:lnTo>
                      <a:pt x="660" y="1030"/>
                    </a:lnTo>
                    <a:close/>
                    <a:moveTo>
                      <a:pt x="635" y="973"/>
                    </a:moveTo>
                    <a:lnTo>
                      <a:pt x="635" y="975"/>
                    </a:lnTo>
                    <a:lnTo>
                      <a:pt x="635" y="973"/>
                    </a:lnTo>
                    <a:close/>
                    <a:moveTo>
                      <a:pt x="639" y="683"/>
                    </a:moveTo>
                    <a:lnTo>
                      <a:pt x="639" y="685"/>
                    </a:lnTo>
                    <a:lnTo>
                      <a:pt x="639" y="683"/>
                    </a:lnTo>
                    <a:close/>
                    <a:moveTo>
                      <a:pt x="1217" y="1728"/>
                    </a:moveTo>
                    <a:lnTo>
                      <a:pt x="1217" y="1730"/>
                    </a:lnTo>
                    <a:lnTo>
                      <a:pt x="1217" y="1728"/>
                    </a:lnTo>
                    <a:close/>
                    <a:moveTo>
                      <a:pt x="1123" y="1270"/>
                    </a:moveTo>
                    <a:lnTo>
                      <a:pt x="1125" y="1270"/>
                    </a:lnTo>
                    <a:lnTo>
                      <a:pt x="1123" y="1270"/>
                    </a:lnTo>
                    <a:close/>
                    <a:moveTo>
                      <a:pt x="1341" y="1545"/>
                    </a:moveTo>
                    <a:lnTo>
                      <a:pt x="1341" y="1547"/>
                    </a:lnTo>
                    <a:lnTo>
                      <a:pt x="1341" y="1545"/>
                    </a:lnTo>
                    <a:close/>
                    <a:moveTo>
                      <a:pt x="1388" y="1669"/>
                    </a:moveTo>
                    <a:lnTo>
                      <a:pt x="1390" y="1669"/>
                    </a:lnTo>
                    <a:lnTo>
                      <a:pt x="1388" y="1669"/>
                    </a:lnTo>
                    <a:close/>
                    <a:moveTo>
                      <a:pt x="1224" y="1719"/>
                    </a:moveTo>
                    <a:lnTo>
                      <a:pt x="1226" y="1719"/>
                    </a:lnTo>
                    <a:lnTo>
                      <a:pt x="1226" y="1721"/>
                    </a:lnTo>
                    <a:lnTo>
                      <a:pt x="1224" y="1721"/>
                    </a:lnTo>
                    <a:lnTo>
                      <a:pt x="1224" y="1719"/>
                    </a:lnTo>
                    <a:close/>
                    <a:moveTo>
                      <a:pt x="1013" y="1238"/>
                    </a:moveTo>
                    <a:lnTo>
                      <a:pt x="1014" y="1238"/>
                    </a:lnTo>
                    <a:lnTo>
                      <a:pt x="1014" y="1240"/>
                    </a:lnTo>
                    <a:lnTo>
                      <a:pt x="1013" y="1240"/>
                    </a:lnTo>
                    <a:lnTo>
                      <a:pt x="1013" y="1238"/>
                    </a:lnTo>
                    <a:close/>
                    <a:moveTo>
                      <a:pt x="275" y="1665"/>
                    </a:moveTo>
                    <a:lnTo>
                      <a:pt x="277" y="1665"/>
                    </a:lnTo>
                    <a:lnTo>
                      <a:pt x="275" y="1665"/>
                    </a:lnTo>
                    <a:close/>
                    <a:moveTo>
                      <a:pt x="1301" y="1509"/>
                    </a:moveTo>
                    <a:lnTo>
                      <a:pt x="1302" y="1509"/>
                    </a:lnTo>
                    <a:lnTo>
                      <a:pt x="1301" y="1509"/>
                    </a:lnTo>
                    <a:close/>
                    <a:moveTo>
                      <a:pt x="1358" y="1656"/>
                    </a:moveTo>
                    <a:lnTo>
                      <a:pt x="1358" y="1658"/>
                    </a:lnTo>
                    <a:lnTo>
                      <a:pt x="1358" y="1656"/>
                    </a:lnTo>
                    <a:close/>
                    <a:moveTo>
                      <a:pt x="1293" y="1503"/>
                    </a:moveTo>
                    <a:lnTo>
                      <a:pt x="1295" y="1503"/>
                    </a:lnTo>
                    <a:lnTo>
                      <a:pt x="1293" y="1503"/>
                    </a:lnTo>
                    <a:close/>
                    <a:moveTo>
                      <a:pt x="193" y="994"/>
                    </a:moveTo>
                    <a:lnTo>
                      <a:pt x="193" y="996"/>
                    </a:lnTo>
                    <a:lnTo>
                      <a:pt x="193" y="994"/>
                    </a:lnTo>
                    <a:close/>
                    <a:moveTo>
                      <a:pt x="835" y="1171"/>
                    </a:moveTo>
                    <a:lnTo>
                      <a:pt x="837" y="1171"/>
                    </a:lnTo>
                    <a:lnTo>
                      <a:pt x="835" y="1171"/>
                    </a:lnTo>
                    <a:close/>
                    <a:moveTo>
                      <a:pt x="1381" y="1702"/>
                    </a:moveTo>
                    <a:lnTo>
                      <a:pt x="1381" y="1704"/>
                    </a:lnTo>
                    <a:lnTo>
                      <a:pt x="1381" y="1702"/>
                    </a:lnTo>
                    <a:close/>
                    <a:moveTo>
                      <a:pt x="1060" y="1213"/>
                    </a:moveTo>
                    <a:lnTo>
                      <a:pt x="1062" y="1213"/>
                    </a:lnTo>
                    <a:lnTo>
                      <a:pt x="1062" y="1215"/>
                    </a:lnTo>
                    <a:lnTo>
                      <a:pt x="1060" y="1215"/>
                    </a:lnTo>
                    <a:lnTo>
                      <a:pt x="1060" y="1213"/>
                    </a:lnTo>
                    <a:close/>
                    <a:moveTo>
                      <a:pt x="822" y="1688"/>
                    </a:moveTo>
                    <a:lnTo>
                      <a:pt x="824" y="1688"/>
                    </a:lnTo>
                    <a:lnTo>
                      <a:pt x="824" y="1690"/>
                    </a:lnTo>
                    <a:lnTo>
                      <a:pt x="822" y="1690"/>
                    </a:lnTo>
                    <a:lnTo>
                      <a:pt x="822" y="1688"/>
                    </a:lnTo>
                    <a:close/>
                    <a:moveTo>
                      <a:pt x="196" y="1562"/>
                    </a:moveTo>
                    <a:lnTo>
                      <a:pt x="198" y="1562"/>
                    </a:lnTo>
                    <a:lnTo>
                      <a:pt x="196" y="1562"/>
                    </a:lnTo>
                    <a:close/>
                    <a:moveTo>
                      <a:pt x="1173" y="980"/>
                    </a:moveTo>
                    <a:lnTo>
                      <a:pt x="1175" y="980"/>
                    </a:lnTo>
                    <a:lnTo>
                      <a:pt x="1175" y="982"/>
                    </a:lnTo>
                    <a:lnTo>
                      <a:pt x="1173" y="982"/>
                    </a:lnTo>
                    <a:lnTo>
                      <a:pt x="1173" y="980"/>
                    </a:lnTo>
                    <a:close/>
                    <a:moveTo>
                      <a:pt x="1283" y="1505"/>
                    </a:moveTo>
                    <a:lnTo>
                      <a:pt x="1285" y="1505"/>
                    </a:lnTo>
                    <a:lnTo>
                      <a:pt x="1283" y="1505"/>
                    </a:lnTo>
                    <a:close/>
                    <a:moveTo>
                      <a:pt x="1362" y="1654"/>
                    </a:moveTo>
                    <a:lnTo>
                      <a:pt x="1362" y="1656"/>
                    </a:lnTo>
                    <a:lnTo>
                      <a:pt x="1362" y="1654"/>
                    </a:lnTo>
                    <a:close/>
                    <a:moveTo>
                      <a:pt x="1291" y="1499"/>
                    </a:moveTo>
                    <a:lnTo>
                      <a:pt x="1293" y="1499"/>
                    </a:lnTo>
                    <a:lnTo>
                      <a:pt x="1291" y="1499"/>
                    </a:lnTo>
                    <a:close/>
                    <a:moveTo>
                      <a:pt x="997" y="1412"/>
                    </a:moveTo>
                    <a:lnTo>
                      <a:pt x="999" y="1412"/>
                    </a:lnTo>
                    <a:lnTo>
                      <a:pt x="997" y="1412"/>
                    </a:lnTo>
                    <a:close/>
                    <a:moveTo>
                      <a:pt x="1005" y="1311"/>
                    </a:moveTo>
                    <a:lnTo>
                      <a:pt x="1007" y="1311"/>
                    </a:lnTo>
                    <a:lnTo>
                      <a:pt x="1005" y="1311"/>
                    </a:lnTo>
                    <a:close/>
                    <a:moveTo>
                      <a:pt x="685" y="826"/>
                    </a:moveTo>
                    <a:lnTo>
                      <a:pt x="687" y="826"/>
                    </a:lnTo>
                    <a:lnTo>
                      <a:pt x="687" y="828"/>
                    </a:lnTo>
                    <a:lnTo>
                      <a:pt x="685" y="828"/>
                    </a:lnTo>
                    <a:lnTo>
                      <a:pt x="685" y="826"/>
                    </a:lnTo>
                    <a:close/>
                    <a:moveTo>
                      <a:pt x="1390" y="1713"/>
                    </a:moveTo>
                    <a:lnTo>
                      <a:pt x="1390" y="1715"/>
                    </a:lnTo>
                    <a:lnTo>
                      <a:pt x="1390" y="1713"/>
                    </a:lnTo>
                    <a:close/>
                    <a:moveTo>
                      <a:pt x="1178" y="1759"/>
                    </a:moveTo>
                    <a:lnTo>
                      <a:pt x="1178" y="1761"/>
                    </a:lnTo>
                    <a:lnTo>
                      <a:pt x="1178" y="1759"/>
                    </a:lnTo>
                    <a:close/>
                    <a:moveTo>
                      <a:pt x="164" y="1538"/>
                    </a:moveTo>
                    <a:lnTo>
                      <a:pt x="166" y="1538"/>
                    </a:lnTo>
                    <a:lnTo>
                      <a:pt x="166" y="1539"/>
                    </a:lnTo>
                    <a:lnTo>
                      <a:pt x="164" y="1539"/>
                    </a:lnTo>
                    <a:lnTo>
                      <a:pt x="164" y="1538"/>
                    </a:lnTo>
                    <a:close/>
                    <a:moveTo>
                      <a:pt x="1268" y="1477"/>
                    </a:moveTo>
                    <a:lnTo>
                      <a:pt x="1270" y="1477"/>
                    </a:lnTo>
                    <a:lnTo>
                      <a:pt x="1268" y="1477"/>
                    </a:lnTo>
                    <a:close/>
                    <a:moveTo>
                      <a:pt x="650" y="1034"/>
                    </a:moveTo>
                    <a:lnTo>
                      <a:pt x="650" y="1036"/>
                    </a:lnTo>
                    <a:lnTo>
                      <a:pt x="650" y="1034"/>
                    </a:lnTo>
                    <a:close/>
                    <a:moveTo>
                      <a:pt x="1138" y="1690"/>
                    </a:moveTo>
                    <a:lnTo>
                      <a:pt x="1140" y="1690"/>
                    </a:lnTo>
                    <a:lnTo>
                      <a:pt x="1140" y="1692"/>
                    </a:lnTo>
                    <a:lnTo>
                      <a:pt x="1138" y="1692"/>
                    </a:lnTo>
                    <a:lnTo>
                      <a:pt x="1138" y="1690"/>
                    </a:lnTo>
                    <a:close/>
                    <a:moveTo>
                      <a:pt x="1117" y="1715"/>
                    </a:moveTo>
                    <a:lnTo>
                      <a:pt x="1119" y="1715"/>
                    </a:lnTo>
                    <a:lnTo>
                      <a:pt x="1117" y="1715"/>
                    </a:lnTo>
                    <a:close/>
                    <a:moveTo>
                      <a:pt x="978" y="1467"/>
                    </a:moveTo>
                    <a:lnTo>
                      <a:pt x="978" y="1469"/>
                    </a:lnTo>
                    <a:lnTo>
                      <a:pt x="978" y="1467"/>
                    </a:lnTo>
                    <a:close/>
                    <a:moveTo>
                      <a:pt x="1066" y="1278"/>
                    </a:moveTo>
                    <a:lnTo>
                      <a:pt x="1068" y="1278"/>
                    </a:lnTo>
                    <a:lnTo>
                      <a:pt x="1066" y="1278"/>
                    </a:lnTo>
                    <a:close/>
                    <a:moveTo>
                      <a:pt x="1375" y="1652"/>
                    </a:moveTo>
                    <a:lnTo>
                      <a:pt x="1377" y="1652"/>
                    </a:lnTo>
                    <a:lnTo>
                      <a:pt x="1375" y="1652"/>
                    </a:lnTo>
                    <a:close/>
                    <a:moveTo>
                      <a:pt x="1165" y="1001"/>
                    </a:moveTo>
                    <a:lnTo>
                      <a:pt x="1167" y="1001"/>
                    </a:lnTo>
                    <a:lnTo>
                      <a:pt x="1165" y="1001"/>
                    </a:lnTo>
                    <a:close/>
                    <a:moveTo>
                      <a:pt x="976" y="1482"/>
                    </a:moveTo>
                    <a:lnTo>
                      <a:pt x="978" y="1482"/>
                    </a:lnTo>
                    <a:lnTo>
                      <a:pt x="978" y="1484"/>
                    </a:lnTo>
                    <a:lnTo>
                      <a:pt x="976" y="1484"/>
                    </a:lnTo>
                    <a:lnTo>
                      <a:pt x="976" y="1482"/>
                    </a:lnTo>
                    <a:close/>
                    <a:moveTo>
                      <a:pt x="749" y="1326"/>
                    </a:moveTo>
                    <a:lnTo>
                      <a:pt x="751" y="1326"/>
                    </a:lnTo>
                    <a:lnTo>
                      <a:pt x="749" y="1326"/>
                    </a:lnTo>
                    <a:close/>
                    <a:moveTo>
                      <a:pt x="1152" y="1681"/>
                    </a:moveTo>
                    <a:lnTo>
                      <a:pt x="1154" y="1681"/>
                    </a:lnTo>
                    <a:lnTo>
                      <a:pt x="1152" y="1681"/>
                    </a:lnTo>
                    <a:close/>
                    <a:moveTo>
                      <a:pt x="507" y="1074"/>
                    </a:moveTo>
                    <a:lnTo>
                      <a:pt x="509" y="1074"/>
                    </a:lnTo>
                    <a:lnTo>
                      <a:pt x="507" y="1074"/>
                    </a:lnTo>
                    <a:close/>
                    <a:moveTo>
                      <a:pt x="843" y="1675"/>
                    </a:moveTo>
                    <a:lnTo>
                      <a:pt x="843" y="1677"/>
                    </a:lnTo>
                    <a:lnTo>
                      <a:pt x="843" y="1675"/>
                    </a:lnTo>
                    <a:close/>
                    <a:moveTo>
                      <a:pt x="690" y="1047"/>
                    </a:moveTo>
                    <a:lnTo>
                      <a:pt x="690" y="1049"/>
                    </a:lnTo>
                    <a:lnTo>
                      <a:pt x="690" y="1047"/>
                    </a:lnTo>
                    <a:close/>
                    <a:moveTo>
                      <a:pt x="982" y="1553"/>
                    </a:moveTo>
                    <a:lnTo>
                      <a:pt x="984" y="1553"/>
                    </a:lnTo>
                    <a:lnTo>
                      <a:pt x="982" y="1553"/>
                    </a:lnTo>
                    <a:close/>
                    <a:moveTo>
                      <a:pt x="1281" y="1637"/>
                    </a:moveTo>
                    <a:lnTo>
                      <a:pt x="1281" y="1639"/>
                    </a:lnTo>
                    <a:lnTo>
                      <a:pt x="1281" y="1637"/>
                    </a:lnTo>
                    <a:close/>
                    <a:moveTo>
                      <a:pt x="845" y="1673"/>
                    </a:moveTo>
                    <a:lnTo>
                      <a:pt x="845" y="1675"/>
                    </a:lnTo>
                    <a:lnTo>
                      <a:pt x="845" y="1673"/>
                    </a:lnTo>
                    <a:close/>
                    <a:moveTo>
                      <a:pt x="1371" y="1707"/>
                    </a:moveTo>
                    <a:lnTo>
                      <a:pt x="1373" y="1707"/>
                    </a:lnTo>
                    <a:lnTo>
                      <a:pt x="1373" y="1709"/>
                    </a:lnTo>
                    <a:lnTo>
                      <a:pt x="1371" y="1709"/>
                    </a:lnTo>
                    <a:lnTo>
                      <a:pt x="1371" y="1707"/>
                    </a:lnTo>
                    <a:close/>
                    <a:moveTo>
                      <a:pt x="452" y="971"/>
                    </a:moveTo>
                    <a:lnTo>
                      <a:pt x="454" y="971"/>
                    </a:lnTo>
                    <a:lnTo>
                      <a:pt x="452" y="971"/>
                    </a:lnTo>
                    <a:close/>
                    <a:moveTo>
                      <a:pt x="769" y="1290"/>
                    </a:moveTo>
                    <a:lnTo>
                      <a:pt x="770" y="1290"/>
                    </a:lnTo>
                    <a:lnTo>
                      <a:pt x="770" y="1291"/>
                    </a:lnTo>
                    <a:lnTo>
                      <a:pt x="769" y="1291"/>
                    </a:lnTo>
                    <a:lnTo>
                      <a:pt x="769" y="1290"/>
                    </a:lnTo>
                    <a:close/>
                    <a:moveTo>
                      <a:pt x="280" y="1669"/>
                    </a:moveTo>
                    <a:lnTo>
                      <a:pt x="280" y="1671"/>
                    </a:lnTo>
                    <a:lnTo>
                      <a:pt x="280" y="1669"/>
                    </a:lnTo>
                    <a:close/>
                    <a:moveTo>
                      <a:pt x="990" y="1402"/>
                    </a:moveTo>
                    <a:lnTo>
                      <a:pt x="990" y="1404"/>
                    </a:lnTo>
                    <a:lnTo>
                      <a:pt x="990" y="1402"/>
                    </a:lnTo>
                    <a:close/>
                    <a:moveTo>
                      <a:pt x="170" y="1518"/>
                    </a:moveTo>
                    <a:lnTo>
                      <a:pt x="170" y="1520"/>
                    </a:lnTo>
                    <a:lnTo>
                      <a:pt x="170" y="1518"/>
                    </a:lnTo>
                    <a:close/>
                    <a:moveTo>
                      <a:pt x="1356" y="1583"/>
                    </a:moveTo>
                    <a:lnTo>
                      <a:pt x="1358" y="1583"/>
                    </a:lnTo>
                    <a:lnTo>
                      <a:pt x="1358" y="1585"/>
                    </a:lnTo>
                    <a:lnTo>
                      <a:pt x="1356" y="1585"/>
                    </a:lnTo>
                    <a:lnTo>
                      <a:pt x="1356" y="1583"/>
                    </a:lnTo>
                    <a:close/>
                    <a:moveTo>
                      <a:pt x="978" y="1482"/>
                    </a:moveTo>
                    <a:lnTo>
                      <a:pt x="978" y="1484"/>
                    </a:lnTo>
                    <a:lnTo>
                      <a:pt x="978" y="1482"/>
                    </a:lnTo>
                    <a:close/>
                    <a:moveTo>
                      <a:pt x="1301" y="1625"/>
                    </a:moveTo>
                    <a:lnTo>
                      <a:pt x="1301" y="1627"/>
                    </a:lnTo>
                    <a:lnTo>
                      <a:pt x="1301" y="1625"/>
                    </a:lnTo>
                    <a:close/>
                    <a:moveTo>
                      <a:pt x="221" y="1623"/>
                    </a:moveTo>
                    <a:lnTo>
                      <a:pt x="223" y="1623"/>
                    </a:lnTo>
                    <a:lnTo>
                      <a:pt x="221" y="1623"/>
                    </a:lnTo>
                    <a:close/>
                    <a:moveTo>
                      <a:pt x="1058" y="1211"/>
                    </a:moveTo>
                    <a:lnTo>
                      <a:pt x="1058" y="1213"/>
                    </a:lnTo>
                    <a:lnTo>
                      <a:pt x="1058" y="1211"/>
                    </a:lnTo>
                    <a:close/>
                    <a:moveTo>
                      <a:pt x="1388" y="1696"/>
                    </a:moveTo>
                    <a:lnTo>
                      <a:pt x="1388" y="1698"/>
                    </a:lnTo>
                    <a:lnTo>
                      <a:pt x="1388" y="1696"/>
                    </a:lnTo>
                    <a:close/>
                    <a:moveTo>
                      <a:pt x="153" y="986"/>
                    </a:moveTo>
                    <a:lnTo>
                      <a:pt x="153" y="988"/>
                    </a:lnTo>
                    <a:lnTo>
                      <a:pt x="153" y="986"/>
                    </a:lnTo>
                    <a:close/>
                    <a:moveTo>
                      <a:pt x="1268" y="1450"/>
                    </a:moveTo>
                    <a:lnTo>
                      <a:pt x="1268" y="1452"/>
                    </a:lnTo>
                    <a:lnTo>
                      <a:pt x="1268" y="1450"/>
                    </a:lnTo>
                    <a:close/>
                    <a:moveTo>
                      <a:pt x="179" y="969"/>
                    </a:moveTo>
                    <a:lnTo>
                      <a:pt x="179" y="971"/>
                    </a:lnTo>
                    <a:lnTo>
                      <a:pt x="179" y="969"/>
                    </a:lnTo>
                    <a:close/>
                    <a:moveTo>
                      <a:pt x="517" y="1066"/>
                    </a:moveTo>
                    <a:lnTo>
                      <a:pt x="519" y="1066"/>
                    </a:lnTo>
                    <a:lnTo>
                      <a:pt x="519" y="1068"/>
                    </a:lnTo>
                    <a:lnTo>
                      <a:pt x="517" y="1068"/>
                    </a:lnTo>
                    <a:lnTo>
                      <a:pt x="517" y="1066"/>
                    </a:lnTo>
                    <a:close/>
                    <a:moveTo>
                      <a:pt x="1352" y="1578"/>
                    </a:moveTo>
                    <a:lnTo>
                      <a:pt x="1354" y="1578"/>
                    </a:lnTo>
                    <a:lnTo>
                      <a:pt x="1354" y="1580"/>
                    </a:lnTo>
                    <a:lnTo>
                      <a:pt x="1352" y="1580"/>
                    </a:lnTo>
                    <a:lnTo>
                      <a:pt x="1352" y="1578"/>
                    </a:lnTo>
                    <a:close/>
                    <a:moveTo>
                      <a:pt x="1135" y="1398"/>
                    </a:moveTo>
                    <a:lnTo>
                      <a:pt x="1135" y="1400"/>
                    </a:lnTo>
                    <a:lnTo>
                      <a:pt x="1135" y="1398"/>
                    </a:lnTo>
                    <a:close/>
                    <a:moveTo>
                      <a:pt x="364" y="843"/>
                    </a:moveTo>
                    <a:lnTo>
                      <a:pt x="366" y="843"/>
                    </a:lnTo>
                    <a:lnTo>
                      <a:pt x="366" y="845"/>
                    </a:lnTo>
                    <a:lnTo>
                      <a:pt x="364" y="845"/>
                    </a:lnTo>
                    <a:lnTo>
                      <a:pt x="364" y="843"/>
                    </a:lnTo>
                    <a:close/>
                    <a:moveTo>
                      <a:pt x="976" y="1461"/>
                    </a:moveTo>
                    <a:lnTo>
                      <a:pt x="978" y="1461"/>
                    </a:lnTo>
                    <a:lnTo>
                      <a:pt x="976" y="1461"/>
                    </a:lnTo>
                    <a:close/>
                    <a:moveTo>
                      <a:pt x="1140" y="1396"/>
                    </a:moveTo>
                    <a:lnTo>
                      <a:pt x="1140" y="1398"/>
                    </a:lnTo>
                    <a:lnTo>
                      <a:pt x="1140" y="1396"/>
                    </a:lnTo>
                    <a:close/>
                    <a:moveTo>
                      <a:pt x="1238" y="1736"/>
                    </a:moveTo>
                    <a:lnTo>
                      <a:pt x="1240" y="1736"/>
                    </a:lnTo>
                    <a:lnTo>
                      <a:pt x="1238" y="1736"/>
                    </a:lnTo>
                    <a:close/>
                    <a:moveTo>
                      <a:pt x="505" y="1076"/>
                    </a:moveTo>
                    <a:lnTo>
                      <a:pt x="507" y="1076"/>
                    </a:lnTo>
                    <a:lnTo>
                      <a:pt x="505" y="1076"/>
                    </a:lnTo>
                    <a:close/>
                    <a:moveTo>
                      <a:pt x="1211" y="1719"/>
                    </a:moveTo>
                    <a:lnTo>
                      <a:pt x="1211" y="1721"/>
                    </a:lnTo>
                    <a:lnTo>
                      <a:pt x="1211" y="1719"/>
                    </a:lnTo>
                    <a:close/>
                    <a:moveTo>
                      <a:pt x="826" y="1686"/>
                    </a:moveTo>
                    <a:lnTo>
                      <a:pt x="826" y="1688"/>
                    </a:lnTo>
                    <a:lnTo>
                      <a:pt x="826" y="1686"/>
                    </a:lnTo>
                    <a:close/>
                    <a:moveTo>
                      <a:pt x="130" y="1549"/>
                    </a:moveTo>
                    <a:lnTo>
                      <a:pt x="130" y="1551"/>
                    </a:lnTo>
                    <a:lnTo>
                      <a:pt x="130" y="1549"/>
                    </a:lnTo>
                    <a:close/>
                    <a:moveTo>
                      <a:pt x="830" y="1679"/>
                    </a:moveTo>
                    <a:lnTo>
                      <a:pt x="831" y="1679"/>
                    </a:lnTo>
                    <a:lnTo>
                      <a:pt x="830" y="1679"/>
                    </a:lnTo>
                    <a:close/>
                    <a:moveTo>
                      <a:pt x="984" y="1570"/>
                    </a:moveTo>
                    <a:lnTo>
                      <a:pt x="986" y="1570"/>
                    </a:lnTo>
                    <a:lnTo>
                      <a:pt x="986" y="1572"/>
                    </a:lnTo>
                    <a:lnTo>
                      <a:pt x="984" y="1572"/>
                    </a:lnTo>
                    <a:lnTo>
                      <a:pt x="984" y="1570"/>
                    </a:lnTo>
                    <a:close/>
                    <a:moveTo>
                      <a:pt x="1293" y="1513"/>
                    </a:moveTo>
                    <a:lnTo>
                      <a:pt x="1295" y="1513"/>
                    </a:lnTo>
                    <a:lnTo>
                      <a:pt x="1293" y="1513"/>
                    </a:lnTo>
                    <a:close/>
                    <a:moveTo>
                      <a:pt x="957" y="1003"/>
                    </a:moveTo>
                    <a:lnTo>
                      <a:pt x="959" y="1003"/>
                    </a:lnTo>
                    <a:lnTo>
                      <a:pt x="957" y="1003"/>
                    </a:lnTo>
                    <a:close/>
                    <a:moveTo>
                      <a:pt x="1342" y="1545"/>
                    </a:moveTo>
                    <a:lnTo>
                      <a:pt x="1342" y="1547"/>
                    </a:lnTo>
                    <a:lnTo>
                      <a:pt x="1342" y="1545"/>
                    </a:lnTo>
                    <a:close/>
                    <a:moveTo>
                      <a:pt x="660" y="1028"/>
                    </a:moveTo>
                    <a:lnTo>
                      <a:pt x="660" y="1030"/>
                    </a:lnTo>
                    <a:lnTo>
                      <a:pt x="660" y="1028"/>
                    </a:lnTo>
                    <a:close/>
                    <a:moveTo>
                      <a:pt x="1276" y="1461"/>
                    </a:moveTo>
                    <a:lnTo>
                      <a:pt x="1276" y="1463"/>
                    </a:lnTo>
                    <a:lnTo>
                      <a:pt x="1276" y="1461"/>
                    </a:lnTo>
                    <a:close/>
                    <a:moveTo>
                      <a:pt x="156" y="1589"/>
                    </a:moveTo>
                    <a:lnTo>
                      <a:pt x="156" y="1591"/>
                    </a:lnTo>
                    <a:lnTo>
                      <a:pt x="156" y="1589"/>
                    </a:lnTo>
                    <a:close/>
                    <a:moveTo>
                      <a:pt x="925" y="1746"/>
                    </a:moveTo>
                    <a:lnTo>
                      <a:pt x="925" y="1747"/>
                    </a:lnTo>
                    <a:lnTo>
                      <a:pt x="925" y="1746"/>
                    </a:lnTo>
                    <a:close/>
                    <a:moveTo>
                      <a:pt x="988" y="1477"/>
                    </a:moveTo>
                    <a:lnTo>
                      <a:pt x="990" y="1477"/>
                    </a:lnTo>
                    <a:lnTo>
                      <a:pt x="990" y="1478"/>
                    </a:lnTo>
                    <a:lnTo>
                      <a:pt x="988" y="1478"/>
                    </a:lnTo>
                    <a:lnTo>
                      <a:pt x="988" y="1477"/>
                    </a:lnTo>
                    <a:close/>
                    <a:moveTo>
                      <a:pt x="1356" y="1570"/>
                    </a:moveTo>
                    <a:lnTo>
                      <a:pt x="1356" y="1572"/>
                    </a:lnTo>
                    <a:lnTo>
                      <a:pt x="1356" y="1570"/>
                    </a:lnTo>
                    <a:close/>
                    <a:moveTo>
                      <a:pt x="980" y="1469"/>
                    </a:moveTo>
                    <a:lnTo>
                      <a:pt x="980" y="1471"/>
                    </a:lnTo>
                    <a:lnTo>
                      <a:pt x="980" y="1469"/>
                    </a:lnTo>
                    <a:close/>
                    <a:moveTo>
                      <a:pt x="645" y="1041"/>
                    </a:moveTo>
                    <a:lnTo>
                      <a:pt x="646" y="1041"/>
                    </a:lnTo>
                    <a:lnTo>
                      <a:pt x="645" y="1041"/>
                    </a:lnTo>
                    <a:close/>
                    <a:moveTo>
                      <a:pt x="513" y="1062"/>
                    </a:moveTo>
                    <a:lnTo>
                      <a:pt x="515" y="1062"/>
                    </a:lnTo>
                    <a:lnTo>
                      <a:pt x="515" y="1064"/>
                    </a:lnTo>
                    <a:lnTo>
                      <a:pt x="513" y="1064"/>
                    </a:lnTo>
                    <a:lnTo>
                      <a:pt x="513" y="1062"/>
                    </a:lnTo>
                    <a:close/>
                    <a:moveTo>
                      <a:pt x="986" y="1547"/>
                    </a:moveTo>
                    <a:lnTo>
                      <a:pt x="986" y="1549"/>
                    </a:lnTo>
                    <a:lnTo>
                      <a:pt x="986" y="1547"/>
                    </a:lnTo>
                    <a:close/>
                    <a:moveTo>
                      <a:pt x="1009" y="1227"/>
                    </a:moveTo>
                    <a:lnTo>
                      <a:pt x="1011" y="1227"/>
                    </a:lnTo>
                    <a:lnTo>
                      <a:pt x="1009" y="1227"/>
                    </a:lnTo>
                    <a:close/>
                    <a:moveTo>
                      <a:pt x="1211" y="1356"/>
                    </a:moveTo>
                    <a:lnTo>
                      <a:pt x="1211" y="1358"/>
                    </a:lnTo>
                    <a:lnTo>
                      <a:pt x="1211" y="1356"/>
                    </a:lnTo>
                    <a:close/>
                    <a:moveTo>
                      <a:pt x="976" y="1518"/>
                    </a:moveTo>
                    <a:lnTo>
                      <a:pt x="978" y="1518"/>
                    </a:lnTo>
                    <a:lnTo>
                      <a:pt x="976" y="1518"/>
                    </a:lnTo>
                    <a:close/>
                    <a:moveTo>
                      <a:pt x="641" y="1051"/>
                    </a:moveTo>
                    <a:lnTo>
                      <a:pt x="643" y="1051"/>
                    </a:lnTo>
                    <a:lnTo>
                      <a:pt x="643" y="1053"/>
                    </a:lnTo>
                    <a:lnTo>
                      <a:pt x="641" y="1053"/>
                    </a:lnTo>
                    <a:lnTo>
                      <a:pt x="641" y="1051"/>
                    </a:lnTo>
                    <a:close/>
                    <a:moveTo>
                      <a:pt x="994" y="1404"/>
                    </a:moveTo>
                    <a:lnTo>
                      <a:pt x="994" y="1406"/>
                    </a:lnTo>
                    <a:lnTo>
                      <a:pt x="994" y="1404"/>
                    </a:lnTo>
                    <a:close/>
                    <a:moveTo>
                      <a:pt x="528" y="1120"/>
                    </a:moveTo>
                    <a:lnTo>
                      <a:pt x="528" y="1122"/>
                    </a:lnTo>
                    <a:lnTo>
                      <a:pt x="528" y="1120"/>
                    </a:lnTo>
                    <a:close/>
                    <a:moveTo>
                      <a:pt x="1005" y="1339"/>
                    </a:moveTo>
                    <a:lnTo>
                      <a:pt x="1007" y="1339"/>
                    </a:lnTo>
                    <a:lnTo>
                      <a:pt x="1005" y="1339"/>
                    </a:lnTo>
                    <a:close/>
                    <a:moveTo>
                      <a:pt x="923" y="1137"/>
                    </a:moveTo>
                    <a:lnTo>
                      <a:pt x="925" y="1137"/>
                    </a:lnTo>
                    <a:lnTo>
                      <a:pt x="923" y="1137"/>
                    </a:lnTo>
                    <a:close/>
                    <a:moveTo>
                      <a:pt x="1379" y="1700"/>
                    </a:moveTo>
                    <a:lnTo>
                      <a:pt x="1379" y="1702"/>
                    </a:lnTo>
                    <a:lnTo>
                      <a:pt x="1379" y="1700"/>
                    </a:lnTo>
                    <a:close/>
                    <a:moveTo>
                      <a:pt x="978" y="1517"/>
                    </a:moveTo>
                    <a:lnTo>
                      <a:pt x="980" y="1517"/>
                    </a:lnTo>
                    <a:lnTo>
                      <a:pt x="980" y="1518"/>
                    </a:lnTo>
                    <a:lnTo>
                      <a:pt x="978" y="1518"/>
                    </a:lnTo>
                    <a:lnTo>
                      <a:pt x="978" y="1517"/>
                    </a:lnTo>
                    <a:close/>
                    <a:moveTo>
                      <a:pt x="1383" y="1702"/>
                    </a:moveTo>
                    <a:lnTo>
                      <a:pt x="1383" y="1704"/>
                    </a:lnTo>
                    <a:lnTo>
                      <a:pt x="1383" y="1702"/>
                    </a:lnTo>
                    <a:close/>
                    <a:moveTo>
                      <a:pt x="633" y="1005"/>
                    </a:moveTo>
                    <a:lnTo>
                      <a:pt x="633" y="1007"/>
                    </a:lnTo>
                    <a:lnTo>
                      <a:pt x="633" y="1005"/>
                    </a:lnTo>
                    <a:close/>
                    <a:moveTo>
                      <a:pt x="997" y="994"/>
                    </a:moveTo>
                    <a:lnTo>
                      <a:pt x="997" y="996"/>
                    </a:lnTo>
                    <a:lnTo>
                      <a:pt x="997" y="994"/>
                    </a:lnTo>
                    <a:close/>
                    <a:moveTo>
                      <a:pt x="1188" y="1639"/>
                    </a:moveTo>
                    <a:lnTo>
                      <a:pt x="1188" y="1641"/>
                    </a:lnTo>
                    <a:lnTo>
                      <a:pt x="1188" y="1639"/>
                    </a:lnTo>
                    <a:close/>
                    <a:moveTo>
                      <a:pt x="1165" y="1255"/>
                    </a:moveTo>
                    <a:lnTo>
                      <a:pt x="1167" y="1255"/>
                    </a:lnTo>
                    <a:lnTo>
                      <a:pt x="1167" y="1257"/>
                    </a:lnTo>
                    <a:lnTo>
                      <a:pt x="1165" y="1257"/>
                    </a:lnTo>
                    <a:lnTo>
                      <a:pt x="1165" y="1255"/>
                    </a:lnTo>
                    <a:close/>
                    <a:moveTo>
                      <a:pt x="1180" y="1265"/>
                    </a:moveTo>
                    <a:lnTo>
                      <a:pt x="1182" y="1265"/>
                    </a:lnTo>
                    <a:lnTo>
                      <a:pt x="1180" y="1265"/>
                    </a:lnTo>
                    <a:close/>
                    <a:moveTo>
                      <a:pt x="1211" y="1705"/>
                    </a:moveTo>
                    <a:lnTo>
                      <a:pt x="1211" y="1707"/>
                    </a:lnTo>
                    <a:lnTo>
                      <a:pt x="1211" y="1705"/>
                    </a:lnTo>
                    <a:close/>
                    <a:moveTo>
                      <a:pt x="761" y="1305"/>
                    </a:moveTo>
                    <a:lnTo>
                      <a:pt x="761" y="1307"/>
                    </a:lnTo>
                    <a:lnTo>
                      <a:pt x="761" y="1305"/>
                    </a:lnTo>
                    <a:close/>
                    <a:moveTo>
                      <a:pt x="978" y="1518"/>
                    </a:moveTo>
                    <a:lnTo>
                      <a:pt x="980" y="1518"/>
                    </a:lnTo>
                    <a:lnTo>
                      <a:pt x="978" y="1518"/>
                    </a:lnTo>
                    <a:close/>
                    <a:moveTo>
                      <a:pt x="1301" y="1625"/>
                    </a:moveTo>
                    <a:lnTo>
                      <a:pt x="1302" y="1625"/>
                    </a:lnTo>
                    <a:lnTo>
                      <a:pt x="1301" y="1625"/>
                    </a:lnTo>
                    <a:close/>
                    <a:moveTo>
                      <a:pt x="1102" y="1244"/>
                    </a:moveTo>
                    <a:lnTo>
                      <a:pt x="1102" y="1246"/>
                    </a:lnTo>
                    <a:lnTo>
                      <a:pt x="1102" y="1244"/>
                    </a:lnTo>
                    <a:close/>
                    <a:moveTo>
                      <a:pt x="1161" y="1255"/>
                    </a:moveTo>
                    <a:lnTo>
                      <a:pt x="1161" y="1257"/>
                    </a:lnTo>
                    <a:lnTo>
                      <a:pt x="1161" y="1255"/>
                    </a:lnTo>
                    <a:close/>
                    <a:moveTo>
                      <a:pt x="1333" y="1623"/>
                    </a:moveTo>
                    <a:lnTo>
                      <a:pt x="1335" y="1623"/>
                    </a:lnTo>
                    <a:lnTo>
                      <a:pt x="1333" y="1623"/>
                    </a:lnTo>
                    <a:close/>
                    <a:moveTo>
                      <a:pt x="559" y="1022"/>
                    </a:moveTo>
                    <a:lnTo>
                      <a:pt x="559" y="1024"/>
                    </a:lnTo>
                    <a:lnTo>
                      <a:pt x="559" y="1022"/>
                    </a:lnTo>
                    <a:close/>
                    <a:moveTo>
                      <a:pt x="528" y="1122"/>
                    </a:moveTo>
                    <a:lnTo>
                      <a:pt x="530" y="1122"/>
                    </a:lnTo>
                    <a:lnTo>
                      <a:pt x="528" y="1122"/>
                    </a:lnTo>
                    <a:close/>
                    <a:moveTo>
                      <a:pt x="259" y="822"/>
                    </a:moveTo>
                    <a:lnTo>
                      <a:pt x="261" y="822"/>
                    </a:lnTo>
                    <a:lnTo>
                      <a:pt x="259" y="822"/>
                    </a:lnTo>
                    <a:close/>
                    <a:moveTo>
                      <a:pt x="1211" y="1696"/>
                    </a:moveTo>
                    <a:lnTo>
                      <a:pt x="1213" y="1696"/>
                    </a:lnTo>
                    <a:lnTo>
                      <a:pt x="1211" y="1696"/>
                    </a:lnTo>
                    <a:close/>
                    <a:moveTo>
                      <a:pt x="976" y="1459"/>
                    </a:moveTo>
                    <a:lnTo>
                      <a:pt x="978" y="1459"/>
                    </a:lnTo>
                    <a:lnTo>
                      <a:pt x="978" y="1461"/>
                    </a:lnTo>
                    <a:lnTo>
                      <a:pt x="976" y="1461"/>
                    </a:lnTo>
                    <a:lnTo>
                      <a:pt x="976" y="1459"/>
                    </a:lnTo>
                    <a:close/>
                    <a:moveTo>
                      <a:pt x="841" y="1675"/>
                    </a:moveTo>
                    <a:lnTo>
                      <a:pt x="841" y="1677"/>
                    </a:lnTo>
                    <a:lnTo>
                      <a:pt x="841" y="1675"/>
                    </a:lnTo>
                    <a:close/>
                    <a:moveTo>
                      <a:pt x="1083" y="1232"/>
                    </a:moveTo>
                    <a:lnTo>
                      <a:pt x="1085" y="1232"/>
                    </a:lnTo>
                    <a:lnTo>
                      <a:pt x="1083" y="1232"/>
                    </a:lnTo>
                    <a:close/>
                    <a:moveTo>
                      <a:pt x="1285" y="1637"/>
                    </a:moveTo>
                    <a:lnTo>
                      <a:pt x="1287" y="1637"/>
                    </a:lnTo>
                    <a:lnTo>
                      <a:pt x="1285" y="1637"/>
                    </a:lnTo>
                    <a:close/>
                    <a:moveTo>
                      <a:pt x="1289" y="1501"/>
                    </a:moveTo>
                    <a:lnTo>
                      <a:pt x="1291" y="1501"/>
                    </a:lnTo>
                    <a:lnTo>
                      <a:pt x="1289" y="1501"/>
                    </a:lnTo>
                    <a:close/>
                    <a:moveTo>
                      <a:pt x="1137" y="1341"/>
                    </a:moveTo>
                    <a:lnTo>
                      <a:pt x="1138" y="1341"/>
                    </a:lnTo>
                    <a:lnTo>
                      <a:pt x="1137" y="1341"/>
                    </a:lnTo>
                    <a:close/>
                    <a:moveTo>
                      <a:pt x="820" y="1228"/>
                    </a:moveTo>
                    <a:lnTo>
                      <a:pt x="822" y="1228"/>
                    </a:lnTo>
                    <a:lnTo>
                      <a:pt x="820" y="1228"/>
                    </a:lnTo>
                    <a:close/>
                    <a:moveTo>
                      <a:pt x="679" y="1034"/>
                    </a:moveTo>
                    <a:lnTo>
                      <a:pt x="681" y="1034"/>
                    </a:lnTo>
                    <a:lnTo>
                      <a:pt x="681" y="1036"/>
                    </a:lnTo>
                    <a:lnTo>
                      <a:pt x="679" y="1036"/>
                    </a:lnTo>
                    <a:lnTo>
                      <a:pt x="679" y="1034"/>
                    </a:lnTo>
                    <a:close/>
                    <a:moveTo>
                      <a:pt x="685" y="1051"/>
                    </a:moveTo>
                    <a:lnTo>
                      <a:pt x="687" y="1051"/>
                    </a:lnTo>
                    <a:lnTo>
                      <a:pt x="685" y="1051"/>
                    </a:lnTo>
                    <a:close/>
                    <a:moveTo>
                      <a:pt x="246" y="1003"/>
                    </a:moveTo>
                    <a:lnTo>
                      <a:pt x="246" y="1005"/>
                    </a:lnTo>
                    <a:lnTo>
                      <a:pt x="246" y="1003"/>
                    </a:lnTo>
                    <a:close/>
                    <a:moveTo>
                      <a:pt x="1062" y="1171"/>
                    </a:moveTo>
                    <a:lnTo>
                      <a:pt x="1062" y="1173"/>
                    </a:lnTo>
                    <a:lnTo>
                      <a:pt x="1062" y="1171"/>
                    </a:lnTo>
                    <a:close/>
                    <a:moveTo>
                      <a:pt x="1354" y="1704"/>
                    </a:moveTo>
                    <a:lnTo>
                      <a:pt x="1356" y="1704"/>
                    </a:lnTo>
                    <a:lnTo>
                      <a:pt x="1354" y="1704"/>
                    </a:lnTo>
                    <a:close/>
                    <a:moveTo>
                      <a:pt x="1119" y="1711"/>
                    </a:moveTo>
                    <a:lnTo>
                      <a:pt x="1119" y="1713"/>
                    </a:lnTo>
                    <a:lnTo>
                      <a:pt x="1119" y="1711"/>
                    </a:lnTo>
                    <a:close/>
                    <a:moveTo>
                      <a:pt x="1129" y="1331"/>
                    </a:moveTo>
                    <a:lnTo>
                      <a:pt x="1129" y="1333"/>
                    </a:lnTo>
                    <a:lnTo>
                      <a:pt x="1129" y="1331"/>
                    </a:lnTo>
                    <a:close/>
                    <a:moveTo>
                      <a:pt x="1281" y="1637"/>
                    </a:moveTo>
                    <a:lnTo>
                      <a:pt x="1281" y="1639"/>
                    </a:lnTo>
                    <a:lnTo>
                      <a:pt x="1281" y="1637"/>
                    </a:lnTo>
                    <a:close/>
                    <a:moveTo>
                      <a:pt x="932" y="1232"/>
                    </a:moveTo>
                    <a:lnTo>
                      <a:pt x="934" y="1232"/>
                    </a:lnTo>
                    <a:lnTo>
                      <a:pt x="932" y="1232"/>
                    </a:lnTo>
                    <a:close/>
                    <a:moveTo>
                      <a:pt x="1175" y="982"/>
                    </a:moveTo>
                    <a:lnTo>
                      <a:pt x="1175" y="984"/>
                    </a:lnTo>
                    <a:lnTo>
                      <a:pt x="1175" y="982"/>
                    </a:lnTo>
                    <a:close/>
                    <a:moveTo>
                      <a:pt x="721" y="1011"/>
                    </a:moveTo>
                    <a:lnTo>
                      <a:pt x="721" y="1013"/>
                    </a:lnTo>
                    <a:lnTo>
                      <a:pt x="721" y="1011"/>
                    </a:lnTo>
                    <a:close/>
                    <a:moveTo>
                      <a:pt x="189" y="1578"/>
                    </a:moveTo>
                    <a:lnTo>
                      <a:pt x="191" y="1578"/>
                    </a:lnTo>
                    <a:lnTo>
                      <a:pt x="189" y="1578"/>
                    </a:lnTo>
                    <a:close/>
                    <a:moveTo>
                      <a:pt x="971" y="1492"/>
                    </a:moveTo>
                    <a:lnTo>
                      <a:pt x="973" y="1492"/>
                    </a:lnTo>
                    <a:lnTo>
                      <a:pt x="971" y="1492"/>
                    </a:lnTo>
                    <a:close/>
                    <a:moveTo>
                      <a:pt x="250" y="858"/>
                    </a:moveTo>
                    <a:lnTo>
                      <a:pt x="250" y="860"/>
                    </a:lnTo>
                    <a:lnTo>
                      <a:pt x="250" y="858"/>
                    </a:lnTo>
                    <a:close/>
                    <a:moveTo>
                      <a:pt x="629" y="973"/>
                    </a:moveTo>
                    <a:lnTo>
                      <a:pt x="631" y="973"/>
                    </a:lnTo>
                    <a:lnTo>
                      <a:pt x="631" y="975"/>
                    </a:lnTo>
                    <a:lnTo>
                      <a:pt x="629" y="975"/>
                    </a:lnTo>
                    <a:lnTo>
                      <a:pt x="629" y="973"/>
                    </a:lnTo>
                    <a:close/>
                    <a:moveTo>
                      <a:pt x="242" y="885"/>
                    </a:moveTo>
                    <a:lnTo>
                      <a:pt x="244" y="885"/>
                    </a:lnTo>
                    <a:lnTo>
                      <a:pt x="244" y="887"/>
                    </a:lnTo>
                    <a:lnTo>
                      <a:pt x="242" y="887"/>
                    </a:lnTo>
                    <a:lnTo>
                      <a:pt x="242" y="885"/>
                    </a:lnTo>
                    <a:close/>
                    <a:moveTo>
                      <a:pt x="641" y="1049"/>
                    </a:moveTo>
                    <a:lnTo>
                      <a:pt x="641" y="1051"/>
                    </a:lnTo>
                    <a:lnTo>
                      <a:pt x="641" y="1049"/>
                    </a:lnTo>
                    <a:close/>
                    <a:moveTo>
                      <a:pt x="837" y="1679"/>
                    </a:moveTo>
                    <a:lnTo>
                      <a:pt x="839" y="1679"/>
                    </a:lnTo>
                    <a:lnTo>
                      <a:pt x="839" y="1681"/>
                    </a:lnTo>
                    <a:lnTo>
                      <a:pt x="837" y="1681"/>
                    </a:lnTo>
                    <a:lnTo>
                      <a:pt x="837" y="1679"/>
                    </a:lnTo>
                    <a:close/>
                    <a:moveTo>
                      <a:pt x="1119" y="1713"/>
                    </a:moveTo>
                    <a:lnTo>
                      <a:pt x="1121" y="1713"/>
                    </a:lnTo>
                    <a:lnTo>
                      <a:pt x="1121" y="1715"/>
                    </a:lnTo>
                    <a:lnTo>
                      <a:pt x="1119" y="1715"/>
                    </a:lnTo>
                    <a:lnTo>
                      <a:pt x="1119" y="1713"/>
                    </a:lnTo>
                    <a:close/>
                    <a:moveTo>
                      <a:pt x="976" y="1429"/>
                    </a:moveTo>
                    <a:lnTo>
                      <a:pt x="976" y="1431"/>
                    </a:lnTo>
                    <a:lnTo>
                      <a:pt x="976" y="1429"/>
                    </a:lnTo>
                    <a:close/>
                    <a:moveTo>
                      <a:pt x="158" y="982"/>
                    </a:moveTo>
                    <a:lnTo>
                      <a:pt x="160" y="982"/>
                    </a:lnTo>
                    <a:lnTo>
                      <a:pt x="160" y="984"/>
                    </a:lnTo>
                    <a:lnTo>
                      <a:pt x="158" y="984"/>
                    </a:lnTo>
                    <a:lnTo>
                      <a:pt x="158" y="982"/>
                    </a:lnTo>
                    <a:close/>
                    <a:moveTo>
                      <a:pt x="620" y="965"/>
                    </a:moveTo>
                    <a:lnTo>
                      <a:pt x="620" y="967"/>
                    </a:lnTo>
                    <a:lnTo>
                      <a:pt x="620" y="965"/>
                    </a:lnTo>
                    <a:close/>
                    <a:moveTo>
                      <a:pt x="986" y="1585"/>
                    </a:moveTo>
                    <a:lnTo>
                      <a:pt x="988" y="1585"/>
                    </a:lnTo>
                    <a:lnTo>
                      <a:pt x="986" y="1585"/>
                    </a:lnTo>
                    <a:close/>
                    <a:moveTo>
                      <a:pt x="967" y="1812"/>
                    </a:moveTo>
                    <a:lnTo>
                      <a:pt x="967" y="1814"/>
                    </a:lnTo>
                    <a:lnTo>
                      <a:pt x="967" y="1812"/>
                    </a:lnTo>
                    <a:close/>
                    <a:moveTo>
                      <a:pt x="692" y="1047"/>
                    </a:moveTo>
                    <a:lnTo>
                      <a:pt x="692" y="1049"/>
                    </a:lnTo>
                    <a:lnTo>
                      <a:pt x="692" y="1047"/>
                    </a:lnTo>
                    <a:close/>
                    <a:moveTo>
                      <a:pt x="530" y="1106"/>
                    </a:moveTo>
                    <a:lnTo>
                      <a:pt x="530" y="1108"/>
                    </a:lnTo>
                    <a:lnTo>
                      <a:pt x="530" y="1106"/>
                    </a:lnTo>
                    <a:close/>
                    <a:moveTo>
                      <a:pt x="1276" y="1637"/>
                    </a:moveTo>
                    <a:lnTo>
                      <a:pt x="1276" y="1639"/>
                    </a:lnTo>
                    <a:lnTo>
                      <a:pt x="1276" y="1637"/>
                    </a:lnTo>
                    <a:close/>
                    <a:moveTo>
                      <a:pt x="273" y="1009"/>
                    </a:moveTo>
                    <a:lnTo>
                      <a:pt x="273" y="1011"/>
                    </a:lnTo>
                    <a:lnTo>
                      <a:pt x="273" y="1009"/>
                    </a:lnTo>
                    <a:close/>
                    <a:moveTo>
                      <a:pt x="280" y="1005"/>
                    </a:moveTo>
                    <a:lnTo>
                      <a:pt x="280" y="1007"/>
                    </a:lnTo>
                    <a:lnTo>
                      <a:pt x="280" y="1005"/>
                    </a:lnTo>
                    <a:close/>
                    <a:moveTo>
                      <a:pt x="509" y="1083"/>
                    </a:moveTo>
                    <a:lnTo>
                      <a:pt x="511" y="1083"/>
                    </a:lnTo>
                    <a:lnTo>
                      <a:pt x="509" y="1083"/>
                    </a:lnTo>
                    <a:close/>
                    <a:moveTo>
                      <a:pt x="681" y="1034"/>
                    </a:moveTo>
                    <a:lnTo>
                      <a:pt x="681" y="1036"/>
                    </a:lnTo>
                    <a:lnTo>
                      <a:pt x="681" y="1034"/>
                    </a:lnTo>
                    <a:close/>
                    <a:moveTo>
                      <a:pt x="755" y="1400"/>
                    </a:moveTo>
                    <a:lnTo>
                      <a:pt x="755" y="1402"/>
                    </a:lnTo>
                    <a:lnTo>
                      <a:pt x="755" y="1400"/>
                    </a:lnTo>
                    <a:close/>
                    <a:moveTo>
                      <a:pt x="244" y="881"/>
                    </a:moveTo>
                    <a:lnTo>
                      <a:pt x="244" y="883"/>
                    </a:lnTo>
                    <a:lnTo>
                      <a:pt x="244" y="881"/>
                    </a:lnTo>
                    <a:close/>
                    <a:moveTo>
                      <a:pt x="227" y="982"/>
                    </a:moveTo>
                    <a:lnTo>
                      <a:pt x="227" y="984"/>
                    </a:lnTo>
                    <a:lnTo>
                      <a:pt x="227" y="982"/>
                    </a:lnTo>
                    <a:close/>
                    <a:moveTo>
                      <a:pt x="235" y="1627"/>
                    </a:moveTo>
                    <a:lnTo>
                      <a:pt x="236" y="1627"/>
                    </a:lnTo>
                    <a:lnTo>
                      <a:pt x="235" y="1627"/>
                    </a:lnTo>
                    <a:close/>
                    <a:moveTo>
                      <a:pt x="534" y="1057"/>
                    </a:moveTo>
                    <a:lnTo>
                      <a:pt x="534" y="1059"/>
                    </a:lnTo>
                    <a:lnTo>
                      <a:pt x="534" y="1057"/>
                    </a:lnTo>
                    <a:close/>
                    <a:moveTo>
                      <a:pt x="1278" y="1637"/>
                    </a:moveTo>
                    <a:lnTo>
                      <a:pt x="1278" y="1639"/>
                    </a:lnTo>
                    <a:lnTo>
                      <a:pt x="1278" y="1637"/>
                    </a:lnTo>
                    <a:close/>
                    <a:moveTo>
                      <a:pt x="1211" y="1702"/>
                    </a:moveTo>
                    <a:lnTo>
                      <a:pt x="1213" y="1702"/>
                    </a:lnTo>
                    <a:lnTo>
                      <a:pt x="1213" y="1704"/>
                    </a:lnTo>
                    <a:lnTo>
                      <a:pt x="1211" y="1704"/>
                    </a:lnTo>
                    <a:lnTo>
                      <a:pt x="1211" y="1702"/>
                    </a:lnTo>
                    <a:close/>
                    <a:moveTo>
                      <a:pt x="973" y="1480"/>
                    </a:moveTo>
                    <a:lnTo>
                      <a:pt x="973" y="1482"/>
                    </a:lnTo>
                    <a:lnTo>
                      <a:pt x="973" y="1480"/>
                    </a:lnTo>
                    <a:close/>
                    <a:moveTo>
                      <a:pt x="1390" y="1677"/>
                    </a:moveTo>
                    <a:lnTo>
                      <a:pt x="1390" y="1679"/>
                    </a:lnTo>
                    <a:lnTo>
                      <a:pt x="1390" y="1677"/>
                    </a:lnTo>
                    <a:close/>
                    <a:moveTo>
                      <a:pt x="770" y="1284"/>
                    </a:moveTo>
                    <a:lnTo>
                      <a:pt x="772" y="1284"/>
                    </a:lnTo>
                    <a:lnTo>
                      <a:pt x="770" y="1284"/>
                    </a:lnTo>
                    <a:close/>
                    <a:moveTo>
                      <a:pt x="1220" y="1725"/>
                    </a:moveTo>
                    <a:lnTo>
                      <a:pt x="1222" y="1725"/>
                    </a:lnTo>
                    <a:lnTo>
                      <a:pt x="1220" y="172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6" name="Freeform 35">
                <a:extLst>
                  <a:ext uri="{FF2B5EF4-FFF2-40B4-BE49-F238E27FC236}">
                    <a16:creationId xmlns:a16="http://schemas.microsoft.com/office/drawing/2014/main" id="{0203E112-93C2-5657-2D0D-D41F0A16E14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0755" y="-4511189"/>
                <a:ext cx="9015499" cy="2119981"/>
              </a:xfrm>
              <a:custGeom>
                <a:avLst/>
                <a:gdLst>
                  <a:gd name="T0" fmla="*/ 1291 w 5722"/>
                  <a:gd name="T1" fmla="*/ 849 h 1343"/>
                  <a:gd name="T2" fmla="*/ 1361 w 5722"/>
                  <a:gd name="T3" fmla="*/ 915 h 1343"/>
                  <a:gd name="T4" fmla="*/ 1617 w 5722"/>
                  <a:gd name="T5" fmla="*/ 852 h 1343"/>
                  <a:gd name="T6" fmla="*/ 1561 w 5722"/>
                  <a:gd name="T7" fmla="*/ 887 h 1343"/>
                  <a:gd name="T8" fmla="*/ 1514 w 5722"/>
                  <a:gd name="T9" fmla="*/ 936 h 1343"/>
                  <a:gd name="T10" fmla="*/ 1481 w 5722"/>
                  <a:gd name="T11" fmla="*/ 999 h 1343"/>
                  <a:gd name="T12" fmla="*/ 1481 w 5722"/>
                  <a:gd name="T13" fmla="*/ 965 h 1343"/>
                  <a:gd name="T14" fmla="*/ 1466 w 5722"/>
                  <a:gd name="T15" fmla="*/ 997 h 1343"/>
                  <a:gd name="T16" fmla="*/ 1476 w 5722"/>
                  <a:gd name="T17" fmla="*/ 1047 h 1343"/>
                  <a:gd name="T18" fmla="*/ 1417 w 5722"/>
                  <a:gd name="T19" fmla="*/ 1097 h 1343"/>
                  <a:gd name="T20" fmla="*/ 1409 w 5722"/>
                  <a:gd name="T21" fmla="*/ 1232 h 1343"/>
                  <a:gd name="T22" fmla="*/ 1350 w 5722"/>
                  <a:gd name="T23" fmla="*/ 1146 h 1343"/>
                  <a:gd name="T24" fmla="*/ 1266 w 5722"/>
                  <a:gd name="T25" fmla="*/ 1154 h 1343"/>
                  <a:gd name="T26" fmla="*/ 1159 w 5722"/>
                  <a:gd name="T27" fmla="*/ 1173 h 1343"/>
                  <a:gd name="T28" fmla="*/ 1106 w 5722"/>
                  <a:gd name="T29" fmla="*/ 1192 h 1343"/>
                  <a:gd name="T30" fmla="*/ 749 w 5722"/>
                  <a:gd name="T31" fmla="*/ 1015 h 1343"/>
                  <a:gd name="T32" fmla="*/ 717 w 5722"/>
                  <a:gd name="T33" fmla="*/ 809 h 1343"/>
                  <a:gd name="T34" fmla="*/ 787 w 5722"/>
                  <a:gd name="T35" fmla="*/ 751 h 1343"/>
                  <a:gd name="T36" fmla="*/ 612 w 5722"/>
                  <a:gd name="T37" fmla="*/ 591 h 1343"/>
                  <a:gd name="T38" fmla="*/ 560 w 5722"/>
                  <a:gd name="T39" fmla="*/ 507 h 1343"/>
                  <a:gd name="T40" fmla="*/ 513 w 5722"/>
                  <a:gd name="T41" fmla="*/ 499 h 1343"/>
                  <a:gd name="T42" fmla="*/ 358 w 5722"/>
                  <a:gd name="T43" fmla="*/ 421 h 1343"/>
                  <a:gd name="T44" fmla="*/ 326 w 5722"/>
                  <a:gd name="T45" fmla="*/ 446 h 1343"/>
                  <a:gd name="T46" fmla="*/ 284 w 5722"/>
                  <a:gd name="T47" fmla="*/ 423 h 1343"/>
                  <a:gd name="T48" fmla="*/ 234 w 5722"/>
                  <a:gd name="T49" fmla="*/ 507 h 1343"/>
                  <a:gd name="T50" fmla="*/ 145 w 5722"/>
                  <a:gd name="T51" fmla="*/ 572 h 1343"/>
                  <a:gd name="T52" fmla="*/ 173 w 5722"/>
                  <a:gd name="T53" fmla="*/ 528 h 1343"/>
                  <a:gd name="T54" fmla="*/ 108 w 5722"/>
                  <a:gd name="T55" fmla="*/ 425 h 1343"/>
                  <a:gd name="T56" fmla="*/ 82 w 5722"/>
                  <a:gd name="T57" fmla="*/ 347 h 1343"/>
                  <a:gd name="T58" fmla="*/ 51 w 5722"/>
                  <a:gd name="T59" fmla="*/ 225 h 1343"/>
                  <a:gd name="T60" fmla="*/ 91 w 5722"/>
                  <a:gd name="T61" fmla="*/ 99 h 1343"/>
                  <a:gd name="T62" fmla="*/ 206 w 5722"/>
                  <a:gd name="T63" fmla="*/ 30 h 1343"/>
                  <a:gd name="T64" fmla="*/ 373 w 5722"/>
                  <a:gd name="T65" fmla="*/ 64 h 1343"/>
                  <a:gd name="T66" fmla="*/ 227 w 5722"/>
                  <a:gd name="T67" fmla="*/ 530 h 1343"/>
                  <a:gd name="T68" fmla="*/ 585 w 5722"/>
                  <a:gd name="T69" fmla="*/ 604 h 1343"/>
                  <a:gd name="T70" fmla="*/ 541 w 5722"/>
                  <a:gd name="T71" fmla="*/ 517 h 1343"/>
                  <a:gd name="T72" fmla="*/ 557 w 5722"/>
                  <a:gd name="T73" fmla="*/ 524 h 1343"/>
                  <a:gd name="T74" fmla="*/ 537 w 5722"/>
                  <a:gd name="T75" fmla="*/ 538 h 1343"/>
                  <a:gd name="T76" fmla="*/ 557 w 5722"/>
                  <a:gd name="T77" fmla="*/ 538 h 1343"/>
                  <a:gd name="T78" fmla="*/ 68 w 5722"/>
                  <a:gd name="T79" fmla="*/ 419 h 1343"/>
                  <a:gd name="T80" fmla="*/ 251 w 5722"/>
                  <a:gd name="T81" fmla="*/ 507 h 1343"/>
                  <a:gd name="T82" fmla="*/ 154 w 5722"/>
                  <a:gd name="T83" fmla="*/ 1289 h 1343"/>
                  <a:gd name="T84" fmla="*/ 1277 w 5722"/>
                  <a:gd name="T85" fmla="*/ 774 h 1343"/>
                  <a:gd name="T86" fmla="*/ 597 w 5722"/>
                  <a:gd name="T87" fmla="*/ 589 h 1343"/>
                  <a:gd name="T88" fmla="*/ 1603 w 5722"/>
                  <a:gd name="T89" fmla="*/ 860 h 1343"/>
                  <a:gd name="T90" fmla="*/ 101 w 5722"/>
                  <a:gd name="T91" fmla="*/ 328 h 1343"/>
                  <a:gd name="T92" fmla="*/ 576 w 5722"/>
                  <a:gd name="T93" fmla="*/ 599 h 1343"/>
                  <a:gd name="T94" fmla="*/ 335 w 5722"/>
                  <a:gd name="T95" fmla="*/ 446 h 1343"/>
                  <a:gd name="T96" fmla="*/ 5526 w 5722"/>
                  <a:gd name="T97" fmla="*/ 677 h 1343"/>
                  <a:gd name="T98" fmla="*/ 581 w 5722"/>
                  <a:gd name="T99" fmla="*/ 551 h 1343"/>
                  <a:gd name="T100" fmla="*/ 1251 w 5722"/>
                  <a:gd name="T101" fmla="*/ 797 h 1343"/>
                  <a:gd name="T102" fmla="*/ 1455 w 5722"/>
                  <a:gd name="T103" fmla="*/ 1064 h 1343"/>
                  <a:gd name="T104" fmla="*/ 5614 w 5722"/>
                  <a:gd name="T105" fmla="*/ 677 h 1343"/>
                  <a:gd name="T106" fmla="*/ 103 w 5722"/>
                  <a:gd name="T107" fmla="*/ 61 h 1343"/>
                  <a:gd name="T108" fmla="*/ 465 w 5722"/>
                  <a:gd name="T109" fmla="*/ 459 h 1343"/>
                  <a:gd name="T110" fmla="*/ 1499 w 5722"/>
                  <a:gd name="T111" fmla="*/ 973 h 1343"/>
                  <a:gd name="T112" fmla="*/ 379 w 5722"/>
                  <a:gd name="T113" fmla="*/ 438 h 1343"/>
                  <a:gd name="T114" fmla="*/ 72 w 5722"/>
                  <a:gd name="T115" fmla="*/ 345 h 1343"/>
                  <a:gd name="T116" fmla="*/ 1392 w 5722"/>
                  <a:gd name="T117" fmla="*/ 1244 h 1343"/>
                  <a:gd name="T118" fmla="*/ 1270 w 5722"/>
                  <a:gd name="T119" fmla="*/ 1162 h 1343"/>
                  <a:gd name="T120" fmla="*/ 381 w 5722"/>
                  <a:gd name="T121" fmla="*/ 433 h 1343"/>
                  <a:gd name="T122" fmla="*/ 1481 w 5722"/>
                  <a:gd name="T123" fmla="*/ 999 h 1343"/>
                  <a:gd name="T124" fmla="*/ 78 w 5722"/>
                  <a:gd name="T125" fmla="*/ 456 h 1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22" h="1343">
                    <a:moveTo>
                      <a:pt x="1262" y="776"/>
                    </a:moveTo>
                    <a:lnTo>
                      <a:pt x="1264" y="776"/>
                    </a:lnTo>
                    <a:lnTo>
                      <a:pt x="1262" y="776"/>
                    </a:lnTo>
                    <a:lnTo>
                      <a:pt x="1260" y="778"/>
                    </a:lnTo>
                    <a:lnTo>
                      <a:pt x="1258" y="778"/>
                    </a:lnTo>
                    <a:lnTo>
                      <a:pt x="1256" y="780"/>
                    </a:lnTo>
                    <a:lnTo>
                      <a:pt x="1254" y="780"/>
                    </a:lnTo>
                    <a:lnTo>
                      <a:pt x="1247" y="782"/>
                    </a:lnTo>
                    <a:lnTo>
                      <a:pt x="1243" y="786"/>
                    </a:lnTo>
                    <a:lnTo>
                      <a:pt x="1239" y="789"/>
                    </a:lnTo>
                    <a:lnTo>
                      <a:pt x="1235" y="793"/>
                    </a:lnTo>
                    <a:lnTo>
                      <a:pt x="1233" y="795"/>
                    </a:lnTo>
                    <a:lnTo>
                      <a:pt x="1232" y="797"/>
                    </a:lnTo>
                    <a:lnTo>
                      <a:pt x="1230" y="799"/>
                    </a:lnTo>
                    <a:lnTo>
                      <a:pt x="1228" y="801"/>
                    </a:lnTo>
                    <a:lnTo>
                      <a:pt x="1226" y="801"/>
                    </a:lnTo>
                    <a:lnTo>
                      <a:pt x="1224" y="805"/>
                    </a:lnTo>
                    <a:lnTo>
                      <a:pt x="1222" y="805"/>
                    </a:lnTo>
                    <a:lnTo>
                      <a:pt x="1224" y="805"/>
                    </a:lnTo>
                    <a:lnTo>
                      <a:pt x="1222" y="805"/>
                    </a:lnTo>
                    <a:lnTo>
                      <a:pt x="1224" y="807"/>
                    </a:lnTo>
                    <a:lnTo>
                      <a:pt x="1226" y="807"/>
                    </a:lnTo>
                    <a:lnTo>
                      <a:pt x="1228" y="807"/>
                    </a:lnTo>
                    <a:lnTo>
                      <a:pt x="1232" y="805"/>
                    </a:lnTo>
                    <a:lnTo>
                      <a:pt x="1235" y="803"/>
                    </a:lnTo>
                    <a:lnTo>
                      <a:pt x="1237" y="801"/>
                    </a:lnTo>
                    <a:lnTo>
                      <a:pt x="1237" y="803"/>
                    </a:lnTo>
                    <a:lnTo>
                      <a:pt x="1239" y="803"/>
                    </a:lnTo>
                    <a:lnTo>
                      <a:pt x="1239" y="801"/>
                    </a:lnTo>
                    <a:lnTo>
                      <a:pt x="1241" y="801"/>
                    </a:lnTo>
                    <a:lnTo>
                      <a:pt x="1243" y="799"/>
                    </a:lnTo>
                    <a:lnTo>
                      <a:pt x="1243" y="801"/>
                    </a:lnTo>
                    <a:lnTo>
                      <a:pt x="1245" y="801"/>
                    </a:lnTo>
                    <a:lnTo>
                      <a:pt x="1243" y="801"/>
                    </a:lnTo>
                    <a:lnTo>
                      <a:pt x="1243" y="803"/>
                    </a:lnTo>
                    <a:lnTo>
                      <a:pt x="1243" y="805"/>
                    </a:lnTo>
                    <a:lnTo>
                      <a:pt x="1243" y="807"/>
                    </a:lnTo>
                    <a:lnTo>
                      <a:pt x="1241" y="807"/>
                    </a:lnTo>
                    <a:lnTo>
                      <a:pt x="1241" y="809"/>
                    </a:lnTo>
                    <a:lnTo>
                      <a:pt x="1243" y="809"/>
                    </a:lnTo>
                    <a:lnTo>
                      <a:pt x="1245" y="807"/>
                    </a:lnTo>
                    <a:lnTo>
                      <a:pt x="1247" y="809"/>
                    </a:lnTo>
                    <a:lnTo>
                      <a:pt x="1249" y="809"/>
                    </a:lnTo>
                    <a:lnTo>
                      <a:pt x="1251" y="809"/>
                    </a:lnTo>
                    <a:lnTo>
                      <a:pt x="1256" y="807"/>
                    </a:lnTo>
                    <a:lnTo>
                      <a:pt x="1258" y="805"/>
                    </a:lnTo>
                    <a:lnTo>
                      <a:pt x="1260" y="803"/>
                    </a:lnTo>
                    <a:lnTo>
                      <a:pt x="1262" y="803"/>
                    </a:lnTo>
                    <a:lnTo>
                      <a:pt x="1264" y="803"/>
                    </a:lnTo>
                    <a:lnTo>
                      <a:pt x="1266" y="803"/>
                    </a:lnTo>
                    <a:lnTo>
                      <a:pt x="1268" y="801"/>
                    </a:lnTo>
                    <a:lnTo>
                      <a:pt x="1270" y="799"/>
                    </a:lnTo>
                    <a:lnTo>
                      <a:pt x="1272" y="799"/>
                    </a:lnTo>
                    <a:lnTo>
                      <a:pt x="1274" y="797"/>
                    </a:lnTo>
                    <a:lnTo>
                      <a:pt x="1275" y="795"/>
                    </a:lnTo>
                    <a:lnTo>
                      <a:pt x="1277" y="793"/>
                    </a:lnTo>
                    <a:lnTo>
                      <a:pt x="1279" y="793"/>
                    </a:lnTo>
                    <a:lnTo>
                      <a:pt x="1281" y="789"/>
                    </a:lnTo>
                    <a:lnTo>
                      <a:pt x="1285" y="788"/>
                    </a:lnTo>
                    <a:lnTo>
                      <a:pt x="1289" y="788"/>
                    </a:lnTo>
                    <a:lnTo>
                      <a:pt x="1293" y="788"/>
                    </a:lnTo>
                    <a:lnTo>
                      <a:pt x="1293" y="789"/>
                    </a:lnTo>
                    <a:lnTo>
                      <a:pt x="1291" y="789"/>
                    </a:lnTo>
                    <a:lnTo>
                      <a:pt x="1289" y="789"/>
                    </a:lnTo>
                    <a:lnTo>
                      <a:pt x="1289" y="791"/>
                    </a:lnTo>
                    <a:lnTo>
                      <a:pt x="1287" y="791"/>
                    </a:lnTo>
                    <a:lnTo>
                      <a:pt x="1285" y="793"/>
                    </a:lnTo>
                    <a:lnTo>
                      <a:pt x="1285" y="795"/>
                    </a:lnTo>
                    <a:lnTo>
                      <a:pt x="1283" y="795"/>
                    </a:lnTo>
                    <a:lnTo>
                      <a:pt x="1283" y="797"/>
                    </a:lnTo>
                    <a:lnTo>
                      <a:pt x="1281" y="799"/>
                    </a:lnTo>
                    <a:lnTo>
                      <a:pt x="1281" y="803"/>
                    </a:lnTo>
                    <a:lnTo>
                      <a:pt x="1281" y="805"/>
                    </a:lnTo>
                    <a:lnTo>
                      <a:pt x="1279" y="805"/>
                    </a:lnTo>
                    <a:lnTo>
                      <a:pt x="1281" y="805"/>
                    </a:lnTo>
                    <a:lnTo>
                      <a:pt x="1281" y="803"/>
                    </a:lnTo>
                    <a:lnTo>
                      <a:pt x="1283" y="803"/>
                    </a:lnTo>
                    <a:lnTo>
                      <a:pt x="1285" y="801"/>
                    </a:lnTo>
                    <a:lnTo>
                      <a:pt x="1285" y="799"/>
                    </a:lnTo>
                    <a:lnTo>
                      <a:pt x="1287" y="799"/>
                    </a:lnTo>
                    <a:lnTo>
                      <a:pt x="1285" y="801"/>
                    </a:lnTo>
                    <a:lnTo>
                      <a:pt x="1283" y="803"/>
                    </a:lnTo>
                    <a:lnTo>
                      <a:pt x="1285" y="801"/>
                    </a:lnTo>
                    <a:lnTo>
                      <a:pt x="1287" y="801"/>
                    </a:lnTo>
                    <a:lnTo>
                      <a:pt x="1289" y="801"/>
                    </a:lnTo>
                    <a:lnTo>
                      <a:pt x="1291" y="801"/>
                    </a:lnTo>
                    <a:lnTo>
                      <a:pt x="1293" y="803"/>
                    </a:lnTo>
                    <a:lnTo>
                      <a:pt x="1294" y="803"/>
                    </a:lnTo>
                    <a:lnTo>
                      <a:pt x="1294" y="805"/>
                    </a:lnTo>
                    <a:lnTo>
                      <a:pt x="1296" y="807"/>
                    </a:lnTo>
                    <a:lnTo>
                      <a:pt x="1296" y="809"/>
                    </a:lnTo>
                    <a:lnTo>
                      <a:pt x="1298" y="809"/>
                    </a:lnTo>
                    <a:lnTo>
                      <a:pt x="1298" y="810"/>
                    </a:lnTo>
                    <a:lnTo>
                      <a:pt x="1300" y="810"/>
                    </a:lnTo>
                    <a:lnTo>
                      <a:pt x="1302" y="810"/>
                    </a:lnTo>
                    <a:lnTo>
                      <a:pt x="1304" y="810"/>
                    </a:lnTo>
                    <a:lnTo>
                      <a:pt x="1306" y="812"/>
                    </a:lnTo>
                    <a:lnTo>
                      <a:pt x="1308" y="810"/>
                    </a:lnTo>
                    <a:lnTo>
                      <a:pt x="1308" y="812"/>
                    </a:lnTo>
                    <a:lnTo>
                      <a:pt x="1310" y="812"/>
                    </a:lnTo>
                    <a:lnTo>
                      <a:pt x="1312" y="809"/>
                    </a:lnTo>
                    <a:lnTo>
                      <a:pt x="1314" y="810"/>
                    </a:lnTo>
                    <a:lnTo>
                      <a:pt x="1314" y="809"/>
                    </a:lnTo>
                    <a:lnTo>
                      <a:pt x="1317" y="807"/>
                    </a:lnTo>
                    <a:lnTo>
                      <a:pt x="1319" y="807"/>
                    </a:lnTo>
                    <a:lnTo>
                      <a:pt x="1321" y="807"/>
                    </a:lnTo>
                    <a:lnTo>
                      <a:pt x="1327" y="807"/>
                    </a:lnTo>
                    <a:lnTo>
                      <a:pt x="1331" y="805"/>
                    </a:lnTo>
                    <a:lnTo>
                      <a:pt x="1336" y="805"/>
                    </a:lnTo>
                    <a:lnTo>
                      <a:pt x="1335" y="807"/>
                    </a:lnTo>
                    <a:lnTo>
                      <a:pt x="1335" y="810"/>
                    </a:lnTo>
                    <a:lnTo>
                      <a:pt x="1336" y="810"/>
                    </a:lnTo>
                    <a:lnTo>
                      <a:pt x="1338" y="810"/>
                    </a:lnTo>
                    <a:lnTo>
                      <a:pt x="1338" y="812"/>
                    </a:lnTo>
                    <a:lnTo>
                      <a:pt x="1340" y="810"/>
                    </a:lnTo>
                    <a:lnTo>
                      <a:pt x="1342" y="810"/>
                    </a:lnTo>
                    <a:lnTo>
                      <a:pt x="1342" y="812"/>
                    </a:lnTo>
                    <a:lnTo>
                      <a:pt x="1344" y="812"/>
                    </a:lnTo>
                    <a:lnTo>
                      <a:pt x="1344" y="810"/>
                    </a:lnTo>
                    <a:lnTo>
                      <a:pt x="1346" y="810"/>
                    </a:lnTo>
                    <a:lnTo>
                      <a:pt x="1348" y="810"/>
                    </a:lnTo>
                    <a:lnTo>
                      <a:pt x="1350" y="810"/>
                    </a:lnTo>
                    <a:lnTo>
                      <a:pt x="1350" y="812"/>
                    </a:lnTo>
                    <a:lnTo>
                      <a:pt x="1350" y="814"/>
                    </a:lnTo>
                    <a:lnTo>
                      <a:pt x="1350" y="816"/>
                    </a:lnTo>
                    <a:lnTo>
                      <a:pt x="1350" y="818"/>
                    </a:lnTo>
                    <a:lnTo>
                      <a:pt x="1352" y="818"/>
                    </a:lnTo>
                    <a:lnTo>
                      <a:pt x="1352" y="820"/>
                    </a:lnTo>
                    <a:lnTo>
                      <a:pt x="1354" y="820"/>
                    </a:lnTo>
                    <a:lnTo>
                      <a:pt x="1356" y="820"/>
                    </a:lnTo>
                    <a:lnTo>
                      <a:pt x="1357" y="820"/>
                    </a:lnTo>
                    <a:lnTo>
                      <a:pt x="1359" y="820"/>
                    </a:lnTo>
                    <a:lnTo>
                      <a:pt x="1361" y="822"/>
                    </a:lnTo>
                    <a:lnTo>
                      <a:pt x="1359" y="824"/>
                    </a:lnTo>
                    <a:lnTo>
                      <a:pt x="1357" y="824"/>
                    </a:lnTo>
                    <a:lnTo>
                      <a:pt x="1356" y="824"/>
                    </a:lnTo>
                    <a:lnTo>
                      <a:pt x="1354" y="824"/>
                    </a:lnTo>
                    <a:lnTo>
                      <a:pt x="1354" y="822"/>
                    </a:lnTo>
                    <a:lnTo>
                      <a:pt x="1354" y="824"/>
                    </a:lnTo>
                    <a:lnTo>
                      <a:pt x="1354" y="822"/>
                    </a:lnTo>
                    <a:lnTo>
                      <a:pt x="1354" y="824"/>
                    </a:lnTo>
                    <a:lnTo>
                      <a:pt x="1354" y="822"/>
                    </a:lnTo>
                    <a:lnTo>
                      <a:pt x="1352" y="824"/>
                    </a:lnTo>
                    <a:lnTo>
                      <a:pt x="1350" y="824"/>
                    </a:lnTo>
                    <a:lnTo>
                      <a:pt x="1350" y="822"/>
                    </a:lnTo>
                    <a:lnTo>
                      <a:pt x="1348" y="822"/>
                    </a:lnTo>
                    <a:lnTo>
                      <a:pt x="1350" y="824"/>
                    </a:lnTo>
                    <a:lnTo>
                      <a:pt x="1348" y="822"/>
                    </a:lnTo>
                    <a:lnTo>
                      <a:pt x="1346" y="822"/>
                    </a:lnTo>
                    <a:lnTo>
                      <a:pt x="1348" y="822"/>
                    </a:lnTo>
                    <a:lnTo>
                      <a:pt x="1346" y="822"/>
                    </a:lnTo>
                    <a:lnTo>
                      <a:pt x="1344" y="822"/>
                    </a:lnTo>
                    <a:lnTo>
                      <a:pt x="1344" y="824"/>
                    </a:lnTo>
                    <a:lnTo>
                      <a:pt x="1342" y="822"/>
                    </a:lnTo>
                    <a:lnTo>
                      <a:pt x="1340" y="820"/>
                    </a:lnTo>
                    <a:lnTo>
                      <a:pt x="1340" y="822"/>
                    </a:lnTo>
                    <a:lnTo>
                      <a:pt x="1340" y="824"/>
                    </a:lnTo>
                    <a:lnTo>
                      <a:pt x="1340" y="826"/>
                    </a:lnTo>
                    <a:lnTo>
                      <a:pt x="1338" y="826"/>
                    </a:lnTo>
                    <a:lnTo>
                      <a:pt x="1338" y="824"/>
                    </a:lnTo>
                    <a:lnTo>
                      <a:pt x="1336" y="824"/>
                    </a:lnTo>
                    <a:lnTo>
                      <a:pt x="1335" y="822"/>
                    </a:lnTo>
                    <a:lnTo>
                      <a:pt x="1333" y="820"/>
                    </a:lnTo>
                    <a:lnTo>
                      <a:pt x="1333" y="822"/>
                    </a:lnTo>
                    <a:lnTo>
                      <a:pt x="1333" y="820"/>
                    </a:lnTo>
                    <a:lnTo>
                      <a:pt x="1331" y="820"/>
                    </a:lnTo>
                    <a:lnTo>
                      <a:pt x="1329" y="820"/>
                    </a:lnTo>
                    <a:lnTo>
                      <a:pt x="1327" y="820"/>
                    </a:lnTo>
                    <a:lnTo>
                      <a:pt x="1327" y="822"/>
                    </a:lnTo>
                    <a:lnTo>
                      <a:pt x="1325" y="824"/>
                    </a:lnTo>
                    <a:lnTo>
                      <a:pt x="1323" y="822"/>
                    </a:lnTo>
                    <a:lnTo>
                      <a:pt x="1323" y="824"/>
                    </a:lnTo>
                    <a:lnTo>
                      <a:pt x="1321" y="822"/>
                    </a:lnTo>
                    <a:lnTo>
                      <a:pt x="1321" y="824"/>
                    </a:lnTo>
                    <a:lnTo>
                      <a:pt x="1317" y="824"/>
                    </a:lnTo>
                    <a:lnTo>
                      <a:pt x="1315" y="824"/>
                    </a:lnTo>
                    <a:lnTo>
                      <a:pt x="1314" y="828"/>
                    </a:lnTo>
                    <a:lnTo>
                      <a:pt x="1312" y="828"/>
                    </a:lnTo>
                    <a:lnTo>
                      <a:pt x="1312" y="830"/>
                    </a:lnTo>
                    <a:lnTo>
                      <a:pt x="1310" y="830"/>
                    </a:lnTo>
                    <a:lnTo>
                      <a:pt x="1310" y="831"/>
                    </a:lnTo>
                    <a:lnTo>
                      <a:pt x="1308" y="830"/>
                    </a:lnTo>
                    <a:lnTo>
                      <a:pt x="1310" y="830"/>
                    </a:lnTo>
                    <a:lnTo>
                      <a:pt x="1310" y="828"/>
                    </a:lnTo>
                    <a:lnTo>
                      <a:pt x="1312" y="828"/>
                    </a:lnTo>
                    <a:lnTo>
                      <a:pt x="1310" y="828"/>
                    </a:lnTo>
                    <a:lnTo>
                      <a:pt x="1312" y="826"/>
                    </a:lnTo>
                    <a:lnTo>
                      <a:pt x="1312" y="824"/>
                    </a:lnTo>
                    <a:lnTo>
                      <a:pt x="1310" y="824"/>
                    </a:lnTo>
                    <a:lnTo>
                      <a:pt x="1310" y="826"/>
                    </a:lnTo>
                    <a:lnTo>
                      <a:pt x="1308" y="826"/>
                    </a:lnTo>
                    <a:lnTo>
                      <a:pt x="1308" y="828"/>
                    </a:lnTo>
                    <a:lnTo>
                      <a:pt x="1306" y="828"/>
                    </a:lnTo>
                    <a:lnTo>
                      <a:pt x="1306" y="830"/>
                    </a:lnTo>
                    <a:lnTo>
                      <a:pt x="1304" y="830"/>
                    </a:lnTo>
                    <a:lnTo>
                      <a:pt x="1304" y="828"/>
                    </a:lnTo>
                    <a:lnTo>
                      <a:pt x="1304" y="826"/>
                    </a:lnTo>
                    <a:lnTo>
                      <a:pt x="1304" y="824"/>
                    </a:lnTo>
                    <a:lnTo>
                      <a:pt x="1304" y="826"/>
                    </a:lnTo>
                    <a:lnTo>
                      <a:pt x="1302" y="826"/>
                    </a:lnTo>
                    <a:lnTo>
                      <a:pt x="1302" y="828"/>
                    </a:lnTo>
                    <a:lnTo>
                      <a:pt x="1304" y="828"/>
                    </a:lnTo>
                    <a:lnTo>
                      <a:pt x="1302" y="830"/>
                    </a:lnTo>
                    <a:lnTo>
                      <a:pt x="1300" y="830"/>
                    </a:lnTo>
                    <a:lnTo>
                      <a:pt x="1298" y="835"/>
                    </a:lnTo>
                    <a:lnTo>
                      <a:pt x="1298" y="837"/>
                    </a:lnTo>
                    <a:lnTo>
                      <a:pt x="1296" y="839"/>
                    </a:lnTo>
                    <a:lnTo>
                      <a:pt x="1294" y="841"/>
                    </a:lnTo>
                    <a:lnTo>
                      <a:pt x="1294" y="843"/>
                    </a:lnTo>
                    <a:lnTo>
                      <a:pt x="1294" y="845"/>
                    </a:lnTo>
                    <a:lnTo>
                      <a:pt x="1293" y="845"/>
                    </a:lnTo>
                    <a:lnTo>
                      <a:pt x="1294" y="845"/>
                    </a:lnTo>
                    <a:lnTo>
                      <a:pt x="1293" y="845"/>
                    </a:lnTo>
                    <a:lnTo>
                      <a:pt x="1291" y="847"/>
                    </a:lnTo>
                    <a:lnTo>
                      <a:pt x="1291" y="849"/>
                    </a:lnTo>
                    <a:lnTo>
                      <a:pt x="1289" y="849"/>
                    </a:lnTo>
                    <a:lnTo>
                      <a:pt x="1289" y="851"/>
                    </a:lnTo>
                    <a:lnTo>
                      <a:pt x="1289" y="852"/>
                    </a:lnTo>
                    <a:lnTo>
                      <a:pt x="1287" y="852"/>
                    </a:lnTo>
                    <a:lnTo>
                      <a:pt x="1287" y="854"/>
                    </a:lnTo>
                    <a:lnTo>
                      <a:pt x="1289" y="856"/>
                    </a:lnTo>
                    <a:lnTo>
                      <a:pt x="1289" y="854"/>
                    </a:lnTo>
                    <a:lnTo>
                      <a:pt x="1291" y="854"/>
                    </a:lnTo>
                    <a:lnTo>
                      <a:pt x="1293" y="852"/>
                    </a:lnTo>
                    <a:lnTo>
                      <a:pt x="1293" y="851"/>
                    </a:lnTo>
                    <a:lnTo>
                      <a:pt x="1294" y="849"/>
                    </a:lnTo>
                    <a:lnTo>
                      <a:pt x="1296" y="849"/>
                    </a:lnTo>
                    <a:lnTo>
                      <a:pt x="1296" y="847"/>
                    </a:lnTo>
                    <a:lnTo>
                      <a:pt x="1298" y="849"/>
                    </a:lnTo>
                    <a:lnTo>
                      <a:pt x="1298" y="847"/>
                    </a:lnTo>
                    <a:lnTo>
                      <a:pt x="1298" y="845"/>
                    </a:lnTo>
                    <a:lnTo>
                      <a:pt x="1298" y="843"/>
                    </a:lnTo>
                    <a:lnTo>
                      <a:pt x="1300" y="843"/>
                    </a:lnTo>
                    <a:lnTo>
                      <a:pt x="1300" y="841"/>
                    </a:lnTo>
                    <a:lnTo>
                      <a:pt x="1302" y="841"/>
                    </a:lnTo>
                    <a:lnTo>
                      <a:pt x="1302" y="839"/>
                    </a:lnTo>
                    <a:lnTo>
                      <a:pt x="1304" y="839"/>
                    </a:lnTo>
                    <a:lnTo>
                      <a:pt x="1304" y="841"/>
                    </a:lnTo>
                    <a:lnTo>
                      <a:pt x="1302" y="841"/>
                    </a:lnTo>
                    <a:lnTo>
                      <a:pt x="1304" y="843"/>
                    </a:lnTo>
                    <a:lnTo>
                      <a:pt x="1302" y="843"/>
                    </a:lnTo>
                    <a:lnTo>
                      <a:pt x="1302" y="845"/>
                    </a:lnTo>
                    <a:lnTo>
                      <a:pt x="1300" y="845"/>
                    </a:lnTo>
                    <a:lnTo>
                      <a:pt x="1300" y="847"/>
                    </a:lnTo>
                    <a:lnTo>
                      <a:pt x="1300" y="849"/>
                    </a:lnTo>
                    <a:lnTo>
                      <a:pt x="1298" y="851"/>
                    </a:lnTo>
                    <a:lnTo>
                      <a:pt x="1296" y="854"/>
                    </a:lnTo>
                    <a:lnTo>
                      <a:pt x="1294" y="860"/>
                    </a:lnTo>
                    <a:lnTo>
                      <a:pt x="1296" y="862"/>
                    </a:lnTo>
                    <a:lnTo>
                      <a:pt x="1294" y="864"/>
                    </a:lnTo>
                    <a:lnTo>
                      <a:pt x="1294" y="866"/>
                    </a:lnTo>
                    <a:lnTo>
                      <a:pt x="1293" y="866"/>
                    </a:lnTo>
                    <a:lnTo>
                      <a:pt x="1293" y="870"/>
                    </a:lnTo>
                    <a:lnTo>
                      <a:pt x="1293" y="872"/>
                    </a:lnTo>
                    <a:lnTo>
                      <a:pt x="1293" y="873"/>
                    </a:lnTo>
                    <a:lnTo>
                      <a:pt x="1291" y="877"/>
                    </a:lnTo>
                    <a:lnTo>
                      <a:pt x="1291" y="879"/>
                    </a:lnTo>
                    <a:lnTo>
                      <a:pt x="1291" y="881"/>
                    </a:lnTo>
                    <a:lnTo>
                      <a:pt x="1289" y="883"/>
                    </a:lnTo>
                    <a:lnTo>
                      <a:pt x="1291" y="885"/>
                    </a:lnTo>
                    <a:lnTo>
                      <a:pt x="1289" y="887"/>
                    </a:lnTo>
                    <a:lnTo>
                      <a:pt x="1291" y="887"/>
                    </a:lnTo>
                    <a:lnTo>
                      <a:pt x="1289" y="889"/>
                    </a:lnTo>
                    <a:lnTo>
                      <a:pt x="1291" y="891"/>
                    </a:lnTo>
                    <a:lnTo>
                      <a:pt x="1291" y="893"/>
                    </a:lnTo>
                    <a:lnTo>
                      <a:pt x="1293" y="894"/>
                    </a:lnTo>
                    <a:lnTo>
                      <a:pt x="1291" y="894"/>
                    </a:lnTo>
                    <a:lnTo>
                      <a:pt x="1291" y="896"/>
                    </a:lnTo>
                    <a:lnTo>
                      <a:pt x="1291" y="902"/>
                    </a:lnTo>
                    <a:lnTo>
                      <a:pt x="1291" y="904"/>
                    </a:lnTo>
                    <a:lnTo>
                      <a:pt x="1291" y="906"/>
                    </a:lnTo>
                    <a:lnTo>
                      <a:pt x="1293" y="908"/>
                    </a:lnTo>
                    <a:lnTo>
                      <a:pt x="1293" y="910"/>
                    </a:lnTo>
                    <a:lnTo>
                      <a:pt x="1294" y="913"/>
                    </a:lnTo>
                    <a:lnTo>
                      <a:pt x="1294" y="915"/>
                    </a:lnTo>
                    <a:lnTo>
                      <a:pt x="1296" y="915"/>
                    </a:lnTo>
                    <a:lnTo>
                      <a:pt x="1296" y="917"/>
                    </a:lnTo>
                    <a:lnTo>
                      <a:pt x="1298" y="917"/>
                    </a:lnTo>
                    <a:lnTo>
                      <a:pt x="1296" y="917"/>
                    </a:lnTo>
                    <a:lnTo>
                      <a:pt x="1296" y="919"/>
                    </a:lnTo>
                    <a:lnTo>
                      <a:pt x="1300" y="919"/>
                    </a:lnTo>
                    <a:lnTo>
                      <a:pt x="1302" y="919"/>
                    </a:lnTo>
                    <a:lnTo>
                      <a:pt x="1302" y="917"/>
                    </a:lnTo>
                    <a:lnTo>
                      <a:pt x="1304" y="917"/>
                    </a:lnTo>
                    <a:lnTo>
                      <a:pt x="1308" y="915"/>
                    </a:lnTo>
                    <a:lnTo>
                      <a:pt x="1310" y="912"/>
                    </a:lnTo>
                    <a:lnTo>
                      <a:pt x="1312" y="908"/>
                    </a:lnTo>
                    <a:lnTo>
                      <a:pt x="1314" y="906"/>
                    </a:lnTo>
                    <a:lnTo>
                      <a:pt x="1315" y="904"/>
                    </a:lnTo>
                    <a:lnTo>
                      <a:pt x="1315" y="900"/>
                    </a:lnTo>
                    <a:lnTo>
                      <a:pt x="1317" y="896"/>
                    </a:lnTo>
                    <a:lnTo>
                      <a:pt x="1315" y="891"/>
                    </a:lnTo>
                    <a:lnTo>
                      <a:pt x="1315" y="887"/>
                    </a:lnTo>
                    <a:lnTo>
                      <a:pt x="1314" y="881"/>
                    </a:lnTo>
                    <a:lnTo>
                      <a:pt x="1312" y="875"/>
                    </a:lnTo>
                    <a:lnTo>
                      <a:pt x="1312" y="873"/>
                    </a:lnTo>
                    <a:lnTo>
                      <a:pt x="1314" y="872"/>
                    </a:lnTo>
                    <a:lnTo>
                      <a:pt x="1312" y="868"/>
                    </a:lnTo>
                    <a:lnTo>
                      <a:pt x="1312" y="866"/>
                    </a:lnTo>
                    <a:lnTo>
                      <a:pt x="1314" y="864"/>
                    </a:lnTo>
                    <a:lnTo>
                      <a:pt x="1315" y="860"/>
                    </a:lnTo>
                    <a:lnTo>
                      <a:pt x="1315" y="854"/>
                    </a:lnTo>
                    <a:lnTo>
                      <a:pt x="1315" y="852"/>
                    </a:lnTo>
                    <a:lnTo>
                      <a:pt x="1317" y="851"/>
                    </a:lnTo>
                    <a:lnTo>
                      <a:pt x="1319" y="851"/>
                    </a:lnTo>
                    <a:lnTo>
                      <a:pt x="1319" y="847"/>
                    </a:lnTo>
                    <a:lnTo>
                      <a:pt x="1321" y="845"/>
                    </a:lnTo>
                    <a:lnTo>
                      <a:pt x="1321" y="847"/>
                    </a:lnTo>
                    <a:lnTo>
                      <a:pt x="1323" y="847"/>
                    </a:lnTo>
                    <a:lnTo>
                      <a:pt x="1323" y="845"/>
                    </a:lnTo>
                    <a:lnTo>
                      <a:pt x="1325" y="843"/>
                    </a:lnTo>
                    <a:lnTo>
                      <a:pt x="1325" y="841"/>
                    </a:lnTo>
                    <a:lnTo>
                      <a:pt x="1327" y="841"/>
                    </a:lnTo>
                    <a:lnTo>
                      <a:pt x="1325" y="843"/>
                    </a:lnTo>
                    <a:lnTo>
                      <a:pt x="1327" y="843"/>
                    </a:lnTo>
                    <a:lnTo>
                      <a:pt x="1327" y="845"/>
                    </a:lnTo>
                    <a:lnTo>
                      <a:pt x="1325" y="845"/>
                    </a:lnTo>
                    <a:lnTo>
                      <a:pt x="1327" y="845"/>
                    </a:lnTo>
                    <a:lnTo>
                      <a:pt x="1327" y="847"/>
                    </a:lnTo>
                    <a:lnTo>
                      <a:pt x="1325" y="847"/>
                    </a:lnTo>
                    <a:lnTo>
                      <a:pt x="1325" y="849"/>
                    </a:lnTo>
                    <a:lnTo>
                      <a:pt x="1325" y="851"/>
                    </a:lnTo>
                    <a:lnTo>
                      <a:pt x="1327" y="851"/>
                    </a:lnTo>
                    <a:lnTo>
                      <a:pt x="1327" y="847"/>
                    </a:lnTo>
                    <a:lnTo>
                      <a:pt x="1327" y="845"/>
                    </a:lnTo>
                    <a:lnTo>
                      <a:pt x="1329" y="845"/>
                    </a:lnTo>
                    <a:lnTo>
                      <a:pt x="1329" y="847"/>
                    </a:lnTo>
                    <a:lnTo>
                      <a:pt x="1327" y="849"/>
                    </a:lnTo>
                    <a:lnTo>
                      <a:pt x="1327" y="851"/>
                    </a:lnTo>
                    <a:lnTo>
                      <a:pt x="1327" y="849"/>
                    </a:lnTo>
                    <a:lnTo>
                      <a:pt x="1329" y="849"/>
                    </a:lnTo>
                    <a:lnTo>
                      <a:pt x="1329" y="847"/>
                    </a:lnTo>
                    <a:lnTo>
                      <a:pt x="1331" y="843"/>
                    </a:lnTo>
                    <a:lnTo>
                      <a:pt x="1329" y="839"/>
                    </a:lnTo>
                    <a:lnTo>
                      <a:pt x="1331" y="839"/>
                    </a:lnTo>
                    <a:lnTo>
                      <a:pt x="1331" y="837"/>
                    </a:lnTo>
                    <a:lnTo>
                      <a:pt x="1333" y="837"/>
                    </a:lnTo>
                    <a:lnTo>
                      <a:pt x="1335" y="837"/>
                    </a:lnTo>
                    <a:lnTo>
                      <a:pt x="1336" y="835"/>
                    </a:lnTo>
                    <a:lnTo>
                      <a:pt x="1335" y="835"/>
                    </a:lnTo>
                    <a:lnTo>
                      <a:pt x="1335" y="833"/>
                    </a:lnTo>
                    <a:lnTo>
                      <a:pt x="1335" y="831"/>
                    </a:lnTo>
                    <a:lnTo>
                      <a:pt x="1335" y="830"/>
                    </a:lnTo>
                    <a:lnTo>
                      <a:pt x="1336" y="830"/>
                    </a:lnTo>
                    <a:lnTo>
                      <a:pt x="1336" y="828"/>
                    </a:lnTo>
                    <a:lnTo>
                      <a:pt x="1335" y="828"/>
                    </a:lnTo>
                    <a:lnTo>
                      <a:pt x="1338" y="828"/>
                    </a:lnTo>
                    <a:lnTo>
                      <a:pt x="1340" y="828"/>
                    </a:lnTo>
                    <a:lnTo>
                      <a:pt x="1342" y="830"/>
                    </a:lnTo>
                    <a:lnTo>
                      <a:pt x="1344" y="830"/>
                    </a:lnTo>
                    <a:lnTo>
                      <a:pt x="1346" y="830"/>
                    </a:lnTo>
                    <a:lnTo>
                      <a:pt x="1348" y="830"/>
                    </a:lnTo>
                    <a:lnTo>
                      <a:pt x="1350" y="831"/>
                    </a:lnTo>
                    <a:lnTo>
                      <a:pt x="1350" y="833"/>
                    </a:lnTo>
                    <a:lnTo>
                      <a:pt x="1354" y="833"/>
                    </a:lnTo>
                    <a:lnTo>
                      <a:pt x="1354" y="835"/>
                    </a:lnTo>
                    <a:lnTo>
                      <a:pt x="1356" y="835"/>
                    </a:lnTo>
                    <a:lnTo>
                      <a:pt x="1357" y="837"/>
                    </a:lnTo>
                    <a:lnTo>
                      <a:pt x="1359" y="837"/>
                    </a:lnTo>
                    <a:lnTo>
                      <a:pt x="1361" y="839"/>
                    </a:lnTo>
                    <a:lnTo>
                      <a:pt x="1361" y="841"/>
                    </a:lnTo>
                    <a:lnTo>
                      <a:pt x="1363" y="841"/>
                    </a:lnTo>
                    <a:lnTo>
                      <a:pt x="1363" y="843"/>
                    </a:lnTo>
                    <a:lnTo>
                      <a:pt x="1363" y="845"/>
                    </a:lnTo>
                    <a:lnTo>
                      <a:pt x="1361" y="845"/>
                    </a:lnTo>
                    <a:lnTo>
                      <a:pt x="1361" y="843"/>
                    </a:lnTo>
                    <a:lnTo>
                      <a:pt x="1359" y="845"/>
                    </a:lnTo>
                    <a:lnTo>
                      <a:pt x="1361" y="845"/>
                    </a:lnTo>
                    <a:lnTo>
                      <a:pt x="1359" y="845"/>
                    </a:lnTo>
                    <a:lnTo>
                      <a:pt x="1361" y="847"/>
                    </a:lnTo>
                    <a:lnTo>
                      <a:pt x="1363" y="847"/>
                    </a:lnTo>
                    <a:lnTo>
                      <a:pt x="1363" y="851"/>
                    </a:lnTo>
                    <a:lnTo>
                      <a:pt x="1363" y="854"/>
                    </a:lnTo>
                    <a:lnTo>
                      <a:pt x="1363" y="860"/>
                    </a:lnTo>
                    <a:lnTo>
                      <a:pt x="1361" y="860"/>
                    </a:lnTo>
                    <a:lnTo>
                      <a:pt x="1361" y="862"/>
                    </a:lnTo>
                    <a:lnTo>
                      <a:pt x="1359" y="862"/>
                    </a:lnTo>
                    <a:lnTo>
                      <a:pt x="1361" y="862"/>
                    </a:lnTo>
                    <a:lnTo>
                      <a:pt x="1359" y="860"/>
                    </a:lnTo>
                    <a:lnTo>
                      <a:pt x="1359" y="862"/>
                    </a:lnTo>
                    <a:lnTo>
                      <a:pt x="1359" y="864"/>
                    </a:lnTo>
                    <a:lnTo>
                      <a:pt x="1357" y="866"/>
                    </a:lnTo>
                    <a:lnTo>
                      <a:pt x="1357" y="868"/>
                    </a:lnTo>
                    <a:lnTo>
                      <a:pt x="1356" y="868"/>
                    </a:lnTo>
                    <a:lnTo>
                      <a:pt x="1354" y="868"/>
                    </a:lnTo>
                    <a:lnTo>
                      <a:pt x="1354" y="870"/>
                    </a:lnTo>
                    <a:lnTo>
                      <a:pt x="1354" y="872"/>
                    </a:lnTo>
                    <a:lnTo>
                      <a:pt x="1352" y="872"/>
                    </a:lnTo>
                    <a:lnTo>
                      <a:pt x="1352" y="873"/>
                    </a:lnTo>
                    <a:lnTo>
                      <a:pt x="1354" y="875"/>
                    </a:lnTo>
                    <a:lnTo>
                      <a:pt x="1356" y="875"/>
                    </a:lnTo>
                    <a:lnTo>
                      <a:pt x="1357" y="877"/>
                    </a:lnTo>
                    <a:lnTo>
                      <a:pt x="1359" y="873"/>
                    </a:lnTo>
                    <a:lnTo>
                      <a:pt x="1361" y="872"/>
                    </a:lnTo>
                    <a:lnTo>
                      <a:pt x="1361" y="870"/>
                    </a:lnTo>
                    <a:lnTo>
                      <a:pt x="1363" y="870"/>
                    </a:lnTo>
                    <a:lnTo>
                      <a:pt x="1361" y="870"/>
                    </a:lnTo>
                    <a:lnTo>
                      <a:pt x="1363" y="870"/>
                    </a:lnTo>
                    <a:lnTo>
                      <a:pt x="1363" y="868"/>
                    </a:lnTo>
                    <a:lnTo>
                      <a:pt x="1365" y="868"/>
                    </a:lnTo>
                    <a:lnTo>
                      <a:pt x="1367" y="868"/>
                    </a:lnTo>
                    <a:lnTo>
                      <a:pt x="1367" y="866"/>
                    </a:lnTo>
                    <a:lnTo>
                      <a:pt x="1369" y="866"/>
                    </a:lnTo>
                    <a:lnTo>
                      <a:pt x="1371" y="866"/>
                    </a:lnTo>
                    <a:lnTo>
                      <a:pt x="1371" y="868"/>
                    </a:lnTo>
                    <a:lnTo>
                      <a:pt x="1373" y="872"/>
                    </a:lnTo>
                    <a:lnTo>
                      <a:pt x="1375" y="875"/>
                    </a:lnTo>
                    <a:lnTo>
                      <a:pt x="1375" y="879"/>
                    </a:lnTo>
                    <a:lnTo>
                      <a:pt x="1375" y="885"/>
                    </a:lnTo>
                    <a:lnTo>
                      <a:pt x="1376" y="887"/>
                    </a:lnTo>
                    <a:lnTo>
                      <a:pt x="1376" y="889"/>
                    </a:lnTo>
                    <a:lnTo>
                      <a:pt x="1376" y="891"/>
                    </a:lnTo>
                    <a:lnTo>
                      <a:pt x="1376" y="893"/>
                    </a:lnTo>
                    <a:lnTo>
                      <a:pt x="1376" y="894"/>
                    </a:lnTo>
                    <a:lnTo>
                      <a:pt x="1375" y="898"/>
                    </a:lnTo>
                    <a:lnTo>
                      <a:pt x="1373" y="898"/>
                    </a:lnTo>
                    <a:lnTo>
                      <a:pt x="1371" y="902"/>
                    </a:lnTo>
                    <a:lnTo>
                      <a:pt x="1367" y="904"/>
                    </a:lnTo>
                    <a:lnTo>
                      <a:pt x="1365" y="906"/>
                    </a:lnTo>
                    <a:lnTo>
                      <a:pt x="1365" y="908"/>
                    </a:lnTo>
                    <a:lnTo>
                      <a:pt x="1365" y="910"/>
                    </a:lnTo>
                    <a:lnTo>
                      <a:pt x="1363" y="910"/>
                    </a:lnTo>
                    <a:lnTo>
                      <a:pt x="1365" y="910"/>
                    </a:lnTo>
                    <a:lnTo>
                      <a:pt x="1363" y="912"/>
                    </a:lnTo>
                    <a:lnTo>
                      <a:pt x="1365" y="912"/>
                    </a:lnTo>
                    <a:lnTo>
                      <a:pt x="1363" y="912"/>
                    </a:lnTo>
                    <a:lnTo>
                      <a:pt x="1361" y="913"/>
                    </a:lnTo>
                    <a:lnTo>
                      <a:pt x="1361" y="915"/>
                    </a:lnTo>
                    <a:lnTo>
                      <a:pt x="1359" y="915"/>
                    </a:lnTo>
                    <a:lnTo>
                      <a:pt x="1361" y="915"/>
                    </a:lnTo>
                    <a:lnTo>
                      <a:pt x="1359" y="915"/>
                    </a:lnTo>
                    <a:lnTo>
                      <a:pt x="1359" y="917"/>
                    </a:lnTo>
                    <a:lnTo>
                      <a:pt x="1361" y="915"/>
                    </a:lnTo>
                    <a:lnTo>
                      <a:pt x="1359" y="917"/>
                    </a:lnTo>
                    <a:lnTo>
                      <a:pt x="1361" y="917"/>
                    </a:lnTo>
                    <a:lnTo>
                      <a:pt x="1363" y="917"/>
                    </a:lnTo>
                    <a:lnTo>
                      <a:pt x="1363" y="919"/>
                    </a:lnTo>
                    <a:lnTo>
                      <a:pt x="1367" y="919"/>
                    </a:lnTo>
                    <a:lnTo>
                      <a:pt x="1367" y="921"/>
                    </a:lnTo>
                    <a:lnTo>
                      <a:pt x="1369" y="921"/>
                    </a:lnTo>
                    <a:lnTo>
                      <a:pt x="1369" y="919"/>
                    </a:lnTo>
                    <a:lnTo>
                      <a:pt x="1371" y="919"/>
                    </a:lnTo>
                    <a:lnTo>
                      <a:pt x="1371" y="921"/>
                    </a:lnTo>
                    <a:lnTo>
                      <a:pt x="1373" y="921"/>
                    </a:lnTo>
                    <a:lnTo>
                      <a:pt x="1371" y="921"/>
                    </a:lnTo>
                    <a:lnTo>
                      <a:pt x="1369" y="921"/>
                    </a:lnTo>
                    <a:lnTo>
                      <a:pt x="1367" y="923"/>
                    </a:lnTo>
                    <a:lnTo>
                      <a:pt x="1369" y="923"/>
                    </a:lnTo>
                    <a:lnTo>
                      <a:pt x="1371" y="923"/>
                    </a:lnTo>
                    <a:lnTo>
                      <a:pt x="1371" y="921"/>
                    </a:lnTo>
                    <a:lnTo>
                      <a:pt x="1371" y="923"/>
                    </a:lnTo>
                    <a:lnTo>
                      <a:pt x="1373" y="923"/>
                    </a:lnTo>
                    <a:lnTo>
                      <a:pt x="1376" y="923"/>
                    </a:lnTo>
                    <a:lnTo>
                      <a:pt x="1378" y="923"/>
                    </a:lnTo>
                    <a:lnTo>
                      <a:pt x="1380" y="921"/>
                    </a:lnTo>
                    <a:lnTo>
                      <a:pt x="1384" y="921"/>
                    </a:lnTo>
                    <a:lnTo>
                      <a:pt x="1386" y="921"/>
                    </a:lnTo>
                    <a:lnTo>
                      <a:pt x="1388" y="921"/>
                    </a:lnTo>
                    <a:lnTo>
                      <a:pt x="1390" y="919"/>
                    </a:lnTo>
                    <a:lnTo>
                      <a:pt x="1396" y="915"/>
                    </a:lnTo>
                    <a:lnTo>
                      <a:pt x="1399" y="913"/>
                    </a:lnTo>
                    <a:lnTo>
                      <a:pt x="1401" y="913"/>
                    </a:lnTo>
                    <a:lnTo>
                      <a:pt x="1403" y="913"/>
                    </a:lnTo>
                    <a:lnTo>
                      <a:pt x="1405" y="912"/>
                    </a:lnTo>
                    <a:lnTo>
                      <a:pt x="1411" y="910"/>
                    </a:lnTo>
                    <a:lnTo>
                      <a:pt x="1413" y="908"/>
                    </a:lnTo>
                    <a:lnTo>
                      <a:pt x="1415" y="908"/>
                    </a:lnTo>
                    <a:lnTo>
                      <a:pt x="1413" y="908"/>
                    </a:lnTo>
                    <a:lnTo>
                      <a:pt x="1415" y="908"/>
                    </a:lnTo>
                    <a:lnTo>
                      <a:pt x="1413" y="908"/>
                    </a:lnTo>
                    <a:lnTo>
                      <a:pt x="1415" y="908"/>
                    </a:lnTo>
                    <a:lnTo>
                      <a:pt x="1422" y="904"/>
                    </a:lnTo>
                    <a:lnTo>
                      <a:pt x="1424" y="902"/>
                    </a:lnTo>
                    <a:lnTo>
                      <a:pt x="1426" y="900"/>
                    </a:lnTo>
                    <a:lnTo>
                      <a:pt x="1428" y="900"/>
                    </a:lnTo>
                    <a:lnTo>
                      <a:pt x="1428" y="898"/>
                    </a:lnTo>
                    <a:lnTo>
                      <a:pt x="1430" y="898"/>
                    </a:lnTo>
                    <a:lnTo>
                      <a:pt x="1430" y="896"/>
                    </a:lnTo>
                    <a:lnTo>
                      <a:pt x="1432" y="894"/>
                    </a:lnTo>
                    <a:lnTo>
                      <a:pt x="1434" y="894"/>
                    </a:lnTo>
                    <a:lnTo>
                      <a:pt x="1434" y="893"/>
                    </a:lnTo>
                    <a:lnTo>
                      <a:pt x="1432" y="891"/>
                    </a:lnTo>
                    <a:lnTo>
                      <a:pt x="1430" y="889"/>
                    </a:lnTo>
                    <a:lnTo>
                      <a:pt x="1432" y="887"/>
                    </a:lnTo>
                    <a:lnTo>
                      <a:pt x="1430" y="887"/>
                    </a:lnTo>
                    <a:lnTo>
                      <a:pt x="1430" y="883"/>
                    </a:lnTo>
                    <a:lnTo>
                      <a:pt x="1434" y="883"/>
                    </a:lnTo>
                    <a:lnTo>
                      <a:pt x="1438" y="881"/>
                    </a:lnTo>
                    <a:lnTo>
                      <a:pt x="1445" y="881"/>
                    </a:lnTo>
                    <a:lnTo>
                      <a:pt x="1451" y="881"/>
                    </a:lnTo>
                    <a:lnTo>
                      <a:pt x="1451" y="883"/>
                    </a:lnTo>
                    <a:lnTo>
                      <a:pt x="1455" y="885"/>
                    </a:lnTo>
                    <a:lnTo>
                      <a:pt x="1455" y="883"/>
                    </a:lnTo>
                    <a:lnTo>
                      <a:pt x="1455" y="885"/>
                    </a:lnTo>
                    <a:lnTo>
                      <a:pt x="1457" y="883"/>
                    </a:lnTo>
                    <a:lnTo>
                      <a:pt x="1460" y="883"/>
                    </a:lnTo>
                    <a:lnTo>
                      <a:pt x="1462" y="883"/>
                    </a:lnTo>
                    <a:lnTo>
                      <a:pt x="1464" y="883"/>
                    </a:lnTo>
                    <a:lnTo>
                      <a:pt x="1462" y="883"/>
                    </a:lnTo>
                    <a:lnTo>
                      <a:pt x="1464" y="885"/>
                    </a:lnTo>
                    <a:lnTo>
                      <a:pt x="1464" y="883"/>
                    </a:lnTo>
                    <a:lnTo>
                      <a:pt x="1466" y="883"/>
                    </a:lnTo>
                    <a:lnTo>
                      <a:pt x="1468" y="881"/>
                    </a:lnTo>
                    <a:lnTo>
                      <a:pt x="1468" y="883"/>
                    </a:lnTo>
                    <a:lnTo>
                      <a:pt x="1468" y="881"/>
                    </a:lnTo>
                    <a:lnTo>
                      <a:pt x="1468" y="879"/>
                    </a:lnTo>
                    <a:lnTo>
                      <a:pt x="1470" y="879"/>
                    </a:lnTo>
                    <a:lnTo>
                      <a:pt x="1472" y="877"/>
                    </a:lnTo>
                    <a:lnTo>
                      <a:pt x="1474" y="877"/>
                    </a:lnTo>
                    <a:lnTo>
                      <a:pt x="1476" y="877"/>
                    </a:lnTo>
                    <a:lnTo>
                      <a:pt x="1476" y="875"/>
                    </a:lnTo>
                    <a:lnTo>
                      <a:pt x="1476" y="873"/>
                    </a:lnTo>
                    <a:lnTo>
                      <a:pt x="1476" y="875"/>
                    </a:lnTo>
                    <a:lnTo>
                      <a:pt x="1476" y="872"/>
                    </a:lnTo>
                    <a:lnTo>
                      <a:pt x="1474" y="872"/>
                    </a:lnTo>
                    <a:lnTo>
                      <a:pt x="1474" y="870"/>
                    </a:lnTo>
                    <a:lnTo>
                      <a:pt x="1476" y="870"/>
                    </a:lnTo>
                    <a:lnTo>
                      <a:pt x="1478" y="870"/>
                    </a:lnTo>
                    <a:lnTo>
                      <a:pt x="1478" y="868"/>
                    </a:lnTo>
                    <a:lnTo>
                      <a:pt x="1479" y="868"/>
                    </a:lnTo>
                    <a:lnTo>
                      <a:pt x="1478" y="868"/>
                    </a:lnTo>
                    <a:lnTo>
                      <a:pt x="1476" y="868"/>
                    </a:lnTo>
                    <a:lnTo>
                      <a:pt x="1478" y="868"/>
                    </a:lnTo>
                    <a:lnTo>
                      <a:pt x="1478" y="866"/>
                    </a:lnTo>
                    <a:lnTo>
                      <a:pt x="1476" y="866"/>
                    </a:lnTo>
                    <a:lnTo>
                      <a:pt x="1478" y="866"/>
                    </a:lnTo>
                    <a:lnTo>
                      <a:pt x="1476" y="866"/>
                    </a:lnTo>
                    <a:lnTo>
                      <a:pt x="1474" y="866"/>
                    </a:lnTo>
                    <a:lnTo>
                      <a:pt x="1474" y="868"/>
                    </a:lnTo>
                    <a:lnTo>
                      <a:pt x="1476" y="866"/>
                    </a:lnTo>
                    <a:lnTo>
                      <a:pt x="1476" y="868"/>
                    </a:lnTo>
                    <a:lnTo>
                      <a:pt x="1474" y="868"/>
                    </a:lnTo>
                    <a:lnTo>
                      <a:pt x="1474" y="866"/>
                    </a:lnTo>
                    <a:lnTo>
                      <a:pt x="1476" y="862"/>
                    </a:lnTo>
                    <a:lnTo>
                      <a:pt x="1479" y="862"/>
                    </a:lnTo>
                    <a:lnTo>
                      <a:pt x="1479" y="860"/>
                    </a:lnTo>
                    <a:lnTo>
                      <a:pt x="1478" y="860"/>
                    </a:lnTo>
                    <a:lnTo>
                      <a:pt x="1479" y="860"/>
                    </a:lnTo>
                    <a:lnTo>
                      <a:pt x="1481" y="858"/>
                    </a:lnTo>
                    <a:lnTo>
                      <a:pt x="1483" y="856"/>
                    </a:lnTo>
                    <a:lnTo>
                      <a:pt x="1491" y="849"/>
                    </a:lnTo>
                    <a:lnTo>
                      <a:pt x="1493" y="847"/>
                    </a:lnTo>
                    <a:lnTo>
                      <a:pt x="1495" y="845"/>
                    </a:lnTo>
                    <a:lnTo>
                      <a:pt x="1497" y="845"/>
                    </a:lnTo>
                    <a:lnTo>
                      <a:pt x="1499" y="845"/>
                    </a:lnTo>
                    <a:lnTo>
                      <a:pt x="1508" y="845"/>
                    </a:lnTo>
                    <a:lnTo>
                      <a:pt x="1525" y="845"/>
                    </a:lnTo>
                    <a:lnTo>
                      <a:pt x="1539" y="845"/>
                    </a:lnTo>
                    <a:lnTo>
                      <a:pt x="1550" y="845"/>
                    </a:lnTo>
                    <a:lnTo>
                      <a:pt x="1550" y="843"/>
                    </a:lnTo>
                    <a:lnTo>
                      <a:pt x="1552" y="843"/>
                    </a:lnTo>
                    <a:lnTo>
                      <a:pt x="1552" y="841"/>
                    </a:lnTo>
                    <a:lnTo>
                      <a:pt x="1552" y="839"/>
                    </a:lnTo>
                    <a:lnTo>
                      <a:pt x="1554" y="837"/>
                    </a:lnTo>
                    <a:lnTo>
                      <a:pt x="1554" y="839"/>
                    </a:lnTo>
                    <a:lnTo>
                      <a:pt x="1556" y="839"/>
                    </a:lnTo>
                    <a:lnTo>
                      <a:pt x="1558" y="837"/>
                    </a:lnTo>
                    <a:lnTo>
                      <a:pt x="1560" y="837"/>
                    </a:lnTo>
                    <a:lnTo>
                      <a:pt x="1560" y="839"/>
                    </a:lnTo>
                    <a:lnTo>
                      <a:pt x="1561" y="839"/>
                    </a:lnTo>
                    <a:lnTo>
                      <a:pt x="1561" y="837"/>
                    </a:lnTo>
                    <a:lnTo>
                      <a:pt x="1561" y="835"/>
                    </a:lnTo>
                    <a:lnTo>
                      <a:pt x="1563" y="835"/>
                    </a:lnTo>
                    <a:lnTo>
                      <a:pt x="1563" y="837"/>
                    </a:lnTo>
                    <a:lnTo>
                      <a:pt x="1565" y="835"/>
                    </a:lnTo>
                    <a:lnTo>
                      <a:pt x="1563" y="835"/>
                    </a:lnTo>
                    <a:lnTo>
                      <a:pt x="1563" y="833"/>
                    </a:lnTo>
                    <a:lnTo>
                      <a:pt x="1563" y="831"/>
                    </a:lnTo>
                    <a:lnTo>
                      <a:pt x="1565" y="830"/>
                    </a:lnTo>
                    <a:lnTo>
                      <a:pt x="1567" y="830"/>
                    </a:lnTo>
                    <a:lnTo>
                      <a:pt x="1567" y="828"/>
                    </a:lnTo>
                    <a:lnTo>
                      <a:pt x="1569" y="828"/>
                    </a:lnTo>
                    <a:lnTo>
                      <a:pt x="1567" y="828"/>
                    </a:lnTo>
                    <a:lnTo>
                      <a:pt x="1569" y="826"/>
                    </a:lnTo>
                    <a:lnTo>
                      <a:pt x="1571" y="824"/>
                    </a:lnTo>
                    <a:lnTo>
                      <a:pt x="1569" y="824"/>
                    </a:lnTo>
                    <a:lnTo>
                      <a:pt x="1569" y="822"/>
                    </a:lnTo>
                    <a:lnTo>
                      <a:pt x="1569" y="820"/>
                    </a:lnTo>
                    <a:lnTo>
                      <a:pt x="1571" y="820"/>
                    </a:lnTo>
                    <a:lnTo>
                      <a:pt x="1571" y="818"/>
                    </a:lnTo>
                    <a:lnTo>
                      <a:pt x="1569" y="818"/>
                    </a:lnTo>
                    <a:lnTo>
                      <a:pt x="1571" y="816"/>
                    </a:lnTo>
                    <a:lnTo>
                      <a:pt x="1571" y="814"/>
                    </a:lnTo>
                    <a:lnTo>
                      <a:pt x="1573" y="814"/>
                    </a:lnTo>
                    <a:lnTo>
                      <a:pt x="1573" y="812"/>
                    </a:lnTo>
                    <a:lnTo>
                      <a:pt x="1575" y="807"/>
                    </a:lnTo>
                    <a:lnTo>
                      <a:pt x="1586" y="788"/>
                    </a:lnTo>
                    <a:lnTo>
                      <a:pt x="1588" y="789"/>
                    </a:lnTo>
                    <a:lnTo>
                      <a:pt x="1590" y="789"/>
                    </a:lnTo>
                    <a:lnTo>
                      <a:pt x="1590" y="793"/>
                    </a:lnTo>
                    <a:lnTo>
                      <a:pt x="1592" y="795"/>
                    </a:lnTo>
                    <a:lnTo>
                      <a:pt x="1594" y="793"/>
                    </a:lnTo>
                    <a:lnTo>
                      <a:pt x="1596" y="793"/>
                    </a:lnTo>
                    <a:lnTo>
                      <a:pt x="1598" y="791"/>
                    </a:lnTo>
                    <a:lnTo>
                      <a:pt x="1600" y="793"/>
                    </a:lnTo>
                    <a:lnTo>
                      <a:pt x="1600" y="791"/>
                    </a:lnTo>
                    <a:lnTo>
                      <a:pt x="1602" y="791"/>
                    </a:lnTo>
                    <a:lnTo>
                      <a:pt x="1603" y="791"/>
                    </a:lnTo>
                    <a:lnTo>
                      <a:pt x="1607" y="795"/>
                    </a:lnTo>
                    <a:lnTo>
                      <a:pt x="1607" y="797"/>
                    </a:lnTo>
                    <a:lnTo>
                      <a:pt x="1609" y="797"/>
                    </a:lnTo>
                    <a:lnTo>
                      <a:pt x="1609" y="824"/>
                    </a:lnTo>
                    <a:lnTo>
                      <a:pt x="1609" y="826"/>
                    </a:lnTo>
                    <a:lnTo>
                      <a:pt x="1609" y="828"/>
                    </a:lnTo>
                    <a:lnTo>
                      <a:pt x="1609" y="830"/>
                    </a:lnTo>
                    <a:lnTo>
                      <a:pt x="1611" y="830"/>
                    </a:lnTo>
                    <a:lnTo>
                      <a:pt x="1611" y="831"/>
                    </a:lnTo>
                    <a:lnTo>
                      <a:pt x="1613" y="831"/>
                    </a:lnTo>
                    <a:lnTo>
                      <a:pt x="1615" y="831"/>
                    </a:lnTo>
                    <a:lnTo>
                      <a:pt x="1615" y="833"/>
                    </a:lnTo>
                    <a:lnTo>
                      <a:pt x="1615" y="835"/>
                    </a:lnTo>
                    <a:lnTo>
                      <a:pt x="1615" y="837"/>
                    </a:lnTo>
                    <a:lnTo>
                      <a:pt x="1615" y="839"/>
                    </a:lnTo>
                    <a:lnTo>
                      <a:pt x="1615" y="841"/>
                    </a:lnTo>
                    <a:lnTo>
                      <a:pt x="1617" y="841"/>
                    </a:lnTo>
                    <a:lnTo>
                      <a:pt x="1619" y="841"/>
                    </a:lnTo>
                    <a:lnTo>
                      <a:pt x="1621" y="843"/>
                    </a:lnTo>
                    <a:lnTo>
                      <a:pt x="1621" y="845"/>
                    </a:lnTo>
                    <a:lnTo>
                      <a:pt x="1622" y="847"/>
                    </a:lnTo>
                    <a:lnTo>
                      <a:pt x="1621" y="847"/>
                    </a:lnTo>
                    <a:lnTo>
                      <a:pt x="1621" y="845"/>
                    </a:lnTo>
                    <a:lnTo>
                      <a:pt x="1621" y="847"/>
                    </a:lnTo>
                    <a:lnTo>
                      <a:pt x="1619" y="847"/>
                    </a:lnTo>
                    <a:lnTo>
                      <a:pt x="1621" y="847"/>
                    </a:lnTo>
                    <a:lnTo>
                      <a:pt x="1619" y="847"/>
                    </a:lnTo>
                    <a:lnTo>
                      <a:pt x="1621" y="847"/>
                    </a:lnTo>
                    <a:lnTo>
                      <a:pt x="1619" y="847"/>
                    </a:lnTo>
                    <a:lnTo>
                      <a:pt x="1621" y="847"/>
                    </a:lnTo>
                    <a:lnTo>
                      <a:pt x="1619" y="847"/>
                    </a:lnTo>
                    <a:lnTo>
                      <a:pt x="1619" y="849"/>
                    </a:lnTo>
                    <a:lnTo>
                      <a:pt x="1621" y="849"/>
                    </a:lnTo>
                    <a:lnTo>
                      <a:pt x="1621" y="847"/>
                    </a:lnTo>
                    <a:lnTo>
                      <a:pt x="1621" y="849"/>
                    </a:lnTo>
                    <a:lnTo>
                      <a:pt x="1621" y="847"/>
                    </a:lnTo>
                    <a:lnTo>
                      <a:pt x="1621" y="849"/>
                    </a:lnTo>
                    <a:lnTo>
                      <a:pt x="1622" y="849"/>
                    </a:lnTo>
                    <a:lnTo>
                      <a:pt x="1621" y="847"/>
                    </a:lnTo>
                    <a:lnTo>
                      <a:pt x="1622" y="847"/>
                    </a:lnTo>
                    <a:lnTo>
                      <a:pt x="1622" y="849"/>
                    </a:lnTo>
                    <a:lnTo>
                      <a:pt x="1622" y="851"/>
                    </a:lnTo>
                    <a:lnTo>
                      <a:pt x="1621" y="851"/>
                    </a:lnTo>
                    <a:lnTo>
                      <a:pt x="1619" y="852"/>
                    </a:lnTo>
                    <a:lnTo>
                      <a:pt x="1617" y="852"/>
                    </a:lnTo>
                    <a:lnTo>
                      <a:pt x="1619" y="852"/>
                    </a:lnTo>
                    <a:lnTo>
                      <a:pt x="1617" y="852"/>
                    </a:lnTo>
                    <a:lnTo>
                      <a:pt x="1617" y="851"/>
                    </a:lnTo>
                    <a:lnTo>
                      <a:pt x="1617" y="852"/>
                    </a:lnTo>
                    <a:lnTo>
                      <a:pt x="1617" y="851"/>
                    </a:lnTo>
                    <a:lnTo>
                      <a:pt x="1615" y="851"/>
                    </a:lnTo>
                    <a:lnTo>
                      <a:pt x="1617" y="851"/>
                    </a:lnTo>
                    <a:lnTo>
                      <a:pt x="1615" y="851"/>
                    </a:lnTo>
                    <a:lnTo>
                      <a:pt x="1615" y="852"/>
                    </a:lnTo>
                    <a:lnTo>
                      <a:pt x="1617" y="852"/>
                    </a:lnTo>
                    <a:lnTo>
                      <a:pt x="1615" y="852"/>
                    </a:lnTo>
                    <a:lnTo>
                      <a:pt x="1617" y="852"/>
                    </a:lnTo>
                    <a:lnTo>
                      <a:pt x="1615" y="852"/>
                    </a:lnTo>
                    <a:lnTo>
                      <a:pt x="1615" y="854"/>
                    </a:lnTo>
                    <a:lnTo>
                      <a:pt x="1615" y="852"/>
                    </a:lnTo>
                    <a:lnTo>
                      <a:pt x="1615" y="854"/>
                    </a:lnTo>
                    <a:lnTo>
                      <a:pt x="1615" y="852"/>
                    </a:lnTo>
                    <a:lnTo>
                      <a:pt x="1615" y="854"/>
                    </a:lnTo>
                    <a:lnTo>
                      <a:pt x="1615" y="852"/>
                    </a:lnTo>
                    <a:lnTo>
                      <a:pt x="1613" y="852"/>
                    </a:lnTo>
                    <a:lnTo>
                      <a:pt x="1613" y="854"/>
                    </a:lnTo>
                    <a:lnTo>
                      <a:pt x="1613" y="856"/>
                    </a:lnTo>
                    <a:lnTo>
                      <a:pt x="1611" y="856"/>
                    </a:lnTo>
                    <a:lnTo>
                      <a:pt x="1611" y="854"/>
                    </a:lnTo>
                    <a:lnTo>
                      <a:pt x="1613" y="854"/>
                    </a:lnTo>
                    <a:lnTo>
                      <a:pt x="1611" y="854"/>
                    </a:lnTo>
                    <a:lnTo>
                      <a:pt x="1611" y="856"/>
                    </a:lnTo>
                    <a:lnTo>
                      <a:pt x="1611" y="854"/>
                    </a:lnTo>
                    <a:lnTo>
                      <a:pt x="1609" y="854"/>
                    </a:lnTo>
                    <a:lnTo>
                      <a:pt x="1611" y="854"/>
                    </a:lnTo>
                    <a:lnTo>
                      <a:pt x="1609" y="854"/>
                    </a:lnTo>
                    <a:lnTo>
                      <a:pt x="1609" y="856"/>
                    </a:lnTo>
                    <a:lnTo>
                      <a:pt x="1609" y="854"/>
                    </a:lnTo>
                    <a:lnTo>
                      <a:pt x="1609" y="856"/>
                    </a:lnTo>
                    <a:lnTo>
                      <a:pt x="1607" y="854"/>
                    </a:lnTo>
                    <a:lnTo>
                      <a:pt x="1609" y="856"/>
                    </a:lnTo>
                    <a:lnTo>
                      <a:pt x="1607" y="856"/>
                    </a:lnTo>
                    <a:lnTo>
                      <a:pt x="1609" y="856"/>
                    </a:lnTo>
                    <a:lnTo>
                      <a:pt x="1607" y="856"/>
                    </a:lnTo>
                    <a:lnTo>
                      <a:pt x="1607" y="858"/>
                    </a:lnTo>
                    <a:lnTo>
                      <a:pt x="1607" y="856"/>
                    </a:lnTo>
                    <a:lnTo>
                      <a:pt x="1607" y="858"/>
                    </a:lnTo>
                    <a:lnTo>
                      <a:pt x="1607" y="856"/>
                    </a:lnTo>
                    <a:lnTo>
                      <a:pt x="1607" y="858"/>
                    </a:lnTo>
                    <a:lnTo>
                      <a:pt x="1607" y="856"/>
                    </a:lnTo>
                    <a:lnTo>
                      <a:pt x="1605" y="856"/>
                    </a:lnTo>
                    <a:lnTo>
                      <a:pt x="1607" y="856"/>
                    </a:lnTo>
                    <a:lnTo>
                      <a:pt x="1605" y="856"/>
                    </a:lnTo>
                    <a:lnTo>
                      <a:pt x="1605" y="858"/>
                    </a:lnTo>
                    <a:lnTo>
                      <a:pt x="1605" y="856"/>
                    </a:lnTo>
                    <a:lnTo>
                      <a:pt x="1607" y="856"/>
                    </a:lnTo>
                    <a:lnTo>
                      <a:pt x="1607" y="858"/>
                    </a:lnTo>
                    <a:lnTo>
                      <a:pt x="1605" y="858"/>
                    </a:lnTo>
                    <a:lnTo>
                      <a:pt x="1605" y="860"/>
                    </a:lnTo>
                    <a:lnTo>
                      <a:pt x="1605" y="858"/>
                    </a:lnTo>
                    <a:lnTo>
                      <a:pt x="1605" y="860"/>
                    </a:lnTo>
                    <a:lnTo>
                      <a:pt x="1605" y="858"/>
                    </a:lnTo>
                    <a:lnTo>
                      <a:pt x="1603" y="858"/>
                    </a:lnTo>
                    <a:lnTo>
                      <a:pt x="1603" y="856"/>
                    </a:lnTo>
                    <a:lnTo>
                      <a:pt x="1605" y="856"/>
                    </a:lnTo>
                    <a:lnTo>
                      <a:pt x="1603" y="856"/>
                    </a:lnTo>
                    <a:lnTo>
                      <a:pt x="1602" y="854"/>
                    </a:lnTo>
                    <a:lnTo>
                      <a:pt x="1603" y="854"/>
                    </a:lnTo>
                    <a:lnTo>
                      <a:pt x="1602" y="854"/>
                    </a:lnTo>
                    <a:lnTo>
                      <a:pt x="1603" y="856"/>
                    </a:lnTo>
                    <a:lnTo>
                      <a:pt x="1602" y="856"/>
                    </a:lnTo>
                    <a:lnTo>
                      <a:pt x="1602" y="854"/>
                    </a:lnTo>
                    <a:lnTo>
                      <a:pt x="1602" y="856"/>
                    </a:lnTo>
                    <a:lnTo>
                      <a:pt x="1600" y="856"/>
                    </a:lnTo>
                    <a:lnTo>
                      <a:pt x="1600" y="858"/>
                    </a:lnTo>
                    <a:lnTo>
                      <a:pt x="1600" y="856"/>
                    </a:lnTo>
                    <a:lnTo>
                      <a:pt x="1598" y="856"/>
                    </a:lnTo>
                    <a:lnTo>
                      <a:pt x="1600" y="856"/>
                    </a:lnTo>
                    <a:lnTo>
                      <a:pt x="1600" y="858"/>
                    </a:lnTo>
                    <a:lnTo>
                      <a:pt x="1598" y="858"/>
                    </a:lnTo>
                    <a:lnTo>
                      <a:pt x="1598" y="856"/>
                    </a:lnTo>
                    <a:lnTo>
                      <a:pt x="1598" y="858"/>
                    </a:lnTo>
                    <a:lnTo>
                      <a:pt x="1596" y="858"/>
                    </a:lnTo>
                    <a:lnTo>
                      <a:pt x="1598" y="858"/>
                    </a:lnTo>
                    <a:lnTo>
                      <a:pt x="1596" y="860"/>
                    </a:lnTo>
                    <a:lnTo>
                      <a:pt x="1598" y="858"/>
                    </a:lnTo>
                    <a:lnTo>
                      <a:pt x="1598" y="860"/>
                    </a:lnTo>
                    <a:lnTo>
                      <a:pt x="1598" y="862"/>
                    </a:lnTo>
                    <a:lnTo>
                      <a:pt x="1596" y="862"/>
                    </a:lnTo>
                    <a:lnTo>
                      <a:pt x="1596" y="860"/>
                    </a:lnTo>
                    <a:lnTo>
                      <a:pt x="1594" y="860"/>
                    </a:lnTo>
                    <a:lnTo>
                      <a:pt x="1592" y="860"/>
                    </a:lnTo>
                    <a:lnTo>
                      <a:pt x="1594" y="860"/>
                    </a:lnTo>
                    <a:lnTo>
                      <a:pt x="1594" y="858"/>
                    </a:lnTo>
                    <a:lnTo>
                      <a:pt x="1594" y="860"/>
                    </a:lnTo>
                    <a:lnTo>
                      <a:pt x="1594" y="858"/>
                    </a:lnTo>
                    <a:lnTo>
                      <a:pt x="1596" y="858"/>
                    </a:lnTo>
                    <a:lnTo>
                      <a:pt x="1594" y="858"/>
                    </a:lnTo>
                    <a:lnTo>
                      <a:pt x="1594" y="856"/>
                    </a:lnTo>
                    <a:lnTo>
                      <a:pt x="1594" y="858"/>
                    </a:lnTo>
                    <a:lnTo>
                      <a:pt x="1594" y="856"/>
                    </a:lnTo>
                    <a:lnTo>
                      <a:pt x="1594" y="858"/>
                    </a:lnTo>
                    <a:lnTo>
                      <a:pt x="1594" y="856"/>
                    </a:lnTo>
                    <a:lnTo>
                      <a:pt x="1594" y="854"/>
                    </a:lnTo>
                    <a:lnTo>
                      <a:pt x="1592" y="852"/>
                    </a:lnTo>
                    <a:lnTo>
                      <a:pt x="1594" y="852"/>
                    </a:lnTo>
                    <a:lnTo>
                      <a:pt x="1592" y="854"/>
                    </a:lnTo>
                    <a:lnTo>
                      <a:pt x="1594" y="854"/>
                    </a:lnTo>
                    <a:lnTo>
                      <a:pt x="1594" y="856"/>
                    </a:lnTo>
                    <a:lnTo>
                      <a:pt x="1592" y="856"/>
                    </a:lnTo>
                    <a:lnTo>
                      <a:pt x="1594" y="856"/>
                    </a:lnTo>
                    <a:lnTo>
                      <a:pt x="1592" y="858"/>
                    </a:lnTo>
                    <a:lnTo>
                      <a:pt x="1592" y="856"/>
                    </a:lnTo>
                    <a:lnTo>
                      <a:pt x="1592" y="858"/>
                    </a:lnTo>
                    <a:lnTo>
                      <a:pt x="1592" y="856"/>
                    </a:lnTo>
                    <a:lnTo>
                      <a:pt x="1592" y="858"/>
                    </a:lnTo>
                    <a:lnTo>
                      <a:pt x="1590" y="858"/>
                    </a:lnTo>
                    <a:lnTo>
                      <a:pt x="1590" y="860"/>
                    </a:lnTo>
                    <a:lnTo>
                      <a:pt x="1590" y="862"/>
                    </a:lnTo>
                    <a:lnTo>
                      <a:pt x="1590" y="864"/>
                    </a:lnTo>
                    <a:lnTo>
                      <a:pt x="1588" y="864"/>
                    </a:lnTo>
                    <a:lnTo>
                      <a:pt x="1588" y="866"/>
                    </a:lnTo>
                    <a:lnTo>
                      <a:pt x="1590" y="866"/>
                    </a:lnTo>
                    <a:lnTo>
                      <a:pt x="1588" y="866"/>
                    </a:lnTo>
                    <a:lnTo>
                      <a:pt x="1588" y="868"/>
                    </a:lnTo>
                    <a:lnTo>
                      <a:pt x="1586" y="868"/>
                    </a:lnTo>
                    <a:lnTo>
                      <a:pt x="1586" y="870"/>
                    </a:lnTo>
                    <a:lnTo>
                      <a:pt x="1586" y="868"/>
                    </a:lnTo>
                    <a:lnTo>
                      <a:pt x="1586" y="870"/>
                    </a:lnTo>
                    <a:lnTo>
                      <a:pt x="1586" y="868"/>
                    </a:lnTo>
                    <a:lnTo>
                      <a:pt x="1588" y="866"/>
                    </a:lnTo>
                    <a:lnTo>
                      <a:pt x="1586" y="866"/>
                    </a:lnTo>
                    <a:lnTo>
                      <a:pt x="1586" y="868"/>
                    </a:lnTo>
                    <a:lnTo>
                      <a:pt x="1586" y="866"/>
                    </a:lnTo>
                    <a:lnTo>
                      <a:pt x="1586" y="868"/>
                    </a:lnTo>
                    <a:lnTo>
                      <a:pt x="1584" y="868"/>
                    </a:lnTo>
                    <a:lnTo>
                      <a:pt x="1586" y="868"/>
                    </a:lnTo>
                    <a:lnTo>
                      <a:pt x="1584" y="868"/>
                    </a:lnTo>
                    <a:lnTo>
                      <a:pt x="1584" y="866"/>
                    </a:lnTo>
                    <a:lnTo>
                      <a:pt x="1584" y="868"/>
                    </a:lnTo>
                    <a:lnTo>
                      <a:pt x="1584" y="866"/>
                    </a:lnTo>
                    <a:lnTo>
                      <a:pt x="1584" y="868"/>
                    </a:lnTo>
                    <a:lnTo>
                      <a:pt x="1582" y="868"/>
                    </a:lnTo>
                    <a:lnTo>
                      <a:pt x="1582" y="870"/>
                    </a:lnTo>
                    <a:lnTo>
                      <a:pt x="1582" y="872"/>
                    </a:lnTo>
                    <a:lnTo>
                      <a:pt x="1582" y="870"/>
                    </a:lnTo>
                    <a:lnTo>
                      <a:pt x="1581" y="870"/>
                    </a:lnTo>
                    <a:lnTo>
                      <a:pt x="1581" y="868"/>
                    </a:lnTo>
                    <a:lnTo>
                      <a:pt x="1582" y="868"/>
                    </a:lnTo>
                    <a:lnTo>
                      <a:pt x="1582" y="866"/>
                    </a:lnTo>
                    <a:lnTo>
                      <a:pt x="1581" y="868"/>
                    </a:lnTo>
                    <a:lnTo>
                      <a:pt x="1581" y="870"/>
                    </a:lnTo>
                    <a:lnTo>
                      <a:pt x="1581" y="872"/>
                    </a:lnTo>
                    <a:lnTo>
                      <a:pt x="1581" y="870"/>
                    </a:lnTo>
                    <a:lnTo>
                      <a:pt x="1581" y="872"/>
                    </a:lnTo>
                    <a:lnTo>
                      <a:pt x="1581" y="870"/>
                    </a:lnTo>
                    <a:lnTo>
                      <a:pt x="1581" y="872"/>
                    </a:lnTo>
                    <a:lnTo>
                      <a:pt x="1581" y="870"/>
                    </a:lnTo>
                    <a:lnTo>
                      <a:pt x="1579" y="870"/>
                    </a:lnTo>
                    <a:lnTo>
                      <a:pt x="1581" y="870"/>
                    </a:lnTo>
                    <a:lnTo>
                      <a:pt x="1581" y="868"/>
                    </a:lnTo>
                    <a:lnTo>
                      <a:pt x="1579" y="870"/>
                    </a:lnTo>
                    <a:lnTo>
                      <a:pt x="1579" y="868"/>
                    </a:lnTo>
                    <a:lnTo>
                      <a:pt x="1579" y="870"/>
                    </a:lnTo>
                    <a:lnTo>
                      <a:pt x="1579" y="872"/>
                    </a:lnTo>
                    <a:lnTo>
                      <a:pt x="1579" y="870"/>
                    </a:lnTo>
                    <a:lnTo>
                      <a:pt x="1579" y="872"/>
                    </a:lnTo>
                    <a:lnTo>
                      <a:pt x="1579" y="873"/>
                    </a:lnTo>
                    <a:lnTo>
                      <a:pt x="1579" y="872"/>
                    </a:lnTo>
                    <a:lnTo>
                      <a:pt x="1579" y="873"/>
                    </a:lnTo>
                    <a:lnTo>
                      <a:pt x="1579" y="872"/>
                    </a:lnTo>
                    <a:lnTo>
                      <a:pt x="1577" y="872"/>
                    </a:lnTo>
                    <a:lnTo>
                      <a:pt x="1577" y="870"/>
                    </a:lnTo>
                    <a:lnTo>
                      <a:pt x="1577" y="872"/>
                    </a:lnTo>
                    <a:lnTo>
                      <a:pt x="1577" y="873"/>
                    </a:lnTo>
                    <a:lnTo>
                      <a:pt x="1579" y="873"/>
                    </a:lnTo>
                    <a:lnTo>
                      <a:pt x="1577" y="873"/>
                    </a:lnTo>
                    <a:lnTo>
                      <a:pt x="1577" y="872"/>
                    </a:lnTo>
                    <a:lnTo>
                      <a:pt x="1577" y="870"/>
                    </a:lnTo>
                    <a:lnTo>
                      <a:pt x="1575" y="872"/>
                    </a:lnTo>
                    <a:lnTo>
                      <a:pt x="1575" y="870"/>
                    </a:lnTo>
                    <a:lnTo>
                      <a:pt x="1575" y="872"/>
                    </a:lnTo>
                    <a:lnTo>
                      <a:pt x="1573" y="873"/>
                    </a:lnTo>
                    <a:lnTo>
                      <a:pt x="1575" y="873"/>
                    </a:lnTo>
                    <a:lnTo>
                      <a:pt x="1573" y="873"/>
                    </a:lnTo>
                    <a:lnTo>
                      <a:pt x="1573" y="872"/>
                    </a:lnTo>
                    <a:lnTo>
                      <a:pt x="1573" y="873"/>
                    </a:lnTo>
                    <a:lnTo>
                      <a:pt x="1575" y="870"/>
                    </a:lnTo>
                    <a:lnTo>
                      <a:pt x="1573" y="872"/>
                    </a:lnTo>
                    <a:lnTo>
                      <a:pt x="1575" y="870"/>
                    </a:lnTo>
                    <a:lnTo>
                      <a:pt x="1573" y="872"/>
                    </a:lnTo>
                    <a:lnTo>
                      <a:pt x="1571" y="872"/>
                    </a:lnTo>
                    <a:lnTo>
                      <a:pt x="1573" y="872"/>
                    </a:lnTo>
                    <a:lnTo>
                      <a:pt x="1571" y="872"/>
                    </a:lnTo>
                    <a:lnTo>
                      <a:pt x="1571" y="873"/>
                    </a:lnTo>
                    <a:lnTo>
                      <a:pt x="1569" y="875"/>
                    </a:lnTo>
                    <a:lnTo>
                      <a:pt x="1571" y="875"/>
                    </a:lnTo>
                    <a:lnTo>
                      <a:pt x="1569" y="875"/>
                    </a:lnTo>
                    <a:lnTo>
                      <a:pt x="1571" y="875"/>
                    </a:lnTo>
                    <a:lnTo>
                      <a:pt x="1571" y="877"/>
                    </a:lnTo>
                    <a:lnTo>
                      <a:pt x="1569" y="877"/>
                    </a:lnTo>
                    <a:lnTo>
                      <a:pt x="1567" y="879"/>
                    </a:lnTo>
                    <a:lnTo>
                      <a:pt x="1569" y="879"/>
                    </a:lnTo>
                    <a:lnTo>
                      <a:pt x="1567" y="879"/>
                    </a:lnTo>
                    <a:lnTo>
                      <a:pt x="1569" y="879"/>
                    </a:lnTo>
                    <a:lnTo>
                      <a:pt x="1567" y="881"/>
                    </a:lnTo>
                    <a:lnTo>
                      <a:pt x="1567" y="879"/>
                    </a:lnTo>
                    <a:lnTo>
                      <a:pt x="1567" y="881"/>
                    </a:lnTo>
                    <a:lnTo>
                      <a:pt x="1565" y="881"/>
                    </a:lnTo>
                    <a:lnTo>
                      <a:pt x="1565" y="883"/>
                    </a:lnTo>
                    <a:lnTo>
                      <a:pt x="1565" y="885"/>
                    </a:lnTo>
                    <a:lnTo>
                      <a:pt x="1565" y="887"/>
                    </a:lnTo>
                    <a:lnTo>
                      <a:pt x="1563" y="887"/>
                    </a:lnTo>
                    <a:lnTo>
                      <a:pt x="1561" y="887"/>
                    </a:lnTo>
                    <a:lnTo>
                      <a:pt x="1561" y="885"/>
                    </a:lnTo>
                    <a:lnTo>
                      <a:pt x="1561" y="887"/>
                    </a:lnTo>
                    <a:lnTo>
                      <a:pt x="1561" y="885"/>
                    </a:lnTo>
                    <a:lnTo>
                      <a:pt x="1561" y="887"/>
                    </a:lnTo>
                    <a:lnTo>
                      <a:pt x="1560" y="887"/>
                    </a:lnTo>
                    <a:lnTo>
                      <a:pt x="1560" y="889"/>
                    </a:lnTo>
                    <a:lnTo>
                      <a:pt x="1561" y="889"/>
                    </a:lnTo>
                    <a:lnTo>
                      <a:pt x="1561" y="887"/>
                    </a:lnTo>
                    <a:lnTo>
                      <a:pt x="1563" y="889"/>
                    </a:lnTo>
                    <a:lnTo>
                      <a:pt x="1561" y="889"/>
                    </a:lnTo>
                    <a:lnTo>
                      <a:pt x="1563" y="889"/>
                    </a:lnTo>
                    <a:lnTo>
                      <a:pt x="1561" y="891"/>
                    </a:lnTo>
                    <a:lnTo>
                      <a:pt x="1561" y="893"/>
                    </a:lnTo>
                    <a:lnTo>
                      <a:pt x="1560" y="893"/>
                    </a:lnTo>
                    <a:lnTo>
                      <a:pt x="1561" y="894"/>
                    </a:lnTo>
                    <a:lnTo>
                      <a:pt x="1561" y="896"/>
                    </a:lnTo>
                    <a:lnTo>
                      <a:pt x="1563" y="896"/>
                    </a:lnTo>
                    <a:lnTo>
                      <a:pt x="1561" y="896"/>
                    </a:lnTo>
                    <a:lnTo>
                      <a:pt x="1563" y="896"/>
                    </a:lnTo>
                    <a:lnTo>
                      <a:pt x="1563" y="898"/>
                    </a:lnTo>
                    <a:lnTo>
                      <a:pt x="1561" y="898"/>
                    </a:lnTo>
                    <a:lnTo>
                      <a:pt x="1560" y="898"/>
                    </a:lnTo>
                    <a:lnTo>
                      <a:pt x="1560" y="900"/>
                    </a:lnTo>
                    <a:lnTo>
                      <a:pt x="1560" y="898"/>
                    </a:lnTo>
                    <a:lnTo>
                      <a:pt x="1560" y="900"/>
                    </a:lnTo>
                    <a:lnTo>
                      <a:pt x="1561" y="900"/>
                    </a:lnTo>
                    <a:lnTo>
                      <a:pt x="1560" y="900"/>
                    </a:lnTo>
                    <a:lnTo>
                      <a:pt x="1560" y="902"/>
                    </a:lnTo>
                    <a:lnTo>
                      <a:pt x="1560" y="900"/>
                    </a:lnTo>
                    <a:lnTo>
                      <a:pt x="1560" y="902"/>
                    </a:lnTo>
                    <a:lnTo>
                      <a:pt x="1558" y="900"/>
                    </a:lnTo>
                    <a:lnTo>
                      <a:pt x="1560" y="902"/>
                    </a:lnTo>
                    <a:lnTo>
                      <a:pt x="1558" y="902"/>
                    </a:lnTo>
                    <a:lnTo>
                      <a:pt x="1560" y="902"/>
                    </a:lnTo>
                    <a:lnTo>
                      <a:pt x="1558" y="902"/>
                    </a:lnTo>
                    <a:lnTo>
                      <a:pt x="1560" y="904"/>
                    </a:lnTo>
                    <a:lnTo>
                      <a:pt x="1560" y="902"/>
                    </a:lnTo>
                    <a:lnTo>
                      <a:pt x="1558" y="902"/>
                    </a:lnTo>
                    <a:lnTo>
                      <a:pt x="1558" y="904"/>
                    </a:lnTo>
                    <a:lnTo>
                      <a:pt x="1558" y="902"/>
                    </a:lnTo>
                    <a:lnTo>
                      <a:pt x="1556" y="904"/>
                    </a:lnTo>
                    <a:lnTo>
                      <a:pt x="1558" y="904"/>
                    </a:lnTo>
                    <a:lnTo>
                      <a:pt x="1558" y="902"/>
                    </a:lnTo>
                    <a:lnTo>
                      <a:pt x="1558" y="904"/>
                    </a:lnTo>
                    <a:lnTo>
                      <a:pt x="1558" y="906"/>
                    </a:lnTo>
                    <a:lnTo>
                      <a:pt x="1558" y="904"/>
                    </a:lnTo>
                    <a:lnTo>
                      <a:pt x="1558" y="906"/>
                    </a:lnTo>
                    <a:lnTo>
                      <a:pt x="1560" y="904"/>
                    </a:lnTo>
                    <a:lnTo>
                      <a:pt x="1560" y="906"/>
                    </a:lnTo>
                    <a:lnTo>
                      <a:pt x="1558" y="906"/>
                    </a:lnTo>
                    <a:lnTo>
                      <a:pt x="1560" y="906"/>
                    </a:lnTo>
                    <a:lnTo>
                      <a:pt x="1560" y="904"/>
                    </a:lnTo>
                    <a:lnTo>
                      <a:pt x="1560" y="906"/>
                    </a:lnTo>
                    <a:lnTo>
                      <a:pt x="1561" y="906"/>
                    </a:lnTo>
                    <a:lnTo>
                      <a:pt x="1560" y="904"/>
                    </a:lnTo>
                    <a:lnTo>
                      <a:pt x="1561" y="904"/>
                    </a:lnTo>
                    <a:lnTo>
                      <a:pt x="1561" y="906"/>
                    </a:lnTo>
                    <a:lnTo>
                      <a:pt x="1563" y="906"/>
                    </a:lnTo>
                    <a:lnTo>
                      <a:pt x="1563" y="908"/>
                    </a:lnTo>
                    <a:lnTo>
                      <a:pt x="1561" y="908"/>
                    </a:lnTo>
                    <a:lnTo>
                      <a:pt x="1563" y="908"/>
                    </a:lnTo>
                    <a:lnTo>
                      <a:pt x="1563" y="910"/>
                    </a:lnTo>
                    <a:lnTo>
                      <a:pt x="1565" y="910"/>
                    </a:lnTo>
                    <a:lnTo>
                      <a:pt x="1563" y="912"/>
                    </a:lnTo>
                    <a:lnTo>
                      <a:pt x="1565" y="910"/>
                    </a:lnTo>
                    <a:lnTo>
                      <a:pt x="1563" y="910"/>
                    </a:lnTo>
                    <a:lnTo>
                      <a:pt x="1563" y="912"/>
                    </a:lnTo>
                    <a:lnTo>
                      <a:pt x="1565" y="912"/>
                    </a:lnTo>
                    <a:lnTo>
                      <a:pt x="1565" y="915"/>
                    </a:lnTo>
                    <a:lnTo>
                      <a:pt x="1567" y="915"/>
                    </a:lnTo>
                    <a:lnTo>
                      <a:pt x="1569" y="917"/>
                    </a:lnTo>
                    <a:lnTo>
                      <a:pt x="1571" y="917"/>
                    </a:lnTo>
                    <a:lnTo>
                      <a:pt x="1571" y="915"/>
                    </a:lnTo>
                    <a:lnTo>
                      <a:pt x="1573" y="915"/>
                    </a:lnTo>
                    <a:lnTo>
                      <a:pt x="1575" y="915"/>
                    </a:lnTo>
                    <a:lnTo>
                      <a:pt x="1575" y="913"/>
                    </a:lnTo>
                    <a:lnTo>
                      <a:pt x="1575" y="912"/>
                    </a:lnTo>
                    <a:lnTo>
                      <a:pt x="1575" y="913"/>
                    </a:lnTo>
                    <a:lnTo>
                      <a:pt x="1575" y="912"/>
                    </a:lnTo>
                    <a:lnTo>
                      <a:pt x="1573" y="912"/>
                    </a:lnTo>
                    <a:lnTo>
                      <a:pt x="1573" y="913"/>
                    </a:lnTo>
                    <a:lnTo>
                      <a:pt x="1573" y="912"/>
                    </a:lnTo>
                    <a:lnTo>
                      <a:pt x="1573" y="910"/>
                    </a:lnTo>
                    <a:lnTo>
                      <a:pt x="1571" y="910"/>
                    </a:lnTo>
                    <a:lnTo>
                      <a:pt x="1573" y="910"/>
                    </a:lnTo>
                    <a:lnTo>
                      <a:pt x="1575" y="912"/>
                    </a:lnTo>
                    <a:lnTo>
                      <a:pt x="1575" y="913"/>
                    </a:lnTo>
                    <a:lnTo>
                      <a:pt x="1575" y="915"/>
                    </a:lnTo>
                    <a:lnTo>
                      <a:pt x="1575" y="917"/>
                    </a:lnTo>
                    <a:lnTo>
                      <a:pt x="1575" y="915"/>
                    </a:lnTo>
                    <a:lnTo>
                      <a:pt x="1575" y="917"/>
                    </a:lnTo>
                    <a:lnTo>
                      <a:pt x="1571" y="917"/>
                    </a:lnTo>
                    <a:lnTo>
                      <a:pt x="1571" y="919"/>
                    </a:lnTo>
                    <a:lnTo>
                      <a:pt x="1571" y="917"/>
                    </a:lnTo>
                    <a:lnTo>
                      <a:pt x="1571" y="919"/>
                    </a:lnTo>
                    <a:lnTo>
                      <a:pt x="1569" y="919"/>
                    </a:lnTo>
                    <a:lnTo>
                      <a:pt x="1571" y="919"/>
                    </a:lnTo>
                    <a:lnTo>
                      <a:pt x="1571" y="917"/>
                    </a:lnTo>
                    <a:lnTo>
                      <a:pt x="1569" y="917"/>
                    </a:lnTo>
                    <a:lnTo>
                      <a:pt x="1569" y="919"/>
                    </a:lnTo>
                    <a:lnTo>
                      <a:pt x="1567" y="919"/>
                    </a:lnTo>
                    <a:lnTo>
                      <a:pt x="1567" y="917"/>
                    </a:lnTo>
                    <a:lnTo>
                      <a:pt x="1567" y="919"/>
                    </a:lnTo>
                    <a:lnTo>
                      <a:pt x="1565" y="921"/>
                    </a:lnTo>
                    <a:lnTo>
                      <a:pt x="1567" y="919"/>
                    </a:lnTo>
                    <a:lnTo>
                      <a:pt x="1565" y="919"/>
                    </a:lnTo>
                    <a:lnTo>
                      <a:pt x="1565" y="921"/>
                    </a:lnTo>
                    <a:lnTo>
                      <a:pt x="1565" y="919"/>
                    </a:lnTo>
                    <a:lnTo>
                      <a:pt x="1565" y="921"/>
                    </a:lnTo>
                    <a:lnTo>
                      <a:pt x="1565" y="919"/>
                    </a:lnTo>
                    <a:lnTo>
                      <a:pt x="1565" y="921"/>
                    </a:lnTo>
                    <a:lnTo>
                      <a:pt x="1563" y="921"/>
                    </a:lnTo>
                    <a:lnTo>
                      <a:pt x="1563" y="919"/>
                    </a:lnTo>
                    <a:lnTo>
                      <a:pt x="1563" y="917"/>
                    </a:lnTo>
                    <a:lnTo>
                      <a:pt x="1565" y="917"/>
                    </a:lnTo>
                    <a:lnTo>
                      <a:pt x="1563" y="917"/>
                    </a:lnTo>
                    <a:lnTo>
                      <a:pt x="1565" y="917"/>
                    </a:lnTo>
                    <a:lnTo>
                      <a:pt x="1563" y="917"/>
                    </a:lnTo>
                    <a:lnTo>
                      <a:pt x="1565" y="917"/>
                    </a:lnTo>
                    <a:lnTo>
                      <a:pt x="1563" y="917"/>
                    </a:lnTo>
                    <a:lnTo>
                      <a:pt x="1565" y="915"/>
                    </a:lnTo>
                    <a:lnTo>
                      <a:pt x="1563" y="915"/>
                    </a:lnTo>
                    <a:lnTo>
                      <a:pt x="1563" y="917"/>
                    </a:lnTo>
                    <a:lnTo>
                      <a:pt x="1563" y="915"/>
                    </a:lnTo>
                    <a:lnTo>
                      <a:pt x="1563" y="917"/>
                    </a:lnTo>
                    <a:lnTo>
                      <a:pt x="1563" y="915"/>
                    </a:lnTo>
                    <a:lnTo>
                      <a:pt x="1563" y="917"/>
                    </a:lnTo>
                    <a:lnTo>
                      <a:pt x="1563" y="915"/>
                    </a:lnTo>
                    <a:lnTo>
                      <a:pt x="1561" y="915"/>
                    </a:lnTo>
                    <a:lnTo>
                      <a:pt x="1563" y="917"/>
                    </a:lnTo>
                    <a:lnTo>
                      <a:pt x="1561" y="917"/>
                    </a:lnTo>
                    <a:lnTo>
                      <a:pt x="1563" y="917"/>
                    </a:lnTo>
                    <a:lnTo>
                      <a:pt x="1561" y="917"/>
                    </a:lnTo>
                    <a:lnTo>
                      <a:pt x="1561" y="919"/>
                    </a:lnTo>
                    <a:lnTo>
                      <a:pt x="1561" y="917"/>
                    </a:lnTo>
                    <a:lnTo>
                      <a:pt x="1561" y="919"/>
                    </a:lnTo>
                    <a:lnTo>
                      <a:pt x="1560" y="919"/>
                    </a:lnTo>
                    <a:lnTo>
                      <a:pt x="1561" y="919"/>
                    </a:lnTo>
                    <a:lnTo>
                      <a:pt x="1560" y="919"/>
                    </a:lnTo>
                    <a:lnTo>
                      <a:pt x="1560" y="917"/>
                    </a:lnTo>
                    <a:lnTo>
                      <a:pt x="1560" y="919"/>
                    </a:lnTo>
                    <a:lnTo>
                      <a:pt x="1560" y="921"/>
                    </a:lnTo>
                    <a:lnTo>
                      <a:pt x="1558" y="921"/>
                    </a:lnTo>
                    <a:lnTo>
                      <a:pt x="1558" y="919"/>
                    </a:lnTo>
                    <a:lnTo>
                      <a:pt x="1558" y="921"/>
                    </a:lnTo>
                    <a:lnTo>
                      <a:pt x="1560" y="921"/>
                    </a:lnTo>
                    <a:lnTo>
                      <a:pt x="1558" y="921"/>
                    </a:lnTo>
                    <a:lnTo>
                      <a:pt x="1558" y="919"/>
                    </a:lnTo>
                    <a:lnTo>
                      <a:pt x="1558" y="921"/>
                    </a:lnTo>
                    <a:lnTo>
                      <a:pt x="1556" y="921"/>
                    </a:lnTo>
                    <a:lnTo>
                      <a:pt x="1558" y="921"/>
                    </a:lnTo>
                    <a:lnTo>
                      <a:pt x="1556" y="923"/>
                    </a:lnTo>
                    <a:lnTo>
                      <a:pt x="1556" y="919"/>
                    </a:lnTo>
                    <a:lnTo>
                      <a:pt x="1556" y="917"/>
                    </a:lnTo>
                    <a:lnTo>
                      <a:pt x="1558" y="915"/>
                    </a:lnTo>
                    <a:lnTo>
                      <a:pt x="1556" y="915"/>
                    </a:lnTo>
                    <a:lnTo>
                      <a:pt x="1556" y="913"/>
                    </a:lnTo>
                    <a:lnTo>
                      <a:pt x="1556" y="915"/>
                    </a:lnTo>
                    <a:lnTo>
                      <a:pt x="1556" y="917"/>
                    </a:lnTo>
                    <a:lnTo>
                      <a:pt x="1554" y="917"/>
                    </a:lnTo>
                    <a:lnTo>
                      <a:pt x="1554" y="919"/>
                    </a:lnTo>
                    <a:lnTo>
                      <a:pt x="1554" y="917"/>
                    </a:lnTo>
                    <a:lnTo>
                      <a:pt x="1554" y="915"/>
                    </a:lnTo>
                    <a:lnTo>
                      <a:pt x="1554" y="917"/>
                    </a:lnTo>
                    <a:lnTo>
                      <a:pt x="1554" y="915"/>
                    </a:lnTo>
                    <a:lnTo>
                      <a:pt x="1554" y="917"/>
                    </a:lnTo>
                    <a:lnTo>
                      <a:pt x="1552" y="915"/>
                    </a:lnTo>
                    <a:lnTo>
                      <a:pt x="1552" y="913"/>
                    </a:lnTo>
                    <a:lnTo>
                      <a:pt x="1552" y="915"/>
                    </a:lnTo>
                    <a:lnTo>
                      <a:pt x="1552" y="917"/>
                    </a:lnTo>
                    <a:lnTo>
                      <a:pt x="1552" y="919"/>
                    </a:lnTo>
                    <a:lnTo>
                      <a:pt x="1552" y="921"/>
                    </a:lnTo>
                    <a:lnTo>
                      <a:pt x="1552" y="923"/>
                    </a:lnTo>
                    <a:lnTo>
                      <a:pt x="1550" y="925"/>
                    </a:lnTo>
                    <a:lnTo>
                      <a:pt x="1550" y="923"/>
                    </a:lnTo>
                    <a:lnTo>
                      <a:pt x="1550" y="925"/>
                    </a:lnTo>
                    <a:lnTo>
                      <a:pt x="1548" y="925"/>
                    </a:lnTo>
                    <a:lnTo>
                      <a:pt x="1546" y="925"/>
                    </a:lnTo>
                    <a:lnTo>
                      <a:pt x="1544" y="925"/>
                    </a:lnTo>
                    <a:lnTo>
                      <a:pt x="1542" y="925"/>
                    </a:lnTo>
                    <a:lnTo>
                      <a:pt x="1540" y="925"/>
                    </a:lnTo>
                    <a:lnTo>
                      <a:pt x="1540" y="923"/>
                    </a:lnTo>
                    <a:lnTo>
                      <a:pt x="1540" y="921"/>
                    </a:lnTo>
                    <a:lnTo>
                      <a:pt x="1540" y="923"/>
                    </a:lnTo>
                    <a:lnTo>
                      <a:pt x="1540" y="925"/>
                    </a:lnTo>
                    <a:lnTo>
                      <a:pt x="1539" y="925"/>
                    </a:lnTo>
                    <a:lnTo>
                      <a:pt x="1539" y="927"/>
                    </a:lnTo>
                    <a:lnTo>
                      <a:pt x="1537" y="927"/>
                    </a:lnTo>
                    <a:lnTo>
                      <a:pt x="1537" y="925"/>
                    </a:lnTo>
                    <a:lnTo>
                      <a:pt x="1537" y="927"/>
                    </a:lnTo>
                    <a:lnTo>
                      <a:pt x="1535" y="927"/>
                    </a:lnTo>
                    <a:lnTo>
                      <a:pt x="1533" y="927"/>
                    </a:lnTo>
                    <a:lnTo>
                      <a:pt x="1535" y="927"/>
                    </a:lnTo>
                    <a:lnTo>
                      <a:pt x="1533" y="927"/>
                    </a:lnTo>
                    <a:lnTo>
                      <a:pt x="1531" y="927"/>
                    </a:lnTo>
                    <a:lnTo>
                      <a:pt x="1529" y="927"/>
                    </a:lnTo>
                    <a:lnTo>
                      <a:pt x="1527" y="925"/>
                    </a:lnTo>
                    <a:lnTo>
                      <a:pt x="1527" y="927"/>
                    </a:lnTo>
                    <a:lnTo>
                      <a:pt x="1525" y="927"/>
                    </a:lnTo>
                    <a:lnTo>
                      <a:pt x="1525" y="929"/>
                    </a:lnTo>
                    <a:lnTo>
                      <a:pt x="1525" y="927"/>
                    </a:lnTo>
                    <a:lnTo>
                      <a:pt x="1525" y="929"/>
                    </a:lnTo>
                    <a:lnTo>
                      <a:pt x="1523" y="929"/>
                    </a:lnTo>
                    <a:lnTo>
                      <a:pt x="1525" y="929"/>
                    </a:lnTo>
                    <a:lnTo>
                      <a:pt x="1523" y="929"/>
                    </a:lnTo>
                    <a:lnTo>
                      <a:pt x="1521" y="929"/>
                    </a:lnTo>
                    <a:lnTo>
                      <a:pt x="1521" y="931"/>
                    </a:lnTo>
                    <a:lnTo>
                      <a:pt x="1521" y="929"/>
                    </a:lnTo>
                    <a:lnTo>
                      <a:pt x="1520" y="929"/>
                    </a:lnTo>
                    <a:lnTo>
                      <a:pt x="1521" y="931"/>
                    </a:lnTo>
                    <a:lnTo>
                      <a:pt x="1520" y="931"/>
                    </a:lnTo>
                    <a:lnTo>
                      <a:pt x="1518" y="931"/>
                    </a:lnTo>
                    <a:lnTo>
                      <a:pt x="1520" y="931"/>
                    </a:lnTo>
                    <a:lnTo>
                      <a:pt x="1518" y="931"/>
                    </a:lnTo>
                    <a:lnTo>
                      <a:pt x="1518" y="933"/>
                    </a:lnTo>
                    <a:lnTo>
                      <a:pt x="1518" y="931"/>
                    </a:lnTo>
                    <a:lnTo>
                      <a:pt x="1518" y="933"/>
                    </a:lnTo>
                    <a:lnTo>
                      <a:pt x="1518" y="931"/>
                    </a:lnTo>
                    <a:lnTo>
                      <a:pt x="1518" y="933"/>
                    </a:lnTo>
                    <a:lnTo>
                      <a:pt x="1516" y="931"/>
                    </a:lnTo>
                    <a:lnTo>
                      <a:pt x="1516" y="933"/>
                    </a:lnTo>
                    <a:lnTo>
                      <a:pt x="1514" y="934"/>
                    </a:lnTo>
                    <a:lnTo>
                      <a:pt x="1514" y="936"/>
                    </a:lnTo>
                    <a:lnTo>
                      <a:pt x="1512" y="936"/>
                    </a:lnTo>
                    <a:lnTo>
                      <a:pt x="1512" y="934"/>
                    </a:lnTo>
                    <a:lnTo>
                      <a:pt x="1512" y="931"/>
                    </a:lnTo>
                    <a:lnTo>
                      <a:pt x="1512" y="929"/>
                    </a:lnTo>
                    <a:lnTo>
                      <a:pt x="1512" y="927"/>
                    </a:lnTo>
                    <a:lnTo>
                      <a:pt x="1512" y="925"/>
                    </a:lnTo>
                    <a:lnTo>
                      <a:pt x="1510" y="925"/>
                    </a:lnTo>
                    <a:lnTo>
                      <a:pt x="1512" y="925"/>
                    </a:lnTo>
                    <a:lnTo>
                      <a:pt x="1512" y="927"/>
                    </a:lnTo>
                    <a:lnTo>
                      <a:pt x="1512" y="929"/>
                    </a:lnTo>
                    <a:lnTo>
                      <a:pt x="1512" y="931"/>
                    </a:lnTo>
                    <a:lnTo>
                      <a:pt x="1512" y="934"/>
                    </a:lnTo>
                    <a:lnTo>
                      <a:pt x="1510" y="936"/>
                    </a:lnTo>
                    <a:lnTo>
                      <a:pt x="1510" y="938"/>
                    </a:lnTo>
                    <a:lnTo>
                      <a:pt x="1508" y="938"/>
                    </a:lnTo>
                    <a:lnTo>
                      <a:pt x="1510" y="938"/>
                    </a:lnTo>
                    <a:lnTo>
                      <a:pt x="1508" y="940"/>
                    </a:lnTo>
                    <a:lnTo>
                      <a:pt x="1510" y="936"/>
                    </a:lnTo>
                    <a:lnTo>
                      <a:pt x="1508" y="938"/>
                    </a:lnTo>
                    <a:lnTo>
                      <a:pt x="1508" y="936"/>
                    </a:lnTo>
                    <a:lnTo>
                      <a:pt x="1508" y="938"/>
                    </a:lnTo>
                    <a:lnTo>
                      <a:pt x="1508" y="940"/>
                    </a:lnTo>
                    <a:lnTo>
                      <a:pt x="1506" y="940"/>
                    </a:lnTo>
                    <a:lnTo>
                      <a:pt x="1508" y="940"/>
                    </a:lnTo>
                    <a:lnTo>
                      <a:pt x="1506" y="942"/>
                    </a:lnTo>
                    <a:lnTo>
                      <a:pt x="1504" y="942"/>
                    </a:lnTo>
                    <a:lnTo>
                      <a:pt x="1506" y="942"/>
                    </a:lnTo>
                    <a:lnTo>
                      <a:pt x="1506" y="944"/>
                    </a:lnTo>
                    <a:lnTo>
                      <a:pt x="1508" y="944"/>
                    </a:lnTo>
                    <a:lnTo>
                      <a:pt x="1510" y="944"/>
                    </a:lnTo>
                    <a:lnTo>
                      <a:pt x="1510" y="946"/>
                    </a:lnTo>
                    <a:lnTo>
                      <a:pt x="1512" y="946"/>
                    </a:lnTo>
                    <a:lnTo>
                      <a:pt x="1510" y="946"/>
                    </a:lnTo>
                    <a:lnTo>
                      <a:pt x="1512" y="946"/>
                    </a:lnTo>
                    <a:lnTo>
                      <a:pt x="1510" y="944"/>
                    </a:lnTo>
                    <a:lnTo>
                      <a:pt x="1510" y="942"/>
                    </a:lnTo>
                    <a:lnTo>
                      <a:pt x="1510" y="944"/>
                    </a:lnTo>
                    <a:lnTo>
                      <a:pt x="1512" y="946"/>
                    </a:lnTo>
                    <a:lnTo>
                      <a:pt x="1510" y="948"/>
                    </a:lnTo>
                    <a:lnTo>
                      <a:pt x="1510" y="950"/>
                    </a:lnTo>
                    <a:lnTo>
                      <a:pt x="1510" y="948"/>
                    </a:lnTo>
                    <a:lnTo>
                      <a:pt x="1510" y="950"/>
                    </a:lnTo>
                    <a:lnTo>
                      <a:pt x="1510" y="952"/>
                    </a:lnTo>
                    <a:lnTo>
                      <a:pt x="1510" y="950"/>
                    </a:lnTo>
                    <a:lnTo>
                      <a:pt x="1510" y="952"/>
                    </a:lnTo>
                    <a:lnTo>
                      <a:pt x="1510" y="957"/>
                    </a:lnTo>
                    <a:lnTo>
                      <a:pt x="1508" y="957"/>
                    </a:lnTo>
                    <a:lnTo>
                      <a:pt x="1510" y="957"/>
                    </a:lnTo>
                    <a:lnTo>
                      <a:pt x="1510" y="954"/>
                    </a:lnTo>
                    <a:lnTo>
                      <a:pt x="1510" y="952"/>
                    </a:lnTo>
                    <a:lnTo>
                      <a:pt x="1508" y="952"/>
                    </a:lnTo>
                    <a:lnTo>
                      <a:pt x="1510" y="952"/>
                    </a:lnTo>
                    <a:lnTo>
                      <a:pt x="1508" y="952"/>
                    </a:lnTo>
                    <a:lnTo>
                      <a:pt x="1508" y="954"/>
                    </a:lnTo>
                    <a:lnTo>
                      <a:pt x="1508" y="955"/>
                    </a:lnTo>
                    <a:lnTo>
                      <a:pt x="1508" y="957"/>
                    </a:lnTo>
                    <a:lnTo>
                      <a:pt x="1508" y="959"/>
                    </a:lnTo>
                    <a:lnTo>
                      <a:pt x="1506" y="961"/>
                    </a:lnTo>
                    <a:lnTo>
                      <a:pt x="1504" y="961"/>
                    </a:lnTo>
                    <a:lnTo>
                      <a:pt x="1506" y="963"/>
                    </a:lnTo>
                    <a:lnTo>
                      <a:pt x="1504" y="963"/>
                    </a:lnTo>
                    <a:lnTo>
                      <a:pt x="1504" y="961"/>
                    </a:lnTo>
                    <a:lnTo>
                      <a:pt x="1504" y="963"/>
                    </a:lnTo>
                    <a:lnTo>
                      <a:pt x="1504" y="961"/>
                    </a:lnTo>
                    <a:lnTo>
                      <a:pt x="1504" y="963"/>
                    </a:lnTo>
                    <a:lnTo>
                      <a:pt x="1502" y="961"/>
                    </a:lnTo>
                    <a:lnTo>
                      <a:pt x="1504" y="963"/>
                    </a:lnTo>
                    <a:lnTo>
                      <a:pt x="1504" y="961"/>
                    </a:lnTo>
                    <a:lnTo>
                      <a:pt x="1504" y="963"/>
                    </a:lnTo>
                    <a:lnTo>
                      <a:pt x="1504" y="961"/>
                    </a:lnTo>
                    <a:lnTo>
                      <a:pt x="1504" y="963"/>
                    </a:lnTo>
                    <a:lnTo>
                      <a:pt x="1504" y="965"/>
                    </a:lnTo>
                    <a:lnTo>
                      <a:pt x="1502" y="965"/>
                    </a:lnTo>
                    <a:lnTo>
                      <a:pt x="1504" y="965"/>
                    </a:lnTo>
                    <a:lnTo>
                      <a:pt x="1504" y="967"/>
                    </a:lnTo>
                    <a:lnTo>
                      <a:pt x="1502" y="965"/>
                    </a:lnTo>
                    <a:lnTo>
                      <a:pt x="1502" y="967"/>
                    </a:lnTo>
                    <a:lnTo>
                      <a:pt x="1500" y="967"/>
                    </a:lnTo>
                    <a:lnTo>
                      <a:pt x="1500" y="969"/>
                    </a:lnTo>
                    <a:lnTo>
                      <a:pt x="1500" y="967"/>
                    </a:lnTo>
                    <a:lnTo>
                      <a:pt x="1500" y="969"/>
                    </a:lnTo>
                    <a:lnTo>
                      <a:pt x="1502" y="967"/>
                    </a:lnTo>
                    <a:lnTo>
                      <a:pt x="1500" y="969"/>
                    </a:lnTo>
                    <a:lnTo>
                      <a:pt x="1499" y="969"/>
                    </a:lnTo>
                    <a:lnTo>
                      <a:pt x="1499" y="971"/>
                    </a:lnTo>
                    <a:lnTo>
                      <a:pt x="1499" y="973"/>
                    </a:lnTo>
                    <a:lnTo>
                      <a:pt x="1497" y="973"/>
                    </a:lnTo>
                    <a:lnTo>
                      <a:pt x="1499" y="973"/>
                    </a:lnTo>
                    <a:lnTo>
                      <a:pt x="1497" y="973"/>
                    </a:lnTo>
                    <a:lnTo>
                      <a:pt x="1497" y="975"/>
                    </a:lnTo>
                    <a:lnTo>
                      <a:pt x="1497" y="973"/>
                    </a:lnTo>
                    <a:lnTo>
                      <a:pt x="1497" y="975"/>
                    </a:lnTo>
                    <a:lnTo>
                      <a:pt x="1495" y="975"/>
                    </a:lnTo>
                    <a:lnTo>
                      <a:pt x="1495" y="973"/>
                    </a:lnTo>
                    <a:lnTo>
                      <a:pt x="1497" y="971"/>
                    </a:lnTo>
                    <a:lnTo>
                      <a:pt x="1495" y="969"/>
                    </a:lnTo>
                    <a:lnTo>
                      <a:pt x="1493" y="969"/>
                    </a:lnTo>
                    <a:lnTo>
                      <a:pt x="1491" y="967"/>
                    </a:lnTo>
                    <a:lnTo>
                      <a:pt x="1489" y="967"/>
                    </a:lnTo>
                    <a:lnTo>
                      <a:pt x="1487" y="965"/>
                    </a:lnTo>
                    <a:lnTo>
                      <a:pt x="1485" y="963"/>
                    </a:lnTo>
                    <a:lnTo>
                      <a:pt x="1487" y="963"/>
                    </a:lnTo>
                    <a:lnTo>
                      <a:pt x="1487" y="961"/>
                    </a:lnTo>
                    <a:lnTo>
                      <a:pt x="1485" y="961"/>
                    </a:lnTo>
                    <a:lnTo>
                      <a:pt x="1487" y="959"/>
                    </a:lnTo>
                    <a:lnTo>
                      <a:pt x="1487" y="957"/>
                    </a:lnTo>
                    <a:lnTo>
                      <a:pt x="1489" y="957"/>
                    </a:lnTo>
                    <a:lnTo>
                      <a:pt x="1489" y="955"/>
                    </a:lnTo>
                    <a:lnTo>
                      <a:pt x="1489" y="957"/>
                    </a:lnTo>
                    <a:lnTo>
                      <a:pt x="1489" y="955"/>
                    </a:lnTo>
                    <a:lnTo>
                      <a:pt x="1491" y="955"/>
                    </a:lnTo>
                    <a:lnTo>
                      <a:pt x="1493" y="955"/>
                    </a:lnTo>
                    <a:lnTo>
                      <a:pt x="1493" y="954"/>
                    </a:lnTo>
                    <a:lnTo>
                      <a:pt x="1495" y="954"/>
                    </a:lnTo>
                    <a:lnTo>
                      <a:pt x="1495" y="952"/>
                    </a:lnTo>
                    <a:lnTo>
                      <a:pt x="1497" y="952"/>
                    </a:lnTo>
                    <a:lnTo>
                      <a:pt x="1495" y="952"/>
                    </a:lnTo>
                    <a:lnTo>
                      <a:pt x="1493" y="954"/>
                    </a:lnTo>
                    <a:lnTo>
                      <a:pt x="1493" y="955"/>
                    </a:lnTo>
                    <a:lnTo>
                      <a:pt x="1491" y="955"/>
                    </a:lnTo>
                    <a:lnTo>
                      <a:pt x="1489" y="955"/>
                    </a:lnTo>
                    <a:lnTo>
                      <a:pt x="1487" y="957"/>
                    </a:lnTo>
                    <a:lnTo>
                      <a:pt x="1487" y="959"/>
                    </a:lnTo>
                    <a:lnTo>
                      <a:pt x="1485" y="959"/>
                    </a:lnTo>
                    <a:lnTo>
                      <a:pt x="1485" y="961"/>
                    </a:lnTo>
                    <a:lnTo>
                      <a:pt x="1485" y="965"/>
                    </a:lnTo>
                    <a:lnTo>
                      <a:pt x="1487" y="967"/>
                    </a:lnTo>
                    <a:lnTo>
                      <a:pt x="1489" y="969"/>
                    </a:lnTo>
                    <a:lnTo>
                      <a:pt x="1489" y="971"/>
                    </a:lnTo>
                    <a:lnTo>
                      <a:pt x="1489" y="973"/>
                    </a:lnTo>
                    <a:lnTo>
                      <a:pt x="1489" y="975"/>
                    </a:lnTo>
                    <a:lnTo>
                      <a:pt x="1491" y="978"/>
                    </a:lnTo>
                    <a:lnTo>
                      <a:pt x="1493" y="978"/>
                    </a:lnTo>
                    <a:lnTo>
                      <a:pt x="1493" y="982"/>
                    </a:lnTo>
                    <a:lnTo>
                      <a:pt x="1493" y="980"/>
                    </a:lnTo>
                    <a:lnTo>
                      <a:pt x="1493" y="982"/>
                    </a:lnTo>
                    <a:lnTo>
                      <a:pt x="1491" y="982"/>
                    </a:lnTo>
                    <a:lnTo>
                      <a:pt x="1493" y="982"/>
                    </a:lnTo>
                    <a:lnTo>
                      <a:pt x="1491" y="982"/>
                    </a:lnTo>
                    <a:lnTo>
                      <a:pt x="1493" y="982"/>
                    </a:lnTo>
                    <a:lnTo>
                      <a:pt x="1495" y="982"/>
                    </a:lnTo>
                    <a:lnTo>
                      <a:pt x="1495" y="984"/>
                    </a:lnTo>
                    <a:lnTo>
                      <a:pt x="1493" y="988"/>
                    </a:lnTo>
                    <a:lnTo>
                      <a:pt x="1493" y="986"/>
                    </a:lnTo>
                    <a:lnTo>
                      <a:pt x="1495" y="986"/>
                    </a:lnTo>
                    <a:lnTo>
                      <a:pt x="1493" y="986"/>
                    </a:lnTo>
                    <a:lnTo>
                      <a:pt x="1495" y="986"/>
                    </a:lnTo>
                    <a:lnTo>
                      <a:pt x="1493" y="984"/>
                    </a:lnTo>
                    <a:lnTo>
                      <a:pt x="1495" y="984"/>
                    </a:lnTo>
                    <a:lnTo>
                      <a:pt x="1493" y="984"/>
                    </a:lnTo>
                    <a:lnTo>
                      <a:pt x="1493" y="986"/>
                    </a:lnTo>
                    <a:lnTo>
                      <a:pt x="1491" y="986"/>
                    </a:lnTo>
                    <a:lnTo>
                      <a:pt x="1493" y="986"/>
                    </a:lnTo>
                    <a:lnTo>
                      <a:pt x="1491" y="986"/>
                    </a:lnTo>
                    <a:lnTo>
                      <a:pt x="1493" y="986"/>
                    </a:lnTo>
                    <a:lnTo>
                      <a:pt x="1493" y="988"/>
                    </a:lnTo>
                    <a:lnTo>
                      <a:pt x="1493" y="986"/>
                    </a:lnTo>
                    <a:lnTo>
                      <a:pt x="1493" y="988"/>
                    </a:lnTo>
                    <a:lnTo>
                      <a:pt x="1491" y="990"/>
                    </a:lnTo>
                    <a:lnTo>
                      <a:pt x="1491" y="988"/>
                    </a:lnTo>
                    <a:lnTo>
                      <a:pt x="1491" y="990"/>
                    </a:lnTo>
                    <a:lnTo>
                      <a:pt x="1491" y="988"/>
                    </a:lnTo>
                    <a:lnTo>
                      <a:pt x="1491" y="990"/>
                    </a:lnTo>
                    <a:lnTo>
                      <a:pt x="1491" y="992"/>
                    </a:lnTo>
                    <a:lnTo>
                      <a:pt x="1489" y="992"/>
                    </a:lnTo>
                    <a:lnTo>
                      <a:pt x="1489" y="994"/>
                    </a:lnTo>
                    <a:lnTo>
                      <a:pt x="1487" y="994"/>
                    </a:lnTo>
                    <a:lnTo>
                      <a:pt x="1487" y="996"/>
                    </a:lnTo>
                    <a:lnTo>
                      <a:pt x="1489" y="996"/>
                    </a:lnTo>
                    <a:lnTo>
                      <a:pt x="1487" y="996"/>
                    </a:lnTo>
                    <a:lnTo>
                      <a:pt x="1489" y="996"/>
                    </a:lnTo>
                    <a:lnTo>
                      <a:pt x="1487" y="997"/>
                    </a:lnTo>
                    <a:lnTo>
                      <a:pt x="1485" y="999"/>
                    </a:lnTo>
                    <a:lnTo>
                      <a:pt x="1485" y="1001"/>
                    </a:lnTo>
                    <a:lnTo>
                      <a:pt x="1485" y="1003"/>
                    </a:lnTo>
                    <a:lnTo>
                      <a:pt x="1485" y="1001"/>
                    </a:lnTo>
                    <a:lnTo>
                      <a:pt x="1485" y="1003"/>
                    </a:lnTo>
                    <a:lnTo>
                      <a:pt x="1483" y="1005"/>
                    </a:lnTo>
                    <a:lnTo>
                      <a:pt x="1485" y="1003"/>
                    </a:lnTo>
                    <a:lnTo>
                      <a:pt x="1483" y="1003"/>
                    </a:lnTo>
                    <a:lnTo>
                      <a:pt x="1485" y="1003"/>
                    </a:lnTo>
                    <a:lnTo>
                      <a:pt x="1483" y="1003"/>
                    </a:lnTo>
                    <a:lnTo>
                      <a:pt x="1481" y="1005"/>
                    </a:lnTo>
                    <a:lnTo>
                      <a:pt x="1483" y="1003"/>
                    </a:lnTo>
                    <a:lnTo>
                      <a:pt x="1481" y="1003"/>
                    </a:lnTo>
                    <a:lnTo>
                      <a:pt x="1481" y="1005"/>
                    </a:lnTo>
                    <a:lnTo>
                      <a:pt x="1481" y="1003"/>
                    </a:lnTo>
                    <a:lnTo>
                      <a:pt x="1481" y="1005"/>
                    </a:lnTo>
                    <a:lnTo>
                      <a:pt x="1481" y="1007"/>
                    </a:lnTo>
                    <a:lnTo>
                      <a:pt x="1479" y="1007"/>
                    </a:lnTo>
                    <a:lnTo>
                      <a:pt x="1481" y="1007"/>
                    </a:lnTo>
                    <a:lnTo>
                      <a:pt x="1479" y="1009"/>
                    </a:lnTo>
                    <a:lnTo>
                      <a:pt x="1479" y="1011"/>
                    </a:lnTo>
                    <a:lnTo>
                      <a:pt x="1479" y="1009"/>
                    </a:lnTo>
                    <a:lnTo>
                      <a:pt x="1478" y="1009"/>
                    </a:lnTo>
                    <a:lnTo>
                      <a:pt x="1479" y="1009"/>
                    </a:lnTo>
                    <a:lnTo>
                      <a:pt x="1479" y="1007"/>
                    </a:lnTo>
                    <a:lnTo>
                      <a:pt x="1479" y="1009"/>
                    </a:lnTo>
                    <a:lnTo>
                      <a:pt x="1479" y="1007"/>
                    </a:lnTo>
                    <a:lnTo>
                      <a:pt x="1479" y="1005"/>
                    </a:lnTo>
                    <a:lnTo>
                      <a:pt x="1481" y="1005"/>
                    </a:lnTo>
                    <a:lnTo>
                      <a:pt x="1479" y="1005"/>
                    </a:lnTo>
                    <a:lnTo>
                      <a:pt x="1481" y="1003"/>
                    </a:lnTo>
                    <a:lnTo>
                      <a:pt x="1479" y="1003"/>
                    </a:lnTo>
                    <a:lnTo>
                      <a:pt x="1481" y="1003"/>
                    </a:lnTo>
                    <a:lnTo>
                      <a:pt x="1479" y="1003"/>
                    </a:lnTo>
                    <a:lnTo>
                      <a:pt x="1479" y="1005"/>
                    </a:lnTo>
                    <a:lnTo>
                      <a:pt x="1479" y="1003"/>
                    </a:lnTo>
                    <a:lnTo>
                      <a:pt x="1481" y="1003"/>
                    </a:lnTo>
                    <a:lnTo>
                      <a:pt x="1479" y="1003"/>
                    </a:lnTo>
                    <a:lnTo>
                      <a:pt x="1479" y="1001"/>
                    </a:lnTo>
                    <a:lnTo>
                      <a:pt x="1481" y="1003"/>
                    </a:lnTo>
                    <a:lnTo>
                      <a:pt x="1479" y="1001"/>
                    </a:lnTo>
                    <a:lnTo>
                      <a:pt x="1481" y="1001"/>
                    </a:lnTo>
                    <a:lnTo>
                      <a:pt x="1481" y="999"/>
                    </a:lnTo>
                    <a:lnTo>
                      <a:pt x="1483" y="999"/>
                    </a:lnTo>
                    <a:lnTo>
                      <a:pt x="1481" y="999"/>
                    </a:lnTo>
                    <a:lnTo>
                      <a:pt x="1483" y="999"/>
                    </a:lnTo>
                    <a:lnTo>
                      <a:pt x="1481" y="997"/>
                    </a:lnTo>
                    <a:lnTo>
                      <a:pt x="1483" y="997"/>
                    </a:lnTo>
                    <a:lnTo>
                      <a:pt x="1483" y="999"/>
                    </a:lnTo>
                    <a:lnTo>
                      <a:pt x="1483" y="997"/>
                    </a:lnTo>
                    <a:lnTo>
                      <a:pt x="1485" y="997"/>
                    </a:lnTo>
                    <a:lnTo>
                      <a:pt x="1483" y="997"/>
                    </a:lnTo>
                    <a:lnTo>
                      <a:pt x="1485" y="997"/>
                    </a:lnTo>
                    <a:lnTo>
                      <a:pt x="1483" y="997"/>
                    </a:lnTo>
                    <a:lnTo>
                      <a:pt x="1483" y="996"/>
                    </a:lnTo>
                    <a:lnTo>
                      <a:pt x="1485" y="996"/>
                    </a:lnTo>
                    <a:lnTo>
                      <a:pt x="1483" y="996"/>
                    </a:lnTo>
                    <a:lnTo>
                      <a:pt x="1485" y="996"/>
                    </a:lnTo>
                    <a:lnTo>
                      <a:pt x="1483" y="996"/>
                    </a:lnTo>
                    <a:lnTo>
                      <a:pt x="1485" y="996"/>
                    </a:lnTo>
                    <a:lnTo>
                      <a:pt x="1485" y="994"/>
                    </a:lnTo>
                    <a:lnTo>
                      <a:pt x="1483" y="996"/>
                    </a:lnTo>
                    <a:lnTo>
                      <a:pt x="1483" y="994"/>
                    </a:lnTo>
                    <a:lnTo>
                      <a:pt x="1481" y="996"/>
                    </a:lnTo>
                    <a:lnTo>
                      <a:pt x="1481" y="994"/>
                    </a:lnTo>
                    <a:lnTo>
                      <a:pt x="1481" y="996"/>
                    </a:lnTo>
                    <a:lnTo>
                      <a:pt x="1481" y="994"/>
                    </a:lnTo>
                    <a:lnTo>
                      <a:pt x="1483" y="994"/>
                    </a:lnTo>
                    <a:lnTo>
                      <a:pt x="1481" y="994"/>
                    </a:lnTo>
                    <a:lnTo>
                      <a:pt x="1483" y="992"/>
                    </a:lnTo>
                    <a:lnTo>
                      <a:pt x="1481" y="992"/>
                    </a:lnTo>
                    <a:lnTo>
                      <a:pt x="1483" y="992"/>
                    </a:lnTo>
                    <a:lnTo>
                      <a:pt x="1481" y="992"/>
                    </a:lnTo>
                    <a:lnTo>
                      <a:pt x="1483" y="992"/>
                    </a:lnTo>
                    <a:lnTo>
                      <a:pt x="1481" y="992"/>
                    </a:lnTo>
                    <a:lnTo>
                      <a:pt x="1483" y="990"/>
                    </a:lnTo>
                    <a:lnTo>
                      <a:pt x="1481" y="992"/>
                    </a:lnTo>
                    <a:lnTo>
                      <a:pt x="1481" y="990"/>
                    </a:lnTo>
                    <a:lnTo>
                      <a:pt x="1481" y="992"/>
                    </a:lnTo>
                    <a:lnTo>
                      <a:pt x="1481" y="990"/>
                    </a:lnTo>
                    <a:lnTo>
                      <a:pt x="1481" y="992"/>
                    </a:lnTo>
                    <a:lnTo>
                      <a:pt x="1481" y="990"/>
                    </a:lnTo>
                    <a:lnTo>
                      <a:pt x="1481" y="992"/>
                    </a:lnTo>
                    <a:lnTo>
                      <a:pt x="1481" y="990"/>
                    </a:lnTo>
                    <a:lnTo>
                      <a:pt x="1479" y="992"/>
                    </a:lnTo>
                    <a:lnTo>
                      <a:pt x="1479" y="990"/>
                    </a:lnTo>
                    <a:lnTo>
                      <a:pt x="1479" y="992"/>
                    </a:lnTo>
                    <a:lnTo>
                      <a:pt x="1479" y="990"/>
                    </a:lnTo>
                    <a:lnTo>
                      <a:pt x="1481" y="990"/>
                    </a:lnTo>
                    <a:lnTo>
                      <a:pt x="1481" y="988"/>
                    </a:lnTo>
                    <a:lnTo>
                      <a:pt x="1483" y="988"/>
                    </a:lnTo>
                    <a:lnTo>
                      <a:pt x="1481" y="988"/>
                    </a:lnTo>
                    <a:lnTo>
                      <a:pt x="1481" y="990"/>
                    </a:lnTo>
                    <a:lnTo>
                      <a:pt x="1481" y="988"/>
                    </a:lnTo>
                    <a:lnTo>
                      <a:pt x="1481" y="990"/>
                    </a:lnTo>
                    <a:lnTo>
                      <a:pt x="1479" y="988"/>
                    </a:lnTo>
                    <a:lnTo>
                      <a:pt x="1481" y="988"/>
                    </a:lnTo>
                    <a:lnTo>
                      <a:pt x="1481" y="986"/>
                    </a:lnTo>
                    <a:lnTo>
                      <a:pt x="1481" y="984"/>
                    </a:lnTo>
                    <a:lnTo>
                      <a:pt x="1481" y="986"/>
                    </a:lnTo>
                    <a:lnTo>
                      <a:pt x="1479" y="988"/>
                    </a:lnTo>
                    <a:lnTo>
                      <a:pt x="1479" y="990"/>
                    </a:lnTo>
                    <a:lnTo>
                      <a:pt x="1479" y="988"/>
                    </a:lnTo>
                    <a:lnTo>
                      <a:pt x="1479" y="986"/>
                    </a:lnTo>
                    <a:lnTo>
                      <a:pt x="1479" y="988"/>
                    </a:lnTo>
                    <a:lnTo>
                      <a:pt x="1478" y="988"/>
                    </a:lnTo>
                    <a:lnTo>
                      <a:pt x="1478" y="990"/>
                    </a:lnTo>
                    <a:lnTo>
                      <a:pt x="1478" y="988"/>
                    </a:lnTo>
                    <a:lnTo>
                      <a:pt x="1476" y="988"/>
                    </a:lnTo>
                    <a:lnTo>
                      <a:pt x="1478" y="988"/>
                    </a:lnTo>
                    <a:lnTo>
                      <a:pt x="1476" y="988"/>
                    </a:lnTo>
                    <a:lnTo>
                      <a:pt x="1476" y="986"/>
                    </a:lnTo>
                    <a:lnTo>
                      <a:pt x="1476" y="988"/>
                    </a:lnTo>
                    <a:lnTo>
                      <a:pt x="1476" y="986"/>
                    </a:lnTo>
                    <a:lnTo>
                      <a:pt x="1474" y="986"/>
                    </a:lnTo>
                    <a:lnTo>
                      <a:pt x="1476" y="986"/>
                    </a:lnTo>
                    <a:lnTo>
                      <a:pt x="1476" y="984"/>
                    </a:lnTo>
                    <a:lnTo>
                      <a:pt x="1474" y="984"/>
                    </a:lnTo>
                    <a:lnTo>
                      <a:pt x="1476" y="984"/>
                    </a:lnTo>
                    <a:lnTo>
                      <a:pt x="1476" y="982"/>
                    </a:lnTo>
                    <a:lnTo>
                      <a:pt x="1476" y="984"/>
                    </a:lnTo>
                    <a:lnTo>
                      <a:pt x="1476" y="982"/>
                    </a:lnTo>
                    <a:lnTo>
                      <a:pt x="1476" y="984"/>
                    </a:lnTo>
                    <a:lnTo>
                      <a:pt x="1476" y="982"/>
                    </a:lnTo>
                    <a:lnTo>
                      <a:pt x="1476" y="984"/>
                    </a:lnTo>
                    <a:lnTo>
                      <a:pt x="1476" y="982"/>
                    </a:lnTo>
                    <a:lnTo>
                      <a:pt x="1476" y="984"/>
                    </a:lnTo>
                    <a:lnTo>
                      <a:pt x="1478" y="982"/>
                    </a:lnTo>
                    <a:lnTo>
                      <a:pt x="1476" y="982"/>
                    </a:lnTo>
                    <a:lnTo>
                      <a:pt x="1478" y="982"/>
                    </a:lnTo>
                    <a:lnTo>
                      <a:pt x="1476" y="982"/>
                    </a:lnTo>
                    <a:lnTo>
                      <a:pt x="1474" y="982"/>
                    </a:lnTo>
                    <a:lnTo>
                      <a:pt x="1476" y="982"/>
                    </a:lnTo>
                    <a:lnTo>
                      <a:pt x="1474" y="982"/>
                    </a:lnTo>
                    <a:lnTo>
                      <a:pt x="1474" y="980"/>
                    </a:lnTo>
                    <a:lnTo>
                      <a:pt x="1474" y="982"/>
                    </a:lnTo>
                    <a:lnTo>
                      <a:pt x="1476" y="980"/>
                    </a:lnTo>
                    <a:lnTo>
                      <a:pt x="1476" y="982"/>
                    </a:lnTo>
                    <a:lnTo>
                      <a:pt x="1476" y="980"/>
                    </a:lnTo>
                    <a:lnTo>
                      <a:pt x="1476" y="982"/>
                    </a:lnTo>
                    <a:lnTo>
                      <a:pt x="1478" y="982"/>
                    </a:lnTo>
                    <a:lnTo>
                      <a:pt x="1479" y="982"/>
                    </a:lnTo>
                    <a:lnTo>
                      <a:pt x="1479" y="980"/>
                    </a:lnTo>
                    <a:lnTo>
                      <a:pt x="1479" y="978"/>
                    </a:lnTo>
                    <a:lnTo>
                      <a:pt x="1479" y="980"/>
                    </a:lnTo>
                    <a:lnTo>
                      <a:pt x="1479" y="982"/>
                    </a:lnTo>
                    <a:lnTo>
                      <a:pt x="1478" y="982"/>
                    </a:lnTo>
                    <a:lnTo>
                      <a:pt x="1478" y="980"/>
                    </a:lnTo>
                    <a:lnTo>
                      <a:pt x="1478" y="982"/>
                    </a:lnTo>
                    <a:lnTo>
                      <a:pt x="1478" y="980"/>
                    </a:lnTo>
                    <a:lnTo>
                      <a:pt x="1478" y="982"/>
                    </a:lnTo>
                    <a:lnTo>
                      <a:pt x="1478" y="980"/>
                    </a:lnTo>
                    <a:lnTo>
                      <a:pt x="1476" y="980"/>
                    </a:lnTo>
                    <a:lnTo>
                      <a:pt x="1478" y="980"/>
                    </a:lnTo>
                    <a:lnTo>
                      <a:pt x="1476" y="980"/>
                    </a:lnTo>
                    <a:lnTo>
                      <a:pt x="1478" y="980"/>
                    </a:lnTo>
                    <a:lnTo>
                      <a:pt x="1476" y="980"/>
                    </a:lnTo>
                    <a:lnTo>
                      <a:pt x="1478" y="980"/>
                    </a:lnTo>
                    <a:lnTo>
                      <a:pt x="1476" y="980"/>
                    </a:lnTo>
                    <a:lnTo>
                      <a:pt x="1478" y="978"/>
                    </a:lnTo>
                    <a:lnTo>
                      <a:pt x="1476" y="978"/>
                    </a:lnTo>
                    <a:lnTo>
                      <a:pt x="1478" y="978"/>
                    </a:lnTo>
                    <a:lnTo>
                      <a:pt x="1476" y="978"/>
                    </a:lnTo>
                    <a:lnTo>
                      <a:pt x="1476" y="980"/>
                    </a:lnTo>
                    <a:lnTo>
                      <a:pt x="1476" y="978"/>
                    </a:lnTo>
                    <a:lnTo>
                      <a:pt x="1476" y="980"/>
                    </a:lnTo>
                    <a:lnTo>
                      <a:pt x="1476" y="978"/>
                    </a:lnTo>
                    <a:lnTo>
                      <a:pt x="1476" y="980"/>
                    </a:lnTo>
                    <a:lnTo>
                      <a:pt x="1476" y="978"/>
                    </a:lnTo>
                    <a:lnTo>
                      <a:pt x="1476" y="980"/>
                    </a:lnTo>
                    <a:lnTo>
                      <a:pt x="1476" y="978"/>
                    </a:lnTo>
                    <a:lnTo>
                      <a:pt x="1474" y="978"/>
                    </a:lnTo>
                    <a:lnTo>
                      <a:pt x="1476" y="978"/>
                    </a:lnTo>
                    <a:lnTo>
                      <a:pt x="1474" y="978"/>
                    </a:lnTo>
                    <a:lnTo>
                      <a:pt x="1476" y="978"/>
                    </a:lnTo>
                    <a:lnTo>
                      <a:pt x="1474" y="978"/>
                    </a:lnTo>
                    <a:lnTo>
                      <a:pt x="1474" y="980"/>
                    </a:lnTo>
                    <a:lnTo>
                      <a:pt x="1474" y="978"/>
                    </a:lnTo>
                    <a:lnTo>
                      <a:pt x="1476" y="976"/>
                    </a:lnTo>
                    <a:lnTo>
                      <a:pt x="1474" y="978"/>
                    </a:lnTo>
                    <a:lnTo>
                      <a:pt x="1474" y="976"/>
                    </a:lnTo>
                    <a:lnTo>
                      <a:pt x="1474" y="978"/>
                    </a:lnTo>
                    <a:lnTo>
                      <a:pt x="1474" y="980"/>
                    </a:lnTo>
                    <a:lnTo>
                      <a:pt x="1474" y="978"/>
                    </a:lnTo>
                    <a:lnTo>
                      <a:pt x="1474" y="976"/>
                    </a:lnTo>
                    <a:lnTo>
                      <a:pt x="1476" y="976"/>
                    </a:lnTo>
                    <a:lnTo>
                      <a:pt x="1474" y="976"/>
                    </a:lnTo>
                    <a:lnTo>
                      <a:pt x="1476" y="976"/>
                    </a:lnTo>
                    <a:lnTo>
                      <a:pt x="1476" y="978"/>
                    </a:lnTo>
                    <a:lnTo>
                      <a:pt x="1478" y="978"/>
                    </a:lnTo>
                    <a:lnTo>
                      <a:pt x="1478" y="976"/>
                    </a:lnTo>
                    <a:lnTo>
                      <a:pt x="1478" y="978"/>
                    </a:lnTo>
                    <a:lnTo>
                      <a:pt x="1476" y="978"/>
                    </a:lnTo>
                    <a:lnTo>
                      <a:pt x="1476" y="976"/>
                    </a:lnTo>
                    <a:lnTo>
                      <a:pt x="1476" y="978"/>
                    </a:lnTo>
                    <a:lnTo>
                      <a:pt x="1476" y="976"/>
                    </a:lnTo>
                    <a:lnTo>
                      <a:pt x="1478" y="976"/>
                    </a:lnTo>
                    <a:lnTo>
                      <a:pt x="1476" y="976"/>
                    </a:lnTo>
                    <a:lnTo>
                      <a:pt x="1478" y="976"/>
                    </a:lnTo>
                    <a:lnTo>
                      <a:pt x="1478" y="975"/>
                    </a:lnTo>
                    <a:lnTo>
                      <a:pt x="1478" y="976"/>
                    </a:lnTo>
                    <a:lnTo>
                      <a:pt x="1478" y="975"/>
                    </a:lnTo>
                    <a:lnTo>
                      <a:pt x="1478" y="976"/>
                    </a:lnTo>
                    <a:lnTo>
                      <a:pt x="1478" y="975"/>
                    </a:lnTo>
                    <a:lnTo>
                      <a:pt x="1476" y="975"/>
                    </a:lnTo>
                    <a:lnTo>
                      <a:pt x="1476" y="976"/>
                    </a:lnTo>
                    <a:lnTo>
                      <a:pt x="1476" y="975"/>
                    </a:lnTo>
                    <a:lnTo>
                      <a:pt x="1476" y="976"/>
                    </a:lnTo>
                    <a:lnTo>
                      <a:pt x="1476" y="975"/>
                    </a:lnTo>
                    <a:lnTo>
                      <a:pt x="1476" y="973"/>
                    </a:lnTo>
                    <a:lnTo>
                      <a:pt x="1476" y="975"/>
                    </a:lnTo>
                    <a:lnTo>
                      <a:pt x="1476" y="973"/>
                    </a:lnTo>
                    <a:lnTo>
                      <a:pt x="1478" y="973"/>
                    </a:lnTo>
                    <a:lnTo>
                      <a:pt x="1476" y="973"/>
                    </a:lnTo>
                    <a:lnTo>
                      <a:pt x="1478" y="973"/>
                    </a:lnTo>
                    <a:lnTo>
                      <a:pt x="1476" y="973"/>
                    </a:lnTo>
                    <a:lnTo>
                      <a:pt x="1478" y="973"/>
                    </a:lnTo>
                    <a:lnTo>
                      <a:pt x="1478" y="971"/>
                    </a:lnTo>
                    <a:lnTo>
                      <a:pt x="1478" y="973"/>
                    </a:lnTo>
                    <a:lnTo>
                      <a:pt x="1476" y="971"/>
                    </a:lnTo>
                    <a:lnTo>
                      <a:pt x="1478" y="971"/>
                    </a:lnTo>
                    <a:lnTo>
                      <a:pt x="1479" y="971"/>
                    </a:lnTo>
                    <a:lnTo>
                      <a:pt x="1478" y="971"/>
                    </a:lnTo>
                    <a:lnTo>
                      <a:pt x="1478" y="969"/>
                    </a:lnTo>
                    <a:lnTo>
                      <a:pt x="1478" y="971"/>
                    </a:lnTo>
                    <a:lnTo>
                      <a:pt x="1476" y="971"/>
                    </a:lnTo>
                    <a:lnTo>
                      <a:pt x="1478" y="971"/>
                    </a:lnTo>
                    <a:lnTo>
                      <a:pt x="1476" y="971"/>
                    </a:lnTo>
                    <a:lnTo>
                      <a:pt x="1478" y="971"/>
                    </a:lnTo>
                    <a:lnTo>
                      <a:pt x="1476" y="971"/>
                    </a:lnTo>
                    <a:lnTo>
                      <a:pt x="1476" y="969"/>
                    </a:lnTo>
                    <a:lnTo>
                      <a:pt x="1476" y="971"/>
                    </a:lnTo>
                    <a:lnTo>
                      <a:pt x="1476" y="973"/>
                    </a:lnTo>
                    <a:lnTo>
                      <a:pt x="1476" y="971"/>
                    </a:lnTo>
                    <a:lnTo>
                      <a:pt x="1474" y="971"/>
                    </a:lnTo>
                    <a:lnTo>
                      <a:pt x="1476" y="971"/>
                    </a:lnTo>
                    <a:lnTo>
                      <a:pt x="1474" y="971"/>
                    </a:lnTo>
                    <a:lnTo>
                      <a:pt x="1476" y="969"/>
                    </a:lnTo>
                    <a:lnTo>
                      <a:pt x="1476" y="967"/>
                    </a:lnTo>
                    <a:lnTo>
                      <a:pt x="1476" y="969"/>
                    </a:lnTo>
                    <a:lnTo>
                      <a:pt x="1476" y="967"/>
                    </a:lnTo>
                    <a:lnTo>
                      <a:pt x="1478" y="967"/>
                    </a:lnTo>
                    <a:lnTo>
                      <a:pt x="1476" y="967"/>
                    </a:lnTo>
                    <a:lnTo>
                      <a:pt x="1478" y="967"/>
                    </a:lnTo>
                    <a:lnTo>
                      <a:pt x="1478" y="965"/>
                    </a:lnTo>
                    <a:lnTo>
                      <a:pt x="1478" y="967"/>
                    </a:lnTo>
                    <a:lnTo>
                      <a:pt x="1479" y="965"/>
                    </a:lnTo>
                    <a:lnTo>
                      <a:pt x="1479" y="967"/>
                    </a:lnTo>
                    <a:lnTo>
                      <a:pt x="1479" y="965"/>
                    </a:lnTo>
                    <a:lnTo>
                      <a:pt x="1479" y="967"/>
                    </a:lnTo>
                    <a:lnTo>
                      <a:pt x="1479" y="965"/>
                    </a:lnTo>
                    <a:lnTo>
                      <a:pt x="1479" y="967"/>
                    </a:lnTo>
                    <a:lnTo>
                      <a:pt x="1481" y="967"/>
                    </a:lnTo>
                    <a:lnTo>
                      <a:pt x="1481" y="965"/>
                    </a:lnTo>
                    <a:lnTo>
                      <a:pt x="1481" y="967"/>
                    </a:lnTo>
                    <a:lnTo>
                      <a:pt x="1481" y="965"/>
                    </a:lnTo>
                    <a:lnTo>
                      <a:pt x="1481" y="967"/>
                    </a:lnTo>
                    <a:lnTo>
                      <a:pt x="1481" y="965"/>
                    </a:lnTo>
                    <a:lnTo>
                      <a:pt x="1479" y="965"/>
                    </a:lnTo>
                    <a:lnTo>
                      <a:pt x="1478" y="965"/>
                    </a:lnTo>
                    <a:lnTo>
                      <a:pt x="1479" y="965"/>
                    </a:lnTo>
                    <a:lnTo>
                      <a:pt x="1479" y="963"/>
                    </a:lnTo>
                    <a:lnTo>
                      <a:pt x="1479" y="965"/>
                    </a:lnTo>
                    <a:lnTo>
                      <a:pt x="1479" y="963"/>
                    </a:lnTo>
                    <a:lnTo>
                      <a:pt x="1481" y="963"/>
                    </a:lnTo>
                    <a:lnTo>
                      <a:pt x="1481" y="965"/>
                    </a:lnTo>
                    <a:lnTo>
                      <a:pt x="1481" y="963"/>
                    </a:lnTo>
                    <a:lnTo>
                      <a:pt x="1481" y="965"/>
                    </a:lnTo>
                    <a:lnTo>
                      <a:pt x="1481" y="963"/>
                    </a:lnTo>
                    <a:lnTo>
                      <a:pt x="1479" y="963"/>
                    </a:lnTo>
                    <a:lnTo>
                      <a:pt x="1481" y="963"/>
                    </a:lnTo>
                    <a:lnTo>
                      <a:pt x="1481" y="961"/>
                    </a:lnTo>
                    <a:lnTo>
                      <a:pt x="1481" y="963"/>
                    </a:lnTo>
                    <a:lnTo>
                      <a:pt x="1479" y="963"/>
                    </a:lnTo>
                    <a:lnTo>
                      <a:pt x="1479" y="965"/>
                    </a:lnTo>
                    <a:lnTo>
                      <a:pt x="1479" y="961"/>
                    </a:lnTo>
                    <a:lnTo>
                      <a:pt x="1479" y="963"/>
                    </a:lnTo>
                    <a:lnTo>
                      <a:pt x="1478" y="961"/>
                    </a:lnTo>
                    <a:lnTo>
                      <a:pt x="1478" y="963"/>
                    </a:lnTo>
                    <a:lnTo>
                      <a:pt x="1478" y="961"/>
                    </a:lnTo>
                    <a:lnTo>
                      <a:pt x="1476" y="961"/>
                    </a:lnTo>
                    <a:lnTo>
                      <a:pt x="1476" y="959"/>
                    </a:lnTo>
                    <a:lnTo>
                      <a:pt x="1476" y="957"/>
                    </a:lnTo>
                    <a:lnTo>
                      <a:pt x="1474" y="955"/>
                    </a:lnTo>
                    <a:lnTo>
                      <a:pt x="1474" y="957"/>
                    </a:lnTo>
                    <a:lnTo>
                      <a:pt x="1476" y="959"/>
                    </a:lnTo>
                    <a:lnTo>
                      <a:pt x="1476" y="961"/>
                    </a:lnTo>
                    <a:lnTo>
                      <a:pt x="1478" y="961"/>
                    </a:lnTo>
                    <a:lnTo>
                      <a:pt x="1478" y="963"/>
                    </a:lnTo>
                    <a:lnTo>
                      <a:pt x="1478" y="965"/>
                    </a:lnTo>
                    <a:lnTo>
                      <a:pt x="1478" y="963"/>
                    </a:lnTo>
                    <a:lnTo>
                      <a:pt x="1478" y="965"/>
                    </a:lnTo>
                    <a:lnTo>
                      <a:pt x="1478" y="963"/>
                    </a:lnTo>
                    <a:lnTo>
                      <a:pt x="1478" y="965"/>
                    </a:lnTo>
                    <a:lnTo>
                      <a:pt x="1476" y="965"/>
                    </a:lnTo>
                    <a:lnTo>
                      <a:pt x="1476" y="967"/>
                    </a:lnTo>
                    <a:lnTo>
                      <a:pt x="1476" y="965"/>
                    </a:lnTo>
                    <a:lnTo>
                      <a:pt x="1476" y="963"/>
                    </a:lnTo>
                    <a:lnTo>
                      <a:pt x="1476" y="965"/>
                    </a:lnTo>
                    <a:lnTo>
                      <a:pt x="1474" y="965"/>
                    </a:lnTo>
                    <a:lnTo>
                      <a:pt x="1476" y="965"/>
                    </a:lnTo>
                    <a:lnTo>
                      <a:pt x="1474" y="965"/>
                    </a:lnTo>
                    <a:lnTo>
                      <a:pt x="1476" y="967"/>
                    </a:lnTo>
                    <a:lnTo>
                      <a:pt x="1474" y="967"/>
                    </a:lnTo>
                    <a:lnTo>
                      <a:pt x="1474" y="965"/>
                    </a:lnTo>
                    <a:lnTo>
                      <a:pt x="1472" y="965"/>
                    </a:lnTo>
                    <a:lnTo>
                      <a:pt x="1474" y="967"/>
                    </a:lnTo>
                    <a:lnTo>
                      <a:pt x="1474" y="965"/>
                    </a:lnTo>
                    <a:lnTo>
                      <a:pt x="1474" y="967"/>
                    </a:lnTo>
                    <a:lnTo>
                      <a:pt x="1472" y="967"/>
                    </a:lnTo>
                    <a:lnTo>
                      <a:pt x="1474" y="967"/>
                    </a:lnTo>
                    <a:lnTo>
                      <a:pt x="1472" y="967"/>
                    </a:lnTo>
                    <a:lnTo>
                      <a:pt x="1474" y="967"/>
                    </a:lnTo>
                    <a:lnTo>
                      <a:pt x="1472" y="967"/>
                    </a:lnTo>
                    <a:lnTo>
                      <a:pt x="1472" y="969"/>
                    </a:lnTo>
                    <a:lnTo>
                      <a:pt x="1472" y="967"/>
                    </a:lnTo>
                    <a:lnTo>
                      <a:pt x="1470" y="967"/>
                    </a:lnTo>
                    <a:lnTo>
                      <a:pt x="1472" y="969"/>
                    </a:lnTo>
                    <a:lnTo>
                      <a:pt x="1470" y="969"/>
                    </a:lnTo>
                    <a:lnTo>
                      <a:pt x="1472" y="969"/>
                    </a:lnTo>
                    <a:lnTo>
                      <a:pt x="1470" y="969"/>
                    </a:lnTo>
                    <a:lnTo>
                      <a:pt x="1472" y="969"/>
                    </a:lnTo>
                    <a:lnTo>
                      <a:pt x="1470" y="969"/>
                    </a:lnTo>
                    <a:lnTo>
                      <a:pt x="1470" y="967"/>
                    </a:lnTo>
                    <a:lnTo>
                      <a:pt x="1470" y="969"/>
                    </a:lnTo>
                    <a:lnTo>
                      <a:pt x="1468" y="969"/>
                    </a:lnTo>
                    <a:lnTo>
                      <a:pt x="1470" y="969"/>
                    </a:lnTo>
                    <a:lnTo>
                      <a:pt x="1468" y="969"/>
                    </a:lnTo>
                    <a:lnTo>
                      <a:pt x="1470" y="969"/>
                    </a:lnTo>
                    <a:lnTo>
                      <a:pt x="1470" y="971"/>
                    </a:lnTo>
                    <a:lnTo>
                      <a:pt x="1470" y="969"/>
                    </a:lnTo>
                    <a:lnTo>
                      <a:pt x="1470" y="971"/>
                    </a:lnTo>
                    <a:lnTo>
                      <a:pt x="1470" y="969"/>
                    </a:lnTo>
                    <a:lnTo>
                      <a:pt x="1470" y="971"/>
                    </a:lnTo>
                    <a:lnTo>
                      <a:pt x="1472" y="971"/>
                    </a:lnTo>
                    <a:lnTo>
                      <a:pt x="1472" y="973"/>
                    </a:lnTo>
                    <a:lnTo>
                      <a:pt x="1472" y="971"/>
                    </a:lnTo>
                    <a:lnTo>
                      <a:pt x="1472" y="973"/>
                    </a:lnTo>
                    <a:lnTo>
                      <a:pt x="1470" y="971"/>
                    </a:lnTo>
                    <a:lnTo>
                      <a:pt x="1470" y="973"/>
                    </a:lnTo>
                    <a:lnTo>
                      <a:pt x="1470" y="971"/>
                    </a:lnTo>
                    <a:lnTo>
                      <a:pt x="1470" y="973"/>
                    </a:lnTo>
                    <a:lnTo>
                      <a:pt x="1472" y="973"/>
                    </a:lnTo>
                    <a:lnTo>
                      <a:pt x="1472" y="975"/>
                    </a:lnTo>
                    <a:lnTo>
                      <a:pt x="1472" y="973"/>
                    </a:lnTo>
                    <a:lnTo>
                      <a:pt x="1472" y="975"/>
                    </a:lnTo>
                    <a:lnTo>
                      <a:pt x="1470" y="973"/>
                    </a:lnTo>
                    <a:lnTo>
                      <a:pt x="1470" y="975"/>
                    </a:lnTo>
                    <a:lnTo>
                      <a:pt x="1470" y="973"/>
                    </a:lnTo>
                    <a:lnTo>
                      <a:pt x="1472" y="975"/>
                    </a:lnTo>
                    <a:lnTo>
                      <a:pt x="1470" y="975"/>
                    </a:lnTo>
                    <a:lnTo>
                      <a:pt x="1472" y="975"/>
                    </a:lnTo>
                    <a:lnTo>
                      <a:pt x="1470" y="975"/>
                    </a:lnTo>
                    <a:lnTo>
                      <a:pt x="1472" y="975"/>
                    </a:lnTo>
                    <a:lnTo>
                      <a:pt x="1470" y="975"/>
                    </a:lnTo>
                    <a:lnTo>
                      <a:pt x="1470" y="976"/>
                    </a:lnTo>
                    <a:lnTo>
                      <a:pt x="1472" y="975"/>
                    </a:lnTo>
                    <a:lnTo>
                      <a:pt x="1470" y="976"/>
                    </a:lnTo>
                    <a:lnTo>
                      <a:pt x="1470" y="975"/>
                    </a:lnTo>
                    <a:lnTo>
                      <a:pt x="1470" y="976"/>
                    </a:lnTo>
                    <a:lnTo>
                      <a:pt x="1472" y="976"/>
                    </a:lnTo>
                    <a:lnTo>
                      <a:pt x="1470" y="978"/>
                    </a:lnTo>
                    <a:lnTo>
                      <a:pt x="1470" y="984"/>
                    </a:lnTo>
                    <a:lnTo>
                      <a:pt x="1472" y="986"/>
                    </a:lnTo>
                    <a:lnTo>
                      <a:pt x="1472" y="988"/>
                    </a:lnTo>
                    <a:lnTo>
                      <a:pt x="1472" y="986"/>
                    </a:lnTo>
                    <a:lnTo>
                      <a:pt x="1472" y="988"/>
                    </a:lnTo>
                    <a:lnTo>
                      <a:pt x="1472" y="986"/>
                    </a:lnTo>
                    <a:lnTo>
                      <a:pt x="1472" y="988"/>
                    </a:lnTo>
                    <a:lnTo>
                      <a:pt x="1472" y="986"/>
                    </a:lnTo>
                    <a:lnTo>
                      <a:pt x="1470" y="986"/>
                    </a:lnTo>
                    <a:lnTo>
                      <a:pt x="1470" y="984"/>
                    </a:lnTo>
                    <a:lnTo>
                      <a:pt x="1468" y="984"/>
                    </a:lnTo>
                    <a:lnTo>
                      <a:pt x="1468" y="982"/>
                    </a:lnTo>
                    <a:lnTo>
                      <a:pt x="1468" y="984"/>
                    </a:lnTo>
                    <a:lnTo>
                      <a:pt x="1470" y="986"/>
                    </a:lnTo>
                    <a:lnTo>
                      <a:pt x="1472" y="986"/>
                    </a:lnTo>
                    <a:lnTo>
                      <a:pt x="1470" y="986"/>
                    </a:lnTo>
                    <a:lnTo>
                      <a:pt x="1470" y="988"/>
                    </a:lnTo>
                    <a:lnTo>
                      <a:pt x="1470" y="986"/>
                    </a:lnTo>
                    <a:lnTo>
                      <a:pt x="1472" y="988"/>
                    </a:lnTo>
                    <a:lnTo>
                      <a:pt x="1474" y="988"/>
                    </a:lnTo>
                    <a:lnTo>
                      <a:pt x="1472" y="988"/>
                    </a:lnTo>
                    <a:lnTo>
                      <a:pt x="1474" y="992"/>
                    </a:lnTo>
                    <a:lnTo>
                      <a:pt x="1474" y="990"/>
                    </a:lnTo>
                    <a:lnTo>
                      <a:pt x="1474" y="992"/>
                    </a:lnTo>
                    <a:lnTo>
                      <a:pt x="1474" y="994"/>
                    </a:lnTo>
                    <a:lnTo>
                      <a:pt x="1474" y="992"/>
                    </a:lnTo>
                    <a:lnTo>
                      <a:pt x="1472" y="992"/>
                    </a:lnTo>
                    <a:lnTo>
                      <a:pt x="1472" y="990"/>
                    </a:lnTo>
                    <a:lnTo>
                      <a:pt x="1472" y="992"/>
                    </a:lnTo>
                    <a:lnTo>
                      <a:pt x="1472" y="990"/>
                    </a:lnTo>
                    <a:lnTo>
                      <a:pt x="1470" y="990"/>
                    </a:lnTo>
                    <a:lnTo>
                      <a:pt x="1472" y="992"/>
                    </a:lnTo>
                    <a:lnTo>
                      <a:pt x="1470" y="992"/>
                    </a:lnTo>
                    <a:lnTo>
                      <a:pt x="1470" y="990"/>
                    </a:lnTo>
                    <a:lnTo>
                      <a:pt x="1470" y="992"/>
                    </a:lnTo>
                    <a:lnTo>
                      <a:pt x="1470" y="990"/>
                    </a:lnTo>
                    <a:lnTo>
                      <a:pt x="1468" y="990"/>
                    </a:lnTo>
                    <a:lnTo>
                      <a:pt x="1468" y="988"/>
                    </a:lnTo>
                    <a:lnTo>
                      <a:pt x="1468" y="990"/>
                    </a:lnTo>
                    <a:lnTo>
                      <a:pt x="1468" y="988"/>
                    </a:lnTo>
                    <a:lnTo>
                      <a:pt x="1466" y="988"/>
                    </a:lnTo>
                    <a:lnTo>
                      <a:pt x="1468" y="988"/>
                    </a:lnTo>
                    <a:lnTo>
                      <a:pt x="1466" y="990"/>
                    </a:lnTo>
                    <a:lnTo>
                      <a:pt x="1466" y="988"/>
                    </a:lnTo>
                    <a:lnTo>
                      <a:pt x="1466" y="990"/>
                    </a:lnTo>
                    <a:lnTo>
                      <a:pt x="1466" y="988"/>
                    </a:lnTo>
                    <a:lnTo>
                      <a:pt x="1466" y="986"/>
                    </a:lnTo>
                    <a:lnTo>
                      <a:pt x="1464" y="986"/>
                    </a:lnTo>
                    <a:lnTo>
                      <a:pt x="1464" y="988"/>
                    </a:lnTo>
                    <a:lnTo>
                      <a:pt x="1466" y="988"/>
                    </a:lnTo>
                    <a:lnTo>
                      <a:pt x="1464" y="988"/>
                    </a:lnTo>
                    <a:lnTo>
                      <a:pt x="1466" y="988"/>
                    </a:lnTo>
                    <a:lnTo>
                      <a:pt x="1464" y="988"/>
                    </a:lnTo>
                    <a:lnTo>
                      <a:pt x="1464" y="986"/>
                    </a:lnTo>
                    <a:lnTo>
                      <a:pt x="1462" y="986"/>
                    </a:lnTo>
                    <a:lnTo>
                      <a:pt x="1462" y="984"/>
                    </a:lnTo>
                    <a:lnTo>
                      <a:pt x="1462" y="986"/>
                    </a:lnTo>
                    <a:lnTo>
                      <a:pt x="1460" y="986"/>
                    </a:lnTo>
                    <a:lnTo>
                      <a:pt x="1462" y="984"/>
                    </a:lnTo>
                    <a:lnTo>
                      <a:pt x="1460" y="986"/>
                    </a:lnTo>
                    <a:lnTo>
                      <a:pt x="1462" y="984"/>
                    </a:lnTo>
                    <a:lnTo>
                      <a:pt x="1460" y="984"/>
                    </a:lnTo>
                    <a:lnTo>
                      <a:pt x="1460" y="986"/>
                    </a:lnTo>
                    <a:lnTo>
                      <a:pt x="1458" y="986"/>
                    </a:lnTo>
                    <a:lnTo>
                      <a:pt x="1458" y="984"/>
                    </a:lnTo>
                    <a:lnTo>
                      <a:pt x="1458" y="982"/>
                    </a:lnTo>
                    <a:lnTo>
                      <a:pt x="1460" y="982"/>
                    </a:lnTo>
                    <a:lnTo>
                      <a:pt x="1460" y="980"/>
                    </a:lnTo>
                    <a:lnTo>
                      <a:pt x="1460" y="982"/>
                    </a:lnTo>
                    <a:lnTo>
                      <a:pt x="1458" y="982"/>
                    </a:lnTo>
                    <a:lnTo>
                      <a:pt x="1458" y="984"/>
                    </a:lnTo>
                    <a:lnTo>
                      <a:pt x="1458" y="986"/>
                    </a:lnTo>
                    <a:lnTo>
                      <a:pt x="1458" y="988"/>
                    </a:lnTo>
                    <a:lnTo>
                      <a:pt x="1460" y="986"/>
                    </a:lnTo>
                    <a:lnTo>
                      <a:pt x="1462" y="986"/>
                    </a:lnTo>
                    <a:lnTo>
                      <a:pt x="1462" y="988"/>
                    </a:lnTo>
                    <a:lnTo>
                      <a:pt x="1464" y="988"/>
                    </a:lnTo>
                    <a:lnTo>
                      <a:pt x="1464" y="990"/>
                    </a:lnTo>
                    <a:lnTo>
                      <a:pt x="1466" y="990"/>
                    </a:lnTo>
                    <a:lnTo>
                      <a:pt x="1466" y="992"/>
                    </a:lnTo>
                    <a:lnTo>
                      <a:pt x="1468" y="992"/>
                    </a:lnTo>
                    <a:lnTo>
                      <a:pt x="1466" y="992"/>
                    </a:lnTo>
                    <a:lnTo>
                      <a:pt x="1468" y="992"/>
                    </a:lnTo>
                    <a:lnTo>
                      <a:pt x="1468" y="990"/>
                    </a:lnTo>
                    <a:lnTo>
                      <a:pt x="1468" y="992"/>
                    </a:lnTo>
                    <a:lnTo>
                      <a:pt x="1470" y="992"/>
                    </a:lnTo>
                    <a:lnTo>
                      <a:pt x="1470" y="994"/>
                    </a:lnTo>
                    <a:lnTo>
                      <a:pt x="1470" y="992"/>
                    </a:lnTo>
                    <a:lnTo>
                      <a:pt x="1470" y="994"/>
                    </a:lnTo>
                    <a:lnTo>
                      <a:pt x="1472" y="994"/>
                    </a:lnTo>
                    <a:lnTo>
                      <a:pt x="1470" y="994"/>
                    </a:lnTo>
                    <a:lnTo>
                      <a:pt x="1472" y="994"/>
                    </a:lnTo>
                    <a:lnTo>
                      <a:pt x="1472" y="996"/>
                    </a:lnTo>
                    <a:lnTo>
                      <a:pt x="1472" y="994"/>
                    </a:lnTo>
                    <a:lnTo>
                      <a:pt x="1474" y="996"/>
                    </a:lnTo>
                    <a:lnTo>
                      <a:pt x="1476" y="996"/>
                    </a:lnTo>
                    <a:lnTo>
                      <a:pt x="1476" y="997"/>
                    </a:lnTo>
                    <a:lnTo>
                      <a:pt x="1474" y="997"/>
                    </a:lnTo>
                    <a:lnTo>
                      <a:pt x="1474" y="999"/>
                    </a:lnTo>
                    <a:lnTo>
                      <a:pt x="1474" y="1001"/>
                    </a:lnTo>
                    <a:lnTo>
                      <a:pt x="1472" y="1001"/>
                    </a:lnTo>
                    <a:lnTo>
                      <a:pt x="1472" y="999"/>
                    </a:lnTo>
                    <a:lnTo>
                      <a:pt x="1472" y="1001"/>
                    </a:lnTo>
                    <a:lnTo>
                      <a:pt x="1470" y="1001"/>
                    </a:lnTo>
                    <a:lnTo>
                      <a:pt x="1470" y="999"/>
                    </a:lnTo>
                    <a:lnTo>
                      <a:pt x="1470" y="997"/>
                    </a:lnTo>
                    <a:lnTo>
                      <a:pt x="1470" y="999"/>
                    </a:lnTo>
                    <a:lnTo>
                      <a:pt x="1468" y="997"/>
                    </a:lnTo>
                    <a:lnTo>
                      <a:pt x="1470" y="997"/>
                    </a:lnTo>
                    <a:lnTo>
                      <a:pt x="1468" y="997"/>
                    </a:lnTo>
                    <a:lnTo>
                      <a:pt x="1466" y="997"/>
                    </a:lnTo>
                    <a:lnTo>
                      <a:pt x="1468" y="997"/>
                    </a:lnTo>
                    <a:lnTo>
                      <a:pt x="1466" y="996"/>
                    </a:lnTo>
                    <a:lnTo>
                      <a:pt x="1468" y="996"/>
                    </a:lnTo>
                    <a:lnTo>
                      <a:pt x="1466" y="996"/>
                    </a:lnTo>
                    <a:lnTo>
                      <a:pt x="1466" y="994"/>
                    </a:lnTo>
                    <a:lnTo>
                      <a:pt x="1464" y="994"/>
                    </a:lnTo>
                    <a:lnTo>
                      <a:pt x="1464" y="996"/>
                    </a:lnTo>
                    <a:lnTo>
                      <a:pt x="1466" y="996"/>
                    </a:lnTo>
                    <a:lnTo>
                      <a:pt x="1468" y="997"/>
                    </a:lnTo>
                    <a:lnTo>
                      <a:pt x="1468" y="999"/>
                    </a:lnTo>
                    <a:lnTo>
                      <a:pt x="1470" y="999"/>
                    </a:lnTo>
                    <a:lnTo>
                      <a:pt x="1468" y="999"/>
                    </a:lnTo>
                    <a:lnTo>
                      <a:pt x="1470" y="999"/>
                    </a:lnTo>
                    <a:lnTo>
                      <a:pt x="1470" y="1001"/>
                    </a:lnTo>
                    <a:lnTo>
                      <a:pt x="1472" y="1001"/>
                    </a:lnTo>
                    <a:lnTo>
                      <a:pt x="1472" y="1003"/>
                    </a:lnTo>
                    <a:lnTo>
                      <a:pt x="1474" y="1003"/>
                    </a:lnTo>
                    <a:lnTo>
                      <a:pt x="1472" y="1003"/>
                    </a:lnTo>
                    <a:lnTo>
                      <a:pt x="1474" y="1003"/>
                    </a:lnTo>
                    <a:lnTo>
                      <a:pt x="1474" y="1005"/>
                    </a:lnTo>
                    <a:lnTo>
                      <a:pt x="1474" y="1003"/>
                    </a:lnTo>
                    <a:lnTo>
                      <a:pt x="1474" y="1005"/>
                    </a:lnTo>
                    <a:lnTo>
                      <a:pt x="1476" y="1005"/>
                    </a:lnTo>
                    <a:lnTo>
                      <a:pt x="1474" y="1007"/>
                    </a:lnTo>
                    <a:lnTo>
                      <a:pt x="1476" y="1007"/>
                    </a:lnTo>
                    <a:lnTo>
                      <a:pt x="1474" y="1007"/>
                    </a:lnTo>
                    <a:lnTo>
                      <a:pt x="1474" y="1005"/>
                    </a:lnTo>
                    <a:lnTo>
                      <a:pt x="1474" y="1007"/>
                    </a:lnTo>
                    <a:lnTo>
                      <a:pt x="1472" y="1007"/>
                    </a:lnTo>
                    <a:lnTo>
                      <a:pt x="1472" y="1005"/>
                    </a:lnTo>
                    <a:lnTo>
                      <a:pt x="1472" y="1007"/>
                    </a:lnTo>
                    <a:lnTo>
                      <a:pt x="1472" y="1005"/>
                    </a:lnTo>
                    <a:lnTo>
                      <a:pt x="1472" y="1007"/>
                    </a:lnTo>
                    <a:lnTo>
                      <a:pt x="1472" y="1009"/>
                    </a:lnTo>
                    <a:lnTo>
                      <a:pt x="1472" y="1007"/>
                    </a:lnTo>
                    <a:lnTo>
                      <a:pt x="1472" y="1009"/>
                    </a:lnTo>
                    <a:lnTo>
                      <a:pt x="1470" y="1009"/>
                    </a:lnTo>
                    <a:lnTo>
                      <a:pt x="1470" y="1007"/>
                    </a:lnTo>
                    <a:lnTo>
                      <a:pt x="1470" y="1009"/>
                    </a:lnTo>
                    <a:lnTo>
                      <a:pt x="1470" y="1007"/>
                    </a:lnTo>
                    <a:lnTo>
                      <a:pt x="1466" y="1003"/>
                    </a:lnTo>
                    <a:lnTo>
                      <a:pt x="1466" y="1005"/>
                    </a:lnTo>
                    <a:lnTo>
                      <a:pt x="1468" y="1007"/>
                    </a:lnTo>
                    <a:lnTo>
                      <a:pt x="1470" y="1007"/>
                    </a:lnTo>
                    <a:lnTo>
                      <a:pt x="1468" y="1009"/>
                    </a:lnTo>
                    <a:lnTo>
                      <a:pt x="1470" y="1009"/>
                    </a:lnTo>
                    <a:lnTo>
                      <a:pt x="1472" y="1009"/>
                    </a:lnTo>
                    <a:lnTo>
                      <a:pt x="1472" y="1011"/>
                    </a:lnTo>
                    <a:lnTo>
                      <a:pt x="1474" y="1011"/>
                    </a:lnTo>
                    <a:lnTo>
                      <a:pt x="1474" y="1013"/>
                    </a:lnTo>
                    <a:lnTo>
                      <a:pt x="1474" y="1011"/>
                    </a:lnTo>
                    <a:lnTo>
                      <a:pt x="1472" y="1011"/>
                    </a:lnTo>
                    <a:lnTo>
                      <a:pt x="1474" y="1013"/>
                    </a:lnTo>
                    <a:lnTo>
                      <a:pt x="1474" y="1015"/>
                    </a:lnTo>
                    <a:lnTo>
                      <a:pt x="1474" y="1013"/>
                    </a:lnTo>
                    <a:lnTo>
                      <a:pt x="1474" y="1015"/>
                    </a:lnTo>
                    <a:lnTo>
                      <a:pt x="1474" y="1013"/>
                    </a:lnTo>
                    <a:lnTo>
                      <a:pt x="1472" y="1015"/>
                    </a:lnTo>
                    <a:lnTo>
                      <a:pt x="1472" y="1013"/>
                    </a:lnTo>
                    <a:lnTo>
                      <a:pt x="1470" y="1013"/>
                    </a:lnTo>
                    <a:lnTo>
                      <a:pt x="1470" y="1011"/>
                    </a:lnTo>
                    <a:lnTo>
                      <a:pt x="1470" y="1013"/>
                    </a:lnTo>
                    <a:lnTo>
                      <a:pt x="1468" y="1011"/>
                    </a:lnTo>
                    <a:lnTo>
                      <a:pt x="1470" y="1011"/>
                    </a:lnTo>
                    <a:lnTo>
                      <a:pt x="1468" y="1009"/>
                    </a:lnTo>
                    <a:lnTo>
                      <a:pt x="1466" y="1009"/>
                    </a:lnTo>
                    <a:lnTo>
                      <a:pt x="1468" y="1009"/>
                    </a:lnTo>
                    <a:lnTo>
                      <a:pt x="1466" y="1011"/>
                    </a:lnTo>
                    <a:lnTo>
                      <a:pt x="1466" y="1009"/>
                    </a:lnTo>
                    <a:lnTo>
                      <a:pt x="1464" y="1009"/>
                    </a:lnTo>
                    <a:lnTo>
                      <a:pt x="1462" y="1007"/>
                    </a:lnTo>
                    <a:lnTo>
                      <a:pt x="1462" y="1009"/>
                    </a:lnTo>
                    <a:lnTo>
                      <a:pt x="1464" y="1011"/>
                    </a:lnTo>
                    <a:lnTo>
                      <a:pt x="1466" y="1009"/>
                    </a:lnTo>
                    <a:lnTo>
                      <a:pt x="1466" y="1011"/>
                    </a:lnTo>
                    <a:lnTo>
                      <a:pt x="1468" y="1011"/>
                    </a:lnTo>
                    <a:lnTo>
                      <a:pt x="1468" y="1013"/>
                    </a:lnTo>
                    <a:lnTo>
                      <a:pt x="1470" y="1013"/>
                    </a:lnTo>
                    <a:lnTo>
                      <a:pt x="1470" y="1015"/>
                    </a:lnTo>
                    <a:lnTo>
                      <a:pt x="1468" y="1015"/>
                    </a:lnTo>
                    <a:lnTo>
                      <a:pt x="1470" y="1015"/>
                    </a:lnTo>
                    <a:lnTo>
                      <a:pt x="1472" y="1015"/>
                    </a:lnTo>
                    <a:lnTo>
                      <a:pt x="1470" y="1015"/>
                    </a:lnTo>
                    <a:lnTo>
                      <a:pt x="1472" y="1015"/>
                    </a:lnTo>
                    <a:lnTo>
                      <a:pt x="1470" y="1017"/>
                    </a:lnTo>
                    <a:lnTo>
                      <a:pt x="1472" y="1015"/>
                    </a:lnTo>
                    <a:lnTo>
                      <a:pt x="1472" y="1017"/>
                    </a:lnTo>
                    <a:lnTo>
                      <a:pt x="1470" y="1017"/>
                    </a:lnTo>
                    <a:lnTo>
                      <a:pt x="1470" y="1018"/>
                    </a:lnTo>
                    <a:lnTo>
                      <a:pt x="1470" y="1017"/>
                    </a:lnTo>
                    <a:lnTo>
                      <a:pt x="1472" y="1017"/>
                    </a:lnTo>
                    <a:lnTo>
                      <a:pt x="1472" y="1015"/>
                    </a:lnTo>
                    <a:lnTo>
                      <a:pt x="1474" y="1015"/>
                    </a:lnTo>
                    <a:lnTo>
                      <a:pt x="1474" y="1017"/>
                    </a:lnTo>
                    <a:lnTo>
                      <a:pt x="1472" y="1017"/>
                    </a:lnTo>
                    <a:lnTo>
                      <a:pt x="1472" y="1018"/>
                    </a:lnTo>
                    <a:lnTo>
                      <a:pt x="1472" y="1017"/>
                    </a:lnTo>
                    <a:lnTo>
                      <a:pt x="1474" y="1017"/>
                    </a:lnTo>
                    <a:lnTo>
                      <a:pt x="1474" y="1018"/>
                    </a:lnTo>
                    <a:lnTo>
                      <a:pt x="1474" y="1017"/>
                    </a:lnTo>
                    <a:lnTo>
                      <a:pt x="1476" y="1017"/>
                    </a:lnTo>
                    <a:lnTo>
                      <a:pt x="1474" y="1017"/>
                    </a:lnTo>
                    <a:lnTo>
                      <a:pt x="1474" y="1015"/>
                    </a:lnTo>
                    <a:lnTo>
                      <a:pt x="1476" y="1015"/>
                    </a:lnTo>
                    <a:lnTo>
                      <a:pt x="1476" y="1017"/>
                    </a:lnTo>
                    <a:lnTo>
                      <a:pt x="1476" y="1015"/>
                    </a:lnTo>
                    <a:lnTo>
                      <a:pt x="1478" y="1017"/>
                    </a:lnTo>
                    <a:lnTo>
                      <a:pt x="1478" y="1015"/>
                    </a:lnTo>
                    <a:lnTo>
                      <a:pt x="1479" y="1015"/>
                    </a:lnTo>
                    <a:lnTo>
                      <a:pt x="1479" y="1018"/>
                    </a:lnTo>
                    <a:lnTo>
                      <a:pt x="1481" y="1022"/>
                    </a:lnTo>
                    <a:lnTo>
                      <a:pt x="1481" y="1028"/>
                    </a:lnTo>
                    <a:lnTo>
                      <a:pt x="1487" y="1038"/>
                    </a:lnTo>
                    <a:lnTo>
                      <a:pt x="1485" y="1038"/>
                    </a:lnTo>
                    <a:lnTo>
                      <a:pt x="1485" y="1036"/>
                    </a:lnTo>
                    <a:lnTo>
                      <a:pt x="1483" y="1034"/>
                    </a:lnTo>
                    <a:lnTo>
                      <a:pt x="1483" y="1032"/>
                    </a:lnTo>
                    <a:lnTo>
                      <a:pt x="1483" y="1034"/>
                    </a:lnTo>
                    <a:lnTo>
                      <a:pt x="1483" y="1032"/>
                    </a:lnTo>
                    <a:lnTo>
                      <a:pt x="1483" y="1030"/>
                    </a:lnTo>
                    <a:lnTo>
                      <a:pt x="1481" y="1030"/>
                    </a:lnTo>
                    <a:lnTo>
                      <a:pt x="1481" y="1028"/>
                    </a:lnTo>
                    <a:lnTo>
                      <a:pt x="1481" y="1026"/>
                    </a:lnTo>
                    <a:lnTo>
                      <a:pt x="1481" y="1024"/>
                    </a:lnTo>
                    <a:lnTo>
                      <a:pt x="1481" y="1022"/>
                    </a:lnTo>
                    <a:lnTo>
                      <a:pt x="1479" y="1022"/>
                    </a:lnTo>
                    <a:lnTo>
                      <a:pt x="1479" y="1020"/>
                    </a:lnTo>
                    <a:lnTo>
                      <a:pt x="1479" y="1022"/>
                    </a:lnTo>
                    <a:lnTo>
                      <a:pt x="1479" y="1024"/>
                    </a:lnTo>
                    <a:lnTo>
                      <a:pt x="1478" y="1022"/>
                    </a:lnTo>
                    <a:lnTo>
                      <a:pt x="1478" y="1024"/>
                    </a:lnTo>
                    <a:lnTo>
                      <a:pt x="1479" y="1024"/>
                    </a:lnTo>
                    <a:lnTo>
                      <a:pt x="1479" y="1026"/>
                    </a:lnTo>
                    <a:lnTo>
                      <a:pt x="1481" y="1028"/>
                    </a:lnTo>
                    <a:lnTo>
                      <a:pt x="1481" y="1030"/>
                    </a:lnTo>
                    <a:lnTo>
                      <a:pt x="1481" y="1032"/>
                    </a:lnTo>
                    <a:lnTo>
                      <a:pt x="1481" y="1030"/>
                    </a:lnTo>
                    <a:lnTo>
                      <a:pt x="1479" y="1030"/>
                    </a:lnTo>
                    <a:lnTo>
                      <a:pt x="1479" y="1028"/>
                    </a:lnTo>
                    <a:lnTo>
                      <a:pt x="1479" y="1030"/>
                    </a:lnTo>
                    <a:lnTo>
                      <a:pt x="1478" y="1028"/>
                    </a:lnTo>
                    <a:lnTo>
                      <a:pt x="1476" y="1028"/>
                    </a:lnTo>
                    <a:lnTo>
                      <a:pt x="1478" y="1030"/>
                    </a:lnTo>
                    <a:lnTo>
                      <a:pt x="1476" y="1030"/>
                    </a:lnTo>
                    <a:lnTo>
                      <a:pt x="1478" y="1030"/>
                    </a:lnTo>
                    <a:lnTo>
                      <a:pt x="1478" y="1032"/>
                    </a:lnTo>
                    <a:lnTo>
                      <a:pt x="1478" y="1030"/>
                    </a:lnTo>
                    <a:lnTo>
                      <a:pt x="1476" y="1030"/>
                    </a:lnTo>
                    <a:lnTo>
                      <a:pt x="1478" y="1032"/>
                    </a:lnTo>
                    <a:lnTo>
                      <a:pt x="1476" y="1032"/>
                    </a:lnTo>
                    <a:lnTo>
                      <a:pt x="1474" y="1030"/>
                    </a:lnTo>
                    <a:lnTo>
                      <a:pt x="1476" y="1032"/>
                    </a:lnTo>
                    <a:lnTo>
                      <a:pt x="1474" y="1032"/>
                    </a:lnTo>
                    <a:lnTo>
                      <a:pt x="1472" y="1030"/>
                    </a:lnTo>
                    <a:lnTo>
                      <a:pt x="1472" y="1032"/>
                    </a:lnTo>
                    <a:lnTo>
                      <a:pt x="1474" y="1032"/>
                    </a:lnTo>
                    <a:lnTo>
                      <a:pt x="1472" y="1032"/>
                    </a:lnTo>
                    <a:lnTo>
                      <a:pt x="1472" y="1034"/>
                    </a:lnTo>
                    <a:lnTo>
                      <a:pt x="1470" y="1034"/>
                    </a:lnTo>
                    <a:lnTo>
                      <a:pt x="1470" y="1032"/>
                    </a:lnTo>
                    <a:lnTo>
                      <a:pt x="1468" y="1034"/>
                    </a:lnTo>
                    <a:lnTo>
                      <a:pt x="1468" y="1032"/>
                    </a:lnTo>
                    <a:lnTo>
                      <a:pt x="1468" y="1030"/>
                    </a:lnTo>
                    <a:lnTo>
                      <a:pt x="1468" y="1028"/>
                    </a:lnTo>
                    <a:lnTo>
                      <a:pt x="1468" y="1026"/>
                    </a:lnTo>
                    <a:lnTo>
                      <a:pt x="1468" y="1028"/>
                    </a:lnTo>
                    <a:lnTo>
                      <a:pt x="1466" y="1026"/>
                    </a:lnTo>
                    <a:lnTo>
                      <a:pt x="1468" y="1028"/>
                    </a:lnTo>
                    <a:lnTo>
                      <a:pt x="1466" y="1030"/>
                    </a:lnTo>
                    <a:lnTo>
                      <a:pt x="1468" y="1032"/>
                    </a:lnTo>
                    <a:lnTo>
                      <a:pt x="1468" y="1034"/>
                    </a:lnTo>
                    <a:lnTo>
                      <a:pt x="1468" y="1036"/>
                    </a:lnTo>
                    <a:lnTo>
                      <a:pt x="1470" y="1036"/>
                    </a:lnTo>
                    <a:lnTo>
                      <a:pt x="1472" y="1034"/>
                    </a:lnTo>
                    <a:lnTo>
                      <a:pt x="1474" y="1034"/>
                    </a:lnTo>
                    <a:lnTo>
                      <a:pt x="1472" y="1036"/>
                    </a:lnTo>
                    <a:lnTo>
                      <a:pt x="1474" y="1036"/>
                    </a:lnTo>
                    <a:lnTo>
                      <a:pt x="1476" y="1036"/>
                    </a:lnTo>
                    <a:lnTo>
                      <a:pt x="1474" y="1036"/>
                    </a:lnTo>
                    <a:lnTo>
                      <a:pt x="1474" y="1034"/>
                    </a:lnTo>
                    <a:lnTo>
                      <a:pt x="1476" y="1034"/>
                    </a:lnTo>
                    <a:lnTo>
                      <a:pt x="1478" y="1034"/>
                    </a:lnTo>
                    <a:lnTo>
                      <a:pt x="1479" y="1036"/>
                    </a:lnTo>
                    <a:lnTo>
                      <a:pt x="1478" y="1034"/>
                    </a:lnTo>
                    <a:lnTo>
                      <a:pt x="1478" y="1036"/>
                    </a:lnTo>
                    <a:lnTo>
                      <a:pt x="1478" y="1034"/>
                    </a:lnTo>
                    <a:lnTo>
                      <a:pt x="1478" y="1036"/>
                    </a:lnTo>
                    <a:lnTo>
                      <a:pt x="1479" y="1036"/>
                    </a:lnTo>
                    <a:lnTo>
                      <a:pt x="1478" y="1036"/>
                    </a:lnTo>
                    <a:lnTo>
                      <a:pt x="1478" y="1038"/>
                    </a:lnTo>
                    <a:lnTo>
                      <a:pt x="1478" y="1039"/>
                    </a:lnTo>
                    <a:lnTo>
                      <a:pt x="1476" y="1039"/>
                    </a:lnTo>
                    <a:lnTo>
                      <a:pt x="1478" y="1039"/>
                    </a:lnTo>
                    <a:lnTo>
                      <a:pt x="1478" y="1041"/>
                    </a:lnTo>
                    <a:lnTo>
                      <a:pt x="1479" y="1041"/>
                    </a:lnTo>
                    <a:lnTo>
                      <a:pt x="1479" y="1039"/>
                    </a:lnTo>
                    <a:lnTo>
                      <a:pt x="1479" y="1036"/>
                    </a:lnTo>
                    <a:lnTo>
                      <a:pt x="1481" y="1036"/>
                    </a:lnTo>
                    <a:lnTo>
                      <a:pt x="1479" y="1036"/>
                    </a:lnTo>
                    <a:lnTo>
                      <a:pt x="1481" y="1036"/>
                    </a:lnTo>
                    <a:lnTo>
                      <a:pt x="1481" y="1034"/>
                    </a:lnTo>
                    <a:lnTo>
                      <a:pt x="1481" y="1036"/>
                    </a:lnTo>
                    <a:lnTo>
                      <a:pt x="1483" y="1038"/>
                    </a:lnTo>
                    <a:lnTo>
                      <a:pt x="1483" y="1039"/>
                    </a:lnTo>
                    <a:lnTo>
                      <a:pt x="1483" y="1041"/>
                    </a:lnTo>
                    <a:lnTo>
                      <a:pt x="1481" y="1041"/>
                    </a:lnTo>
                    <a:lnTo>
                      <a:pt x="1483" y="1041"/>
                    </a:lnTo>
                    <a:lnTo>
                      <a:pt x="1481" y="1041"/>
                    </a:lnTo>
                    <a:lnTo>
                      <a:pt x="1479" y="1041"/>
                    </a:lnTo>
                    <a:lnTo>
                      <a:pt x="1481" y="1041"/>
                    </a:lnTo>
                    <a:lnTo>
                      <a:pt x="1479" y="1041"/>
                    </a:lnTo>
                    <a:lnTo>
                      <a:pt x="1479" y="1043"/>
                    </a:lnTo>
                    <a:lnTo>
                      <a:pt x="1478" y="1045"/>
                    </a:lnTo>
                    <a:lnTo>
                      <a:pt x="1478" y="1047"/>
                    </a:lnTo>
                    <a:lnTo>
                      <a:pt x="1476" y="1047"/>
                    </a:lnTo>
                    <a:lnTo>
                      <a:pt x="1476" y="1045"/>
                    </a:lnTo>
                    <a:lnTo>
                      <a:pt x="1474" y="1045"/>
                    </a:lnTo>
                    <a:lnTo>
                      <a:pt x="1476" y="1047"/>
                    </a:lnTo>
                    <a:lnTo>
                      <a:pt x="1474" y="1047"/>
                    </a:lnTo>
                    <a:lnTo>
                      <a:pt x="1474" y="1045"/>
                    </a:lnTo>
                    <a:lnTo>
                      <a:pt x="1474" y="1047"/>
                    </a:lnTo>
                    <a:lnTo>
                      <a:pt x="1472" y="1047"/>
                    </a:lnTo>
                    <a:lnTo>
                      <a:pt x="1472" y="1045"/>
                    </a:lnTo>
                    <a:lnTo>
                      <a:pt x="1474" y="1047"/>
                    </a:lnTo>
                    <a:lnTo>
                      <a:pt x="1472" y="1045"/>
                    </a:lnTo>
                    <a:lnTo>
                      <a:pt x="1472" y="1043"/>
                    </a:lnTo>
                    <a:lnTo>
                      <a:pt x="1472" y="1045"/>
                    </a:lnTo>
                    <a:lnTo>
                      <a:pt x="1470" y="1045"/>
                    </a:lnTo>
                    <a:lnTo>
                      <a:pt x="1472" y="1045"/>
                    </a:lnTo>
                    <a:lnTo>
                      <a:pt x="1470" y="1045"/>
                    </a:lnTo>
                    <a:lnTo>
                      <a:pt x="1472" y="1045"/>
                    </a:lnTo>
                    <a:lnTo>
                      <a:pt x="1470" y="1045"/>
                    </a:lnTo>
                    <a:lnTo>
                      <a:pt x="1470" y="1043"/>
                    </a:lnTo>
                    <a:lnTo>
                      <a:pt x="1472" y="1045"/>
                    </a:lnTo>
                    <a:lnTo>
                      <a:pt x="1470" y="1043"/>
                    </a:lnTo>
                    <a:lnTo>
                      <a:pt x="1472" y="1043"/>
                    </a:lnTo>
                    <a:lnTo>
                      <a:pt x="1472" y="1041"/>
                    </a:lnTo>
                    <a:lnTo>
                      <a:pt x="1472" y="1043"/>
                    </a:lnTo>
                    <a:lnTo>
                      <a:pt x="1470" y="1041"/>
                    </a:lnTo>
                    <a:lnTo>
                      <a:pt x="1472" y="1043"/>
                    </a:lnTo>
                    <a:lnTo>
                      <a:pt x="1470" y="1043"/>
                    </a:lnTo>
                    <a:lnTo>
                      <a:pt x="1468" y="1043"/>
                    </a:lnTo>
                    <a:lnTo>
                      <a:pt x="1468" y="1041"/>
                    </a:lnTo>
                    <a:lnTo>
                      <a:pt x="1468" y="1043"/>
                    </a:lnTo>
                    <a:lnTo>
                      <a:pt x="1470" y="1043"/>
                    </a:lnTo>
                    <a:lnTo>
                      <a:pt x="1470" y="1045"/>
                    </a:lnTo>
                    <a:lnTo>
                      <a:pt x="1468" y="1043"/>
                    </a:lnTo>
                    <a:lnTo>
                      <a:pt x="1470" y="1045"/>
                    </a:lnTo>
                    <a:lnTo>
                      <a:pt x="1468" y="1045"/>
                    </a:lnTo>
                    <a:lnTo>
                      <a:pt x="1466" y="1045"/>
                    </a:lnTo>
                    <a:lnTo>
                      <a:pt x="1466" y="1043"/>
                    </a:lnTo>
                    <a:lnTo>
                      <a:pt x="1466" y="1045"/>
                    </a:lnTo>
                    <a:lnTo>
                      <a:pt x="1464" y="1045"/>
                    </a:lnTo>
                    <a:lnTo>
                      <a:pt x="1466" y="1045"/>
                    </a:lnTo>
                    <a:lnTo>
                      <a:pt x="1464" y="1045"/>
                    </a:lnTo>
                    <a:lnTo>
                      <a:pt x="1464" y="1043"/>
                    </a:lnTo>
                    <a:lnTo>
                      <a:pt x="1462" y="1043"/>
                    </a:lnTo>
                    <a:lnTo>
                      <a:pt x="1464" y="1045"/>
                    </a:lnTo>
                    <a:lnTo>
                      <a:pt x="1462" y="1045"/>
                    </a:lnTo>
                    <a:lnTo>
                      <a:pt x="1464" y="1045"/>
                    </a:lnTo>
                    <a:lnTo>
                      <a:pt x="1466" y="1045"/>
                    </a:lnTo>
                    <a:lnTo>
                      <a:pt x="1464" y="1047"/>
                    </a:lnTo>
                    <a:lnTo>
                      <a:pt x="1466" y="1045"/>
                    </a:lnTo>
                    <a:lnTo>
                      <a:pt x="1468" y="1047"/>
                    </a:lnTo>
                    <a:lnTo>
                      <a:pt x="1466" y="1047"/>
                    </a:lnTo>
                    <a:lnTo>
                      <a:pt x="1468" y="1047"/>
                    </a:lnTo>
                    <a:lnTo>
                      <a:pt x="1470" y="1047"/>
                    </a:lnTo>
                    <a:lnTo>
                      <a:pt x="1468" y="1047"/>
                    </a:lnTo>
                    <a:lnTo>
                      <a:pt x="1470" y="1047"/>
                    </a:lnTo>
                    <a:lnTo>
                      <a:pt x="1470" y="1049"/>
                    </a:lnTo>
                    <a:lnTo>
                      <a:pt x="1470" y="1047"/>
                    </a:lnTo>
                    <a:lnTo>
                      <a:pt x="1472" y="1047"/>
                    </a:lnTo>
                    <a:lnTo>
                      <a:pt x="1470" y="1047"/>
                    </a:lnTo>
                    <a:lnTo>
                      <a:pt x="1472" y="1047"/>
                    </a:lnTo>
                    <a:lnTo>
                      <a:pt x="1470" y="1047"/>
                    </a:lnTo>
                    <a:lnTo>
                      <a:pt x="1472" y="1047"/>
                    </a:lnTo>
                    <a:lnTo>
                      <a:pt x="1472" y="1049"/>
                    </a:lnTo>
                    <a:lnTo>
                      <a:pt x="1470" y="1049"/>
                    </a:lnTo>
                    <a:lnTo>
                      <a:pt x="1472" y="1049"/>
                    </a:lnTo>
                    <a:lnTo>
                      <a:pt x="1470" y="1049"/>
                    </a:lnTo>
                    <a:lnTo>
                      <a:pt x="1472" y="1049"/>
                    </a:lnTo>
                    <a:lnTo>
                      <a:pt x="1470" y="1049"/>
                    </a:lnTo>
                    <a:lnTo>
                      <a:pt x="1468" y="1049"/>
                    </a:lnTo>
                    <a:lnTo>
                      <a:pt x="1470" y="1049"/>
                    </a:lnTo>
                    <a:lnTo>
                      <a:pt x="1468" y="1049"/>
                    </a:lnTo>
                    <a:lnTo>
                      <a:pt x="1468" y="1051"/>
                    </a:lnTo>
                    <a:lnTo>
                      <a:pt x="1466" y="1051"/>
                    </a:lnTo>
                    <a:lnTo>
                      <a:pt x="1468" y="1051"/>
                    </a:lnTo>
                    <a:lnTo>
                      <a:pt x="1470" y="1051"/>
                    </a:lnTo>
                    <a:lnTo>
                      <a:pt x="1470" y="1049"/>
                    </a:lnTo>
                    <a:lnTo>
                      <a:pt x="1470" y="1051"/>
                    </a:lnTo>
                    <a:lnTo>
                      <a:pt x="1468" y="1051"/>
                    </a:lnTo>
                    <a:lnTo>
                      <a:pt x="1470" y="1051"/>
                    </a:lnTo>
                    <a:lnTo>
                      <a:pt x="1468" y="1053"/>
                    </a:lnTo>
                    <a:lnTo>
                      <a:pt x="1466" y="1055"/>
                    </a:lnTo>
                    <a:lnTo>
                      <a:pt x="1464" y="1053"/>
                    </a:lnTo>
                    <a:lnTo>
                      <a:pt x="1464" y="1051"/>
                    </a:lnTo>
                    <a:lnTo>
                      <a:pt x="1464" y="1053"/>
                    </a:lnTo>
                    <a:lnTo>
                      <a:pt x="1462" y="1051"/>
                    </a:lnTo>
                    <a:lnTo>
                      <a:pt x="1464" y="1053"/>
                    </a:lnTo>
                    <a:lnTo>
                      <a:pt x="1462" y="1053"/>
                    </a:lnTo>
                    <a:lnTo>
                      <a:pt x="1462" y="1051"/>
                    </a:lnTo>
                    <a:lnTo>
                      <a:pt x="1460" y="1051"/>
                    </a:lnTo>
                    <a:lnTo>
                      <a:pt x="1460" y="1053"/>
                    </a:lnTo>
                    <a:lnTo>
                      <a:pt x="1462" y="1051"/>
                    </a:lnTo>
                    <a:lnTo>
                      <a:pt x="1462" y="1053"/>
                    </a:lnTo>
                    <a:lnTo>
                      <a:pt x="1464" y="1053"/>
                    </a:lnTo>
                    <a:lnTo>
                      <a:pt x="1464" y="1055"/>
                    </a:lnTo>
                    <a:lnTo>
                      <a:pt x="1466" y="1055"/>
                    </a:lnTo>
                    <a:lnTo>
                      <a:pt x="1466" y="1057"/>
                    </a:lnTo>
                    <a:lnTo>
                      <a:pt x="1466" y="1055"/>
                    </a:lnTo>
                    <a:lnTo>
                      <a:pt x="1468" y="1055"/>
                    </a:lnTo>
                    <a:lnTo>
                      <a:pt x="1468" y="1053"/>
                    </a:lnTo>
                    <a:lnTo>
                      <a:pt x="1470" y="1053"/>
                    </a:lnTo>
                    <a:lnTo>
                      <a:pt x="1470" y="1055"/>
                    </a:lnTo>
                    <a:lnTo>
                      <a:pt x="1470" y="1053"/>
                    </a:lnTo>
                    <a:lnTo>
                      <a:pt x="1472" y="1053"/>
                    </a:lnTo>
                    <a:lnTo>
                      <a:pt x="1472" y="1055"/>
                    </a:lnTo>
                    <a:lnTo>
                      <a:pt x="1474" y="1055"/>
                    </a:lnTo>
                    <a:lnTo>
                      <a:pt x="1474" y="1057"/>
                    </a:lnTo>
                    <a:lnTo>
                      <a:pt x="1472" y="1057"/>
                    </a:lnTo>
                    <a:lnTo>
                      <a:pt x="1472" y="1055"/>
                    </a:lnTo>
                    <a:lnTo>
                      <a:pt x="1472" y="1057"/>
                    </a:lnTo>
                    <a:lnTo>
                      <a:pt x="1472" y="1059"/>
                    </a:lnTo>
                    <a:lnTo>
                      <a:pt x="1472" y="1057"/>
                    </a:lnTo>
                    <a:lnTo>
                      <a:pt x="1470" y="1057"/>
                    </a:lnTo>
                    <a:lnTo>
                      <a:pt x="1472" y="1059"/>
                    </a:lnTo>
                    <a:lnTo>
                      <a:pt x="1470" y="1059"/>
                    </a:lnTo>
                    <a:lnTo>
                      <a:pt x="1472" y="1059"/>
                    </a:lnTo>
                    <a:lnTo>
                      <a:pt x="1470" y="1059"/>
                    </a:lnTo>
                    <a:lnTo>
                      <a:pt x="1470" y="1057"/>
                    </a:lnTo>
                    <a:lnTo>
                      <a:pt x="1470" y="1059"/>
                    </a:lnTo>
                    <a:lnTo>
                      <a:pt x="1470" y="1057"/>
                    </a:lnTo>
                    <a:lnTo>
                      <a:pt x="1468" y="1059"/>
                    </a:lnTo>
                    <a:lnTo>
                      <a:pt x="1470" y="1059"/>
                    </a:lnTo>
                    <a:lnTo>
                      <a:pt x="1468" y="1059"/>
                    </a:lnTo>
                    <a:lnTo>
                      <a:pt x="1468" y="1057"/>
                    </a:lnTo>
                    <a:lnTo>
                      <a:pt x="1468" y="1059"/>
                    </a:lnTo>
                    <a:lnTo>
                      <a:pt x="1468" y="1057"/>
                    </a:lnTo>
                    <a:lnTo>
                      <a:pt x="1466" y="1059"/>
                    </a:lnTo>
                    <a:lnTo>
                      <a:pt x="1468" y="1059"/>
                    </a:lnTo>
                    <a:lnTo>
                      <a:pt x="1466" y="1059"/>
                    </a:lnTo>
                    <a:lnTo>
                      <a:pt x="1464" y="1059"/>
                    </a:lnTo>
                    <a:lnTo>
                      <a:pt x="1462" y="1059"/>
                    </a:lnTo>
                    <a:lnTo>
                      <a:pt x="1462" y="1060"/>
                    </a:lnTo>
                    <a:lnTo>
                      <a:pt x="1460" y="1059"/>
                    </a:lnTo>
                    <a:lnTo>
                      <a:pt x="1462" y="1059"/>
                    </a:lnTo>
                    <a:lnTo>
                      <a:pt x="1460" y="1059"/>
                    </a:lnTo>
                    <a:lnTo>
                      <a:pt x="1460" y="1060"/>
                    </a:lnTo>
                    <a:lnTo>
                      <a:pt x="1460" y="1059"/>
                    </a:lnTo>
                    <a:lnTo>
                      <a:pt x="1460" y="1060"/>
                    </a:lnTo>
                    <a:lnTo>
                      <a:pt x="1458" y="1062"/>
                    </a:lnTo>
                    <a:lnTo>
                      <a:pt x="1457" y="1062"/>
                    </a:lnTo>
                    <a:lnTo>
                      <a:pt x="1457" y="1060"/>
                    </a:lnTo>
                    <a:lnTo>
                      <a:pt x="1457" y="1062"/>
                    </a:lnTo>
                    <a:lnTo>
                      <a:pt x="1457" y="1060"/>
                    </a:lnTo>
                    <a:lnTo>
                      <a:pt x="1458" y="1060"/>
                    </a:lnTo>
                    <a:lnTo>
                      <a:pt x="1457" y="1060"/>
                    </a:lnTo>
                    <a:lnTo>
                      <a:pt x="1457" y="1059"/>
                    </a:lnTo>
                    <a:lnTo>
                      <a:pt x="1457" y="1060"/>
                    </a:lnTo>
                    <a:lnTo>
                      <a:pt x="1457" y="1062"/>
                    </a:lnTo>
                    <a:lnTo>
                      <a:pt x="1455" y="1062"/>
                    </a:lnTo>
                    <a:lnTo>
                      <a:pt x="1455" y="1064"/>
                    </a:lnTo>
                    <a:lnTo>
                      <a:pt x="1453" y="1064"/>
                    </a:lnTo>
                    <a:lnTo>
                      <a:pt x="1453" y="1066"/>
                    </a:lnTo>
                    <a:lnTo>
                      <a:pt x="1451" y="1066"/>
                    </a:lnTo>
                    <a:lnTo>
                      <a:pt x="1451" y="1068"/>
                    </a:lnTo>
                    <a:lnTo>
                      <a:pt x="1449" y="1070"/>
                    </a:lnTo>
                    <a:lnTo>
                      <a:pt x="1449" y="1072"/>
                    </a:lnTo>
                    <a:lnTo>
                      <a:pt x="1447" y="1074"/>
                    </a:lnTo>
                    <a:lnTo>
                      <a:pt x="1447" y="1076"/>
                    </a:lnTo>
                    <a:lnTo>
                      <a:pt x="1447" y="1074"/>
                    </a:lnTo>
                    <a:lnTo>
                      <a:pt x="1447" y="1076"/>
                    </a:lnTo>
                    <a:lnTo>
                      <a:pt x="1449" y="1074"/>
                    </a:lnTo>
                    <a:lnTo>
                      <a:pt x="1447" y="1074"/>
                    </a:lnTo>
                    <a:lnTo>
                      <a:pt x="1449" y="1074"/>
                    </a:lnTo>
                    <a:lnTo>
                      <a:pt x="1449" y="1072"/>
                    </a:lnTo>
                    <a:lnTo>
                      <a:pt x="1449" y="1070"/>
                    </a:lnTo>
                    <a:lnTo>
                      <a:pt x="1447" y="1070"/>
                    </a:lnTo>
                    <a:lnTo>
                      <a:pt x="1447" y="1068"/>
                    </a:lnTo>
                    <a:lnTo>
                      <a:pt x="1447" y="1070"/>
                    </a:lnTo>
                    <a:lnTo>
                      <a:pt x="1447" y="1068"/>
                    </a:lnTo>
                    <a:lnTo>
                      <a:pt x="1447" y="1072"/>
                    </a:lnTo>
                    <a:lnTo>
                      <a:pt x="1447" y="1074"/>
                    </a:lnTo>
                    <a:lnTo>
                      <a:pt x="1445" y="1074"/>
                    </a:lnTo>
                    <a:lnTo>
                      <a:pt x="1443" y="1074"/>
                    </a:lnTo>
                    <a:lnTo>
                      <a:pt x="1441" y="1074"/>
                    </a:lnTo>
                    <a:lnTo>
                      <a:pt x="1439" y="1074"/>
                    </a:lnTo>
                    <a:lnTo>
                      <a:pt x="1438" y="1076"/>
                    </a:lnTo>
                    <a:lnTo>
                      <a:pt x="1438" y="1074"/>
                    </a:lnTo>
                    <a:lnTo>
                      <a:pt x="1439" y="1074"/>
                    </a:lnTo>
                    <a:lnTo>
                      <a:pt x="1438" y="1074"/>
                    </a:lnTo>
                    <a:lnTo>
                      <a:pt x="1438" y="1076"/>
                    </a:lnTo>
                    <a:lnTo>
                      <a:pt x="1436" y="1076"/>
                    </a:lnTo>
                    <a:lnTo>
                      <a:pt x="1434" y="1078"/>
                    </a:lnTo>
                    <a:lnTo>
                      <a:pt x="1432" y="1079"/>
                    </a:lnTo>
                    <a:lnTo>
                      <a:pt x="1430" y="1083"/>
                    </a:lnTo>
                    <a:lnTo>
                      <a:pt x="1428" y="1083"/>
                    </a:lnTo>
                    <a:lnTo>
                      <a:pt x="1428" y="1085"/>
                    </a:lnTo>
                    <a:lnTo>
                      <a:pt x="1426" y="1085"/>
                    </a:lnTo>
                    <a:lnTo>
                      <a:pt x="1428" y="1085"/>
                    </a:lnTo>
                    <a:lnTo>
                      <a:pt x="1426" y="1085"/>
                    </a:lnTo>
                    <a:lnTo>
                      <a:pt x="1426" y="1087"/>
                    </a:lnTo>
                    <a:lnTo>
                      <a:pt x="1428" y="1087"/>
                    </a:lnTo>
                    <a:lnTo>
                      <a:pt x="1428" y="1089"/>
                    </a:lnTo>
                    <a:lnTo>
                      <a:pt x="1426" y="1089"/>
                    </a:lnTo>
                    <a:lnTo>
                      <a:pt x="1428" y="1089"/>
                    </a:lnTo>
                    <a:lnTo>
                      <a:pt x="1426" y="1089"/>
                    </a:lnTo>
                    <a:lnTo>
                      <a:pt x="1426" y="1091"/>
                    </a:lnTo>
                    <a:lnTo>
                      <a:pt x="1424" y="1091"/>
                    </a:lnTo>
                    <a:lnTo>
                      <a:pt x="1426" y="1091"/>
                    </a:lnTo>
                    <a:lnTo>
                      <a:pt x="1424" y="1091"/>
                    </a:lnTo>
                    <a:lnTo>
                      <a:pt x="1422" y="1091"/>
                    </a:lnTo>
                    <a:lnTo>
                      <a:pt x="1420" y="1093"/>
                    </a:lnTo>
                    <a:lnTo>
                      <a:pt x="1422" y="1093"/>
                    </a:lnTo>
                    <a:lnTo>
                      <a:pt x="1420" y="1095"/>
                    </a:lnTo>
                    <a:lnTo>
                      <a:pt x="1418" y="1095"/>
                    </a:lnTo>
                    <a:lnTo>
                      <a:pt x="1420" y="1095"/>
                    </a:lnTo>
                    <a:lnTo>
                      <a:pt x="1418" y="1097"/>
                    </a:lnTo>
                    <a:lnTo>
                      <a:pt x="1417" y="1095"/>
                    </a:lnTo>
                    <a:lnTo>
                      <a:pt x="1418" y="1095"/>
                    </a:lnTo>
                    <a:lnTo>
                      <a:pt x="1418" y="1093"/>
                    </a:lnTo>
                    <a:lnTo>
                      <a:pt x="1417" y="1095"/>
                    </a:lnTo>
                    <a:lnTo>
                      <a:pt x="1417" y="1093"/>
                    </a:lnTo>
                    <a:lnTo>
                      <a:pt x="1417" y="1095"/>
                    </a:lnTo>
                    <a:lnTo>
                      <a:pt x="1417" y="1097"/>
                    </a:lnTo>
                    <a:lnTo>
                      <a:pt x="1417" y="1095"/>
                    </a:lnTo>
                    <a:lnTo>
                      <a:pt x="1415" y="1095"/>
                    </a:lnTo>
                    <a:lnTo>
                      <a:pt x="1417" y="1095"/>
                    </a:lnTo>
                    <a:lnTo>
                      <a:pt x="1417" y="1097"/>
                    </a:lnTo>
                    <a:lnTo>
                      <a:pt x="1417" y="1099"/>
                    </a:lnTo>
                    <a:lnTo>
                      <a:pt x="1415" y="1099"/>
                    </a:lnTo>
                    <a:lnTo>
                      <a:pt x="1413" y="1100"/>
                    </a:lnTo>
                    <a:lnTo>
                      <a:pt x="1411" y="1102"/>
                    </a:lnTo>
                    <a:lnTo>
                      <a:pt x="1409" y="1100"/>
                    </a:lnTo>
                    <a:lnTo>
                      <a:pt x="1409" y="1102"/>
                    </a:lnTo>
                    <a:lnTo>
                      <a:pt x="1409" y="1100"/>
                    </a:lnTo>
                    <a:lnTo>
                      <a:pt x="1407" y="1100"/>
                    </a:lnTo>
                    <a:lnTo>
                      <a:pt x="1405" y="1100"/>
                    </a:lnTo>
                    <a:lnTo>
                      <a:pt x="1407" y="1100"/>
                    </a:lnTo>
                    <a:lnTo>
                      <a:pt x="1407" y="1102"/>
                    </a:lnTo>
                    <a:lnTo>
                      <a:pt x="1409" y="1102"/>
                    </a:lnTo>
                    <a:lnTo>
                      <a:pt x="1409" y="1104"/>
                    </a:lnTo>
                    <a:lnTo>
                      <a:pt x="1407" y="1106"/>
                    </a:lnTo>
                    <a:lnTo>
                      <a:pt x="1405" y="1106"/>
                    </a:lnTo>
                    <a:lnTo>
                      <a:pt x="1407" y="1104"/>
                    </a:lnTo>
                    <a:lnTo>
                      <a:pt x="1405" y="1104"/>
                    </a:lnTo>
                    <a:lnTo>
                      <a:pt x="1405" y="1106"/>
                    </a:lnTo>
                    <a:lnTo>
                      <a:pt x="1405" y="1104"/>
                    </a:lnTo>
                    <a:lnTo>
                      <a:pt x="1405" y="1102"/>
                    </a:lnTo>
                    <a:lnTo>
                      <a:pt x="1405" y="1104"/>
                    </a:lnTo>
                    <a:lnTo>
                      <a:pt x="1403" y="1104"/>
                    </a:lnTo>
                    <a:lnTo>
                      <a:pt x="1403" y="1102"/>
                    </a:lnTo>
                    <a:lnTo>
                      <a:pt x="1403" y="1100"/>
                    </a:lnTo>
                    <a:lnTo>
                      <a:pt x="1401" y="1100"/>
                    </a:lnTo>
                    <a:lnTo>
                      <a:pt x="1403" y="1102"/>
                    </a:lnTo>
                    <a:lnTo>
                      <a:pt x="1403" y="1104"/>
                    </a:lnTo>
                    <a:lnTo>
                      <a:pt x="1401" y="1104"/>
                    </a:lnTo>
                    <a:lnTo>
                      <a:pt x="1403" y="1104"/>
                    </a:lnTo>
                    <a:lnTo>
                      <a:pt x="1403" y="1106"/>
                    </a:lnTo>
                    <a:lnTo>
                      <a:pt x="1405" y="1106"/>
                    </a:lnTo>
                    <a:lnTo>
                      <a:pt x="1403" y="1108"/>
                    </a:lnTo>
                    <a:lnTo>
                      <a:pt x="1401" y="1108"/>
                    </a:lnTo>
                    <a:lnTo>
                      <a:pt x="1403" y="1106"/>
                    </a:lnTo>
                    <a:lnTo>
                      <a:pt x="1403" y="1108"/>
                    </a:lnTo>
                    <a:lnTo>
                      <a:pt x="1403" y="1106"/>
                    </a:lnTo>
                    <a:lnTo>
                      <a:pt x="1401" y="1106"/>
                    </a:lnTo>
                    <a:lnTo>
                      <a:pt x="1403" y="1106"/>
                    </a:lnTo>
                    <a:lnTo>
                      <a:pt x="1401" y="1108"/>
                    </a:lnTo>
                    <a:lnTo>
                      <a:pt x="1401" y="1110"/>
                    </a:lnTo>
                    <a:lnTo>
                      <a:pt x="1401" y="1112"/>
                    </a:lnTo>
                    <a:lnTo>
                      <a:pt x="1401" y="1110"/>
                    </a:lnTo>
                    <a:lnTo>
                      <a:pt x="1399" y="1112"/>
                    </a:lnTo>
                    <a:lnTo>
                      <a:pt x="1401" y="1112"/>
                    </a:lnTo>
                    <a:lnTo>
                      <a:pt x="1399" y="1114"/>
                    </a:lnTo>
                    <a:lnTo>
                      <a:pt x="1397" y="1112"/>
                    </a:lnTo>
                    <a:lnTo>
                      <a:pt x="1397" y="1114"/>
                    </a:lnTo>
                    <a:lnTo>
                      <a:pt x="1397" y="1112"/>
                    </a:lnTo>
                    <a:lnTo>
                      <a:pt x="1397" y="1114"/>
                    </a:lnTo>
                    <a:lnTo>
                      <a:pt x="1399" y="1114"/>
                    </a:lnTo>
                    <a:lnTo>
                      <a:pt x="1397" y="1116"/>
                    </a:lnTo>
                    <a:lnTo>
                      <a:pt x="1396" y="1116"/>
                    </a:lnTo>
                    <a:lnTo>
                      <a:pt x="1397" y="1116"/>
                    </a:lnTo>
                    <a:lnTo>
                      <a:pt x="1397" y="1118"/>
                    </a:lnTo>
                    <a:lnTo>
                      <a:pt x="1397" y="1120"/>
                    </a:lnTo>
                    <a:lnTo>
                      <a:pt x="1396" y="1118"/>
                    </a:lnTo>
                    <a:lnTo>
                      <a:pt x="1396" y="1120"/>
                    </a:lnTo>
                    <a:lnTo>
                      <a:pt x="1394" y="1120"/>
                    </a:lnTo>
                    <a:lnTo>
                      <a:pt x="1396" y="1120"/>
                    </a:lnTo>
                    <a:lnTo>
                      <a:pt x="1397" y="1120"/>
                    </a:lnTo>
                    <a:lnTo>
                      <a:pt x="1396" y="1121"/>
                    </a:lnTo>
                    <a:lnTo>
                      <a:pt x="1394" y="1121"/>
                    </a:lnTo>
                    <a:lnTo>
                      <a:pt x="1396" y="1123"/>
                    </a:lnTo>
                    <a:lnTo>
                      <a:pt x="1394" y="1123"/>
                    </a:lnTo>
                    <a:lnTo>
                      <a:pt x="1396" y="1123"/>
                    </a:lnTo>
                    <a:lnTo>
                      <a:pt x="1396" y="1125"/>
                    </a:lnTo>
                    <a:lnTo>
                      <a:pt x="1394" y="1123"/>
                    </a:lnTo>
                    <a:lnTo>
                      <a:pt x="1394" y="1125"/>
                    </a:lnTo>
                    <a:lnTo>
                      <a:pt x="1394" y="1127"/>
                    </a:lnTo>
                    <a:lnTo>
                      <a:pt x="1394" y="1125"/>
                    </a:lnTo>
                    <a:lnTo>
                      <a:pt x="1392" y="1125"/>
                    </a:lnTo>
                    <a:lnTo>
                      <a:pt x="1392" y="1127"/>
                    </a:lnTo>
                    <a:lnTo>
                      <a:pt x="1392" y="1125"/>
                    </a:lnTo>
                    <a:lnTo>
                      <a:pt x="1392" y="1127"/>
                    </a:lnTo>
                    <a:lnTo>
                      <a:pt x="1392" y="1125"/>
                    </a:lnTo>
                    <a:lnTo>
                      <a:pt x="1392" y="1127"/>
                    </a:lnTo>
                    <a:lnTo>
                      <a:pt x="1390" y="1127"/>
                    </a:lnTo>
                    <a:lnTo>
                      <a:pt x="1392" y="1127"/>
                    </a:lnTo>
                    <a:lnTo>
                      <a:pt x="1394" y="1127"/>
                    </a:lnTo>
                    <a:lnTo>
                      <a:pt x="1392" y="1129"/>
                    </a:lnTo>
                    <a:lnTo>
                      <a:pt x="1392" y="1127"/>
                    </a:lnTo>
                    <a:lnTo>
                      <a:pt x="1392" y="1129"/>
                    </a:lnTo>
                    <a:lnTo>
                      <a:pt x="1392" y="1127"/>
                    </a:lnTo>
                    <a:lnTo>
                      <a:pt x="1392" y="1129"/>
                    </a:lnTo>
                    <a:lnTo>
                      <a:pt x="1390" y="1129"/>
                    </a:lnTo>
                    <a:lnTo>
                      <a:pt x="1392" y="1129"/>
                    </a:lnTo>
                    <a:lnTo>
                      <a:pt x="1392" y="1131"/>
                    </a:lnTo>
                    <a:lnTo>
                      <a:pt x="1394" y="1129"/>
                    </a:lnTo>
                    <a:lnTo>
                      <a:pt x="1394" y="1131"/>
                    </a:lnTo>
                    <a:lnTo>
                      <a:pt x="1392" y="1133"/>
                    </a:lnTo>
                    <a:lnTo>
                      <a:pt x="1392" y="1135"/>
                    </a:lnTo>
                    <a:lnTo>
                      <a:pt x="1392" y="1133"/>
                    </a:lnTo>
                    <a:lnTo>
                      <a:pt x="1392" y="1135"/>
                    </a:lnTo>
                    <a:lnTo>
                      <a:pt x="1392" y="1137"/>
                    </a:lnTo>
                    <a:lnTo>
                      <a:pt x="1392" y="1139"/>
                    </a:lnTo>
                    <a:lnTo>
                      <a:pt x="1394" y="1139"/>
                    </a:lnTo>
                    <a:lnTo>
                      <a:pt x="1394" y="1141"/>
                    </a:lnTo>
                    <a:lnTo>
                      <a:pt x="1392" y="1141"/>
                    </a:lnTo>
                    <a:lnTo>
                      <a:pt x="1394" y="1141"/>
                    </a:lnTo>
                    <a:lnTo>
                      <a:pt x="1392" y="1141"/>
                    </a:lnTo>
                    <a:lnTo>
                      <a:pt x="1390" y="1141"/>
                    </a:lnTo>
                    <a:lnTo>
                      <a:pt x="1390" y="1142"/>
                    </a:lnTo>
                    <a:lnTo>
                      <a:pt x="1388" y="1142"/>
                    </a:lnTo>
                    <a:lnTo>
                      <a:pt x="1388" y="1144"/>
                    </a:lnTo>
                    <a:lnTo>
                      <a:pt x="1388" y="1146"/>
                    </a:lnTo>
                    <a:lnTo>
                      <a:pt x="1388" y="1144"/>
                    </a:lnTo>
                    <a:lnTo>
                      <a:pt x="1388" y="1146"/>
                    </a:lnTo>
                    <a:lnTo>
                      <a:pt x="1388" y="1148"/>
                    </a:lnTo>
                    <a:lnTo>
                      <a:pt x="1390" y="1148"/>
                    </a:lnTo>
                    <a:lnTo>
                      <a:pt x="1390" y="1150"/>
                    </a:lnTo>
                    <a:lnTo>
                      <a:pt x="1390" y="1152"/>
                    </a:lnTo>
                    <a:lnTo>
                      <a:pt x="1390" y="1154"/>
                    </a:lnTo>
                    <a:lnTo>
                      <a:pt x="1390" y="1156"/>
                    </a:lnTo>
                    <a:lnTo>
                      <a:pt x="1388" y="1156"/>
                    </a:lnTo>
                    <a:lnTo>
                      <a:pt x="1388" y="1158"/>
                    </a:lnTo>
                    <a:lnTo>
                      <a:pt x="1388" y="1160"/>
                    </a:lnTo>
                    <a:lnTo>
                      <a:pt x="1390" y="1160"/>
                    </a:lnTo>
                    <a:lnTo>
                      <a:pt x="1390" y="1162"/>
                    </a:lnTo>
                    <a:lnTo>
                      <a:pt x="1392" y="1162"/>
                    </a:lnTo>
                    <a:lnTo>
                      <a:pt x="1390" y="1162"/>
                    </a:lnTo>
                    <a:lnTo>
                      <a:pt x="1392" y="1160"/>
                    </a:lnTo>
                    <a:lnTo>
                      <a:pt x="1390" y="1160"/>
                    </a:lnTo>
                    <a:lnTo>
                      <a:pt x="1390" y="1158"/>
                    </a:lnTo>
                    <a:lnTo>
                      <a:pt x="1388" y="1158"/>
                    </a:lnTo>
                    <a:lnTo>
                      <a:pt x="1388" y="1156"/>
                    </a:lnTo>
                    <a:lnTo>
                      <a:pt x="1390" y="1156"/>
                    </a:lnTo>
                    <a:lnTo>
                      <a:pt x="1390" y="1154"/>
                    </a:lnTo>
                    <a:lnTo>
                      <a:pt x="1390" y="1152"/>
                    </a:lnTo>
                    <a:lnTo>
                      <a:pt x="1392" y="1152"/>
                    </a:lnTo>
                    <a:lnTo>
                      <a:pt x="1390" y="1152"/>
                    </a:lnTo>
                    <a:lnTo>
                      <a:pt x="1390" y="1150"/>
                    </a:lnTo>
                    <a:lnTo>
                      <a:pt x="1390" y="1148"/>
                    </a:lnTo>
                    <a:lnTo>
                      <a:pt x="1388" y="1146"/>
                    </a:lnTo>
                    <a:lnTo>
                      <a:pt x="1390" y="1146"/>
                    </a:lnTo>
                    <a:lnTo>
                      <a:pt x="1390" y="1144"/>
                    </a:lnTo>
                    <a:lnTo>
                      <a:pt x="1388" y="1144"/>
                    </a:lnTo>
                    <a:lnTo>
                      <a:pt x="1390" y="1144"/>
                    </a:lnTo>
                    <a:lnTo>
                      <a:pt x="1388" y="1142"/>
                    </a:lnTo>
                    <a:lnTo>
                      <a:pt x="1390" y="1142"/>
                    </a:lnTo>
                    <a:lnTo>
                      <a:pt x="1388" y="1142"/>
                    </a:lnTo>
                    <a:lnTo>
                      <a:pt x="1390" y="1142"/>
                    </a:lnTo>
                    <a:lnTo>
                      <a:pt x="1390" y="1141"/>
                    </a:lnTo>
                    <a:lnTo>
                      <a:pt x="1392" y="1141"/>
                    </a:lnTo>
                    <a:lnTo>
                      <a:pt x="1394" y="1141"/>
                    </a:lnTo>
                    <a:lnTo>
                      <a:pt x="1394" y="1142"/>
                    </a:lnTo>
                    <a:lnTo>
                      <a:pt x="1396" y="1150"/>
                    </a:lnTo>
                    <a:lnTo>
                      <a:pt x="1394" y="1148"/>
                    </a:lnTo>
                    <a:lnTo>
                      <a:pt x="1394" y="1146"/>
                    </a:lnTo>
                    <a:lnTo>
                      <a:pt x="1394" y="1148"/>
                    </a:lnTo>
                    <a:lnTo>
                      <a:pt x="1394" y="1146"/>
                    </a:lnTo>
                    <a:lnTo>
                      <a:pt x="1394" y="1148"/>
                    </a:lnTo>
                    <a:lnTo>
                      <a:pt x="1394" y="1150"/>
                    </a:lnTo>
                    <a:lnTo>
                      <a:pt x="1396" y="1152"/>
                    </a:lnTo>
                    <a:lnTo>
                      <a:pt x="1396" y="1154"/>
                    </a:lnTo>
                    <a:lnTo>
                      <a:pt x="1399" y="1162"/>
                    </a:lnTo>
                    <a:lnTo>
                      <a:pt x="1401" y="1165"/>
                    </a:lnTo>
                    <a:lnTo>
                      <a:pt x="1403" y="1171"/>
                    </a:lnTo>
                    <a:lnTo>
                      <a:pt x="1407" y="1173"/>
                    </a:lnTo>
                    <a:lnTo>
                      <a:pt x="1407" y="1175"/>
                    </a:lnTo>
                    <a:lnTo>
                      <a:pt x="1405" y="1177"/>
                    </a:lnTo>
                    <a:lnTo>
                      <a:pt x="1405" y="1175"/>
                    </a:lnTo>
                    <a:lnTo>
                      <a:pt x="1405" y="1173"/>
                    </a:lnTo>
                    <a:lnTo>
                      <a:pt x="1405" y="1175"/>
                    </a:lnTo>
                    <a:lnTo>
                      <a:pt x="1405" y="1177"/>
                    </a:lnTo>
                    <a:lnTo>
                      <a:pt x="1403" y="1177"/>
                    </a:lnTo>
                    <a:lnTo>
                      <a:pt x="1403" y="1175"/>
                    </a:lnTo>
                    <a:lnTo>
                      <a:pt x="1403" y="1173"/>
                    </a:lnTo>
                    <a:lnTo>
                      <a:pt x="1403" y="1171"/>
                    </a:lnTo>
                    <a:lnTo>
                      <a:pt x="1405" y="1171"/>
                    </a:lnTo>
                    <a:lnTo>
                      <a:pt x="1405" y="1173"/>
                    </a:lnTo>
                    <a:lnTo>
                      <a:pt x="1405" y="1171"/>
                    </a:lnTo>
                    <a:lnTo>
                      <a:pt x="1403" y="1171"/>
                    </a:lnTo>
                    <a:lnTo>
                      <a:pt x="1403" y="1169"/>
                    </a:lnTo>
                    <a:lnTo>
                      <a:pt x="1401" y="1169"/>
                    </a:lnTo>
                    <a:lnTo>
                      <a:pt x="1403" y="1171"/>
                    </a:lnTo>
                    <a:lnTo>
                      <a:pt x="1403" y="1169"/>
                    </a:lnTo>
                    <a:lnTo>
                      <a:pt x="1401" y="1169"/>
                    </a:lnTo>
                    <a:lnTo>
                      <a:pt x="1401" y="1173"/>
                    </a:lnTo>
                    <a:lnTo>
                      <a:pt x="1403" y="1173"/>
                    </a:lnTo>
                    <a:lnTo>
                      <a:pt x="1401" y="1173"/>
                    </a:lnTo>
                    <a:lnTo>
                      <a:pt x="1403" y="1173"/>
                    </a:lnTo>
                    <a:lnTo>
                      <a:pt x="1403" y="1175"/>
                    </a:lnTo>
                    <a:lnTo>
                      <a:pt x="1403" y="1177"/>
                    </a:lnTo>
                    <a:lnTo>
                      <a:pt x="1405" y="1183"/>
                    </a:lnTo>
                    <a:lnTo>
                      <a:pt x="1407" y="1186"/>
                    </a:lnTo>
                    <a:lnTo>
                      <a:pt x="1409" y="1190"/>
                    </a:lnTo>
                    <a:lnTo>
                      <a:pt x="1411" y="1194"/>
                    </a:lnTo>
                    <a:lnTo>
                      <a:pt x="1411" y="1198"/>
                    </a:lnTo>
                    <a:lnTo>
                      <a:pt x="1413" y="1198"/>
                    </a:lnTo>
                    <a:lnTo>
                      <a:pt x="1413" y="1200"/>
                    </a:lnTo>
                    <a:lnTo>
                      <a:pt x="1413" y="1198"/>
                    </a:lnTo>
                    <a:lnTo>
                      <a:pt x="1411" y="1198"/>
                    </a:lnTo>
                    <a:lnTo>
                      <a:pt x="1411" y="1200"/>
                    </a:lnTo>
                    <a:lnTo>
                      <a:pt x="1411" y="1198"/>
                    </a:lnTo>
                    <a:lnTo>
                      <a:pt x="1413" y="1198"/>
                    </a:lnTo>
                    <a:lnTo>
                      <a:pt x="1413" y="1200"/>
                    </a:lnTo>
                    <a:lnTo>
                      <a:pt x="1415" y="1202"/>
                    </a:lnTo>
                    <a:lnTo>
                      <a:pt x="1415" y="1205"/>
                    </a:lnTo>
                    <a:lnTo>
                      <a:pt x="1415" y="1207"/>
                    </a:lnTo>
                    <a:lnTo>
                      <a:pt x="1415" y="1209"/>
                    </a:lnTo>
                    <a:lnTo>
                      <a:pt x="1413" y="1219"/>
                    </a:lnTo>
                    <a:lnTo>
                      <a:pt x="1413" y="1217"/>
                    </a:lnTo>
                    <a:lnTo>
                      <a:pt x="1413" y="1219"/>
                    </a:lnTo>
                    <a:lnTo>
                      <a:pt x="1413" y="1221"/>
                    </a:lnTo>
                    <a:lnTo>
                      <a:pt x="1413" y="1223"/>
                    </a:lnTo>
                    <a:lnTo>
                      <a:pt x="1413" y="1225"/>
                    </a:lnTo>
                    <a:lnTo>
                      <a:pt x="1411" y="1225"/>
                    </a:lnTo>
                    <a:lnTo>
                      <a:pt x="1411" y="1226"/>
                    </a:lnTo>
                    <a:lnTo>
                      <a:pt x="1411" y="1228"/>
                    </a:lnTo>
                    <a:lnTo>
                      <a:pt x="1409" y="1228"/>
                    </a:lnTo>
                    <a:lnTo>
                      <a:pt x="1411" y="1230"/>
                    </a:lnTo>
                    <a:lnTo>
                      <a:pt x="1409" y="1232"/>
                    </a:lnTo>
                    <a:lnTo>
                      <a:pt x="1409" y="1234"/>
                    </a:lnTo>
                    <a:lnTo>
                      <a:pt x="1411" y="1232"/>
                    </a:lnTo>
                    <a:lnTo>
                      <a:pt x="1409" y="1232"/>
                    </a:lnTo>
                    <a:lnTo>
                      <a:pt x="1411" y="1232"/>
                    </a:lnTo>
                    <a:lnTo>
                      <a:pt x="1409" y="1234"/>
                    </a:lnTo>
                    <a:lnTo>
                      <a:pt x="1409" y="1236"/>
                    </a:lnTo>
                    <a:lnTo>
                      <a:pt x="1407" y="1238"/>
                    </a:lnTo>
                    <a:lnTo>
                      <a:pt x="1405" y="1238"/>
                    </a:lnTo>
                    <a:lnTo>
                      <a:pt x="1407" y="1238"/>
                    </a:lnTo>
                    <a:lnTo>
                      <a:pt x="1407" y="1236"/>
                    </a:lnTo>
                    <a:lnTo>
                      <a:pt x="1409" y="1236"/>
                    </a:lnTo>
                    <a:lnTo>
                      <a:pt x="1409" y="1234"/>
                    </a:lnTo>
                    <a:lnTo>
                      <a:pt x="1409" y="1232"/>
                    </a:lnTo>
                    <a:lnTo>
                      <a:pt x="1407" y="1234"/>
                    </a:lnTo>
                    <a:lnTo>
                      <a:pt x="1409" y="1234"/>
                    </a:lnTo>
                    <a:lnTo>
                      <a:pt x="1407" y="1234"/>
                    </a:lnTo>
                    <a:lnTo>
                      <a:pt x="1409" y="1234"/>
                    </a:lnTo>
                    <a:lnTo>
                      <a:pt x="1407" y="1234"/>
                    </a:lnTo>
                    <a:lnTo>
                      <a:pt x="1409" y="1234"/>
                    </a:lnTo>
                    <a:lnTo>
                      <a:pt x="1409" y="1236"/>
                    </a:lnTo>
                    <a:lnTo>
                      <a:pt x="1409" y="1234"/>
                    </a:lnTo>
                    <a:lnTo>
                      <a:pt x="1407" y="1236"/>
                    </a:lnTo>
                    <a:lnTo>
                      <a:pt x="1407" y="1234"/>
                    </a:lnTo>
                    <a:lnTo>
                      <a:pt x="1409" y="1234"/>
                    </a:lnTo>
                    <a:lnTo>
                      <a:pt x="1407" y="1234"/>
                    </a:lnTo>
                    <a:lnTo>
                      <a:pt x="1405" y="1234"/>
                    </a:lnTo>
                    <a:lnTo>
                      <a:pt x="1407" y="1234"/>
                    </a:lnTo>
                    <a:lnTo>
                      <a:pt x="1405" y="1234"/>
                    </a:lnTo>
                    <a:lnTo>
                      <a:pt x="1403" y="1234"/>
                    </a:lnTo>
                    <a:lnTo>
                      <a:pt x="1401" y="1234"/>
                    </a:lnTo>
                    <a:lnTo>
                      <a:pt x="1397" y="1236"/>
                    </a:lnTo>
                    <a:lnTo>
                      <a:pt x="1397" y="1234"/>
                    </a:lnTo>
                    <a:lnTo>
                      <a:pt x="1397" y="1232"/>
                    </a:lnTo>
                    <a:lnTo>
                      <a:pt x="1399" y="1234"/>
                    </a:lnTo>
                    <a:lnTo>
                      <a:pt x="1401" y="1234"/>
                    </a:lnTo>
                    <a:lnTo>
                      <a:pt x="1401" y="1232"/>
                    </a:lnTo>
                    <a:lnTo>
                      <a:pt x="1399" y="1232"/>
                    </a:lnTo>
                    <a:lnTo>
                      <a:pt x="1401" y="1232"/>
                    </a:lnTo>
                    <a:lnTo>
                      <a:pt x="1399" y="1232"/>
                    </a:lnTo>
                    <a:lnTo>
                      <a:pt x="1397" y="1232"/>
                    </a:lnTo>
                    <a:lnTo>
                      <a:pt x="1397" y="1230"/>
                    </a:lnTo>
                    <a:lnTo>
                      <a:pt x="1397" y="1228"/>
                    </a:lnTo>
                    <a:lnTo>
                      <a:pt x="1396" y="1228"/>
                    </a:lnTo>
                    <a:lnTo>
                      <a:pt x="1396" y="1226"/>
                    </a:lnTo>
                    <a:lnTo>
                      <a:pt x="1396" y="1225"/>
                    </a:lnTo>
                    <a:lnTo>
                      <a:pt x="1396" y="1223"/>
                    </a:lnTo>
                    <a:lnTo>
                      <a:pt x="1394" y="1223"/>
                    </a:lnTo>
                    <a:lnTo>
                      <a:pt x="1392" y="1223"/>
                    </a:lnTo>
                    <a:lnTo>
                      <a:pt x="1392" y="1221"/>
                    </a:lnTo>
                    <a:lnTo>
                      <a:pt x="1392" y="1223"/>
                    </a:lnTo>
                    <a:lnTo>
                      <a:pt x="1390" y="1223"/>
                    </a:lnTo>
                    <a:lnTo>
                      <a:pt x="1392" y="1223"/>
                    </a:lnTo>
                    <a:lnTo>
                      <a:pt x="1392" y="1221"/>
                    </a:lnTo>
                    <a:lnTo>
                      <a:pt x="1390" y="1221"/>
                    </a:lnTo>
                    <a:lnTo>
                      <a:pt x="1390" y="1223"/>
                    </a:lnTo>
                    <a:lnTo>
                      <a:pt x="1390" y="1221"/>
                    </a:lnTo>
                    <a:lnTo>
                      <a:pt x="1388" y="1221"/>
                    </a:lnTo>
                    <a:lnTo>
                      <a:pt x="1388" y="1219"/>
                    </a:lnTo>
                    <a:lnTo>
                      <a:pt x="1386" y="1219"/>
                    </a:lnTo>
                    <a:lnTo>
                      <a:pt x="1388" y="1219"/>
                    </a:lnTo>
                    <a:lnTo>
                      <a:pt x="1386" y="1217"/>
                    </a:lnTo>
                    <a:lnTo>
                      <a:pt x="1386" y="1219"/>
                    </a:lnTo>
                    <a:lnTo>
                      <a:pt x="1386" y="1217"/>
                    </a:lnTo>
                    <a:lnTo>
                      <a:pt x="1386" y="1219"/>
                    </a:lnTo>
                    <a:lnTo>
                      <a:pt x="1386" y="1215"/>
                    </a:lnTo>
                    <a:lnTo>
                      <a:pt x="1386" y="1213"/>
                    </a:lnTo>
                    <a:lnTo>
                      <a:pt x="1386" y="1211"/>
                    </a:lnTo>
                    <a:lnTo>
                      <a:pt x="1384" y="1211"/>
                    </a:lnTo>
                    <a:lnTo>
                      <a:pt x="1384" y="1209"/>
                    </a:lnTo>
                    <a:lnTo>
                      <a:pt x="1384" y="1211"/>
                    </a:lnTo>
                    <a:lnTo>
                      <a:pt x="1386" y="1209"/>
                    </a:lnTo>
                    <a:lnTo>
                      <a:pt x="1386" y="1207"/>
                    </a:lnTo>
                    <a:lnTo>
                      <a:pt x="1384" y="1209"/>
                    </a:lnTo>
                    <a:lnTo>
                      <a:pt x="1382" y="1211"/>
                    </a:lnTo>
                    <a:lnTo>
                      <a:pt x="1382" y="1209"/>
                    </a:lnTo>
                    <a:lnTo>
                      <a:pt x="1382" y="1207"/>
                    </a:lnTo>
                    <a:lnTo>
                      <a:pt x="1382" y="1205"/>
                    </a:lnTo>
                    <a:lnTo>
                      <a:pt x="1382" y="1204"/>
                    </a:lnTo>
                    <a:lnTo>
                      <a:pt x="1384" y="1204"/>
                    </a:lnTo>
                    <a:lnTo>
                      <a:pt x="1384" y="1202"/>
                    </a:lnTo>
                    <a:lnTo>
                      <a:pt x="1382" y="1202"/>
                    </a:lnTo>
                    <a:lnTo>
                      <a:pt x="1382" y="1204"/>
                    </a:lnTo>
                    <a:lnTo>
                      <a:pt x="1382" y="1202"/>
                    </a:lnTo>
                    <a:lnTo>
                      <a:pt x="1382" y="1204"/>
                    </a:lnTo>
                    <a:lnTo>
                      <a:pt x="1380" y="1204"/>
                    </a:lnTo>
                    <a:lnTo>
                      <a:pt x="1380" y="1202"/>
                    </a:lnTo>
                    <a:lnTo>
                      <a:pt x="1380" y="1204"/>
                    </a:lnTo>
                    <a:lnTo>
                      <a:pt x="1380" y="1202"/>
                    </a:lnTo>
                    <a:lnTo>
                      <a:pt x="1380" y="1204"/>
                    </a:lnTo>
                    <a:lnTo>
                      <a:pt x="1380" y="1205"/>
                    </a:lnTo>
                    <a:lnTo>
                      <a:pt x="1378" y="1205"/>
                    </a:lnTo>
                    <a:lnTo>
                      <a:pt x="1378" y="1204"/>
                    </a:lnTo>
                    <a:lnTo>
                      <a:pt x="1376" y="1202"/>
                    </a:lnTo>
                    <a:lnTo>
                      <a:pt x="1376" y="1200"/>
                    </a:lnTo>
                    <a:lnTo>
                      <a:pt x="1376" y="1198"/>
                    </a:lnTo>
                    <a:lnTo>
                      <a:pt x="1375" y="1198"/>
                    </a:lnTo>
                    <a:lnTo>
                      <a:pt x="1375" y="1196"/>
                    </a:lnTo>
                    <a:lnTo>
                      <a:pt x="1375" y="1194"/>
                    </a:lnTo>
                    <a:lnTo>
                      <a:pt x="1373" y="1194"/>
                    </a:lnTo>
                    <a:lnTo>
                      <a:pt x="1373" y="1192"/>
                    </a:lnTo>
                    <a:lnTo>
                      <a:pt x="1373" y="1194"/>
                    </a:lnTo>
                    <a:lnTo>
                      <a:pt x="1373" y="1192"/>
                    </a:lnTo>
                    <a:lnTo>
                      <a:pt x="1375" y="1194"/>
                    </a:lnTo>
                    <a:lnTo>
                      <a:pt x="1375" y="1192"/>
                    </a:lnTo>
                    <a:lnTo>
                      <a:pt x="1375" y="1194"/>
                    </a:lnTo>
                    <a:lnTo>
                      <a:pt x="1375" y="1192"/>
                    </a:lnTo>
                    <a:lnTo>
                      <a:pt x="1373" y="1192"/>
                    </a:lnTo>
                    <a:lnTo>
                      <a:pt x="1375" y="1192"/>
                    </a:lnTo>
                    <a:lnTo>
                      <a:pt x="1375" y="1190"/>
                    </a:lnTo>
                    <a:lnTo>
                      <a:pt x="1375" y="1192"/>
                    </a:lnTo>
                    <a:lnTo>
                      <a:pt x="1375" y="1190"/>
                    </a:lnTo>
                    <a:lnTo>
                      <a:pt x="1376" y="1190"/>
                    </a:lnTo>
                    <a:lnTo>
                      <a:pt x="1376" y="1188"/>
                    </a:lnTo>
                    <a:lnTo>
                      <a:pt x="1376" y="1190"/>
                    </a:lnTo>
                    <a:lnTo>
                      <a:pt x="1376" y="1188"/>
                    </a:lnTo>
                    <a:lnTo>
                      <a:pt x="1376" y="1186"/>
                    </a:lnTo>
                    <a:lnTo>
                      <a:pt x="1376" y="1184"/>
                    </a:lnTo>
                    <a:lnTo>
                      <a:pt x="1376" y="1186"/>
                    </a:lnTo>
                    <a:lnTo>
                      <a:pt x="1376" y="1184"/>
                    </a:lnTo>
                    <a:lnTo>
                      <a:pt x="1376" y="1186"/>
                    </a:lnTo>
                    <a:lnTo>
                      <a:pt x="1375" y="1186"/>
                    </a:lnTo>
                    <a:lnTo>
                      <a:pt x="1375" y="1184"/>
                    </a:lnTo>
                    <a:lnTo>
                      <a:pt x="1373" y="1184"/>
                    </a:lnTo>
                    <a:lnTo>
                      <a:pt x="1375" y="1184"/>
                    </a:lnTo>
                    <a:lnTo>
                      <a:pt x="1373" y="1184"/>
                    </a:lnTo>
                    <a:lnTo>
                      <a:pt x="1375" y="1184"/>
                    </a:lnTo>
                    <a:lnTo>
                      <a:pt x="1373" y="1184"/>
                    </a:lnTo>
                    <a:lnTo>
                      <a:pt x="1373" y="1183"/>
                    </a:lnTo>
                    <a:lnTo>
                      <a:pt x="1373" y="1184"/>
                    </a:lnTo>
                    <a:lnTo>
                      <a:pt x="1373" y="1186"/>
                    </a:lnTo>
                    <a:lnTo>
                      <a:pt x="1373" y="1184"/>
                    </a:lnTo>
                    <a:lnTo>
                      <a:pt x="1373" y="1186"/>
                    </a:lnTo>
                    <a:lnTo>
                      <a:pt x="1375" y="1186"/>
                    </a:lnTo>
                    <a:lnTo>
                      <a:pt x="1373" y="1186"/>
                    </a:lnTo>
                    <a:lnTo>
                      <a:pt x="1375" y="1186"/>
                    </a:lnTo>
                    <a:lnTo>
                      <a:pt x="1373" y="1186"/>
                    </a:lnTo>
                    <a:lnTo>
                      <a:pt x="1375" y="1186"/>
                    </a:lnTo>
                    <a:lnTo>
                      <a:pt x="1375" y="1188"/>
                    </a:lnTo>
                    <a:lnTo>
                      <a:pt x="1375" y="1186"/>
                    </a:lnTo>
                    <a:lnTo>
                      <a:pt x="1373" y="1186"/>
                    </a:lnTo>
                    <a:lnTo>
                      <a:pt x="1375" y="1186"/>
                    </a:lnTo>
                    <a:lnTo>
                      <a:pt x="1373" y="1186"/>
                    </a:lnTo>
                    <a:lnTo>
                      <a:pt x="1373" y="1188"/>
                    </a:lnTo>
                    <a:lnTo>
                      <a:pt x="1375" y="1188"/>
                    </a:lnTo>
                    <a:lnTo>
                      <a:pt x="1373" y="1188"/>
                    </a:lnTo>
                    <a:lnTo>
                      <a:pt x="1373" y="1190"/>
                    </a:lnTo>
                    <a:lnTo>
                      <a:pt x="1373" y="1188"/>
                    </a:lnTo>
                    <a:lnTo>
                      <a:pt x="1371" y="1188"/>
                    </a:lnTo>
                    <a:lnTo>
                      <a:pt x="1371" y="1186"/>
                    </a:lnTo>
                    <a:lnTo>
                      <a:pt x="1371" y="1188"/>
                    </a:lnTo>
                    <a:lnTo>
                      <a:pt x="1371" y="1186"/>
                    </a:lnTo>
                    <a:lnTo>
                      <a:pt x="1371" y="1184"/>
                    </a:lnTo>
                    <a:lnTo>
                      <a:pt x="1371" y="1183"/>
                    </a:lnTo>
                    <a:lnTo>
                      <a:pt x="1371" y="1181"/>
                    </a:lnTo>
                    <a:lnTo>
                      <a:pt x="1371" y="1179"/>
                    </a:lnTo>
                    <a:lnTo>
                      <a:pt x="1373" y="1181"/>
                    </a:lnTo>
                    <a:lnTo>
                      <a:pt x="1371" y="1181"/>
                    </a:lnTo>
                    <a:lnTo>
                      <a:pt x="1373" y="1179"/>
                    </a:lnTo>
                    <a:lnTo>
                      <a:pt x="1371" y="1179"/>
                    </a:lnTo>
                    <a:lnTo>
                      <a:pt x="1373" y="1179"/>
                    </a:lnTo>
                    <a:lnTo>
                      <a:pt x="1371" y="1179"/>
                    </a:lnTo>
                    <a:lnTo>
                      <a:pt x="1373" y="1179"/>
                    </a:lnTo>
                    <a:lnTo>
                      <a:pt x="1371" y="1179"/>
                    </a:lnTo>
                    <a:lnTo>
                      <a:pt x="1373" y="1179"/>
                    </a:lnTo>
                    <a:lnTo>
                      <a:pt x="1373" y="1177"/>
                    </a:lnTo>
                    <a:lnTo>
                      <a:pt x="1373" y="1179"/>
                    </a:lnTo>
                    <a:lnTo>
                      <a:pt x="1373" y="1177"/>
                    </a:lnTo>
                    <a:lnTo>
                      <a:pt x="1373" y="1175"/>
                    </a:lnTo>
                    <a:lnTo>
                      <a:pt x="1373" y="1173"/>
                    </a:lnTo>
                    <a:lnTo>
                      <a:pt x="1373" y="1171"/>
                    </a:lnTo>
                    <a:lnTo>
                      <a:pt x="1373" y="1169"/>
                    </a:lnTo>
                    <a:lnTo>
                      <a:pt x="1375" y="1169"/>
                    </a:lnTo>
                    <a:lnTo>
                      <a:pt x="1373" y="1169"/>
                    </a:lnTo>
                    <a:lnTo>
                      <a:pt x="1373" y="1167"/>
                    </a:lnTo>
                    <a:lnTo>
                      <a:pt x="1371" y="1167"/>
                    </a:lnTo>
                    <a:lnTo>
                      <a:pt x="1373" y="1167"/>
                    </a:lnTo>
                    <a:lnTo>
                      <a:pt x="1371" y="1167"/>
                    </a:lnTo>
                    <a:lnTo>
                      <a:pt x="1373" y="1167"/>
                    </a:lnTo>
                    <a:lnTo>
                      <a:pt x="1373" y="1165"/>
                    </a:lnTo>
                    <a:lnTo>
                      <a:pt x="1371" y="1165"/>
                    </a:lnTo>
                    <a:lnTo>
                      <a:pt x="1371" y="1163"/>
                    </a:lnTo>
                    <a:lnTo>
                      <a:pt x="1371" y="1165"/>
                    </a:lnTo>
                    <a:lnTo>
                      <a:pt x="1371" y="1163"/>
                    </a:lnTo>
                    <a:lnTo>
                      <a:pt x="1369" y="1163"/>
                    </a:lnTo>
                    <a:lnTo>
                      <a:pt x="1367" y="1163"/>
                    </a:lnTo>
                    <a:lnTo>
                      <a:pt x="1367" y="1162"/>
                    </a:lnTo>
                    <a:lnTo>
                      <a:pt x="1367" y="1163"/>
                    </a:lnTo>
                    <a:lnTo>
                      <a:pt x="1367" y="1162"/>
                    </a:lnTo>
                    <a:lnTo>
                      <a:pt x="1365" y="1162"/>
                    </a:lnTo>
                    <a:lnTo>
                      <a:pt x="1367" y="1160"/>
                    </a:lnTo>
                    <a:lnTo>
                      <a:pt x="1367" y="1162"/>
                    </a:lnTo>
                    <a:lnTo>
                      <a:pt x="1365" y="1162"/>
                    </a:lnTo>
                    <a:lnTo>
                      <a:pt x="1365" y="1160"/>
                    </a:lnTo>
                    <a:lnTo>
                      <a:pt x="1367" y="1160"/>
                    </a:lnTo>
                    <a:lnTo>
                      <a:pt x="1365" y="1160"/>
                    </a:lnTo>
                    <a:lnTo>
                      <a:pt x="1365" y="1162"/>
                    </a:lnTo>
                    <a:lnTo>
                      <a:pt x="1365" y="1160"/>
                    </a:lnTo>
                    <a:lnTo>
                      <a:pt x="1367" y="1160"/>
                    </a:lnTo>
                    <a:lnTo>
                      <a:pt x="1365" y="1160"/>
                    </a:lnTo>
                    <a:lnTo>
                      <a:pt x="1365" y="1158"/>
                    </a:lnTo>
                    <a:lnTo>
                      <a:pt x="1363" y="1158"/>
                    </a:lnTo>
                    <a:lnTo>
                      <a:pt x="1361" y="1158"/>
                    </a:lnTo>
                    <a:lnTo>
                      <a:pt x="1361" y="1156"/>
                    </a:lnTo>
                    <a:lnTo>
                      <a:pt x="1361" y="1154"/>
                    </a:lnTo>
                    <a:lnTo>
                      <a:pt x="1359" y="1154"/>
                    </a:lnTo>
                    <a:lnTo>
                      <a:pt x="1359" y="1152"/>
                    </a:lnTo>
                    <a:lnTo>
                      <a:pt x="1357" y="1152"/>
                    </a:lnTo>
                    <a:lnTo>
                      <a:pt x="1359" y="1152"/>
                    </a:lnTo>
                    <a:lnTo>
                      <a:pt x="1357" y="1152"/>
                    </a:lnTo>
                    <a:lnTo>
                      <a:pt x="1357" y="1150"/>
                    </a:lnTo>
                    <a:lnTo>
                      <a:pt x="1357" y="1148"/>
                    </a:lnTo>
                    <a:lnTo>
                      <a:pt x="1356" y="1148"/>
                    </a:lnTo>
                    <a:lnTo>
                      <a:pt x="1354" y="1148"/>
                    </a:lnTo>
                    <a:lnTo>
                      <a:pt x="1354" y="1146"/>
                    </a:lnTo>
                    <a:lnTo>
                      <a:pt x="1352" y="1146"/>
                    </a:lnTo>
                    <a:lnTo>
                      <a:pt x="1350" y="1146"/>
                    </a:lnTo>
                    <a:lnTo>
                      <a:pt x="1348" y="1146"/>
                    </a:lnTo>
                    <a:lnTo>
                      <a:pt x="1350" y="1146"/>
                    </a:lnTo>
                    <a:lnTo>
                      <a:pt x="1348" y="1146"/>
                    </a:lnTo>
                    <a:lnTo>
                      <a:pt x="1346" y="1146"/>
                    </a:lnTo>
                    <a:lnTo>
                      <a:pt x="1346" y="1148"/>
                    </a:lnTo>
                    <a:lnTo>
                      <a:pt x="1346" y="1146"/>
                    </a:lnTo>
                    <a:lnTo>
                      <a:pt x="1346" y="1148"/>
                    </a:lnTo>
                    <a:lnTo>
                      <a:pt x="1344" y="1148"/>
                    </a:lnTo>
                    <a:lnTo>
                      <a:pt x="1346" y="1148"/>
                    </a:lnTo>
                    <a:lnTo>
                      <a:pt x="1346" y="1150"/>
                    </a:lnTo>
                    <a:lnTo>
                      <a:pt x="1344" y="1150"/>
                    </a:lnTo>
                    <a:lnTo>
                      <a:pt x="1346" y="1150"/>
                    </a:lnTo>
                    <a:lnTo>
                      <a:pt x="1344" y="1148"/>
                    </a:lnTo>
                    <a:lnTo>
                      <a:pt x="1344" y="1150"/>
                    </a:lnTo>
                    <a:lnTo>
                      <a:pt x="1340" y="1150"/>
                    </a:lnTo>
                    <a:lnTo>
                      <a:pt x="1338" y="1152"/>
                    </a:lnTo>
                    <a:lnTo>
                      <a:pt x="1336" y="1152"/>
                    </a:lnTo>
                    <a:lnTo>
                      <a:pt x="1338" y="1152"/>
                    </a:lnTo>
                    <a:lnTo>
                      <a:pt x="1336" y="1152"/>
                    </a:lnTo>
                    <a:lnTo>
                      <a:pt x="1338" y="1152"/>
                    </a:lnTo>
                    <a:lnTo>
                      <a:pt x="1336" y="1152"/>
                    </a:lnTo>
                    <a:lnTo>
                      <a:pt x="1335" y="1152"/>
                    </a:lnTo>
                    <a:lnTo>
                      <a:pt x="1331" y="1154"/>
                    </a:lnTo>
                    <a:lnTo>
                      <a:pt x="1333" y="1154"/>
                    </a:lnTo>
                    <a:lnTo>
                      <a:pt x="1331" y="1154"/>
                    </a:lnTo>
                    <a:lnTo>
                      <a:pt x="1329" y="1154"/>
                    </a:lnTo>
                    <a:lnTo>
                      <a:pt x="1329" y="1152"/>
                    </a:lnTo>
                    <a:lnTo>
                      <a:pt x="1329" y="1150"/>
                    </a:lnTo>
                    <a:lnTo>
                      <a:pt x="1329" y="1152"/>
                    </a:lnTo>
                    <a:lnTo>
                      <a:pt x="1329" y="1154"/>
                    </a:lnTo>
                    <a:lnTo>
                      <a:pt x="1331" y="1154"/>
                    </a:lnTo>
                    <a:lnTo>
                      <a:pt x="1331" y="1152"/>
                    </a:lnTo>
                    <a:lnTo>
                      <a:pt x="1331" y="1150"/>
                    </a:lnTo>
                    <a:lnTo>
                      <a:pt x="1329" y="1148"/>
                    </a:lnTo>
                    <a:lnTo>
                      <a:pt x="1327" y="1148"/>
                    </a:lnTo>
                    <a:lnTo>
                      <a:pt x="1329" y="1148"/>
                    </a:lnTo>
                    <a:lnTo>
                      <a:pt x="1327" y="1148"/>
                    </a:lnTo>
                    <a:lnTo>
                      <a:pt x="1329" y="1148"/>
                    </a:lnTo>
                    <a:lnTo>
                      <a:pt x="1327" y="1146"/>
                    </a:lnTo>
                    <a:lnTo>
                      <a:pt x="1327" y="1148"/>
                    </a:lnTo>
                    <a:lnTo>
                      <a:pt x="1325" y="1146"/>
                    </a:lnTo>
                    <a:lnTo>
                      <a:pt x="1327" y="1146"/>
                    </a:lnTo>
                    <a:lnTo>
                      <a:pt x="1325" y="1146"/>
                    </a:lnTo>
                    <a:lnTo>
                      <a:pt x="1325" y="1144"/>
                    </a:lnTo>
                    <a:lnTo>
                      <a:pt x="1325" y="1146"/>
                    </a:lnTo>
                    <a:lnTo>
                      <a:pt x="1325" y="1144"/>
                    </a:lnTo>
                    <a:lnTo>
                      <a:pt x="1325" y="1146"/>
                    </a:lnTo>
                    <a:lnTo>
                      <a:pt x="1325" y="1144"/>
                    </a:lnTo>
                    <a:lnTo>
                      <a:pt x="1325" y="1146"/>
                    </a:lnTo>
                    <a:lnTo>
                      <a:pt x="1327" y="1146"/>
                    </a:lnTo>
                    <a:lnTo>
                      <a:pt x="1329" y="1148"/>
                    </a:lnTo>
                    <a:lnTo>
                      <a:pt x="1329" y="1146"/>
                    </a:lnTo>
                    <a:lnTo>
                      <a:pt x="1327" y="1146"/>
                    </a:lnTo>
                    <a:lnTo>
                      <a:pt x="1329" y="1146"/>
                    </a:lnTo>
                    <a:lnTo>
                      <a:pt x="1327" y="1146"/>
                    </a:lnTo>
                    <a:lnTo>
                      <a:pt x="1327" y="1144"/>
                    </a:lnTo>
                    <a:lnTo>
                      <a:pt x="1327" y="1146"/>
                    </a:lnTo>
                    <a:lnTo>
                      <a:pt x="1327" y="1144"/>
                    </a:lnTo>
                    <a:lnTo>
                      <a:pt x="1325" y="1144"/>
                    </a:lnTo>
                    <a:lnTo>
                      <a:pt x="1323" y="1144"/>
                    </a:lnTo>
                    <a:lnTo>
                      <a:pt x="1325" y="1144"/>
                    </a:lnTo>
                    <a:lnTo>
                      <a:pt x="1325" y="1142"/>
                    </a:lnTo>
                    <a:lnTo>
                      <a:pt x="1327" y="1142"/>
                    </a:lnTo>
                    <a:lnTo>
                      <a:pt x="1325" y="1142"/>
                    </a:lnTo>
                    <a:lnTo>
                      <a:pt x="1327" y="1142"/>
                    </a:lnTo>
                    <a:lnTo>
                      <a:pt x="1325" y="1142"/>
                    </a:lnTo>
                    <a:lnTo>
                      <a:pt x="1323" y="1142"/>
                    </a:lnTo>
                    <a:lnTo>
                      <a:pt x="1325" y="1142"/>
                    </a:lnTo>
                    <a:lnTo>
                      <a:pt x="1323" y="1142"/>
                    </a:lnTo>
                    <a:lnTo>
                      <a:pt x="1323" y="1144"/>
                    </a:lnTo>
                    <a:lnTo>
                      <a:pt x="1323" y="1142"/>
                    </a:lnTo>
                    <a:lnTo>
                      <a:pt x="1323" y="1144"/>
                    </a:lnTo>
                    <a:lnTo>
                      <a:pt x="1325" y="1144"/>
                    </a:lnTo>
                    <a:lnTo>
                      <a:pt x="1323" y="1144"/>
                    </a:lnTo>
                    <a:lnTo>
                      <a:pt x="1325" y="1144"/>
                    </a:lnTo>
                    <a:lnTo>
                      <a:pt x="1323" y="1146"/>
                    </a:lnTo>
                    <a:lnTo>
                      <a:pt x="1321" y="1142"/>
                    </a:lnTo>
                    <a:lnTo>
                      <a:pt x="1317" y="1142"/>
                    </a:lnTo>
                    <a:lnTo>
                      <a:pt x="1314" y="1141"/>
                    </a:lnTo>
                    <a:lnTo>
                      <a:pt x="1312" y="1141"/>
                    </a:lnTo>
                    <a:lnTo>
                      <a:pt x="1315" y="1141"/>
                    </a:lnTo>
                    <a:lnTo>
                      <a:pt x="1317" y="1141"/>
                    </a:lnTo>
                    <a:lnTo>
                      <a:pt x="1317" y="1139"/>
                    </a:lnTo>
                    <a:lnTo>
                      <a:pt x="1315" y="1139"/>
                    </a:lnTo>
                    <a:lnTo>
                      <a:pt x="1314" y="1139"/>
                    </a:lnTo>
                    <a:lnTo>
                      <a:pt x="1312" y="1139"/>
                    </a:lnTo>
                    <a:lnTo>
                      <a:pt x="1312" y="1141"/>
                    </a:lnTo>
                    <a:lnTo>
                      <a:pt x="1310" y="1141"/>
                    </a:lnTo>
                    <a:lnTo>
                      <a:pt x="1310" y="1139"/>
                    </a:lnTo>
                    <a:lnTo>
                      <a:pt x="1310" y="1141"/>
                    </a:lnTo>
                    <a:lnTo>
                      <a:pt x="1308" y="1141"/>
                    </a:lnTo>
                    <a:lnTo>
                      <a:pt x="1304" y="1141"/>
                    </a:lnTo>
                    <a:lnTo>
                      <a:pt x="1302" y="1141"/>
                    </a:lnTo>
                    <a:lnTo>
                      <a:pt x="1300" y="1141"/>
                    </a:lnTo>
                    <a:lnTo>
                      <a:pt x="1302" y="1141"/>
                    </a:lnTo>
                    <a:lnTo>
                      <a:pt x="1304" y="1141"/>
                    </a:lnTo>
                    <a:lnTo>
                      <a:pt x="1304" y="1139"/>
                    </a:lnTo>
                    <a:lnTo>
                      <a:pt x="1306" y="1139"/>
                    </a:lnTo>
                    <a:lnTo>
                      <a:pt x="1304" y="1139"/>
                    </a:lnTo>
                    <a:lnTo>
                      <a:pt x="1304" y="1137"/>
                    </a:lnTo>
                    <a:lnTo>
                      <a:pt x="1302" y="1139"/>
                    </a:lnTo>
                    <a:lnTo>
                      <a:pt x="1302" y="1137"/>
                    </a:lnTo>
                    <a:lnTo>
                      <a:pt x="1300" y="1137"/>
                    </a:lnTo>
                    <a:lnTo>
                      <a:pt x="1302" y="1139"/>
                    </a:lnTo>
                    <a:lnTo>
                      <a:pt x="1300" y="1141"/>
                    </a:lnTo>
                    <a:lnTo>
                      <a:pt x="1298" y="1141"/>
                    </a:lnTo>
                    <a:lnTo>
                      <a:pt x="1300" y="1141"/>
                    </a:lnTo>
                    <a:lnTo>
                      <a:pt x="1298" y="1142"/>
                    </a:lnTo>
                    <a:lnTo>
                      <a:pt x="1296" y="1142"/>
                    </a:lnTo>
                    <a:lnTo>
                      <a:pt x="1296" y="1141"/>
                    </a:lnTo>
                    <a:lnTo>
                      <a:pt x="1298" y="1141"/>
                    </a:lnTo>
                    <a:lnTo>
                      <a:pt x="1298" y="1139"/>
                    </a:lnTo>
                    <a:lnTo>
                      <a:pt x="1296" y="1139"/>
                    </a:lnTo>
                    <a:lnTo>
                      <a:pt x="1298" y="1139"/>
                    </a:lnTo>
                    <a:lnTo>
                      <a:pt x="1298" y="1141"/>
                    </a:lnTo>
                    <a:lnTo>
                      <a:pt x="1296" y="1141"/>
                    </a:lnTo>
                    <a:lnTo>
                      <a:pt x="1296" y="1142"/>
                    </a:lnTo>
                    <a:lnTo>
                      <a:pt x="1294" y="1142"/>
                    </a:lnTo>
                    <a:lnTo>
                      <a:pt x="1294" y="1141"/>
                    </a:lnTo>
                    <a:lnTo>
                      <a:pt x="1294" y="1142"/>
                    </a:lnTo>
                    <a:lnTo>
                      <a:pt x="1296" y="1142"/>
                    </a:lnTo>
                    <a:lnTo>
                      <a:pt x="1294" y="1142"/>
                    </a:lnTo>
                    <a:lnTo>
                      <a:pt x="1291" y="1142"/>
                    </a:lnTo>
                    <a:lnTo>
                      <a:pt x="1293" y="1142"/>
                    </a:lnTo>
                    <a:lnTo>
                      <a:pt x="1291" y="1142"/>
                    </a:lnTo>
                    <a:lnTo>
                      <a:pt x="1287" y="1144"/>
                    </a:lnTo>
                    <a:lnTo>
                      <a:pt x="1289" y="1142"/>
                    </a:lnTo>
                    <a:lnTo>
                      <a:pt x="1291" y="1142"/>
                    </a:lnTo>
                    <a:lnTo>
                      <a:pt x="1293" y="1142"/>
                    </a:lnTo>
                    <a:lnTo>
                      <a:pt x="1291" y="1141"/>
                    </a:lnTo>
                    <a:lnTo>
                      <a:pt x="1289" y="1141"/>
                    </a:lnTo>
                    <a:lnTo>
                      <a:pt x="1289" y="1139"/>
                    </a:lnTo>
                    <a:lnTo>
                      <a:pt x="1289" y="1137"/>
                    </a:lnTo>
                    <a:lnTo>
                      <a:pt x="1289" y="1135"/>
                    </a:lnTo>
                    <a:lnTo>
                      <a:pt x="1289" y="1137"/>
                    </a:lnTo>
                    <a:lnTo>
                      <a:pt x="1289" y="1135"/>
                    </a:lnTo>
                    <a:lnTo>
                      <a:pt x="1287" y="1135"/>
                    </a:lnTo>
                    <a:lnTo>
                      <a:pt x="1289" y="1135"/>
                    </a:lnTo>
                    <a:lnTo>
                      <a:pt x="1287" y="1135"/>
                    </a:lnTo>
                    <a:lnTo>
                      <a:pt x="1289" y="1135"/>
                    </a:lnTo>
                    <a:lnTo>
                      <a:pt x="1287" y="1135"/>
                    </a:lnTo>
                    <a:lnTo>
                      <a:pt x="1287" y="1137"/>
                    </a:lnTo>
                    <a:lnTo>
                      <a:pt x="1287" y="1139"/>
                    </a:lnTo>
                    <a:lnTo>
                      <a:pt x="1287" y="1141"/>
                    </a:lnTo>
                    <a:lnTo>
                      <a:pt x="1285" y="1141"/>
                    </a:lnTo>
                    <a:lnTo>
                      <a:pt x="1285" y="1142"/>
                    </a:lnTo>
                    <a:lnTo>
                      <a:pt x="1285" y="1141"/>
                    </a:lnTo>
                    <a:lnTo>
                      <a:pt x="1283" y="1141"/>
                    </a:lnTo>
                    <a:lnTo>
                      <a:pt x="1281" y="1141"/>
                    </a:lnTo>
                    <a:lnTo>
                      <a:pt x="1281" y="1142"/>
                    </a:lnTo>
                    <a:lnTo>
                      <a:pt x="1279" y="1142"/>
                    </a:lnTo>
                    <a:lnTo>
                      <a:pt x="1279" y="1141"/>
                    </a:lnTo>
                    <a:lnTo>
                      <a:pt x="1277" y="1141"/>
                    </a:lnTo>
                    <a:lnTo>
                      <a:pt x="1275" y="1141"/>
                    </a:lnTo>
                    <a:lnTo>
                      <a:pt x="1274" y="1141"/>
                    </a:lnTo>
                    <a:lnTo>
                      <a:pt x="1275" y="1141"/>
                    </a:lnTo>
                    <a:lnTo>
                      <a:pt x="1274" y="1141"/>
                    </a:lnTo>
                    <a:lnTo>
                      <a:pt x="1272" y="1141"/>
                    </a:lnTo>
                    <a:lnTo>
                      <a:pt x="1270" y="1141"/>
                    </a:lnTo>
                    <a:lnTo>
                      <a:pt x="1268" y="1142"/>
                    </a:lnTo>
                    <a:lnTo>
                      <a:pt x="1268" y="1141"/>
                    </a:lnTo>
                    <a:lnTo>
                      <a:pt x="1266" y="1141"/>
                    </a:lnTo>
                    <a:lnTo>
                      <a:pt x="1268" y="1142"/>
                    </a:lnTo>
                    <a:lnTo>
                      <a:pt x="1266" y="1142"/>
                    </a:lnTo>
                    <a:lnTo>
                      <a:pt x="1266" y="1144"/>
                    </a:lnTo>
                    <a:lnTo>
                      <a:pt x="1264" y="1144"/>
                    </a:lnTo>
                    <a:lnTo>
                      <a:pt x="1262" y="1144"/>
                    </a:lnTo>
                    <a:lnTo>
                      <a:pt x="1260" y="1144"/>
                    </a:lnTo>
                    <a:lnTo>
                      <a:pt x="1258" y="1144"/>
                    </a:lnTo>
                    <a:lnTo>
                      <a:pt x="1258" y="1142"/>
                    </a:lnTo>
                    <a:lnTo>
                      <a:pt x="1256" y="1142"/>
                    </a:lnTo>
                    <a:lnTo>
                      <a:pt x="1254" y="1141"/>
                    </a:lnTo>
                    <a:lnTo>
                      <a:pt x="1253" y="1141"/>
                    </a:lnTo>
                    <a:lnTo>
                      <a:pt x="1251" y="1142"/>
                    </a:lnTo>
                    <a:lnTo>
                      <a:pt x="1251" y="1144"/>
                    </a:lnTo>
                    <a:lnTo>
                      <a:pt x="1249" y="1144"/>
                    </a:lnTo>
                    <a:lnTo>
                      <a:pt x="1251" y="1146"/>
                    </a:lnTo>
                    <a:lnTo>
                      <a:pt x="1254" y="1148"/>
                    </a:lnTo>
                    <a:lnTo>
                      <a:pt x="1256" y="1146"/>
                    </a:lnTo>
                    <a:lnTo>
                      <a:pt x="1258" y="1144"/>
                    </a:lnTo>
                    <a:lnTo>
                      <a:pt x="1258" y="1146"/>
                    </a:lnTo>
                    <a:lnTo>
                      <a:pt x="1260" y="1146"/>
                    </a:lnTo>
                    <a:lnTo>
                      <a:pt x="1258" y="1146"/>
                    </a:lnTo>
                    <a:lnTo>
                      <a:pt x="1260" y="1146"/>
                    </a:lnTo>
                    <a:lnTo>
                      <a:pt x="1260" y="1144"/>
                    </a:lnTo>
                    <a:lnTo>
                      <a:pt x="1260" y="1146"/>
                    </a:lnTo>
                    <a:lnTo>
                      <a:pt x="1262" y="1144"/>
                    </a:lnTo>
                    <a:lnTo>
                      <a:pt x="1260" y="1144"/>
                    </a:lnTo>
                    <a:lnTo>
                      <a:pt x="1262" y="1144"/>
                    </a:lnTo>
                    <a:lnTo>
                      <a:pt x="1262" y="1146"/>
                    </a:lnTo>
                    <a:lnTo>
                      <a:pt x="1260" y="1146"/>
                    </a:lnTo>
                    <a:lnTo>
                      <a:pt x="1258" y="1146"/>
                    </a:lnTo>
                    <a:lnTo>
                      <a:pt x="1258" y="1148"/>
                    </a:lnTo>
                    <a:lnTo>
                      <a:pt x="1260" y="1148"/>
                    </a:lnTo>
                    <a:lnTo>
                      <a:pt x="1260" y="1150"/>
                    </a:lnTo>
                    <a:lnTo>
                      <a:pt x="1262" y="1150"/>
                    </a:lnTo>
                    <a:lnTo>
                      <a:pt x="1264" y="1148"/>
                    </a:lnTo>
                    <a:lnTo>
                      <a:pt x="1262" y="1148"/>
                    </a:lnTo>
                    <a:lnTo>
                      <a:pt x="1264" y="1146"/>
                    </a:lnTo>
                    <a:lnTo>
                      <a:pt x="1266" y="1146"/>
                    </a:lnTo>
                    <a:lnTo>
                      <a:pt x="1264" y="1148"/>
                    </a:lnTo>
                    <a:lnTo>
                      <a:pt x="1266" y="1148"/>
                    </a:lnTo>
                    <a:lnTo>
                      <a:pt x="1264" y="1148"/>
                    </a:lnTo>
                    <a:lnTo>
                      <a:pt x="1266" y="1148"/>
                    </a:lnTo>
                    <a:lnTo>
                      <a:pt x="1266" y="1150"/>
                    </a:lnTo>
                    <a:lnTo>
                      <a:pt x="1266" y="1152"/>
                    </a:lnTo>
                    <a:lnTo>
                      <a:pt x="1268" y="1152"/>
                    </a:lnTo>
                    <a:lnTo>
                      <a:pt x="1266" y="1152"/>
                    </a:lnTo>
                    <a:lnTo>
                      <a:pt x="1264" y="1150"/>
                    </a:lnTo>
                    <a:lnTo>
                      <a:pt x="1264" y="1152"/>
                    </a:lnTo>
                    <a:lnTo>
                      <a:pt x="1264" y="1150"/>
                    </a:lnTo>
                    <a:lnTo>
                      <a:pt x="1264" y="1152"/>
                    </a:lnTo>
                    <a:lnTo>
                      <a:pt x="1264" y="1150"/>
                    </a:lnTo>
                    <a:lnTo>
                      <a:pt x="1264" y="1152"/>
                    </a:lnTo>
                    <a:lnTo>
                      <a:pt x="1266" y="1152"/>
                    </a:lnTo>
                    <a:lnTo>
                      <a:pt x="1264" y="1152"/>
                    </a:lnTo>
                    <a:lnTo>
                      <a:pt x="1266" y="1154"/>
                    </a:lnTo>
                    <a:lnTo>
                      <a:pt x="1264" y="1154"/>
                    </a:lnTo>
                    <a:lnTo>
                      <a:pt x="1264" y="1152"/>
                    </a:lnTo>
                    <a:lnTo>
                      <a:pt x="1262" y="1152"/>
                    </a:lnTo>
                    <a:lnTo>
                      <a:pt x="1262" y="1154"/>
                    </a:lnTo>
                    <a:lnTo>
                      <a:pt x="1264" y="1154"/>
                    </a:lnTo>
                    <a:lnTo>
                      <a:pt x="1262" y="1154"/>
                    </a:lnTo>
                    <a:lnTo>
                      <a:pt x="1260" y="1154"/>
                    </a:lnTo>
                    <a:lnTo>
                      <a:pt x="1260" y="1156"/>
                    </a:lnTo>
                    <a:lnTo>
                      <a:pt x="1262" y="1156"/>
                    </a:lnTo>
                    <a:lnTo>
                      <a:pt x="1260" y="1156"/>
                    </a:lnTo>
                    <a:lnTo>
                      <a:pt x="1262" y="1156"/>
                    </a:lnTo>
                    <a:lnTo>
                      <a:pt x="1260" y="1156"/>
                    </a:lnTo>
                    <a:lnTo>
                      <a:pt x="1262" y="1156"/>
                    </a:lnTo>
                    <a:lnTo>
                      <a:pt x="1262" y="1158"/>
                    </a:lnTo>
                    <a:lnTo>
                      <a:pt x="1264" y="1158"/>
                    </a:lnTo>
                    <a:lnTo>
                      <a:pt x="1262" y="1158"/>
                    </a:lnTo>
                    <a:lnTo>
                      <a:pt x="1264" y="1160"/>
                    </a:lnTo>
                    <a:lnTo>
                      <a:pt x="1264" y="1158"/>
                    </a:lnTo>
                    <a:lnTo>
                      <a:pt x="1264" y="1160"/>
                    </a:lnTo>
                    <a:lnTo>
                      <a:pt x="1266" y="1160"/>
                    </a:lnTo>
                    <a:lnTo>
                      <a:pt x="1268" y="1160"/>
                    </a:lnTo>
                    <a:lnTo>
                      <a:pt x="1268" y="1162"/>
                    </a:lnTo>
                    <a:lnTo>
                      <a:pt x="1268" y="1160"/>
                    </a:lnTo>
                    <a:lnTo>
                      <a:pt x="1270" y="1160"/>
                    </a:lnTo>
                    <a:lnTo>
                      <a:pt x="1268" y="1160"/>
                    </a:lnTo>
                    <a:lnTo>
                      <a:pt x="1270" y="1160"/>
                    </a:lnTo>
                    <a:lnTo>
                      <a:pt x="1268" y="1162"/>
                    </a:lnTo>
                    <a:lnTo>
                      <a:pt x="1266" y="1160"/>
                    </a:lnTo>
                    <a:lnTo>
                      <a:pt x="1266" y="1162"/>
                    </a:lnTo>
                    <a:lnTo>
                      <a:pt x="1268" y="1162"/>
                    </a:lnTo>
                    <a:lnTo>
                      <a:pt x="1266" y="1162"/>
                    </a:lnTo>
                    <a:lnTo>
                      <a:pt x="1268" y="1162"/>
                    </a:lnTo>
                    <a:lnTo>
                      <a:pt x="1266" y="1162"/>
                    </a:lnTo>
                    <a:lnTo>
                      <a:pt x="1268" y="1162"/>
                    </a:lnTo>
                    <a:lnTo>
                      <a:pt x="1266" y="1162"/>
                    </a:lnTo>
                    <a:lnTo>
                      <a:pt x="1266" y="1163"/>
                    </a:lnTo>
                    <a:lnTo>
                      <a:pt x="1266" y="1162"/>
                    </a:lnTo>
                    <a:lnTo>
                      <a:pt x="1266" y="1163"/>
                    </a:lnTo>
                    <a:lnTo>
                      <a:pt x="1266" y="1162"/>
                    </a:lnTo>
                    <a:lnTo>
                      <a:pt x="1266" y="1163"/>
                    </a:lnTo>
                    <a:lnTo>
                      <a:pt x="1266" y="1162"/>
                    </a:lnTo>
                    <a:lnTo>
                      <a:pt x="1264" y="1163"/>
                    </a:lnTo>
                    <a:lnTo>
                      <a:pt x="1264" y="1162"/>
                    </a:lnTo>
                    <a:lnTo>
                      <a:pt x="1264" y="1160"/>
                    </a:lnTo>
                    <a:lnTo>
                      <a:pt x="1262" y="1160"/>
                    </a:lnTo>
                    <a:lnTo>
                      <a:pt x="1262" y="1158"/>
                    </a:lnTo>
                    <a:lnTo>
                      <a:pt x="1262" y="1160"/>
                    </a:lnTo>
                    <a:lnTo>
                      <a:pt x="1262" y="1158"/>
                    </a:lnTo>
                    <a:lnTo>
                      <a:pt x="1260" y="1160"/>
                    </a:lnTo>
                    <a:lnTo>
                      <a:pt x="1260" y="1158"/>
                    </a:lnTo>
                    <a:lnTo>
                      <a:pt x="1258" y="1158"/>
                    </a:lnTo>
                    <a:lnTo>
                      <a:pt x="1258" y="1156"/>
                    </a:lnTo>
                    <a:lnTo>
                      <a:pt x="1256" y="1156"/>
                    </a:lnTo>
                    <a:lnTo>
                      <a:pt x="1256" y="1158"/>
                    </a:lnTo>
                    <a:lnTo>
                      <a:pt x="1258" y="1158"/>
                    </a:lnTo>
                    <a:lnTo>
                      <a:pt x="1256" y="1158"/>
                    </a:lnTo>
                    <a:lnTo>
                      <a:pt x="1254" y="1156"/>
                    </a:lnTo>
                    <a:lnTo>
                      <a:pt x="1254" y="1154"/>
                    </a:lnTo>
                    <a:lnTo>
                      <a:pt x="1253" y="1154"/>
                    </a:lnTo>
                    <a:lnTo>
                      <a:pt x="1254" y="1156"/>
                    </a:lnTo>
                    <a:lnTo>
                      <a:pt x="1253" y="1156"/>
                    </a:lnTo>
                    <a:lnTo>
                      <a:pt x="1253" y="1158"/>
                    </a:lnTo>
                    <a:lnTo>
                      <a:pt x="1253" y="1156"/>
                    </a:lnTo>
                    <a:lnTo>
                      <a:pt x="1253" y="1158"/>
                    </a:lnTo>
                    <a:lnTo>
                      <a:pt x="1254" y="1158"/>
                    </a:lnTo>
                    <a:lnTo>
                      <a:pt x="1256" y="1160"/>
                    </a:lnTo>
                    <a:lnTo>
                      <a:pt x="1254" y="1160"/>
                    </a:lnTo>
                    <a:lnTo>
                      <a:pt x="1256" y="1160"/>
                    </a:lnTo>
                    <a:lnTo>
                      <a:pt x="1254" y="1160"/>
                    </a:lnTo>
                    <a:lnTo>
                      <a:pt x="1256" y="1160"/>
                    </a:lnTo>
                    <a:lnTo>
                      <a:pt x="1254" y="1160"/>
                    </a:lnTo>
                    <a:lnTo>
                      <a:pt x="1254" y="1162"/>
                    </a:lnTo>
                    <a:lnTo>
                      <a:pt x="1256" y="1162"/>
                    </a:lnTo>
                    <a:lnTo>
                      <a:pt x="1254" y="1163"/>
                    </a:lnTo>
                    <a:lnTo>
                      <a:pt x="1253" y="1163"/>
                    </a:lnTo>
                    <a:lnTo>
                      <a:pt x="1253" y="1162"/>
                    </a:lnTo>
                    <a:lnTo>
                      <a:pt x="1251" y="1162"/>
                    </a:lnTo>
                    <a:lnTo>
                      <a:pt x="1251" y="1160"/>
                    </a:lnTo>
                    <a:lnTo>
                      <a:pt x="1251" y="1162"/>
                    </a:lnTo>
                    <a:lnTo>
                      <a:pt x="1251" y="1160"/>
                    </a:lnTo>
                    <a:lnTo>
                      <a:pt x="1249" y="1160"/>
                    </a:lnTo>
                    <a:lnTo>
                      <a:pt x="1247" y="1160"/>
                    </a:lnTo>
                    <a:lnTo>
                      <a:pt x="1247" y="1162"/>
                    </a:lnTo>
                    <a:lnTo>
                      <a:pt x="1245" y="1162"/>
                    </a:lnTo>
                    <a:lnTo>
                      <a:pt x="1245" y="1163"/>
                    </a:lnTo>
                    <a:lnTo>
                      <a:pt x="1243" y="1163"/>
                    </a:lnTo>
                    <a:lnTo>
                      <a:pt x="1241" y="1163"/>
                    </a:lnTo>
                    <a:lnTo>
                      <a:pt x="1241" y="1162"/>
                    </a:lnTo>
                    <a:lnTo>
                      <a:pt x="1241" y="1163"/>
                    </a:lnTo>
                    <a:lnTo>
                      <a:pt x="1239" y="1163"/>
                    </a:lnTo>
                    <a:lnTo>
                      <a:pt x="1241" y="1162"/>
                    </a:lnTo>
                    <a:lnTo>
                      <a:pt x="1239" y="1162"/>
                    </a:lnTo>
                    <a:lnTo>
                      <a:pt x="1239" y="1163"/>
                    </a:lnTo>
                    <a:lnTo>
                      <a:pt x="1237" y="1162"/>
                    </a:lnTo>
                    <a:lnTo>
                      <a:pt x="1235" y="1162"/>
                    </a:lnTo>
                    <a:lnTo>
                      <a:pt x="1235" y="1160"/>
                    </a:lnTo>
                    <a:lnTo>
                      <a:pt x="1237" y="1160"/>
                    </a:lnTo>
                    <a:lnTo>
                      <a:pt x="1237" y="1162"/>
                    </a:lnTo>
                    <a:lnTo>
                      <a:pt x="1239" y="1162"/>
                    </a:lnTo>
                    <a:lnTo>
                      <a:pt x="1237" y="1162"/>
                    </a:lnTo>
                    <a:lnTo>
                      <a:pt x="1239" y="1162"/>
                    </a:lnTo>
                    <a:lnTo>
                      <a:pt x="1239" y="1160"/>
                    </a:lnTo>
                    <a:lnTo>
                      <a:pt x="1237" y="1158"/>
                    </a:lnTo>
                    <a:lnTo>
                      <a:pt x="1235" y="1158"/>
                    </a:lnTo>
                    <a:lnTo>
                      <a:pt x="1235" y="1156"/>
                    </a:lnTo>
                    <a:lnTo>
                      <a:pt x="1235" y="1158"/>
                    </a:lnTo>
                    <a:lnTo>
                      <a:pt x="1235" y="1156"/>
                    </a:lnTo>
                    <a:lnTo>
                      <a:pt x="1233" y="1156"/>
                    </a:lnTo>
                    <a:lnTo>
                      <a:pt x="1233" y="1158"/>
                    </a:lnTo>
                    <a:lnTo>
                      <a:pt x="1233" y="1156"/>
                    </a:lnTo>
                    <a:lnTo>
                      <a:pt x="1232" y="1156"/>
                    </a:lnTo>
                    <a:lnTo>
                      <a:pt x="1232" y="1154"/>
                    </a:lnTo>
                    <a:lnTo>
                      <a:pt x="1230" y="1154"/>
                    </a:lnTo>
                    <a:lnTo>
                      <a:pt x="1230" y="1152"/>
                    </a:lnTo>
                    <a:lnTo>
                      <a:pt x="1228" y="1152"/>
                    </a:lnTo>
                    <a:lnTo>
                      <a:pt x="1226" y="1154"/>
                    </a:lnTo>
                    <a:lnTo>
                      <a:pt x="1226" y="1152"/>
                    </a:lnTo>
                    <a:lnTo>
                      <a:pt x="1228" y="1152"/>
                    </a:lnTo>
                    <a:lnTo>
                      <a:pt x="1228" y="1150"/>
                    </a:lnTo>
                    <a:lnTo>
                      <a:pt x="1226" y="1150"/>
                    </a:lnTo>
                    <a:lnTo>
                      <a:pt x="1224" y="1150"/>
                    </a:lnTo>
                    <a:lnTo>
                      <a:pt x="1224" y="1152"/>
                    </a:lnTo>
                    <a:lnTo>
                      <a:pt x="1222" y="1152"/>
                    </a:lnTo>
                    <a:lnTo>
                      <a:pt x="1222" y="1154"/>
                    </a:lnTo>
                    <a:lnTo>
                      <a:pt x="1224" y="1154"/>
                    </a:lnTo>
                    <a:lnTo>
                      <a:pt x="1224" y="1156"/>
                    </a:lnTo>
                    <a:lnTo>
                      <a:pt x="1222" y="1156"/>
                    </a:lnTo>
                    <a:lnTo>
                      <a:pt x="1220" y="1156"/>
                    </a:lnTo>
                    <a:lnTo>
                      <a:pt x="1218" y="1156"/>
                    </a:lnTo>
                    <a:lnTo>
                      <a:pt x="1216" y="1156"/>
                    </a:lnTo>
                    <a:lnTo>
                      <a:pt x="1214" y="1156"/>
                    </a:lnTo>
                    <a:lnTo>
                      <a:pt x="1216" y="1156"/>
                    </a:lnTo>
                    <a:lnTo>
                      <a:pt x="1214" y="1156"/>
                    </a:lnTo>
                    <a:lnTo>
                      <a:pt x="1209" y="1152"/>
                    </a:lnTo>
                    <a:lnTo>
                      <a:pt x="1205" y="1152"/>
                    </a:lnTo>
                    <a:lnTo>
                      <a:pt x="1199" y="1152"/>
                    </a:lnTo>
                    <a:lnTo>
                      <a:pt x="1197" y="1152"/>
                    </a:lnTo>
                    <a:lnTo>
                      <a:pt x="1195" y="1154"/>
                    </a:lnTo>
                    <a:lnTo>
                      <a:pt x="1193" y="1152"/>
                    </a:lnTo>
                    <a:lnTo>
                      <a:pt x="1195" y="1150"/>
                    </a:lnTo>
                    <a:lnTo>
                      <a:pt x="1197" y="1148"/>
                    </a:lnTo>
                    <a:lnTo>
                      <a:pt x="1195" y="1148"/>
                    </a:lnTo>
                    <a:lnTo>
                      <a:pt x="1197" y="1148"/>
                    </a:lnTo>
                    <a:lnTo>
                      <a:pt x="1197" y="1146"/>
                    </a:lnTo>
                    <a:lnTo>
                      <a:pt x="1197" y="1148"/>
                    </a:lnTo>
                    <a:lnTo>
                      <a:pt x="1195" y="1148"/>
                    </a:lnTo>
                    <a:lnTo>
                      <a:pt x="1193" y="1150"/>
                    </a:lnTo>
                    <a:lnTo>
                      <a:pt x="1193" y="1152"/>
                    </a:lnTo>
                    <a:lnTo>
                      <a:pt x="1195" y="1152"/>
                    </a:lnTo>
                    <a:lnTo>
                      <a:pt x="1195" y="1154"/>
                    </a:lnTo>
                    <a:lnTo>
                      <a:pt x="1193" y="1154"/>
                    </a:lnTo>
                    <a:lnTo>
                      <a:pt x="1192" y="1154"/>
                    </a:lnTo>
                    <a:lnTo>
                      <a:pt x="1184" y="1156"/>
                    </a:lnTo>
                    <a:lnTo>
                      <a:pt x="1186" y="1156"/>
                    </a:lnTo>
                    <a:lnTo>
                      <a:pt x="1184" y="1156"/>
                    </a:lnTo>
                    <a:lnTo>
                      <a:pt x="1180" y="1156"/>
                    </a:lnTo>
                    <a:lnTo>
                      <a:pt x="1182" y="1154"/>
                    </a:lnTo>
                    <a:lnTo>
                      <a:pt x="1182" y="1152"/>
                    </a:lnTo>
                    <a:lnTo>
                      <a:pt x="1180" y="1152"/>
                    </a:lnTo>
                    <a:lnTo>
                      <a:pt x="1182" y="1152"/>
                    </a:lnTo>
                    <a:lnTo>
                      <a:pt x="1180" y="1152"/>
                    </a:lnTo>
                    <a:lnTo>
                      <a:pt x="1178" y="1154"/>
                    </a:lnTo>
                    <a:lnTo>
                      <a:pt x="1176" y="1154"/>
                    </a:lnTo>
                    <a:lnTo>
                      <a:pt x="1176" y="1152"/>
                    </a:lnTo>
                    <a:lnTo>
                      <a:pt x="1176" y="1154"/>
                    </a:lnTo>
                    <a:lnTo>
                      <a:pt x="1176" y="1152"/>
                    </a:lnTo>
                    <a:lnTo>
                      <a:pt x="1176" y="1154"/>
                    </a:lnTo>
                    <a:lnTo>
                      <a:pt x="1176" y="1152"/>
                    </a:lnTo>
                    <a:lnTo>
                      <a:pt x="1176" y="1154"/>
                    </a:lnTo>
                    <a:lnTo>
                      <a:pt x="1176" y="1152"/>
                    </a:lnTo>
                    <a:lnTo>
                      <a:pt x="1176" y="1150"/>
                    </a:lnTo>
                    <a:lnTo>
                      <a:pt x="1174" y="1150"/>
                    </a:lnTo>
                    <a:lnTo>
                      <a:pt x="1174" y="1152"/>
                    </a:lnTo>
                    <a:lnTo>
                      <a:pt x="1176" y="1152"/>
                    </a:lnTo>
                    <a:lnTo>
                      <a:pt x="1174" y="1152"/>
                    </a:lnTo>
                    <a:lnTo>
                      <a:pt x="1176" y="1152"/>
                    </a:lnTo>
                    <a:lnTo>
                      <a:pt x="1176" y="1154"/>
                    </a:lnTo>
                    <a:lnTo>
                      <a:pt x="1176" y="1156"/>
                    </a:lnTo>
                    <a:lnTo>
                      <a:pt x="1174" y="1156"/>
                    </a:lnTo>
                    <a:lnTo>
                      <a:pt x="1176" y="1156"/>
                    </a:lnTo>
                    <a:lnTo>
                      <a:pt x="1178" y="1158"/>
                    </a:lnTo>
                    <a:lnTo>
                      <a:pt x="1176" y="1158"/>
                    </a:lnTo>
                    <a:lnTo>
                      <a:pt x="1178" y="1158"/>
                    </a:lnTo>
                    <a:lnTo>
                      <a:pt x="1176" y="1158"/>
                    </a:lnTo>
                    <a:lnTo>
                      <a:pt x="1178" y="1158"/>
                    </a:lnTo>
                    <a:lnTo>
                      <a:pt x="1178" y="1160"/>
                    </a:lnTo>
                    <a:lnTo>
                      <a:pt x="1180" y="1160"/>
                    </a:lnTo>
                    <a:lnTo>
                      <a:pt x="1178" y="1160"/>
                    </a:lnTo>
                    <a:lnTo>
                      <a:pt x="1176" y="1160"/>
                    </a:lnTo>
                    <a:lnTo>
                      <a:pt x="1178" y="1160"/>
                    </a:lnTo>
                    <a:lnTo>
                      <a:pt x="1176" y="1160"/>
                    </a:lnTo>
                    <a:lnTo>
                      <a:pt x="1178" y="1162"/>
                    </a:lnTo>
                    <a:lnTo>
                      <a:pt x="1176" y="1162"/>
                    </a:lnTo>
                    <a:lnTo>
                      <a:pt x="1174" y="1163"/>
                    </a:lnTo>
                    <a:lnTo>
                      <a:pt x="1174" y="1162"/>
                    </a:lnTo>
                    <a:lnTo>
                      <a:pt x="1172" y="1162"/>
                    </a:lnTo>
                    <a:lnTo>
                      <a:pt x="1174" y="1162"/>
                    </a:lnTo>
                    <a:lnTo>
                      <a:pt x="1174" y="1163"/>
                    </a:lnTo>
                    <a:lnTo>
                      <a:pt x="1174" y="1165"/>
                    </a:lnTo>
                    <a:lnTo>
                      <a:pt x="1172" y="1165"/>
                    </a:lnTo>
                    <a:lnTo>
                      <a:pt x="1174" y="1165"/>
                    </a:lnTo>
                    <a:lnTo>
                      <a:pt x="1172" y="1167"/>
                    </a:lnTo>
                    <a:lnTo>
                      <a:pt x="1171" y="1167"/>
                    </a:lnTo>
                    <a:lnTo>
                      <a:pt x="1171" y="1169"/>
                    </a:lnTo>
                    <a:lnTo>
                      <a:pt x="1167" y="1171"/>
                    </a:lnTo>
                    <a:lnTo>
                      <a:pt x="1165" y="1171"/>
                    </a:lnTo>
                    <a:lnTo>
                      <a:pt x="1161" y="1171"/>
                    </a:lnTo>
                    <a:lnTo>
                      <a:pt x="1161" y="1173"/>
                    </a:lnTo>
                    <a:lnTo>
                      <a:pt x="1157" y="1175"/>
                    </a:lnTo>
                    <a:lnTo>
                      <a:pt x="1155" y="1177"/>
                    </a:lnTo>
                    <a:lnTo>
                      <a:pt x="1157" y="1175"/>
                    </a:lnTo>
                    <a:lnTo>
                      <a:pt x="1159" y="1175"/>
                    </a:lnTo>
                    <a:lnTo>
                      <a:pt x="1159" y="1173"/>
                    </a:lnTo>
                    <a:lnTo>
                      <a:pt x="1161" y="1173"/>
                    </a:lnTo>
                    <a:lnTo>
                      <a:pt x="1159" y="1173"/>
                    </a:lnTo>
                    <a:lnTo>
                      <a:pt x="1161" y="1173"/>
                    </a:lnTo>
                    <a:lnTo>
                      <a:pt x="1159" y="1173"/>
                    </a:lnTo>
                    <a:lnTo>
                      <a:pt x="1157" y="1173"/>
                    </a:lnTo>
                    <a:lnTo>
                      <a:pt x="1159" y="1173"/>
                    </a:lnTo>
                    <a:lnTo>
                      <a:pt x="1157" y="1173"/>
                    </a:lnTo>
                    <a:lnTo>
                      <a:pt x="1157" y="1171"/>
                    </a:lnTo>
                    <a:lnTo>
                      <a:pt x="1155" y="1171"/>
                    </a:lnTo>
                    <a:lnTo>
                      <a:pt x="1157" y="1171"/>
                    </a:lnTo>
                    <a:lnTo>
                      <a:pt x="1155" y="1173"/>
                    </a:lnTo>
                    <a:lnTo>
                      <a:pt x="1155" y="1171"/>
                    </a:lnTo>
                    <a:lnTo>
                      <a:pt x="1155" y="1173"/>
                    </a:lnTo>
                    <a:lnTo>
                      <a:pt x="1155" y="1171"/>
                    </a:lnTo>
                    <a:lnTo>
                      <a:pt x="1153" y="1171"/>
                    </a:lnTo>
                    <a:lnTo>
                      <a:pt x="1153" y="1169"/>
                    </a:lnTo>
                    <a:lnTo>
                      <a:pt x="1153" y="1171"/>
                    </a:lnTo>
                    <a:lnTo>
                      <a:pt x="1153" y="1173"/>
                    </a:lnTo>
                    <a:lnTo>
                      <a:pt x="1155" y="1173"/>
                    </a:lnTo>
                    <a:lnTo>
                      <a:pt x="1153" y="1173"/>
                    </a:lnTo>
                    <a:lnTo>
                      <a:pt x="1153" y="1171"/>
                    </a:lnTo>
                    <a:lnTo>
                      <a:pt x="1153" y="1173"/>
                    </a:lnTo>
                    <a:lnTo>
                      <a:pt x="1151" y="1173"/>
                    </a:lnTo>
                    <a:lnTo>
                      <a:pt x="1151" y="1171"/>
                    </a:lnTo>
                    <a:lnTo>
                      <a:pt x="1150" y="1171"/>
                    </a:lnTo>
                    <a:lnTo>
                      <a:pt x="1151" y="1173"/>
                    </a:lnTo>
                    <a:lnTo>
                      <a:pt x="1150" y="1173"/>
                    </a:lnTo>
                    <a:lnTo>
                      <a:pt x="1151" y="1173"/>
                    </a:lnTo>
                    <a:lnTo>
                      <a:pt x="1153" y="1175"/>
                    </a:lnTo>
                    <a:lnTo>
                      <a:pt x="1151" y="1175"/>
                    </a:lnTo>
                    <a:lnTo>
                      <a:pt x="1153" y="1175"/>
                    </a:lnTo>
                    <a:lnTo>
                      <a:pt x="1155" y="1177"/>
                    </a:lnTo>
                    <a:lnTo>
                      <a:pt x="1153" y="1177"/>
                    </a:lnTo>
                    <a:lnTo>
                      <a:pt x="1151" y="1179"/>
                    </a:lnTo>
                    <a:lnTo>
                      <a:pt x="1150" y="1177"/>
                    </a:lnTo>
                    <a:lnTo>
                      <a:pt x="1151" y="1179"/>
                    </a:lnTo>
                    <a:lnTo>
                      <a:pt x="1150" y="1179"/>
                    </a:lnTo>
                    <a:lnTo>
                      <a:pt x="1150" y="1177"/>
                    </a:lnTo>
                    <a:lnTo>
                      <a:pt x="1148" y="1175"/>
                    </a:lnTo>
                    <a:lnTo>
                      <a:pt x="1148" y="1177"/>
                    </a:lnTo>
                    <a:lnTo>
                      <a:pt x="1148" y="1175"/>
                    </a:lnTo>
                    <a:lnTo>
                      <a:pt x="1148" y="1177"/>
                    </a:lnTo>
                    <a:lnTo>
                      <a:pt x="1148" y="1179"/>
                    </a:lnTo>
                    <a:lnTo>
                      <a:pt x="1148" y="1181"/>
                    </a:lnTo>
                    <a:lnTo>
                      <a:pt x="1148" y="1179"/>
                    </a:lnTo>
                    <a:lnTo>
                      <a:pt x="1148" y="1181"/>
                    </a:lnTo>
                    <a:lnTo>
                      <a:pt x="1146" y="1181"/>
                    </a:lnTo>
                    <a:lnTo>
                      <a:pt x="1146" y="1183"/>
                    </a:lnTo>
                    <a:lnTo>
                      <a:pt x="1146" y="1181"/>
                    </a:lnTo>
                    <a:lnTo>
                      <a:pt x="1146" y="1179"/>
                    </a:lnTo>
                    <a:lnTo>
                      <a:pt x="1146" y="1181"/>
                    </a:lnTo>
                    <a:lnTo>
                      <a:pt x="1146" y="1183"/>
                    </a:lnTo>
                    <a:lnTo>
                      <a:pt x="1144" y="1181"/>
                    </a:lnTo>
                    <a:lnTo>
                      <a:pt x="1146" y="1181"/>
                    </a:lnTo>
                    <a:lnTo>
                      <a:pt x="1144" y="1181"/>
                    </a:lnTo>
                    <a:lnTo>
                      <a:pt x="1142" y="1181"/>
                    </a:lnTo>
                    <a:lnTo>
                      <a:pt x="1142" y="1183"/>
                    </a:lnTo>
                    <a:lnTo>
                      <a:pt x="1142" y="1181"/>
                    </a:lnTo>
                    <a:lnTo>
                      <a:pt x="1142" y="1183"/>
                    </a:lnTo>
                    <a:lnTo>
                      <a:pt x="1142" y="1184"/>
                    </a:lnTo>
                    <a:lnTo>
                      <a:pt x="1144" y="1183"/>
                    </a:lnTo>
                    <a:lnTo>
                      <a:pt x="1142" y="1183"/>
                    </a:lnTo>
                    <a:lnTo>
                      <a:pt x="1144" y="1183"/>
                    </a:lnTo>
                    <a:lnTo>
                      <a:pt x="1142" y="1183"/>
                    </a:lnTo>
                    <a:lnTo>
                      <a:pt x="1144" y="1183"/>
                    </a:lnTo>
                    <a:lnTo>
                      <a:pt x="1144" y="1184"/>
                    </a:lnTo>
                    <a:lnTo>
                      <a:pt x="1144" y="1183"/>
                    </a:lnTo>
                    <a:lnTo>
                      <a:pt x="1144" y="1184"/>
                    </a:lnTo>
                    <a:lnTo>
                      <a:pt x="1142" y="1186"/>
                    </a:lnTo>
                    <a:lnTo>
                      <a:pt x="1140" y="1186"/>
                    </a:lnTo>
                    <a:lnTo>
                      <a:pt x="1138" y="1186"/>
                    </a:lnTo>
                    <a:lnTo>
                      <a:pt x="1136" y="1186"/>
                    </a:lnTo>
                    <a:lnTo>
                      <a:pt x="1138" y="1186"/>
                    </a:lnTo>
                    <a:lnTo>
                      <a:pt x="1138" y="1188"/>
                    </a:lnTo>
                    <a:lnTo>
                      <a:pt x="1138" y="1186"/>
                    </a:lnTo>
                    <a:lnTo>
                      <a:pt x="1136" y="1186"/>
                    </a:lnTo>
                    <a:lnTo>
                      <a:pt x="1138" y="1188"/>
                    </a:lnTo>
                    <a:lnTo>
                      <a:pt x="1140" y="1190"/>
                    </a:lnTo>
                    <a:lnTo>
                      <a:pt x="1140" y="1188"/>
                    </a:lnTo>
                    <a:lnTo>
                      <a:pt x="1140" y="1190"/>
                    </a:lnTo>
                    <a:lnTo>
                      <a:pt x="1140" y="1192"/>
                    </a:lnTo>
                    <a:lnTo>
                      <a:pt x="1140" y="1190"/>
                    </a:lnTo>
                    <a:lnTo>
                      <a:pt x="1140" y="1192"/>
                    </a:lnTo>
                    <a:lnTo>
                      <a:pt x="1138" y="1194"/>
                    </a:lnTo>
                    <a:lnTo>
                      <a:pt x="1138" y="1196"/>
                    </a:lnTo>
                    <a:lnTo>
                      <a:pt x="1136" y="1196"/>
                    </a:lnTo>
                    <a:lnTo>
                      <a:pt x="1138" y="1196"/>
                    </a:lnTo>
                    <a:lnTo>
                      <a:pt x="1136" y="1198"/>
                    </a:lnTo>
                    <a:lnTo>
                      <a:pt x="1136" y="1196"/>
                    </a:lnTo>
                    <a:lnTo>
                      <a:pt x="1136" y="1198"/>
                    </a:lnTo>
                    <a:lnTo>
                      <a:pt x="1136" y="1196"/>
                    </a:lnTo>
                    <a:lnTo>
                      <a:pt x="1138" y="1196"/>
                    </a:lnTo>
                    <a:lnTo>
                      <a:pt x="1136" y="1196"/>
                    </a:lnTo>
                    <a:lnTo>
                      <a:pt x="1138" y="1196"/>
                    </a:lnTo>
                    <a:lnTo>
                      <a:pt x="1136" y="1196"/>
                    </a:lnTo>
                    <a:lnTo>
                      <a:pt x="1138" y="1196"/>
                    </a:lnTo>
                    <a:lnTo>
                      <a:pt x="1136" y="1196"/>
                    </a:lnTo>
                    <a:lnTo>
                      <a:pt x="1138" y="1196"/>
                    </a:lnTo>
                    <a:lnTo>
                      <a:pt x="1136" y="1196"/>
                    </a:lnTo>
                    <a:lnTo>
                      <a:pt x="1138" y="1194"/>
                    </a:lnTo>
                    <a:lnTo>
                      <a:pt x="1136" y="1194"/>
                    </a:lnTo>
                    <a:lnTo>
                      <a:pt x="1138" y="1194"/>
                    </a:lnTo>
                    <a:lnTo>
                      <a:pt x="1136" y="1194"/>
                    </a:lnTo>
                    <a:lnTo>
                      <a:pt x="1136" y="1192"/>
                    </a:lnTo>
                    <a:lnTo>
                      <a:pt x="1136" y="1194"/>
                    </a:lnTo>
                    <a:lnTo>
                      <a:pt x="1138" y="1194"/>
                    </a:lnTo>
                    <a:lnTo>
                      <a:pt x="1136" y="1194"/>
                    </a:lnTo>
                    <a:lnTo>
                      <a:pt x="1136" y="1196"/>
                    </a:lnTo>
                    <a:lnTo>
                      <a:pt x="1134" y="1196"/>
                    </a:lnTo>
                    <a:lnTo>
                      <a:pt x="1136" y="1196"/>
                    </a:lnTo>
                    <a:lnTo>
                      <a:pt x="1134" y="1196"/>
                    </a:lnTo>
                    <a:lnTo>
                      <a:pt x="1134" y="1194"/>
                    </a:lnTo>
                    <a:lnTo>
                      <a:pt x="1134" y="1196"/>
                    </a:lnTo>
                    <a:lnTo>
                      <a:pt x="1134" y="1194"/>
                    </a:lnTo>
                    <a:lnTo>
                      <a:pt x="1132" y="1194"/>
                    </a:lnTo>
                    <a:lnTo>
                      <a:pt x="1134" y="1196"/>
                    </a:lnTo>
                    <a:lnTo>
                      <a:pt x="1132" y="1196"/>
                    </a:lnTo>
                    <a:lnTo>
                      <a:pt x="1132" y="1194"/>
                    </a:lnTo>
                    <a:lnTo>
                      <a:pt x="1132" y="1196"/>
                    </a:lnTo>
                    <a:lnTo>
                      <a:pt x="1134" y="1196"/>
                    </a:lnTo>
                    <a:lnTo>
                      <a:pt x="1132" y="1198"/>
                    </a:lnTo>
                    <a:lnTo>
                      <a:pt x="1132" y="1196"/>
                    </a:lnTo>
                    <a:lnTo>
                      <a:pt x="1132" y="1198"/>
                    </a:lnTo>
                    <a:lnTo>
                      <a:pt x="1134" y="1198"/>
                    </a:lnTo>
                    <a:lnTo>
                      <a:pt x="1136" y="1198"/>
                    </a:lnTo>
                    <a:lnTo>
                      <a:pt x="1138" y="1198"/>
                    </a:lnTo>
                    <a:lnTo>
                      <a:pt x="1136" y="1198"/>
                    </a:lnTo>
                    <a:lnTo>
                      <a:pt x="1138" y="1198"/>
                    </a:lnTo>
                    <a:lnTo>
                      <a:pt x="1138" y="1200"/>
                    </a:lnTo>
                    <a:lnTo>
                      <a:pt x="1136" y="1200"/>
                    </a:lnTo>
                    <a:lnTo>
                      <a:pt x="1138" y="1202"/>
                    </a:lnTo>
                    <a:lnTo>
                      <a:pt x="1136" y="1202"/>
                    </a:lnTo>
                    <a:lnTo>
                      <a:pt x="1138" y="1202"/>
                    </a:lnTo>
                    <a:lnTo>
                      <a:pt x="1136" y="1202"/>
                    </a:lnTo>
                    <a:lnTo>
                      <a:pt x="1136" y="1204"/>
                    </a:lnTo>
                    <a:lnTo>
                      <a:pt x="1136" y="1202"/>
                    </a:lnTo>
                    <a:lnTo>
                      <a:pt x="1136" y="1204"/>
                    </a:lnTo>
                    <a:lnTo>
                      <a:pt x="1136" y="1202"/>
                    </a:lnTo>
                    <a:lnTo>
                      <a:pt x="1136" y="1204"/>
                    </a:lnTo>
                    <a:lnTo>
                      <a:pt x="1136" y="1205"/>
                    </a:lnTo>
                    <a:lnTo>
                      <a:pt x="1138" y="1207"/>
                    </a:lnTo>
                    <a:lnTo>
                      <a:pt x="1138" y="1205"/>
                    </a:lnTo>
                    <a:lnTo>
                      <a:pt x="1138" y="1209"/>
                    </a:lnTo>
                    <a:lnTo>
                      <a:pt x="1138" y="1211"/>
                    </a:lnTo>
                    <a:lnTo>
                      <a:pt x="1136" y="1211"/>
                    </a:lnTo>
                    <a:lnTo>
                      <a:pt x="1138" y="1211"/>
                    </a:lnTo>
                    <a:lnTo>
                      <a:pt x="1138" y="1213"/>
                    </a:lnTo>
                    <a:lnTo>
                      <a:pt x="1140" y="1213"/>
                    </a:lnTo>
                    <a:lnTo>
                      <a:pt x="1138" y="1213"/>
                    </a:lnTo>
                    <a:lnTo>
                      <a:pt x="1140" y="1215"/>
                    </a:lnTo>
                    <a:lnTo>
                      <a:pt x="1140" y="1213"/>
                    </a:lnTo>
                    <a:lnTo>
                      <a:pt x="1140" y="1215"/>
                    </a:lnTo>
                    <a:lnTo>
                      <a:pt x="1140" y="1217"/>
                    </a:lnTo>
                    <a:lnTo>
                      <a:pt x="1140" y="1215"/>
                    </a:lnTo>
                    <a:lnTo>
                      <a:pt x="1140" y="1217"/>
                    </a:lnTo>
                    <a:lnTo>
                      <a:pt x="1140" y="1219"/>
                    </a:lnTo>
                    <a:lnTo>
                      <a:pt x="1142" y="1219"/>
                    </a:lnTo>
                    <a:lnTo>
                      <a:pt x="1138" y="1221"/>
                    </a:lnTo>
                    <a:lnTo>
                      <a:pt x="1140" y="1219"/>
                    </a:lnTo>
                    <a:lnTo>
                      <a:pt x="1140" y="1221"/>
                    </a:lnTo>
                    <a:lnTo>
                      <a:pt x="1140" y="1219"/>
                    </a:lnTo>
                    <a:lnTo>
                      <a:pt x="1142" y="1219"/>
                    </a:lnTo>
                    <a:lnTo>
                      <a:pt x="1140" y="1219"/>
                    </a:lnTo>
                    <a:lnTo>
                      <a:pt x="1140" y="1221"/>
                    </a:lnTo>
                    <a:lnTo>
                      <a:pt x="1142" y="1219"/>
                    </a:lnTo>
                    <a:lnTo>
                      <a:pt x="1140" y="1221"/>
                    </a:lnTo>
                    <a:lnTo>
                      <a:pt x="1142" y="1221"/>
                    </a:lnTo>
                    <a:lnTo>
                      <a:pt x="1142" y="1219"/>
                    </a:lnTo>
                    <a:lnTo>
                      <a:pt x="1142" y="1221"/>
                    </a:lnTo>
                    <a:lnTo>
                      <a:pt x="1142" y="1219"/>
                    </a:lnTo>
                    <a:lnTo>
                      <a:pt x="1142" y="1221"/>
                    </a:lnTo>
                    <a:lnTo>
                      <a:pt x="1140" y="1221"/>
                    </a:lnTo>
                    <a:lnTo>
                      <a:pt x="1138" y="1221"/>
                    </a:lnTo>
                    <a:lnTo>
                      <a:pt x="1140" y="1223"/>
                    </a:lnTo>
                    <a:lnTo>
                      <a:pt x="1138" y="1223"/>
                    </a:lnTo>
                    <a:lnTo>
                      <a:pt x="1140" y="1223"/>
                    </a:lnTo>
                    <a:lnTo>
                      <a:pt x="1138" y="1223"/>
                    </a:lnTo>
                    <a:lnTo>
                      <a:pt x="1136" y="1223"/>
                    </a:lnTo>
                    <a:lnTo>
                      <a:pt x="1136" y="1221"/>
                    </a:lnTo>
                    <a:lnTo>
                      <a:pt x="1136" y="1223"/>
                    </a:lnTo>
                    <a:lnTo>
                      <a:pt x="1136" y="1221"/>
                    </a:lnTo>
                    <a:lnTo>
                      <a:pt x="1134" y="1221"/>
                    </a:lnTo>
                    <a:lnTo>
                      <a:pt x="1134" y="1219"/>
                    </a:lnTo>
                    <a:lnTo>
                      <a:pt x="1132" y="1219"/>
                    </a:lnTo>
                    <a:lnTo>
                      <a:pt x="1131" y="1219"/>
                    </a:lnTo>
                    <a:lnTo>
                      <a:pt x="1129" y="1219"/>
                    </a:lnTo>
                    <a:lnTo>
                      <a:pt x="1127" y="1219"/>
                    </a:lnTo>
                    <a:lnTo>
                      <a:pt x="1125" y="1219"/>
                    </a:lnTo>
                    <a:lnTo>
                      <a:pt x="1125" y="1217"/>
                    </a:lnTo>
                    <a:lnTo>
                      <a:pt x="1125" y="1219"/>
                    </a:lnTo>
                    <a:lnTo>
                      <a:pt x="1123" y="1217"/>
                    </a:lnTo>
                    <a:lnTo>
                      <a:pt x="1121" y="1217"/>
                    </a:lnTo>
                    <a:lnTo>
                      <a:pt x="1121" y="1215"/>
                    </a:lnTo>
                    <a:lnTo>
                      <a:pt x="1121" y="1217"/>
                    </a:lnTo>
                    <a:lnTo>
                      <a:pt x="1121" y="1215"/>
                    </a:lnTo>
                    <a:lnTo>
                      <a:pt x="1119" y="1215"/>
                    </a:lnTo>
                    <a:lnTo>
                      <a:pt x="1117" y="1215"/>
                    </a:lnTo>
                    <a:lnTo>
                      <a:pt x="1117" y="1213"/>
                    </a:lnTo>
                    <a:lnTo>
                      <a:pt x="1115" y="1213"/>
                    </a:lnTo>
                    <a:lnTo>
                      <a:pt x="1113" y="1213"/>
                    </a:lnTo>
                    <a:lnTo>
                      <a:pt x="1111" y="1213"/>
                    </a:lnTo>
                    <a:lnTo>
                      <a:pt x="1111" y="1211"/>
                    </a:lnTo>
                    <a:lnTo>
                      <a:pt x="1110" y="1209"/>
                    </a:lnTo>
                    <a:lnTo>
                      <a:pt x="1110" y="1207"/>
                    </a:lnTo>
                    <a:lnTo>
                      <a:pt x="1110" y="1205"/>
                    </a:lnTo>
                    <a:lnTo>
                      <a:pt x="1108" y="1204"/>
                    </a:lnTo>
                    <a:lnTo>
                      <a:pt x="1108" y="1202"/>
                    </a:lnTo>
                    <a:lnTo>
                      <a:pt x="1106" y="1202"/>
                    </a:lnTo>
                    <a:lnTo>
                      <a:pt x="1106" y="1200"/>
                    </a:lnTo>
                    <a:lnTo>
                      <a:pt x="1106" y="1198"/>
                    </a:lnTo>
                    <a:lnTo>
                      <a:pt x="1106" y="1196"/>
                    </a:lnTo>
                    <a:lnTo>
                      <a:pt x="1104" y="1196"/>
                    </a:lnTo>
                    <a:lnTo>
                      <a:pt x="1106" y="1196"/>
                    </a:lnTo>
                    <a:lnTo>
                      <a:pt x="1106" y="1194"/>
                    </a:lnTo>
                    <a:lnTo>
                      <a:pt x="1106" y="1192"/>
                    </a:lnTo>
                    <a:lnTo>
                      <a:pt x="1104" y="1192"/>
                    </a:lnTo>
                    <a:lnTo>
                      <a:pt x="1106" y="1192"/>
                    </a:lnTo>
                    <a:lnTo>
                      <a:pt x="1104" y="1190"/>
                    </a:lnTo>
                    <a:lnTo>
                      <a:pt x="1104" y="1192"/>
                    </a:lnTo>
                    <a:lnTo>
                      <a:pt x="1104" y="1190"/>
                    </a:lnTo>
                    <a:lnTo>
                      <a:pt x="1102" y="1190"/>
                    </a:lnTo>
                    <a:lnTo>
                      <a:pt x="1100" y="1188"/>
                    </a:lnTo>
                    <a:lnTo>
                      <a:pt x="1100" y="1186"/>
                    </a:lnTo>
                    <a:lnTo>
                      <a:pt x="1098" y="1186"/>
                    </a:lnTo>
                    <a:lnTo>
                      <a:pt x="1098" y="1184"/>
                    </a:lnTo>
                    <a:lnTo>
                      <a:pt x="1096" y="1183"/>
                    </a:lnTo>
                    <a:lnTo>
                      <a:pt x="1096" y="1181"/>
                    </a:lnTo>
                    <a:lnTo>
                      <a:pt x="1094" y="1181"/>
                    </a:lnTo>
                    <a:lnTo>
                      <a:pt x="1092" y="1181"/>
                    </a:lnTo>
                    <a:lnTo>
                      <a:pt x="1092" y="1179"/>
                    </a:lnTo>
                    <a:lnTo>
                      <a:pt x="1092" y="1177"/>
                    </a:lnTo>
                    <a:lnTo>
                      <a:pt x="1090" y="1175"/>
                    </a:lnTo>
                    <a:lnTo>
                      <a:pt x="1092" y="1175"/>
                    </a:lnTo>
                    <a:lnTo>
                      <a:pt x="1090" y="1175"/>
                    </a:lnTo>
                    <a:lnTo>
                      <a:pt x="1090" y="1173"/>
                    </a:lnTo>
                    <a:lnTo>
                      <a:pt x="1089" y="1173"/>
                    </a:lnTo>
                    <a:lnTo>
                      <a:pt x="1089" y="1171"/>
                    </a:lnTo>
                    <a:lnTo>
                      <a:pt x="1089" y="1169"/>
                    </a:lnTo>
                    <a:lnTo>
                      <a:pt x="1087" y="1167"/>
                    </a:lnTo>
                    <a:lnTo>
                      <a:pt x="1087" y="1165"/>
                    </a:lnTo>
                    <a:lnTo>
                      <a:pt x="1087" y="1163"/>
                    </a:lnTo>
                    <a:lnTo>
                      <a:pt x="1085" y="1163"/>
                    </a:lnTo>
                    <a:lnTo>
                      <a:pt x="1085" y="1162"/>
                    </a:lnTo>
                    <a:lnTo>
                      <a:pt x="1083" y="1162"/>
                    </a:lnTo>
                    <a:lnTo>
                      <a:pt x="1083" y="1160"/>
                    </a:lnTo>
                    <a:lnTo>
                      <a:pt x="1081" y="1160"/>
                    </a:lnTo>
                    <a:lnTo>
                      <a:pt x="1081" y="1158"/>
                    </a:lnTo>
                    <a:lnTo>
                      <a:pt x="1079" y="1158"/>
                    </a:lnTo>
                    <a:lnTo>
                      <a:pt x="1079" y="1156"/>
                    </a:lnTo>
                    <a:lnTo>
                      <a:pt x="1077" y="1156"/>
                    </a:lnTo>
                    <a:lnTo>
                      <a:pt x="1077" y="1154"/>
                    </a:lnTo>
                    <a:lnTo>
                      <a:pt x="1077" y="1156"/>
                    </a:lnTo>
                    <a:lnTo>
                      <a:pt x="1077" y="1154"/>
                    </a:lnTo>
                    <a:lnTo>
                      <a:pt x="1075" y="1154"/>
                    </a:lnTo>
                    <a:lnTo>
                      <a:pt x="1075" y="1152"/>
                    </a:lnTo>
                    <a:lnTo>
                      <a:pt x="1073" y="1152"/>
                    </a:lnTo>
                    <a:lnTo>
                      <a:pt x="1071" y="1152"/>
                    </a:lnTo>
                    <a:lnTo>
                      <a:pt x="1069" y="1152"/>
                    </a:lnTo>
                    <a:lnTo>
                      <a:pt x="1068" y="1152"/>
                    </a:lnTo>
                    <a:lnTo>
                      <a:pt x="1066" y="1152"/>
                    </a:lnTo>
                    <a:lnTo>
                      <a:pt x="1066" y="1150"/>
                    </a:lnTo>
                    <a:lnTo>
                      <a:pt x="1066" y="1152"/>
                    </a:lnTo>
                    <a:lnTo>
                      <a:pt x="1064" y="1152"/>
                    </a:lnTo>
                    <a:lnTo>
                      <a:pt x="1062" y="1150"/>
                    </a:lnTo>
                    <a:lnTo>
                      <a:pt x="1060" y="1150"/>
                    </a:lnTo>
                    <a:lnTo>
                      <a:pt x="1060" y="1152"/>
                    </a:lnTo>
                    <a:lnTo>
                      <a:pt x="1058" y="1152"/>
                    </a:lnTo>
                    <a:lnTo>
                      <a:pt x="1056" y="1152"/>
                    </a:lnTo>
                    <a:lnTo>
                      <a:pt x="1054" y="1152"/>
                    </a:lnTo>
                    <a:lnTo>
                      <a:pt x="1054" y="1154"/>
                    </a:lnTo>
                    <a:lnTo>
                      <a:pt x="1054" y="1156"/>
                    </a:lnTo>
                    <a:lnTo>
                      <a:pt x="1052" y="1156"/>
                    </a:lnTo>
                    <a:lnTo>
                      <a:pt x="1052" y="1158"/>
                    </a:lnTo>
                    <a:lnTo>
                      <a:pt x="1052" y="1160"/>
                    </a:lnTo>
                    <a:lnTo>
                      <a:pt x="1050" y="1160"/>
                    </a:lnTo>
                    <a:lnTo>
                      <a:pt x="1050" y="1162"/>
                    </a:lnTo>
                    <a:lnTo>
                      <a:pt x="1052" y="1162"/>
                    </a:lnTo>
                    <a:lnTo>
                      <a:pt x="1050" y="1162"/>
                    </a:lnTo>
                    <a:lnTo>
                      <a:pt x="1050" y="1163"/>
                    </a:lnTo>
                    <a:lnTo>
                      <a:pt x="1049" y="1163"/>
                    </a:lnTo>
                    <a:lnTo>
                      <a:pt x="1049" y="1165"/>
                    </a:lnTo>
                    <a:lnTo>
                      <a:pt x="1047" y="1167"/>
                    </a:lnTo>
                    <a:lnTo>
                      <a:pt x="1047" y="1165"/>
                    </a:lnTo>
                    <a:lnTo>
                      <a:pt x="1045" y="1165"/>
                    </a:lnTo>
                    <a:lnTo>
                      <a:pt x="1045" y="1167"/>
                    </a:lnTo>
                    <a:lnTo>
                      <a:pt x="1045" y="1165"/>
                    </a:lnTo>
                    <a:lnTo>
                      <a:pt x="1043" y="1165"/>
                    </a:lnTo>
                    <a:lnTo>
                      <a:pt x="1043" y="1163"/>
                    </a:lnTo>
                    <a:lnTo>
                      <a:pt x="1041" y="1163"/>
                    </a:lnTo>
                    <a:lnTo>
                      <a:pt x="1039" y="1163"/>
                    </a:lnTo>
                    <a:lnTo>
                      <a:pt x="1037" y="1163"/>
                    </a:lnTo>
                    <a:lnTo>
                      <a:pt x="1037" y="1162"/>
                    </a:lnTo>
                    <a:lnTo>
                      <a:pt x="1033" y="1160"/>
                    </a:lnTo>
                    <a:lnTo>
                      <a:pt x="1031" y="1160"/>
                    </a:lnTo>
                    <a:lnTo>
                      <a:pt x="1029" y="1158"/>
                    </a:lnTo>
                    <a:lnTo>
                      <a:pt x="1029" y="1156"/>
                    </a:lnTo>
                    <a:lnTo>
                      <a:pt x="1028" y="1156"/>
                    </a:lnTo>
                    <a:lnTo>
                      <a:pt x="1026" y="1154"/>
                    </a:lnTo>
                    <a:lnTo>
                      <a:pt x="1024" y="1152"/>
                    </a:lnTo>
                    <a:lnTo>
                      <a:pt x="1026" y="1152"/>
                    </a:lnTo>
                    <a:lnTo>
                      <a:pt x="1024" y="1152"/>
                    </a:lnTo>
                    <a:lnTo>
                      <a:pt x="1022" y="1148"/>
                    </a:lnTo>
                    <a:lnTo>
                      <a:pt x="1024" y="1148"/>
                    </a:lnTo>
                    <a:lnTo>
                      <a:pt x="1022" y="1148"/>
                    </a:lnTo>
                    <a:lnTo>
                      <a:pt x="1022" y="1146"/>
                    </a:lnTo>
                    <a:lnTo>
                      <a:pt x="1022" y="1144"/>
                    </a:lnTo>
                    <a:lnTo>
                      <a:pt x="1022" y="1142"/>
                    </a:lnTo>
                    <a:lnTo>
                      <a:pt x="1020" y="1141"/>
                    </a:lnTo>
                    <a:lnTo>
                      <a:pt x="1020" y="1139"/>
                    </a:lnTo>
                    <a:lnTo>
                      <a:pt x="1018" y="1137"/>
                    </a:lnTo>
                    <a:lnTo>
                      <a:pt x="1018" y="1135"/>
                    </a:lnTo>
                    <a:lnTo>
                      <a:pt x="1016" y="1135"/>
                    </a:lnTo>
                    <a:lnTo>
                      <a:pt x="1016" y="1133"/>
                    </a:lnTo>
                    <a:lnTo>
                      <a:pt x="1014" y="1133"/>
                    </a:lnTo>
                    <a:lnTo>
                      <a:pt x="1016" y="1133"/>
                    </a:lnTo>
                    <a:lnTo>
                      <a:pt x="1014" y="1133"/>
                    </a:lnTo>
                    <a:lnTo>
                      <a:pt x="1012" y="1133"/>
                    </a:lnTo>
                    <a:lnTo>
                      <a:pt x="1010" y="1131"/>
                    </a:lnTo>
                    <a:lnTo>
                      <a:pt x="1010" y="1129"/>
                    </a:lnTo>
                    <a:lnTo>
                      <a:pt x="1008" y="1129"/>
                    </a:lnTo>
                    <a:lnTo>
                      <a:pt x="1008" y="1127"/>
                    </a:lnTo>
                    <a:lnTo>
                      <a:pt x="1007" y="1125"/>
                    </a:lnTo>
                    <a:lnTo>
                      <a:pt x="1005" y="1125"/>
                    </a:lnTo>
                    <a:lnTo>
                      <a:pt x="1005" y="1123"/>
                    </a:lnTo>
                    <a:lnTo>
                      <a:pt x="1003" y="1123"/>
                    </a:lnTo>
                    <a:lnTo>
                      <a:pt x="1003" y="1121"/>
                    </a:lnTo>
                    <a:lnTo>
                      <a:pt x="1001" y="1121"/>
                    </a:lnTo>
                    <a:lnTo>
                      <a:pt x="999" y="1120"/>
                    </a:lnTo>
                    <a:lnTo>
                      <a:pt x="997" y="1120"/>
                    </a:lnTo>
                    <a:lnTo>
                      <a:pt x="997" y="1116"/>
                    </a:lnTo>
                    <a:lnTo>
                      <a:pt x="995" y="1116"/>
                    </a:lnTo>
                    <a:lnTo>
                      <a:pt x="993" y="1116"/>
                    </a:lnTo>
                    <a:lnTo>
                      <a:pt x="993" y="1114"/>
                    </a:lnTo>
                    <a:lnTo>
                      <a:pt x="967" y="1114"/>
                    </a:lnTo>
                    <a:lnTo>
                      <a:pt x="967" y="1123"/>
                    </a:lnTo>
                    <a:lnTo>
                      <a:pt x="953" y="1123"/>
                    </a:lnTo>
                    <a:lnTo>
                      <a:pt x="921" y="1123"/>
                    </a:lnTo>
                    <a:lnTo>
                      <a:pt x="892" y="1112"/>
                    </a:lnTo>
                    <a:lnTo>
                      <a:pt x="888" y="1112"/>
                    </a:lnTo>
                    <a:lnTo>
                      <a:pt x="862" y="1100"/>
                    </a:lnTo>
                    <a:lnTo>
                      <a:pt x="862" y="1099"/>
                    </a:lnTo>
                    <a:lnTo>
                      <a:pt x="864" y="1097"/>
                    </a:lnTo>
                    <a:lnTo>
                      <a:pt x="843" y="1099"/>
                    </a:lnTo>
                    <a:lnTo>
                      <a:pt x="825" y="1100"/>
                    </a:lnTo>
                    <a:lnTo>
                      <a:pt x="823" y="1099"/>
                    </a:lnTo>
                    <a:lnTo>
                      <a:pt x="823" y="1097"/>
                    </a:lnTo>
                    <a:lnTo>
                      <a:pt x="823" y="1099"/>
                    </a:lnTo>
                    <a:lnTo>
                      <a:pt x="825" y="1099"/>
                    </a:lnTo>
                    <a:lnTo>
                      <a:pt x="825" y="1097"/>
                    </a:lnTo>
                    <a:lnTo>
                      <a:pt x="823" y="1097"/>
                    </a:lnTo>
                    <a:lnTo>
                      <a:pt x="823" y="1099"/>
                    </a:lnTo>
                    <a:lnTo>
                      <a:pt x="823" y="1097"/>
                    </a:lnTo>
                    <a:lnTo>
                      <a:pt x="823" y="1095"/>
                    </a:lnTo>
                    <a:lnTo>
                      <a:pt x="823" y="1097"/>
                    </a:lnTo>
                    <a:lnTo>
                      <a:pt x="823" y="1095"/>
                    </a:lnTo>
                    <a:lnTo>
                      <a:pt x="823" y="1097"/>
                    </a:lnTo>
                    <a:lnTo>
                      <a:pt x="823" y="1095"/>
                    </a:lnTo>
                    <a:lnTo>
                      <a:pt x="822" y="1095"/>
                    </a:lnTo>
                    <a:lnTo>
                      <a:pt x="823" y="1095"/>
                    </a:lnTo>
                    <a:lnTo>
                      <a:pt x="822" y="1091"/>
                    </a:lnTo>
                    <a:lnTo>
                      <a:pt x="822" y="1089"/>
                    </a:lnTo>
                    <a:lnTo>
                      <a:pt x="820" y="1085"/>
                    </a:lnTo>
                    <a:lnTo>
                      <a:pt x="818" y="1085"/>
                    </a:lnTo>
                    <a:lnTo>
                      <a:pt x="816" y="1083"/>
                    </a:lnTo>
                    <a:lnTo>
                      <a:pt x="814" y="1081"/>
                    </a:lnTo>
                    <a:lnTo>
                      <a:pt x="812" y="1079"/>
                    </a:lnTo>
                    <a:lnTo>
                      <a:pt x="810" y="1079"/>
                    </a:lnTo>
                    <a:lnTo>
                      <a:pt x="810" y="1078"/>
                    </a:lnTo>
                    <a:lnTo>
                      <a:pt x="808" y="1078"/>
                    </a:lnTo>
                    <a:lnTo>
                      <a:pt x="810" y="1078"/>
                    </a:lnTo>
                    <a:lnTo>
                      <a:pt x="808" y="1078"/>
                    </a:lnTo>
                    <a:lnTo>
                      <a:pt x="810" y="1078"/>
                    </a:lnTo>
                    <a:lnTo>
                      <a:pt x="808" y="1078"/>
                    </a:lnTo>
                    <a:lnTo>
                      <a:pt x="806" y="1078"/>
                    </a:lnTo>
                    <a:lnTo>
                      <a:pt x="804" y="1078"/>
                    </a:lnTo>
                    <a:lnTo>
                      <a:pt x="804" y="1076"/>
                    </a:lnTo>
                    <a:lnTo>
                      <a:pt x="804" y="1074"/>
                    </a:lnTo>
                    <a:lnTo>
                      <a:pt x="803" y="1072"/>
                    </a:lnTo>
                    <a:lnTo>
                      <a:pt x="799" y="1072"/>
                    </a:lnTo>
                    <a:lnTo>
                      <a:pt x="797" y="1072"/>
                    </a:lnTo>
                    <a:lnTo>
                      <a:pt x="793" y="1070"/>
                    </a:lnTo>
                    <a:lnTo>
                      <a:pt x="791" y="1070"/>
                    </a:lnTo>
                    <a:lnTo>
                      <a:pt x="791" y="1068"/>
                    </a:lnTo>
                    <a:lnTo>
                      <a:pt x="789" y="1066"/>
                    </a:lnTo>
                    <a:lnTo>
                      <a:pt x="787" y="1066"/>
                    </a:lnTo>
                    <a:lnTo>
                      <a:pt x="785" y="1064"/>
                    </a:lnTo>
                    <a:lnTo>
                      <a:pt x="783" y="1064"/>
                    </a:lnTo>
                    <a:lnTo>
                      <a:pt x="782" y="1064"/>
                    </a:lnTo>
                    <a:lnTo>
                      <a:pt x="780" y="1064"/>
                    </a:lnTo>
                    <a:lnTo>
                      <a:pt x="778" y="1064"/>
                    </a:lnTo>
                    <a:lnTo>
                      <a:pt x="774" y="1064"/>
                    </a:lnTo>
                    <a:lnTo>
                      <a:pt x="772" y="1064"/>
                    </a:lnTo>
                    <a:lnTo>
                      <a:pt x="770" y="1062"/>
                    </a:lnTo>
                    <a:lnTo>
                      <a:pt x="768" y="1062"/>
                    </a:lnTo>
                    <a:lnTo>
                      <a:pt x="768" y="1060"/>
                    </a:lnTo>
                    <a:lnTo>
                      <a:pt x="770" y="1059"/>
                    </a:lnTo>
                    <a:lnTo>
                      <a:pt x="768" y="1059"/>
                    </a:lnTo>
                    <a:lnTo>
                      <a:pt x="770" y="1057"/>
                    </a:lnTo>
                    <a:lnTo>
                      <a:pt x="768" y="1055"/>
                    </a:lnTo>
                    <a:lnTo>
                      <a:pt x="768" y="1053"/>
                    </a:lnTo>
                    <a:lnTo>
                      <a:pt x="768" y="1051"/>
                    </a:lnTo>
                    <a:lnTo>
                      <a:pt x="768" y="1049"/>
                    </a:lnTo>
                    <a:lnTo>
                      <a:pt x="766" y="1049"/>
                    </a:lnTo>
                    <a:lnTo>
                      <a:pt x="766" y="1051"/>
                    </a:lnTo>
                    <a:lnTo>
                      <a:pt x="766" y="1049"/>
                    </a:lnTo>
                    <a:lnTo>
                      <a:pt x="764" y="1049"/>
                    </a:lnTo>
                    <a:lnTo>
                      <a:pt x="766" y="1047"/>
                    </a:lnTo>
                    <a:lnTo>
                      <a:pt x="764" y="1045"/>
                    </a:lnTo>
                    <a:lnTo>
                      <a:pt x="762" y="1045"/>
                    </a:lnTo>
                    <a:lnTo>
                      <a:pt x="762" y="1043"/>
                    </a:lnTo>
                    <a:lnTo>
                      <a:pt x="761" y="1041"/>
                    </a:lnTo>
                    <a:lnTo>
                      <a:pt x="759" y="1039"/>
                    </a:lnTo>
                    <a:lnTo>
                      <a:pt x="759" y="1038"/>
                    </a:lnTo>
                    <a:lnTo>
                      <a:pt x="755" y="1036"/>
                    </a:lnTo>
                    <a:lnTo>
                      <a:pt x="755" y="1034"/>
                    </a:lnTo>
                    <a:lnTo>
                      <a:pt x="753" y="1032"/>
                    </a:lnTo>
                    <a:lnTo>
                      <a:pt x="753" y="1030"/>
                    </a:lnTo>
                    <a:lnTo>
                      <a:pt x="751" y="1030"/>
                    </a:lnTo>
                    <a:lnTo>
                      <a:pt x="749" y="1028"/>
                    </a:lnTo>
                    <a:lnTo>
                      <a:pt x="749" y="1026"/>
                    </a:lnTo>
                    <a:lnTo>
                      <a:pt x="747" y="1024"/>
                    </a:lnTo>
                    <a:lnTo>
                      <a:pt x="749" y="1024"/>
                    </a:lnTo>
                    <a:lnTo>
                      <a:pt x="747" y="1024"/>
                    </a:lnTo>
                    <a:lnTo>
                      <a:pt x="749" y="1024"/>
                    </a:lnTo>
                    <a:lnTo>
                      <a:pt x="749" y="1022"/>
                    </a:lnTo>
                    <a:lnTo>
                      <a:pt x="747" y="1022"/>
                    </a:lnTo>
                    <a:lnTo>
                      <a:pt x="749" y="1020"/>
                    </a:lnTo>
                    <a:lnTo>
                      <a:pt x="749" y="1022"/>
                    </a:lnTo>
                    <a:lnTo>
                      <a:pt x="749" y="1020"/>
                    </a:lnTo>
                    <a:lnTo>
                      <a:pt x="751" y="1020"/>
                    </a:lnTo>
                    <a:lnTo>
                      <a:pt x="751" y="1018"/>
                    </a:lnTo>
                    <a:lnTo>
                      <a:pt x="749" y="1015"/>
                    </a:lnTo>
                    <a:lnTo>
                      <a:pt x="747" y="1015"/>
                    </a:lnTo>
                    <a:lnTo>
                      <a:pt x="745" y="1015"/>
                    </a:lnTo>
                    <a:lnTo>
                      <a:pt x="743" y="1013"/>
                    </a:lnTo>
                    <a:lnTo>
                      <a:pt x="743" y="1011"/>
                    </a:lnTo>
                    <a:lnTo>
                      <a:pt x="741" y="1011"/>
                    </a:lnTo>
                    <a:lnTo>
                      <a:pt x="741" y="1009"/>
                    </a:lnTo>
                    <a:lnTo>
                      <a:pt x="741" y="1007"/>
                    </a:lnTo>
                    <a:lnTo>
                      <a:pt x="740" y="1005"/>
                    </a:lnTo>
                    <a:lnTo>
                      <a:pt x="740" y="1003"/>
                    </a:lnTo>
                    <a:lnTo>
                      <a:pt x="740" y="1001"/>
                    </a:lnTo>
                    <a:lnTo>
                      <a:pt x="740" y="997"/>
                    </a:lnTo>
                    <a:lnTo>
                      <a:pt x="741" y="997"/>
                    </a:lnTo>
                    <a:lnTo>
                      <a:pt x="741" y="999"/>
                    </a:lnTo>
                    <a:lnTo>
                      <a:pt x="741" y="1001"/>
                    </a:lnTo>
                    <a:lnTo>
                      <a:pt x="743" y="1003"/>
                    </a:lnTo>
                    <a:lnTo>
                      <a:pt x="745" y="1003"/>
                    </a:lnTo>
                    <a:lnTo>
                      <a:pt x="745" y="1005"/>
                    </a:lnTo>
                    <a:lnTo>
                      <a:pt x="747" y="1005"/>
                    </a:lnTo>
                    <a:lnTo>
                      <a:pt x="747" y="1003"/>
                    </a:lnTo>
                    <a:lnTo>
                      <a:pt x="745" y="1003"/>
                    </a:lnTo>
                    <a:lnTo>
                      <a:pt x="745" y="1001"/>
                    </a:lnTo>
                    <a:lnTo>
                      <a:pt x="743" y="999"/>
                    </a:lnTo>
                    <a:lnTo>
                      <a:pt x="743" y="997"/>
                    </a:lnTo>
                    <a:lnTo>
                      <a:pt x="741" y="997"/>
                    </a:lnTo>
                    <a:lnTo>
                      <a:pt x="743" y="997"/>
                    </a:lnTo>
                    <a:lnTo>
                      <a:pt x="741" y="997"/>
                    </a:lnTo>
                    <a:lnTo>
                      <a:pt x="743" y="997"/>
                    </a:lnTo>
                    <a:lnTo>
                      <a:pt x="741" y="996"/>
                    </a:lnTo>
                    <a:lnTo>
                      <a:pt x="740" y="994"/>
                    </a:lnTo>
                    <a:lnTo>
                      <a:pt x="741" y="996"/>
                    </a:lnTo>
                    <a:lnTo>
                      <a:pt x="741" y="994"/>
                    </a:lnTo>
                    <a:lnTo>
                      <a:pt x="743" y="994"/>
                    </a:lnTo>
                    <a:lnTo>
                      <a:pt x="743" y="992"/>
                    </a:lnTo>
                    <a:lnTo>
                      <a:pt x="743" y="994"/>
                    </a:lnTo>
                    <a:lnTo>
                      <a:pt x="745" y="994"/>
                    </a:lnTo>
                    <a:lnTo>
                      <a:pt x="747" y="992"/>
                    </a:lnTo>
                    <a:lnTo>
                      <a:pt x="747" y="994"/>
                    </a:lnTo>
                    <a:lnTo>
                      <a:pt x="749" y="994"/>
                    </a:lnTo>
                    <a:lnTo>
                      <a:pt x="751" y="994"/>
                    </a:lnTo>
                    <a:lnTo>
                      <a:pt x="753" y="994"/>
                    </a:lnTo>
                    <a:lnTo>
                      <a:pt x="751" y="994"/>
                    </a:lnTo>
                    <a:lnTo>
                      <a:pt x="753" y="992"/>
                    </a:lnTo>
                    <a:lnTo>
                      <a:pt x="753" y="994"/>
                    </a:lnTo>
                    <a:lnTo>
                      <a:pt x="755" y="994"/>
                    </a:lnTo>
                    <a:lnTo>
                      <a:pt x="755" y="992"/>
                    </a:lnTo>
                    <a:lnTo>
                      <a:pt x="753" y="992"/>
                    </a:lnTo>
                    <a:lnTo>
                      <a:pt x="753" y="994"/>
                    </a:lnTo>
                    <a:lnTo>
                      <a:pt x="751" y="994"/>
                    </a:lnTo>
                    <a:lnTo>
                      <a:pt x="751" y="992"/>
                    </a:lnTo>
                    <a:lnTo>
                      <a:pt x="753" y="992"/>
                    </a:lnTo>
                    <a:lnTo>
                      <a:pt x="753" y="990"/>
                    </a:lnTo>
                    <a:lnTo>
                      <a:pt x="751" y="992"/>
                    </a:lnTo>
                    <a:lnTo>
                      <a:pt x="749" y="992"/>
                    </a:lnTo>
                    <a:lnTo>
                      <a:pt x="749" y="994"/>
                    </a:lnTo>
                    <a:lnTo>
                      <a:pt x="749" y="992"/>
                    </a:lnTo>
                    <a:lnTo>
                      <a:pt x="747" y="992"/>
                    </a:lnTo>
                    <a:lnTo>
                      <a:pt x="745" y="992"/>
                    </a:lnTo>
                    <a:lnTo>
                      <a:pt x="745" y="994"/>
                    </a:lnTo>
                    <a:lnTo>
                      <a:pt x="743" y="992"/>
                    </a:lnTo>
                    <a:lnTo>
                      <a:pt x="743" y="990"/>
                    </a:lnTo>
                    <a:lnTo>
                      <a:pt x="741" y="990"/>
                    </a:lnTo>
                    <a:lnTo>
                      <a:pt x="743" y="990"/>
                    </a:lnTo>
                    <a:lnTo>
                      <a:pt x="743" y="992"/>
                    </a:lnTo>
                    <a:lnTo>
                      <a:pt x="741" y="990"/>
                    </a:lnTo>
                    <a:lnTo>
                      <a:pt x="741" y="992"/>
                    </a:lnTo>
                    <a:lnTo>
                      <a:pt x="740" y="992"/>
                    </a:lnTo>
                    <a:lnTo>
                      <a:pt x="740" y="994"/>
                    </a:lnTo>
                    <a:lnTo>
                      <a:pt x="740" y="996"/>
                    </a:lnTo>
                    <a:lnTo>
                      <a:pt x="740" y="997"/>
                    </a:lnTo>
                    <a:lnTo>
                      <a:pt x="740" y="996"/>
                    </a:lnTo>
                    <a:lnTo>
                      <a:pt x="740" y="997"/>
                    </a:lnTo>
                    <a:lnTo>
                      <a:pt x="738" y="997"/>
                    </a:lnTo>
                    <a:lnTo>
                      <a:pt x="738" y="996"/>
                    </a:lnTo>
                    <a:lnTo>
                      <a:pt x="736" y="996"/>
                    </a:lnTo>
                    <a:lnTo>
                      <a:pt x="734" y="994"/>
                    </a:lnTo>
                    <a:lnTo>
                      <a:pt x="732" y="994"/>
                    </a:lnTo>
                    <a:lnTo>
                      <a:pt x="734" y="994"/>
                    </a:lnTo>
                    <a:lnTo>
                      <a:pt x="732" y="994"/>
                    </a:lnTo>
                    <a:lnTo>
                      <a:pt x="732" y="992"/>
                    </a:lnTo>
                    <a:lnTo>
                      <a:pt x="732" y="994"/>
                    </a:lnTo>
                    <a:lnTo>
                      <a:pt x="730" y="994"/>
                    </a:lnTo>
                    <a:lnTo>
                      <a:pt x="732" y="990"/>
                    </a:lnTo>
                    <a:lnTo>
                      <a:pt x="734" y="992"/>
                    </a:lnTo>
                    <a:lnTo>
                      <a:pt x="734" y="990"/>
                    </a:lnTo>
                    <a:lnTo>
                      <a:pt x="732" y="990"/>
                    </a:lnTo>
                    <a:lnTo>
                      <a:pt x="732" y="988"/>
                    </a:lnTo>
                    <a:lnTo>
                      <a:pt x="730" y="988"/>
                    </a:lnTo>
                    <a:lnTo>
                      <a:pt x="730" y="986"/>
                    </a:lnTo>
                    <a:lnTo>
                      <a:pt x="730" y="984"/>
                    </a:lnTo>
                    <a:lnTo>
                      <a:pt x="726" y="982"/>
                    </a:lnTo>
                    <a:lnTo>
                      <a:pt x="724" y="980"/>
                    </a:lnTo>
                    <a:lnTo>
                      <a:pt x="722" y="978"/>
                    </a:lnTo>
                    <a:lnTo>
                      <a:pt x="721" y="976"/>
                    </a:lnTo>
                    <a:lnTo>
                      <a:pt x="721" y="975"/>
                    </a:lnTo>
                    <a:lnTo>
                      <a:pt x="721" y="973"/>
                    </a:lnTo>
                    <a:lnTo>
                      <a:pt x="721" y="971"/>
                    </a:lnTo>
                    <a:lnTo>
                      <a:pt x="719" y="969"/>
                    </a:lnTo>
                    <a:lnTo>
                      <a:pt x="719" y="967"/>
                    </a:lnTo>
                    <a:lnTo>
                      <a:pt x="719" y="965"/>
                    </a:lnTo>
                    <a:lnTo>
                      <a:pt x="719" y="961"/>
                    </a:lnTo>
                    <a:lnTo>
                      <a:pt x="719" y="959"/>
                    </a:lnTo>
                    <a:lnTo>
                      <a:pt x="719" y="955"/>
                    </a:lnTo>
                    <a:lnTo>
                      <a:pt x="717" y="955"/>
                    </a:lnTo>
                    <a:lnTo>
                      <a:pt x="715" y="952"/>
                    </a:lnTo>
                    <a:lnTo>
                      <a:pt x="713" y="952"/>
                    </a:lnTo>
                    <a:lnTo>
                      <a:pt x="713" y="950"/>
                    </a:lnTo>
                    <a:lnTo>
                      <a:pt x="709" y="948"/>
                    </a:lnTo>
                    <a:lnTo>
                      <a:pt x="709" y="946"/>
                    </a:lnTo>
                    <a:lnTo>
                      <a:pt x="709" y="944"/>
                    </a:lnTo>
                    <a:lnTo>
                      <a:pt x="711" y="940"/>
                    </a:lnTo>
                    <a:lnTo>
                      <a:pt x="713" y="933"/>
                    </a:lnTo>
                    <a:lnTo>
                      <a:pt x="713" y="931"/>
                    </a:lnTo>
                    <a:lnTo>
                      <a:pt x="713" y="929"/>
                    </a:lnTo>
                    <a:lnTo>
                      <a:pt x="713" y="927"/>
                    </a:lnTo>
                    <a:lnTo>
                      <a:pt x="715" y="923"/>
                    </a:lnTo>
                    <a:lnTo>
                      <a:pt x="715" y="921"/>
                    </a:lnTo>
                    <a:lnTo>
                      <a:pt x="713" y="917"/>
                    </a:lnTo>
                    <a:lnTo>
                      <a:pt x="713" y="915"/>
                    </a:lnTo>
                    <a:lnTo>
                      <a:pt x="711" y="915"/>
                    </a:lnTo>
                    <a:lnTo>
                      <a:pt x="713" y="913"/>
                    </a:lnTo>
                    <a:lnTo>
                      <a:pt x="713" y="912"/>
                    </a:lnTo>
                    <a:lnTo>
                      <a:pt x="709" y="908"/>
                    </a:lnTo>
                    <a:lnTo>
                      <a:pt x="709" y="906"/>
                    </a:lnTo>
                    <a:lnTo>
                      <a:pt x="709" y="904"/>
                    </a:lnTo>
                    <a:lnTo>
                      <a:pt x="709" y="902"/>
                    </a:lnTo>
                    <a:lnTo>
                      <a:pt x="709" y="900"/>
                    </a:lnTo>
                    <a:lnTo>
                      <a:pt x="709" y="898"/>
                    </a:lnTo>
                    <a:lnTo>
                      <a:pt x="709" y="896"/>
                    </a:lnTo>
                    <a:lnTo>
                      <a:pt x="707" y="894"/>
                    </a:lnTo>
                    <a:lnTo>
                      <a:pt x="707" y="893"/>
                    </a:lnTo>
                    <a:lnTo>
                      <a:pt x="707" y="891"/>
                    </a:lnTo>
                    <a:lnTo>
                      <a:pt x="709" y="889"/>
                    </a:lnTo>
                    <a:lnTo>
                      <a:pt x="709" y="887"/>
                    </a:lnTo>
                    <a:lnTo>
                      <a:pt x="709" y="885"/>
                    </a:lnTo>
                    <a:lnTo>
                      <a:pt x="709" y="883"/>
                    </a:lnTo>
                    <a:lnTo>
                      <a:pt x="709" y="881"/>
                    </a:lnTo>
                    <a:lnTo>
                      <a:pt x="711" y="881"/>
                    </a:lnTo>
                    <a:lnTo>
                      <a:pt x="711" y="883"/>
                    </a:lnTo>
                    <a:lnTo>
                      <a:pt x="711" y="881"/>
                    </a:lnTo>
                    <a:lnTo>
                      <a:pt x="711" y="879"/>
                    </a:lnTo>
                    <a:lnTo>
                      <a:pt x="711" y="881"/>
                    </a:lnTo>
                    <a:lnTo>
                      <a:pt x="711" y="879"/>
                    </a:lnTo>
                    <a:lnTo>
                      <a:pt x="713" y="879"/>
                    </a:lnTo>
                    <a:lnTo>
                      <a:pt x="713" y="881"/>
                    </a:lnTo>
                    <a:lnTo>
                      <a:pt x="713" y="879"/>
                    </a:lnTo>
                    <a:lnTo>
                      <a:pt x="711" y="879"/>
                    </a:lnTo>
                    <a:lnTo>
                      <a:pt x="711" y="881"/>
                    </a:lnTo>
                    <a:lnTo>
                      <a:pt x="709" y="881"/>
                    </a:lnTo>
                    <a:lnTo>
                      <a:pt x="711" y="879"/>
                    </a:lnTo>
                    <a:lnTo>
                      <a:pt x="713" y="875"/>
                    </a:lnTo>
                    <a:lnTo>
                      <a:pt x="713" y="868"/>
                    </a:lnTo>
                    <a:lnTo>
                      <a:pt x="713" y="860"/>
                    </a:lnTo>
                    <a:lnTo>
                      <a:pt x="715" y="858"/>
                    </a:lnTo>
                    <a:lnTo>
                      <a:pt x="715" y="856"/>
                    </a:lnTo>
                    <a:lnTo>
                      <a:pt x="715" y="858"/>
                    </a:lnTo>
                    <a:lnTo>
                      <a:pt x="715" y="856"/>
                    </a:lnTo>
                    <a:lnTo>
                      <a:pt x="715" y="854"/>
                    </a:lnTo>
                    <a:lnTo>
                      <a:pt x="715" y="852"/>
                    </a:lnTo>
                    <a:lnTo>
                      <a:pt x="715" y="854"/>
                    </a:lnTo>
                    <a:lnTo>
                      <a:pt x="715" y="852"/>
                    </a:lnTo>
                    <a:lnTo>
                      <a:pt x="715" y="854"/>
                    </a:lnTo>
                    <a:lnTo>
                      <a:pt x="715" y="852"/>
                    </a:lnTo>
                    <a:lnTo>
                      <a:pt x="715" y="851"/>
                    </a:lnTo>
                    <a:lnTo>
                      <a:pt x="715" y="849"/>
                    </a:lnTo>
                    <a:lnTo>
                      <a:pt x="715" y="847"/>
                    </a:lnTo>
                    <a:lnTo>
                      <a:pt x="715" y="843"/>
                    </a:lnTo>
                    <a:lnTo>
                      <a:pt x="717" y="841"/>
                    </a:lnTo>
                    <a:lnTo>
                      <a:pt x="717" y="837"/>
                    </a:lnTo>
                    <a:lnTo>
                      <a:pt x="715" y="837"/>
                    </a:lnTo>
                    <a:lnTo>
                      <a:pt x="717" y="837"/>
                    </a:lnTo>
                    <a:lnTo>
                      <a:pt x="717" y="835"/>
                    </a:lnTo>
                    <a:lnTo>
                      <a:pt x="717" y="837"/>
                    </a:lnTo>
                    <a:lnTo>
                      <a:pt x="717" y="835"/>
                    </a:lnTo>
                    <a:lnTo>
                      <a:pt x="717" y="833"/>
                    </a:lnTo>
                    <a:lnTo>
                      <a:pt x="717" y="831"/>
                    </a:lnTo>
                    <a:lnTo>
                      <a:pt x="717" y="833"/>
                    </a:lnTo>
                    <a:lnTo>
                      <a:pt x="717" y="831"/>
                    </a:lnTo>
                    <a:lnTo>
                      <a:pt x="717" y="830"/>
                    </a:lnTo>
                    <a:lnTo>
                      <a:pt x="717" y="828"/>
                    </a:lnTo>
                    <a:lnTo>
                      <a:pt x="715" y="828"/>
                    </a:lnTo>
                    <a:lnTo>
                      <a:pt x="717" y="826"/>
                    </a:lnTo>
                    <a:lnTo>
                      <a:pt x="717" y="824"/>
                    </a:lnTo>
                    <a:lnTo>
                      <a:pt x="715" y="824"/>
                    </a:lnTo>
                    <a:lnTo>
                      <a:pt x="717" y="822"/>
                    </a:lnTo>
                    <a:lnTo>
                      <a:pt x="717" y="818"/>
                    </a:lnTo>
                    <a:lnTo>
                      <a:pt x="715" y="816"/>
                    </a:lnTo>
                    <a:lnTo>
                      <a:pt x="715" y="818"/>
                    </a:lnTo>
                    <a:lnTo>
                      <a:pt x="717" y="818"/>
                    </a:lnTo>
                    <a:lnTo>
                      <a:pt x="719" y="818"/>
                    </a:lnTo>
                    <a:lnTo>
                      <a:pt x="717" y="818"/>
                    </a:lnTo>
                    <a:lnTo>
                      <a:pt x="719" y="818"/>
                    </a:lnTo>
                    <a:lnTo>
                      <a:pt x="721" y="818"/>
                    </a:lnTo>
                    <a:lnTo>
                      <a:pt x="722" y="818"/>
                    </a:lnTo>
                    <a:lnTo>
                      <a:pt x="722" y="816"/>
                    </a:lnTo>
                    <a:lnTo>
                      <a:pt x="724" y="816"/>
                    </a:lnTo>
                    <a:lnTo>
                      <a:pt x="724" y="818"/>
                    </a:lnTo>
                    <a:lnTo>
                      <a:pt x="728" y="820"/>
                    </a:lnTo>
                    <a:lnTo>
                      <a:pt x="728" y="818"/>
                    </a:lnTo>
                    <a:lnTo>
                      <a:pt x="726" y="818"/>
                    </a:lnTo>
                    <a:lnTo>
                      <a:pt x="724" y="818"/>
                    </a:lnTo>
                    <a:lnTo>
                      <a:pt x="724" y="816"/>
                    </a:lnTo>
                    <a:lnTo>
                      <a:pt x="721" y="816"/>
                    </a:lnTo>
                    <a:lnTo>
                      <a:pt x="721" y="814"/>
                    </a:lnTo>
                    <a:lnTo>
                      <a:pt x="719" y="816"/>
                    </a:lnTo>
                    <a:lnTo>
                      <a:pt x="717" y="816"/>
                    </a:lnTo>
                    <a:lnTo>
                      <a:pt x="715" y="814"/>
                    </a:lnTo>
                    <a:lnTo>
                      <a:pt x="715" y="816"/>
                    </a:lnTo>
                    <a:lnTo>
                      <a:pt x="715" y="812"/>
                    </a:lnTo>
                    <a:lnTo>
                      <a:pt x="715" y="807"/>
                    </a:lnTo>
                    <a:lnTo>
                      <a:pt x="715" y="809"/>
                    </a:lnTo>
                    <a:lnTo>
                      <a:pt x="715" y="814"/>
                    </a:lnTo>
                    <a:lnTo>
                      <a:pt x="717" y="814"/>
                    </a:lnTo>
                    <a:lnTo>
                      <a:pt x="717" y="812"/>
                    </a:lnTo>
                    <a:lnTo>
                      <a:pt x="717" y="810"/>
                    </a:lnTo>
                    <a:lnTo>
                      <a:pt x="717" y="809"/>
                    </a:lnTo>
                    <a:lnTo>
                      <a:pt x="717" y="807"/>
                    </a:lnTo>
                    <a:lnTo>
                      <a:pt x="717" y="809"/>
                    </a:lnTo>
                    <a:lnTo>
                      <a:pt x="717" y="807"/>
                    </a:lnTo>
                    <a:lnTo>
                      <a:pt x="719" y="805"/>
                    </a:lnTo>
                    <a:lnTo>
                      <a:pt x="717" y="805"/>
                    </a:lnTo>
                    <a:lnTo>
                      <a:pt x="715" y="805"/>
                    </a:lnTo>
                    <a:lnTo>
                      <a:pt x="717" y="805"/>
                    </a:lnTo>
                    <a:lnTo>
                      <a:pt x="715" y="805"/>
                    </a:lnTo>
                    <a:lnTo>
                      <a:pt x="717" y="807"/>
                    </a:lnTo>
                    <a:lnTo>
                      <a:pt x="715" y="805"/>
                    </a:lnTo>
                    <a:lnTo>
                      <a:pt x="715" y="807"/>
                    </a:lnTo>
                    <a:lnTo>
                      <a:pt x="715" y="805"/>
                    </a:lnTo>
                    <a:lnTo>
                      <a:pt x="713" y="801"/>
                    </a:lnTo>
                    <a:lnTo>
                      <a:pt x="715" y="801"/>
                    </a:lnTo>
                    <a:lnTo>
                      <a:pt x="715" y="803"/>
                    </a:lnTo>
                    <a:lnTo>
                      <a:pt x="715" y="801"/>
                    </a:lnTo>
                    <a:lnTo>
                      <a:pt x="717" y="801"/>
                    </a:lnTo>
                    <a:lnTo>
                      <a:pt x="719" y="799"/>
                    </a:lnTo>
                    <a:lnTo>
                      <a:pt x="717" y="799"/>
                    </a:lnTo>
                    <a:lnTo>
                      <a:pt x="715" y="799"/>
                    </a:lnTo>
                    <a:lnTo>
                      <a:pt x="715" y="797"/>
                    </a:lnTo>
                    <a:lnTo>
                      <a:pt x="713" y="799"/>
                    </a:lnTo>
                    <a:lnTo>
                      <a:pt x="713" y="801"/>
                    </a:lnTo>
                    <a:lnTo>
                      <a:pt x="713" y="797"/>
                    </a:lnTo>
                    <a:lnTo>
                      <a:pt x="713" y="795"/>
                    </a:lnTo>
                    <a:lnTo>
                      <a:pt x="711" y="791"/>
                    </a:lnTo>
                    <a:lnTo>
                      <a:pt x="709" y="786"/>
                    </a:lnTo>
                    <a:lnTo>
                      <a:pt x="709" y="782"/>
                    </a:lnTo>
                    <a:lnTo>
                      <a:pt x="707" y="782"/>
                    </a:lnTo>
                    <a:lnTo>
                      <a:pt x="707" y="780"/>
                    </a:lnTo>
                    <a:lnTo>
                      <a:pt x="707" y="778"/>
                    </a:lnTo>
                    <a:lnTo>
                      <a:pt x="705" y="778"/>
                    </a:lnTo>
                    <a:lnTo>
                      <a:pt x="705" y="776"/>
                    </a:lnTo>
                    <a:lnTo>
                      <a:pt x="705" y="772"/>
                    </a:lnTo>
                    <a:lnTo>
                      <a:pt x="703" y="772"/>
                    </a:lnTo>
                    <a:lnTo>
                      <a:pt x="705" y="770"/>
                    </a:lnTo>
                    <a:lnTo>
                      <a:pt x="703" y="770"/>
                    </a:lnTo>
                    <a:lnTo>
                      <a:pt x="705" y="768"/>
                    </a:lnTo>
                    <a:lnTo>
                      <a:pt x="703" y="767"/>
                    </a:lnTo>
                    <a:lnTo>
                      <a:pt x="705" y="767"/>
                    </a:lnTo>
                    <a:lnTo>
                      <a:pt x="707" y="767"/>
                    </a:lnTo>
                    <a:lnTo>
                      <a:pt x="709" y="768"/>
                    </a:lnTo>
                    <a:lnTo>
                      <a:pt x="711" y="768"/>
                    </a:lnTo>
                    <a:lnTo>
                      <a:pt x="713" y="770"/>
                    </a:lnTo>
                    <a:lnTo>
                      <a:pt x="715" y="770"/>
                    </a:lnTo>
                    <a:lnTo>
                      <a:pt x="717" y="772"/>
                    </a:lnTo>
                    <a:lnTo>
                      <a:pt x="719" y="772"/>
                    </a:lnTo>
                    <a:lnTo>
                      <a:pt x="721" y="772"/>
                    </a:lnTo>
                    <a:lnTo>
                      <a:pt x="722" y="772"/>
                    </a:lnTo>
                    <a:lnTo>
                      <a:pt x="724" y="772"/>
                    </a:lnTo>
                    <a:lnTo>
                      <a:pt x="726" y="772"/>
                    </a:lnTo>
                    <a:lnTo>
                      <a:pt x="728" y="772"/>
                    </a:lnTo>
                    <a:lnTo>
                      <a:pt x="728" y="770"/>
                    </a:lnTo>
                    <a:lnTo>
                      <a:pt x="730" y="770"/>
                    </a:lnTo>
                    <a:lnTo>
                      <a:pt x="728" y="772"/>
                    </a:lnTo>
                    <a:lnTo>
                      <a:pt x="730" y="772"/>
                    </a:lnTo>
                    <a:lnTo>
                      <a:pt x="730" y="774"/>
                    </a:lnTo>
                    <a:lnTo>
                      <a:pt x="732" y="772"/>
                    </a:lnTo>
                    <a:lnTo>
                      <a:pt x="732" y="774"/>
                    </a:lnTo>
                    <a:lnTo>
                      <a:pt x="734" y="774"/>
                    </a:lnTo>
                    <a:lnTo>
                      <a:pt x="734" y="776"/>
                    </a:lnTo>
                    <a:lnTo>
                      <a:pt x="734" y="774"/>
                    </a:lnTo>
                    <a:lnTo>
                      <a:pt x="734" y="772"/>
                    </a:lnTo>
                    <a:lnTo>
                      <a:pt x="736" y="772"/>
                    </a:lnTo>
                    <a:lnTo>
                      <a:pt x="734" y="774"/>
                    </a:lnTo>
                    <a:lnTo>
                      <a:pt x="736" y="774"/>
                    </a:lnTo>
                    <a:lnTo>
                      <a:pt x="736" y="776"/>
                    </a:lnTo>
                    <a:lnTo>
                      <a:pt x="736" y="778"/>
                    </a:lnTo>
                    <a:lnTo>
                      <a:pt x="738" y="778"/>
                    </a:lnTo>
                    <a:lnTo>
                      <a:pt x="736" y="778"/>
                    </a:lnTo>
                    <a:lnTo>
                      <a:pt x="736" y="780"/>
                    </a:lnTo>
                    <a:lnTo>
                      <a:pt x="734" y="784"/>
                    </a:lnTo>
                    <a:lnTo>
                      <a:pt x="734" y="782"/>
                    </a:lnTo>
                    <a:lnTo>
                      <a:pt x="734" y="780"/>
                    </a:lnTo>
                    <a:lnTo>
                      <a:pt x="734" y="778"/>
                    </a:lnTo>
                    <a:lnTo>
                      <a:pt x="734" y="780"/>
                    </a:lnTo>
                    <a:lnTo>
                      <a:pt x="734" y="782"/>
                    </a:lnTo>
                    <a:lnTo>
                      <a:pt x="734" y="784"/>
                    </a:lnTo>
                    <a:lnTo>
                      <a:pt x="732" y="784"/>
                    </a:lnTo>
                    <a:lnTo>
                      <a:pt x="730" y="788"/>
                    </a:lnTo>
                    <a:lnTo>
                      <a:pt x="728" y="791"/>
                    </a:lnTo>
                    <a:lnTo>
                      <a:pt x="730" y="791"/>
                    </a:lnTo>
                    <a:lnTo>
                      <a:pt x="732" y="789"/>
                    </a:lnTo>
                    <a:lnTo>
                      <a:pt x="734" y="789"/>
                    </a:lnTo>
                    <a:lnTo>
                      <a:pt x="730" y="791"/>
                    </a:lnTo>
                    <a:lnTo>
                      <a:pt x="730" y="789"/>
                    </a:lnTo>
                    <a:lnTo>
                      <a:pt x="732" y="786"/>
                    </a:lnTo>
                    <a:lnTo>
                      <a:pt x="732" y="784"/>
                    </a:lnTo>
                    <a:lnTo>
                      <a:pt x="736" y="784"/>
                    </a:lnTo>
                    <a:lnTo>
                      <a:pt x="736" y="782"/>
                    </a:lnTo>
                    <a:lnTo>
                      <a:pt x="738" y="778"/>
                    </a:lnTo>
                    <a:lnTo>
                      <a:pt x="738" y="780"/>
                    </a:lnTo>
                    <a:lnTo>
                      <a:pt x="738" y="778"/>
                    </a:lnTo>
                    <a:lnTo>
                      <a:pt x="738" y="776"/>
                    </a:lnTo>
                    <a:lnTo>
                      <a:pt x="740" y="778"/>
                    </a:lnTo>
                    <a:lnTo>
                      <a:pt x="740" y="780"/>
                    </a:lnTo>
                    <a:lnTo>
                      <a:pt x="740" y="782"/>
                    </a:lnTo>
                    <a:lnTo>
                      <a:pt x="738" y="782"/>
                    </a:lnTo>
                    <a:lnTo>
                      <a:pt x="738" y="784"/>
                    </a:lnTo>
                    <a:lnTo>
                      <a:pt x="738" y="782"/>
                    </a:lnTo>
                    <a:lnTo>
                      <a:pt x="738" y="784"/>
                    </a:lnTo>
                    <a:lnTo>
                      <a:pt x="738" y="786"/>
                    </a:lnTo>
                    <a:lnTo>
                      <a:pt x="736" y="784"/>
                    </a:lnTo>
                    <a:lnTo>
                      <a:pt x="736" y="786"/>
                    </a:lnTo>
                    <a:lnTo>
                      <a:pt x="738" y="786"/>
                    </a:lnTo>
                    <a:lnTo>
                      <a:pt x="736" y="788"/>
                    </a:lnTo>
                    <a:lnTo>
                      <a:pt x="738" y="786"/>
                    </a:lnTo>
                    <a:lnTo>
                      <a:pt x="740" y="786"/>
                    </a:lnTo>
                    <a:lnTo>
                      <a:pt x="738" y="788"/>
                    </a:lnTo>
                    <a:lnTo>
                      <a:pt x="740" y="788"/>
                    </a:lnTo>
                    <a:lnTo>
                      <a:pt x="738" y="789"/>
                    </a:lnTo>
                    <a:lnTo>
                      <a:pt x="740" y="789"/>
                    </a:lnTo>
                    <a:lnTo>
                      <a:pt x="738" y="791"/>
                    </a:lnTo>
                    <a:lnTo>
                      <a:pt x="738" y="793"/>
                    </a:lnTo>
                    <a:lnTo>
                      <a:pt x="738" y="791"/>
                    </a:lnTo>
                    <a:lnTo>
                      <a:pt x="738" y="793"/>
                    </a:lnTo>
                    <a:lnTo>
                      <a:pt x="736" y="793"/>
                    </a:lnTo>
                    <a:lnTo>
                      <a:pt x="736" y="791"/>
                    </a:lnTo>
                    <a:lnTo>
                      <a:pt x="738" y="791"/>
                    </a:lnTo>
                    <a:lnTo>
                      <a:pt x="736" y="791"/>
                    </a:lnTo>
                    <a:lnTo>
                      <a:pt x="738" y="789"/>
                    </a:lnTo>
                    <a:lnTo>
                      <a:pt x="736" y="791"/>
                    </a:lnTo>
                    <a:lnTo>
                      <a:pt x="736" y="789"/>
                    </a:lnTo>
                    <a:lnTo>
                      <a:pt x="736" y="791"/>
                    </a:lnTo>
                    <a:lnTo>
                      <a:pt x="736" y="793"/>
                    </a:lnTo>
                    <a:lnTo>
                      <a:pt x="736" y="795"/>
                    </a:lnTo>
                    <a:lnTo>
                      <a:pt x="734" y="795"/>
                    </a:lnTo>
                    <a:lnTo>
                      <a:pt x="734" y="793"/>
                    </a:lnTo>
                    <a:lnTo>
                      <a:pt x="734" y="791"/>
                    </a:lnTo>
                    <a:lnTo>
                      <a:pt x="736" y="791"/>
                    </a:lnTo>
                    <a:lnTo>
                      <a:pt x="734" y="791"/>
                    </a:lnTo>
                    <a:lnTo>
                      <a:pt x="736" y="789"/>
                    </a:lnTo>
                    <a:lnTo>
                      <a:pt x="734" y="791"/>
                    </a:lnTo>
                    <a:lnTo>
                      <a:pt x="734" y="789"/>
                    </a:lnTo>
                    <a:lnTo>
                      <a:pt x="734" y="791"/>
                    </a:lnTo>
                    <a:lnTo>
                      <a:pt x="732" y="793"/>
                    </a:lnTo>
                    <a:lnTo>
                      <a:pt x="730" y="793"/>
                    </a:lnTo>
                    <a:lnTo>
                      <a:pt x="732" y="793"/>
                    </a:lnTo>
                    <a:lnTo>
                      <a:pt x="730" y="793"/>
                    </a:lnTo>
                    <a:lnTo>
                      <a:pt x="732" y="795"/>
                    </a:lnTo>
                    <a:lnTo>
                      <a:pt x="730" y="795"/>
                    </a:lnTo>
                    <a:lnTo>
                      <a:pt x="732" y="795"/>
                    </a:lnTo>
                    <a:lnTo>
                      <a:pt x="730" y="797"/>
                    </a:lnTo>
                    <a:lnTo>
                      <a:pt x="732" y="797"/>
                    </a:lnTo>
                    <a:lnTo>
                      <a:pt x="732" y="795"/>
                    </a:lnTo>
                    <a:lnTo>
                      <a:pt x="732" y="797"/>
                    </a:lnTo>
                    <a:lnTo>
                      <a:pt x="732" y="795"/>
                    </a:lnTo>
                    <a:lnTo>
                      <a:pt x="732" y="797"/>
                    </a:lnTo>
                    <a:lnTo>
                      <a:pt x="734" y="797"/>
                    </a:lnTo>
                    <a:lnTo>
                      <a:pt x="732" y="795"/>
                    </a:lnTo>
                    <a:lnTo>
                      <a:pt x="734" y="795"/>
                    </a:lnTo>
                    <a:lnTo>
                      <a:pt x="734" y="797"/>
                    </a:lnTo>
                    <a:lnTo>
                      <a:pt x="734" y="795"/>
                    </a:lnTo>
                    <a:lnTo>
                      <a:pt x="736" y="797"/>
                    </a:lnTo>
                    <a:lnTo>
                      <a:pt x="738" y="795"/>
                    </a:lnTo>
                    <a:lnTo>
                      <a:pt x="740" y="793"/>
                    </a:lnTo>
                    <a:lnTo>
                      <a:pt x="738" y="791"/>
                    </a:lnTo>
                    <a:lnTo>
                      <a:pt x="740" y="793"/>
                    </a:lnTo>
                    <a:lnTo>
                      <a:pt x="741" y="793"/>
                    </a:lnTo>
                    <a:lnTo>
                      <a:pt x="740" y="791"/>
                    </a:lnTo>
                    <a:lnTo>
                      <a:pt x="741" y="791"/>
                    </a:lnTo>
                    <a:lnTo>
                      <a:pt x="741" y="789"/>
                    </a:lnTo>
                    <a:lnTo>
                      <a:pt x="741" y="788"/>
                    </a:lnTo>
                    <a:lnTo>
                      <a:pt x="741" y="786"/>
                    </a:lnTo>
                    <a:lnTo>
                      <a:pt x="740" y="784"/>
                    </a:lnTo>
                    <a:lnTo>
                      <a:pt x="741" y="784"/>
                    </a:lnTo>
                    <a:lnTo>
                      <a:pt x="743" y="784"/>
                    </a:lnTo>
                    <a:lnTo>
                      <a:pt x="743" y="786"/>
                    </a:lnTo>
                    <a:lnTo>
                      <a:pt x="743" y="788"/>
                    </a:lnTo>
                    <a:lnTo>
                      <a:pt x="743" y="786"/>
                    </a:lnTo>
                    <a:lnTo>
                      <a:pt x="743" y="784"/>
                    </a:lnTo>
                    <a:lnTo>
                      <a:pt x="743" y="782"/>
                    </a:lnTo>
                    <a:lnTo>
                      <a:pt x="743" y="784"/>
                    </a:lnTo>
                    <a:lnTo>
                      <a:pt x="741" y="784"/>
                    </a:lnTo>
                    <a:lnTo>
                      <a:pt x="741" y="782"/>
                    </a:lnTo>
                    <a:lnTo>
                      <a:pt x="741" y="780"/>
                    </a:lnTo>
                    <a:lnTo>
                      <a:pt x="741" y="776"/>
                    </a:lnTo>
                    <a:lnTo>
                      <a:pt x="743" y="776"/>
                    </a:lnTo>
                    <a:lnTo>
                      <a:pt x="743" y="774"/>
                    </a:lnTo>
                    <a:lnTo>
                      <a:pt x="745" y="774"/>
                    </a:lnTo>
                    <a:lnTo>
                      <a:pt x="743" y="774"/>
                    </a:lnTo>
                    <a:lnTo>
                      <a:pt x="741" y="772"/>
                    </a:lnTo>
                    <a:lnTo>
                      <a:pt x="741" y="770"/>
                    </a:lnTo>
                    <a:lnTo>
                      <a:pt x="740" y="770"/>
                    </a:lnTo>
                    <a:lnTo>
                      <a:pt x="741" y="774"/>
                    </a:lnTo>
                    <a:lnTo>
                      <a:pt x="740" y="772"/>
                    </a:lnTo>
                    <a:lnTo>
                      <a:pt x="740" y="770"/>
                    </a:lnTo>
                    <a:lnTo>
                      <a:pt x="740" y="768"/>
                    </a:lnTo>
                    <a:lnTo>
                      <a:pt x="741" y="770"/>
                    </a:lnTo>
                    <a:lnTo>
                      <a:pt x="741" y="768"/>
                    </a:lnTo>
                    <a:lnTo>
                      <a:pt x="741" y="767"/>
                    </a:lnTo>
                    <a:lnTo>
                      <a:pt x="740" y="767"/>
                    </a:lnTo>
                    <a:lnTo>
                      <a:pt x="740" y="765"/>
                    </a:lnTo>
                    <a:lnTo>
                      <a:pt x="740" y="763"/>
                    </a:lnTo>
                    <a:lnTo>
                      <a:pt x="738" y="761"/>
                    </a:lnTo>
                    <a:lnTo>
                      <a:pt x="740" y="761"/>
                    </a:lnTo>
                    <a:lnTo>
                      <a:pt x="740" y="763"/>
                    </a:lnTo>
                    <a:lnTo>
                      <a:pt x="740" y="761"/>
                    </a:lnTo>
                    <a:lnTo>
                      <a:pt x="740" y="759"/>
                    </a:lnTo>
                    <a:lnTo>
                      <a:pt x="740" y="757"/>
                    </a:lnTo>
                    <a:lnTo>
                      <a:pt x="738" y="757"/>
                    </a:lnTo>
                    <a:lnTo>
                      <a:pt x="738" y="759"/>
                    </a:lnTo>
                    <a:lnTo>
                      <a:pt x="736" y="757"/>
                    </a:lnTo>
                    <a:lnTo>
                      <a:pt x="738" y="757"/>
                    </a:lnTo>
                    <a:lnTo>
                      <a:pt x="736" y="757"/>
                    </a:lnTo>
                    <a:lnTo>
                      <a:pt x="736" y="755"/>
                    </a:lnTo>
                    <a:lnTo>
                      <a:pt x="734" y="753"/>
                    </a:lnTo>
                    <a:lnTo>
                      <a:pt x="736" y="753"/>
                    </a:lnTo>
                    <a:lnTo>
                      <a:pt x="734" y="753"/>
                    </a:lnTo>
                    <a:lnTo>
                      <a:pt x="736" y="751"/>
                    </a:lnTo>
                    <a:lnTo>
                      <a:pt x="734" y="751"/>
                    </a:lnTo>
                    <a:lnTo>
                      <a:pt x="736" y="753"/>
                    </a:lnTo>
                    <a:lnTo>
                      <a:pt x="736" y="751"/>
                    </a:lnTo>
                    <a:lnTo>
                      <a:pt x="759" y="751"/>
                    </a:lnTo>
                    <a:lnTo>
                      <a:pt x="787" y="751"/>
                    </a:lnTo>
                    <a:lnTo>
                      <a:pt x="810" y="751"/>
                    </a:lnTo>
                    <a:lnTo>
                      <a:pt x="841" y="751"/>
                    </a:lnTo>
                    <a:lnTo>
                      <a:pt x="867" y="751"/>
                    </a:lnTo>
                    <a:lnTo>
                      <a:pt x="894" y="751"/>
                    </a:lnTo>
                    <a:lnTo>
                      <a:pt x="919" y="751"/>
                    </a:lnTo>
                    <a:lnTo>
                      <a:pt x="942" y="751"/>
                    </a:lnTo>
                    <a:lnTo>
                      <a:pt x="967" y="751"/>
                    </a:lnTo>
                    <a:lnTo>
                      <a:pt x="991" y="751"/>
                    </a:lnTo>
                    <a:lnTo>
                      <a:pt x="1014" y="751"/>
                    </a:lnTo>
                    <a:lnTo>
                      <a:pt x="1043" y="751"/>
                    </a:lnTo>
                    <a:lnTo>
                      <a:pt x="1066" y="751"/>
                    </a:lnTo>
                    <a:lnTo>
                      <a:pt x="1094" y="751"/>
                    </a:lnTo>
                    <a:lnTo>
                      <a:pt x="1121" y="751"/>
                    </a:lnTo>
                    <a:lnTo>
                      <a:pt x="1146" y="751"/>
                    </a:lnTo>
                    <a:lnTo>
                      <a:pt x="1148" y="751"/>
                    </a:lnTo>
                    <a:lnTo>
                      <a:pt x="1174" y="751"/>
                    </a:lnTo>
                    <a:lnTo>
                      <a:pt x="1174" y="742"/>
                    </a:lnTo>
                    <a:lnTo>
                      <a:pt x="1176" y="744"/>
                    </a:lnTo>
                    <a:lnTo>
                      <a:pt x="1178" y="742"/>
                    </a:lnTo>
                    <a:lnTo>
                      <a:pt x="1180" y="744"/>
                    </a:lnTo>
                    <a:lnTo>
                      <a:pt x="1180" y="747"/>
                    </a:lnTo>
                    <a:lnTo>
                      <a:pt x="1182" y="753"/>
                    </a:lnTo>
                    <a:lnTo>
                      <a:pt x="1182" y="757"/>
                    </a:lnTo>
                    <a:lnTo>
                      <a:pt x="1184" y="759"/>
                    </a:lnTo>
                    <a:lnTo>
                      <a:pt x="1186" y="759"/>
                    </a:lnTo>
                    <a:lnTo>
                      <a:pt x="1188" y="759"/>
                    </a:lnTo>
                    <a:lnTo>
                      <a:pt x="1190" y="761"/>
                    </a:lnTo>
                    <a:lnTo>
                      <a:pt x="1195" y="761"/>
                    </a:lnTo>
                    <a:lnTo>
                      <a:pt x="1195" y="763"/>
                    </a:lnTo>
                    <a:lnTo>
                      <a:pt x="1201" y="763"/>
                    </a:lnTo>
                    <a:lnTo>
                      <a:pt x="1201" y="761"/>
                    </a:lnTo>
                    <a:lnTo>
                      <a:pt x="1205" y="761"/>
                    </a:lnTo>
                    <a:lnTo>
                      <a:pt x="1209" y="761"/>
                    </a:lnTo>
                    <a:lnTo>
                      <a:pt x="1213" y="763"/>
                    </a:lnTo>
                    <a:lnTo>
                      <a:pt x="1214" y="763"/>
                    </a:lnTo>
                    <a:lnTo>
                      <a:pt x="1213" y="763"/>
                    </a:lnTo>
                    <a:lnTo>
                      <a:pt x="1213" y="765"/>
                    </a:lnTo>
                    <a:lnTo>
                      <a:pt x="1214" y="765"/>
                    </a:lnTo>
                    <a:lnTo>
                      <a:pt x="1216" y="765"/>
                    </a:lnTo>
                    <a:lnTo>
                      <a:pt x="1216" y="767"/>
                    </a:lnTo>
                    <a:lnTo>
                      <a:pt x="1218" y="770"/>
                    </a:lnTo>
                    <a:lnTo>
                      <a:pt x="1220" y="770"/>
                    </a:lnTo>
                    <a:lnTo>
                      <a:pt x="1220" y="768"/>
                    </a:lnTo>
                    <a:lnTo>
                      <a:pt x="1220" y="767"/>
                    </a:lnTo>
                    <a:lnTo>
                      <a:pt x="1222" y="767"/>
                    </a:lnTo>
                    <a:lnTo>
                      <a:pt x="1224" y="767"/>
                    </a:lnTo>
                    <a:lnTo>
                      <a:pt x="1224" y="768"/>
                    </a:lnTo>
                    <a:lnTo>
                      <a:pt x="1224" y="770"/>
                    </a:lnTo>
                    <a:lnTo>
                      <a:pt x="1226" y="770"/>
                    </a:lnTo>
                    <a:lnTo>
                      <a:pt x="1228" y="770"/>
                    </a:lnTo>
                    <a:lnTo>
                      <a:pt x="1230" y="770"/>
                    </a:lnTo>
                    <a:lnTo>
                      <a:pt x="1230" y="772"/>
                    </a:lnTo>
                    <a:lnTo>
                      <a:pt x="1232" y="772"/>
                    </a:lnTo>
                    <a:lnTo>
                      <a:pt x="1232" y="774"/>
                    </a:lnTo>
                    <a:lnTo>
                      <a:pt x="1233" y="774"/>
                    </a:lnTo>
                    <a:lnTo>
                      <a:pt x="1235" y="774"/>
                    </a:lnTo>
                    <a:lnTo>
                      <a:pt x="1239" y="770"/>
                    </a:lnTo>
                    <a:lnTo>
                      <a:pt x="1241" y="770"/>
                    </a:lnTo>
                    <a:lnTo>
                      <a:pt x="1243" y="770"/>
                    </a:lnTo>
                    <a:lnTo>
                      <a:pt x="1243" y="772"/>
                    </a:lnTo>
                    <a:lnTo>
                      <a:pt x="1245" y="774"/>
                    </a:lnTo>
                    <a:lnTo>
                      <a:pt x="1247" y="772"/>
                    </a:lnTo>
                    <a:lnTo>
                      <a:pt x="1249" y="772"/>
                    </a:lnTo>
                    <a:lnTo>
                      <a:pt x="1251" y="774"/>
                    </a:lnTo>
                    <a:lnTo>
                      <a:pt x="1254" y="772"/>
                    </a:lnTo>
                    <a:lnTo>
                      <a:pt x="1256" y="774"/>
                    </a:lnTo>
                    <a:lnTo>
                      <a:pt x="1258" y="776"/>
                    </a:lnTo>
                    <a:lnTo>
                      <a:pt x="1260" y="774"/>
                    </a:lnTo>
                    <a:lnTo>
                      <a:pt x="1262" y="776"/>
                    </a:lnTo>
                    <a:lnTo>
                      <a:pt x="1262" y="774"/>
                    </a:lnTo>
                    <a:lnTo>
                      <a:pt x="1262" y="776"/>
                    </a:lnTo>
                    <a:close/>
                    <a:moveTo>
                      <a:pt x="444" y="82"/>
                    </a:moveTo>
                    <a:lnTo>
                      <a:pt x="444" y="162"/>
                    </a:lnTo>
                    <a:lnTo>
                      <a:pt x="446" y="202"/>
                    </a:lnTo>
                    <a:lnTo>
                      <a:pt x="446" y="272"/>
                    </a:lnTo>
                    <a:lnTo>
                      <a:pt x="446" y="288"/>
                    </a:lnTo>
                    <a:lnTo>
                      <a:pt x="446" y="293"/>
                    </a:lnTo>
                    <a:lnTo>
                      <a:pt x="446" y="335"/>
                    </a:lnTo>
                    <a:lnTo>
                      <a:pt x="446" y="362"/>
                    </a:lnTo>
                    <a:lnTo>
                      <a:pt x="446" y="370"/>
                    </a:lnTo>
                    <a:lnTo>
                      <a:pt x="446" y="379"/>
                    </a:lnTo>
                    <a:lnTo>
                      <a:pt x="446" y="438"/>
                    </a:lnTo>
                    <a:lnTo>
                      <a:pt x="454" y="440"/>
                    </a:lnTo>
                    <a:lnTo>
                      <a:pt x="454" y="438"/>
                    </a:lnTo>
                    <a:lnTo>
                      <a:pt x="461" y="442"/>
                    </a:lnTo>
                    <a:lnTo>
                      <a:pt x="467" y="436"/>
                    </a:lnTo>
                    <a:lnTo>
                      <a:pt x="476" y="436"/>
                    </a:lnTo>
                    <a:lnTo>
                      <a:pt x="475" y="446"/>
                    </a:lnTo>
                    <a:lnTo>
                      <a:pt x="476" y="448"/>
                    </a:lnTo>
                    <a:lnTo>
                      <a:pt x="482" y="450"/>
                    </a:lnTo>
                    <a:lnTo>
                      <a:pt x="482" y="454"/>
                    </a:lnTo>
                    <a:lnTo>
                      <a:pt x="484" y="456"/>
                    </a:lnTo>
                    <a:lnTo>
                      <a:pt x="499" y="471"/>
                    </a:lnTo>
                    <a:lnTo>
                      <a:pt x="501" y="480"/>
                    </a:lnTo>
                    <a:lnTo>
                      <a:pt x="501" y="482"/>
                    </a:lnTo>
                    <a:lnTo>
                      <a:pt x="505" y="478"/>
                    </a:lnTo>
                    <a:lnTo>
                      <a:pt x="511" y="475"/>
                    </a:lnTo>
                    <a:lnTo>
                      <a:pt x="515" y="475"/>
                    </a:lnTo>
                    <a:lnTo>
                      <a:pt x="516" y="471"/>
                    </a:lnTo>
                    <a:lnTo>
                      <a:pt x="516" y="465"/>
                    </a:lnTo>
                    <a:lnTo>
                      <a:pt x="518" y="465"/>
                    </a:lnTo>
                    <a:lnTo>
                      <a:pt x="520" y="465"/>
                    </a:lnTo>
                    <a:lnTo>
                      <a:pt x="520" y="463"/>
                    </a:lnTo>
                    <a:lnTo>
                      <a:pt x="520" y="461"/>
                    </a:lnTo>
                    <a:lnTo>
                      <a:pt x="518" y="461"/>
                    </a:lnTo>
                    <a:lnTo>
                      <a:pt x="522" y="459"/>
                    </a:lnTo>
                    <a:lnTo>
                      <a:pt x="526" y="457"/>
                    </a:lnTo>
                    <a:lnTo>
                      <a:pt x="534" y="454"/>
                    </a:lnTo>
                    <a:lnTo>
                      <a:pt x="534" y="456"/>
                    </a:lnTo>
                    <a:lnTo>
                      <a:pt x="537" y="457"/>
                    </a:lnTo>
                    <a:lnTo>
                      <a:pt x="539" y="459"/>
                    </a:lnTo>
                    <a:lnTo>
                      <a:pt x="539" y="461"/>
                    </a:lnTo>
                    <a:lnTo>
                      <a:pt x="539" y="465"/>
                    </a:lnTo>
                    <a:lnTo>
                      <a:pt x="541" y="467"/>
                    </a:lnTo>
                    <a:lnTo>
                      <a:pt x="539" y="469"/>
                    </a:lnTo>
                    <a:lnTo>
                      <a:pt x="541" y="471"/>
                    </a:lnTo>
                    <a:lnTo>
                      <a:pt x="545" y="471"/>
                    </a:lnTo>
                    <a:lnTo>
                      <a:pt x="545" y="473"/>
                    </a:lnTo>
                    <a:lnTo>
                      <a:pt x="547" y="475"/>
                    </a:lnTo>
                    <a:lnTo>
                      <a:pt x="549" y="475"/>
                    </a:lnTo>
                    <a:lnTo>
                      <a:pt x="551" y="478"/>
                    </a:lnTo>
                    <a:lnTo>
                      <a:pt x="551" y="480"/>
                    </a:lnTo>
                    <a:lnTo>
                      <a:pt x="551" y="482"/>
                    </a:lnTo>
                    <a:lnTo>
                      <a:pt x="553" y="484"/>
                    </a:lnTo>
                    <a:lnTo>
                      <a:pt x="558" y="488"/>
                    </a:lnTo>
                    <a:lnTo>
                      <a:pt x="560" y="492"/>
                    </a:lnTo>
                    <a:lnTo>
                      <a:pt x="566" y="496"/>
                    </a:lnTo>
                    <a:lnTo>
                      <a:pt x="564" y="498"/>
                    </a:lnTo>
                    <a:lnTo>
                      <a:pt x="566" y="501"/>
                    </a:lnTo>
                    <a:lnTo>
                      <a:pt x="570" y="505"/>
                    </a:lnTo>
                    <a:lnTo>
                      <a:pt x="572" y="509"/>
                    </a:lnTo>
                    <a:lnTo>
                      <a:pt x="574" y="515"/>
                    </a:lnTo>
                    <a:lnTo>
                      <a:pt x="579" y="524"/>
                    </a:lnTo>
                    <a:lnTo>
                      <a:pt x="583" y="528"/>
                    </a:lnTo>
                    <a:lnTo>
                      <a:pt x="585" y="534"/>
                    </a:lnTo>
                    <a:lnTo>
                      <a:pt x="583" y="536"/>
                    </a:lnTo>
                    <a:lnTo>
                      <a:pt x="587" y="538"/>
                    </a:lnTo>
                    <a:lnTo>
                      <a:pt x="587" y="543"/>
                    </a:lnTo>
                    <a:lnTo>
                      <a:pt x="591" y="545"/>
                    </a:lnTo>
                    <a:lnTo>
                      <a:pt x="589" y="547"/>
                    </a:lnTo>
                    <a:lnTo>
                      <a:pt x="591" y="547"/>
                    </a:lnTo>
                    <a:lnTo>
                      <a:pt x="591" y="551"/>
                    </a:lnTo>
                    <a:lnTo>
                      <a:pt x="595" y="551"/>
                    </a:lnTo>
                    <a:lnTo>
                      <a:pt x="597" y="553"/>
                    </a:lnTo>
                    <a:lnTo>
                      <a:pt x="602" y="555"/>
                    </a:lnTo>
                    <a:lnTo>
                      <a:pt x="602" y="557"/>
                    </a:lnTo>
                    <a:lnTo>
                      <a:pt x="608" y="557"/>
                    </a:lnTo>
                    <a:lnTo>
                      <a:pt x="610" y="561"/>
                    </a:lnTo>
                    <a:lnTo>
                      <a:pt x="612" y="561"/>
                    </a:lnTo>
                    <a:lnTo>
                      <a:pt x="614" y="564"/>
                    </a:lnTo>
                    <a:lnTo>
                      <a:pt x="616" y="564"/>
                    </a:lnTo>
                    <a:lnTo>
                      <a:pt x="618" y="564"/>
                    </a:lnTo>
                    <a:lnTo>
                      <a:pt x="619" y="568"/>
                    </a:lnTo>
                    <a:lnTo>
                      <a:pt x="619" y="570"/>
                    </a:lnTo>
                    <a:lnTo>
                      <a:pt x="619" y="572"/>
                    </a:lnTo>
                    <a:lnTo>
                      <a:pt x="618" y="574"/>
                    </a:lnTo>
                    <a:lnTo>
                      <a:pt x="618" y="576"/>
                    </a:lnTo>
                    <a:lnTo>
                      <a:pt x="618" y="578"/>
                    </a:lnTo>
                    <a:lnTo>
                      <a:pt x="618" y="580"/>
                    </a:lnTo>
                    <a:lnTo>
                      <a:pt x="618" y="581"/>
                    </a:lnTo>
                    <a:lnTo>
                      <a:pt x="619" y="583"/>
                    </a:lnTo>
                    <a:lnTo>
                      <a:pt x="619" y="585"/>
                    </a:lnTo>
                    <a:lnTo>
                      <a:pt x="619" y="589"/>
                    </a:lnTo>
                    <a:lnTo>
                      <a:pt x="618" y="589"/>
                    </a:lnTo>
                    <a:lnTo>
                      <a:pt x="618" y="591"/>
                    </a:lnTo>
                    <a:lnTo>
                      <a:pt x="616" y="597"/>
                    </a:lnTo>
                    <a:lnTo>
                      <a:pt x="614" y="597"/>
                    </a:lnTo>
                    <a:lnTo>
                      <a:pt x="616" y="597"/>
                    </a:lnTo>
                    <a:lnTo>
                      <a:pt x="616" y="595"/>
                    </a:lnTo>
                    <a:lnTo>
                      <a:pt x="614" y="595"/>
                    </a:lnTo>
                    <a:lnTo>
                      <a:pt x="614" y="597"/>
                    </a:lnTo>
                    <a:lnTo>
                      <a:pt x="616" y="599"/>
                    </a:lnTo>
                    <a:lnTo>
                      <a:pt x="612" y="601"/>
                    </a:lnTo>
                    <a:lnTo>
                      <a:pt x="612" y="599"/>
                    </a:lnTo>
                    <a:lnTo>
                      <a:pt x="614" y="599"/>
                    </a:lnTo>
                    <a:lnTo>
                      <a:pt x="612" y="597"/>
                    </a:lnTo>
                    <a:lnTo>
                      <a:pt x="612" y="599"/>
                    </a:lnTo>
                    <a:lnTo>
                      <a:pt x="610" y="601"/>
                    </a:lnTo>
                    <a:lnTo>
                      <a:pt x="610" y="599"/>
                    </a:lnTo>
                    <a:lnTo>
                      <a:pt x="610" y="597"/>
                    </a:lnTo>
                    <a:lnTo>
                      <a:pt x="610" y="599"/>
                    </a:lnTo>
                    <a:lnTo>
                      <a:pt x="610" y="597"/>
                    </a:lnTo>
                    <a:lnTo>
                      <a:pt x="610" y="599"/>
                    </a:lnTo>
                    <a:lnTo>
                      <a:pt x="608" y="601"/>
                    </a:lnTo>
                    <a:lnTo>
                      <a:pt x="610" y="601"/>
                    </a:lnTo>
                    <a:lnTo>
                      <a:pt x="610" y="602"/>
                    </a:lnTo>
                    <a:lnTo>
                      <a:pt x="608" y="602"/>
                    </a:lnTo>
                    <a:lnTo>
                      <a:pt x="608" y="601"/>
                    </a:lnTo>
                    <a:lnTo>
                      <a:pt x="610" y="602"/>
                    </a:lnTo>
                    <a:lnTo>
                      <a:pt x="608" y="601"/>
                    </a:lnTo>
                    <a:lnTo>
                      <a:pt x="608" y="597"/>
                    </a:lnTo>
                    <a:lnTo>
                      <a:pt x="608" y="599"/>
                    </a:lnTo>
                    <a:lnTo>
                      <a:pt x="608" y="601"/>
                    </a:lnTo>
                    <a:lnTo>
                      <a:pt x="608" y="602"/>
                    </a:lnTo>
                    <a:lnTo>
                      <a:pt x="606" y="602"/>
                    </a:lnTo>
                    <a:lnTo>
                      <a:pt x="606" y="601"/>
                    </a:lnTo>
                    <a:lnTo>
                      <a:pt x="606" y="602"/>
                    </a:lnTo>
                    <a:lnTo>
                      <a:pt x="606" y="601"/>
                    </a:lnTo>
                    <a:lnTo>
                      <a:pt x="604" y="601"/>
                    </a:lnTo>
                    <a:lnTo>
                      <a:pt x="606" y="601"/>
                    </a:lnTo>
                    <a:lnTo>
                      <a:pt x="604" y="601"/>
                    </a:lnTo>
                    <a:lnTo>
                      <a:pt x="604" y="599"/>
                    </a:lnTo>
                    <a:lnTo>
                      <a:pt x="604" y="597"/>
                    </a:lnTo>
                    <a:lnTo>
                      <a:pt x="606" y="599"/>
                    </a:lnTo>
                    <a:lnTo>
                      <a:pt x="606" y="597"/>
                    </a:lnTo>
                    <a:lnTo>
                      <a:pt x="604" y="597"/>
                    </a:lnTo>
                    <a:lnTo>
                      <a:pt x="604" y="595"/>
                    </a:lnTo>
                    <a:lnTo>
                      <a:pt x="606" y="593"/>
                    </a:lnTo>
                    <a:lnTo>
                      <a:pt x="608" y="595"/>
                    </a:lnTo>
                    <a:lnTo>
                      <a:pt x="608" y="593"/>
                    </a:lnTo>
                    <a:lnTo>
                      <a:pt x="610" y="595"/>
                    </a:lnTo>
                    <a:lnTo>
                      <a:pt x="608" y="593"/>
                    </a:lnTo>
                    <a:lnTo>
                      <a:pt x="610" y="593"/>
                    </a:lnTo>
                    <a:lnTo>
                      <a:pt x="612" y="593"/>
                    </a:lnTo>
                    <a:lnTo>
                      <a:pt x="612" y="591"/>
                    </a:lnTo>
                    <a:lnTo>
                      <a:pt x="610" y="593"/>
                    </a:lnTo>
                    <a:lnTo>
                      <a:pt x="608" y="593"/>
                    </a:lnTo>
                    <a:lnTo>
                      <a:pt x="612" y="589"/>
                    </a:lnTo>
                    <a:lnTo>
                      <a:pt x="612" y="587"/>
                    </a:lnTo>
                    <a:lnTo>
                      <a:pt x="612" y="589"/>
                    </a:lnTo>
                    <a:lnTo>
                      <a:pt x="608" y="591"/>
                    </a:lnTo>
                    <a:lnTo>
                      <a:pt x="608" y="593"/>
                    </a:lnTo>
                    <a:lnTo>
                      <a:pt x="606" y="591"/>
                    </a:lnTo>
                    <a:lnTo>
                      <a:pt x="606" y="593"/>
                    </a:lnTo>
                    <a:lnTo>
                      <a:pt x="606" y="591"/>
                    </a:lnTo>
                    <a:lnTo>
                      <a:pt x="606" y="593"/>
                    </a:lnTo>
                    <a:lnTo>
                      <a:pt x="604" y="593"/>
                    </a:lnTo>
                    <a:lnTo>
                      <a:pt x="602" y="593"/>
                    </a:lnTo>
                    <a:lnTo>
                      <a:pt x="602" y="591"/>
                    </a:lnTo>
                    <a:lnTo>
                      <a:pt x="604" y="589"/>
                    </a:lnTo>
                    <a:lnTo>
                      <a:pt x="604" y="587"/>
                    </a:lnTo>
                    <a:lnTo>
                      <a:pt x="606" y="587"/>
                    </a:lnTo>
                    <a:lnTo>
                      <a:pt x="610" y="587"/>
                    </a:lnTo>
                    <a:lnTo>
                      <a:pt x="610" y="585"/>
                    </a:lnTo>
                    <a:lnTo>
                      <a:pt x="608" y="587"/>
                    </a:lnTo>
                    <a:lnTo>
                      <a:pt x="606" y="587"/>
                    </a:lnTo>
                    <a:lnTo>
                      <a:pt x="606" y="583"/>
                    </a:lnTo>
                    <a:lnTo>
                      <a:pt x="606" y="581"/>
                    </a:lnTo>
                    <a:lnTo>
                      <a:pt x="608" y="581"/>
                    </a:lnTo>
                    <a:lnTo>
                      <a:pt x="608" y="580"/>
                    </a:lnTo>
                    <a:lnTo>
                      <a:pt x="610" y="581"/>
                    </a:lnTo>
                    <a:lnTo>
                      <a:pt x="608" y="578"/>
                    </a:lnTo>
                    <a:lnTo>
                      <a:pt x="610" y="578"/>
                    </a:lnTo>
                    <a:lnTo>
                      <a:pt x="608" y="578"/>
                    </a:lnTo>
                    <a:lnTo>
                      <a:pt x="608" y="580"/>
                    </a:lnTo>
                    <a:lnTo>
                      <a:pt x="606" y="581"/>
                    </a:lnTo>
                    <a:lnTo>
                      <a:pt x="606" y="580"/>
                    </a:lnTo>
                    <a:lnTo>
                      <a:pt x="606" y="576"/>
                    </a:lnTo>
                    <a:lnTo>
                      <a:pt x="608" y="576"/>
                    </a:lnTo>
                    <a:lnTo>
                      <a:pt x="608" y="574"/>
                    </a:lnTo>
                    <a:lnTo>
                      <a:pt x="608" y="576"/>
                    </a:lnTo>
                    <a:lnTo>
                      <a:pt x="606" y="576"/>
                    </a:lnTo>
                    <a:lnTo>
                      <a:pt x="604" y="574"/>
                    </a:lnTo>
                    <a:lnTo>
                      <a:pt x="606" y="574"/>
                    </a:lnTo>
                    <a:lnTo>
                      <a:pt x="604" y="574"/>
                    </a:lnTo>
                    <a:lnTo>
                      <a:pt x="602" y="570"/>
                    </a:lnTo>
                    <a:lnTo>
                      <a:pt x="600" y="570"/>
                    </a:lnTo>
                    <a:lnTo>
                      <a:pt x="602" y="568"/>
                    </a:lnTo>
                    <a:lnTo>
                      <a:pt x="600" y="568"/>
                    </a:lnTo>
                    <a:lnTo>
                      <a:pt x="604" y="566"/>
                    </a:lnTo>
                    <a:lnTo>
                      <a:pt x="602" y="566"/>
                    </a:lnTo>
                    <a:lnTo>
                      <a:pt x="600" y="566"/>
                    </a:lnTo>
                    <a:lnTo>
                      <a:pt x="600" y="568"/>
                    </a:lnTo>
                    <a:lnTo>
                      <a:pt x="598" y="568"/>
                    </a:lnTo>
                    <a:lnTo>
                      <a:pt x="598" y="570"/>
                    </a:lnTo>
                    <a:lnTo>
                      <a:pt x="597" y="568"/>
                    </a:lnTo>
                    <a:lnTo>
                      <a:pt x="595" y="570"/>
                    </a:lnTo>
                    <a:lnTo>
                      <a:pt x="595" y="568"/>
                    </a:lnTo>
                    <a:lnTo>
                      <a:pt x="595" y="570"/>
                    </a:lnTo>
                    <a:lnTo>
                      <a:pt x="593" y="572"/>
                    </a:lnTo>
                    <a:lnTo>
                      <a:pt x="591" y="570"/>
                    </a:lnTo>
                    <a:lnTo>
                      <a:pt x="593" y="572"/>
                    </a:lnTo>
                    <a:lnTo>
                      <a:pt x="591" y="572"/>
                    </a:lnTo>
                    <a:lnTo>
                      <a:pt x="591" y="570"/>
                    </a:lnTo>
                    <a:lnTo>
                      <a:pt x="591" y="572"/>
                    </a:lnTo>
                    <a:lnTo>
                      <a:pt x="589" y="572"/>
                    </a:lnTo>
                    <a:lnTo>
                      <a:pt x="591" y="572"/>
                    </a:lnTo>
                    <a:lnTo>
                      <a:pt x="593" y="574"/>
                    </a:lnTo>
                    <a:lnTo>
                      <a:pt x="591" y="576"/>
                    </a:lnTo>
                    <a:lnTo>
                      <a:pt x="591" y="578"/>
                    </a:lnTo>
                    <a:lnTo>
                      <a:pt x="591" y="580"/>
                    </a:lnTo>
                    <a:lnTo>
                      <a:pt x="589" y="578"/>
                    </a:lnTo>
                    <a:lnTo>
                      <a:pt x="591" y="580"/>
                    </a:lnTo>
                    <a:lnTo>
                      <a:pt x="587" y="578"/>
                    </a:lnTo>
                    <a:lnTo>
                      <a:pt x="589" y="578"/>
                    </a:lnTo>
                    <a:lnTo>
                      <a:pt x="589" y="580"/>
                    </a:lnTo>
                    <a:lnTo>
                      <a:pt x="589" y="581"/>
                    </a:lnTo>
                    <a:lnTo>
                      <a:pt x="585" y="580"/>
                    </a:lnTo>
                    <a:lnTo>
                      <a:pt x="585" y="578"/>
                    </a:lnTo>
                    <a:lnTo>
                      <a:pt x="585" y="576"/>
                    </a:lnTo>
                    <a:lnTo>
                      <a:pt x="583" y="574"/>
                    </a:lnTo>
                    <a:lnTo>
                      <a:pt x="585" y="576"/>
                    </a:lnTo>
                    <a:lnTo>
                      <a:pt x="585" y="574"/>
                    </a:lnTo>
                    <a:lnTo>
                      <a:pt x="587" y="574"/>
                    </a:lnTo>
                    <a:lnTo>
                      <a:pt x="589" y="574"/>
                    </a:lnTo>
                    <a:lnTo>
                      <a:pt x="587" y="572"/>
                    </a:lnTo>
                    <a:lnTo>
                      <a:pt x="587" y="570"/>
                    </a:lnTo>
                    <a:lnTo>
                      <a:pt x="589" y="570"/>
                    </a:lnTo>
                    <a:lnTo>
                      <a:pt x="589" y="568"/>
                    </a:lnTo>
                    <a:lnTo>
                      <a:pt x="589" y="570"/>
                    </a:lnTo>
                    <a:lnTo>
                      <a:pt x="589" y="568"/>
                    </a:lnTo>
                    <a:lnTo>
                      <a:pt x="589" y="566"/>
                    </a:lnTo>
                    <a:lnTo>
                      <a:pt x="589" y="562"/>
                    </a:lnTo>
                    <a:lnTo>
                      <a:pt x="591" y="562"/>
                    </a:lnTo>
                    <a:lnTo>
                      <a:pt x="593" y="562"/>
                    </a:lnTo>
                    <a:lnTo>
                      <a:pt x="595" y="562"/>
                    </a:lnTo>
                    <a:lnTo>
                      <a:pt x="595" y="564"/>
                    </a:lnTo>
                    <a:lnTo>
                      <a:pt x="595" y="562"/>
                    </a:lnTo>
                    <a:lnTo>
                      <a:pt x="597" y="562"/>
                    </a:lnTo>
                    <a:lnTo>
                      <a:pt x="597" y="561"/>
                    </a:lnTo>
                    <a:lnTo>
                      <a:pt x="595" y="561"/>
                    </a:lnTo>
                    <a:lnTo>
                      <a:pt x="595" y="562"/>
                    </a:lnTo>
                    <a:lnTo>
                      <a:pt x="593" y="562"/>
                    </a:lnTo>
                    <a:lnTo>
                      <a:pt x="589" y="562"/>
                    </a:lnTo>
                    <a:lnTo>
                      <a:pt x="589" y="561"/>
                    </a:lnTo>
                    <a:lnTo>
                      <a:pt x="589" y="559"/>
                    </a:lnTo>
                    <a:lnTo>
                      <a:pt x="589" y="557"/>
                    </a:lnTo>
                    <a:lnTo>
                      <a:pt x="589" y="559"/>
                    </a:lnTo>
                    <a:lnTo>
                      <a:pt x="589" y="557"/>
                    </a:lnTo>
                    <a:lnTo>
                      <a:pt x="587" y="559"/>
                    </a:lnTo>
                    <a:lnTo>
                      <a:pt x="587" y="557"/>
                    </a:lnTo>
                    <a:lnTo>
                      <a:pt x="585" y="557"/>
                    </a:lnTo>
                    <a:lnTo>
                      <a:pt x="585" y="555"/>
                    </a:lnTo>
                    <a:lnTo>
                      <a:pt x="583" y="553"/>
                    </a:lnTo>
                    <a:lnTo>
                      <a:pt x="583" y="555"/>
                    </a:lnTo>
                    <a:lnTo>
                      <a:pt x="583" y="553"/>
                    </a:lnTo>
                    <a:lnTo>
                      <a:pt x="583" y="551"/>
                    </a:lnTo>
                    <a:lnTo>
                      <a:pt x="583" y="549"/>
                    </a:lnTo>
                    <a:lnTo>
                      <a:pt x="585" y="547"/>
                    </a:lnTo>
                    <a:lnTo>
                      <a:pt x="583" y="547"/>
                    </a:lnTo>
                    <a:lnTo>
                      <a:pt x="583" y="549"/>
                    </a:lnTo>
                    <a:lnTo>
                      <a:pt x="581" y="549"/>
                    </a:lnTo>
                    <a:lnTo>
                      <a:pt x="581" y="547"/>
                    </a:lnTo>
                    <a:lnTo>
                      <a:pt x="579" y="547"/>
                    </a:lnTo>
                    <a:lnTo>
                      <a:pt x="581" y="545"/>
                    </a:lnTo>
                    <a:lnTo>
                      <a:pt x="583" y="545"/>
                    </a:lnTo>
                    <a:lnTo>
                      <a:pt x="583" y="543"/>
                    </a:lnTo>
                    <a:lnTo>
                      <a:pt x="581" y="543"/>
                    </a:lnTo>
                    <a:lnTo>
                      <a:pt x="581" y="545"/>
                    </a:lnTo>
                    <a:lnTo>
                      <a:pt x="579" y="545"/>
                    </a:lnTo>
                    <a:lnTo>
                      <a:pt x="579" y="547"/>
                    </a:lnTo>
                    <a:lnTo>
                      <a:pt x="579" y="545"/>
                    </a:lnTo>
                    <a:lnTo>
                      <a:pt x="576" y="543"/>
                    </a:lnTo>
                    <a:lnTo>
                      <a:pt x="576" y="541"/>
                    </a:lnTo>
                    <a:lnTo>
                      <a:pt x="574" y="541"/>
                    </a:lnTo>
                    <a:lnTo>
                      <a:pt x="574" y="540"/>
                    </a:lnTo>
                    <a:lnTo>
                      <a:pt x="576" y="540"/>
                    </a:lnTo>
                    <a:lnTo>
                      <a:pt x="574" y="540"/>
                    </a:lnTo>
                    <a:lnTo>
                      <a:pt x="576" y="540"/>
                    </a:lnTo>
                    <a:lnTo>
                      <a:pt x="576" y="538"/>
                    </a:lnTo>
                    <a:lnTo>
                      <a:pt x="576" y="536"/>
                    </a:lnTo>
                    <a:lnTo>
                      <a:pt x="574" y="538"/>
                    </a:lnTo>
                    <a:lnTo>
                      <a:pt x="572" y="538"/>
                    </a:lnTo>
                    <a:lnTo>
                      <a:pt x="572" y="540"/>
                    </a:lnTo>
                    <a:lnTo>
                      <a:pt x="572" y="538"/>
                    </a:lnTo>
                    <a:lnTo>
                      <a:pt x="570" y="536"/>
                    </a:lnTo>
                    <a:lnTo>
                      <a:pt x="570" y="534"/>
                    </a:lnTo>
                    <a:lnTo>
                      <a:pt x="568" y="534"/>
                    </a:lnTo>
                    <a:lnTo>
                      <a:pt x="570" y="536"/>
                    </a:lnTo>
                    <a:lnTo>
                      <a:pt x="568" y="536"/>
                    </a:lnTo>
                    <a:lnTo>
                      <a:pt x="568" y="534"/>
                    </a:lnTo>
                    <a:lnTo>
                      <a:pt x="568" y="536"/>
                    </a:lnTo>
                    <a:lnTo>
                      <a:pt x="566" y="536"/>
                    </a:lnTo>
                    <a:lnTo>
                      <a:pt x="564" y="536"/>
                    </a:lnTo>
                    <a:lnTo>
                      <a:pt x="564" y="534"/>
                    </a:lnTo>
                    <a:lnTo>
                      <a:pt x="564" y="532"/>
                    </a:lnTo>
                    <a:lnTo>
                      <a:pt x="564" y="530"/>
                    </a:lnTo>
                    <a:lnTo>
                      <a:pt x="566" y="530"/>
                    </a:lnTo>
                    <a:lnTo>
                      <a:pt x="568" y="530"/>
                    </a:lnTo>
                    <a:lnTo>
                      <a:pt x="570" y="532"/>
                    </a:lnTo>
                    <a:lnTo>
                      <a:pt x="568" y="530"/>
                    </a:lnTo>
                    <a:lnTo>
                      <a:pt x="570" y="530"/>
                    </a:lnTo>
                    <a:lnTo>
                      <a:pt x="572" y="528"/>
                    </a:lnTo>
                    <a:lnTo>
                      <a:pt x="570" y="530"/>
                    </a:lnTo>
                    <a:lnTo>
                      <a:pt x="568" y="530"/>
                    </a:lnTo>
                    <a:lnTo>
                      <a:pt x="566" y="528"/>
                    </a:lnTo>
                    <a:lnTo>
                      <a:pt x="564" y="528"/>
                    </a:lnTo>
                    <a:lnTo>
                      <a:pt x="566" y="528"/>
                    </a:lnTo>
                    <a:lnTo>
                      <a:pt x="566" y="526"/>
                    </a:lnTo>
                    <a:lnTo>
                      <a:pt x="566" y="528"/>
                    </a:lnTo>
                    <a:lnTo>
                      <a:pt x="566" y="526"/>
                    </a:lnTo>
                    <a:lnTo>
                      <a:pt x="568" y="526"/>
                    </a:lnTo>
                    <a:lnTo>
                      <a:pt x="566" y="526"/>
                    </a:lnTo>
                    <a:lnTo>
                      <a:pt x="564" y="526"/>
                    </a:lnTo>
                    <a:lnTo>
                      <a:pt x="564" y="522"/>
                    </a:lnTo>
                    <a:lnTo>
                      <a:pt x="566" y="522"/>
                    </a:lnTo>
                    <a:lnTo>
                      <a:pt x="564" y="522"/>
                    </a:lnTo>
                    <a:lnTo>
                      <a:pt x="562" y="522"/>
                    </a:lnTo>
                    <a:lnTo>
                      <a:pt x="562" y="520"/>
                    </a:lnTo>
                    <a:lnTo>
                      <a:pt x="562" y="519"/>
                    </a:lnTo>
                    <a:lnTo>
                      <a:pt x="564" y="519"/>
                    </a:lnTo>
                    <a:lnTo>
                      <a:pt x="566" y="520"/>
                    </a:lnTo>
                    <a:lnTo>
                      <a:pt x="568" y="520"/>
                    </a:lnTo>
                    <a:lnTo>
                      <a:pt x="572" y="524"/>
                    </a:lnTo>
                    <a:lnTo>
                      <a:pt x="574" y="524"/>
                    </a:lnTo>
                    <a:lnTo>
                      <a:pt x="572" y="524"/>
                    </a:lnTo>
                    <a:lnTo>
                      <a:pt x="572" y="522"/>
                    </a:lnTo>
                    <a:lnTo>
                      <a:pt x="572" y="524"/>
                    </a:lnTo>
                    <a:lnTo>
                      <a:pt x="570" y="520"/>
                    </a:lnTo>
                    <a:lnTo>
                      <a:pt x="570" y="519"/>
                    </a:lnTo>
                    <a:lnTo>
                      <a:pt x="570" y="520"/>
                    </a:lnTo>
                    <a:lnTo>
                      <a:pt x="568" y="520"/>
                    </a:lnTo>
                    <a:lnTo>
                      <a:pt x="566" y="519"/>
                    </a:lnTo>
                    <a:lnTo>
                      <a:pt x="564" y="517"/>
                    </a:lnTo>
                    <a:lnTo>
                      <a:pt x="562" y="517"/>
                    </a:lnTo>
                    <a:lnTo>
                      <a:pt x="564" y="517"/>
                    </a:lnTo>
                    <a:lnTo>
                      <a:pt x="562" y="513"/>
                    </a:lnTo>
                    <a:lnTo>
                      <a:pt x="566" y="513"/>
                    </a:lnTo>
                    <a:lnTo>
                      <a:pt x="568" y="513"/>
                    </a:lnTo>
                    <a:lnTo>
                      <a:pt x="570" y="515"/>
                    </a:lnTo>
                    <a:lnTo>
                      <a:pt x="570" y="513"/>
                    </a:lnTo>
                    <a:lnTo>
                      <a:pt x="568" y="513"/>
                    </a:lnTo>
                    <a:lnTo>
                      <a:pt x="566" y="511"/>
                    </a:lnTo>
                    <a:lnTo>
                      <a:pt x="562" y="511"/>
                    </a:lnTo>
                    <a:lnTo>
                      <a:pt x="562" y="513"/>
                    </a:lnTo>
                    <a:lnTo>
                      <a:pt x="562" y="515"/>
                    </a:lnTo>
                    <a:lnTo>
                      <a:pt x="562" y="517"/>
                    </a:lnTo>
                    <a:lnTo>
                      <a:pt x="562" y="515"/>
                    </a:lnTo>
                    <a:lnTo>
                      <a:pt x="560" y="517"/>
                    </a:lnTo>
                    <a:lnTo>
                      <a:pt x="558" y="511"/>
                    </a:lnTo>
                    <a:lnTo>
                      <a:pt x="560" y="509"/>
                    </a:lnTo>
                    <a:lnTo>
                      <a:pt x="560" y="511"/>
                    </a:lnTo>
                    <a:lnTo>
                      <a:pt x="562" y="511"/>
                    </a:lnTo>
                    <a:lnTo>
                      <a:pt x="560" y="511"/>
                    </a:lnTo>
                    <a:lnTo>
                      <a:pt x="562" y="509"/>
                    </a:lnTo>
                    <a:lnTo>
                      <a:pt x="560" y="509"/>
                    </a:lnTo>
                    <a:lnTo>
                      <a:pt x="560" y="507"/>
                    </a:lnTo>
                    <a:lnTo>
                      <a:pt x="562" y="505"/>
                    </a:lnTo>
                    <a:lnTo>
                      <a:pt x="560" y="505"/>
                    </a:lnTo>
                    <a:lnTo>
                      <a:pt x="560" y="507"/>
                    </a:lnTo>
                    <a:lnTo>
                      <a:pt x="560" y="509"/>
                    </a:lnTo>
                    <a:lnTo>
                      <a:pt x="558" y="507"/>
                    </a:lnTo>
                    <a:lnTo>
                      <a:pt x="560" y="509"/>
                    </a:lnTo>
                    <a:lnTo>
                      <a:pt x="558" y="511"/>
                    </a:lnTo>
                    <a:lnTo>
                      <a:pt x="557" y="509"/>
                    </a:lnTo>
                    <a:lnTo>
                      <a:pt x="557" y="507"/>
                    </a:lnTo>
                    <a:lnTo>
                      <a:pt x="555" y="505"/>
                    </a:lnTo>
                    <a:lnTo>
                      <a:pt x="557" y="505"/>
                    </a:lnTo>
                    <a:lnTo>
                      <a:pt x="555" y="503"/>
                    </a:lnTo>
                    <a:lnTo>
                      <a:pt x="555" y="501"/>
                    </a:lnTo>
                    <a:lnTo>
                      <a:pt x="557" y="501"/>
                    </a:lnTo>
                    <a:lnTo>
                      <a:pt x="557" y="499"/>
                    </a:lnTo>
                    <a:lnTo>
                      <a:pt x="557" y="498"/>
                    </a:lnTo>
                    <a:lnTo>
                      <a:pt x="558" y="496"/>
                    </a:lnTo>
                    <a:lnTo>
                      <a:pt x="557" y="496"/>
                    </a:lnTo>
                    <a:lnTo>
                      <a:pt x="558" y="494"/>
                    </a:lnTo>
                    <a:lnTo>
                      <a:pt x="560" y="494"/>
                    </a:lnTo>
                    <a:lnTo>
                      <a:pt x="558" y="494"/>
                    </a:lnTo>
                    <a:lnTo>
                      <a:pt x="557" y="494"/>
                    </a:lnTo>
                    <a:lnTo>
                      <a:pt x="557" y="496"/>
                    </a:lnTo>
                    <a:lnTo>
                      <a:pt x="557" y="498"/>
                    </a:lnTo>
                    <a:lnTo>
                      <a:pt x="555" y="498"/>
                    </a:lnTo>
                    <a:lnTo>
                      <a:pt x="557" y="498"/>
                    </a:lnTo>
                    <a:lnTo>
                      <a:pt x="555" y="499"/>
                    </a:lnTo>
                    <a:lnTo>
                      <a:pt x="555" y="501"/>
                    </a:lnTo>
                    <a:lnTo>
                      <a:pt x="555" y="503"/>
                    </a:lnTo>
                    <a:lnTo>
                      <a:pt x="553" y="503"/>
                    </a:lnTo>
                    <a:lnTo>
                      <a:pt x="549" y="501"/>
                    </a:lnTo>
                    <a:lnTo>
                      <a:pt x="549" y="499"/>
                    </a:lnTo>
                    <a:lnTo>
                      <a:pt x="547" y="499"/>
                    </a:lnTo>
                    <a:lnTo>
                      <a:pt x="547" y="498"/>
                    </a:lnTo>
                    <a:lnTo>
                      <a:pt x="545" y="498"/>
                    </a:lnTo>
                    <a:lnTo>
                      <a:pt x="543" y="498"/>
                    </a:lnTo>
                    <a:lnTo>
                      <a:pt x="545" y="498"/>
                    </a:lnTo>
                    <a:lnTo>
                      <a:pt x="543" y="494"/>
                    </a:lnTo>
                    <a:lnTo>
                      <a:pt x="541" y="492"/>
                    </a:lnTo>
                    <a:lnTo>
                      <a:pt x="541" y="490"/>
                    </a:lnTo>
                    <a:lnTo>
                      <a:pt x="541" y="488"/>
                    </a:lnTo>
                    <a:lnTo>
                      <a:pt x="541" y="490"/>
                    </a:lnTo>
                    <a:lnTo>
                      <a:pt x="541" y="488"/>
                    </a:lnTo>
                    <a:lnTo>
                      <a:pt x="541" y="490"/>
                    </a:lnTo>
                    <a:lnTo>
                      <a:pt x="541" y="488"/>
                    </a:lnTo>
                    <a:lnTo>
                      <a:pt x="541" y="484"/>
                    </a:lnTo>
                    <a:lnTo>
                      <a:pt x="541" y="486"/>
                    </a:lnTo>
                    <a:lnTo>
                      <a:pt x="539" y="486"/>
                    </a:lnTo>
                    <a:lnTo>
                      <a:pt x="539" y="488"/>
                    </a:lnTo>
                    <a:lnTo>
                      <a:pt x="537" y="484"/>
                    </a:lnTo>
                    <a:lnTo>
                      <a:pt x="537" y="477"/>
                    </a:lnTo>
                    <a:lnTo>
                      <a:pt x="536" y="473"/>
                    </a:lnTo>
                    <a:lnTo>
                      <a:pt x="536" y="471"/>
                    </a:lnTo>
                    <a:lnTo>
                      <a:pt x="536" y="465"/>
                    </a:lnTo>
                    <a:lnTo>
                      <a:pt x="536" y="463"/>
                    </a:lnTo>
                    <a:lnTo>
                      <a:pt x="534" y="471"/>
                    </a:lnTo>
                    <a:lnTo>
                      <a:pt x="534" y="469"/>
                    </a:lnTo>
                    <a:lnTo>
                      <a:pt x="534" y="471"/>
                    </a:lnTo>
                    <a:lnTo>
                      <a:pt x="532" y="469"/>
                    </a:lnTo>
                    <a:lnTo>
                      <a:pt x="534" y="471"/>
                    </a:lnTo>
                    <a:lnTo>
                      <a:pt x="534" y="473"/>
                    </a:lnTo>
                    <a:lnTo>
                      <a:pt x="536" y="473"/>
                    </a:lnTo>
                    <a:lnTo>
                      <a:pt x="536" y="475"/>
                    </a:lnTo>
                    <a:lnTo>
                      <a:pt x="536" y="477"/>
                    </a:lnTo>
                    <a:lnTo>
                      <a:pt x="534" y="475"/>
                    </a:lnTo>
                    <a:lnTo>
                      <a:pt x="534" y="473"/>
                    </a:lnTo>
                    <a:lnTo>
                      <a:pt x="532" y="471"/>
                    </a:lnTo>
                    <a:lnTo>
                      <a:pt x="534" y="473"/>
                    </a:lnTo>
                    <a:lnTo>
                      <a:pt x="534" y="475"/>
                    </a:lnTo>
                    <a:lnTo>
                      <a:pt x="534" y="477"/>
                    </a:lnTo>
                    <a:lnTo>
                      <a:pt x="534" y="478"/>
                    </a:lnTo>
                    <a:lnTo>
                      <a:pt x="534" y="480"/>
                    </a:lnTo>
                    <a:lnTo>
                      <a:pt x="534" y="482"/>
                    </a:lnTo>
                    <a:lnTo>
                      <a:pt x="536" y="482"/>
                    </a:lnTo>
                    <a:lnTo>
                      <a:pt x="536" y="484"/>
                    </a:lnTo>
                    <a:lnTo>
                      <a:pt x="537" y="486"/>
                    </a:lnTo>
                    <a:lnTo>
                      <a:pt x="536" y="486"/>
                    </a:lnTo>
                    <a:lnTo>
                      <a:pt x="537" y="486"/>
                    </a:lnTo>
                    <a:lnTo>
                      <a:pt x="537" y="488"/>
                    </a:lnTo>
                    <a:lnTo>
                      <a:pt x="537" y="490"/>
                    </a:lnTo>
                    <a:lnTo>
                      <a:pt x="537" y="492"/>
                    </a:lnTo>
                    <a:lnTo>
                      <a:pt x="537" y="490"/>
                    </a:lnTo>
                    <a:lnTo>
                      <a:pt x="537" y="492"/>
                    </a:lnTo>
                    <a:lnTo>
                      <a:pt x="537" y="494"/>
                    </a:lnTo>
                    <a:lnTo>
                      <a:pt x="539" y="494"/>
                    </a:lnTo>
                    <a:lnTo>
                      <a:pt x="537" y="496"/>
                    </a:lnTo>
                    <a:lnTo>
                      <a:pt x="539" y="499"/>
                    </a:lnTo>
                    <a:lnTo>
                      <a:pt x="539" y="501"/>
                    </a:lnTo>
                    <a:lnTo>
                      <a:pt x="539" y="499"/>
                    </a:lnTo>
                    <a:lnTo>
                      <a:pt x="539" y="501"/>
                    </a:lnTo>
                    <a:lnTo>
                      <a:pt x="537" y="503"/>
                    </a:lnTo>
                    <a:lnTo>
                      <a:pt x="536" y="503"/>
                    </a:lnTo>
                    <a:lnTo>
                      <a:pt x="536" y="501"/>
                    </a:lnTo>
                    <a:lnTo>
                      <a:pt x="534" y="499"/>
                    </a:lnTo>
                    <a:lnTo>
                      <a:pt x="534" y="496"/>
                    </a:lnTo>
                    <a:lnTo>
                      <a:pt x="532" y="494"/>
                    </a:lnTo>
                    <a:lnTo>
                      <a:pt x="534" y="496"/>
                    </a:lnTo>
                    <a:lnTo>
                      <a:pt x="532" y="496"/>
                    </a:lnTo>
                    <a:lnTo>
                      <a:pt x="534" y="498"/>
                    </a:lnTo>
                    <a:lnTo>
                      <a:pt x="530" y="496"/>
                    </a:lnTo>
                    <a:lnTo>
                      <a:pt x="530" y="498"/>
                    </a:lnTo>
                    <a:lnTo>
                      <a:pt x="528" y="498"/>
                    </a:lnTo>
                    <a:lnTo>
                      <a:pt x="526" y="498"/>
                    </a:lnTo>
                    <a:lnTo>
                      <a:pt x="526" y="496"/>
                    </a:lnTo>
                    <a:lnTo>
                      <a:pt x="528" y="496"/>
                    </a:lnTo>
                    <a:lnTo>
                      <a:pt x="528" y="494"/>
                    </a:lnTo>
                    <a:lnTo>
                      <a:pt x="528" y="496"/>
                    </a:lnTo>
                    <a:lnTo>
                      <a:pt x="526" y="496"/>
                    </a:lnTo>
                    <a:lnTo>
                      <a:pt x="526" y="494"/>
                    </a:lnTo>
                    <a:lnTo>
                      <a:pt x="528" y="494"/>
                    </a:lnTo>
                    <a:lnTo>
                      <a:pt x="526" y="492"/>
                    </a:lnTo>
                    <a:lnTo>
                      <a:pt x="526" y="494"/>
                    </a:lnTo>
                    <a:lnTo>
                      <a:pt x="526" y="492"/>
                    </a:lnTo>
                    <a:lnTo>
                      <a:pt x="528" y="492"/>
                    </a:lnTo>
                    <a:lnTo>
                      <a:pt x="526" y="492"/>
                    </a:lnTo>
                    <a:lnTo>
                      <a:pt x="526" y="490"/>
                    </a:lnTo>
                    <a:lnTo>
                      <a:pt x="526" y="488"/>
                    </a:lnTo>
                    <a:lnTo>
                      <a:pt x="524" y="488"/>
                    </a:lnTo>
                    <a:lnTo>
                      <a:pt x="524" y="484"/>
                    </a:lnTo>
                    <a:lnTo>
                      <a:pt x="526" y="482"/>
                    </a:lnTo>
                    <a:lnTo>
                      <a:pt x="526" y="484"/>
                    </a:lnTo>
                    <a:lnTo>
                      <a:pt x="528" y="482"/>
                    </a:lnTo>
                    <a:lnTo>
                      <a:pt x="526" y="482"/>
                    </a:lnTo>
                    <a:lnTo>
                      <a:pt x="524" y="484"/>
                    </a:lnTo>
                    <a:lnTo>
                      <a:pt x="524" y="482"/>
                    </a:lnTo>
                    <a:lnTo>
                      <a:pt x="522" y="480"/>
                    </a:lnTo>
                    <a:lnTo>
                      <a:pt x="522" y="478"/>
                    </a:lnTo>
                    <a:lnTo>
                      <a:pt x="522" y="477"/>
                    </a:lnTo>
                    <a:lnTo>
                      <a:pt x="520" y="477"/>
                    </a:lnTo>
                    <a:lnTo>
                      <a:pt x="518" y="477"/>
                    </a:lnTo>
                    <a:lnTo>
                      <a:pt x="520" y="477"/>
                    </a:lnTo>
                    <a:lnTo>
                      <a:pt x="522" y="477"/>
                    </a:lnTo>
                    <a:lnTo>
                      <a:pt x="522" y="480"/>
                    </a:lnTo>
                    <a:lnTo>
                      <a:pt x="520" y="480"/>
                    </a:lnTo>
                    <a:lnTo>
                      <a:pt x="518" y="480"/>
                    </a:lnTo>
                    <a:lnTo>
                      <a:pt x="518" y="478"/>
                    </a:lnTo>
                    <a:lnTo>
                      <a:pt x="518" y="480"/>
                    </a:lnTo>
                    <a:lnTo>
                      <a:pt x="520" y="482"/>
                    </a:lnTo>
                    <a:lnTo>
                      <a:pt x="522" y="480"/>
                    </a:lnTo>
                    <a:lnTo>
                      <a:pt x="522" y="482"/>
                    </a:lnTo>
                    <a:lnTo>
                      <a:pt x="522" y="484"/>
                    </a:lnTo>
                    <a:lnTo>
                      <a:pt x="522" y="486"/>
                    </a:lnTo>
                    <a:lnTo>
                      <a:pt x="520" y="486"/>
                    </a:lnTo>
                    <a:lnTo>
                      <a:pt x="518" y="484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6" y="484"/>
                    </a:lnTo>
                    <a:lnTo>
                      <a:pt x="516" y="480"/>
                    </a:lnTo>
                    <a:lnTo>
                      <a:pt x="515" y="482"/>
                    </a:lnTo>
                    <a:lnTo>
                      <a:pt x="513" y="478"/>
                    </a:lnTo>
                    <a:lnTo>
                      <a:pt x="515" y="482"/>
                    </a:lnTo>
                    <a:lnTo>
                      <a:pt x="513" y="480"/>
                    </a:lnTo>
                    <a:lnTo>
                      <a:pt x="511" y="480"/>
                    </a:lnTo>
                    <a:lnTo>
                      <a:pt x="509" y="477"/>
                    </a:lnTo>
                    <a:lnTo>
                      <a:pt x="507" y="478"/>
                    </a:lnTo>
                    <a:lnTo>
                      <a:pt x="511" y="480"/>
                    </a:lnTo>
                    <a:lnTo>
                      <a:pt x="511" y="482"/>
                    </a:lnTo>
                    <a:lnTo>
                      <a:pt x="509" y="482"/>
                    </a:lnTo>
                    <a:lnTo>
                      <a:pt x="507" y="484"/>
                    </a:lnTo>
                    <a:lnTo>
                      <a:pt x="509" y="482"/>
                    </a:lnTo>
                    <a:lnTo>
                      <a:pt x="511" y="482"/>
                    </a:lnTo>
                    <a:lnTo>
                      <a:pt x="511" y="484"/>
                    </a:lnTo>
                    <a:lnTo>
                      <a:pt x="513" y="482"/>
                    </a:lnTo>
                    <a:lnTo>
                      <a:pt x="515" y="484"/>
                    </a:lnTo>
                    <a:lnTo>
                      <a:pt x="516" y="484"/>
                    </a:lnTo>
                    <a:lnTo>
                      <a:pt x="516" y="486"/>
                    </a:lnTo>
                    <a:lnTo>
                      <a:pt x="515" y="484"/>
                    </a:lnTo>
                    <a:lnTo>
                      <a:pt x="515" y="486"/>
                    </a:lnTo>
                    <a:lnTo>
                      <a:pt x="516" y="486"/>
                    </a:lnTo>
                    <a:lnTo>
                      <a:pt x="516" y="488"/>
                    </a:lnTo>
                    <a:lnTo>
                      <a:pt x="518" y="490"/>
                    </a:lnTo>
                    <a:lnTo>
                      <a:pt x="516" y="488"/>
                    </a:lnTo>
                    <a:lnTo>
                      <a:pt x="516" y="486"/>
                    </a:lnTo>
                    <a:lnTo>
                      <a:pt x="516" y="488"/>
                    </a:lnTo>
                    <a:lnTo>
                      <a:pt x="518" y="488"/>
                    </a:lnTo>
                    <a:lnTo>
                      <a:pt x="516" y="492"/>
                    </a:lnTo>
                    <a:lnTo>
                      <a:pt x="518" y="490"/>
                    </a:lnTo>
                    <a:lnTo>
                      <a:pt x="518" y="492"/>
                    </a:lnTo>
                    <a:lnTo>
                      <a:pt x="518" y="490"/>
                    </a:lnTo>
                    <a:lnTo>
                      <a:pt x="520" y="490"/>
                    </a:lnTo>
                    <a:lnTo>
                      <a:pt x="522" y="492"/>
                    </a:lnTo>
                    <a:lnTo>
                      <a:pt x="520" y="492"/>
                    </a:lnTo>
                    <a:lnTo>
                      <a:pt x="522" y="492"/>
                    </a:lnTo>
                    <a:lnTo>
                      <a:pt x="522" y="494"/>
                    </a:lnTo>
                    <a:lnTo>
                      <a:pt x="520" y="494"/>
                    </a:lnTo>
                    <a:lnTo>
                      <a:pt x="522" y="494"/>
                    </a:lnTo>
                    <a:lnTo>
                      <a:pt x="522" y="496"/>
                    </a:lnTo>
                    <a:lnTo>
                      <a:pt x="524" y="496"/>
                    </a:lnTo>
                    <a:lnTo>
                      <a:pt x="524" y="498"/>
                    </a:lnTo>
                    <a:lnTo>
                      <a:pt x="522" y="499"/>
                    </a:lnTo>
                    <a:lnTo>
                      <a:pt x="520" y="499"/>
                    </a:lnTo>
                    <a:lnTo>
                      <a:pt x="522" y="499"/>
                    </a:lnTo>
                    <a:lnTo>
                      <a:pt x="520" y="499"/>
                    </a:lnTo>
                    <a:lnTo>
                      <a:pt x="520" y="498"/>
                    </a:lnTo>
                    <a:lnTo>
                      <a:pt x="518" y="498"/>
                    </a:lnTo>
                    <a:lnTo>
                      <a:pt x="516" y="498"/>
                    </a:lnTo>
                    <a:lnTo>
                      <a:pt x="516" y="496"/>
                    </a:lnTo>
                    <a:lnTo>
                      <a:pt x="516" y="498"/>
                    </a:lnTo>
                    <a:lnTo>
                      <a:pt x="515" y="498"/>
                    </a:lnTo>
                    <a:lnTo>
                      <a:pt x="516" y="499"/>
                    </a:lnTo>
                    <a:lnTo>
                      <a:pt x="516" y="498"/>
                    </a:lnTo>
                    <a:lnTo>
                      <a:pt x="518" y="498"/>
                    </a:lnTo>
                    <a:lnTo>
                      <a:pt x="518" y="499"/>
                    </a:lnTo>
                    <a:lnTo>
                      <a:pt x="516" y="499"/>
                    </a:lnTo>
                    <a:lnTo>
                      <a:pt x="516" y="501"/>
                    </a:lnTo>
                    <a:lnTo>
                      <a:pt x="516" y="499"/>
                    </a:lnTo>
                    <a:lnTo>
                      <a:pt x="515" y="498"/>
                    </a:lnTo>
                    <a:lnTo>
                      <a:pt x="515" y="499"/>
                    </a:lnTo>
                    <a:lnTo>
                      <a:pt x="515" y="501"/>
                    </a:lnTo>
                    <a:lnTo>
                      <a:pt x="516" y="501"/>
                    </a:lnTo>
                    <a:lnTo>
                      <a:pt x="515" y="503"/>
                    </a:lnTo>
                    <a:lnTo>
                      <a:pt x="515" y="501"/>
                    </a:lnTo>
                    <a:lnTo>
                      <a:pt x="515" y="503"/>
                    </a:lnTo>
                    <a:lnTo>
                      <a:pt x="513" y="503"/>
                    </a:lnTo>
                    <a:lnTo>
                      <a:pt x="513" y="501"/>
                    </a:lnTo>
                    <a:lnTo>
                      <a:pt x="515" y="501"/>
                    </a:lnTo>
                    <a:lnTo>
                      <a:pt x="513" y="501"/>
                    </a:lnTo>
                    <a:lnTo>
                      <a:pt x="513" y="499"/>
                    </a:lnTo>
                    <a:lnTo>
                      <a:pt x="513" y="501"/>
                    </a:lnTo>
                    <a:lnTo>
                      <a:pt x="513" y="499"/>
                    </a:lnTo>
                    <a:lnTo>
                      <a:pt x="511" y="499"/>
                    </a:lnTo>
                    <a:lnTo>
                      <a:pt x="511" y="498"/>
                    </a:lnTo>
                    <a:lnTo>
                      <a:pt x="511" y="499"/>
                    </a:lnTo>
                    <a:lnTo>
                      <a:pt x="511" y="498"/>
                    </a:lnTo>
                    <a:lnTo>
                      <a:pt x="509" y="498"/>
                    </a:lnTo>
                    <a:lnTo>
                      <a:pt x="507" y="498"/>
                    </a:lnTo>
                    <a:lnTo>
                      <a:pt x="503" y="494"/>
                    </a:lnTo>
                    <a:lnTo>
                      <a:pt x="501" y="492"/>
                    </a:lnTo>
                    <a:lnTo>
                      <a:pt x="497" y="492"/>
                    </a:lnTo>
                    <a:lnTo>
                      <a:pt x="499" y="490"/>
                    </a:lnTo>
                    <a:lnTo>
                      <a:pt x="501" y="490"/>
                    </a:lnTo>
                    <a:lnTo>
                      <a:pt x="501" y="488"/>
                    </a:lnTo>
                    <a:lnTo>
                      <a:pt x="501" y="490"/>
                    </a:lnTo>
                    <a:lnTo>
                      <a:pt x="497" y="490"/>
                    </a:lnTo>
                    <a:lnTo>
                      <a:pt x="494" y="486"/>
                    </a:lnTo>
                    <a:lnTo>
                      <a:pt x="494" y="482"/>
                    </a:lnTo>
                    <a:lnTo>
                      <a:pt x="492" y="480"/>
                    </a:lnTo>
                    <a:lnTo>
                      <a:pt x="488" y="478"/>
                    </a:lnTo>
                    <a:lnTo>
                      <a:pt x="484" y="475"/>
                    </a:lnTo>
                    <a:lnTo>
                      <a:pt x="486" y="473"/>
                    </a:lnTo>
                    <a:lnTo>
                      <a:pt x="484" y="473"/>
                    </a:lnTo>
                    <a:lnTo>
                      <a:pt x="482" y="475"/>
                    </a:lnTo>
                    <a:lnTo>
                      <a:pt x="482" y="473"/>
                    </a:lnTo>
                    <a:lnTo>
                      <a:pt x="482" y="475"/>
                    </a:lnTo>
                    <a:lnTo>
                      <a:pt x="478" y="471"/>
                    </a:lnTo>
                    <a:lnTo>
                      <a:pt x="473" y="469"/>
                    </a:lnTo>
                    <a:lnTo>
                      <a:pt x="473" y="467"/>
                    </a:lnTo>
                    <a:lnTo>
                      <a:pt x="471" y="467"/>
                    </a:lnTo>
                    <a:lnTo>
                      <a:pt x="469" y="467"/>
                    </a:lnTo>
                    <a:lnTo>
                      <a:pt x="469" y="465"/>
                    </a:lnTo>
                    <a:lnTo>
                      <a:pt x="467" y="465"/>
                    </a:lnTo>
                    <a:lnTo>
                      <a:pt x="463" y="463"/>
                    </a:lnTo>
                    <a:lnTo>
                      <a:pt x="463" y="461"/>
                    </a:lnTo>
                    <a:lnTo>
                      <a:pt x="465" y="461"/>
                    </a:lnTo>
                    <a:lnTo>
                      <a:pt x="467" y="461"/>
                    </a:lnTo>
                    <a:lnTo>
                      <a:pt x="467" y="459"/>
                    </a:lnTo>
                    <a:lnTo>
                      <a:pt x="469" y="457"/>
                    </a:lnTo>
                    <a:lnTo>
                      <a:pt x="467" y="456"/>
                    </a:lnTo>
                    <a:lnTo>
                      <a:pt x="467" y="452"/>
                    </a:lnTo>
                    <a:lnTo>
                      <a:pt x="467" y="450"/>
                    </a:lnTo>
                    <a:lnTo>
                      <a:pt x="469" y="450"/>
                    </a:lnTo>
                    <a:lnTo>
                      <a:pt x="469" y="448"/>
                    </a:lnTo>
                    <a:lnTo>
                      <a:pt x="471" y="448"/>
                    </a:lnTo>
                    <a:lnTo>
                      <a:pt x="473" y="452"/>
                    </a:lnTo>
                    <a:lnTo>
                      <a:pt x="471" y="456"/>
                    </a:lnTo>
                    <a:lnTo>
                      <a:pt x="473" y="459"/>
                    </a:lnTo>
                    <a:lnTo>
                      <a:pt x="471" y="459"/>
                    </a:lnTo>
                    <a:lnTo>
                      <a:pt x="471" y="461"/>
                    </a:lnTo>
                    <a:lnTo>
                      <a:pt x="471" y="459"/>
                    </a:lnTo>
                    <a:lnTo>
                      <a:pt x="471" y="461"/>
                    </a:lnTo>
                    <a:lnTo>
                      <a:pt x="473" y="461"/>
                    </a:lnTo>
                    <a:lnTo>
                      <a:pt x="473" y="459"/>
                    </a:lnTo>
                    <a:lnTo>
                      <a:pt x="473" y="457"/>
                    </a:lnTo>
                    <a:lnTo>
                      <a:pt x="473" y="456"/>
                    </a:lnTo>
                    <a:lnTo>
                      <a:pt x="473" y="454"/>
                    </a:lnTo>
                    <a:lnTo>
                      <a:pt x="475" y="454"/>
                    </a:lnTo>
                    <a:lnTo>
                      <a:pt x="476" y="454"/>
                    </a:lnTo>
                    <a:lnTo>
                      <a:pt x="478" y="456"/>
                    </a:lnTo>
                    <a:lnTo>
                      <a:pt x="478" y="454"/>
                    </a:lnTo>
                    <a:lnTo>
                      <a:pt x="476" y="454"/>
                    </a:lnTo>
                    <a:lnTo>
                      <a:pt x="476" y="452"/>
                    </a:lnTo>
                    <a:lnTo>
                      <a:pt x="473" y="452"/>
                    </a:lnTo>
                    <a:lnTo>
                      <a:pt x="471" y="448"/>
                    </a:lnTo>
                    <a:lnTo>
                      <a:pt x="469" y="448"/>
                    </a:lnTo>
                    <a:lnTo>
                      <a:pt x="469" y="446"/>
                    </a:lnTo>
                    <a:lnTo>
                      <a:pt x="467" y="446"/>
                    </a:lnTo>
                    <a:lnTo>
                      <a:pt x="469" y="446"/>
                    </a:lnTo>
                    <a:lnTo>
                      <a:pt x="467" y="448"/>
                    </a:lnTo>
                    <a:lnTo>
                      <a:pt x="467" y="450"/>
                    </a:lnTo>
                    <a:lnTo>
                      <a:pt x="465" y="450"/>
                    </a:lnTo>
                    <a:lnTo>
                      <a:pt x="465" y="452"/>
                    </a:lnTo>
                    <a:lnTo>
                      <a:pt x="461" y="452"/>
                    </a:lnTo>
                    <a:lnTo>
                      <a:pt x="463" y="450"/>
                    </a:lnTo>
                    <a:lnTo>
                      <a:pt x="461" y="450"/>
                    </a:lnTo>
                    <a:lnTo>
                      <a:pt x="463" y="450"/>
                    </a:lnTo>
                    <a:lnTo>
                      <a:pt x="461" y="452"/>
                    </a:lnTo>
                    <a:lnTo>
                      <a:pt x="461" y="450"/>
                    </a:lnTo>
                    <a:lnTo>
                      <a:pt x="461" y="452"/>
                    </a:lnTo>
                    <a:lnTo>
                      <a:pt x="461" y="454"/>
                    </a:lnTo>
                    <a:lnTo>
                      <a:pt x="463" y="454"/>
                    </a:lnTo>
                    <a:lnTo>
                      <a:pt x="461" y="454"/>
                    </a:lnTo>
                    <a:lnTo>
                      <a:pt x="461" y="456"/>
                    </a:lnTo>
                    <a:lnTo>
                      <a:pt x="463" y="454"/>
                    </a:lnTo>
                    <a:lnTo>
                      <a:pt x="455" y="457"/>
                    </a:lnTo>
                    <a:lnTo>
                      <a:pt x="448" y="456"/>
                    </a:lnTo>
                    <a:lnTo>
                      <a:pt x="442" y="454"/>
                    </a:lnTo>
                    <a:lnTo>
                      <a:pt x="444" y="454"/>
                    </a:lnTo>
                    <a:lnTo>
                      <a:pt x="438" y="452"/>
                    </a:lnTo>
                    <a:lnTo>
                      <a:pt x="438" y="450"/>
                    </a:lnTo>
                    <a:lnTo>
                      <a:pt x="440" y="450"/>
                    </a:lnTo>
                    <a:lnTo>
                      <a:pt x="440" y="448"/>
                    </a:lnTo>
                    <a:lnTo>
                      <a:pt x="440" y="446"/>
                    </a:lnTo>
                    <a:lnTo>
                      <a:pt x="442" y="444"/>
                    </a:lnTo>
                    <a:lnTo>
                      <a:pt x="442" y="442"/>
                    </a:lnTo>
                    <a:lnTo>
                      <a:pt x="442" y="444"/>
                    </a:lnTo>
                    <a:lnTo>
                      <a:pt x="440" y="444"/>
                    </a:lnTo>
                    <a:lnTo>
                      <a:pt x="440" y="446"/>
                    </a:lnTo>
                    <a:lnTo>
                      <a:pt x="438" y="444"/>
                    </a:lnTo>
                    <a:lnTo>
                      <a:pt x="440" y="442"/>
                    </a:lnTo>
                    <a:lnTo>
                      <a:pt x="438" y="442"/>
                    </a:lnTo>
                    <a:lnTo>
                      <a:pt x="438" y="444"/>
                    </a:lnTo>
                    <a:lnTo>
                      <a:pt x="436" y="442"/>
                    </a:lnTo>
                    <a:lnTo>
                      <a:pt x="438" y="444"/>
                    </a:lnTo>
                    <a:lnTo>
                      <a:pt x="436" y="444"/>
                    </a:lnTo>
                    <a:lnTo>
                      <a:pt x="436" y="446"/>
                    </a:lnTo>
                    <a:lnTo>
                      <a:pt x="438" y="446"/>
                    </a:lnTo>
                    <a:lnTo>
                      <a:pt x="440" y="446"/>
                    </a:lnTo>
                    <a:lnTo>
                      <a:pt x="436" y="448"/>
                    </a:lnTo>
                    <a:lnTo>
                      <a:pt x="434" y="450"/>
                    </a:lnTo>
                    <a:lnTo>
                      <a:pt x="433" y="450"/>
                    </a:lnTo>
                    <a:lnTo>
                      <a:pt x="433" y="448"/>
                    </a:lnTo>
                    <a:lnTo>
                      <a:pt x="429" y="448"/>
                    </a:lnTo>
                    <a:lnTo>
                      <a:pt x="423" y="446"/>
                    </a:lnTo>
                    <a:lnTo>
                      <a:pt x="421" y="446"/>
                    </a:lnTo>
                    <a:lnTo>
                      <a:pt x="421" y="444"/>
                    </a:lnTo>
                    <a:lnTo>
                      <a:pt x="419" y="444"/>
                    </a:lnTo>
                    <a:lnTo>
                      <a:pt x="404" y="446"/>
                    </a:lnTo>
                    <a:lnTo>
                      <a:pt x="400" y="448"/>
                    </a:lnTo>
                    <a:lnTo>
                      <a:pt x="398" y="448"/>
                    </a:lnTo>
                    <a:lnTo>
                      <a:pt x="396" y="448"/>
                    </a:lnTo>
                    <a:lnTo>
                      <a:pt x="393" y="448"/>
                    </a:lnTo>
                    <a:lnTo>
                      <a:pt x="394" y="446"/>
                    </a:lnTo>
                    <a:lnTo>
                      <a:pt x="396" y="446"/>
                    </a:lnTo>
                    <a:lnTo>
                      <a:pt x="394" y="444"/>
                    </a:lnTo>
                    <a:lnTo>
                      <a:pt x="394" y="442"/>
                    </a:lnTo>
                    <a:lnTo>
                      <a:pt x="394" y="444"/>
                    </a:lnTo>
                    <a:lnTo>
                      <a:pt x="393" y="444"/>
                    </a:lnTo>
                    <a:lnTo>
                      <a:pt x="394" y="442"/>
                    </a:lnTo>
                    <a:lnTo>
                      <a:pt x="393" y="442"/>
                    </a:lnTo>
                    <a:lnTo>
                      <a:pt x="391" y="442"/>
                    </a:lnTo>
                    <a:lnTo>
                      <a:pt x="393" y="442"/>
                    </a:lnTo>
                    <a:lnTo>
                      <a:pt x="391" y="442"/>
                    </a:lnTo>
                    <a:lnTo>
                      <a:pt x="389" y="442"/>
                    </a:lnTo>
                    <a:lnTo>
                      <a:pt x="385" y="440"/>
                    </a:lnTo>
                    <a:lnTo>
                      <a:pt x="387" y="440"/>
                    </a:lnTo>
                    <a:lnTo>
                      <a:pt x="387" y="438"/>
                    </a:lnTo>
                    <a:lnTo>
                      <a:pt x="383" y="438"/>
                    </a:lnTo>
                    <a:lnTo>
                      <a:pt x="385" y="435"/>
                    </a:lnTo>
                    <a:lnTo>
                      <a:pt x="383" y="435"/>
                    </a:lnTo>
                    <a:lnTo>
                      <a:pt x="385" y="435"/>
                    </a:lnTo>
                    <a:lnTo>
                      <a:pt x="385" y="433"/>
                    </a:lnTo>
                    <a:lnTo>
                      <a:pt x="387" y="433"/>
                    </a:lnTo>
                    <a:lnTo>
                      <a:pt x="385" y="433"/>
                    </a:lnTo>
                    <a:lnTo>
                      <a:pt x="385" y="431"/>
                    </a:lnTo>
                    <a:lnTo>
                      <a:pt x="385" y="429"/>
                    </a:lnTo>
                    <a:lnTo>
                      <a:pt x="385" y="427"/>
                    </a:lnTo>
                    <a:lnTo>
                      <a:pt x="383" y="429"/>
                    </a:lnTo>
                    <a:lnTo>
                      <a:pt x="383" y="431"/>
                    </a:lnTo>
                    <a:lnTo>
                      <a:pt x="381" y="431"/>
                    </a:lnTo>
                    <a:lnTo>
                      <a:pt x="381" y="433"/>
                    </a:lnTo>
                    <a:lnTo>
                      <a:pt x="379" y="435"/>
                    </a:lnTo>
                    <a:lnTo>
                      <a:pt x="377" y="435"/>
                    </a:lnTo>
                    <a:lnTo>
                      <a:pt x="375" y="435"/>
                    </a:lnTo>
                    <a:lnTo>
                      <a:pt x="375" y="436"/>
                    </a:lnTo>
                    <a:lnTo>
                      <a:pt x="373" y="435"/>
                    </a:lnTo>
                    <a:lnTo>
                      <a:pt x="373" y="433"/>
                    </a:lnTo>
                    <a:lnTo>
                      <a:pt x="372" y="433"/>
                    </a:lnTo>
                    <a:lnTo>
                      <a:pt x="370" y="433"/>
                    </a:lnTo>
                    <a:lnTo>
                      <a:pt x="368" y="433"/>
                    </a:lnTo>
                    <a:lnTo>
                      <a:pt x="366" y="433"/>
                    </a:lnTo>
                    <a:lnTo>
                      <a:pt x="368" y="433"/>
                    </a:lnTo>
                    <a:lnTo>
                      <a:pt x="370" y="431"/>
                    </a:lnTo>
                    <a:lnTo>
                      <a:pt x="370" y="429"/>
                    </a:lnTo>
                    <a:lnTo>
                      <a:pt x="372" y="427"/>
                    </a:lnTo>
                    <a:lnTo>
                      <a:pt x="370" y="427"/>
                    </a:lnTo>
                    <a:lnTo>
                      <a:pt x="368" y="429"/>
                    </a:lnTo>
                    <a:lnTo>
                      <a:pt x="368" y="427"/>
                    </a:lnTo>
                    <a:lnTo>
                      <a:pt x="370" y="427"/>
                    </a:lnTo>
                    <a:lnTo>
                      <a:pt x="368" y="427"/>
                    </a:lnTo>
                    <a:lnTo>
                      <a:pt x="368" y="425"/>
                    </a:lnTo>
                    <a:lnTo>
                      <a:pt x="368" y="427"/>
                    </a:lnTo>
                    <a:lnTo>
                      <a:pt x="366" y="427"/>
                    </a:lnTo>
                    <a:lnTo>
                      <a:pt x="366" y="429"/>
                    </a:lnTo>
                    <a:lnTo>
                      <a:pt x="366" y="427"/>
                    </a:lnTo>
                    <a:lnTo>
                      <a:pt x="368" y="425"/>
                    </a:lnTo>
                    <a:lnTo>
                      <a:pt x="364" y="427"/>
                    </a:lnTo>
                    <a:lnTo>
                      <a:pt x="362" y="427"/>
                    </a:lnTo>
                    <a:lnTo>
                      <a:pt x="364" y="425"/>
                    </a:lnTo>
                    <a:lnTo>
                      <a:pt x="364" y="423"/>
                    </a:lnTo>
                    <a:lnTo>
                      <a:pt x="366" y="423"/>
                    </a:lnTo>
                    <a:lnTo>
                      <a:pt x="364" y="423"/>
                    </a:lnTo>
                    <a:lnTo>
                      <a:pt x="364" y="421"/>
                    </a:lnTo>
                    <a:lnTo>
                      <a:pt x="364" y="423"/>
                    </a:lnTo>
                    <a:lnTo>
                      <a:pt x="364" y="425"/>
                    </a:lnTo>
                    <a:lnTo>
                      <a:pt x="364" y="423"/>
                    </a:lnTo>
                    <a:lnTo>
                      <a:pt x="364" y="425"/>
                    </a:lnTo>
                    <a:lnTo>
                      <a:pt x="362" y="423"/>
                    </a:lnTo>
                    <a:lnTo>
                      <a:pt x="362" y="425"/>
                    </a:lnTo>
                    <a:lnTo>
                      <a:pt x="360" y="425"/>
                    </a:lnTo>
                    <a:lnTo>
                      <a:pt x="360" y="423"/>
                    </a:lnTo>
                    <a:lnTo>
                      <a:pt x="362" y="423"/>
                    </a:lnTo>
                    <a:lnTo>
                      <a:pt x="360" y="423"/>
                    </a:lnTo>
                    <a:lnTo>
                      <a:pt x="360" y="425"/>
                    </a:lnTo>
                    <a:lnTo>
                      <a:pt x="358" y="425"/>
                    </a:lnTo>
                    <a:lnTo>
                      <a:pt x="360" y="425"/>
                    </a:lnTo>
                    <a:lnTo>
                      <a:pt x="358" y="425"/>
                    </a:lnTo>
                    <a:lnTo>
                      <a:pt x="358" y="427"/>
                    </a:lnTo>
                    <a:lnTo>
                      <a:pt x="356" y="425"/>
                    </a:lnTo>
                    <a:lnTo>
                      <a:pt x="354" y="425"/>
                    </a:lnTo>
                    <a:lnTo>
                      <a:pt x="354" y="423"/>
                    </a:lnTo>
                    <a:lnTo>
                      <a:pt x="356" y="425"/>
                    </a:lnTo>
                    <a:lnTo>
                      <a:pt x="356" y="423"/>
                    </a:lnTo>
                    <a:lnTo>
                      <a:pt x="356" y="425"/>
                    </a:lnTo>
                    <a:lnTo>
                      <a:pt x="356" y="423"/>
                    </a:lnTo>
                    <a:lnTo>
                      <a:pt x="358" y="425"/>
                    </a:lnTo>
                    <a:lnTo>
                      <a:pt x="358" y="423"/>
                    </a:lnTo>
                    <a:lnTo>
                      <a:pt x="356" y="423"/>
                    </a:lnTo>
                    <a:lnTo>
                      <a:pt x="358" y="423"/>
                    </a:lnTo>
                    <a:lnTo>
                      <a:pt x="362" y="421"/>
                    </a:lnTo>
                    <a:lnTo>
                      <a:pt x="364" y="421"/>
                    </a:lnTo>
                    <a:lnTo>
                      <a:pt x="362" y="419"/>
                    </a:lnTo>
                    <a:lnTo>
                      <a:pt x="360" y="421"/>
                    </a:lnTo>
                    <a:lnTo>
                      <a:pt x="358" y="421"/>
                    </a:lnTo>
                    <a:lnTo>
                      <a:pt x="360" y="421"/>
                    </a:lnTo>
                    <a:lnTo>
                      <a:pt x="358" y="421"/>
                    </a:lnTo>
                    <a:lnTo>
                      <a:pt x="356" y="421"/>
                    </a:lnTo>
                    <a:lnTo>
                      <a:pt x="356" y="419"/>
                    </a:lnTo>
                    <a:lnTo>
                      <a:pt x="356" y="421"/>
                    </a:lnTo>
                    <a:lnTo>
                      <a:pt x="358" y="419"/>
                    </a:lnTo>
                    <a:lnTo>
                      <a:pt x="356" y="419"/>
                    </a:lnTo>
                    <a:lnTo>
                      <a:pt x="356" y="421"/>
                    </a:lnTo>
                    <a:lnTo>
                      <a:pt x="356" y="419"/>
                    </a:lnTo>
                    <a:lnTo>
                      <a:pt x="354" y="419"/>
                    </a:lnTo>
                    <a:lnTo>
                      <a:pt x="354" y="417"/>
                    </a:lnTo>
                    <a:lnTo>
                      <a:pt x="356" y="417"/>
                    </a:lnTo>
                    <a:lnTo>
                      <a:pt x="354" y="417"/>
                    </a:lnTo>
                    <a:lnTo>
                      <a:pt x="354" y="414"/>
                    </a:lnTo>
                    <a:lnTo>
                      <a:pt x="354" y="415"/>
                    </a:lnTo>
                    <a:lnTo>
                      <a:pt x="356" y="414"/>
                    </a:lnTo>
                    <a:lnTo>
                      <a:pt x="358" y="415"/>
                    </a:lnTo>
                    <a:lnTo>
                      <a:pt x="356" y="415"/>
                    </a:lnTo>
                    <a:lnTo>
                      <a:pt x="356" y="414"/>
                    </a:lnTo>
                    <a:lnTo>
                      <a:pt x="354" y="414"/>
                    </a:lnTo>
                    <a:lnTo>
                      <a:pt x="356" y="412"/>
                    </a:lnTo>
                    <a:lnTo>
                      <a:pt x="356" y="414"/>
                    </a:lnTo>
                    <a:lnTo>
                      <a:pt x="362" y="412"/>
                    </a:lnTo>
                    <a:lnTo>
                      <a:pt x="360" y="412"/>
                    </a:lnTo>
                    <a:lnTo>
                      <a:pt x="358" y="412"/>
                    </a:lnTo>
                    <a:lnTo>
                      <a:pt x="356" y="412"/>
                    </a:lnTo>
                    <a:lnTo>
                      <a:pt x="356" y="410"/>
                    </a:lnTo>
                    <a:lnTo>
                      <a:pt x="356" y="412"/>
                    </a:lnTo>
                    <a:lnTo>
                      <a:pt x="354" y="412"/>
                    </a:lnTo>
                    <a:lnTo>
                      <a:pt x="354" y="414"/>
                    </a:lnTo>
                    <a:lnTo>
                      <a:pt x="352" y="414"/>
                    </a:lnTo>
                    <a:lnTo>
                      <a:pt x="352" y="415"/>
                    </a:lnTo>
                    <a:lnTo>
                      <a:pt x="351" y="417"/>
                    </a:lnTo>
                    <a:lnTo>
                      <a:pt x="349" y="417"/>
                    </a:lnTo>
                    <a:lnTo>
                      <a:pt x="351" y="415"/>
                    </a:lnTo>
                    <a:lnTo>
                      <a:pt x="349" y="414"/>
                    </a:lnTo>
                    <a:lnTo>
                      <a:pt x="349" y="415"/>
                    </a:lnTo>
                    <a:lnTo>
                      <a:pt x="347" y="415"/>
                    </a:lnTo>
                    <a:lnTo>
                      <a:pt x="347" y="417"/>
                    </a:lnTo>
                    <a:lnTo>
                      <a:pt x="347" y="415"/>
                    </a:lnTo>
                    <a:lnTo>
                      <a:pt x="345" y="415"/>
                    </a:lnTo>
                    <a:lnTo>
                      <a:pt x="345" y="417"/>
                    </a:lnTo>
                    <a:lnTo>
                      <a:pt x="345" y="419"/>
                    </a:lnTo>
                    <a:lnTo>
                      <a:pt x="345" y="417"/>
                    </a:lnTo>
                    <a:lnTo>
                      <a:pt x="345" y="419"/>
                    </a:lnTo>
                    <a:lnTo>
                      <a:pt x="343" y="419"/>
                    </a:lnTo>
                    <a:lnTo>
                      <a:pt x="343" y="417"/>
                    </a:lnTo>
                    <a:lnTo>
                      <a:pt x="343" y="415"/>
                    </a:lnTo>
                    <a:lnTo>
                      <a:pt x="343" y="417"/>
                    </a:lnTo>
                    <a:lnTo>
                      <a:pt x="343" y="415"/>
                    </a:lnTo>
                    <a:lnTo>
                      <a:pt x="341" y="415"/>
                    </a:lnTo>
                    <a:lnTo>
                      <a:pt x="343" y="415"/>
                    </a:lnTo>
                    <a:lnTo>
                      <a:pt x="341" y="417"/>
                    </a:lnTo>
                    <a:lnTo>
                      <a:pt x="341" y="419"/>
                    </a:lnTo>
                    <a:lnTo>
                      <a:pt x="341" y="417"/>
                    </a:lnTo>
                    <a:lnTo>
                      <a:pt x="341" y="415"/>
                    </a:lnTo>
                    <a:lnTo>
                      <a:pt x="341" y="414"/>
                    </a:lnTo>
                    <a:lnTo>
                      <a:pt x="343" y="414"/>
                    </a:lnTo>
                    <a:lnTo>
                      <a:pt x="341" y="414"/>
                    </a:lnTo>
                    <a:lnTo>
                      <a:pt x="341" y="412"/>
                    </a:lnTo>
                    <a:lnTo>
                      <a:pt x="341" y="410"/>
                    </a:lnTo>
                    <a:lnTo>
                      <a:pt x="341" y="412"/>
                    </a:lnTo>
                    <a:lnTo>
                      <a:pt x="341" y="414"/>
                    </a:lnTo>
                    <a:lnTo>
                      <a:pt x="341" y="415"/>
                    </a:lnTo>
                    <a:lnTo>
                      <a:pt x="339" y="415"/>
                    </a:lnTo>
                    <a:lnTo>
                      <a:pt x="341" y="415"/>
                    </a:lnTo>
                    <a:lnTo>
                      <a:pt x="339" y="417"/>
                    </a:lnTo>
                    <a:lnTo>
                      <a:pt x="341" y="417"/>
                    </a:lnTo>
                    <a:lnTo>
                      <a:pt x="339" y="417"/>
                    </a:lnTo>
                    <a:lnTo>
                      <a:pt x="341" y="419"/>
                    </a:lnTo>
                    <a:lnTo>
                      <a:pt x="339" y="419"/>
                    </a:lnTo>
                    <a:lnTo>
                      <a:pt x="341" y="419"/>
                    </a:lnTo>
                    <a:lnTo>
                      <a:pt x="339" y="419"/>
                    </a:lnTo>
                    <a:lnTo>
                      <a:pt x="341" y="419"/>
                    </a:lnTo>
                    <a:lnTo>
                      <a:pt x="341" y="421"/>
                    </a:lnTo>
                    <a:lnTo>
                      <a:pt x="339" y="421"/>
                    </a:lnTo>
                    <a:lnTo>
                      <a:pt x="339" y="419"/>
                    </a:lnTo>
                    <a:lnTo>
                      <a:pt x="337" y="419"/>
                    </a:lnTo>
                    <a:lnTo>
                      <a:pt x="339" y="419"/>
                    </a:lnTo>
                    <a:lnTo>
                      <a:pt x="337" y="419"/>
                    </a:lnTo>
                    <a:lnTo>
                      <a:pt x="339" y="417"/>
                    </a:lnTo>
                    <a:lnTo>
                      <a:pt x="337" y="417"/>
                    </a:lnTo>
                    <a:lnTo>
                      <a:pt x="339" y="417"/>
                    </a:lnTo>
                    <a:lnTo>
                      <a:pt x="337" y="417"/>
                    </a:lnTo>
                    <a:lnTo>
                      <a:pt x="337" y="419"/>
                    </a:lnTo>
                    <a:lnTo>
                      <a:pt x="337" y="421"/>
                    </a:lnTo>
                    <a:lnTo>
                      <a:pt x="335" y="421"/>
                    </a:lnTo>
                    <a:lnTo>
                      <a:pt x="335" y="419"/>
                    </a:lnTo>
                    <a:lnTo>
                      <a:pt x="333" y="417"/>
                    </a:lnTo>
                    <a:lnTo>
                      <a:pt x="335" y="414"/>
                    </a:lnTo>
                    <a:lnTo>
                      <a:pt x="335" y="412"/>
                    </a:lnTo>
                    <a:lnTo>
                      <a:pt x="337" y="410"/>
                    </a:lnTo>
                    <a:lnTo>
                      <a:pt x="339" y="410"/>
                    </a:lnTo>
                    <a:lnTo>
                      <a:pt x="339" y="408"/>
                    </a:lnTo>
                    <a:lnTo>
                      <a:pt x="337" y="408"/>
                    </a:lnTo>
                    <a:lnTo>
                      <a:pt x="339" y="406"/>
                    </a:lnTo>
                    <a:lnTo>
                      <a:pt x="337" y="406"/>
                    </a:lnTo>
                    <a:lnTo>
                      <a:pt x="333" y="412"/>
                    </a:lnTo>
                    <a:lnTo>
                      <a:pt x="333" y="414"/>
                    </a:lnTo>
                    <a:lnTo>
                      <a:pt x="333" y="415"/>
                    </a:lnTo>
                    <a:lnTo>
                      <a:pt x="332" y="415"/>
                    </a:lnTo>
                    <a:lnTo>
                      <a:pt x="332" y="414"/>
                    </a:lnTo>
                    <a:lnTo>
                      <a:pt x="332" y="412"/>
                    </a:lnTo>
                    <a:lnTo>
                      <a:pt x="330" y="414"/>
                    </a:lnTo>
                    <a:lnTo>
                      <a:pt x="328" y="414"/>
                    </a:lnTo>
                    <a:lnTo>
                      <a:pt x="326" y="415"/>
                    </a:lnTo>
                    <a:lnTo>
                      <a:pt x="328" y="415"/>
                    </a:lnTo>
                    <a:lnTo>
                      <a:pt x="330" y="414"/>
                    </a:lnTo>
                    <a:lnTo>
                      <a:pt x="332" y="414"/>
                    </a:lnTo>
                    <a:lnTo>
                      <a:pt x="332" y="415"/>
                    </a:lnTo>
                    <a:lnTo>
                      <a:pt x="330" y="415"/>
                    </a:lnTo>
                    <a:lnTo>
                      <a:pt x="332" y="415"/>
                    </a:lnTo>
                    <a:lnTo>
                      <a:pt x="330" y="417"/>
                    </a:lnTo>
                    <a:lnTo>
                      <a:pt x="328" y="417"/>
                    </a:lnTo>
                    <a:lnTo>
                      <a:pt x="330" y="417"/>
                    </a:lnTo>
                    <a:lnTo>
                      <a:pt x="330" y="419"/>
                    </a:lnTo>
                    <a:lnTo>
                      <a:pt x="330" y="421"/>
                    </a:lnTo>
                    <a:lnTo>
                      <a:pt x="328" y="419"/>
                    </a:lnTo>
                    <a:lnTo>
                      <a:pt x="328" y="421"/>
                    </a:lnTo>
                    <a:lnTo>
                      <a:pt x="326" y="421"/>
                    </a:lnTo>
                    <a:lnTo>
                      <a:pt x="324" y="421"/>
                    </a:lnTo>
                    <a:lnTo>
                      <a:pt x="322" y="423"/>
                    </a:lnTo>
                    <a:lnTo>
                      <a:pt x="324" y="423"/>
                    </a:lnTo>
                    <a:lnTo>
                      <a:pt x="326" y="421"/>
                    </a:lnTo>
                    <a:lnTo>
                      <a:pt x="324" y="423"/>
                    </a:lnTo>
                    <a:lnTo>
                      <a:pt x="326" y="421"/>
                    </a:lnTo>
                    <a:lnTo>
                      <a:pt x="326" y="423"/>
                    </a:lnTo>
                    <a:lnTo>
                      <a:pt x="324" y="423"/>
                    </a:lnTo>
                    <a:lnTo>
                      <a:pt x="324" y="425"/>
                    </a:lnTo>
                    <a:lnTo>
                      <a:pt x="322" y="425"/>
                    </a:lnTo>
                    <a:lnTo>
                      <a:pt x="324" y="425"/>
                    </a:lnTo>
                    <a:lnTo>
                      <a:pt x="322" y="427"/>
                    </a:lnTo>
                    <a:lnTo>
                      <a:pt x="324" y="427"/>
                    </a:lnTo>
                    <a:lnTo>
                      <a:pt x="324" y="425"/>
                    </a:lnTo>
                    <a:lnTo>
                      <a:pt x="324" y="423"/>
                    </a:lnTo>
                    <a:lnTo>
                      <a:pt x="326" y="423"/>
                    </a:lnTo>
                    <a:lnTo>
                      <a:pt x="328" y="423"/>
                    </a:lnTo>
                    <a:lnTo>
                      <a:pt x="326" y="423"/>
                    </a:lnTo>
                    <a:lnTo>
                      <a:pt x="328" y="423"/>
                    </a:lnTo>
                    <a:lnTo>
                      <a:pt x="328" y="425"/>
                    </a:lnTo>
                    <a:lnTo>
                      <a:pt x="326" y="427"/>
                    </a:lnTo>
                    <a:lnTo>
                      <a:pt x="328" y="427"/>
                    </a:lnTo>
                    <a:lnTo>
                      <a:pt x="328" y="429"/>
                    </a:lnTo>
                    <a:lnTo>
                      <a:pt x="328" y="427"/>
                    </a:lnTo>
                    <a:lnTo>
                      <a:pt x="328" y="425"/>
                    </a:lnTo>
                    <a:lnTo>
                      <a:pt x="330" y="425"/>
                    </a:lnTo>
                    <a:lnTo>
                      <a:pt x="330" y="423"/>
                    </a:lnTo>
                    <a:lnTo>
                      <a:pt x="330" y="425"/>
                    </a:lnTo>
                    <a:lnTo>
                      <a:pt x="330" y="427"/>
                    </a:lnTo>
                    <a:lnTo>
                      <a:pt x="330" y="425"/>
                    </a:lnTo>
                    <a:lnTo>
                      <a:pt x="330" y="427"/>
                    </a:lnTo>
                    <a:lnTo>
                      <a:pt x="332" y="429"/>
                    </a:lnTo>
                    <a:lnTo>
                      <a:pt x="330" y="429"/>
                    </a:lnTo>
                    <a:lnTo>
                      <a:pt x="328" y="431"/>
                    </a:lnTo>
                    <a:lnTo>
                      <a:pt x="328" y="429"/>
                    </a:lnTo>
                    <a:lnTo>
                      <a:pt x="328" y="431"/>
                    </a:lnTo>
                    <a:lnTo>
                      <a:pt x="328" y="429"/>
                    </a:lnTo>
                    <a:lnTo>
                      <a:pt x="326" y="429"/>
                    </a:lnTo>
                    <a:lnTo>
                      <a:pt x="324" y="431"/>
                    </a:lnTo>
                    <a:lnTo>
                      <a:pt x="326" y="431"/>
                    </a:lnTo>
                    <a:lnTo>
                      <a:pt x="322" y="433"/>
                    </a:lnTo>
                    <a:lnTo>
                      <a:pt x="322" y="435"/>
                    </a:lnTo>
                    <a:lnTo>
                      <a:pt x="326" y="431"/>
                    </a:lnTo>
                    <a:lnTo>
                      <a:pt x="328" y="431"/>
                    </a:lnTo>
                    <a:lnTo>
                      <a:pt x="328" y="433"/>
                    </a:lnTo>
                    <a:lnTo>
                      <a:pt x="330" y="433"/>
                    </a:lnTo>
                    <a:lnTo>
                      <a:pt x="330" y="435"/>
                    </a:lnTo>
                    <a:lnTo>
                      <a:pt x="330" y="433"/>
                    </a:lnTo>
                    <a:lnTo>
                      <a:pt x="330" y="431"/>
                    </a:lnTo>
                    <a:lnTo>
                      <a:pt x="332" y="431"/>
                    </a:lnTo>
                    <a:lnTo>
                      <a:pt x="332" y="429"/>
                    </a:lnTo>
                    <a:lnTo>
                      <a:pt x="332" y="433"/>
                    </a:lnTo>
                    <a:lnTo>
                      <a:pt x="332" y="431"/>
                    </a:lnTo>
                    <a:lnTo>
                      <a:pt x="332" y="433"/>
                    </a:lnTo>
                    <a:lnTo>
                      <a:pt x="332" y="429"/>
                    </a:lnTo>
                    <a:lnTo>
                      <a:pt x="333" y="429"/>
                    </a:lnTo>
                    <a:lnTo>
                      <a:pt x="333" y="431"/>
                    </a:lnTo>
                    <a:lnTo>
                      <a:pt x="332" y="431"/>
                    </a:lnTo>
                    <a:lnTo>
                      <a:pt x="333" y="431"/>
                    </a:lnTo>
                    <a:lnTo>
                      <a:pt x="335" y="431"/>
                    </a:lnTo>
                    <a:lnTo>
                      <a:pt x="333" y="433"/>
                    </a:lnTo>
                    <a:lnTo>
                      <a:pt x="332" y="433"/>
                    </a:lnTo>
                    <a:lnTo>
                      <a:pt x="333" y="433"/>
                    </a:lnTo>
                    <a:lnTo>
                      <a:pt x="335" y="435"/>
                    </a:lnTo>
                    <a:lnTo>
                      <a:pt x="333" y="435"/>
                    </a:lnTo>
                    <a:lnTo>
                      <a:pt x="332" y="435"/>
                    </a:lnTo>
                    <a:lnTo>
                      <a:pt x="332" y="436"/>
                    </a:lnTo>
                    <a:lnTo>
                      <a:pt x="332" y="435"/>
                    </a:lnTo>
                    <a:lnTo>
                      <a:pt x="332" y="436"/>
                    </a:lnTo>
                    <a:lnTo>
                      <a:pt x="330" y="436"/>
                    </a:lnTo>
                    <a:lnTo>
                      <a:pt x="330" y="438"/>
                    </a:lnTo>
                    <a:lnTo>
                      <a:pt x="330" y="436"/>
                    </a:lnTo>
                    <a:lnTo>
                      <a:pt x="330" y="438"/>
                    </a:lnTo>
                    <a:lnTo>
                      <a:pt x="328" y="438"/>
                    </a:lnTo>
                    <a:lnTo>
                      <a:pt x="328" y="440"/>
                    </a:lnTo>
                    <a:lnTo>
                      <a:pt x="328" y="438"/>
                    </a:lnTo>
                    <a:lnTo>
                      <a:pt x="328" y="440"/>
                    </a:lnTo>
                    <a:lnTo>
                      <a:pt x="326" y="442"/>
                    </a:lnTo>
                    <a:lnTo>
                      <a:pt x="328" y="442"/>
                    </a:lnTo>
                    <a:lnTo>
                      <a:pt x="330" y="440"/>
                    </a:lnTo>
                    <a:lnTo>
                      <a:pt x="332" y="440"/>
                    </a:lnTo>
                    <a:lnTo>
                      <a:pt x="330" y="440"/>
                    </a:lnTo>
                    <a:lnTo>
                      <a:pt x="332" y="440"/>
                    </a:lnTo>
                    <a:lnTo>
                      <a:pt x="330" y="442"/>
                    </a:lnTo>
                    <a:lnTo>
                      <a:pt x="332" y="442"/>
                    </a:lnTo>
                    <a:lnTo>
                      <a:pt x="332" y="440"/>
                    </a:lnTo>
                    <a:lnTo>
                      <a:pt x="332" y="442"/>
                    </a:lnTo>
                    <a:lnTo>
                      <a:pt x="330" y="444"/>
                    </a:lnTo>
                    <a:lnTo>
                      <a:pt x="330" y="442"/>
                    </a:lnTo>
                    <a:lnTo>
                      <a:pt x="328" y="442"/>
                    </a:lnTo>
                    <a:lnTo>
                      <a:pt x="330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6"/>
                    </a:lnTo>
                    <a:lnTo>
                      <a:pt x="326" y="446"/>
                    </a:lnTo>
                    <a:lnTo>
                      <a:pt x="328" y="448"/>
                    </a:lnTo>
                    <a:lnTo>
                      <a:pt x="328" y="450"/>
                    </a:lnTo>
                    <a:lnTo>
                      <a:pt x="326" y="450"/>
                    </a:lnTo>
                    <a:lnTo>
                      <a:pt x="326" y="448"/>
                    </a:lnTo>
                    <a:lnTo>
                      <a:pt x="326" y="446"/>
                    </a:lnTo>
                    <a:lnTo>
                      <a:pt x="326" y="450"/>
                    </a:lnTo>
                    <a:lnTo>
                      <a:pt x="324" y="450"/>
                    </a:lnTo>
                    <a:lnTo>
                      <a:pt x="322" y="450"/>
                    </a:lnTo>
                    <a:lnTo>
                      <a:pt x="320" y="450"/>
                    </a:lnTo>
                    <a:lnTo>
                      <a:pt x="320" y="448"/>
                    </a:lnTo>
                    <a:lnTo>
                      <a:pt x="318" y="448"/>
                    </a:lnTo>
                    <a:lnTo>
                      <a:pt x="318" y="450"/>
                    </a:lnTo>
                    <a:lnTo>
                      <a:pt x="318" y="448"/>
                    </a:lnTo>
                    <a:lnTo>
                      <a:pt x="316" y="450"/>
                    </a:lnTo>
                    <a:lnTo>
                      <a:pt x="316" y="448"/>
                    </a:lnTo>
                    <a:lnTo>
                      <a:pt x="318" y="446"/>
                    </a:lnTo>
                    <a:lnTo>
                      <a:pt x="316" y="446"/>
                    </a:lnTo>
                    <a:lnTo>
                      <a:pt x="314" y="448"/>
                    </a:lnTo>
                    <a:lnTo>
                      <a:pt x="314" y="450"/>
                    </a:lnTo>
                    <a:lnTo>
                      <a:pt x="314" y="452"/>
                    </a:lnTo>
                    <a:lnTo>
                      <a:pt x="312" y="452"/>
                    </a:lnTo>
                    <a:lnTo>
                      <a:pt x="312" y="448"/>
                    </a:lnTo>
                    <a:lnTo>
                      <a:pt x="312" y="444"/>
                    </a:lnTo>
                    <a:lnTo>
                      <a:pt x="311" y="444"/>
                    </a:lnTo>
                    <a:lnTo>
                      <a:pt x="311" y="446"/>
                    </a:lnTo>
                    <a:lnTo>
                      <a:pt x="312" y="448"/>
                    </a:lnTo>
                    <a:lnTo>
                      <a:pt x="311" y="448"/>
                    </a:lnTo>
                    <a:lnTo>
                      <a:pt x="311" y="450"/>
                    </a:lnTo>
                    <a:lnTo>
                      <a:pt x="309" y="450"/>
                    </a:lnTo>
                    <a:lnTo>
                      <a:pt x="309" y="452"/>
                    </a:lnTo>
                    <a:lnTo>
                      <a:pt x="309" y="454"/>
                    </a:lnTo>
                    <a:lnTo>
                      <a:pt x="309" y="456"/>
                    </a:lnTo>
                    <a:lnTo>
                      <a:pt x="311" y="456"/>
                    </a:lnTo>
                    <a:lnTo>
                      <a:pt x="309" y="457"/>
                    </a:lnTo>
                    <a:lnTo>
                      <a:pt x="309" y="456"/>
                    </a:lnTo>
                    <a:lnTo>
                      <a:pt x="309" y="457"/>
                    </a:lnTo>
                    <a:lnTo>
                      <a:pt x="309" y="456"/>
                    </a:lnTo>
                    <a:lnTo>
                      <a:pt x="309" y="454"/>
                    </a:lnTo>
                    <a:lnTo>
                      <a:pt x="307" y="456"/>
                    </a:lnTo>
                    <a:lnTo>
                      <a:pt x="309" y="454"/>
                    </a:lnTo>
                    <a:lnTo>
                      <a:pt x="307" y="454"/>
                    </a:lnTo>
                    <a:lnTo>
                      <a:pt x="309" y="454"/>
                    </a:lnTo>
                    <a:lnTo>
                      <a:pt x="307" y="452"/>
                    </a:lnTo>
                    <a:lnTo>
                      <a:pt x="309" y="452"/>
                    </a:lnTo>
                    <a:lnTo>
                      <a:pt x="307" y="452"/>
                    </a:lnTo>
                    <a:lnTo>
                      <a:pt x="309" y="452"/>
                    </a:lnTo>
                    <a:lnTo>
                      <a:pt x="307" y="450"/>
                    </a:lnTo>
                    <a:lnTo>
                      <a:pt x="307" y="452"/>
                    </a:lnTo>
                    <a:lnTo>
                      <a:pt x="305" y="452"/>
                    </a:lnTo>
                    <a:lnTo>
                      <a:pt x="307" y="452"/>
                    </a:lnTo>
                    <a:lnTo>
                      <a:pt x="307" y="454"/>
                    </a:lnTo>
                    <a:lnTo>
                      <a:pt x="305" y="452"/>
                    </a:lnTo>
                    <a:lnTo>
                      <a:pt x="307" y="454"/>
                    </a:lnTo>
                    <a:lnTo>
                      <a:pt x="305" y="454"/>
                    </a:lnTo>
                    <a:lnTo>
                      <a:pt x="305" y="456"/>
                    </a:lnTo>
                    <a:lnTo>
                      <a:pt x="307" y="456"/>
                    </a:lnTo>
                    <a:lnTo>
                      <a:pt x="305" y="456"/>
                    </a:lnTo>
                    <a:lnTo>
                      <a:pt x="307" y="457"/>
                    </a:lnTo>
                    <a:lnTo>
                      <a:pt x="305" y="457"/>
                    </a:lnTo>
                    <a:lnTo>
                      <a:pt x="307" y="459"/>
                    </a:lnTo>
                    <a:lnTo>
                      <a:pt x="305" y="459"/>
                    </a:lnTo>
                    <a:lnTo>
                      <a:pt x="305" y="457"/>
                    </a:lnTo>
                    <a:lnTo>
                      <a:pt x="305" y="459"/>
                    </a:lnTo>
                    <a:lnTo>
                      <a:pt x="305" y="457"/>
                    </a:lnTo>
                    <a:lnTo>
                      <a:pt x="305" y="456"/>
                    </a:lnTo>
                    <a:lnTo>
                      <a:pt x="303" y="456"/>
                    </a:lnTo>
                    <a:lnTo>
                      <a:pt x="301" y="454"/>
                    </a:lnTo>
                    <a:lnTo>
                      <a:pt x="301" y="456"/>
                    </a:lnTo>
                    <a:lnTo>
                      <a:pt x="303" y="456"/>
                    </a:lnTo>
                    <a:lnTo>
                      <a:pt x="303" y="457"/>
                    </a:lnTo>
                    <a:lnTo>
                      <a:pt x="303" y="456"/>
                    </a:lnTo>
                    <a:lnTo>
                      <a:pt x="303" y="457"/>
                    </a:lnTo>
                    <a:lnTo>
                      <a:pt x="303" y="459"/>
                    </a:lnTo>
                    <a:lnTo>
                      <a:pt x="301" y="459"/>
                    </a:lnTo>
                    <a:lnTo>
                      <a:pt x="303" y="459"/>
                    </a:lnTo>
                    <a:lnTo>
                      <a:pt x="301" y="459"/>
                    </a:lnTo>
                    <a:lnTo>
                      <a:pt x="299" y="457"/>
                    </a:lnTo>
                    <a:lnTo>
                      <a:pt x="301" y="459"/>
                    </a:lnTo>
                    <a:lnTo>
                      <a:pt x="299" y="459"/>
                    </a:lnTo>
                    <a:lnTo>
                      <a:pt x="301" y="461"/>
                    </a:lnTo>
                    <a:lnTo>
                      <a:pt x="299" y="461"/>
                    </a:lnTo>
                    <a:lnTo>
                      <a:pt x="299" y="463"/>
                    </a:lnTo>
                    <a:lnTo>
                      <a:pt x="299" y="461"/>
                    </a:lnTo>
                    <a:lnTo>
                      <a:pt x="299" y="463"/>
                    </a:lnTo>
                    <a:lnTo>
                      <a:pt x="297" y="463"/>
                    </a:lnTo>
                    <a:lnTo>
                      <a:pt x="299" y="463"/>
                    </a:lnTo>
                    <a:lnTo>
                      <a:pt x="297" y="463"/>
                    </a:lnTo>
                    <a:lnTo>
                      <a:pt x="297" y="465"/>
                    </a:lnTo>
                    <a:lnTo>
                      <a:pt x="297" y="463"/>
                    </a:lnTo>
                    <a:lnTo>
                      <a:pt x="297" y="465"/>
                    </a:lnTo>
                    <a:lnTo>
                      <a:pt x="295" y="465"/>
                    </a:lnTo>
                    <a:lnTo>
                      <a:pt x="297" y="463"/>
                    </a:lnTo>
                    <a:lnTo>
                      <a:pt x="295" y="463"/>
                    </a:lnTo>
                    <a:lnTo>
                      <a:pt x="297" y="463"/>
                    </a:lnTo>
                    <a:lnTo>
                      <a:pt x="295" y="463"/>
                    </a:lnTo>
                    <a:lnTo>
                      <a:pt x="297" y="463"/>
                    </a:lnTo>
                    <a:lnTo>
                      <a:pt x="297" y="461"/>
                    </a:lnTo>
                    <a:lnTo>
                      <a:pt x="297" y="459"/>
                    </a:lnTo>
                    <a:lnTo>
                      <a:pt x="299" y="457"/>
                    </a:lnTo>
                    <a:lnTo>
                      <a:pt x="299" y="456"/>
                    </a:lnTo>
                    <a:lnTo>
                      <a:pt x="295" y="461"/>
                    </a:lnTo>
                    <a:lnTo>
                      <a:pt x="295" y="465"/>
                    </a:lnTo>
                    <a:lnTo>
                      <a:pt x="293" y="465"/>
                    </a:lnTo>
                    <a:lnTo>
                      <a:pt x="293" y="463"/>
                    </a:lnTo>
                    <a:lnTo>
                      <a:pt x="295" y="463"/>
                    </a:lnTo>
                    <a:lnTo>
                      <a:pt x="293" y="463"/>
                    </a:lnTo>
                    <a:lnTo>
                      <a:pt x="293" y="461"/>
                    </a:lnTo>
                    <a:lnTo>
                      <a:pt x="293" y="459"/>
                    </a:lnTo>
                    <a:lnTo>
                      <a:pt x="293" y="461"/>
                    </a:lnTo>
                    <a:lnTo>
                      <a:pt x="293" y="459"/>
                    </a:lnTo>
                    <a:lnTo>
                      <a:pt x="293" y="461"/>
                    </a:lnTo>
                    <a:lnTo>
                      <a:pt x="291" y="463"/>
                    </a:lnTo>
                    <a:lnTo>
                      <a:pt x="291" y="461"/>
                    </a:lnTo>
                    <a:lnTo>
                      <a:pt x="293" y="465"/>
                    </a:lnTo>
                    <a:lnTo>
                      <a:pt x="291" y="465"/>
                    </a:lnTo>
                    <a:lnTo>
                      <a:pt x="293" y="465"/>
                    </a:lnTo>
                    <a:lnTo>
                      <a:pt x="291" y="465"/>
                    </a:lnTo>
                    <a:lnTo>
                      <a:pt x="291" y="467"/>
                    </a:lnTo>
                    <a:lnTo>
                      <a:pt x="291" y="465"/>
                    </a:lnTo>
                    <a:lnTo>
                      <a:pt x="290" y="465"/>
                    </a:lnTo>
                    <a:lnTo>
                      <a:pt x="290" y="467"/>
                    </a:lnTo>
                    <a:lnTo>
                      <a:pt x="288" y="469"/>
                    </a:lnTo>
                    <a:lnTo>
                      <a:pt x="290" y="469"/>
                    </a:lnTo>
                    <a:lnTo>
                      <a:pt x="288" y="469"/>
                    </a:lnTo>
                    <a:lnTo>
                      <a:pt x="288" y="471"/>
                    </a:lnTo>
                    <a:lnTo>
                      <a:pt x="288" y="473"/>
                    </a:lnTo>
                    <a:lnTo>
                      <a:pt x="286" y="473"/>
                    </a:lnTo>
                    <a:lnTo>
                      <a:pt x="286" y="471"/>
                    </a:lnTo>
                    <a:lnTo>
                      <a:pt x="286" y="469"/>
                    </a:lnTo>
                    <a:lnTo>
                      <a:pt x="284" y="471"/>
                    </a:lnTo>
                    <a:lnTo>
                      <a:pt x="284" y="469"/>
                    </a:lnTo>
                    <a:lnTo>
                      <a:pt x="284" y="471"/>
                    </a:lnTo>
                    <a:lnTo>
                      <a:pt x="282" y="469"/>
                    </a:lnTo>
                    <a:lnTo>
                      <a:pt x="280" y="469"/>
                    </a:lnTo>
                    <a:lnTo>
                      <a:pt x="284" y="471"/>
                    </a:lnTo>
                    <a:lnTo>
                      <a:pt x="284" y="473"/>
                    </a:lnTo>
                    <a:lnTo>
                      <a:pt x="282" y="473"/>
                    </a:lnTo>
                    <a:lnTo>
                      <a:pt x="282" y="471"/>
                    </a:lnTo>
                    <a:lnTo>
                      <a:pt x="282" y="473"/>
                    </a:lnTo>
                    <a:lnTo>
                      <a:pt x="280" y="471"/>
                    </a:lnTo>
                    <a:lnTo>
                      <a:pt x="278" y="471"/>
                    </a:lnTo>
                    <a:lnTo>
                      <a:pt x="280" y="471"/>
                    </a:lnTo>
                    <a:lnTo>
                      <a:pt x="278" y="473"/>
                    </a:lnTo>
                    <a:lnTo>
                      <a:pt x="278" y="471"/>
                    </a:lnTo>
                    <a:lnTo>
                      <a:pt x="276" y="473"/>
                    </a:lnTo>
                    <a:lnTo>
                      <a:pt x="278" y="473"/>
                    </a:lnTo>
                    <a:lnTo>
                      <a:pt x="276" y="473"/>
                    </a:lnTo>
                    <a:lnTo>
                      <a:pt x="276" y="475"/>
                    </a:lnTo>
                    <a:lnTo>
                      <a:pt x="274" y="475"/>
                    </a:lnTo>
                    <a:lnTo>
                      <a:pt x="274" y="473"/>
                    </a:lnTo>
                    <a:lnTo>
                      <a:pt x="272" y="473"/>
                    </a:lnTo>
                    <a:lnTo>
                      <a:pt x="272" y="471"/>
                    </a:lnTo>
                    <a:lnTo>
                      <a:pt x="272" y="473"/>
                    </a:lnTo>
                    <a:lnTo>
                      <a:pt x="272" y="471"/>
                    </a:lnTo>
                    <a:lnTo>
                      <a:pt x="270" y="471"/>
                    </a:lnTo>
                    <a:lnTo>
                      <a:pt x="270" y="469"/>
                    </a:lnTo>
                    <a:lnTo>
                      <a:pt x="272" y="469"/>
                    </a:lnTo>
                    <a:lnTo>
                      <a:pt x="270" y="467"/>
                    </a:lnTo>
                    <a:lnTo>
                      <a:pt x="272" y="469"/>
                    </a:lnTo>
                    <a:lnTo>
                      <a:pt x="274" y="469"/>
                    </a:lnTo>
                    <a:lnTo>
                      <a:pt x="272" y="467"/>
                    </a:lnTo>
                    <a:lnTo>
                      <a:pt x="272" y="465"/>
                    </a:lnTo>
                    <a:lnTo>
                      <a:pt x="274" y="465"/>
                    </a:lnTo>
                    <a:lnTo>
                      <a:pt x="274" y="467"/>
                    </a:lnTo>
                    <a:lnTo>
                      <a:pt x="274" y="465"/>
                    </a:lnTo>
                    <a:lnTo>
                      <a:pt x="276" y="463"/>
                    </a:lnTo>
                    <a:lnTo>
                      <a:pt x="276" y="465"/>
                    </a:lnTo>
                    <a:lnTo>
                      <a:pt x="278" y="465"/>
                    </a:lnTo>
                    <a:lnTo>
                      <a:pt x="280" y="465"/>
                    </a:lnTo>
                    <a:lnTo>
                      <a:pt x="282" y="467"/>
                    </a:lnTo>
                    <a:lnTo>
                      <a:pt x="278" y="463"/>
                    </a:lnTo>
                    <a:lnTo>
                      <a:pt x="280" y="463"/>
                    </a:lnTo>
                    <a:lnTo>
                      <a:pt x="280" y="465"/>
                    </a:lnTo>
                    <a:lnTo>
                      <a:pt x="280" y="463"/>
                    </a:lnTo>
                    <a:lnTo>
                      <a:pt x="278" y="463"/>
                    </a:lnTo>
                    <a:lnTo>
                      <a:pt x="280" y="461"/>
                    </a:lnTo>
                    <a:lnTo>
                      <a:pt x="280" y="463"/>
                    </a:lnTo>
                    <a:lnTo>
                      <a:pt x="282" y="463"/>
                    </a:lnTo>
                    <a:lnTo>
                      <a:pt x="284" y="463"/>
                    </a:lnTo>
                    <a:lnTo>
                      <a:pt x="282" y="463"/>
                    </a:lnTo>
                    <a:lnTo>
                      <a:pt x="280" y="461"/>
                    </a:lnTo>
                    <a:lnTo>
                      <a:pt x="282" y="461"/>
                    </a:lnTo>
                    <a:lnTo>
                      <a:pt x="280" y="461"/>
                    </a:lnTo>
                    <a:lnTo>
                      <a:pt x="282" y="461"/>
                    </a:lnTo>
                    <a:lnTo>
                      <a:pt x="284" y="461"/>
                    </a:lnTo>
                    <a:lnTo>
                      <a:pt x="282" y="461"/>
                    </a:lnTo>
                    <a:lnTo>
                      <a:pt x="284" y="461"/>
                    </a:lnTo>
                    <a:lnTo>
                      <a:pt x="284" y="459"/>
                    </a:lnTo>
                    <a:lnTo>
                      <a:pt x="282" y="459"/>
                    </a:lnTo>
                    <a:lnTo>
                      <a:pt x="284" y="459"/>
                    </a:lnTo>
                    <a:lnTo>
                      <a:pt x="282" y="459"/>
                    </a:lnTo>
                    <a:lnTo>
                      <a:pt x="284" y="459"/>
                    </a:lnTo>
                    <a:lnTo>
                      <a:pt x="284" y="457"/>
                    </a:lnTo>
                    <a:lnTo>
                      <a:pt x="286" y="456"/>
                    </a:lnTo>
                    <a:lnTo>
                      <a:pt x="286" y="457"/>
                    </a:lnTo>
                    <a:lnTo>
                      <a:pt x="286" y="456"/>
                    </a:lnTo>
                    <a:lnTo>
                      <a:pt x="288" y="454"/>
                    </a:lnTo>
                    <a:lnTo>
                      <a:pt x="286" y="454"/>
                    </a:lnTo>
                    <a:lnTo>
                      <a:pt x="284" y="454"/>
                    </a:lnTo>
                    <a:lnTo>
                      <a:pt x="280" y="457"/>
                    </a:lnTo>
                    <a:lnTo>
                      <a:pt x="278" y="459"/>
                    </a:lnTo>
                    <a:lnTo>
                      <a:pt x="280" y="461"/>
                    </a:lnTo>
                    <a:lnTo>
                      <a:pt x="278" y="459"/>
                    </a:lnTo>
                    <a:lnTo>
                      <a:pt x="276" y="459"/>
                    </a:lnTo>
                    <a:lnTo>
                      <a:pt x="272" y="457"/>
                    </a:lnTo>
                    <a:lnTo>
                      <a:pt x="272" y="456"/>
                    </a:lnTo>
                    <a:lnTo>
                      <a:pt x="274" y="446"/>
                    </a:lnTo>
                    <a:lnTo>
                      <a:pt x="280" y="440"/>
                    </a:lnTo>
                    <a:lnTo>
                      <a:pt x="280" y="436"/>
                    </a:lnTo>
                    <a:lnTo>
                      <a:pt x="282" y="435"/>
                    </a:lnTo>
                    <a:lnTo>
                      <a:pt x="282" y="431"/>
                    </a:lnTo>
                    <a:lnTo>
                      <a:pt x="280" y="429"/>
                    </a:lnTo>
                    <a:lnTo>
                      <a:pt x="280" y="425"/>
                    </a:lnTo>
                    <a:lnTo>
                      <a:pt x="282" y="423"/>
                    </a:lnTo>
                    <a:lnTo>
                      <a:pt x="284" y="423"/>
                    </a:lnTo>
                    <a:lnTo>
                      <a:pt x="286" y="421"/>
                    </a:lnTo>
                    <a:lnTo>
                      <a:pt x="291" y="417"/>
                    </a:lnTo>
                    <a:lnTo>
                      <a:pt x="295" y="414"/>
                    </a:lnTo>
                    <a:lnTo>
                      <a:pt x="297" y="417"/>
                    </a:lnTo>
                    <a:lnTo>
                      <a:pt x="299" y="417"/>
                    </a:lnTo>
                    <a:lnTo>
                      <a:pt x="301" y="419"/>
                    </a:lnTo>
                    <a:lnTo>
                      <a:pt x="301" y="417"/>
                    </a:lnTo>
                    <a:lnTo>
                      <a:pt x="303" y="417"/>
                    </a:lnTo>
                    <a:lnTo>
                      <a:pt x="305" y="417"/>
                    </a:lnTo>
                    <a:lnTo>
                      <a:pt x="305" y="415"/>
                    </a:lnTo>
                    <a:lnTo>
                      <a:pt x="307" y="417"/>
                    </a:lnTo>
                    <a:lnTo>
                      <a:pt x="309" y="417"/>
                    </a:lnTo>
                    <a:lnTo>
                      <a:pt x="311" y="417"/>
                    </a:lnTo>
                    <a:lnTo>
                      <a:pt x="311" y="419"/>
                    </a:lnTo>
                    <a:lnTo>
                      <a:pt x="316" y="419"/>
                    </a:lnTo>
                    <a:lnTo>
                      <a:pt x="318" y="421"/>
                    </a:lnTo>
                    <a:lnTo>
                      <a:pt x="316" y="417"/>
                    </a:lnTo>
                    <a:lnTo>
                      <a:pt x="314" y="417"/>
                    </a:lnTo>
                    <a:lnTo>
                      <a:pt x="312" y="417"/>
                    </a:lnTo>
                    <a:lnTo>
                      <a:pt x="311" y="415"/>
                    </a:lnTo>
                    <a:lnTo>
                      <a:pt x="309" y="415"/>
                    </a:lnTo>
                    <a:lnTo>
                      <a:pt x="307" y="415"/>
                    </a:lnTo>
                    <a:lnTo>
                      <a:pt x="305" y="414"/>
                    </a:lnTo>
                    <a:lnTo>
                      <a:pt x="301" y="410"/>
                    </a:lnTo>
                    <a:lnTo>
                      <a:pt x="301" y="408"/>
                    </a:lnTo>
                    <a:lnTo>
                      <a:pt x="303" y="408"/>
                    </a:lnTo>
                    <a:lnTo>
                      <a:pt x="305" y="408"/>
                    </a:lnTo>
                    <a:lnTo>
                      <a:pt x="303" y="408"/>
                    </a:lnTo>
                    <a:lnTo>
                      <a:pt x="305" y="408"/>
                    </a:lnTo>
                    <a:lnTo>
                      <a:pt x="305" y="404"/>
                    </a:lnTo>
                    <a:lnTo>
                      <a:pt x="307" y="404"/>
                    </a:lnTo>
                    <a:lnTo>
                      <a:pt x="307" y="402"/>
                    </a:lnTo>
                    <a:lnTo>
                      <a:pt x="309" y="402"/>
                    </a:lnTo>
                    <a:lnTo>
                      <a:pt x="311" y="402"/>
                    </a:lnTo>
                    <a:lnTo>
                      <a:pt x="312" y="400"/>
                    </a:lnTo>
                    <a:lnTo>
                      <a:pt x="314" y="400"/>
                    </a:lnTo>
                    <a:lnTo>
                      <a:pt x="316" y="400"/>
                    </a:lnTo>
                    <a:lnTo>
                      <a:pt x="316" y="398"/>
                    </a:lnTo>
                    <a:lnTo>
                      <a:pt x="318" y="398"/>
                    </a:lnTo>
                    <a:lnTo>
                      <a:pt x="314" y="398"/>
                    </a:lnTo>
                    <a:lnTo>
                      <a:pt x="316" y="398"/>
                    </a:lnTo>
                    <a:lnTo>
                      <a:pt x="316" y="396"/>
                    </a:lnTo>
                    <a:lnTo>
                      <a:pt x="316" y="395"/>
                    </a:lnTo>
                    <a:lnTo>
                      <a:pt x="316" y="396"/>
                    </a:lnTo>
                    <a:lnTo>
                      <a:pt x="314" y="398"/>
                    </a:lnTo>
                    <a:lnTo>
                      <a:pt x="312" y="398"/>
                    </a:lnTo>
                    <a:lnTo>
                      <a:pt x="309" y="398"/>
                    </a:lnTo>
                    <a:lnTo>
                      <a:pt x="307" y="400"/>
                    </a:lnTo>
                    <a:lnTo>
                      <a:pt x="305" y="402"/>
                    </a:lnTo>
                    <a:lnTo>
                      <a:pt x="303" y="402"/>
                    </a:lnTo>
                    <a:lnTo>
                      <a:pt x="303" y="406"/>
                    </a:lnTo>
                    <a:lnTo>
                      <a:pt x="303" y="408"/>
                    </a:lnTo>
                    <a:lnTo>
                      <a:pt x="299" y="406"/>
                    </a:lnTo>
                    <a:lnTo>
                      <a:pt x="293" y="408"/>
                    </a:lnTo>
                    <a:lnTo>
                      <a:pt x="293" y="406"/>
                    </a:lnTo>
                    <a:lnTo>
                      <a:pt x="293" y="404"/>
                    </a:lnTo>
                    <a:lnTo>
                      <a:pt x="293" y="402"/>
                    </a:lnTo>
                    <a:lnTo>
                      <a:pt x="295" y="402"/>
                    </a:lnTo>
                    <a:lnTo>
                      <a:pt x="293" y="402"/>
                    </a:lnTo>
                    <a:lnTo>
                      <a:pt x="291" y="404"/>
                    </a:lnTo>
                    <a:lnTo>
                      <a:pt x="291" y="402"/>
                    </a:lnTo>
                    <a:lnTo>
                      <a:pt x="291" y="404"/>
                    </a:lnTo>
                    <a:lnTo>
                      <a:pt x="291" y="406"/>
                    </a:lnTo>
                    <a:lnTo>
                      <a:pt x="288" y="408"/>
                    </a:lnTo>
                    <a:lnTo>
                      <a:pt x="288" y="410"/>
                    </a:lnTo>
                    <a:lnTo>
                      <a:pt x="286" y="410"/>
                    </a:lnTo>
                    <a:lnTo>
                      <a:pt x="284" y="414"/>
                    </a:lnTo>
                    <a:lnTo>
                      <a:pt x="282" y="414"/>
                    </a:lnTo>
                    <a:lnTo>
                      <a:pt x="280" y="415"/>
                    </a:lnTo>
                    <a:lnTo>
                      <a:pt x="278" y="415"/>
                    </a:lnTo>
                    <a:lnTo>
                      <a:pt x="274" y="417"/>
                    </a:lnTo>
                    <a:lnTo>
                      <a:pt x="272" y="419"/>
                    </a:lnTo>
                    <a:lnTo>
                      <a:pt x="274" y="425"/>
                    </a:lnTo>
                    <a:lnTo>
                      <a:pt x="272" y="423"/>
                    </a:lnTo>
                    <a:lnTo>
                      <a:pt x="270" y="425"/>
                    </a:lnTo>
                    <a:lnTo>
                      <a:pt x="269" y="427"/>
                    </a:lnTo>
                    <a:lnTo>
                      <a:pt x="269" y="429"/>
                    </a:lnTo>
                    <a:lnTo>
                      <a:pt x="267" y="431"/>
                    </a:lnTo>
                    <a:lnTo>
                      <a:pt x="265" y="431"/>
                    </a:lnTo>
                    <a:lnTo>
                      <a:pt x="265" y="435"/>
                    </a:lnTo>
                    <a:lnTo>
                      <a:pt x="267" y="435"/>
                    </a:lnTo>
                    <a:lnTo>
                      <a:pt x="265" y="436"/>
                    </a:lnTo>
                    <a:lnTo>
                      <a:pt x="263" y="438"/>
                    </a:lnTo>
                    <a:lnTo>
                      <a:pt x="261" y="440"/>
                    </a:lnTo>
                    <a:lnTo>
                      <a:pt x="259" y="440"/>
                    </a:lnTo>
                    <a:lnTo>
                      <a:pt x="257" y="440"/>
                    </a:lnTo>
                    <a:lnTo>
                      <a:pt x="255" y="438"/>
                    </a:lnTo>
                    <a:lnTo>
                      <a:pt x="253" y="438"/>
                    </a:lnTo>
                    <a:lnTo>
                      <a:pt x="255" y="438"/>
                    </a:lnTo>
                    <a:lnTo>
                      <a:pt x="255" y="440"/>
                    </a:lnTo>
                    <a:lnTo>
                      <a:pt x="259" y="442"/>
                    </a:lnTo>
                    <a:lnTo>
                      <a:pt x="259" y="444"/>
                    </a:lnTo>
                    <a:lnTo>
                      <a:pt x="261" y="446"/>
                    </a:lnTo>
                    <a:lnTo>
                      <a:pt x="259" y="448"/>
                    </a:lnTo>
                    <a:lnTo>
                      <a:pt x="259" y="450"/>
                    </a:lnTo>
                    <a:lnTo>
                      <a:pt x="257" y="452"/>
                    </a:lnTo>
                    <a:lnTo>
                      <a:pt x="253" y="452"/>
                    </a:lnTo>
                    <a:lnTo>
                      <a:pt x="251" y="452"/>
                    </a:lnTo>
                    <a:lnTo>
                      <a:pt x="251" y="454"/>
                    </a:lnTo>
                    <a:lnTo>
                      <a:pt x="253" y="454"/>
                    </a:lnTo>
                    <a:lnTo>
                      <a:pt x="255" y="454"/>
                    </a:lnTo>
                    <a:lnTo>
                      <a:pt x="253" y="457"/>
                    </a:lnTo>
                    <a:lnTo>
                      <a:pt x="251" y="457"/>
                    </a:lnTo>
                    <a:lnTo>
                      <a:pt x="251" y="459"/>
                    </a:lnTo>
                    <a:lnTo>
                      <a:pt x="250" y="459"/>
                    </a:lnTo>
                    <a:lnTo>
                      <a:pt x="250" y="457"/>
                    </a:lnTo>
                    <a:lnTo>
                      <a:pt x="250" y="459"/>
                    </a:lnTo>
                    <a:lnTo>
                      <a:pt x="248" y="459"/>
                    </a:lnTo>
                    <a:lnTo>
                      <a:pt x="248" y="457"/>
                    </a:lnTo>
                    <a:lnTo>
                      <a:pt x="250" y="456"/>
                    </a:lnTo>
                    <a:lnTo>
                      <a:pt x="248" y="456"/>
                    </a:lnTo>
                    <a:lnTo>
                      <a:pt x="248" y="454"/>
                    </a:lnTo>
                    <a:lnTo>
                      <a:pt x="248" y="457"/>
                    </a:lnTo>
                    <a:lnTo>
                      <a:pt x="246" y="459"/>
                    </a:lnTo>
                    <a:lnTo>
                      <a:pt x="244" y="457"/>
                    </a:lnTo>
                    <a:lnTo>
                      <a:pt x="244" y="459"/>
                    </a:lnTo>
                    <a:lnTo>
                      <a:pt x="246" y="459"/>
                    </a:lnTo>
                    <a:lnTo>
                      <a:pt x="246" y="461"/>
                    </a:lnTo>
                    <a:lnTo>
                      <a:pt x="242" y="461"/>
                    </a:lnTo>
                    <a:lnTo>
                      <a:pt x="242" y="463"/>
                    </a:lnTo>
                    <a:lnTo>
                      <a:pt x="242" y="461"/>
                    </a:lnTo>
                    <a:lnTo>
                      <a:pt x="240" y="461"/>
                    </a:lnTo>
                    <a:lnTo>
                      <a:pt x="242" y="461"/>
                    </a:lnTo>
                    <a:lnTo>
                      <a:pt x="242" y="463"/>
                    </a:lnTo>
                    <a:lnTo>
                      <a:pt x="244" y="465"/>
                    </a:lnTo>
                    <a:lnTo>
                      <a:pt x="242" y="465"/>
                    </a:lnTo>
                    <a:lnTo>
                      <a:pt x="240" y="465"/>
                    </a:lnTo>
                    <a:lnTo>
                      <a:pt x="240" y="467"/>
                    </a:lnTo>
                    <a:lnTo>
                      <a:pt x="238" y="467"/>
                    </a:lnTo>
                    <a:lnTo>
                      <a:pt x="236" y="467"/>
                    </a:lnTo>
                    <a:lnTo>
                      <a:pt x="236" y="469"/>
                    </a:lnTo>
                    <a:lnTo>
                      <a:pt x="238" y="469"/>
                    </a:lnTo>
                    <a:lnTo>
                      <a:pt x="238" y="467"/>
                    </a:lnTo>
                    <a:lnTo>
                      <a:pt x="240" y="467"/>
                    </a:lnTo>
                    <a:lnTo>
                      <a:pt x="236" y="469"/>
                    </a:lnTo>
                    <a:lnTo>
                      <a:pt x="236" y="473"/>
                    </a:lnTo>
                    <a:lnTo>
                      <a:pt x="234" y="475"/>
                    </a:lnTo>
                    <a:lnTo>
                      <a:pt x="234" y="477"/>
                    </a:lnTo>
                    <a:lnTo>
                      <a:pt x="234" y="475"/>
                    </a:lnTo>
                    <a:lnTo>
                      <a:pt x="236" y="475"/>
                    </a:lnTo>
                    <a:lnTo>
                      <a:pt x="236" y="477"/>
                    </a:lnTo>
                    <a:lnTo>
                      <a:pt x="234" y="477"/>
                    </a:lnTo>
                    <a:lnTo>
                      <a:pt x="236" y="477"/>
                    </a:lnTo>
                    <a:lnTo>
                      <a:pt x="236" y="478"/>
                    </a:lnTo>
                    <a:lnTo>
                      <a:pt x="238" y="477"/>
                    </a:lnTo>
                    <a:lnTo>
                      <a:pt x="240" y="477"/>
                    </a:lnTo>
                    <a:lnTo>
                      <a:pt x="242" y="477"/>
                    </a:lnTo>
                    <a:lnTo>
                      <a:pt x="244" y="477"/>
                    </a:lnTo>
                    <a:lnTo>
                      <a:pt x="244" y="478"/>
                    </a:lnTo>
                    <a:lnTo>
                      <a:pt x="246" y="478"/>
                    </a:lnTo>
                    <a:lnTo>
                      <a:pt x="244" y="478"/>
                    </a:lnTo>
                    <a:lnTo>
                      <a:pt x="246" y="478"/>
                    </a:lnTo>
                    <a:lnTo>
                      <a:pt x="246" y="480"/>
                    </a:lnTo>
                    <a:lnTo>
                      <a:pt x="246" y="478"/>
                    </a:lnTo>
                    <a:lnTo>
                      <a:pt x="248" y="480"/>
                    </a:lnTo>
                    <a:lnTo>
                      <a:pt x="250" y="482"/>
                    </a:lnTo>
                    <a:lnTo>
                      <a:pt x="250" y="484"/>
                    </a:lnTo>
                    <a:lnTo>
                      <a:pt x="250" y="482"/>
                    </a:lnTo>
                    <a:lnTo>
                      <a:pt x="250" y="484"/>
                    </a:lnTo>
                    <a:lnTo>
                      <a:pt x="248" y="484"/>
                    </a:lnTo>
                    <a:lnTo>
                      <a:pt x="248" y="486"/>
                    </a:lnTo>
                    <a:lnTo>
                      <a:pt x="248" y="488"/>
                    </a:lnTo>
                    <a:lnTo>
                      <a:pt x="246" y="488"/>
                    </a:lnTo>
                    <a:lnTo>
                      <a:pt x="246" y="490"/>
                    </a:lnTo>
                    <a:lnTo>
                      <a:pt x="242" y="492"/>
                    </a:lnTo>
                    <a:lnTo>
                      <a:pt x="242" y="490"/>
                    </a:lnTo>
                    <a:lnTo>
                      <a:pt x="244" y="490"/>
                    </a:lnTo>
                    <a:lnTo>
                      <a:pt x="242" y="490"/>
                    </a:lnTo>
                    <a:lnTo>
                      <a:pt x="242" y="488"/>
                    </a:lnTo>
                    <a:lnTo>
                      <a:pt x="242" y="490"/>
                    </a:lnTo>
                    <a:lnTo>
                      <a:pt x="244" y="490"/>
                    </a:lnTo>
                    <a:lnTo>
                      <a:pt x="242" y="492"/>
                    </a:lnTo>
                    <a:lnTo>
                      <a:pt x="240" y="492"/>
                    </a:lnTo>
                    <a:lnTo>
                      <a:pt x="240" y="494"/>
                    </a:lnTo>
                    <a:lnTo>
                      <a:pt x="238" y="496"/>
                    </a:lnTo>
                    <a:lnTo>
                      <a:pt x="236" y="494"/>
                    </a:lnTo>
                    <a:lnTo>
                      <a:pt x="234" y="494"/>
                    </a:lnTo>
                    <a:lnTo>
                      <a:pt x="236" y="494"/>
                    </a:lnTo>
                    <a:lnTo>
                      <a:pt x="236" y="496"/>
                    </a:lnTo>
                    <a:lnTo>
                      <a:pt x="234" y="496"/>
                    </a:lnTo>
                    <a:lnTo>
                      <a:pt x="236" y="496"/>
                    </a:lnTo>
                    <a:lnTo>
                      <a:pt x="238" y="496"/>
                    </a:lnTo>
                    <a:lnTo>
                      <a:pt x="236" y="496"/>
                    </a:lnTo>
                    <a:lnTo>
                      <a:pt x="238" y="498"/>
                    </a:lnTo>
                    <a:lnTo>
                      <a:pt x="236" y="498"/>
                    </a:lnTo>
                    <a:lnTo>
                      <a:pt x="238" y="498"/>
                    </a:lnTo>
                    <a:lnTo>
                      <a:pt x="238" y="499"/>
                    </a:lnTo>
                    <a:lnTo>
                      <a:pt x="236" y="499"/>
                    </a:lnTo>
                    <a:lnTo>
                      <a:pt x="234" y="499"/>
                    </a:lnTo>
                    <a:lnTo>
                      <a:pt x="236" y="499"/>
                    </a:lnTo>
                    <a:lnTo>
                      <a:pt x="234" y="499"/>
                    </a:lnTo>
                    <a:lnTo>
                      <a:pt x="232" y="499"/>
                    </a:lnTo>
                    <a:lnTo>
                      <a:pt x="230" y="499"/>
                    </a:lnTo>
                    <a:lnTo>
                      <a:pt x="232" y="499"/>
                    </a:lnTo>
                    <a:lnTo>
                      <a:pt x="234" y="499"/>
                    </a:lnTo>
                    <a:lnTo>
                      <a:pt x="234" y="501"/>
                    </a:lnTo>
                    <a:lnTo>
                      <a:pt x="232" y="501"/>
                    </a:lnTo>
                    <a:lnTo>
                      <a:pt x="230" y="501"/>
                    </a:lnTo>
                    <a:lnTo>
                      <a:pt x="230" y="499"/>
                    </a:lnTo>
                    <a:lnTo>
                      <a:pt x="230" y="501"/>
                    </a:lnTo>
                    <a:lnTo>
                      <a:pt x="232" y="501"/>
                    </a:lnTo>
                    <a:lnTo>
                      <a:pt x="230" y="503"/>
                    </a:lnTo>
                    <a:lnTo>
                      <a:pt x="230" y="501"/>
                    </a:lnTo>
                    <a:lnTo>
                      <a:pt x="230" y="503"/>
                    </a:lnTo>
                    <a:lnTo>
                      <a:pt x="232" y="503"/>
                    </a:lnTo>
                    <a:lnTo>
                      <a:pt x="232" y="501"/>
                    </a:lnTo>
                    <a:lnTo>
                      <a:pt x="234" y="501"/>
                    </a:lnTo>
                    <a:lnTo>
                      <a:pt x="236" y="499"/>
                    </a:lnTo>
                    <a:lnTo>
                      <a:pt x="236" y="501"/>
                    </a:lnTo>
                    <a:lnTo>
                      <a:pt x="234" y="501"/>
                    </a:lnTo>
                    <a:lnTo>
                      <a:pt x="236" y="503"/>
                    </a:lnTo>
                    <a:lnTo>
                      <a:pt x="234" y="503"/>
                    </a:lnTo>
                    <a:lnTo>
                      <a:pt x="234" y="505"/>
                    </a:lnTo>
                    <a:lnTo>
                      <a:pt x="232" y="505"/>
                    </a:lnTo>
                    <a:lnTo>
                      <a:pt x="234" y="507"/>
                    </a:lnTo>
                    <a:lnTo>
                      <a:pt x="232" y="507"/>
                    </a:lnTo>
                    <a:lnTo>
                      <a:pt x="232" y="505"/>
                    </a:lnTo>
                    <a:lnTo>
                      <a:pt x="230" y="503"/>
                    </a:lnTo>
                    <a:lnTo>
                      <a:pt x="230" y="507"/>
                    </a:lnTo>
                    <a:lnTo>
                      <a:pt x="229" y="505"/>
                    </a:lnTo>
                    <a:lnTo>
                      <a:pt x="229" y="507"/>
                    </a:lnTo>
                    <a:lnTo>
                      <a:pt x="230" y="507"/>
                    </a:lnTo>
                    <a:lnTo>
                      <a:pt x="229" y="507"/>
                    </a:lnTo>
                    <a:lnTo>
                      <a:pt x="230" y="507"/>
                    </a:lnTo>
                    <a:lnTo>
                      <a:pt x="229" y="509"/>
                    </a:lnTo>
                    <a:lnTo>
                      <a:pt x="229" y="507"/>
                    </a:lnTo>
                    <a:lnTo>
                      <a:pt x="227" y="507"/>
                    </a:lnTo>
                    <a:lnTo>
                      <a:pt x="227" y="509"/>
                    </a:lnTo>
                    <a:lnTo>
                      <a:pt x="225" y="509"/>
                    </a:lnTo>
                    <a:lnTo>
                      <a:pt x="223" y="509"/>
                    </a:lnTo>
                    <a:lnTo>
                      <a:pt x="225" y="509"/>
                    </a:lnTo>
                    <a:lnTo>
                      <a:pt x="225" y="505"/>
                    </a:lnTo>
                    <a:lnTo>
                      <a:pt x="225" y="507"/>
                    </a:lnTo>
                    <a:lnTo>
                      <a:pt x="223" y="507"/>
                    </a:lnTo>
                    <a:lnTo>
                      <a:pt x="223" y="505"/>
                    </a:lnTo>
                    <a:lnTo>
                      <a:pt x="223" y="503"/>
                    </a:lnTo>
                    <a:lnTo>
                      <a:pt x="223" y="505"/>
                    </a:lnTo>
                    <a:lnTo>
                      <a:pt x="223" y="503"/>
                    </a:lnTo>
                    <a:lnTo>
                      <a:pt x="223" y="505"/>
                    </a:lnTo>
                    <a:lnTo>
                      <a:pt x="221" y="505"/>
                    </a:lnTo>
                    <a:lnTo>
                      <a:pt x="221" y="507"/>
                    </a:lnTo>
                    <a:lnTo>
                      <a:pt x="223" y="509"/>
                    </a:lnTo>
                    <a:lnTo>
                      <a:pt x="221" y="511"/>
                    </a:lnTo>
                    <a:lnTo>
                      <a:pt x="221" y="513"/>
                    </a:lnTo>
                    <a:lnTo>
                      <a:pt x="221" y="515"/>
                    </a:lnTo>
                    <a:lnTo>
                      <a:pt x="219" y="513"/>
                    </a:lnTo>
                    <a:lnTo>
                      <a:pt x="219" y="515"/>
                    </a:lnTo>
                    <a:lnTo>
                      <a:pt x="219" y="513"/>
                    </a:lnTo>
                    <a:lnTo>
                      <a:pt x="219" y="515"/>
                    </a:lnTo>
                    <a:lnTo>
                      <a:pt x="217" y="515"/>
                    </a:lnTo>
                    <a:lnTo>
                      <a:pt x="217" y="517"/>
                    </a:lnTo>
                    <a:lnTo>
                      <a:pt x="217" y="519"/>
                    </a:lnTo>
                    <a:lnTo>
                      <a:pt x="215" y="517"/>
                    </a:lnTo>
                    <a:lnTo>
                      <a:pt x="213" y="517"/>
                    </a:lnTo>
                    <a:lnTo>
                      <a:pt x="213" y="519"/>
                    </a:lnTo>
                    <a:lnTo>
                      <a:pt x="213" y="520"/>
                    </a:lnTo>
                    <a:lnTo>
                      <a:pt x="211" y="520"/>
                    </a:lnTo>
                    <a:lnTo>
                      <a:pt x="209" y="520"/>
                    </a:lnTo>
                    <a:lnTo>
                      <a:pt x="211" y="520"/>
                    </a:lnTo>
                    <a:lnTo>
                      <a:pt x="211" y="522"/>
                    </a:lnTo>
                    <a:lnTo>
                      <a:pt x="209" y="522"/>
                    </a:lnTo>
                    <a:lnTo>
                      <a:pt x="208" y="524"/>
                    </a:lnTo>
                    <a:lnTo>
                      <a:pt x="208" y="522"/>
                    </a:lnTo>
                    <a:lnTo>
                      <a:pt x="206" y="522"/>
                    </a:lnTo>
                    <a:lnTo>
                      <a:pt x="206" y="524"/>
                    </a:lnTo>
                    <a:lnTo>
                      <a:pt x="206" y="526"/>
                    </a:lnTo>
                    <a:lnTo>
                      <a:pt x="204" y="526"/>
                    </a:lnTo>
                    <a:lnTo>
                      <a:pt x="206" y="524"/>
                    </a:lnTo>
                    <a:lnTo>
                      <a:pt x="204" y="526"/>
                    </a:lnTo>
                    <a:lnTo>
                      <a:pt x="204" y="524"/>
                    </a:lnTo>
                    <a:lnTo>
                      <a:pt x="204" y="526"/>
                    </a:lnTo>
                    <a:lnTo>
                      <a:pt x="202" y="526"/>
                    </a:lnTo>
                    <a:lnTo>
                      <a:pt x="200" y="530"/>
                    </a:lnTo>
                    <a:lnTo>
                      <a:pt x="198" y="530"/>
                    </a:lnTo>
                    <a:lnTo>
                      <a:pt x="196" y="532"/>
                    </a:lnTo>
                    <a:lnTo>
                      <a:pt x="198" y="530"/>
                    </a:lnTo>
                    <a:lnTo>
                      <a:pt x="198" y="532"/>
                    </a:lnTo>
                    <a:lnTo>
                      <a:pt x="202" y="530"/>
                    </a:lnTo>
                    <a:lnTo>
                      <a:pt x="202" y="532"/>
                    </a:lnTo>
                    <a:lnTo>
                      <a:pt x="200" y="532"/>
                    </a:lnTo>
                    <a:lnTo>
                      <a:pt x="200" y="534"/>
                    </a:lnTo>
                    <a:lnTo>
                      <a:pt x="202" y="534"/>
                    </a:lnTo>
                    <a:lnTo>
                      <a:pt x="200" y="536"/>
                    </a:lnTo>
                    <a:lnTo>
                      <a:pt x="198" y="536"/>
                    </a:lnTo>
                    <a:lnTo>
                      <a:pt x="200" y="538"/>
                    </a:lnTo>
                    <a:lnTo>
                      <a:pt x="200" y="536"/>
                    </a:lnTo>
                    <a:lnTo>
                      <a:pt x="198" y="538"/>
                    </a:lnTo>
                    <a:lnTo>
                      <a:pt x="200" y="536"/>
                    </a:lnTo>
                    <a:lnTo>
                      <a:pt x="198" y="536"/>
                    </a:lnTo>
                    <a:lnTo>
                      <a:pt x="198" y="538"/>
                    </a:lnTo>
                    <a:lnTo>
                      <a:pt x="196" y="538"/>
                    </a:lnTo>
                    <a:lnTo>
                      <a:pt x="198" y="540"/>
                    </a:lnTo>
                    <a:lnTo>
                      <a:pt x="196" y="540"/>
                    </a:lnTo>
                    <a:lnTo>
                      <a:pt x="196" y="538"/>
                    </a:lnTo>
                    <a:lnTo>
                      <a:pt x="194" y="538"/>
                    </a:lnTo>
                    <a:lnTo>
                      <a:pt x="194" y="540"/>
                    </a:lnTo>
                    <a:lnTo>
                      <a:pt x="194" y="541"/>
                    </a:lnTo>
                    <a:lnTo>
                      <a:pt x="192" y="540"/>
                    </a:lnTo>
                    <a:lnTo>
                      <a:pt x="192" y="541"/>
                    </a:lnTo>
                    <a:lnTo>
                      <a:pt x="190" y="541"/>
                    </a:lnTo>
                    <a:lnTo>
                      <a:pt x="190" y="543"/>
                    </a:lnTo>
                    <a:lnTo>
                      <a:pt x="188" y="545"/>
                    </a:lnTo>
                    <a:lnTo>
                      <a:pt x="188" y="543"/>
                    </a:lnTo>
                    <a:lnTo>
                      <a:pt x="188" y="545"/>
                    </a:lnTo>
                    <a:lnTo>
                      <a:pt x="187" y="545"/>
                    </a:lnTo>
                    <a:lnTo>
                      <a:pt x="185" y="543"/>
                    </a:lnTo>
                    <a:lnTo>
                      <a:pt x="183" y="543"/>
                    </a:lnTo>
                    <a:lnTo>
                      <a:pt x="183" y="545"/>
                    </a:lnTo>
                    <a:lnTo>
                      <a:pt x="185" y="545"/>
                    </a:lnTo>
                    <a:lnTo>
                      <a:pt x="183" y="547"/>
                    </a:lnTo>
                    <a:lnTo>
                      <a:pt x="183" y="545"/>
                    </a:lnTo>
                    <a:lnTo>
                      <a:pt x="183" y="547"/>
                    </a:lnTo>
                    <a:lnTo>
                      <a:pt x="181" y="547"/>
                    </a:lnTo>
                    <a:lnTo>
                      <a:pt x="181" y="549"/>
                    </a:lnTo>
                    <a:lnTo>
                      <a:pt x="181" y="547"/>
                    </a:lnTo>
                    <a:lnTo>
                      <a:pt x="183" y="549"/>
                    </a:lnTo>
                    <a:lnTo>
                      <a:pt x="183" y="551"/>
                    </a:lnTo>
                    <a:lnTo>
                      <a:pt x="179" y="551"/>
                    </a:lnTo>
                    <a:lnTo>
                      <a:pt x="179" y="549"/>
                    </a:lnTo>
                    <a:lnTo>
                      <a:pt x="177" y="549"/>
                    </a:lnTo>
                    <a:lnTo>
                      <a:pt x="175" y="549"/>
                    </a:lnTo>
                    <a:lnTo>
                      <a:pt x="175" y="551"/>
                    </a:lnTo>
                    <a:lnTo>
                      <a:pt x="173" y="551"/>
                    </a:lnTo>
                    <a:lnTo>
                      <a:pt x="173" y="553"/>
                    </a:lnTo>
                    <a:lnTo>
                      <a:pt x="175" y="553"/>
                    </a:lnTo>
                    <a:lnTo>
                      <a:pt x="177" y="551"/>
                    </a:lnTo>
                    <a:lnTo>
                      <a:pt x="177" y="553"/>
                    </a:lnTo>
                    <a:lnTo>
                      <a:pt x="177" y="555"/>
                    </a:lnTo>
                    <a:lnTo>
                      <a:pt x="175" y="553"/>
                    </a:lnTo>
                    <a:lnTo>
                      <a:pt x="173" y="553"/>
                    </a:lnTo>
                    <a:lnTo>
                      <a:pt x="171" y="553"/>
                    </a:lnTo>
                    <a:lnTo>
                      <a:pt x="173" y="555"/>
                    </a:lnTo>
                    <a:lnTo>
                      <a:pt x="171" y="555"/>
                    </a:lnTo>
                    <a:lnTo>
                      <a:pt x="169" y="555"/>
                    </a:lnTo>
                    <a:lnTo>
                      <a:pt x="168" y="555"/>
                    </a:lnTo>
                    <a:lnTo>
                      <a:pt x="168" y="557"/>
                    </a:lnTo>
                    <a:lnTo>
                      <a:pt x="168" y="559"/>
                    </a:lnTo>
                    <a:lnTo>
                      <a:pt x="166" y="559"/>
                    </a:lnTo>
                    <a:lnTo>
                      <a:pt x="164" y="561"/>
                    </a:lnTo>
                    <a:lnTo>
                      <a:pt x="166" y="561"/>
                    </a:lnTo>
                    <a:lnTo>
                      <a:pt x="164" y="561"/>
                    </a:lnTo>
                    <a:lnTo>
                      <a:pt x="166" y="561"/>
                    </a:lnTo>
                    <a:lnTo>
                      <a:pt x="168" y="559"/>
                    </a:lnTo>
                    <a:lnTo>
                      <a:pt x="168" y="561"/>
                    </a:lnTo>
                    <a:lnTo>
                      <a:pt x="169" y="559"/>
                    </a:lnTo>
                    <a:lnTo>
                      <a:pt x="169" y="561"/>
                    </a:lnTo>
                    <a:lnTo>
                      <a:pt x="169" y="559"/>
                    </a:lnTo>
                    <a:lnTo>
                      <a:pt x="171" y="561"/>
                    </a:lnTo>
                    <a:lnTo>
                      <a:pt x="169" y="561"/>
                    </a:lnTo>
                    <a:lnTo>
                      <a:pt x="168" y="561"/>
                    </a:lnTo>
                    <a:lnTo>
                      <a:pt x="169" y="562"/>
                    </a:lnTo>
                    <a:lnTo>
                      <a:pt x="168" y="562"/>
                    </a:lnTo>
                    <a:lnTo>
                      <a:pt x="169" y="562"/>
                    </a:lnTo>
                    <a:lnTo>
                      <a:pt x="171" y="562"/>
                    </a:lnTo>
                    <a:lnTo>
                      <a:pt x="171" y="561"/>
                    </a:lnTo>
                    <a:lnTo>
                      <a:pt x="173" y="561"/>
                    </a:lnTo>
                    <a:lnTo>
                      <a:pt x="171" y="562"/>
                    </a:lnTo>
                    <a:lnTo>
                      <a:pt x="173" y="562"/>
                    </a:lnTo>
                    <a:lnTo>
                      <a:pt x="171" y="562"/>
                    </a:lnTo>
                    <a:lnTo>
                      <a:pt x="169" y="562"/>
                    </a:lnTo>
                    <a:lnTo>
                      <a:pt x="169" y="564"/>
                    </a:lnTo>
                    <a:lnTo>
                      <a:pt x="169" y="562"/>
                    </a:lnTo>
                    <a:lnTo>
                      <a:pt x="168" y="564"/>
                    </a:lnTo>
                    <a:lnTo>
                      <a:pt x="168" y="566"/>
                    </a:lnTo>
                    <a:lnTo>
                      <a:pt x="168" y="564"/>
                    </a:lnTo>
                    <a:lnTo>
                      <a:pt x="168" y="566"/>
                    </a:lnTo>
                    <a:lnTo>
                      <a:pt x="168" y="568"/>
                    </a:lnTo>
                    <a:lnTo>
                      <a:pt x="168" y="566"/>
                    </a:lnTo>
                    <a:lnTo>
                      <a:pt x="168" y="568"/>
                    </a:lnTo>
                    <a:lnTo>
                      <a:pt x="168" y="566"/>
                    </a:lnTo>
                    <a:lnTo>
                      <a:pt x="168" y="568"/>
                    </a:lnTo>
                    <a:lnTo>
                      <a:pt x="166" y="568"/>
                    </a:lnTo>
                    <a:lnTo>
                      <a:pt x="166" y="566"/>
                    </a:lnTo>
                    <a:lnTo>
                      <a:pt x="168" y="566"/>
                    </a:lnTo>
                    <a:lnTo>
                      <a:pt x="166" y="566"/>
                    </a:lnTo>
                    <a:lnTo>
                      <a:pt x="166" y="564"/>
                    </a:lnTo>
                    <a:lnTo>
                      <a:pt x="168" y="564"/>
                    </a:lnTo>
                    <a:lnTo>
                      <a:pt x="166" y="562"/>
                    </a:lnTo>
                    <a:lnTo>
                      <a:pt x="168" y="562"/>
                    </a:lnTo>
                    <a:lnTo>
                      <a:pt x="166" y="562"/>
                    </a:lnTo>
                    <a:lnTo>
                      <a:pt x="168" y="562"/>
                    </a:lnTo>
                    <a:lnTo>
                      <a:pt x="166" y="562"/>
                    </a:lnTo>
                    <a:lnTo>
                      <a:pt x="164" y="564"/>
                    </a:lnTo>
                    <a:lnTo>
                      <a:pt x="164" y="566"/>
                    </a:lnTo>
                    <a:lnTo>
                      <a:pt x="164" y="568"/>
                    </a:lnTo>
                    <a:lnTo>
                      <a:pt x="164" y="570"/>
                    </a:lnTo>
                    <a:lnTo>
                      <a:pt x="164" y="568"/>
                    </a:lnTo>
                    <a:lnTo>
                      <a:pt x="164" y="570"/>
                    </a:lnTo>
                    <a:lnTo>
                      <a:pt x="164" y="568"/>
                    </a:lnTo>
                    <a:lnTo>
                      <a:pt x="162" y="568"/>
                    </a:lnTo>
                    <a:lnTo>
                      <a:pt x="160" y="568"/>
                    </a:lnTo>
                    <a:lnTo>
                      <a:pt x="160" y="566"/>
                    </a:lnTo>
                    <a:lnTo>
                      <a:pt x="158" y="566"/>
                    </a:lnTo>
                    <a:lnTo>
                      <a:pt x="156" y="564"/>
                    </a:lnTo>
                    <a:lnTo>
                      <a:pt x="158" y="566"/>
                    </a:lnTo>
                    <a:lnTo>
                      <a:pt x="160" y="568"/>
                    </a:lnTo>
                    <a:lnTo>
                      <a:pt x="160" y="570"/>
                    </a:lnTo>
                    <a:lnTo>
                      <a:pt x="158" y="570"/>
                    </a:lnTo>
                    <a:lnTo>
                      <a:pt x="158" y="572"/>
                    </a:lnTo>
                    <a:lnTo>
                      <a:pt x="158" y="570"/>
                    </a:lnTo>
                    <a:lnTo>
                      <a:pt x="156" y="570"/>
                    </a:lnTo>
                    <a:lnTo>
                      <a:pt x="156" y="572"/>
                    </a:lnTo>
                    <a:lnTo>
                      <a:pt x="156" y="570"/>
                    </a:lnTo>
                    <a:lnTo>
                      <a:pt x="154" y="572"/>
                    </a:lnTo>
                    <a:lnTo>
                      <a:pt x="154" y="570"/>
                    </a:lnTo>
                    <a:lnTo>
                      <a:pt x="154" y="572"/>
                    </a:lnTo>
                    <a:lnTo>
                      <a:pt x="152" y="572"/>
                    </a:lnTo>
                    <a:lnTo>
                      <a:pt x="152" y="574"/>
                    </a:lnTo>
                    <a:lnTo>
                      <a:pt x="152" y="572"/>
                    </a:lnTo>
                    <a:lnTo>
                      <a:pt x="152" y="570"/>
                    </a:lnTo>
                    <a:lnTo>
                      <a:pt x="150" y="572"/>
                    </a:lnTo>
                    <a:lnTo>
                      <a:pt x="150" y="574"/>
                    </a:lnTo>
                    <a:lnTo>
                      <a:pt x="150" y="576"/>
                    </a:lnTo>
                    <a:lnTo>
                      <a:pt x="150" y="578"/>
                    </a:lnTo>
                    <a:lnTo>
                      <a:pt x="148" y="580"/>
                    </a:lnTo>
                    <a:lnTo>
                      <a:pt x="147" y="580"/>
                    </a:lnTo>
                    <a:lnTo>
                      <a:pt x="148" y="580"/>
                    </a:lnTo>
                    <a:lnTo>
                      <a:pt x="147" y="580"/>
                    </a:lnTo>
                    <a:lnTo>
                      <a:pt x="148" y="580"/>
                    </a:lnTo>
                    <a:lnTo>
                      <a:pt x="148" y="578"/>
                    </a:lnTo>
                    <a:lnTo>
                      <a:pt x="148" y="576"/>
                    </a:lnTo>
                    <a:lnTo>
                      <a:pt x="148" y="574"/>
                    </a:lnTo>
                    <a:lnTo>
                      <a:pt x="150" y="574"/>
                    </a:lnTo>
                    <a:lnTo>
                      <a:pt x="148" y="572"/>
                    </a:lnTo>
                    <a:lnTo>
                      <a:pt x="148" y="570"/>
                    </a:lnTo>
                    <a:lnTo>
                      <a:pt x="150" y="568"/>
                    </a:lnTo>
                    <a:lnTo>
                      <a:pt x="148" y="570"/>
                    </a:lnTo>
                    <a:lnTo>
                      <a:pt x="148" y="572"/>
                    </a:lnTo>
                    <a:lnTo>
                      <a:pt x="147" y="572"/>
                    </a:lnTo>
                    <a:lnTo>
                      <a:pt x="145" y="572"/>
                    </a:lnTo>
                    <a:lnTo>
                      <a:pt x="145" y="574"/>
                    </a:lnTo>
                    <a:lnTo>
                      <a:pt x="143" y="574"/>
                    </a:lnTo>
                    <a:lnTo>
                      <a:pt x="143" y="576"/>
                    </a:lnTo>
                    <a:lnTo>
                      <a:pt x="141" y="576"/>
                    </a:lnTo>
                    <a:lnTo>
                      <a:pt x="143" y="576"/>
                    </a:lnTo>
                    <a:lnTo>
                      <a:pt x="141" y="576"/>
                    </a:lnTo>
                    <a:lnTo>
                      <a:pt x="141" y="578"/>
                    </a:lnTo>
                    <a:lnTo>
                      <a:pt x="139" y="578"/>
                    </a:lnTo>
                    <a:lnTo>
                      <a:pt x="137" y="578"/>
                    </a:lnTo>
                    <a:lnTo>
                      <a:pt x="135" y="578"/>
                    </a:lnTo>
                    <a:lnTo>
                      <a:pt x="137" y="580"/>
                    </a:lnTo>
                    <a:lnTo>
                      <a:pt x="135" y="580"/>
                    </a:lnTo>
                    <a:lnTo>
                      <a:pt x="137" y="580"/>
                    </a:lnTo>
                    <a:lnTo>
                      <a:pt x="135" y="580"/>
                    </a:lnTo>
                    <a:lnTo>
                      <a:pt x="135" y="581"/>
                    </a:lnTo>
                    <a:lnTo>
                      <a:pt x="135" y="583"/>
                    </a:lnTo>
                    <a:lnTo>
                      <a:pt x="133" y="580"/>
                    </a:lnTo>
                    <a:lnTo>
                      <a:pt x="133" y="581"/>
                    </a:lnTo>
                    <a:lnTo>
                      <a:pt x="131" y="580"/>
                    </a:lnTo>
                    <a:lnTo>
                      <a:pt x="131" y="581"/>
                    </a:lnTo>
                    <a:lnTo>
                      <a:pt x="133" y="581"/>
                    </a:lnTo>
                    <a:lnTo>
                      <a:pt x="133" y="583"/>
                    </a:lnTo>
                    <a:lnTo>
                      <a:pt x="129" y="583"/>
                    </a:lnTo>
                    <a:lnTo>
                      <a:pt x="129" y="581"/>
                    </a:lnTo>
                    <a:lnTo>
                      <a:pt x="127" y="583"/>
                    </a:lnTo>
                    <a:lnTo>
                      <a:pt x="124" y="585"/>
                    </a:lnTo>
                    <a:lnTo>
                      <a:pt x="122" y="585"/>
                    </a:lnTo>
                    <a:lnTo>
                      <a:pt x="120" y="585"/>
                    </a:lnTo>
                    <a:lnTo>
                      <a:pt x="118" y="585"/>
                    </a:lnTo>
                    <a:lnTo>
                      <a:pt x="120" y="583"/>
                    </a:lnTo>
                    <a:lnTo>
                      <a:pt x="122" y="580"/>
                    </a:lnTo>
                    <a:lnTo>
                      <a:pt x="122" y="581"/>
                    </a:lnTo>
                    <a:lnTo>
                      <a:pt x="124" y="581"/>
                    </a:lnTo>
                    <a:lnTo>
                      <a:pt x="126" y="581"/>
                    </a:lnTo>
                    <a:lnTo>
                      <a:pt x="124" y="581"/>
                    </a:lnTo>
                    <a:lnTo>
                      <a:pt x="122" y="580"/>
                    </a:lnTo>
                    <a:lnTo>
                      <a:pt x="120" y="578"/>
                    </a:lnTo>
                    <a:lnTo>
                      <a:pt x="118" y="580"/>
                    </a:lnTo>
                    <a:lnTo>
                      <a:pt x="116" y="580"/>
                    </a:lnTo>
                    <a:lnTo>
                      <a:pt x="118" y="580"/>
                    </a:lnTo>
                    <a:lnTo>
                      <a:pt x="116" y="581"/>
                    </a:lnTo>
                    <a:lnTo>
                      <a:pt x="116" y="583"/>
                    </a:lnTo>
                    <a:lnTo>
                      <a:pt x="116" y="581"/>
                    </a:lnTo>
                    <a:lnTo>
                      <a:pt x="116" y="585"/>
                    </a:lnTo>
                    <a:lnTo>
                      <a:pt x="114" y="589"/>
                    </a:lnTo>
                    <a:lnTo>
                      <a:pt x="112" y="589"/>
                    </a:lnTo>
                    <a:lnTo>
                      <a:pt x="112" y="591"/>
                    </a:lnTo>
                    <a:lnTo>
                      <a:pt x="112" y="589"/>
                    </a:lnTo>
                    <a:lnTo>
                      <a:pt x="112" y="591"/>
                    </a:lnTo>
                    <a:lnTo>
                      <a:pt x="112" y="589"/>
                    </a:lnTo>
                    <a:lnTo>
                      <a:pt x="110" y="589"/>
                    </a:lnTo>
                    <a:lnTo>
                      <a:pt x="110" y="591"/>
                    </a:lnTo>
                    <a:lnTo>
                      <a:pt x="112" y="591"/>
                    </a:lnTo>
                    <a:lnTo>
                      <a:pt x="112" y="593"/>
                    </a:lnTo>
                    <a:lnTo>
                      <a:pt x="110" y="595"/>
                    </a:lnTo>
                    <a:lnTo>
                      <a:pt x="108" y="593"/>
                    </a:lnTo>
                    <a:lnTo>
                      <a:pt x="110" y="591"/>
                    </a:lnTo>
                    <a:lnTo>
                      <a:pt x="108" y="591"/>
                    </a:lnTo>
                    <a:lnTo>
                      <a:pt x="108" y="593"/>
                    </a:lnTo>
                    <a:lnTo>
                      <a:pt x="108" y="595"/>
                    </a:lnTo>
                    <a:lnTo>
                      <a:pt x="106" y="595"/>
                    </a:lnTo>
                    <a:lnTo>
                      <a:pt x="106" y="593"/>
                    </a:lnTo>
                    <a:lnTo>
                      <a:pt x="106" y="595"/>
                    </a:lnTo>
                    <a:lnTo>
                      <a:pt x="105" y="595"/>
                    </a:lnTo>
                    <a:lnTo>
                      <a:pt x="103" y="595"/>
                    </a:lnTo>
                    <a:lnTo>
                      <a:pt x="103" y="593"/>
                    </a:lnTo>
                    <a:lnTo>
                      <a:pt x="105" y="593"/>
                    </a:lnTo>
                    <a:lnTo>
                      <a:pt x="106" y="593"/>
                    </a:lnTo>
                    <a:lnTo>
                      <a:pt x="105" y="593"/>
                    </a:lnTo>
                    <a:lnTo>
                      <a:pt x="103" y="591"/>
                    </a:lnTo>
                    <a:lnTo>
                      <a:pt x="103" y="589"/>
                    </a:lnTo>
                    <a:lnTo>
                      <a:pt x="101" y="589"/>
                    </a:lnTo>
                    <a:lnTo>
                      <a:pt x="103" y="589"/>
                    </a:lnTo>
                    <a:lnTo>
                      <a:pt x="103" y="587"/>
                    </a:lnTo>
                    <a:lnTo>
                      <a:pt x="103" y="589"/>
                    </a:lnTo>
                    <a:lnTo>
                      <a:pt x="103" y="587"/>
                    </a:lnTo>
                    <a:lnTo>
                      <a:pt x="101" y="587"/>
                    </a:lnTo>
                    <a:lnTo>
                      <a:pt x="101" y="589"/>
                    </a:lnTo>
                    <a:lnTo>
                      <a:pt x="99" y="589"/>
                    </a:lnTo>
                    <a:lnTo>
                      <a:pt x="101" y="591"/>
                    </a:lnTo>
                    <a:lnTo>
                      <a:pt x="103" y="593"/>
                    </a:lnTo>
                    <a:lnTo>
                      <a:pt x="101" y="593"/>
                    </a:lnTo>
                    <a:lnTo>
                      <a:pt x="103" y="597"/>
                    </a:lnTo>
                    <a:lnTo>
                      <a:pt x="101" y="595"/>
                    </a:lnTo>
                    <a:lnTo>
                      <a:pt x="101" y="597"/>
                    </a:lnTo>
                    <a:lnTo>
                      <a:pt x="99" y="599"/>
                    </a:lnTo>
                    <a:lnTo>
                      <a:pt x="97" y="599"/>
                    </a:lnTo>
                    <a:lnTo>
                      <a:pt x="95" y="597"/>
                    </a:lnTo>
                    <a:lnTo>
                      <a:pt x="95" y="595"/>
                    </a:lnTo>
                    <a:lnTo>
                      <a:pt x="97" y="597"/>
                    </a:lnTo>
                    <a:lnTo>
                      <a:pt x="97" y="595"/>
                    </a:lnTo>
                    <a:lnTo>
                      <a:pt x="95" y="593"/>
                    </a:lnTo>
                    <a:lnTo>
                      <a:pt x="93" y="593"/>
                    </a:lnTo>
                    <a:lnTo>
                      <a:pt x="91" y="593"/>
                    </a:lnTo>
                    <a:lnTo>
                      <a:pt x="93" y="593"/>
                    </a:lnTo>
                    <a:lnTo>
                      <a:pt x="91" y="593"/>
                    </a:lnTo>
                    <a:lnTo>
                      <a:pt x="91" y="595"/>
                    </a:lnTo>
                    <a:lnTo>
                      <a:pt x="95" y="597"/>
                    </a:lnTo>
                    <a:lnTo>
                      <a:pt x="91" y="601"/>
                    </a:lnTo>
                    <a:lnTo>
                      <a:pt x="89" y="601"/>
                    </a:lnTo>
                    <a:lnTo>
                      <a:pt x="89" y="599"/>
                    </a:lnTo>
                    <a:lnTo>
                      <a:pt x="91" y="599"/>
                    </a:lnTo>
                    <a:lnTo>
                      <a:pt x="89" y="599"/>
                    </a:lnTo>
                    <a:lnTo>
                      <a:pt x="89" y="597"/>
                    </a:lnTo>
                    <a:lnTo>
                      <a:pt x="91" y="599"/>
                    </a:lnTo>
                    <a:lnTo>
                      <a:pt x="91" y="597"/>
                    </a:lnTo>
                    <a:lnTo>
                      <a:pt x="91" y="599"/>
                    </a:lnTo>
                    <a:lnTo>
                      <a:pt x="91" y="597"/>
                    </a:lnTo>
                    <a:lnTo>
                      <a:pt x="91" y="595"/>
                    </a:lnTo>
                    <a:lnTo>
                      <a:pt x="89" y="593"/>
                    </a:lnTo>
                    <a:lnTo>
                      <a:pt x="91" y="593"/>
                    </a:lnTo>
                    <a:lnTo>
                      <a:pt x="89" y="595"/>
                    </a:lnTo>
                    <a:lnTo>
                      <a:pt x="91" y="591"/>
                    </a:lnTo>
                    <a:lnTo>
                      <a:pt x="93" y="591"/>
                    </a:lnTo>
                    <a:lnTo>
                      <a:pt x="95" y="589"/>
                    </a:lnTo>
                    <a:lnTo>
                      <a:pt x="93" y="591"/>
                    </a:lnTo>
                    <a:lnTo>
                      <a:pt x="95" y="591"/>
                    </a:lnTo>
                    <a:lnTo>
                      <a:pt x="97" y="591"/>
                    </a:lnTo>
                    <a:lnTo>
                      <a:pt x="97" y="589"/>
                    </a:lnTo>
                    <a:lnTo>
                      <a:pt x="99" y="587"/>
                    </a:lnTo>
                    <a:lnTo>
                      <a:pt x="101" y="587"/>
                    </a:lnTo>
                    <a:lnTo>
                      <a:pt x="101" y="585"/>
                    </a:lnTo>
                    <a:lnTo>
                      <a:pt x="101" y="587"/>
                    </a:lnTo>
                    <a:lnTo>
                      <a:pt x="101" y="585"/>
                    </a:lnTo>
                    <a:lnTo>
                      <a:pt x="103" y="587"/>
                    </a:lnTo>
                    <a:lnTo>
                      <a:pt x="103" y="585"/>
                    </a:lnTo>
                    <a:lnTo>
                      <a:pt x="105" y="585"/>
                    </a:lnTo>
                    <a:lnTo>
                      <a:pt x="103" y="585"/>
                    </a:lnTo>
                    <a:lnTo>
                      <a:pt x="103" y="583"/>
                    </a:lnTo>
                    <a:lnTo>
                      <a:pt x="101" y="583"/>
                    </a:lnTo>
                    <a:lnTo>
                      <a:pt x="103" y="581"/>
                    </a:lnTo>
                    <a:lnTo>
                      <a:pt x="106" y="576"/>
                    </a:lnTo>
                    <a:lnTo>
                      <a:pt x="108" y="576"/>
                    </a:lnTo>
                    <a:lnTo>
                      <a:pt x="110" y="574"/>
                    </a:lnTo>
                    <a:lnTo>
                      <a:pt x="112" y="574"/>
                    </a:lnTo>
                    <a:lnTo>
                      <a:pt x="114" y="570"/>
                    </a:lnTo>
                    <a:lnTo>
                      <a:pt x="124" y="568"/>
                    </a:lnTo>
                    <a:lnTo>
                      <a:pt x="126" y="568"/>
                    </a:lnTo>
                    <a:lnTo>
                      <a:pt x="124" y="568"/>
                    </a:lnTo>
                    <a:lnTo>
                      <a:pt x="122" y="568"/>
                    </a:lnTo>
                    <a:lnTo>
                      <a:pt x="122" y="570"/>
                    </a:lnTo>
                    <a:lnTo>
                      <a:pt x="122" y="568"/>
                    </a:lnTo>
                    <a:lnTo>
                      <a:pt x="126" y="570"/>
                    </a:lnTo>
                    <a:lnTo>
                      <a:pt x="126" y="568"/>
                    </a:lnTo>
                    <a:lnTo>
                      <a:pt x="126" y="570"/>
                    </a:lnTo>
                    <a:lnTo>
                      <a:pt x="127" y="568"/>
                    </a:lnTo>
                    <a:lnTo>
                      <a:pt x="129" y="568"/>
                    </a:lnTo>
                    <a:lnTo>
                      <a:pt x="129" y="570"/>
                    </a:lnTo>
                    <a:lnTo>
                      <a:pt x="127" y="570"/>
                    </a:lnTo>
                    <a:lnTo>
                      <a:pt x="127" y="572"/>
                    </a:lnTo>
                    <a:lnTo>
                      <a:pt x="127" y="574"/>
                    </a:lnTo>
                    <a:lnTo>
                      <a:pt x="129" y="574"/>
                    </a:lnTo>
                    <a:lnTo>
                      <a:pt x="131" y="576"/>
                    </a:lnTo>
                    <a:lnTo>
                      <a:pt x="129" y="576"/>
                    </a:lnTo>
                    <a:lnTo>
                      <a:pt x="131" y="576"/>
                    </a:lnTo>
                    <a:lnTo>
                      <a:pt x="133" y="576"/>
                    </a:lnTo>
                    <a:lnTo>
                      <a:pt x="131" y="576"/>
                    </a:lnTo>
                    <a:lnTo>
                      <a:pt x="131" y="574"/>
                    </a:lnTo>
                    <a:lnTo>
                      <a:pt x="131" y="572"/>
                    </a:lnTo>
                    <a:lnTo>
                      <a:pt x="133" y="572"/>
                    </a:lnTo>
                    <a:lnTo>
                      <a:pt x="135" y="572"/>
                    </a:lnTo>
                    <a:lnTo>
                      <a:pt x="135" y="574"/>
                    </a:lnTo>
                    <a:lnTo>
                      <a:pt x="137" y="574"/>
                    </a:lnTo>
                    <a:lnTo>
                      <a:pt x="139" y="574"/>
                    </a:lnTo>
                    <a:lnTo>
                      <a:pt x="137" y="574"/>
                    </a:lnTo>
                    <a:lnTo>
                      <a:pt x="139" y="572"/>
                    </a:lnTo>
                    <a:lnTo>
                      <a:pt x="137" y="572"/>
                    </a:lnTo>
                    <a:lnTo>
                      <a:pt x="137" y="570"/>
                    </a:lnTo>
                    <a:lnTo>
                      <a:pt x="135" y="570"/>
                    </a:lnTo>
                    <a:lnTo>
                      <a:pt x="133" y="570"/>
                    </a:lnTo>
                    <a:lnTo>
                      <a:pt x="135" y="570"/>
                    </a:lnTo>
                    <a:lnTo>
                      <a:pt x="135" y="568"/>
                    </a:lnTo>
                    <a:lnTo>
                      <a:pt x="133" y="568"/>
                    </a:lnTo>
                    <a:lnTo>
                      <a:pt x="135" y="564"/>
                    </a:lnTo>
                    <a:lnTo>
                      <a:pt x="137" y="561"/>
                    </a:lnTo>
                    <a:lnTo>
                      <a:pt x="141" y="557"/>
                    </a:lnTo>
                    <a:lnTo>
                      <a:pt x="143" y="557"/>
                    </a:lnTo>
                    <a:lnTo>
                      <a:pt x="147" y="553"/>
                    </a:lnTo>
                    <a:lnTo>
                      <a:pt x="147" y="551"/>
                    </a:lnTo>
                    <a:lnTo>
                      <a:pt x="147" y="553"/>
                    </a:lnTo>
                    <a:lnTo>
                      <a:pt x="145" y="553"/>
                    </a:lnTo>
                    <a:lnTo>
                      <a:pt x="152" y="549"/>
                    </a:lnTo>
                    <a:lnTo>
                      <a:pt x="150" y="551"/>
                    </a:lnTo>
                    <a:lnTo>
                      <a:pt x="150" y="549"/>
                    </a:lnTo>
                    <a:lnTo>
                      <a:pt x="150" y="551"/>
                    </a:lnTo>
                    <a:lnTo>
                      <a:pt x="150" y="549"/>
                    </a:lnTo>
                    <a:lnTo>
                      <a:pt x="152" y="549"/>
                    </a:lnTo>
                    <a:lnTo>
                      <a:pt x="154" y="547"/>
                    </a:lnTo>
                    <a:lnTo>
                      <a:pt x="156" y="547"/>
                    </a:lnTo>
                    <a:lnTo>
                      <a:pt x="154" y="547"/>
                    </a:lnTo>
                    <a:lnTo>
                      <a:pt x="156" y="547"/>
                    </a:lnTo>
                    <a:lnTo>
                      <a:pt x="158" y="545"/>
                    </a:lnTo>
                    <a:lnTo>
                      <a:pt x="156" y="545"/>
                    </a:lnTo>
                    <a:lnTo>
                      <a:pt x="158" y="545"/>
                    </a:lnTo>
                    <a:lnTo>
                      <a:pt x="160" y="543"/>
                    </a:lnTo>
                    <a:lnTo>
                      <a:pt x="162" y="543"/>
                    </a:lnTo>
                    <a:lnTo>
                      <a:pt x="160" y="543"/>
                    </a:lnTo>
                    <a:lnTo>
                      <a:pt x="158" y="545"/>
                    </a:lnTo>
                    <a:lnTo>
                      <a:pt x="160" y="545"/>
                    </a:lnTo>
                    <a:lnTo>
                      <a:pt x="160" y="543"/>
                    </a:lnTo>
                    <a:lnTo>
                      <a:pt x="160" y="545"/>
                    </a:lnTo>
                    <a:lnTo>
                      <a:pt x="162" y="545"/>
                    </a:lnTo>
                    <a:lnTo>
                      <a:pt x="164" y="545"/>
                    </a:lnTo>
                    <a:lnTo>
                      <a:pt x="166" y="545"/>
                    </a:lnTo>
                    <a:lnTo>
                      <a:pt x="164" y="545"/>
                    </a:lnTo>
                    <a:lnTo>
                      <a:pt x="164" y="543"/>
                    </a:lnTo>
                    <a:lnTo>
                      <a:pt x="164" y="541"/>
                    </a:lnTo>
                    <a:lnTo>
                      <a:pt x="164" y="540"/>
                    </a:lnTo>
                    <a:lnTo>
                      <a:pt x="166" y="538"/>
                    </a:lnTo>
                    <a:lnTo>
                      <a:pt x="169" y="532"/>
                    </a:lnTo>
                    <a:lnTo>
                      <a:pt x="171" y="530"/>
                    </a:lnTo>
                    <a:lnTo>
                      <a:pt x="173" y="528"/>
                    </a:lnTo>
                    <a:lnTo>
                      <a:pt x="173" y="530"/>
                    </a:lnTo>
                    <a:lnTo>
                      <a:pt x="175" y="530"/>
                    </a:lnTo>
                    <a:lnTo>
                      <a:pt x="173" y="528"/>
                    </a:lnTo>
                    <a:lnTo>
                      <a:pt x="175" y="528"/>
                    </a:lnTo>
                    <a:lnTo>
                      <a:pt x="175" y="524"/>
                    </a:lnTo>
                    <a:lnTo>
                      <a:pt x="179" y="522"/>
                    </a:lnTo>
                    <a:lnTo>
                      <a:pt x="181" y="524"/>
                    </a:lnTo>
                    <a:lnTo>
                      <a:pt x="181" y="526"/>
                    </a:lnTo>
                    <a:lnTo>
                      <a:pt x="181" y="524"/>
                    </a:lnTo>
                    <a:lnTo>
                      <a:pt x="181" y="526"/>
                    </a:lnTo>
                    <a:lnTo>
                      <a:pt x="183" y="524"/>
                    </a:lnTo>
                    <a:lnTo>
                      <a:pt x="183" y="526"/>
                    </a:lnTo>
                    <a:lnTo>
                      <a:pt x="185" y="524"/>
                    </a:lnTo>
                    <a:lnTo>
                      <a:pt x="183" y="524"/>
                    </a:lnTo>
                    <a:lnTo>
                      <a:pt x="181" y="524"/>
                    </a:lnTo>
                    <a:lnTo>
                      <a:pt x="181" y="522"/>
                    </a:lnTo>
                    <a:lnTo>
                      <a:pt x="179" y="520"/>
                    </a:lnTo>
                    <a:lnTo>
                      <a:pt x="179" y="519"/>
                    </a:lnTo>
                    <a:lnTo>
                      <a:pt x="181" y="513"/>
                    </a:lnTo>
                    <a:lnTo>
                      <a:pt x="181" y="505"/>
                    </a:lnTo>
                    <a:lnTo>
                      <a:pt x="183" y="505"/>
                    </a:lnTo>
                    <a:lnTo>
                      <a:pt x="183" y="503"/>
                    </a:lnTo>
                    <a:lnTo>
                      <a:pt x="183" y="505"/>
                    </a:lnTo>
                    <a:lnTo>
                      <a:pt x="185" y="505"/>
                    </a:lnTo>
                    <a:lnTo>
                      <a:pt x="185" y="503"/>
                    </a:lnTo>
                    <a:lnTo>
                      <a:pt x="187" y="503"/>
                    </a:lnTo>
                    <a:lnTo>
                      <a:pt x="185" y="503"/>
                    </a:lnTo>
                    <a:lnTo>
                      <a:pt x="185" y="501"/>
                    </a:lnTo>
                    <a:lnTo>
                      <a:pt x="185" y="503"/>
                    </a:lnTo>
                    <a:lnTo>
                      <a:pt x="183" y="503"/>
                    </a:lnTo>
                    <a:lnTo>
                      <a:pt x="183" y="501"/>
                    </a:lnTo>
                    <a:lnTo>
                      <a:pt x="183" y="499"/>
                    </a:lnTo>
                    <a:lnTo>
                      <a:pt x="183" y="498"/>
                    </a:lnTo>
                    <a:lnTo>
                      <a:pt x="183" y="494"/>
                    </a:lnTo>
                    <a:lnTo>
                      <a:pt x="185" y="494"/>
                    </a:lnTo>
                    <a:lnTo>
                      <a:pt x="188" y="490"/>
                    </a:lnTo>
                    <a:lnTo>
                      <a:pt x="188" y="488"/>
                    </a:lnTo>
                    <a:lnTo>
                      <a:pt x="190" y="488"/>
                    </a:lnTo>
                    <a:lnTo>
                      <a:pt x="190" y="486"/>
                    </a:lnTo>
                    <a:lnTo>
                      <a:pt x="190" y="484"/>
                    </a:lnTo>
                    <a:lnTo>
                      <a:pt x="190" y="482"/>
                    </a:lnTo>
                    <a:lnTo>
                      <a:pt x="192" y="482"/>
                    </a:lnTo>
                    <a:lnTo>
                      <a:pt x="190" y="482"/>
                    </a:lnTo>
                    <a:lnTo>
                      <a:pt x="190" y="480"/>
                    </a:lnTo>
                    <a:lnTo>
                      <a:pt x="192" y="478"/>
                    </a:lnTo>
                    <a:lnTo>
                      <a:pt x="194" y="478"/>
                    </a:lnTo>
                    <a:lnTo>
                      <a:pt x="192" y="478"/>
                    </a:lnTo>
                    <a:lnTo>
                      <a:pt x="192" y="477"/>
                    </a:lnTo>
                    <a:lnTo>
                      <a:pt x="194" y="475"/>
                    </a:lnTo>
                    <a:lnTo>
                      <a:pt x="194" y="473"/>
                    </a:lnTo>
                    <a:lnTo>
                      <a:pt x="192" y="477"/>
                    </a:lnTo>
                    <a:lnTo>
                      <a:pt x="192" y="478"/>
                    </a:lnTo>
                    <a:lnTo>
                      <a:pt x="190" y="478"/>
                    </a:lnTo>
                    <a:lnTo>
                      <a:pt x="190" y="480"/>
                    </a:lnTo>
                    <a:lnTo>
                      <a:pt x="190" y="482"/>
                    </a:lnTo>
                    <a:lnTo>
                      <a:pt x="188" y="482"/>
                    </a:lnTo>
                    <a:lnTo>
                      <a:pt x="187" y="484"/>
                    </a:lnTo>
                    <a:lnTo>
                      <a:pt x="185" y="484"/>
                    </a:lnTo>
                    <a:lnTo>
                      <a:pt x="181" y="486"/>
                    </a:lnTo>
                    <a:lnTo>
                      <a:pt x="179" y="488"/>
                    </a:lnTo>
                    <a:lnTo>
                      <a:pt x="173" y="490"/>
                    </a:lnTo>
                    <a:lnTo>
                      <a:pt x="171" y="492"/>
                    </a:lnTo>
                    <a:lnTo>
                      <a:pt x="169" y="490"/>
                    </a:lnTo>
                    <a:lnTo>
                      <a:pt x="169" y="486"/>
                    </a:lnTo>
                    <a:lnTo>
                      <a:pt x="166" y="484"/>
                    </a:lnTo>
                    <a:lnTo>
                      <a:pt x="168" y="484"/>
                    </a:lnTo>
                    <a:lnTo>
                      <a:pt x="168" y="480"/>
                    </a:lnTo>
                    <a:lnTo>
                      <a:pt x="168" y="478"/>
                    </a:lnTo>
                    <a:lnTo>
                      <a:pt x="169" y="478"/>
                    </a:lnTo>
                    <a:lnTo>
                      <a:pt x="171" y="478"/>
                    </a:lnTo>
                    <a:lnTo>
                      <a:pt x="173" y="480"/>
                    </a:lnTo>
                    <a:lnTo>
                      <a:pt x="173" y="482"/>
                    </a:lnTo>
                    <a:lnTo>
                      <a:pt x="175" y="482"/>
                    </a:lnTo>
                    <a:lnTo>
                      <a:pt x="173" y="482"/>
                    </a:lnTo>
                    <a:lnTo>
                      <a:pt x="175" y="482"/>
                    </a:lnTo>
                    <a:lnTo>
                      <a:pt x="173" y="482"/>
                    </a:lnTo>
                    <a:lnTo>
                      <a:pt x="175" y="482"/>
                    </a:lnTo>
                    <a:lnTo>
                      <a:pt x="173" y="480"/>
                    </a:lnTo>
                    <a:lnTo>
                      <a:pt x="173" y="478"/>
                    </a:lnTo>
                    <a:lnTo>
                      <a:pt x="168" y="477"/>
                    </a:lnTo>
                    <a:lnTo>
                      <a:pt x="168" y="478"/>
                    </a:lnTo>
                    <a:lnTo>
                      <a:pt x="166" y="478"/>
                    </a:lnTo>
                    <a:lnTo>
                      <a:pt x="166" y="482"/>
                    </a:lnTo>
                    <a:lnTo>
                      <a:pt x="164" y="482"/>
                    </a:lnTo>
                    <a:lnTo>
                      <a:pt x="162" y="482"/>
                    </a:lnTo>
                    <a:lnTo>
                      <a:pt x="164" y="482"/>
                    </a:lnTo>
                    <a:lnTo>
                      <a:pt x="162" y="482"/>
                    </a:lnTo>
                    <a:lnTo>
                      <a:pt x="162" y="484"/>
                    </a:lnTo>
                    <a:lnTo>
                      <a:pt x="162" y="486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60" y="486"/>
                    </a:lnTo>
                    <a:lnTo>
                      <a:pt x="162" y="494"/>
                    </a:lnTo>
                    <a:lnTo>
                      <a:pt x="164" y="496"/>
                    </a:lnTo>
                    <a:lnTo>
                      <a:pt x="164" y="494"/>
                    </a:lnTo>
                    <a:lnTo>
                      <a:pt x="162" y="498"/>
                    </a:lnTo>
                    <a:lnTo>
                      <a:pt x="160" y="498"/>
                    </a:lnTo>
                    <a:lnTo>
                      <a:pt x="158" y="498"/>
                    </a:lnTo>
                    <a:lnTo>
                      <a:pt x="158" y="496"/>
                    </a:lnTo>
                    <a:lnTo>
                      <a:pt x="158" y="494"/>
                    </a:lnTo>
                    <a:lnTo>
                      <a:pt x="158" y="496"/>
                    </a:lnTo>
                    <a:lnTo>
                      <a:pt x="158" y="494"/>
                    </a:lnTo>
                    <a:lnTo>
                      <a:pt x="156" y="494"/>
                    </a:lnTo>
                    <a:lnTo>
                      <a:pt x="158" y="496"/>
                    </a:lnTo>
                    <a:lnTo>
                      <a:pt x="154" y="488"/>
                    </a:lnTo>
                    <a:lnTo>
                      <a:pt x="150" y="484"/>
                    </a:lnTo>
                    <a:lnTo>
                      <a:pt x="148" y="484"/>
                    </a:lnTo>
                    <a:lnTo>
                      <a:pt x="150" y="482"/>
                    </a:lnTo>
                    <a:lnTo>
                      <a:pt x="148" y="480"/>
                    </a:lnTo>
                    <a:lnTo>
                      <a:pt x="147" y="482"/>
                    </a:lnTo>
                    <a:lnTo>
                      <a:pt x="147" y="484"/>
                    </a:lnTo>
                    <a:lnTo>
                      <a:pt x="145" y="486"/>
                    </a:lnTo>
                    <a:lnTo>
                      <a:pt x="143" y="484"/>
                    </a:lnTo>
                    <a:lnTo>
                      <a:pt x="143" y="482"/>
                    </a:lnTo>
                    <a:lnTo>
                      <a:pt x="141" y="482"/>
                    </a:lnTo>
                    <a:lnTo>
                      <a:pt x="141" y="484"/>
                    </a:lnTo>
                    <a:lnTo>
                      <a:pt x="141" y="482"/>
                    </a:lnTo>
                    <a:lnTo>
                      <a:pt x="139" y="482"/>
                    </a:lnTo>
                    <a:lnTo>
                      <a:pt x="139" y="480"/>
                    </a:lnTo>
                    <a:lnTo>
                      <a:pt x="137" y="480"/>
                    </a:lnTo>
                    <a:lnTo>
                      <a:pt x="139" y="480"/>
                    </a:lnTo>
                    <a:lnTo>
                      <a:pt x="139" y="478"/>
                    </a:lnTo>
                    <a:lnTo>
                      <a:pt x="137" y="477"/>
                    </a:lnTo>
                    <a:lnTo>
                      <a:pt x="139" y="477"/>
                    </a:lnTo>
                    <a:lnTo>
                      <a:pt x="137" y="477"/>
                    </a:lnTo>
                    <a:lnTo>
                      <a:pt x="135" y="478"/>
                    </a:lnTo>
                    <a:lnTo>
                      <a:pt x="131" y="482"/>
                    </a:lnTo>
                    <a:lnTo>
                      <a:pt x="129" y="484"/>
                    </a:lnTo>
                    <a:lnTo>
                      <a:pt x="129" y="482"/>
                    </a:lnTo>
                    <a:lnTo>
                      <a:pt x="127" y="482"/>
                    </a:lnTo>
                    <a:lnTo>
                      <a:pt x="124" y="486"/>
                    </a:lnTo>
                    <a:lnTo>
                      <a:pt x="122" y="486"/>
                    </a:lnTo>
                    <a:lnTo>
                      <a:pt x="122" y="488"/>
                    </a:lnTo>
                    <a:lnTo>
                      <a:pt x="122" y="490"/>
                    </a:lnTo>
                    <a:lnTo>
                      <a:pt x="122" y="488"/>
                    </a:lnTo>
                    <a:lnTo>
                      <a:pt x="122" y="490"/>
                    </a:lnTo>
                    <a:lnTo>
                      <a:pt x="118" y="490"/>
                    </a:lnTo>
                    <a:lnTo>
                      <a:pt x="118" y="492"/>
                    </a:lnTo>
                    <a:lnTo>
                      <a:pt x="116" y="494"/>
                    </a:lnTo>
                    <a:lnTo>
                      <a:pt x="114" y="494"/>
                    </a:lnTo>
                    <a:lnTo>
                      <a:pt x="114" y="492"/>
                    </a:lnTo>
                    <a:lnTo>
                      <a:pt x="116" y="492"/>
                    </a:lnTo>
                    <a:lnTo>
                      <a:pt x="116" y="490"/>
                    </a:lnTo>
                    <a:lnTo>
                      <a:pt x="114" y="490"/>
                    </a:lnTo>
                    <a:lnTo>
                      <a:pt x="116" y="492"/>
                    </a:lnTo>
                    <a:lnTo>
                      <a:pt x="114" y="492"/>
                    </a:lnTo>
                    <a:lnTo>
                      <a:pt x="114" y="490"/>
                    </a:lnTo>
                    <a:lnTo>
                      <a:pt x="114" y="492"/>
                    </a:lnTo>
                    <a:lnTo>
                      <a:pt x="114" y="490"/>
                    </a:lnTo>
                    <a:lnTo>
                      <a:pt x="112" y="490"/>
                    </a:lnTo>
                    <a:lnTo>
                      <a:pt x="110" y="490"/>
                    </a:lnTo>
                    <a:lnTo>
                      <a:pt x="108" y="490"/>
                    </a:lnTo>
                    <a:lnTo>
                      <a:pt x="110" y="490"/>
                    </a:lnTo>
                    <a:lnTo>
                      <a:pt x="112" y="488"/>
                    </a:lnTo>
                    <a:lnTo>
                      <a:pt x="112" y="490"/>
                    </a:lnTo>
                    <a:lnTo>
                      <a:pt x="114" y="490"/>
                    </a:lnTo>
                    <a:lnTo>
                      <a:pt x="114" y="488"/>
                    </a:lnTo>
                    <a:lnTo>
                      <a:pt x="114" y="490"/>
                    </a:lnTo>
                    <a:lnTo>
                      <a:pt x="114" y="488"/>
                    </a:lnTo>
                    <a:lnTo>
                      <a:pt x="114" y="486"/>
                    </a:lnTo>
                    <a:lnTo>
                      <a:pt x="116" y="486"/>
                    </a:lnTo>
                    <a:lnTo>
                      <a:pt x="116" y="484"/>
                    </a:lnTo>
                    <a:lnTo>
                      <a:pt x="114" y="486"/>
                    </a:lnTo>
                    <a:lnTo>
                      <a:pt x="116" y="484"/>
                    </a:lnTo>
                    <a:lnTo>
                      <a:pt x="114" y="480"/>
                    </a:lnTo>
                    <a:lnTo>
                      <a:pt x="114" y="478"/>
                    </a:lnTo>
                    <a:lnTo>
                      <a:pt x="116" y="478"/>
                    </a:lnTo>
                    <a:lnTo>
                      <a:pt x="118" y="477"/>
                    </a:lnTo>
                    <a:lnTo>
                      <a:pt x="120" y="475"/>
                    </a:lnTo>
                    <a:lnTo>
                      <a:pt x="118" y="475"/>
                    </a:lnTo>
                    <a:lnTo>
                      <a:pt x="118" y="477"/>
                    </a:lnTo>
                    <a:lnTo>
                      <a:pt x="118" y="475"/>
                    </a:lnTo>
                    <a:lnTo>
                      <a:pt x="116" y="477"/>
                    </a:lnTo>
                    <a:lnTo>
                      <a:pt x="114" y="475"/>
                    </a:lnTo>
                    <a:lnTo>
                      <a:pt x="112" y="477"/>
                    </a:lnTo>
                    <a:lnTo>
                      <a:pt x="114" y="477"/>
                    </a:lnTo>
                    <a:lnTo>
                      <a:pt x="112" y="477"/>
                    </a:lnTo>
                    <a:lnTo>
                      <a:pt x="112" y="475"/>
                    </a:lnTo>
                    <a:lnTo>
                      <a:pt x="110" y="473"/>
                    </a:lnTo>
                    <a:lnTo>
                      <a:pt x="110" y="471"/>
                    </a:lnTo>
                    <a:lnTo>
                      <a:pt x="112" y="469"/>
                    </a:lnTo>
                    <a:lnTo>
                      <a:pt x="110" y="471"/>
                    </a:lnTo>
                    <a:lnTo>
                      <a:pt x="110" y="473"/>
                    </a:lnTo>
                    <a:lnTo>
                      <a:pt x="112" y="471"/>
                    </a:lnTo>
                    <a:lnTo>
                      <a:pt x="112" y="467"/>
                    </a:lnTo>
                    <a:lnTo>
                      <a:pt x="114" y="465"/>
                    </a:lnTo>
                    <a:lnTo>
                      <a:pt x="114" y="467"/>
                    </a:lnTo>
                    <a:lnTo>
                      <a:pt x="114" y="465"/>
                    </a:lnTo>
                    <a:lnTo>
                      <a:pt x="116" y="465"/>
                    </a:lnTo>
                    <a:lnTo>
                      <a:pt x="116" y="463"/>
                    </a:lnTo>
                    <a:lnTo>
                      <a:pt x="114" y="459"/>
                    </a:lnTo>
                    <a:lnTo>
                      <a:pt x="112" y="457"/>
                    </a:lnTo>
                    <a:lnTo>
                      <a:pt x="112" y="454"/>
                    </a:lnTo>
                    <a:lnTo>
                      <a:pt x="110" y="452"/>
                    </a:lnTo>
                    <a:lnTo>
                      <a:pt x="110" y="450"/>
                    </a:lnTo>
                    <a:lnTo>
                      <a:pt x="108" y="446"/>
                    </a:lnTo>
                    <a:lnTo>
                      <a:pt x="106" y="444"/>
                    </a:lnTo>
                    <a:lnTo>
                      <a:pt x="108" y="444"/>
                    </a:lnTo>
                    <a:lnTo>
                      <a:pt x="106" y="442"/>
                    </a:lnTo>
                    <a:lnTo>
                      <a:pt x="108" y="440"/>
                    </a:lnTo>
                    <a:lnTo>
                      <a:pt x="106" y="440"/>
                    </a:lnTo>
                    <a:lnTo>
                      <a:pt x="105" y="438"/>
                    </a:lnTo>
                    <a:lnTo>
                      <a:pt x="105" y="440"/>
                    </a:lnTo>
                    <a:lnTo>
                      <a:pt x="105" y="438"/>
                    </a:lnTo>
                    <a:lnTo>
                      <a:pt x="105" y="440"/>
                    </a:lnTo>
                    <a:lnTo>
                      <a:pt x="105" y="438"/>
                    </a:lnTo>
                    <a:lnTo>
                      <a:pt x="106" y="436"/>
                    </a:lnTo>
                    <a:lnTo>
                      <a:pt x="106" y="433"/>
                    </a:lnTo>
                    <a:lnTo>
                      <a:pt x="108" y="431"/>
                    </a:lnTo>
                    <a:lnTo>
                      <a:pt x="108" y="429"/>
                    </a:lnTo>
                    <a:lnTo>
                      <a:pt x="110" y="429"/>
                    </a:lnTo>
                    <a:lnTo>
                      <a:pt x="110" y="427"/>
                    </a:lnTo>
                    <a:lnTo>
                      <a:pt x="110" y="429"/>
                    </a:lnTo>
                    <a:lnTo>
                      <a:pt x="110" y="427"/>
                    </a:lnTo>
                    <a:lnTo>
                      <a:pt x="110" y="425"/>
                    </a:lnTo>
                    <a:lnTo>
                      <a:pt x="108" y="425"/>
                    </a:lnTo>
                    <a:lnTo>
                      <a:pt x="108" y="423"/>
                    </a:lnTo>
                    <a:lnTo>
                      <a:pt x="108" y="425"/>
                    </a:lnTo>
                    <a:lnTo>
                      <a:pt x="110" y="425"/>
                    </a:lnTo>
                    <a:lnTo>
                      <a:pt x="108" y="427"/>
                    </a:lnTo>
                    <a:lnTo>
                      <a:pt x="106" y="429"/>
                    </a:lnTo>
                    <a:lnTo>
                      <a:pt x="106" y="433"/>
                    </a:lnTo>
                    <a:lnTo>
                      <a:pt x="105" y="433"/>
                    </a:lnTo>
                    <a:lnTo>
                      <a:pt x="105" y="435"/>
                    </a:lnTo>
                    <a:lnTo>
                      <a:pt x="105" y="436"/>
                    </a:lnTo>
                    <a:lnTo>
                      <a:pt x="103" y="436"/>
                    </a:lnTo>
                    <a:lnTo>
                      <a:pt x="101" y="436"/>
                    </a:lnTo>
                    <a:lnTo>
                      <a:pt x="101" y="438"/>
                    </a:lnTo>
                    <a:lnTo>
                      <a:pt x="103" y="438"/>
                    </a:lnTo>
                    <a:lnTo>
                      <a:pt x="101" y="438"/>
                    </a:lnTo>
                    <a:lnTo>
                      <a:pt x="101" y="440"/>
                    </a:lnTo>
                    <a:lnTo>
                      <a:pt x="103" y="440"/>
                    </a:lnTo>
                    <a:lnTo>
                      <a:pt x="103" y="442"/>
                    </a:lnTo>
                    <a:lnTo>
                      <a:pt x="105" y="442"/>
                    </a:lnTo>
                    <a:lnTo>
                      <a:pt x="103" y="444"/>
                    </a:lnTo>
                    <a:lnTo>
                      <a:pt x="103" y="446"/>
                    </a:lnTo>
                    <a:lnTo>
                      <a:pt x="103" y="448"/>
                    </a:lnTo>
                    <a:lnTo>
                      <a:pt x="101" y="448"/>
                    </a:lnTo>
                    <a:lnTo>
                      <a:pt x="99" y="448"/>
                    </a:lnTo>
                    <a:lnTo>
                      <a:pt x="101" y="448"/>
                    </a:lnTo>
                    <a:lnTo>
                      <a:pt x="99" y="448"/>
                    </a:lnTo>
                    <a:lnTo>
                      <a:pt x="99" y="446"/>
                    </a:lnTo>
                    <a:lnTo>
                      <a:pt x="101" y="448"/>
                    </a:lnTo>
                    <a:lnTo>
                      <a:pt x="101" y="446"/>
                    </a:lnTo>
                    <a:lnTo>
                      <a:pt x="101" y="448"/>
                    </a:lnTo>
                    <a:lnTo>
                      <a:pt x="99" y="446"/>
                    </a:lnTo>
                    <a:lnTo>
                      <a:pt x="99" y="448"/>
                    </a:lnTo>
                    <a:lnTo>
                      <a:pt x="101" y="448"/>
                    </a:lnTo>
                    <a:lnTo>
                      <a:pt x="99" y="448"/>
                    </a:lnTo>
                    <a:lnTo>
                      <a:pt x="99" y="450"/>
                    </a:lnTo>
                    <a:lnTo>
                      <a:pt x="97" y="450"/>
                    </a:lnTo>
                    <a:lnTo>
                      <a:pt x="95" y="452"/>
                    </a:lnTo>
                    <a:lnTo>
                      <a:pt x="93" y="452"/>
                    </a:lnTo>
                    <a:lnTo>
                      <a:pt x="89" y="454"/>
                    </a:lnTo>
                    <a:lnTo>
                      <a:pt x="84" y="454"/>
                    </a:lnTo>
                    <a:lnTo>
                      <a:pt x="78" y="454"/>
                    </a:lnTo>
                    <a:lnTo>
                      <a:pt x="78" y="452"/>
                    </a:lnTo>
                    <a:lnTo>
                      <a:pt x="76" y="450"/>
                    </a:lnTo>
                    <a:lnTo>
                      <a:pt x="78" y="448"/>
                    </a:lnTo>
                    <a:lnTo>
                      <a:pt x="76" y="446"/>
                    </a:lnTo>
                    <a:lnTo>
                      <a:pt x="74" y="446"/>
                    </a:lnTo>
                    <a:lnTo>
                      <a:pt x="70" y="442"/>
                    </a:lnTo>
                    <a:lnTo>
                      <a:pt x="68" y="440"/>
                    </a:lnTo>
                    <a:lnTo>
                      <a:pt x="68" y="438"/>
                    </a:lnTo>
                    <a:lnTo>
                      <a:pt x="70" y="436"/>
                    </a:lnTo>
                    <a:lnTo>
                      <a:pt x="70" y="435"/>
                    </a:lnTo>
                    <a:lnTo>
                      <a:pt x="70" y="433"/>
                    </a:lnTo>
                    <a:lnTo>
                      <a:pt x="72" y="433"/>
                    </a:lnTo>
                    <a:lnTo>
                      <a:pt x="72" y="431"/>
                    </a:lnTo>
                    <a:lnTo>
                      <a:pt x="72" y="429"/>
                    </a:lnTo>
                    <a:lnTo>
                      <a:pt x="74" y="431"/>
                    </a:lnTo>
                    <a:lnTo>
                      <a:pt x="76" y="427"/>
                    </a:lnTo>
                    <a:lnTo>
                      <a:pt x="78" y="427"/>
                    </a:lnTo>
                    <a:lnTo>
                      <a:pt x="78" y="425"/>
                    </a:lnTo>
                    <a:lnTo>
                      <a:pt x="80" y="423"/>
                    </a:lnTo>
                    <a:lnTo>
                      <a:pt x="82" y="423"/>
                    </a:lnTo>
                    <a:lnTo>
                      <a:pt x="84" y="423"/>
                    </a:lnTo>
                    <a:lnTo>
                      <a:pt x="84" y="425"/>
                    </a:lnTo>
                    <a:lnTo>
                      <a:pt x="82" y="425"/>
                    </a:lnTo>
                    <a:lnTo>
                      <a:pt x="84" y="427"/>
                    </a:lnTo>
                    <a:lnTo>
                      <a:pt x="82" y="427"/>
                    </a:lnTo>
                    <a:lnTo>
                      <a:pt x="84" y="429"/>
                    </a:lnTo>
                    <a:lnTo>
                      <a:pt x="86" y="429"/>
                    </a:lnTo>
                    <a:lnTo>
                      <a:pt x="87" y="427"/>
                    </a:lnTo>
                    <a:lnTo>
                      <a:pt x="89" y="425"/>
                    </a:lnTo>
                    <a:lnTo>
                      <a:pt x="87" y="421"/>
                    </a:lnTo>
                    <a:lnTo>
                      <a:pt x="84" y="421"/>
                    </a:lnTo>
                    <a:lnTo>
                      <a:pt x="82" y="421"/>
                    </a:lnTo>
                    <a:lnTo>
                      <a:pt x="78" y="419"/>
                    </a:lnTo>
                    <a:lnTo>
                      <a:pt x="76" y="419"/>
                    </a:lnTo>
                    <a:lnTo>
                      <a:pt x="74" y="419"/>
                    </a:lnTo>
                    <a:lnTo>
                      <a:pt x="70" y="421"/>
                    </a:lnTo>
                    <a:lnTo>
                      <a:pt x="70" y="419"/>
                    </a:lnTo>
                    <a:lnTo>
                      <a:pt x="70" y="417"/>
                    </a:lnTo>
                    <a:lnTo>
                      <a:pt x="68" y="417"/>
                    </a:lnTo>
                    <a:lnTo>
                      <a:pt x="66" y="417"/>
                    </a:lnTo>
                    <a:lnTo>
                      <a:pt x="66" y="419"/>
                    </a:lnTo>
                    <a:lnTo>
                      <a:pt x="66" y="417"/>
                    </a:lnTo>
                    <a:lnTo>
                      <a:pt x="65" y="417"/>
                    </a:lnTo>
                    <a:lnTo>
                      <a:pt x="63" y="419"/>
                    </a:lnTo>
                    <a:lnTo>
                      <a:pt x="61" y="417"/>
                    </a:lnTo>
                    <a:lnTo>
                      <a:pt x="61" y="415"/>
                    </a:lnTo>
                    <a:lnTo>
                      <a:pt x="63" y="415"/>
                    </a:lnTo>
                    <a:lnTo>
                      <a:pt x="65" y="415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6" y="414"/>
                    </a:lnTo>
                    <a:lnTo>
                      <a:pt x="66" y="412"/>
                    </a:lnTo>
                    <a:lnTo>
                      <a:pt x="65" y="412"/>
                    </a:lnTo>
                    <a:lnTo>
                      <a:pt x="63" y="414"/>
                    </a:lnTo>
                    <a:lnTo>
                      <a:pt x="61" y="414"/>
                    </a:lnTo>
                    <a:lnTo>
                      <a:pt x="61" y="412"/>
                    </a:lnTo>
                    <a:lnTo>
                      <a:pt x="61" y="410"/>
                    </a:lnTo>
                    <a:lnTo>
                      <a:pt x="63" y="410"/>
                    </a:lnTo>
                    <a:lnTo>
                      <a:pt x="63" y="408"/>
                    </a:lnTo>
                    <a:lnTo>
                      <a:pt x="61" y="410"/>
                    </a:lnTo>
                    <a:lnTo>
                      <a:pt x="59" y="410"/>
                    </a:lnTo>
                    <a:lnTo>
                      <a:pt x="57" y="410"/>
                    </a:lnTo>
                    <a:lnTo>
                      <a:pt x="59" y="408"/>
                    </a:lnTo>
                    <a:lnTo>
                      <a:pt x="57" y="408"/>
                    </a:lnTo>
                    <a:lnTo>
                      <a:pt x="57" y="410"/>
                    </a:lnTo>
                    <a:lnTo>
                      <a:pt x="59" y="410"/>
                    </a:lnTo>
                    <a:lnTo>
                      <a:pt x="57" y="412"/>
                    </a:lnTo>
                    <a:lnTo>
                      <a:pt x="57" y="414"/>
                    </a:lnTo>
                    <a:lnTo>
                      <a:pt x="55" y="412"/>
                    </a:lnTo>
                    <a:lnTo>
                      <a:pt x="53" y="412"/>
                    </a:lnTo>
                    <a:lnTo>
                      <a:pt x="53" y="410"/>
                    </a:lnTo>
                    <a:lnTo>
                      <a:pt x="53" y="408"/>
                    </a:lnTo>
                    <a:lnTo>
                      <a:pt x="53" y="406"/>
                    </a:lnTo>
                    <a:lnTo>
                      <a:pt x="49" y="406"/>
                    </a:lnTo>
                    <a:lnTo>
                      <a:pt x="49" y="402"/>
                    </a:lnTo>
                    <a:lnTo>
                      <a:pt x="51" y="400"/>
                    </a:lnTo>
                    <a:lnTo>
                      <a:pt x="51" y="398"/>
                    </a:lnTo>
                    <a:lnTo>
                      <a:pt x="49" y="398"/>
                    </a:lnTo>
                    <a:lnTo>
                      <a:pt x="49" y="396"/>
                    </a:lnTo>
                    <a:lnTo>
                      <a:pt x="47" y="396"/>
                    </a:lnTo>
                    <a:lnTo>
                      <a:pt x="45" y="398"/>
                    </a:lnTo>
                    <a:lnTo>
                      <a:pt x="45" y="396"/>
                    </a:lnTo>
                    <a:lnTo>
                      <a:pt x="45" y="393"/>
                    </a:lnTo>
                    <a:lnTo>
                      <a:pt x="45" y="395"/>
                    </a:lnTo>
                    <a:lnTo>
                      <a:pt x="47" y="395"/>
                    </a:lnTo>
                    <a:lnTo>
                      <a:pt x="51" y="393"/>
                    </a:lnTo>
                    <a:lnTo>
                      <a:pt x="49" y="393"/>
                    </a:lnTo>
                    <a:lnTo>
                      <a:pt x="47" y="391"/>
                    </a:lnTo>
                    <a:lnTo>
                      <a:pt x="45" y="389"/>
                    </a:lnTo>
                    <a:lnTo>
                      <a:pt x="47" y="389"/>
                    </a:lnTo>
                    <a:lnTo>
                      <a:pt x="47" y="387"/>
                    </a:lnTo>
                    <a:lnTo>
                      <a:pt x="47" y="389"/>
                    </a:lnTo>
                    <a:lnTo>
                      <a:pt x="51" y="389"/>
                    </a:lnTo>
                    <a:lnTo>
                      <a:pt x="51" y="387"/>
                    </a:lnTo>
                    <a:lnTo>
                      <a:pt x="53" y="387"/>
                    </a:lnTo>
                    <a:lnTo>
                      <a:pt x="51" y="385"/>
                    </a:lnTo>
                    <a:lnTo>
                      <a:pt x="51" y="383"/>
                    </a:lnTo>
                    <a:lnTo>
                      <a:pt x="51" y="379"/>
                    </a:lnTo>
                    <a:lnTo>
                      <a:pt x="53" y="379"/>
                    </a:lnTo>
                    <a:lnTo>
                      <a:pt x="53" y="377"/>
                    </a:lnTo>
                    <a:lnTo>
                      <a:pt x="57" y="370"/>
                    </a:lnTo>
                    <a:lnTo>
                      <a:pt x="59" y="370"/>
                    </a:lnTo>
                    <a:lnTo>
                      <a:pt x="59" y="368"/>
                    </a:lnTo>
                    <a:lnTo>
                      <a:pt x="61" y="366"/>
                    </a:lnTo>
                    <a:lnTo>
                      <a:pt x="63" y="364"/>
                    </a:lnTo>
                    <a:lnTo>
                      <a:pt x="65" y="364"/>
                    </a:lnTo>
                    <a:lnTo>
                      <a:pt x="65" y="366"/>
                    </a:lnTo>
                    <a:lnTo>
                      <a:pt x="65" y="364"/>
                    </a:lnTo>
                    <a:lnTo>
                      <a:pt x="66" y="364"/>
                    </a:lnTo>
                    <a:lnTo>
                      <a:pt x="66" y="366"/>
                    </a:lnTo>
                    <a:lnTo>
                      <a:pt x="68" y="366"/>
                    </a:lnTo>
                    <a:lnTo>
                      <a:pt x="68" y="368"/>
                    </a:lnTo>
                    <a:lnTo>
                      <a:pt x="68" y="370"/>
                    </a:lnTo>
                    <a:lnTo>
                      <a:pt x="66" y="370"/>
                    </a:lnTo>
                    <a:lnTo>
                      <a:pt x="68" y="370"/>
                    </a:lnTo>
                    <a:lnTo>
                      <a:pt x="68" y="368"/>
                    </a:lnTo>
                    <a:lnTo>
                      <a:pt x="70" y="368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72" y="370"/>
                    </a:lnTo>
                    <a:lnTo>
                      <a:pt x="70" y="368"/>
                    </a:lnTo>
                    <a:lnTo>
                      <a:pt x="70" y="366"/>
                    </a:lnTo>
                    <a:lnTo>
                      <a:pt x="72" y="368"/>
                    </a:lnTo>
                    <a:lnTo>
                      <a:pt x="70" y="366"/>
                    </a:lnTo>
                    <a:lnTo>
                      <a:pt x="68" y="366"/>
                    </a:lnTo>
                    <a:lnTo>
                      <a:pt x="68" y="364"/>
                    </a:lnTo>
                    <a:lnTo>
                      <a:pt x="70" y="364"/>
                    </a:lnTo>
                    <a:lnTo>
                      <a:pt x="68" y="364"/>
                    </a:lnTo>
                    <a:lnTo>
                      <a:pt x="68" y="366"/>
                    </a:lnTo>
                    <a:lnTo>
                      <a:pt x="68" y="364"/>
                    </a:lnTo>
                    <a:lnTo>
                      <a:pt x="68" y="366"/>
                    </a:lnTo>
                    <a:lnTo>
                      <a:pt x="66" y="366"/>
                    </a:lnTo>
                    <a:lnTo>
                      <a:pt x="66" y="364"/>
                    </a:lnTo>
                    <a:lnTo>
                      <a:pt x="66" y="362"/>
                    </a:lnTo>
                    <a:lnTo>
                      <a:pt x="68" y="362"/>
                    </a:lnTo>
                    <a:lnTo>
                      <a:pt x="70" y="358"/>
                    </a:lnTo>
                    <a:lnTo>
                      <a:pt x="72" y="358"/>
                    </a:lnTo>
                    <a:lnTo>
                      <a:pt x="70" y="358"/>
                    </a:lnTo>
                    <a:lnTo>
                      <a:pt x="72" y="356"/>
                    </a:lnTo>
                    <a:lnTo>
                      <a:pt x="70" y="356"/>
                    </a:lnTo>
                    <a:lnTo>
                      <a:pt x="66" y="362"/>
                    </a:lnTo>
                    <a:lnTo>
                      <a:pt x="66" y="360"/>
                    </a:lnTo>
                    <a:lnTo>
                      <a:pt x="66" y="358"/>
                    </a:lnTo>
                    <a:lnTo>
                      <a:pt x="66" y="356"/>
                    </a:lnTo>
                    <a:lnTo>
                      <a:pt x="68" y="356"/>
                    </a:lnTo>
                    <a:lnTo>
                      <a:pt x="66" y="356"/>
                    </a:lnTo>
                    <a:lnTo>
                      <a:pt x="68" y="354"/>
                    </a:lnTo>
                    <a:lnTo>
                      <a:pt x="66" y="354"/>
                    </a:lnTo>
                    <a:lnTo>
                      <a:pt x="66" y="353"/>
                    </a:lnTo>
                    <a:lnTo>
                      <a:pt x="66" y="349"/>
                    </a:lnTo>
                    <a:lnTo>
                      <a:pt x="68" y="347"/>
                    </a:lnTo>
                    <a:lnTo>
                      <a:pt x="70" y="347"/>
                    </a:lnTo>
                    <a:lnTo>
                      <a:pt x="72" y="347"/>
                    </a:lnTo>
                    <a:lnTo>
                      <a:pt x="74" y="347"/>
                    </a:lnTo>
                    <a:lnTo>
                      <a:pt x="74" y="349"/>
                    </a:lnTo>
                    <a:lnTo>
                      <a:pt x="74" y="347"/>
                    </a:lnTo>
                    <a:lnTo>
                      <a:pt x="74" y="345"/>
                    </a:lnTo>
                    <a:lnTo>
                      <a:pt x="72" y="345"/>
                    </a:lnTo>
                    <a:lnTo>
                      <a:pt x="70" y="343"/>
                    </a:lnTo>
                    <a:lnTo>
                      <a:pt x="72" y="343"/>
                    </a:lnTo>
                    <a:lnTo>
                      <a:pt x="70" y="343"/>
                    </a:lnTo>
                    <a:lnTo>
                      <a:pt x="72" y="345"/>
                    </a:lnTo>
                    <a:lnTo>
                      <a:pt x="70" y="345"/>
                    </a:lnTo>
                    <a:lnTo>
                      <a:pt x="70" y="343"/>
                    </a:lnTo>
                    <a:lnTo>
                      <a:pt x="74" y="339"/>
                    </a:lnTo>
                    <a:lnTo>
                      <a:pt x="78" y="339"/>
                    </a:lnTo>
                    <a:lnTo>
                      <a:pt x="82" y="339"/>
                    </a:lnTo>
                    <a:lnTo>
                      <a:pt x="84" y="341"/>
                    </a:lnTo>
                    <a:lnTo>
                      <a:pt x="86" y="343"/>
                    </a:lnTo>
                    <a:lnTo>
                      <a:pt x="84" y="343"/>
                    </a:lnTo>
                    <a:lnTo>
                      <a:pt x="86" y="343"/>
                    </a:lnTo>
                    <a:lnTo>
                      <a:pt x="84" y="343"/>
                    </a:lnTo>
                    <a:lnTo>
                      <a:pt x="84" y="345"/>
                    </a:lnTo>
                    <a:lnTo>
                      <a:pt x="84" y="347"/>
                    </a:lnTo>
                    <a:lnTo>
                      <a:pt x="82" y="347"/>
                    </a:lnTo>
                    <a:lnTo>
                      <a:pt x="84" y="347"/>
                    </a:lnTo>
                    <a:lnTo>
                      <a:pt x="86" y="347"/>
                    </a:lnTo>
                    <a:lnTo>
                      <a:pt x="89" y="347"/>
                    </a:lnTo>
                    <a:lnTo>
                      <a:pt x="93" y="347"/>
                    </a:lnTo>
                    <a:lnTo>
                      <a:pt x="97" y="343"/>
                    </a:lnTo>
                    <a:lnTo>
                      <a:pt x="99" y="341"/>
                    </a:lnTo>
                    <a:lnTo>
                      <a:pt x="99" y="339"/>
                    </a:lnTo>
                    <a:lnTo>
                      <a:pt x="101" y="339"/>
                    </a:lnTo>
                    <a:lnTo>
                      <a:pt x="103" y="337"/>
                    </a:lnTo>
                    <a:lnTo>
                      <a:pt x="105" y="332"/>
                    </a:lnTo>
                    <a:lnTo>
                      <a:pt x="106" y="330"/>
                    </a:lnTo>
                    <a:lnTo>
                      <a:pt x="106" y="328"/>
                    </a:lnTo>
                    <a:lnTo>
                      <a:pt x="110" y="330"/>
                    </a:lnTo>
                    <a:lnTo>
                      <a:pt x="108" y="333"/>
                    </a:lnTo>
                    <a:lnTo>
                      <a:pt x="110" y="332"/>
                    </a:lnTo>
                    <a:lnTo>
                      <a:pt x="112" y="332"/>
                    </a:lnTo>
                    <a:lnTo>
                      <a:pt x="114" y="332"/>
                    </a:lnTo>
                    <a:lnTo>
                      <a:pt x="116" y="332"/>
                    </a:lnTo>
                    <a:lnTo>
                      <a:pt x="118" y="332"/>
                    </a:lnTo>
                    <a:lnTo>
                      <a:pt x="120" y="332"/>
                    </a:lnTo>
                    <a:lnTo>
                      <a:pt x="126" y="330"/>
                    </a:lnTo>
                    <a:lnTo>
                      <a:pt x="126" y="328"/>
                    </a:lnTo>
                    <a:lnTo>
                      <a:pt x="127" y="326"/>
                    </a:lnTo>
                    <a:lnTo>
                      <a:pt x="129" y="322"/>
                    </a:lnTo>
                    <a:lnTo>
                      <a:pt x="131" y="318"/>
                    </a:lnTo>
                    <a:lnTo>
                      <a:pt x="127" y="311"/>
                    </a:lnTo>
                    <a:lnTo>
                      <a:pt x="127" y="307"/>
                    </a:lnTo>
                    <a:lnTo>
                      <a:pt x="127" y="303"/>
                    </a:lnTo>
                    <a:lnTo>
                      <a:pt x="124" y="299"/>
                    </a:lnTo>
                    <a:lnTo>
                      <a:pt x="124" y="297"/>
                    </a:lnTo>
                    <a:lnTo>
                      <a:pt x="124" y="299"/>
                    </a:lnTo>
                    <a:lnTo>
                      <a:pt x="124" y="297"/>
                    </a:lnTo>
                    <a:lnTo>
                      <a:pt x="122" y="297"/>
                    </a:lnTo>
                    <a:lnTo>
                      <a:pt x="120" y="297"/>
                    </a:lnTo>
                    <a:lnTo>
                      <a:pt x="118" y="297"/>
                    </a:lnTo>
                    <a:lnTo>
                      <a:pt x="120" y="295"/>
                    </a:lnTo>
                    <a:lnTo>
                      <a:pt x="120" y="293"/>
                    </a:lnTo>
                    <a:lnTo>
                      <a:pt x="122" y="291"/>
                    </a:lnTo>
                    <a:lnTo>
                      <a:pt x="122" y="293"/>
                    </a:lnTo>
                    <a:lnTo>
                      <a:pt x="124" y="293"/>
                    </a:lnTo>
                    <a:lnTo>
                      <a:pt x="126" y="293"/>
                    </a:lnTo>
                    <a:lnTo>
                      <a:pt x="127" y="293"/>
                    </a:lnTo>
                    <a:lnTo>
                      <a:pt x="126" y="293"/>
                    </a:lnTo>
                    <a:lnTo>
                      <a:pt x="126" y="291"/>
                    </a:lnTo>
                    <a:lnTo>
                      <a:pt x="127" y="291"/>
                    </a:lnTo>
                    <a:lnTo>
                      <a:pt x="129" y="291"/>
                    </a:lnTo>
                    <a:lnTo>
                      <a:pt x="129" y="290"/>
                    </a:lnTo>
                    <a:lnTo>
                      <a:pt x="131" y="286"/>
                    </a:lnTo>
                    <a:lnTo>
                      <a:pt x="129" y="282"/>
                    </a:lnTo>
                    <a:lnTo>
                      <a:pt x="127" y="282"/>
                    </a:lnTo>
                    <a:lnTo>
                      <a:pt x="126" y="278"/>
                    </a:lnTo>
                    <a:lnTo>
                      <a:pt x="127" y="278"/>
                    </a:lnTo>
                    <a:lnTo>
                      <a:pt x="127" y="276"/>
                    </a:lnTo>
                    <a:lnTo>
                      <a:pt x="127" y="278"/>
                    </a:lnTo>
                    <a:lnTo>
                      <a:pt x="126" y="278"/>
                    </a:lnTo>
                    <a:lnTo>
                      <a:pt x="124" y="278"/>
                    </a:lnTo>
                    <a:lnTo>
                      <a:pt x="122" y="280"/>
                    </a:lnTo>
                    <a:lnTo>
                      <a:pt x="122" y="282"/>
                    </a:lnTo>
                    <a:lnTo>
                      <a:pt x="122" y="284"/>
                    </a:lnTo>
                    <a:lnTo>
                      <a:pt x="120" y="284"/>
                    </a:lnTo>
                    <a:lnTo>
                      <a:pt x="118" y="284"/>
                    </a:lnTo>
                    <a:lnTo>
                      <a:pt x="116" y="284"/>
                    </a:lnTo>
                    <a:lnTo>
                      <a:pt x="116" y="282"/>
                    </a:lnTo>
                    <a:lnTo>
                      <a:pt x="114" y="282"/>
                    </a:lnTo>
                    <a:lnTo>
                      <a:pt x="116" y="284"/>
                    </a:lnTo>
                    <a:lnTo>
                      <a:pt x="112" y="284"/>
                    </a:lnTo>
                    <a:lnTo>
                      <a:pt x="112" y="286"/>
                    </a:lnTo>
                    <a:lnTo>
                      <a:pt x="114" y="284"/>
                    </a:lnTo>
                    <a:lnTo>
                      <a:pt x="112" y="286"/>
                    </a:lnTo>
                    <a:lnTo>
                      <a:pt x="110" y="286"/>
                    </a:lnTo>
                    <a:lnTo>
                      <a:pt x="108" y="288"/>
                    </a:lnTo>
                    <a:lnTo>
                      <a:pt x="106" y="290"/>
                    </a:lnTo>
                    <a:lnTo>
                      <a:pt x="103" y="293"/>
                    </a:lnTo>
                    <a:lnTo>
                      <a:pt x="101" y="295"/>
                    </a:lnTo>
                    <a:lnTo>
                      <a:pt x="101" y="297"/>
                    </a:lnTo>
                    <a:lnTo>
                      <a:pt x="99" y="299"/>
                    </a:lnTo>
                    <a:lnTo>
                      <a:pt x="99" y="297"/>
                    </a:lnTo>
                    <a:lnTo>
                      <a:pt x="97" y="295"/>
                    </a:lnTo>
                    <a:lnTo>
                      <a:pt x="97" y="293"/>
                    </a:lnTo>
                    <a:lnTo>
                      <a:pt x="97" y="291"/>
                    </a:lnTo>
                    <a:lnTo>
                      <a:pt x="95" y="291"/>
                    </a:lnTo>
                    <a:lnTo>
                      <a:pt x="95" y="290"/>
                    </a:lnTo>
                    <a:lnTo>
                      <a:pt x="93" y="290"/>
                    </a:lnTo>
                    <a:lnTo>
                      <a:pt x="93" y="288"/>
                    </a:lnTo>
                    <a:lnTo>
                      <a:pt x="93" y="290"/>
                    </a:lnTo>
                    <a:lnTo>
                      <a:pt x="91" y="290"/>
                    </a:lnTo>
                    <a:lnTo>
                      <a:pt x="91" y="291"/>
                    </a:lnTo>
                    <a:lnTo>
                      <a:pt x="93" y="291"/>
                    </a:lnTo>
                    <a:lnTo>
                      <a:pt x="93" y="293"/>
                    </a:lnTo>
                    <a:lnTo>
                      <a:pt x="95" y="293"/>
                    </a:lnTo>
                    <a:lnTo>
                      <a:pt x="95" y="295"/>
                    </a:lnTo>
                    <a:lnTo>
                      <a:pt x="93" y="295"/>
                    </a:lnTo>
                    <a:lnTo>
                      <a:pt x="93" y="297"/>
                    </a:lnTo>
                    <a:lnTo>
                      <a:pt x="91" y="297"/>
                    </a:lnTo>
                    <a:lnTo>
                      <a:pt x="91" y="295"/>
                    </a:lnTo>
                    <a:lnTo>
                      <a:pt x="89" y="293"/>
                    </a:lnTo>
                    <a:lnTo>
                      <a:pt x="86" y="291"/>
                    </a:lnTo>
                    <a:lnTo>
                      <a:pt x="82" y="291"/>
                    </a:lnTo>
                    <a:lnTo>
                      <a:pt x="80" y="291"/>
                    </a:lnTo>
                    <a:lnTo>
                      <a:pt x="76" y="291"/>
                    </a:lnTo>
                    <a:lnTo>
                      <a:pt x="72" y="291"/>
                    </a:lnTo>
                    <a:lnTo>
                      <a:pt x="76" y="291"/>
                    </a:lnTo>
                    <a:lnTo>
                      <a:pt x="74" y="291"/>
                    </a:lnTo>
                    <a:lnTo>
                      <a:pt x="72" y="291"/>
                    </a:lnTo>
                    <a:lnTo>
                      <a:pt x="74" y="291"/>
                    </a:lnTo>
                    <a:lnTo>
                      <a:pt x="70" y="291"/>
                    </a:lnTo>
                    <a:lnTo>
                      <a:pt x="68" y="293"/>
                    </a:lnTo>
                    <a:lnTo>
                      <a:pt x="66" y="293"/>
                    </a:lnTo>
                    <a:lnTo>
                      <a:pt x="65" y="295"/>
                    </a:lnTo>
                    <a:lnTo>
                      <a:pt x="65" y="293"/>
                    </a:lnTo>
                    <a:lnTo>
                      <a:pt x="66" y="295"/>
                    </a:lnTo>
                    <a:lnTo>
                      <a:pt x="65" y="295"/>
                    </a:lnTo>
                    <a:lnTo>
                      <a:pt x="66" y="295"/>
                    </a:lnTo>
                    <a:lnTo>
                      <a:pt x="68" y="295"/>
                    </a:lnTo>
                    <a:lnTo>
                      <a:pt x="66" y="295"/>
                    </a:lnTo>
                    <a:lnTo>
                      <a:pt x="63" y="295"/>
                    </a:lnTo>
                    <a:lnTo>
                      <a:pt x="57" y="293"/>
                    </a:lnTo>
                    <a:lnTo>
                      <a:pt x="44" y="291"/>
                    </a:lnTo>
                    <a:lnTo>
                      <a:pt x="42" y="288"/>
                    </a:lnTo>
                    <a:lnTo>
                      <a:pt x="40" y="286"/>
                    </a:lnTo>
                    <a:lnTo>
                      <a:pt x="40" y="282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2" y="278"/>
                    </a:lnTo>
                    <a:lnTo>
                      <a:pt x="40" y="278"/>
                    </a:lnTo>
                    <a:lnTo>
                      <a:pt x="42" y="278"/>
                    </a:lnTo>
                    <a:lnTo>
                      <a:pt x="40" y="278"/>
                    </a:lnTo>
                    <a:lnTo>
                      <a:pt x="40" y="276"/>
                    </a:lnTo>
                    <a:lnTo>
                      <a:pt x="42" y="280"/>
                    </a:lnTo>
                    <a:lnTo>
                      <a:pt x="40" y="278"/>
                    </a:lnTo>
                    <a:lnTo>
                      <a:pt x="36" y="276"/>
                    </a:lnTo>
                    <a:lnTo>
                      <a:pt x="36" y="274"/>
                    </a:lnTo>
                    <a:lnTo>
                      <a:pt x="34" y="272"/>
                    </a:lnTo>
                    <a:lnTo>
                      <a:pt x="32" y="269"/>
                    </a:lnTo>
                    <a:lnTo>
                      <a:pt x="34" y="267"/>
                    </a:lnTo>
                    <a:lnTo>
                      <a:pt x="34" y="265"/>
                    </a:lnTo>
                    <a:lnTo>
                      <a:pt x="34" y="267"/>
                    </a:lnTo>
                    <a:lnTo>
                      <a:pt x="32" y="269"/>
                    </a:lnTo>
                    <a:lnTo>
                      <a:pt x="34" y="270"/>
                    </a:lnTo>
                    <a:lnTo>
                      <a:pt x="32" y="270"/>
                    </a:lnTo>
                    <a:lnTo>
                      <a:pt x="34" y="270"/>
                    </a:lnTo>
                    <a:lnTo>
                      <a:pt x="36" y="270"/>
                    </a:lnTo>
                    <a:lnTo>
                      <a:pt x="40" y="270"/>
                    </a:lnTo>
                    <a:lnTo>
                      <a:pt x="40" y="269"/>
                    </a:lnTo>
                    <a:lnTo>
                      <a:pt x="38" y="270"/>
                    </a:lnTo>
                    <a:lnTo>
                      <a:pt x="40" y="269"/>
                    </a:lnTo>
                    <a:lnTo>
                      <a:pt x="40" y="267"/>
                    </a:lnTo>
                    <a:lnTo>
                      <a:pt x="42" y="265"/>
                    </a:lnTo>
                    <a:lnTo>
                      <a:pt x="44" y="265"/>
                    </a:lnTo>
                    <a:lnTo>
                      <a:pt x="45" y="267"/>
                    </a:lnTo>
                    <a:lnTo>
                      <a:pt x="47" y="267"/>
                    </a:lnTo>
                    <a:lnTo>
                      <a:pt x="47" y="265"/>
                    </a:lnTo>
                    <a:lnTo>
                      <a:pt x="45" y="265"/>
                    </a:lnTo>
                    <a:lnTo>
                      <a:pt x="42" y="263"/>
                    </a:lnTo>
                    <a:lnTo>
                      <a:pt x="42" y="265"/>
                    </a:lnTo>
                    <a:lnTo>
                      <a:pt x="40" y="263"/>
                    </a:lnTo>
                    <a:lnTo>
                      <a:pt x="38" y="263"/>
                    </a:lnTo>
                    <a:lnTo>
                      <a:pt x="40" y="263"/>
                    </a:lnTo>
                    <a:lnTo>
                      <a:pt x="38" y="261"/>
                    </a:lnTo>
                    <a:lnTo>
                      <a:pt x="32" y="261"/>
                    </a:lnTo>
                    <a:lnTo>
                      <a:pt x="34" y="261"/>
                    </a:lnTo>
                    <a:lnTo>
                      <a:pt x="36" y="261"/>
                    </a:lnTo>
                    <a:lnTo>
                      <a:pt x="36" y="263"/>
                    </a:lnTo>
                    <a:lnTo>
                      <a:pt x="38" y="263"/>
                    </a:lnTo>
                    <a:lnTo>
                      <a:pt x="36" y="263"/>
                    </a:lnTo>
                    <a:lnTo>
                      <a:pt x="34" y="263"/>
                    </a:lnTo>
                    <a:lnTo>
                      <a:pt x="30" y="261"/>
                    </a:lnTo>
                    <a:lnTo>
                      <a:pt x="25" y="259"/>
                    </a:lnTo>
                    <a:lnTo>
                      <a:pt x="19" y="255"/>
                    </a:lnTo>
                    <a:lnTo>
                      <a:pt x="15" y="253"/>
                    </a:lnTo>
                    <a:lnTo>
                      <a:pt x="15" y="251"/>
                    </a:lnTo>
                    <a:lnTo>
                      <a:pt x="13" y="251"/>
                    </a:lnTo>
                    <a:lnTo>
                      <a:pt x="15" y="249"/>
                    </a:lnTo>
                    <a:lnTo>
                      <a:pt x="17" y="248"/>
                    </a:lnTo>
                    <a:lnTo>
                      <a:pt x="19" y="246"/>
                    </a:lnTo>
                    <a:lnTo>
                      <a:pt x="19" y="248"/>
                    </a:lnTo>
                    <a:lnTo>
                      <a:pt x="15" y="249"/>
                    </a:lnTo>
                    <a:lnTo>
                      <a:pt x="15" y="251"/>
                    </a:lnTo>
                    <a:lnTo>
                      <a:pt x="19" y="249"/>
                    </a:lnTo>
                    <a:lnTo>
                      <a:pt x="19" y="248"/>
                    </a:lnTo>
                    <a:lnTo>
                      <a:pt x="21" y="248"/>
                    </a:lnTo>
                    <a:lnTo>
                      <a:pt x="23" y="248"/>
                    </a:lnTo>
                    <a:lnTo>
                      <a:pt x="25" y="248"/>
                    </a:lnTo>
                    <a:lnTo>
                      <a:pt x="25" y="246"/>
                    </a:lnTo>
                    <a:lnTo>
                      <a:pt x="23" y="246"/>
                    </a:lnTo>
                    <a:lnTo>
                      <a:pt x="23" y="244"/>
                    </a:lnTo>
                    <a:lnTo>
                      <a:pt x="25" y="244"/>
                    </a:lnTo>
                    <a:lnTo>
                      <a:pt x="23" y="244"/>
                    </a:lnTo>
                    <a:lnTo>
                      <a:pt x="28" y="240"/>
                    </a:lnTo>
                    <a:lnTo>
                      <a:pt x="26" y="242"/>
                    </a:lnTo>
                    <a:lnTo>
                      <a:pt x="28" y="242"/>
                    </a:lnTo>
                    <a:lnTo>
                      <a:pt x="28" y="244"/>
                    </a:lnTo>
                    <a:lnTo>
                      <a:pt x="30" y="242"/>
                    </a:lnTo>
                    <a:lnTo>
                      <a:pt x="32" y="240"/>
                    </a:lnTo>
                    <a:lnTo>
                      <a:pt x="34" y="240"/>
                    </a:lnTo>
                    <a:lnTo>
                      <a:pt x="32" y="238"/>
                    </a:lnTo>
                    <a:lnTo>
                      <a:pt x="34" y="236"/>
                    </a:lnTo>
                    <a:lnTo>
                      <a:pt x="34" y="238"/>
                    </a:lnTo>
                    <a:lnTo>
                      <a:pt x="34" y="236"/>
                    </a:lnTo>
                    <a:lnTo>
                      <a:pt x="36" y="234"/>
                    </a:lnTo>
                    <a:lnTo>
                      <a:pt x="44" y="230"/>
                    </a:lnTo>
                    <a:lnTo>
                      <a:pt x="45" y="230"/>
                    </a:lnTo>
                    <a:lnTo>
                      <a:pt x="45" y="232"/>
                    </a:lnTo>
                    <a:lnTo>
                      <a:pt x="47" y="232"/>
                    </a:lnTo>
                    <a:lnTo>
                      <a:pt x="49" y="232"/>
                    </a:lnTo>
                    <a:lnTo>
                      <a:pt x="51" y="232"/>
                    </a:lnTo>
                    <a:lnTo>
                      <a:pt x="53" y="232"/>
                    </a:lnTo>
                    <a:lnTo>
                      <a:pt x="55" y="230"/>
                    </a:lnTo>
                    <a:lnTo>
                      <a:pt x="57" y="232"/>
                    </a:lnTo>
                    <a:lnTo>
                      <a:pt x="55" y="230"/>
                    </a:lnTo>
                    <a:lnTo>
                      <a:pt x="53" y="230"/>
                    </a:lnTo>
                    <a:lnTo>
                      <a:pt x="53" y="229"/>
                    </a:lnTo>
                    <a:lnTo>
                      <a:pt x="49" y="229"/>
                    </a:lnTo>
                    <a:lnTo>
                      <a:pt x="49" y="227"/>
                    </a:lnTo>
                    <a:lnTo>
                      <a:pt x="51" y="225"/>
                    </a:lnTo>
                    <a:lnTo>
                      <a:pt x="57" y="221"/>
                    </a:lnTo>
                    <a:lnTo>
                      <a:pt x="59" y="221"/>
                    </a:lnTo>
                    <a:lnTo>
                      <a:pt x="61" y="221"/>
                    </a:lnTo>
                    <a:lnTo>
                      <a:pt x="61" y="219"/>
                    </a:lnTo>
                    <a:lnTo>
                      <a:pt x="63" y="219"/>
                    </a:lnTo>
                    <a:lnTo>
                      <a:pt x="63" y="221"/>
                    </a:lnTo>
                    <a:lnTo>
                      <a:pt x="65" y="219"/>
                    </a:lnTo>
                    <a:lnTo>
                      <a:pt x="68" y="217"/>
                    </a:lnTo>
                    <a:lnTo>
                      <a:pt x="68" y="215"/>
                    </a:lnTo>
                    <a:lnTo>
                      <a:pt x="72" y="213"/>
                    </a:lnTo>
                    <a:lnTo>
                      <a:pt x="82" y="213"/>
                    </a:lnTo>
                    <a:lnTo>
                      <a:pt x="80" y="213"/>
                    </a:lnTo>
                    <a:lnTo>
                      <a:pt x="80" y="215"/>
                    </a:lnTo>
                    <a:lnTo>
                      <a:pt x="82" y="215"/>
                    </a:lnTo>
                    <a:lnTo>
                      <a:pt x="84" y="215"/>
                    </a:lnTo>
                    <a:lnTo>
                      <a:pt x="84" y="217"/>
                    </a:lnTo>
                    <a:lnTo>
                      <a:pt x="82" y="221"/>
                    </a:lnTo>
                    <a:lnTo>
                      <a:pt x="82" y="225"/>
                    </a:lnTo>
                    <a:lnTo>
                      <a:pt x="82" y="227"/>
                    </a:lnTo>
                    <a:lnTo>
                      <a:pt x="80" y="229"/>
                    </a:lnTo>
                    <a:lnTo>
                      <a:pt x="78" y="229"/>
                    </a:lnTo>
                    <a:lnTo>
                      <a:pt x="76" y="229"/>
                    </a:lnTo>
                    <a:lnTo>
                      <a:pt x="80" y="230"/>
                    </a:lnTo>
                    <a:lnTo>
                      <a:pt x="80" y="229"/>
                    </a:lnTo>
                    <a:lnTo>
                      <a:pt x="80" y="230"/>
                    </a:lnTo>
                    <a:lnTo>
                      <a:pt x="82" y="229"/>
                    </a:lnTo>
                    <a:lnTo>
                      <a:pt x="82" y="232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7" y="232"/>
                    </a:lnTo>
                    <a:lnTo>
                      <a:pt x="89" y="234"/>
                    </a:lnTo>
                    <a:lnTo>
                      <a:pt x="89" y="232"/>
                    </a:lnTo>
                    <a:lnTo>
                      <a:pt x="91" y="234"/>
                    </a:lnTo>
                    <a:lnTo>
                      <a:pt x="93" y="234"/>
                    </a:lnTo>
                    <a:lnTo>
                      <a:pt x="95" y="234"/>
                    </a:lnTo>
                    <a:lnTo>
                      <a:pt x="95" y="232"/>
                    </a:lnTo>
                    <a:lnTo>
                      <a:pt x="97" y="234"/>
                    </a:lnTo>
                    <a:lnTo>
                      <a:pt x="99" y="232"/>
                    </a:lnTo>
                    <a:lnTo>
                      <a:pt x="99" y="234"/>
                    </a:lnTo>
                    <a:lnTo>
                      <a:pt x="101" y="234"/>
                    </a:lnTo>
                    <a:lnTo>
                      <a:pt x="101" y="236"/>
                    </a:lnTo>
                    <a:lnTo>
                      <a:pt x="101" y="234"/>
                    </a:lnTo>
                    <a:lnTo>
                      <a:pt x="105" y="234"/>
                    </a:lnTo>
                    <a:lnTo>
                      <a:pt x="105" y="236"/>
                    </a:lnTo>
                    <a:lnTo>
                      <a:pt x="106" y="236"/>
                    </a:lnTo>
                    <a:lnTo>
                      <a:pt x="108" y="234"/>
                    </a:lnTo>
                    <a:lnTo>
                      <a:pt x="110" y="234"/>
                    </a:lnTo>
                    <a:lnTo>
                      <a:pt x="114" y="236"/>
                    </a:lnTo>
                    <a:lnTo>
                      <a:pt x="112" y="236"/>
                    </a:lnTo>
                    <a:lnTo>
                      <a:pt x="114" y="236"/>
                    </a:lnTo>
                    <a:lnTo>
                      <a:pt x="112" y="238"/>
                    </a:lnTo>
                    <a:lnTo>
                      <a:pt x="114" y="238"/>
                    </a:lnTo>
                    <a:lnTo>
                      <a:pt x="114" y="236"/>
                    </a:lnTo>
                    <a:lnTo>
                      <a:pt x="114" y="234"/>
                    </a:lnTo>
                    <a:lnTo>
                      <a:pt x="116" y="234"/>
                    </a:lnTo>
                    <a:lnTo>
                      <a:pt x="118" y="227"/>
                    </a:lnTo>
                    <a:lnTo>
                      <a:pt x="120" y="227"/>
                    </a:lnTo>
                    <a:lnTo>
                      <a:pt x="122" y="227"/>
                    </a:lnTo>
                    <a:lnTo>
                      <a:pt x="122" y="229"/>
                    </a:lnTo>
                    <a:lnTo>
                      <a:pt x="124" y="229"/>
                    </a:lnTo>
                    <a:lnTo>
                      <a:pt x="126" y="229"/>
                    </a:lnTo>
                    <a:lnTo>
                      <a:pt x="126" y="230"/>
                    </a:lnTo>
                    <a:lnTo>
                      <a:pt x="126" y="232"/>
                    </a:lnTo>
                    <a:lnTo>
                      <a:pt x="124" y="232"/>
                    </a:lnTo>
                    <a:lnTo>
                      <a:pt x="126" y="232"/>
                    </a:lnTo>
                    <a:lnTo>
                      <a:pt x="126" y="230"/>
                    </a:lnTo>
                    <a:lnTo>
                      <a:pt x="127" y="229"/>
                    </a:lnTo>
                    <a:lnTo>
                      <a:pt x="127" y="227"/>
                    </a:lnTo>
                    <a:lnTo>
                      <a:pt x="126" y="225"/>
                    </a:lnTo>
                    <a:lnTo>
                      <a:pt x="126" y="223"/>
                    </a:lnTo>
                    <a:lnTo>
                      <a:pt x="118" y="221"/>
                    </a:lnTo>
                    <a:lnTo>
                      <a:pt x="116" y="221"/>
                    </a:lnTo>
                    <a:lnTo>
                      <a:pt x="112" y="223"/>
                    </a:lnTo>
                    <a:lnTo>
                      <a:pt x="112" y="225"/>
                    </a:lnTo>
                    <a:lnTo>
                      <a:pt x="114" y="225"/>
                    </a:lnTo>
                    <a:lnTo>
                      <a:pt x="112" y="225"/>
                    </a:lnTo>
                    <a:lnTo>
                      <a:pt x="114" y="227"/>
                    </a:lnTo>
                    <a:lnTo>
                      <a:pt x="112" y="227"/>
                    </a:lnTo>
                    <a:lnTo>
                      <a:pt x="112" y="225"/>
                    </a:lnTo>
                    <a:lnTo>
                      <a:pt x="114" y="219"/>
                    </a:lnTo>
                    <a:lnTo>
                      <a:pt x="112" y="215"/>
                    </a:lnTo>
                    <a:lnTo>
                      <a:pt x="110" y="213"/>
                    </a:lnTo>
                    <a:lnTo>
                      <a:pt x="108" y="209"/>
                    </a:lnTo>
                    <a:lnTo>
                      <a:pt x="103" y="208"/>
                    </a:lnTo>
                    <a:lnTo>
                      <a:pt x="103" y="206"/>
                    </a:lnTo>
                    <a:lnTo>
                      <a:pt x="101" y="202"/>
                    </a:lnTo>
                    <a:lnTo>
                      <a:pt x="101" y="200"/>
                    </a:lnTo>
                    <a:lnTo>
                      <a:pt x="103" y="200"/>
                    </a:lnTo>
                    <a:lnTo>
                      <a:pt x="105" y="198"/>
                    </a:lnTo>
                    <a:lnTo>
                      <a:pt x="105" y="200"/>
                    </a:lnTo>
                    <a:lnTo>
                      <a:pt x="106" y="198"/>
                    </a:lnTo>
                    <a:lnTo>
                      <a:pt x="106" y="200"/>
                    </a:lnTo>
                    <a:lnTo>
                      <a:pt x="110" y="206"/>
                    </a:lnTo>
                    <a:lnTo>
                      <a:pt x="110" y="209"/>
                    </a:lnTo>
                    <a:lnTo>
                      <a:pt x="110" y="211"/>
                    </a:lnTo>
                    <a:lnTo>
                      <a:pt x="112" y="215"/>
                    </a:lnTo>
                    <a:lnTo>
                      <a:pt x="118" y="219"/>
                    </a:lnTo>
                    <a:lnTo>
                      <a:pt x="122" y="217"/>
                    </a:lnTo>
                    <a:lnTo>
                      <a:pt x="124" y="215"/>
                    </a:lnTo>
                    <a:lnTo>
                      <a:pt x="126" y="217"/>
                    </a:lnTo>
                    <a:lnTo>
                      <a:pt x="127" y="219"/>
                    </a:lnTo>
                    <a:lnTo>
                      <a:pt x="131" y="223"/>
                    </a:lnTo>
                    <a:lnTo>
                      <a:pt x="135" y="223"/>
                    </a:lnTo>
                    <a:lnTo>
                      <a:pt x="135" y="221"/>
                    </a:lnTo>
                    <a:lnTo>
                      <a:pt x="139" y="221"/>
                    </a:lnTo>
                    <a:lnTo>
                      <a:pt x="139" y="219"/>
                    </a:lnTo>
                    <a:lnTo>
                      <a:pt x="139" y="217"/>
                    </a:lnTo>
                    <a:lnTo>
                      <a:pt x="139" y="215"/>
                    </a:lnTo>
                    <a:lnTo>
                      <a:pt x="139" y="213"/>
                    </a:lnTo>
                    <a:lnTo>
                      <a:pt x="139" y="215"/>
                    </a:lnTo>
                    <a:lnTo>
                      <a:pt x="139" y="213"/>
                    </a:lnTo>
                    <a:lnTo>
                      <a:pt x="137" y="211"/>
                    </a:lnTo>
                    <a:lnTo>
                      <a:pt x="139" y="211"/>
                    </a:lnTo>
                    <a:lnTo>
                      <a:pt x="137" y="211"/>
                    </a:lnTo>
                    <a:lnTo>
                      <a:pt x="137" y="213"/>
                    </a:lnTo>
                    <a:lnTo>
                      <a:pt x="137" y="211"/>
                    </a:lnTo>
                    <a:lnTo>
                      <a:pt x="135" y="211"/>
                    </a:lnTo>
                    <a:lnTo>
                      <a:pt x="135" y="213"/>
                    </a:lnTo>
                    <a:lnTo>
                      <a:pt x="131" y="213"/>
                    </a:lnTo>
                    <a:lnTo>
                      <a:pt x="129" y="211"/>
                    </a:lnTo>
                    <a:lnTo>
                      <a:pt x="127" y="211"/>
                    </a:lnTo>
                    <a:lnTo>
                      <a:pt x="126" y="211"/>
                    </a:lnTo>
                    <a:lnTo>
                      <a:pt x="124" y="213"/>
                    </a:lnTo>
                    <a:lnTo>
                      <a:pt x="124" y="215"/>
                    </a:lnTo>
                    <a:lnTo>
                      <a:pt x="124" y="213"/>
                    </a:lnTo>
                    <a:lnTo>
                      <a:pt x="124" y="215"/>
                    </a:lnTo>
                    <a:lnTo>
                      <a:pt x="122" y="215"/>
                    </a:lnTo>
                    <a:lnTo>
                      <a:pt x="120" y="215"/>
                    </a:lnTo>
                    <a:lnTo>
                      <a:pt x="118" y="215"/>
                    </a:lnTo>
                    <a:lnTo>
                      <a:pt x="120" y="213"/>
                    </a:lnTo>
                    <a:lnTo>
                      <a:pt x="116" y="211"/>
                    </a:lnTo>
                    <a:lnTo>
                      <a:pt x="112" y="208"/>
                    </a:lnTo>
                    <a:lnTo>
                      <a:pt x="114" y="206"/>
                    </a:lnTo>
                    <a:lnTo>
                      <a:pt x="114" y="204"/>
                    </a:lnTo>
                    <a:lnTo>
                      <a:pt x="114" y="202"/>
                    </a:lnTo>
                    <a:lnTo>
                      <a:pt x="116" y="200"/>
                    </a:lnTo>
                    <a:lnTo>
                      <a:pt x="118" y="198"/>
                    </a:lnTo>
                    <a:lnTo>
                      <a:pt x="118" y="196"/>
                    </a:lnTo>
                    <a:lnTo>
                      <a:pt x="116" y="196"/>
                    </a:lnTo>
                    <a:lnTo>
                      <a:pt x="114" y="194"/>
                    </a:lnTo>
                    <a:lnTo>
                      <a:pt x="108" y="196"/>
                    </a:lnTo>
                    <a:lnTo>
                      <a:pt x="106" y="196"/>
                    </a:lnTo>
                    <a:lnTo>
                      <a:pt x="105" y="198"/>
                    </a:lnTo>
                    <a:lnTo>
                      <a:pt x="103" y="196"/>
                    </a:lnTo>
                    <a:lnTo>
                      <a:pt x="105" y="196"/>
                    </a:lnTo>
                    <a:lnTo>
                      <a:pt x="103" y="196"/>
                    </a:lnTo>
                    <a:lnTo>
                      <a:pt x="101" y="196"/>
                    </a:lnTo>
                    <a:lnTo>
                      <a:pt x="101" y="194"/>
                    </a:lnTo>
                    <a:lnTo>
                      <a:pt x="99" y="194"/>
                    </a:lnTo>
                    <a:lnTo>
                      <a:pt x="97" y="196"/>
                    </a:lnTo>
                    <a:lnTo>
                      <a:pt x="99" y="194"/>
                    </a:lnTo>
                    <a:lnTo>
                      <a:pt x="97" y="194"/>
                    </a:lnTo>
                    <a:lnTo>
                      <a:pt x="95" y="196"/>
                    </a:lnTo>
                    <a:lnTo>
                      <a:pt x="97" y="196"/>
                    </a:lnTo>
                    <a:lnTo>
                      <a:pt x="99" y="196"/>
                    </a:lnTo>
                    <a:lnTo>
                      <a:pt x="97" y="196"/>
                    </a:lnTo>
                    <a:lnTo>
                      <a:pt x="95" y="196"/>
                    </a:lnTo>
                    <a:lnTo>
                      <a:pt x="84" y="192"/>
                    </a:lnTo>
                    <a:lnTo>
                      <a:pt x="82" y="183"/>
                    </a:lnTo>
                    <a:lnTo>
                      <a:pt x="82" y="181"/>
                    </a:lnTo>
                    <a:lnTo>
                      <a:pt x="84" y="181"/>
                    </a:lnTo>
                    <a:lnTo>
                      <a:pt x="82" y="179"/>
                    </a:lnTo>
                    <a:lnTo>
                      <a:pt x="82" y="183"/>
                    </a:lnTo>
                    <a:lnTo>
                      <a:pt x="82" y="179"/>
                    </a:lnTo>
                    <a:lnTo>
                      <a:pt x="78" y="171"/>
                    </a:lnTo>
                    <a:lnTo>
                      <a:pt x="76" y="169"/>
                    </a:lnTo>
                    <a:lnTo>
                      <a:pt x="78" y="171"/>
                    </a:lnTo>
                    <a:lnTo>
                      <a:pt x="70" y="167"/>
                    </a:lnTo>
                    <a:lnTo>
                      <a:pt x="72" y="167"/>
                    </a:lnTo>
                    <a:lnTo>
                      <a:pt x="72" y="166"/>
                    </a:lnTo>
                    <a:lnTo>
                      <a:pt x="70" y="166"/>
                    </a:lnTo>
                    <a:lnTo>
                      <a:pt x="68" y="164"/>
                    </a:lnTo>
                    <a:lnTo>
                      <a:pt x="70" y="164"/>
                    </a:lnTo>
                    <a:lnTo>
                      <a:pt x="68" y="164"/>
                    </a:lnTo>
                    <a:lnTo>
                      <a:pt x="68" y="162"/>
                    </a:lnTo>
                    <a:lnTo>
                      <a:pt x="66" y="162"/>
                    </a:lnTo>
                    <a:lnTo>
                      <a:pt x="68" y="164"/>
                    </a:lnTo>
                    <a:lnTo>
                      <a:pt x="66" y="162"/>
                    </a:lnTo>
                    <a:lnTo>
                      <a:pt x="61" y="156"/>
                    </a:lnTo>
                    <a:lnTo>
                      <a:pt x="59" y="156"/>
                    </a:lnTo>
                    <a:lnTo>
                      <a:pt x="59" y="154"/>
                    </a:lnTo>
                    <a:lnTo>
                      <a:pt x="61" y="156"/>
                    </a:lnTo>
                    <a:lnTo>
                      <a:pt x="57" y="154"/>
                    </a:lnTo>
                    <a:lnTo>
                      <a:pt x="49" y="150"/>
                    </a:lnTo>
                    <a:lnTo>
                      <a:pt x="47" y="148"/>
                    </a:lnTo>
                    <a:lnTo>
                      <a:pt x="45" y="146"/>
                    </a:lnTo>
                    <a:lnTo>
                      <a:pt x="44" y="143"/>
                    </a:lnTo>
                    <a:lnTo>
                      <a:pt x="38" y="141"/>
                    </a:lnTo>
                    <a:lnTo>
                      <a:pt x="34" y="141"/>
                    </a:lnTo>
                    <a:lnTo>
                      <a:pt x="42" y="137"/>
                    </a:lnTo>
                    <a:lnTo>
                      <a:pt x="36" y="139"/>
                    </a:lnTo>
                    <a:lnTo>
                      <a:pt x="36" y="141"/>
                    </a:lnTo>
                    <a:lnTo>
                      <a:pt x="38" y="141"/>
                    </a:lnTo>
                    <a:lnTo>
                      <a:pt x="40" y="141"/>
                    </a:lnTo>
                    <a:lnTo>
                      <a:pt x="40" y="139"/>
                    </a:lnTo>
                    <a:lnTo>
                      <a:pt x="38" y="141"/>
                    </a:lnTo>
                    <a:lnTo>
                      <a:pt x="40" y="139"/>
                    </a:lnTo>
                    <a:lnTo>
                      <a:pt x="42" y="139"/>
                    </a:lnTo>
                    <a:lnTo>
                      <a:pt x="44" y="139"/>
                    </a:lnTo>
                    <a:lnTo>
                      <a:pt x="42" y="139"/>
                    </a:lnTo>
                    <a:lnTo>
                      <a:pt x="42" y="137"/>
                    </a:lnTo>
                    <a:lnTo>
                      <a:pt x="44" y="133"/>
                    </a:lnTo>
                    <a:lnTo>
                      <a:pt x="44" y="131"/>
                    </a:lnTo>
                    <a:lnTo>
                      <a:pt x="44" y="122"/>
                    </a:lnTo>
                    <a:lnTo>
                      <a:pt x="44" y="116"/>
                    </a:lnTo>
                    <a:lnTo>
                      <a:pt x="55" y="118"/>
                    </a:lnTo>
                    <a:lnTo>
                      <a:pt x="76" y="114"/>
                    </a:lnTo>
                    <a:lnTo>
                      <a:pt x="80" y="112"/>
                    </a:lnTo>
                    <a:lnTo>
                      <a:pt x="84" y="108"/>
                    </a:lnTo>
                    <a:lnTo>
                      <a:pt x="87" y="104"/>
                    </a:lnTo>
                    <a:lnTo>
                      <a:pt x="87" y="103"/>
                    </a:lnTo>
                    <a:lnTo>
                      <a:pt x="91" y="97"/>
                    </a:lnTo>
                    <a:lnTo>
                      <a:pt x="93" y="93"/>
                    </a:lnTo>
                    <a:lnTo>
                      <a:pt x="91" y="97"/>
                    </a:lnTo>
                    <a:lnTo>
                      <a:pt x="91" y="99"/>
                    </a:lnTo>
                    <a:lnTo>
                      <a:pt x="93" y="95"/>
                    </a:lnTo>
                    <a:lnTo>
                      <a:pt x="95" y="91"/>
                    </a:lnTo>
                    <a:lnTo>
                      <a:pt x="93" y="91"/>
                    </a:lnTo>
                    <a:lnTo>
                      <a:pt x="93" y="89"/>
                    </a:lnTo>
                    <a:lnTo>
                      <a:pt x="95" y="91"/>
                    </a:lnTo>
                    <a:lnTo>
                      <a:pt x="95" y="87"/>
                    </a:lnTo>
                    <a:lnTo>
                      <a:pt x="93" y="85"/>
                    </a:lnTo>
                    <a:lnTo>
                      <a:pt x="95" y="83"/>
                    </a:lnTo>
                    <a:lnTo>
                      <a:pt x="95" y="85"/>
                    </a:lnTo>
                    <a:lnTo>
                      <a:pt x="97" y="85"/>
                    </a:lnTo>
                    <a:lnTo>
                      <a:pt x="95" y="85"/>
                    </a:lnTo>
                    <a:lnTo>
                      <a:pt x="95" y="83"/>
                    </a:lnTo>
                    <a:lnTo>
                      <a:pt x="95" y="82"/>
                    </a:lnTo>
                    <a:lnTo>
                      <a:pt x="95" y="80"/>
                    </a:lnTo>
                    <a:lnTo>
                      <a:pt x="95" y="82"/>
                    </a:lnTo>
                    <a:lnTo>
                      <a:pt x="97" y="80"/>
                    </a:lnTo>
                    <a:lnTo>
                      <a:pt x="95" y="80"/>
                    </a:lnTo>
                    <a:lnTo>
                      <a:pt x="95" y="78"/>
                    </a:lnTo>
                    <a:lnTo>
                      <a:pt x="97" y="78"/>
                    </a:lnTo>
                    <a:lnTo>
                      <a:pt x="95" y="78"/>
                    </a:lnTo>
                    <a:lnTo>
                      <a:pt x="97" y="76"/>
                    </a:lnTo>
                    <a:lnTo>
                      <a:pt x="101" y="70"/>
                    </a:lnTo>
                    <a:lnTo>
                      <a:pt x="101" y="72"/>
                    </a:lnTo>
                    <a:lnTo>
                      <a:pt x="103" y="72"/>
                    </a:lnTo>
                    <a:lnTo>
                      <a:pt x="101" y="72"/>
                    </a:lnTo>
                    <a:lnTo>
                      <a:pt x="101" y="70"/>
                    </a:lnTo>
                    <a:lnTo>
                      <a:pt x="103" y="70"/>
                    </a:lnTo>
                    <a:lnTo>
                      <a:pt x="103" y="68"/>
                    </a:lnTo>
                    <a:lnTo>
                      <a:pt x="105" y="64"/>
                    </a:lnTo>
                    <a:lnTo>
                      <a:pt x="106" y="64"/>
                    </a:lnTo>
                    <a:lnTo>
                      <a:pt x="106" y="62"/>
                    </a:lnTo>
                    <a:lnTo>
                      <a:pt x="106" y="61"/>
                    </a:lnTo>
                    <a:lnTo>
                      <a:pt x="108" y="59"/>
                    </a:lnTo>
                    <a:lnTo>
                      <a:pt x="114" y="51"/>
                    </a:lnTo>
                    <a:lnTo>
                      <a:pt x="114" y="53"/>
                    </a:lnTo>
                    <a:lnTo>
                      <a:pt x="114" y="55"/>
                    </a:lnTo>
                    <a:lnTo>
                      <a:pt x="114" y="53"/>
                    </a:lnTo>
                    <a:lnTo>
                      <a:pt x="116" y="53"/>
                    </a:lnTo>
                    <a:lnTo>
                      <a:pt x="116" y="55"/>
                    </a:lnTo>
                    <a:lnTo>
                      <a:pt x="114" y="55"/>
                    </a:lnTo>
                    <a:lnTo>
                      <a:pt x="112" y="55"/>
                    </a:lnTo>
                    <a:lnTo>
                      <a:pt x="114" y="57"/>
                    </a:lnTo>
                    <a:lnTo>
                      <a:pt x="116" y="55"/>
                    </a:lnTo>
                    <a:lnTo>
                      <a:pt x="116" y="57"/>
                    </a:lnTo>
                    <a:lnTo>
                      <a:pt x="114" y="57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7"/>
                    </a:lnTo>
                    <a:lnTo>
                      <a:pt x="110" y="59"/>
                    </a:lnTo>
                    <a:lnTo>
                      <a:pt x="110" y="61"/>
                    </a:lnTo>
                    <a:lnTo>
                      <a:pt x="110" y="59"/>
                    </a:lnTo>
                    <a:lnTo>
                      <a:pt x="110" y="61"/>
                    </a:lnTo>
                    <a:lnTo>
                      <a:pt x="110" y="59"/>
                    </a:lnTo>
                    <a:lnTo>
                      <a:pt x="114" y="59"/>
                    </a:lnTo>
                    <a:lnTo>
                      <a:pt x="114" y="57"/>
                    </a:lnTo>
                    <a:lnTo>
                      <a:pt x="118" y="57"/>
                    </a:lnTo>
                    <a:lnTo>
                      <a:pt x="118" y="55"/>
                    </a:lnTo>
                    <a:lnTo>
                      <a:pt x="122" y="55"/>
                    </a:lnTo>
                    <a:lnTo>
                      <a:pt x="126" y="53"/>
                    </a:lnTo>
                    <a:lnTo>
                      <a:pt x="127" y="51"/>
                    </a:lnTo>
                    <a:lnTo>
                      <a:pt x="129" y="49"/>
                    </a:lnTo>
                    <a:lnTo>
                      <a:pt x="131" y="49"/>
                    </a:lnTo>
                    <a:lnTo>
                      <a:pt x="135" y="45"/>
                    </a:lnTo>
                    <a:lnTo>
                      <a:pt x="129" y="49"/>
                    </a:lnTo>
                    <a:lnTo>
                      <a:pt x="135" y="43"/>
                    </a:lnTo>
                    <a:lnTo>
                      <a:pt x="141" y="38"/>
                    </a:lnTo>
                    <a:lnTo>
                      <a:pt x="139" y="40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1" y="40"/>
                    </a:lnTo>
                    <a:lnTo>
                      <a:pt x="145" y="38"/>
                    </a:lnTo>
                    <a:lnTo>
                      <a:pt x="145" y="42"/>
                    </a:lnTo>
                    <a:lnTo>
                      <a:pt x="143" y="43"/>
                    </a:lnTo>
                    <a:lnTo>
                      <a:pt x="139" y="45"/>
                    </a:lnTo>
                    <a:lnTo>
                      <a:pt x="143" y="45"/>
                    </a:lnTo>
                    <a:lnTo>
                      <a:pt x="145" y="43"/>
                    </a:lnTo>
                    <a:lnTo>
                      <a:pt x="143" y="45"/>
                    </a:lnTo>
                    <a:lnTo>
                      <a:pt x="143" y="47"/>
                    </a:lnTo>
                    <a:lnTo>
                      <a:pt x="141" y="49"/>
                    </a:lnTo>
                    <a:lnTo>
                      <a:pt x="139" y="49"/>
                    </a:lnTo>
                    <a:lnTo>
                      <a:pt x="141" y="51"/>
                    </a:lnTo>
                    <a:lnTo>
                      <a:pt x="139" y="53"/>
                    </a:lnTo>
                    <a:lnTo>
                      <a:pt x="143" y="49"/>
                    </a:lnTo>
                    <a:lnTo>
                      <a:pt x="145" y="51"/>
                    </a:lnTo>
                    <a:lnTo>
                      <a:pt x="145" y="53"/>
                    </a:lnTo>
                    <a:lnTo>
                      <a:pt x="145" y="55"/>
                    </a:lnTo>
                    <a:lnTo>
                      <a:pt x="147" y="55"/>
                    </a:lnTo>
                    <a:lnTo>
                      <a:pt x="147" y="57"/>
                    </a:lnTo>
                    <a:lnTo>
                      <a:pt x="147" y="59"/>
                    </a:lnTo>
                    <a:lnTo>
                      <a:pt x="148" y="59"/>
                    </a:lnTo>
                    <a:lnTo>
                      <a:pt x="148" y="61"/>
                    </a:lnTo>
                    <a:lnTo>
                      <a:pt x="148" y="59"/>
                    </a:lnTo>
                    <a:lnTo>
                      <a:pt x="147" y="59"/>
                    </a:lnTo>
                    <a:lnTo>
                      <a:pt x="147" y="57"/>
                    </a:lnTo>
                    <a:lnTo>
                      <a:pt x="145" y="55"/>
                    </a:lnTo>
                    <a:lnTo>
                      <a:pt x="147" y="53"/>
                    </a:lnTo>
                    <a:lnTo>
                      <a:pt x="145" y="51"/>
                    </a:lnTo>
                    <a:lnTo>
                      <a:pt x="147" y="51"/>
                    </a:lnTo>
                    <a:lnTo>
                      <a:pt x="145" y="51"/>
                    </a:lnTo>
                    <a:lnTo>
                      <a:pt x="147" y="49"/>
                    </a:lnTo>
                    <a:lnTo>
                      <a:pt x="145" y="49"/>
                    </a:lnTo>
                    <a:lnTo>
                      <a:pt x="145" y="45"/>
                    </a:lnTo>
                    <a:lnTo>
                      <a:pt x="147" y="45"/>
                    </a:lnTo>
                    <a:lnTo>
                      <a:pt x="147" y="43"/>
                    </a:lnTo>
                    <a:lnTo>
                      <a:pt x="148" y="45"/>
                    </a:lnTo>
                    <a:lnTo>
                      <a:pt x="152" y="42"/>
                    </a:lnTo>
                    <a:lnTo>
                      <a:pt x="152" y="45"/>
                    </a:lnTo>
                    <a:lnTo>
                      <a:pt x="152" y="43"/>
                    </a:lnTo>
                    <a:lnTo>
                      <a:pt x="154" y="42"/>
                    </a:lnTo>
                    <a:lnTo>
                      <a:pt x="154" y="43"/>
                    </a:lnTo>
                    <a:lnTo>
                      <a:pt x="154" y="42"/>
                    </a:lnTo>
                    <a:lnTo>
                      <a:pt x="152" y="42"/>
                    </a:lnTo>
                    <a:lnTo>
                      <a:pt x="150" y="42"/>
                    </a:lnTo>
                    <a:lnTo>
                      <a:pt x="150" y="43"/>
                    </a:lnTo>
                    <a:lnTo>
                      <a:pt x="148" y="42"/>
                    </a:lnTo>
                    <a:lnTo>
                      <a:pt x="148" y="43"/>
                    </a:lnTo>
                    <a:lnTo>
                      <a:pt x="147" y="43"/>
                    </a:lnTo>
                    <a:lnTo>
                      <a:pt x="145" y="38"/>
                    </a:lnTo>
                    <a:lnTo>
                      <a:pt x="143" y="36"/>
                    </a:lnTo>
                    <a:lnTo>
                      <a:pt x="141" y="38"/>
                    </a:lnTo>
                    <a:lnTo>
                      <a:pt x="148" y="28"/>
                    </a:lnTo>
                    <a:lnTo>
                      <a:pt x="156" y="24"/>
                    </a:lnTo>
                    <a:lnTo>
                      <a:pt x="154" y="24"/>
                    </a:lnTo>
                    <a:lnTo>
                      <a:pt x="152" y="26"/>
                    </a:lnTo>
                    <a:lnTo>
                      <a:pt x="156" y="26"/>
                    </a:lnTo>
                    <a:lnTo>
                      <a:pt x="158" y="28"/>
                    </a:lnTo>
                    <a:lnTo>
                      <a:pt x="154" y="28"/>
                    </a:lnTo>
                    <a:lnTo>
                      <a:pt x="152" y="30"/>
                    </a:lnTo>
                    <a:lnTo>
                      <a:pt x="152" y="28"/>
                    </a:lnTo>
                    <a:lnTo>
                      <a:pt x="150" y="28"/>
                    </a:lnTo>
                    <a:lnTo>
                      <a:pt x="152" y="30"/>
                    </a:lnTo>
                    <a:lnTo>
                      <a:pt x="154" y="30"/>
                    </a:lnTo>
                    <a:lnTo>
                      <a:pt x="152" y="32"/>
                    </a:lnTo>
                    <a:lnTo>
                      <a:pt x="154" y="30"/>
                    </a:lnTo>
                    <a:lnTo>
                      <a:pt x="154" y="28"/>
                    </a:lnTo>
                    <a:lnTo>
                      <a:pt x="154" y="30"/>
                    </a:lnTo>
                    <a:lnTo>
                      <a:pt x="154" y="32"/>
                    </a:lnTo>
                    <a:lnTo>
                      <a:pt x="156" y="36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4" y="32"/>
                    </a:lnTo>
                    <a:lnTo>
                      <a:pt x="154" y="30"/>
                    </a:lnTo>
                    <a:lnTo>
                      <a:pt x="156" y="30"/>
                    </a:lnTo>
                    <a:lnTo>
                      <a:pt x="158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58" y="28"/>
                    </a:lnTo>
                    <a:lnTo>
                      <a:pt x="160" y="28"/>
                    </a:lnTo>
                    <a:lnTo>
                      <a:pt x="164" y="28"/>
                    </a:lnTo>
                    <a:lnTo>
                      <a:pt x="168" y="28"/>
                    </a:lnTo>
                    <a:lnTo>
                      <a:pt x="169" y="28"/>
                    </a:lnTo>
                    <a:lnTo>
                      <a:pt x="166" y="26"/>
                    </a:lnTo>
                    <a:lnTo>
                      <a:pt x="171" y="28"/>
                    </a:lnTo>
                    <a:lnTo>
                      <a:pt x="175" y="26"/>
                    </a:lnTo>
                    <a:lnTo>
                      <a:pt x="177" y="24"/>
                    </a:lnTo>
                    <a:lnTo>
                      <a:pt x="183" y="21"/>
                    </a:lnTo>
                    <a:lnTo>
                      <a:pt x="185" y="19"/>
                    </a:lnTo>
                    <a:lnTo>
                      <a:pt x="187" y="19"/>
                    </a:lnTo>
                    <a:lnTo>
                      <a:pt x="185" y="19"/>
                    </a:lnTo>
                    <a:lnTo>
                      <a:pt x="190" y="11"/>
                    </a:lnTo>
                    <a:lnTo>
                      <a:pt x="190" y="13"/>
                    </a:lnTo>
                    <a:lnTo>
                      <a:pt x="192" y="13"/>
                    </a:lnTo>
                    <a:lnTo>
                      <a:pt x="190" y="11"/>
                    </a:lnTo>
                    <a:lnTo>
                      <a:pt x="190" y="9"/>
                    </a:lnTo>
                    <a:lnTo>
                      <a:pt x="194" y="5"/>
                    </a:lnTo>
                    <a:lnTo>
                      <a:pt x="196" y="1"/>
                    </a:lnTo>
                    <a:lnTo>
                      <a:pt x="198" y="1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0" y="1"/>
                    </a:lnTo>
                    <a:lnTo>
                      <a:pt x="200" y="0"/>
                    </a:lnTo>
                    <a:lnTo>
                      <a:pt x="198" y="1"/>
                    </a:lnTo>
                    <a:lnTo>
                      <a:pt x="196" y="1"/>
                    </a:lnTo>
                    <a:lnTo>
                      <a:pt x="198" y="3"/>
                    </a:lnTo>
                    <a:lnTo>
                      <a:pt x="200" y="3"/>
                    </a:lnTo>
                    <a:lnTo>
                      <a:pt x="200" y="5"/>
                    </a:lnTo>
                    <a:lnTo>
                      <a:pt x="206" y="7"/>
                    </a:lnTo>
                    <a:lnTo>
                      <a:pt x="204" y="7"/>
                    </a:lnTo>
                    <a:lnTo>
                      <a:pt x="206" y="7"/>
                    </a:lnTo>
                    <a:lnTo>
                      <a:pt x="206" y="9"/>
                    </a:lnTo>
                    <a:lnTo>
                      <a:pt x="206" y="11"/>
                    </a:lnTo>
                    <a:lnTo>
                      <a:pt x="208" y="9"/>
                    </a:lnTo>
                    <a:lnTo>
                      <a:pt x="208" y="7"/>
                    </a:lnTo>
                    <a:lnTo>
                      <a:pt x="208" y="9"/>
                    </a:lnTo>
                    <a:lnTo>
                      <a:pt x="209" y="9"/>
                    </a:lnTo>
                    <a:lnTo>
                      <a:pt x="208" y="9"/>
                    </a:lnTo>
                    <a:lnTo>
                      <a:pt x="209" y="9"/>
                    </a:lnTo>
                    <a:lnTo>
                      <a:pt x="213" y="9"/>
                    </a:lnTo>
                    <a:lnTo>
                      <a:pt x="215" y="13"/>
                    </a:lnTo>
                    <a:lnTo>
                      <a:pt x="213" y="15"/>
                    </a:lnTo>
                    <a:lnTo>
                      <a:pt x="211" y="17"/>
                    </a:lnTo>
                    <a:lnTo>
                      <a:pt x="211" y="19"/>
                    </a:lnTo>
                    <a:lnTo>
                      <a:pt x="209" y="19"/>
                    </a:lnTo>
                    <a:lnTo>
                      <a:pt x="209" y="21"/>
                    </a:lnTo>
                    <a:lnTo>
                      <a:pt x="206" y="21"/>
                    </a:lnTo>
                    <a:lnTo>
                      <a:pt x="208" y="22"/>
                    </a:lnTo>
                    <a:lnTo>
                      <a:pt x="206" y="22"/>
                    </a:lnTo>
                    <a:lnTo>
                      <a:pt x="204" y="22"/>
                    </a:lnTo>
                    <a:lnTo>
                      <a:pt x="206" y="22"/>
                    </a:lnTo>
                    <a:lnTo>
                      <a:pt x="206" y="24"/>
                    </a:lnTo>
                    <a:lnTo>
                      <a:pt x="206" y="22"/>
                    </a:lnTo>
                    <a:lnTo>
                      <a:pt x="208" y="24"/>
                    </a:lnTo>
                    <a:lnTo>
                      <a:pt x="206" y="24"/>
                    </a:lnTo>
                    <a:lnTo>
                      <a:pt x="208" y="24"/>
                    </a:lnTo>
                    <a:lnTo>
                      <a:pt x="206" y="24"/>
                    </a:lnTo>
                    <a:lnTo>
                      <a:pt x="208" y="26"/>
                    </a:lnTo>
                    <a:lnTo>
                      <a:pt x="206" y="24"/>
                    </a:lnTo>
                    <a:lnTo>
                      <a:pt x="206" y="26"/>
                    </a:lnTo>
                    <a:lnTo>
                      <a:pt x="208" y="26"/>
                    </a:lnTo>
                    <a:lnTo>
                      <a:pt x="208" y="24"/>
                    </a:lnTo>
                    <a:lnTo>
                      <a:pt x="208" y="26"/>
                    </a:lnTo>
                    <a:lnTo>
                      <a:pt x="206" y="26"/>
                    </a:lnTo>
                    <a:lnTo>
                      <a:pt x="208" y="26"/>
                    </a:lnTo>
                    <a:lnTo>
                      <a:pt x="208" y="28"/>
                    </a:lnTo>
                    <a:lnTo>
                      <a:pt x="206" y="30"/>
                    </a:lnTo>
                    <a:lnTo>
                      <a:pt x="208" y="30"/>
                    </a:lnTo>
                    <a:lnTo>
                      <a:pt x="208" y="28"/>
                    </a:lnTo>
                    <a:lnTo>
                      <a:pt x="209" y="26"/>
                    </a:lnTo>
                    <a:lnTo>
                      <a:pt x="211" y="26"/>
                    </a:lnTo>
                    <a:lnTo>
                      <a:pt x="211" y="28"/>
                    </a:lnTo>
                    <a:lnTo>
                      <a:pt x="211" y="26"/>
                    </a:lnTo>
                    <a:lnTo>
                      <a:pt x="213" y="28"/>
                    </a:lnTo>
                    <a:lnTo>
                      <a:pt x="213" y="26"/>
                    </a:lnTo>
                    <a:lnTo>
                      <a:pt x="215" y="24"/>
                    </a:lnTo>
                    <a:lnTo>
                      <a:pt x="215" y="21"/>
                    </a:lnTo>
                    <a:lnTo>
                      <a:pt x="217" y="19"/>
                    </a:lnTo>
                    <a:lnTo>
                      <a:pt x="219" y="17"/>
                    </a:lnTo>
                    <a:lnTo>
                      <a:pt x="219" y="19"/>
                    </a:lnTo>
                    <a:lnTo>
                      <a:pt x="219" y="17"/>
                    </a:lnTo>
                    <a:lnTo>
                      <a:pt x="219" y="15"/>
                    </a:lnTo>
                    <a:lnTo>
                      <a:pt x="221" y="13"/>
                    </a:lnTo>
                    <a:lnTo>
                      <a:pt x="221" y="17"/>
                    </a:lnTo>
                    <a:lnTo>
                      <a:pt x="221" y="13"/>
                    </a:lnTo>
                    <a:lnTo>
                      <a:pt x="221" y="11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3" y="17"/>
                    </a:lnTo>
                    <a:lnTo>
                      <a:pt x="223" y="13"/>
                    </a:lnTo>
                    <a:lnTo>
                      <a:pt x="225" y="13"/>
                    </a:lnTo>
                    <a:lnTo>
                      <a:pt x="225" y="15"/>
                    </a:lnTo>
                    <a:lnTo>
                      <a:pt x="225" y="13"/>
                    </a:lnTo>
                    <a:lnTo>
                      <a:pt x="225" y="15"/>
                    </a:lnTo>
                    <a:lnTo>
                      <a:pt x="227" y="15"/>
                    </a:lnTo>
                    <a:lnTo>
                      <a:pt x="229" y="19"/>
                    </a:lnTo>
                    <a:lnTo>
                      <a:pt x="229" y="22"/>
                    </a:lnTo>
                    <a:lnTo>
                      <a:pt x="227" y="24"/>
                    </a:lnTo>
                    <a:lnTo>
                      <a:pt x="227" y="26"/>
                    </a:lnTo>
                    <a:lnTo>
                      <a:pt x="227" y="24"/>
                    </a:lnTo>
                    <a:lnTo>
                      <a:pt x="229" y="24"/>
                    </a:lnTo>
                    <a:lnTo>
                      <a:pt x="227" y="24"/>
                    </a:lnTo>
                    <a:lnTo>
                      <a:pt x="229" y="24"/>
                    </a:lnTo>
                    <a:lnTo>
                      <a:pt x="229" y="26"/>
                    </a:lnTo>
                    <a:lnTo>
                      <a:pt x="229" y="28"/>
                    </a:lnTo>
                    <a:lnTo>
                      <a:pt x="232" y="26"/>
                    </a:lnTo>
                    <a:lnTo>
                      <a:pt x="232" y="28"/>
                    </a:lnTo>
                    <a:lnTo>
                      <a:pt x="234" y="28"/>
                    </a:lnTo>
                    <a:lnTo>
                      <a:pt x="234" y="30"/>
                    </a:lnTo>
                    <a:lnTo>
                      <a:pt x="236" y="30"/>
                    </a:lnTo>
                    <a:lnTo>
                      <a:pt x="238" y="28"/>
                    </a:lnTo>
                    <a:lnTo>
                      <a:pt x="240" y="24"/>
                    </a:lnTo>
                    <a:lnTo>
                      <a:pt x="246" y="24"/>
                    </a:lnTo>
                    <a:lnTo>
                      <a:pt x="251" y="22"/>
                    </a:lnTo>
                    <a:lnTo>
                      <a:pt x="253" y="22"/>
                    </a:lnTo>
                    <a:lnTo>
                      <a:pt x="253" y="24"/>
                    </a:lnTo>
                    <a:lnTo>
                      <a:pt x="255" y="24"/>
                    </a:lnTo>
                    <a:lnTo>
                      <a:pt x="257" y="26"/>
                    </a:lnTo>
                    <a:lnTo>
                      <a:pt x="257" y="24"/>
                    </a:lnTo>
                    <a:lnTo>
                      <a:pt x="259" y="26"/>
                    </a:lnTo>
                    <a:lnTo>
                      <a:pt x="259" y="28"/>
                    </a:lnTo>
                    <a:lnTo>
                      <a:pt x="259" y="30"/>
                    </a:lnTo>
                    <a:lnTo>
                      <a:pt x="259" y="32"/>
                    </a:lnTo>
                    <a:lnTo>
                      <a:pt x="261" y="30"/>
                    </a:lnTo>
                    <a:lnTo>
                      <a:pt x="259" y="32"/>
                    </a:lnTo>
                    <a:lnTo>
                      <a:pt x="259" y="26"/>
                    </a:lnTo>
                    <a:lnTo>
                      <a:pt x="259" y="28"/>
                    </a:lnTo>
                    <a:lnTo>
                      <a:pt x="261" y="26"/>
                    </a:lnTo>
                    <a:lnTo>
                      <a:pt x="259" y="24"/>
                    </a:lnTo>
                    <a:lnTo>
                      <a:pt x="261" y="24"/>
                    </a:lnTo>
                    <a:lnTo>
                      <a:pt x="267" y="26"/>
                    </a:lnTo>
                    <a:lnTo>
                      <a:pt x="267" y="28"/>
                    </a:lnTo>
                    <a:lnTo>
                      <a:pt x="265" y="28"/>
                    </a:lnTo>
                    <a:lnTo>
                      <a:pt x="265" y="32"/>
                    </a:lnTo>
                    <a:lnTo>
                      <a:pt x="263" y="32"/>
                    </a:lnTo>
                    <a:lnTo>
                      <a:pt x="265" y="32"/>
                    </a:lnTo>
                    <a:lnTo>
                      <a:pt x="263" y="34"/>
                    </a:lnTo>
                    <a:lnTo>
                      <a:pt x="263" y="36"/>
                    </a:lnTo>
                    <a:lnTo>
                      <a:pt x="261" y="36"/>
                    </a:lnTo>
                    <a:lnTo>
                      <a:pt x="263" y="36"/>
                    </a:lnTo>
                    <a:lnTo>
                      <a:pt x="263" y="38"/>
                    </a:lnTo>
                    <a:lnTo>
                      <a:pt x="265" y="38"/>
                    </a:lnTo>
                    <a:lnTo>
                      <a:pt x="267" y="38"/>
                    </a:lnTo>
                    <a:lnTo>
                      <a:pt x="269" y="38"/>
                    </a:lnTo>
                    <a:lnTo>
                      <a:pt x="269" y="40"/>
                    </a:lnTo>
                    <a:lnTo>
                      <a:pt x="267" y="40"/>
                    </a:lnTo>
                    <a:lnTo>
                      <a:pt x="265" y="40"/>
                    </a:lnTo>
                    <a:lnTo>
                      <a:pt x="263" y="40"/>
                    </a:lnTo>
                    <a:lnTo>
                      <a:pt x="261" y="40"/>
                    </a:lnTo>
                    <a:lnTo>
                      <a:pt x="261" y="42"/>
                    </a:lnTo>
                    <a:lnTo>
                      <a:pt x="261" y="40"/>
                    </a:lnTo>
                    <a:lnTo>
                      <a:pt x="263" y="42"/>
                    </a:lnTo>
                    <a:lnTo>
                      <a:pt x="263" y="40"/>
                    </a:lnTo>
                    <a:lnTo>
                      <a:pt x="265" y="40"/>
                    </a:lnTo>
                    <a:lnTo>
                      <a:pt x="265" y="42"/>
                    </a:lnTo>
                    <a:lnTo>
                      <a:pt x="269" y="40"/>
                    </a:lnTo>
                    <a:lnTo>
                      <a:pt x="269" y="42"/>
                    </a:lnTo>
                    <a:lnTo>
                      <a:pt x="269" y="40"/>
                    </a:lnTo>
                    <a:lnTo>
                      <a:pt x="270" y="40"/>
                    </a:lnTo>
                    <a:lnTo>
                      <a:pt x="274" y="40"/>
                    </a:lnTo>
                    <a:lnTo>
                      <a:pt x="274" y="42"/>
                    </a:lnTo>
                    <a:lnTo>
                      <a:pt x="272" y="42"/>
                    </a:lnTo>
                    <a:lnTo>
                      <a:pt x="274" y="43"/>
                    </a:lnTo>
                    <a:lnTo>
                      <a:pt x="274" y="42"/>
                    </a:lnTo>
                    <a:lnTo>
                      <a:pt x="274" y="43"/>
                    </a:lnTo>
                    <a:lnTo>
                      <a:pt x="272" y="43"/>
                    </a:lnTo>
                    <a:lnTo>
                      <a:pt x="270" y="45"/>
                    </a:lnTo>
                    <a:lnTo>
                      <a:pt x="272" y="45"/>
                    </a:lnTo>
                    <a:lnTo>
                      <a:pt x="276" y="45"/>
                    </a:lnTo>
                    <a:lnTo>
                      <a:pt x="280" y="45"/>
                    </a:lnTo>
                    <a:lnTo>
                      <a:pt x="280" y="47"/>
                    </a:lnTo>
                    <a:lnTo>
                      <a:pt x="282" y="47"/>
                    </a:lnTo>
                    <a:lnTo>
                      <a:pt x="284" y="49"/>
                    </a:lnTo>
                    <a:lnTo>
                      <a:pt x="282" y="49"/>
                    </a:lnTo>
                    <a:lnTo>
                      <a:pt x="284" y="49"/>
                    </a:lnTo>
                    <a:lnTo>
                      <a:pt x="284" y="47"/>
                    </a:lnTo>
                    <a:lnTo>
                      <a:pt x="284" y="45"/>
                    </a:lnTo>
                    <a:lnTo>
                      <a:pt x="288" y="45"/>
                    </a:lnTo>
                    <a:lnTo>
                      <a:pt x="288" y="43"/>
                    </a:lnTo>
                    <a:lnTo>
                      <a:pt x="290" y="45"/>
                    </a:lnTo>
                    <a:lnTo>
                      <a:pt x="290" y="43"/>
                    </a:lnTo>
                    <a:lnTo>
                      <a:pt x="291" y="45"/>
                    </a:lnTo>
                    <a:lnTo>
                      <a:pt x="288" y="53"/>
                    </a:lnTo>
                    <a:lnTo>
                      <a:pt x="290" y="55"/>
                    </a:lnTo>
                    <a:lnTo>
                      <a:pt x="290" y="51"/>
                    </a:lnTo>
                    <a:lnTo>
                      <a:pt x="291" y="51"/>
                    </a:lnTo>
                    <a:lnTo>
                      <a:pt x="293" y="49"/>
                    </a:lnTo>
                    <a:lnTo>
                      <a:pt x="295" y="51"/>
                    </a:lnTo>
                    <a:lnTo>
                      <a:pt x="293" y="49"/>
                    </a:lnTo>
                    <a:lnTo>
                      <a:pt x="293" y="47"/>
                    </a:lnTo>
                    <a:lnTo>
                      <a:pt x="295" y="47"/>
                    </a:lnTo>
                    <a:lnTo>
                      <a:pt x="297" y="47"/>
                    </a:lnTo>
                    <a:lnTo>
                      <a:pt x="299" y="45"/>
                    </a:lnTo>
                    <a:lnTo>
                      <a:pt x="301" y="45"/>
                    </a:lnTo>
                    <a:lnTo>
                      <a:pt x="301" y="47"/>
                    </a:lnTo>
                    <a:lnTo>
                      <a:pt x="301" y="45"/>
                    </a:lnTo>
                    <a:lnTo>
                      <a:pt x="305" y="42"/>
                    </a:lnTo>
                    <a:lnTo>
                      <a:pt x="305" y="43"/>
                    </a:lnTo>
                    <a:lnTo>
                      <a:pt x="307" y="43"/>
                    </a:lnTo>
                    <a:lnTo>
                      <a:pt x="305" y="43"/>
                    </a:lnTo>
                    <a:lnTo>
                      <a:pt x="307" y="42"/>
                    </a:lnTo>
                    <a:lnTo>
                      <a:pt x="307" y="43"/>
                    </a:lnTo>
                    <a:lnTo>
                      <a:pt x="307" y="42"/>
                    </a:lnTo>
                    <a:lnTo>
                      <a:pt x="309" y="43"/>
                    </a:lnTo>
                    <a:lnTo>
                      <a:pt x="311" y="42"/>
                    </a:lnTo>
                    <a:lnTo>
                      <a:pt x="311" y="43"/>
                    </a:lnTo>
                    <a:lnTo>
                      <a:pt x="312" y="43"/>
                    </a:lnTo>
                    <a:lnTo>
                      <a:pt x="312" y="45"/>
                    </a:lnTo>
                    <a:lnTo>
                      <a:pt x="312" y="43"/>
                    </a:lnTo>
                    <a:lnTo>
                      <a:pt x="316" y="45"/>
                    </a:lnTo>
                    <a:lnTo>
                      <a:pt x="318" y="45"/>
                    </a:lnTo>
                    <a:lnTo>
                      <a:pt x="316" y="47"/>
                    </a:lnTo>
                    <a:lnTo>
                      <a:pt x="318" y="45"/>
                    </a:lnTo>
                    <a:lnTo>
                      <a:pt x="318" y="47"/>
                    </a:lnTo>
                    <a:lnTo>
                      <a:pt x="318" y="49"/>
                    </a:lnTo>
                    <a:lnTo>
                      <a:pt x="320" y="47"/>
                    </a:lnTo>
                    <a:lnTo>
                      <a:pt x="318" y="49"/>
                    </a:lnTo>
                    <a:lnTo>
                      <a:pt x="320" y="49"/>
                    </a:lnTo>
                    <a:lnTo>
                      <a:pt x="320" y="47"/>
                    </a:lnTo>
                    <a:lnTo>
                      <a:pt x="320" y="49"/>
                    </a:lnTo>
                    <a:lnTo>
                      <a:pt x="318" y="49"/>
                    </a:lnTo>
                    <a:lnTo>
                      <a:pt x="320" y="49"/>
                    </a:lnTo>
                    <a:lnTo>
                      <a:pt x="320" y="47"/>
                    </a:lnTo>
                    <a:lnTo>
                      <a:pt x="322" y="47"/>
                    </a:lnTo>
                    <a:lnTo>
                      <a:pt x="324" y="47"/>
                    </a:lnTo>
                    <a:lnTo>
                      <a:pt x="326" y="49"/>
                    </a:lnTo>
                    <a:lnTo>
                      <a:pt x="326" y="47"/>
                    </a:lnTo>
                    <a:lnTo>
                      <a:pt x="326" y="49"/>
                    </a:lnTo>
                    <a:lnTo>
                      <a:pt x="326" y="51"/>
                    </a:lnTo>
                    <a:lnTo>
                      <a:pt x="328" y="51"/>
                    </a:lnTo>
                    <a:lnTo>
                      <a:pt x="332" y="49"/>
                    </a:lnTo>
                    <a:lnTo>
                      <a:pt x="330" y="51"/>
                    </a:lnTo>
                    <a:lnTo>
                      <a:pt x="332" y="53"/>
                    </a:lnTo>
                    <a:lnTo>
                      <a:pt x="330" y="53"/>
                    </a:lnTo>
                    <a:lnTo>
                      <a:pt x="332" y="53"/>
                    </a:lnTo>
                    <a:lnTo>
                      <a:pt x="333" y="51"/>
                    </a:lnTo>
                    <a:lnTo>
                      <a:pt x="333" y="53"/>
                    </a:lnTo>
                    <a:lnTo>
                      <a:pt x="332" y="53"/>
                    </a:lnTo>
                    <a:lnTo>
                      <a:pt x="332" y="55"/>
                    </a:lnTo>
                    <a:lnTo>
                      <a:pt x="332" y="53"/>
                    </a:lnTo>
                    <a:lnTo>
                      <a:pt x="332" y="55"/>
                    </a:lnTo>
                    <a:lnTo>
                      <a:pt x="332" y="53"/>
                    </a:lnTo>
                    <a:lnTo>
                      <a:pt x="333" y="55"/>
                    </a:lnTo>
                    <a:lnTo>
                      <a:pt x="332" y="55"/>
                    </a:lnTo>
                    <a:lnTo>
                      <a:pt x="333" y="55"/>
                    </a:lnTo>
                    <a:lnTo>
                      <a:pt x="333" y="53"/>
                    </a:lnTo>
                    <a:lnTo>
                      <a:pt x="335" y="53"/>
                    </a:lnTo>
                    <a:lnTo>
                      <a:pt x="335" y="55"/>
                    </a:lnTo>
                    <a:lnTo>
                      <a:pt x="333" y="57"/>
                    </a:lnTo>
                    <a:lnTo>
                      <a:pt x="335" y="57"/>
                    </a:lnTo>
                    <a:lnTo>
                      <a:pt x="335" y="55"/>
                    </a:lnTo>
                    <a:lnTo>
                      <a:pt x="337" y="55"/>
                    </a:lnTo>
                    <a:lnTo>
                      <a:pt x="335" y="57"/>
                    </a:lnTo>
                    <a:lnTo>
                      <a:pt x="337" y="55"/>
                    </a:lnTo>
                    <a:lnTo>
                      <a:pt x="339" y="57"/>
                    </a:lnTo>
                    <a:lnTo>
                      <a:pt x="341" y="57"/>
                    </a:lnTo>
                    <a:lnTo>
                      <a:pt x="343" y="57"/>
                    </a:lnTo>
                    <a:lnTo>
                      <a:pt x="345" y="57"/>
                    </a:lnTo>
                    <a:lnTo>
                      <a:pt x="345" y="59"/>
                    </a:lnTo>
                    <a:lnTo>
                      <a:pt x="345" y="57"/>
                    </a:lnTo>
                    <a:lnTo>
                      <a:pt x="347" y="59"/>
                    </a:lnTo>
                    <a:lnTo>
                      <a:pt x="349" y="59"/>
                    </a:lnTo>
                    <a:lnTo>
                      <a:pt x="349" y="61"/>
                    </a:lnTo>
                    <a:lnTo>
                      <a:pt x="349" y="59"/>
                    </a:lnTo>
                    <a:lnTo>
                      <a:pt x="351" y="59"/>
                    </a:lnTo>
                    <a:lnTo>
                      <a:pt x="352" y="59"/>
                    </a:lnTo>
                    <a:lnTo>
                      <a:pt x="352" y="57"/>
                    </a:lnTo>
                    <a:lnTo>
                      <a:pt x="354" y="59"/>
                    </a:lnTo>
                    <a:lnTo>
                      <a:pt x="356" y="57"/>
                    </a:lnTo>
                    <a:lnTo>
                      <a:pt x="354" y="59"/>
                    </a:lnTo>
                    <a:lnTo>
                      <a:pt x="356" y="59"/>
                    </a:lnTo>
                    <a:lnTo>
                      <a:pt x="356" y="57"/>
                    </a:lnTo>
                    <a:lnTo>
                      <a:pt x="358" y="57"/>
                    </a:lnTo>
                    <a:lnTo>
                      <a:pt x="358" y="59"/>
                    </a:lnTo>
                    <a:lnTo>
                      <a:pt x="360" y="59"/>
                    </a:lnTo>
                    <a:lnTo>
                      <a:pt x="366" y="61"/>
                    </a:lnTo>
                    <a:lnTo>
                      <a:pt x="366" y="59"/>
                    </a:lnTo>
                    <a:lnTo>
                      <a:pt x="368" y="61"/>
                    </a:lnTo>
                    <a:lnTo>
                      <a:pt x="368" y="59"/>
                    </a:lnTo>
                    <a:lnTo>
                      <a:pt x="372" y="62"/>
                    </a:lnTo>
                    <a:lnTo>
                      <a:pt x="373" y="62"/>
                    </a:lnTo>
                    <a:lnTo>
                      <a:pt x="373" y="64"/>
                    </a:lnTo>
                    <a:lnTo>
                      <a:pt x="377" y="66"/>
                    </a:lnTo>
                    <a:lnTo>
                      <a:pt x="379" y="64"/>
                    </a:lnTo>
                    <a:lnTo>
                      <a:pt x="377" y="66"/>
                    </a:lnTo>
                    <a:lnTo>
                      <a:pt x="375" y="66"/>
                    </a:lnTo>
                    <a:lnTo>
                      <a:pt x="379" y="66"/>
                    </a:lnTo>
                    <a:lnTo>
                      <a:pt x="381" y="66"/>
                    </a:lnTo>
                    <a:lnTo>
                      <a:pt x="383" y="68"/>
                    </a:lnTo>
                    <a:lnTo>
                      <a:pt x="385" y="68"/>
                    </a:lnTo>
                    <a:lnTo>
                      <a:pt x="383" y="66"/>
                    </a:lnTo>
                    <a:lnTo>
                      <a:pt x="387" y="68"/>
                    </a:lnTo>
                    <a:lnTo>
                      <a:pt x="391" y="64"/>
                    </a:lnTo>
                    <a:lnTo>
                      <a:pt x="394" y="64"/>
                    </a:lnTo>
                    <a:lnTo>
                      <a:pt x="396" y="64"/>
                    </a:lnTo>
                    <a:lnTo>
                      <a:pt x="396" y="62"/>
                    </a:lnTo>
                    <a:lnTo>
                      <a:pt x="398" y="62"/>
                    </a:lnTo>
                    <a:lnTo>
                      <a:pt x="398" y="64"/>
                    </a:lnTo>
                    <a:lnTo>
                      <a:pt x="398" y="62"/>
                    </a:lnTo>
                    <a:lnTo>
                      <a:pt x="398" y="64"/>
                    </a:lnTo>
                    <a:lnTo>
                      <a:pt x="400" y="62"/>
                    </a:lnTo>
                    <a:lnTo>
                      <a:pt x="402" y="61"/>
                    </a:lnTo>
                    <a:lnTo>
                      <a:pt x="402" y="62"/>
                    </a:lnTo>
                    <a:lnTo>
                      <a:pt x="404" y="62"/>
                    </a:lnTo>
                    <a:lnTo>
                      <a:pt x="406" y="61"/>
                    </a:lnTo>
                    <a:lnTo>
                      <a:pt x="406" y="62"/>
                    </a:lnTo>
                    <a:lnTo>
                      <a:pt x="408" y="62"/>
                    </a:lnTo>
                    <a:lnTo>
                      <a:pt x="408" y="61"/>
                    </a:lnTo>
                    <a:lnTo>
                      <a:pt x="410" y="61"/>
                    </a:lnTo>
                    <a:lnTo>
                      <a:pt x="410" y="62"/>
                    </a:lnTo>
                    <a:lnTo>
                      <a:pt x="410" y="61"/>
                    </a:lnTo>
                    <a:lnTo>
                      <a:pt x="412" y="62"/>
                    </a:lnTo>
                    <a:lnTo>
                      <a:pt x="414" y="62"/>
                    </a:lnTo>
                    <a:lnTo>
                      <a:pt x="414" y="64"/>
                    </a:lnTo>
                    <a:lnTo>
                      <a:pt x="415" y="62"/>
                    </a:lnTo>
                    <a:lnTo>
                      <a:pt x="417" y="64"/>
                    </a:lnTo>
                    <a:lnTo>
                      <a:pt x="414" y="62"/>
                    </a:lnTo>
                    <a:lnTo>
                      <a:pt x="417" y="64"/>
                    </a:lnTo>
                    <a:lnTo>
                      <a:pt x="419" y="66"/>
                    </a:lnTo>
                    <a:lnTo>
                      <a:pt x="421" y="66"/>
                    </a:lnTo>
                    <a:lnTo>
                      <a:pt x="419" y="66"/>
                    </a:lnTo>
                    <a:lnTo>
                      <a:pt x="419" y="68"/>
                    </a:lnTo>
                    <a:lnTo>
                      <a:pt x="421" y="68"/>
                    </a:lnTo>
                    <a:lnTo>
                      <a:pt x="421" y="66"/>
                    </a:lnTo>
                    <a:lnTo>
                      <a:pt x="421" y="68"/>
                    </a:lnTo>
                    <a:lnTo>
                      <a:pt x="423" y="70"/>
                    </a:lnTo>
                    <a:lnTo>
                      <a:pt x="423" y="72"/>
                    </a:lnTo>
                    <a:lnTo>
                      <a:pt x="425" y="72"/>
                    </a:lnTo>
                    <a:lnTo>
                      <a:pt x="425" y="74"/>
                    </a:lnTo>
                    <a:lnTo>
                      <a:pt x="429" y="74"/>
                    </a:lnTo>
                    <a:lnTo>
                      <a:pt x="429" y="76"/>
                    </a:lnTo>
                    <a:lnTo>
                      <a:pt x="431" y="76"/>
                    </a:lnTo>
                    <a:lnTo>
                      <a:pt x="431" y="74"/>
                    </a:lnTo>
                    <a:lnTo>
                      <a:pt x="431" y="76"/>
                    </a:lnTo>
                    <a:lnTo>
                      <a:pt x="433" y="76"/>
                    </a:lnTo>
                    <a:lnTo>
                      <a:pt x="436" y="78"/>
                    </a:lnTo>
                    <a:lnTo>
                      <a:pt x="438" y="82"/>
                    </a:lnTo>
                    <a:lnTo>
                      <a:pt x="438" y="83"/>
                    </a:lnTo>
                    <a:lnTo>
                      <a:pt x="440" y="83"/>
                    </a:lnTo>
                    <a:lnTo>
                      <a:pt x="442" y="82"/>
                    </a:lnTo>
                    <a:lnTo>
                      <a:pt x="440" y="82"/>
                    </a:lnTo>
                    <a:lnTo>
                      <a:pt x="440" y="80"/>
                    </a:lnTo>
                    <a:lnTo>
                      <a:pt x="444" y="82"/>
                    </a:lnTo>
                    <a:close/>
                    <a:moveTo>
                      <a:pt x="250" y="509"/>
                    </a:moveTo>
                    <a:lnTo>
                      <a:pt x="255" y="513"/>
                    </a:lnTo>
                    <a:lnTo>
                      <a:pt x="255" y="511"/>
                    </a:lnTo>
                    <a:lnTo>
                      <a:pt x="253" y="511"/>
                    </a:lnTo>
                    <a:lnTo>
                      <a:pt x="255" y="511"/>
                    </a:lnTo>
                    <a:lnTo>
                      <a:pt x="257" y="513"/>
                    </a:lnTo>
                    <a:lnTo>
                      <a:pt x="255" y="513"/>
                    </a:lnTo>
                    <a:lnTo>
                      <a:pt x="257" y="515"/>
                    </a:lnTo>
                    <a:lnTo>
                      <a:pt x="257" y="513"/>
                    </a:lnTo>
                    <a:lnTo>
                      <a:pt x="255" y="515"/>
                    </a:lnTo>
                    <a:lnTo>
                      <a:pt x="255" y="517"/>
                    </a:lnTo>
                    <a:lnTo>
                      <a:pt x="257" y="517"/>
                    </a:lnTo>
                    <a:lnTo>
                      <a:pt x="257" y="515"/>
                    </a:lnTo>
                    <a:lnTo>
                      <a:pt x="259" y="515"/>
                    </a:lnTo>
                    <a:lnTo>
                      <a:pt x="259" y="513"/>
                    </a:lnTo>
                    <a:lnTo>
                      <a:pt x="261" y="515"/>
                    </a:lnTo>
                    <a:lnTo>
                      <a:pt x="261" y="513"/>
                    </a:lnTo>
                    <a:lnTo>
                      <a:pt x="261" y="511"/>
                    </a:lnTo>
                    <a:lnTo>
                      <a:pt x="261" y="513"/>
                    </a:lnTo>
                    <a:lnTo>
                      <a:pt x="263" y="513"/>
                    </a:lnTo>
                    <a:lnTo>
                      <a:pt x="265" y="515"/>
                    </a:lnTo>
                    <a:lnTo>
                      <a:pt x="263" y="515"/>
                    </a:lnTo>
                    <a:lnTo>
                      <a:pt x="265" y="515"/>
                    </a:lnTo>
                    <a:lnTo>
                      <a:pt x="263" y="517"/>
                    </a:lnTo>
                    <a:lnTo>
                      <a:pt x="263" y="519"/>
                    </a:lnTo>
                    <a:lnTo>
                      <a:pt x="263" y="517"/>
                    </a:lnTo>
                    <a:lnTo>
                      <a:pt x="261" y="519"/>
                    </a:lnTo>
                    <a:lnTo>
                      <a:pt x="263" y="519"/>
                    </a:lnTo>
                    <a:lnTo>
                      <a:pt x="261" y="520"/>
                    </a:lnTo>
                    <a:lnTo>
                      <a:pt x="263" y="520"/>
                    </a:lnTo>
                    <a:lnTo>
                      <a:pt x="265" y="519"/>
                    </a:lnTo>
                    <a:lnTo>
                      <a:pt x="263" y="522"/>
                    </a:lnTo>
                    <a:lnTo>
                      <a:pt x="265" y="520"/>
                    </a:lnTo>
                    <a:lnTo>
                      <a:pt x="267" y="520"/>
                    </a:lnTo>
                    <a:lnTo>
                      <a:pt x="269" y="522"/>
                    </a:lnTo>
                    <a:lnTo>
                      <a:pt x="265" y="524"/>
                    </a:lnTo>
                    <a:lnTo>
                      <a:pt x="265" y="526"/>
                    </a:lnTo>
                    <a:lnTo>
                      <a:pt x="263" y="526"/>
                    </a:lnTo>
                    <a:lnTo>
                      <a:pt x="261" y="526"/>
                    </a:lnTo>
                    <a:lnTo>
                      <a:pt x="261" y="524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57" y="524"/>
                    </a:lnTo>
                    <a:lnTo>
                      <a:pt x="255" y="524"/>
                    </a:lnTo>
                    <a:lnTo>
                      <a:pt x="253" y="524"/>
                    </a:lnTo>
                    <a:lnTo>
                      <a:pt x="253" y="526"/>
                    </a:lnTo>
                    <a:lnTo>
                      <a:pt x="255" y="526"/>
                    </a:lnTo>
                    <a:lnTo>
                      <a:pt x="253" y="526"/>
                    </a:lnTo>
                    <a:lnTo>
                      <a:pt x="255" y="526"/>
                    </a:lnTo>
                    <a:lnTo>
                      <a:pt x="257" y="526"/>
                    </a:lnTo>
                    <a:lnTo>
                      <a:pt x="259" y="526"/>
                    </a:lnTo>
                    <a:lnTo>
                      <a:pt x="261" y="528"/>
                    </a:lnTo>
                    <a:lnTo>
                      <a:pt x="259" y="530"/>
                    </a:lnTo>
                    <a:lnTo>
                      <a:pt x="259" y="532"/>
                    </a:lnTo>
                    <a:lnTo>
                      <a:pt x="259" y="530"/>
                    </a:lnTo>
                    <a:lnTo>
                      <a:pt x="257" y="532"/>
                    </a:lnTo>
                    <a:lnTo>
                      <a:pt x="257" y="530"/>
                    </a:lnTo>
                    <a:lnTo>
                      <a:pt x="255" y="530"/>
                    </a:lnTo>
                    <a:lnTo>
                      <a:pt x="257" y="528"/>
                    </a:lnTo>
                    <a:lnTo>
                      <a:pt x="255" y="530"/>
                    </a:lnTo>
                    <a:lnTo>
                      <a:pt x="253" y="530"/>
                    </a:lnTo>
                    <a:lnTo>
                      <a:pt x="251" y="530"/>
                    </a:lnTo>
                    <a:lnTo>
                      <a:pt x="251" y="528"/>
                    </a:lnTo>
                    <a:lnTo>
                      <a:pt x="251" y="530"/>
                    </a:lnTo>
                    <a:lnTo>
                      <a:pt x="253" y="530"/>
                    </a:lnTo>
                    <a:lnTo>
                      <a:pt x="255" y="530"/>
                    </a:lnTo>
                    <a:lnTo>
                      <a:pt x="253" y="530"/>
                    </a:lnTo>
                    <a:lnTo>
                      <a:pt x="255" y="530"/>
                    </a:lnTo>
                    <a:lnTo>
                      <a:pt x="255" y="532"/>
                    </a:lnTo>
                    <a:lnTo>
                      <a:pt x="253" y="534"/>
                    </a:lnTo>
                    <a:lnTo>
                      <a:pt x="251" y="532"/>
                    </a:lnTo>
                    <a:lnTo>
                      <a:pt x="250" y="532"/>
                    </a:lnTo>
                    <a:lnTo>
                      <a:pt x="250" y="534"/>
                    </a:lnTo>
                    <a:lnTo>
                      <a:pt x="250" y="532"/>
                    </a:lnTo>
                    <a:lnTo>
                      <a:pt x="250" y="534"/>
                    </a:lnTo>
                    <a:lnTo>
                      <a:pt x="248" y="534"/>
                    </a:lnTo>
                    <a:lnTo>
                      <a:pt x="248" y="536"/>
                    </a:lnTo>
                    <a:lnTo>
                      <a:pt x="246" y="536"/>
                    </a:lnTo>
                    <a:lnTo>
                      <a:pt x="248" y="534"/>
                    </a:lnTo>
                    <a:lnTo>
                      <a:pt x="246" y="534"/>
                    </a:lnTo>
                    <a:lnTo>
                      <a:pt x="246" y="536"/>
                    </a:lnTo>
                    <a:lnTo>
                      <a:pt x="246" y="538"/>
                    </a:lnTo>
                    <a:lnTo>
                      <a:pt x="246" y="536"/>
                    </a:lnTo>
                    <a:lnTo>
                      <a:pt x="244" y="536"/>
                    </a:lnTo>
                    <a:lnTo>
                      <a:pt x="244" y="538"/>
                    </a:lnTo>
                    <a:lnTo>
                      <a:pt x="242" y="538"/>
                    </a:lnTo>
                    <a:lnTo>
                      <a:pt x="244" y="538"/>
                    </a:lnTo>
                    <a:lnTo>
                      <a:pt x="246" y="538"/>
                    </a:lnTo>
                    <a:lnTo>
                      <a:pt x="244" y="540"/>
                    </a:lnTo>
                    <a:lnTo>
                      <a:pt x="244" y="538"/>
                    </a:lnTo>
                    <a:lnTo>
                      <a:pt x="244" y="540"/>
                    </a:lnTo>
                    <a:lnTo>
                      <a:pt x="246" y="540"/>
                    </a:lnTo>
                    <a:lnTo>
                      <a:pt x="244" y="541"/>
                    </a:lnTo>
                    <a:lnTo>
                      <a:pt x="244" y="540"/>
                    </a:lnTo>
                    <a:lnTo>
                      <a:pt x="244" y="541"/>
                    </a:lnTo>
                    <a:lnTo>
                      <a:pt x="242" y="543"/>
                    </a:lnTo>
                    <a:lnTo>
                      <a:pt x="242" y="541"/>
                    </a:lnTo>
                    <a:lnTo>
                      <a:pt x="242" y="543"/>
                    </a:lnTo>
                    <a:lnTo>
                      <a:pt x="244" y="543"/>
                    </a:lnTo>
                    <a:lnTo>
                      <a:pt x="242" y="543"/>
                    </a:lnTo>
                    <a:lnTo>
                      <a:pt x="240" y="545"/>
                    </a:lnTo>
                    <a:lnTo>
                      <a:pt x="238" y="547"/>
                    </a:lnTo>
                    <a:lnTo>
                      <a:pt x="238" y="545"/>
                    </a:lnTo>
                    <a:lnTo>
                      <a:pt x="236" y="547"/>
                    </a:lnTo>
                    <a:lnTo>
                      <a:pt x="236" y="545"/>
                    </a:lnTo>
                    <a:lnTo>
                      <a:pt x="238" y="543"/>
                    </a:lnTo>
                    <a:lnTo>
                      <a:pt x="238" y="541"/>
                    </a:lnTo>
                    <a:lnTo>
                      <a:pt x="240" y="541"/>
                    </a:lnTo>
                    <a:lnTo>
                      <a:pt x="242" y="540"/>
                    </a:lnTo>
                    <a:lnTo>
                      <a:pt x="240" y="540"/>
                    </a:lnTo>
                    <a:lnTo>
                      <a:pt x="242" y="540"/>
                    </a:lnTo>
                    <a:lnTo>
                      <a:pt x="240" y="540"/>
                    </a:lnTo>
                    <a:lnTo>
                      <a:pt x="240" y="538"/>
                    </a:lnTo>
                    <a:lnTo>
                      <a:pt x="240" y="540"/>
                    </a:lnTo>
                    <a:lnTo>
                      <a:pt x="238" y="540"/>
                    </a:lnTo>
                    <a:lnTo>
                      <a:pt x="240" y="538"/>
                    </a:lnTo>
                    <a:lnTo>
                      <a:pt x="242" y="536"/>
                    </a:lnTo>
                    <a:lnTo>
                      <a:pt x="242" y="534"/>
                    </a:lnTo>
                    <a:lnTo>
                      <a:pt x="242" y="536"/>
                    </a:lnTo>
                    <a:lnTo>
                      <a:pt x="240" y="536"/>
                    </a:lnTo>
                    <a:lnTo>
                      <a:pt x="238" y="538"/>
                    </a:lnTo>
                    <a:lnTo>
                      <a:pt x="236" y="540"/>
                    </a:lnTo>
                    <a:lnTo>
                      <a:pt x="236" y="538"/>
                    </a:lnTo>
                    <a:lnTo>
                      <a:pt x="238" y="536"/>
                    </a:lnTo>
                    <a:lnTo>
                      <a:pt x="240" y="536"/>
                    </a:lnTo>
                    <a:lnTo>
                      <a:pt x="238" y="536"/>
                    </a:lnTo>
                    <a:lnTo>
                      <a:pt x="236" y="536"/>
                    </a:lnTo>
                    <a:lnTo>
                      <a:pt x="234" y="534"/>
                    </a:lnTo>
                    <a:lnTo>
                      <a:pt x="234" y="536"/>
                    </a:lnTo>
                    <a:lnTo>
                      <a:pt x="232" y="536"/>
                    </a:lnTo>
                    <a:lnTo>
                      <a:pt x="230" y="536"/>
                    </a:lnTo>
                    <a:lnTo>
                      <a:pt x="230" y="538"/>
                    </a:lnTo>
                    <a:lnTo>
                      <a:pt x="232" y="538"/>
                    </a:lnTo>
                    <a:lnTo>
                      <a:pt x="234" y="536"/>
                    </a:lnTo>
                    <a:lnTo>
                      <a:pt x="236" y="536"/>
                    </a:lnTo>
                    <a:lnTo>
                      <a:pt x="236" y="538"/>
                    </a:lnTo>
                    <a:lnTo>
                      <a:pt x="236" y="540"/>
                    </a:lnTo>
                    <a:lnTo>
                      <a:pt x="236" y="541"/>
                    </a:lnTo>
                    <a:lnTo>
                      <a:pt x="234" y="541"/>
                    </a:lnTo>
                    <a:lnTo>
                      <a:pt x="234" y="543"/>
                    </a:lnTo>
                    <a:lnTo>
                      <a:pt x="234" y="541"/>
                    </a:lnTo>
                    <a:lnTo>
                      <a:pt x="234" y="543"/>
                    </a:lnTo>
                    <a:lnTo>
                      <a:pt x="234" y="541"/>
                    </a:lnTo>
                    <a:lnTo>
                      <a:pt x="232" y="541"/>
                    </a:lnTo>
                    <a:lnTo>
                      <a:pt x="234" y="541"/>
                    </a:lnTo>
                    <a:lnTo>
                      <a:pt x="234" y="540"/>
                    </a:lnTo>
                    <a:lnTo>
                      <a:pt x="232" y="540"/>
                    </a:lnTo>
                    <a:lnTo>
                      <a:pt x="232" y="541"/>
                    </a:lnTo>
                    <a:lnTo>
                      <a:pt x="232" y="540"/>
                    </a:lnTo>
                    <a:lnTo>
                      <a:pt x="230" y="540"/>
                    </a:lnTo>
                    <a:lnTo>
                      <a:pt x="230" y="534"/>
                    </a:lnTo>
                    <a:lnTo>
                      <a:pt x="229" y="532"/>
                    </a:lnTo>
                    <a:lnTo>
                      <a:pt x="227" y="532"/>
                    </a:lnTo>
                    <a:lnTo>
                      <a:pt x="227" y="530"/>
                    </a:lnTo>
                    <a:lnTo>
                      <a:pt x="227" y="532"/>
                    </a:lnTo>
                    <a:lnTo>
                      <a:pt x="227" y="530"/>
                    </a:lnTo>
                    <a:lnTo>
                      <a:pt x="225" y="528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7" y="528"/>
                    </a:lnTo>
                    <a:lnTo>
                      <a:pt x="227" y="526"/>
                    </a:lnTo>
                    <a:lnTo>
                      <a:pt x="229" y="526"/>
                    </a:lnTo>
                    <a:lnTo>
                      <a:pt x="229" y="524"/>
                    </a:lnTo>
                    <a:lnTo>
                      <a:pt x="230" y="522"/>
                    </a:lnTo>
                    <a:lnTo>
                      <a:pt x="230" y="524"/>
                    </a:lnTo>
                    <a:lnTo>
                      <a:pt x="230" y="522"/>
                    </a:lnTo>
                    <a:lnTo>
                      <a:pt x="232" y="520"/>
                    </a:lnTo>
                    <a:lnTo>
                      <a:pt x="234" y="520"/>
                    </a:lnTo>
                    <a:lnTo>
                      <a:pt x="236" y="520"/>
                    </a:lnTo>
                    <a:lnTo>
                      <a:pt x="238" y="520"/>
                    </a:lnTo>
                    <a:lnTo>
                      <a:pt x="238" y="522"/>
                    </a:lnTo>
                    <a:lnTo>
                      <a:pt x="236" y="524"/>
                    </a:lnTo>
                    <a:lnTo>
                      <a:pt x="240" y="524"/>
                    </a:lnTo>
                    <a:lnTo>
                      <a:pt x="240" y="526"/>
                    </a:lnTo>
                    <a:lnTo>
                      <a:pt x="242" y="528"/>
                    </a:lnTo>
                    <a:lnTo>
                      <a:pt x="242" y="530"/>
                    </a:lnTo>
                    <a:lnTo>
                      <a:pt x="244" y="532"/>
                    </a:lnTo>
                    <a:lnTo>
                      <a:pt x="242" y="530"/>
                    </a:lnTo>
                    <a:lnTo>
                      <a:pt x="242" y="528"/>
                    </a:lnTo>
                    <a:lnTo>
                      <a:pt x="242" y="526"/>
                    </a:lnTo>
                    <a:lnTo>
                      <a:pt x="242" y="524"/>
                    </a:lnTo>
                    <a:lnTo>
                      <a:pt x="240" y="522"/>
                    </a:lnTo>
                    <a:lnTo>
                      <a:pt x="242" y="522"/>
                    </a:lnTo>
                    <a:lnTo>
                      <a:pt x="244" y="524"/>
                    </a:lnTo>
                    <a:lnTo>
                      <a:pt x="242" y="522"/>
                    </a:lnTo>
                    <a:lnTo>
                      <a:pt x="240" y="520"/>
                    </a:lnTo>
                    <a:lnTo>
                      <a:pt x="242" y="520"/>
                    </a:lnTo>
                    <a:lnTo>
                      <a:pt x="244" y="520"/>
                    </a:lnTo>
                    <a:lnTo>
                      <a:pt x="244" y="522"/>
                    </a:lnTo>
                    <a:lnTo>
                      <a:pt x="246" y="522"/>
                    </a:lnTo>
                    <a:lnTo>
                      <a:pt x="244" y="520"/>
                    </a:lnTo>
                    <a:lnTo>
                      <a:pt x="244" y="519"/>
                    </a:lnTo>
                    <a:lnTo>
                      <a:pt x="242" y="519"/>
                    </a:lnTo>
                    <a:lnTo>
                      <a:pt x="240" y="519"/>
                    </a:lnTo>
                    <a:lnTo>
                      <a:pt x="240" y="515"/>
                    </a:lnTo>
                    <a:lnTo>
                      <a:pt x="240" y="513"/>
                    </a:lnTo>
                    <a:lnTo>
                      <a:pt x="242" y="513"/>
                    </a:lnTo>
                    <a:lnTo>
                      <a:pt x="244" y="513"/>
                    </a:lnTo>
                    <a:lnTo>
                      <a:pt x="244" y="515"/>
                    </a:lnTo>
                    <a:lnTo>
                      <a:pt x="244" y="513"/>
                    </a:lnTo>
                    <a:lnTo>
                      <a:pt x="246" y="515"/>
                    </a:lnTo>
                    <a:lnTo>
                      <a:pt x="246" y="517"/>
                    </a:lnTo>
                    <a:lnTo>
                      <a:pt x="246" y="519"/>
                    </a:lnTo>
                    <a:lnTo>
                      <a:pt x="246" y="520"/>
                    </a:lnTo>
                    <a:lnTo>
                      <a:pt x="246" y="519"/>
                    </a:lnTo>
                    <a:lnTo>
                      <a:pt x="248" y="519"/>
                    </a:lnTo>
                    <a:lnTo>
                      <a:pt x="246" y="517"/>
                    </a:lnTo>
                    <a:lnTo>
                      <a:pt x="248" y="517"/>
                    </a:lnTo>
                    <a:lnTo>
                      <a:pt x="250" y="519"/>
                    </a:lnTo>
                    <a:lnTo>
                      <a:pt x="250" y="517"/>
                    </a:lnTo>
                    <a:lnTo>
                      <a:pt x="248" y="517"/>
                    </a:lnTo>
                    <a:lnTo>
                      <a:pt x="248" y="515"/>
                    </a:lnTo>
                    <a:lnTo>
                      <a:pt x="250" y="515"/>
                    </a:lnTo>
                    <a:lnTo>
                      <a:pt x="250" y="517"/>
                    </a:lnTo>
                    <a:lnTo>
                      <a:pt x="251" y="517"/>
                    </a:lnTo>
                    <a:lnTo>
                      <a:pt x="251" y="519"/>
                    </a:lnTo>
                    <a:lnTo>
                      <a:pt x="251" y="517"/>
                    </a:lnTo>
                    <a:lnTo>
                      <a:pt x="251" y="515"/>
                    </a:lnTo>
                    <a:lnTo>
                      <a:pt x="251" y="513"/>
                    </a:lnTo>
                    <a:lnTo>
                      <a:pt x="253" y="515"/>
                    </a:lnTo>
                    <a:lnTo>
                      <a:pt x="251" y="511"/>
                    </a:lnTo>
                    <a:lnTo>
                      <a:pt x="250" y="511"/>
                    </a:lnTo>
                    <a:lnTo>
                      <a:pt x="250" y="509"/>
                    </a:lnTo>
                    <a:close/>
                    <a:moveTo>
                      <a:pt x="562" y="559"/>
                    </a:moveTo>
                    <a:lnTo>
                      <a:pt x="564" y="559"/>
                    </a:lnTo>
                    <a:lnTo>
                      <a:pt x="566" y="559"/>
                    </a:lnTo>
                    <a:lnTo>
                      <a:pt x="568" y="559"/>
                    </a:lnTo>
                    <a:lnTo>
                      <a:pt x="566" y="559"/>
                    </a:lnTo>
                    <a:lnTo>
                      <a:pt x="566" y="561"/>
                    </a:lnTo>
                    <a:lnTo>
                      <a:pt x="568" y="561"/>
                    </a:lnTo>
                    <a:lnTo>
                      <a:pt x="568" y="559"/>
                    </a:lnTo>
                    <a:lnTo>
                      <a:pt x="570" y="559"/>
                    </a:lnTo>
                    <a:lnTo>
                      <a:pt x="570" y="561"/>
                    </a:lnTo>
                    <a:lnTo>
                      <a:pt x="572" y="561"/>
                    </a:lnTo>
                    <a:lnTo>
                      <a:pt x="570" y="562"/>
                    </a:lnTo>
                    <a:lnTo>
                      <a:pt x="572" y="562"/>
                    </a:lnTo>
                    <a:lnTo>
                      <a:pt x="570" y="564"/>
                    </a:lnTo>
                    <a:lnTo>
                      <a:pt x="570" y="566"/>
                    </a:lnTo>
                    <a:lnTo>
                      <a:pt x="572" y="566"/>
                    </a:lnTo>
                    <a:lnTo>
                      <a:pt x="572" y="568"/>
                    </a:lnTo>
                    <a:lnTo>
                      <a:pt x="574" y="568"/>
                    </a:lnTo>
                    <a:lnTo>
                      <a:pt x="574" y="566"/>
                    </a:lnTo>
                    <a:lnTo>
                      <a:pt x="574" y="568"/>
                    </a:lnTo>
                    <a:lnTo>
                      <a:pt x="576" y="566"/>
                    </a:lnTo>
                    <a:lnTo>
                      <a:pt x="576" y="568"/>
                    </a:lnTo>
                    <a:lnTo>
                      <a:pt x="574" y="568"/>
                    </a:lnTo>
                    <a:lnTo>
                      <a:pt x="576" y="568"/>
                    </a:lnTo>
                    <a:lnTo>
                      <a:pt x="578" y="568"/>
                    </a:lnTo>
                    <a:lnTo>
                      <a:pt x="578" y="570"/>
                    </a:lnTo>
                    <a:lnTo>
                      <a:pt x="579" y="572"/>
                    </a:lnTo>
                    <a:lnTo>
                      <a:pt x="578" y="572"/>
                    </a:lnTo>
                    <a:lnTo>
                      <a:pt x="579" y="572"/>
                    </a:lnTo>
                    <a:lnTo>
                      <a:pt x="579" y="574"/>
                    </a:lnTo>
                    <a:lnTo>
                      <a:pt x="581" y="574"/>
                    </a:lnTo>
                    <a:lnTo>
                      <a:pt x="579" y="574"/>
                    </a:lnTo>
                    <a:lnTo>
                      <a:pt x="581" y="576"/>
                    </a:lnTo>
                    <a:lnTo>
                      <a:pt x="581" y="578"/>
                    </a:lnTo>
                    <a:lnTo>
                      <a:pt x="579" y="578"/>
                    </a:lnTo>
                    <a:lnTo>
                      <a:pt x="579" y="576"/>
                    </a:lnTo>
                    <a:lnTo>
                      <a:pt x="579" y="578"/>
                    </a:lnTo>
                    <a:lnTo>
                      <a:pt x="581" y="578"/>
                    </a:lnTo>
                    <a:lnTo>
                      <a:pt x="581" y="580"/>
                    </a:lnTo>
                    <a:lnTo>
                      <a:pt x="581" y="578"/>
                    </a:lnTo>
                    <a:lnTo>
                      <a:pt x="583" y="578"/>
                    </a:lnTo>
                    <a:lnTo>
                      <a:pt x="583" y="580"/>
                    </a:lnTo>
                    <a:lnTo>
                      <a:pt x="583" y="581"/>
                    </a:lnTo>
                    <a:lnTo>
                      <a:pt x="585" y="583"/>
                    </a:lnTo>
                    <a:lnTo>
                      <a:pt x="585" y="581"/>
                    </a:lnTo>
                    <a:lnTo>
                      <a:pt x="581" y="581"/>
                    </a:lnTo>
                    <a:lnTo>
                      <a:pt x="581" y="580"/>
                    </a:lnTo>
                    <a:lnTo>
                      <a:pt x="579" y="580"/>
                    </a:lnTo>
                    <a:lnTo>
                      <a:pt x="579" y="578"/>
                    </a:lnTo>
                    <a:lnTo>
                      <a:pt x="579" y="580"/>
                    </a:lnTo>
                    <a:lnTo>
                      <a:pt x="579" y="581"/>
                    </a:lnTo>
                    <a:lnTo>
                      <a:pt x="578" y="583"/>
                    </a:lnTo>
                    <a:lnTo>
                      <a:pt x="576" y="585"/>
                    </a:lnTo>
                    <a:lnTo>
                      <a:pt x="578" y="587"/>
                    </a:lnTo>
                    <a:lnTo>
                      <a:pt x="578" y="583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81" y="581"/>
                    </a:lnTo>
                    <a:lnTo>
                      <a:pt x="581" y="583"/>
                    </a:lnTo>
                    <a:lnTo>
                      <a:pt x="583" y="583"/>
                    </a:lnTo>
                    <a:lnTo>
                      <a:pt x="581" y="583"/>
                    </a:lnTo>
                    <a:lnTo>
                      <a:pt x="579" y="585"/>
                    </a:lnTo>
                    <a:lnTo>
                      <a:pt x="579" y="587"/>
                    </a:lnTo>
                    <a:lnTo>
                      <a:pt x="581" y="587"/>
                    </a:lnTo>
                    <a:lnTo>
                      <a:pt x="579" y="585"/>
                    </a:lnTo>
                    <a:lnTo>
                      <a:pt x="581" y="585"/>
                    </a:lnTo>
                    <a:lnTo>
                      <a:pt x="583" y="587"/>
                    </a:lnTo>
                    <a:lnTo>
                      <a:pt x="583" y="585"/>
                    </a:lnTo>
                    <a:lnTo>
                      <a:pt x="585" y="585"/>
                    </a:lnTo>
                    <a:lnTo>
                      <a:pt x="585" y="587"/>
                    </a:lnTo>
                    <a:lnTo>
                      <a:pt x="587" y="587"/>
                    </a:lnTo>
                    <a:lnTo>
                      <a:pt x="585" y="587"/>
                    </a:lnTo>
                    <a:lnTo>
                      <a:pt x="587" y="587"/>
                    </a:lnTo>
                    <a:lnTo>
                      <a:pt x="587" y="589"/>
                    </a:lnTo>
                    <a:lnTo>
                      <a:pt x="585" y="589"/>
                    </a:lnTo>
                    <a:lnTo>
                      <a:pt x="587" y="589"/>
                    </a:lnTo>
                    <a:lnTo>
                      <a:pt x="585" y="589"/>
                    </a:lnTo>
                    <a:lnTo>
                      <a:pt x="583" y="589"/>
                    </a:lnTo>
                    <a:lnTo>
                      <a:pt x="581" y="589"/>
                    </a:lnTo>
                    <a:lnTo>
                      <a:pt x="583" y="589"/>
                    </a:lnTo>
                    <a:lnTo>
                      <a:pt x="583" y="591"/>
                    </a:lnTo>
                    <a:lnTo>
                      <a:pt x="583" y="593"/>
                    </a:lnTo>
                    <a:lnTo>
                      <a:pt x="583" y="591"/>
                    </a:lnTo>
                    <a:lnTo>
                      <a:pt x="583" y="589"/>
                    </a:lnTo>
                    <a:lnTo>
                      <a:pt x="585" y="589"/>
                    </a:lnTo>
                    <a:lnTo>
                      <a:pt x="583" y="591"/>
                    </a:lnTo>
                    <a:lnTo>
                      <a:pt x="585" y="591"/>
                    </a:lnTo>
                    <a:lnTo>
                      <a:pt x="585" y="589"/>
                    </a:lnTo>
                    <a:lnTo>
                      <a:pt x="585" y="591"/>
                    </a:lnTo>
                    <a:lnTo>
                      <a:pt x="587" y="591"/>
                    </a:lnTo>
                    <a:lnTo>
                      <a:pt x="585" y="591"/>
                    </a:lnTo>
                    <a:lnTo>
                      <a:pt x="587" y="591"/>
                    </a:lnTo>
                    <a:lnTo>
                      <a:pt x="587" y="589"/>
                    </a:lnTo>
                    <a:lnTo>
                      <a:pt x="589" y="589"/>
                    </a:lnTo>
                    <a:lnTo>
                      <a:pt x="589" y="591"/>
                    </a:lnTo>
                    <a:lnTo>
                      <a:pt x="587" y="591"/>
                    </a:lnTo>
                    <a:lnTo>
                      <a:pt x="587" y="593"/>
                    </a:lnTo>
                    <a:lnTo>
                      <a:pt x="589" y="593"/>
                    </a:lnTo>
                    <a:lnTo>
                      <a:pt x="587" y="593"/>
                    </a:lnTo>
                    <a:lnTo>
                      <a:pt x="585" y="593"/>
                    </a:lnTo>
                    <a:lnTo>
                      <a:pt x="587" y="593"/>
                    </a:lnTo>
                    <a:lnTo>
                      <a:pt x="587" y="595"/>
                    </a:lnTo>
                    <a:lnTo>
                      <a:pt x="585" y="595"/>
                    </a:lnTo>
                    <a:lnTo>
                      <a:pt x="587" y="595"/>
                    </a:lnTo>
                    <a:lnTo>
                      <a:pt x="585" y="597"/>
                    </a:lnTo>
                    <a:lnTo>
                      <a:pt x="583" y="595"/>
                    </a:lnTo>
                    <a:lnTo>
                      <a:pt x="585" y="595"/>
                    </a:lnTo>
                    <a:lnTo>
                      <a:pt x="583" y="595"/>
                    </a:lnTo>
                    <a:lnTo>
                      <a:pt x="585" y="597"/>
                    </a:lnTo>
                    <a:lnTo>
                      <a:pt x="583" y="597"/>
                    </a:lnTo>
                    <a:lnTo>
                      <a:pt x="585" y="597"/>
                    </a:lnTo>
                    <a:lnTo>
                      <a:pt x="585" y="599"/>
                    </a:lnTo>
                    <a:lnTo>
                      <a:pt x="587" y="597"/>
                    </a:lnTo>
                    <a:lnTo>
                      <a:pt x="585" y="597"/>
                    </a:lnTo>
                    <a:lnTo>
                      <a:pt x="587" y="597"/>
                    </a:lnTo>
                    <a:lnTo>
                      <a:pt x="587" y="595"/>
                    </a:lnTo>
                    <a:lnTo>
                      <a:pt x="589" y="595"/>
                    </a:lnTo>
                    <a:lnTo>
                      <a:pt x="589" y="597"/>
                    </a:lnTo>
                    <a:lnTo>
                      <a:pt x="587" y="597"/>
                    </a:lnTo>
                    <a:lnTo>
                      <a:pt x="589" y="597"/>
                    </a:lnTo>
                    <a:lnTo>
                      <a:pt x="587" y="597"/>
                    </a:lnTo>
                    <a:lnTo>
                      <a:pt x="589" y="597"/>
                    </a:lnTo>
                    <a:lnTo>
                      <a:pt x="589" y="599"/>
                    </a:lnTo>
                    <a:lnTo>
                      <a:pt x="589" y="597"/>
                    </a:lnTo>
                    <a:lnTo>
                      <a:pt x="587" y="599"/>
                    </a:lnTo>
                    <a:lnTo>
                      <a:pt x="589" y="599"/>
                    </a:lnTo>
                    <a:lnTo>
                      <a:pt x="587" y="599"/>
                    </a:lnTo>
                    <a:lnTo>
                      <a:pt x="587" y="601"/>
                    </a:lnTo>
                    <a:lnTo>
                      <a:pt x="587" y="599"/>
                    </a:lnTo>
                    <a:lnTo>
                      <a:pt x="589" y="601"/>
                    </a:lnTo>
                    <a:lnTo>
                      <a:pt x="589" y="602"/>
                    </a:lnTo>
                    <a:lnTo>
                      <a:pt x="587" y="602"/>
                    </a:lnTo>
                    <a:lnTo>
                      <a:pt x="587" y="601"/>
                    </a:lnTo>
                    <a:lnTo>
                      <a:pt x="587" y="602"/>
                    </a:lnTo>
                    <a:lnTo>
                      <a:pt x="589" y="602"/>
                    </a:lnTo>
                    <a:lnTo>
                      <a:pt x="587" y="602"/>
                    </a:lnTo>
                    <a:lnTo>
                      <a:pt x="589" y="602"/>
                    </a:lnTo>
                    <a:lnTo>
                      <a:pt x="587" y="602"/>
                    </a:lnTo>
                    <a:lnTo>
                      <a:pt x="589" y="602"/>
                    </a:lnTo>
                    <a:lnTo>
                      <a:pt x="589" y="604"/>
                    </a:lnTo>
                    <a:lnTo>
                      <a:pt x="587" y="604"/>
                    </a:lnTo>
                    <a:lnTo>
                      <a:pt x="585" y="602"/>
                    </a:lnTo>
                    <a:lnTo>
                      <a:pt x="587" y="604"/>
                    </a:lnTo>
                    <a:lnTo>
                      <a:pt x="585" y="604"/>
                    </a:lnTo>
                    <a:lnTo>
                      <a:pt x="585" y="602"/>
                    </a:lnTo>
                    <a:lnTo>
                      <a:pt x="583" y="604"/>
                    </a:lnTo>
                    <a:lnTo>
                      <a:pt x="583" y="602"/>
                    </a:lnTo>
                    <a:lnTo>
                      <a:pt x="585" y="602"/>
                    </a:lnTo>
                    <a:lnTo>
                      <a:pt x="585" y="601"/>
                    </a:lnTo>
                    <a:lnTo>
                      <a:pt x="583" y="601"/>
                    </a:lnTo>
                    <a:lnTo>
                      <a:pt x="583" y="602"/>
                    </a:lnTo>
                    <a:lnTo>
                      <a:pt x="583" y="601"/>
                    </a:lnTo>
                    <a:lnTo>
                      <a:pt x="583" y="602"/>
                    </a:lnTo>
                    <a:lnTo>
                      <a:pt x="583" y="601"/>
                    </a:lnTo>
                    <a:lnTo>
                      <a:pt x="583" y="599"/>
                    </a:lnTo>
                    <a:lnTo>
                      <a:pt x="583" y="601"/>
                    </a:lnTo>
                    <a:lnTo>
                      <a:pt x="583" y="599"/>
                    </a:lnTo>
                    <a:lnTo>
                      <a:pt x="581" y="599"/>
                    </a:lnTo>
                    <a:lnTo>
                      <a:pt x="581" y="597"/>
                    </a:lnTo>
                    <a:lnTo>
                      <a:pt x="581" y="599"/>
                    </a:lnTo>
                    <a:lnTo>
                      <a:pt x="583" y="599"/>
                    </a:lnTo>
                    <a:lnTo>
                      <a:pt x="583" y="597"/>
                    </a:lnTo>
                    <a:lnTo>
                      <a:pt x="581" y="599"/>
                    </a:lnTo>
                    <a:lnTo>
                      <a:pt x="581" y="597"/>
                    </a:lnTo>
                    <a:lnTo>
                      <a:pt x="581" y="595"/>
                    </a:lnTo>
                    <a:lnTo>
                      <a:pt x="581" y="593"/>
                    </a:lnTo>
                    <a:lnTo>
                      <a:pt x="581" y="595"/>
                    </a:lnTo>
                    <a:lnTo>
                      <a:pt x="581" y="597"/>
                    </a:lnTo>
                    <a:lnTo>
                      <a:pt x="581" y="599"/>
                    </a:lnTo>
                    <a:lnTo>
                      <a:pt x="579" y="599"/>
                    </a:lnTo>
                    <a:lnTo>
                      <a:pt x="581" y="599"/>
                    </a:lnTo>
                    <a:lnTo>
                      <a:pt x="581" y="597"/>
                    </a:lnTo>
                    <a:lnTo>
                      <a:pt x="579" y="597"/>
                    </a:lnTo>
                    <a:lnTo>
                      <a:pt x="579" y="599"/>
                    </a:lnTo>
                    <a:lnTo>
                      <a:pt x="579" y="597"/>
                    </a:lnTo>
                    <a:lnTo>
                      <a:pt x="579" y="599"/>
                    </a:lnTo>
                    <a:lnTo>
                      <a:pt x="579" y="597"/>
                    </a:lnTo>
                    <a:lnTo>
                      <a:pt x="579" y="595"/>
                    </a:lnTo>
                    <a:lnTo>
                      <a:pt x="581" y="595"/>
                    </a:lnTo>
                    <a:lnTo>
                      <a:pt x="581" y="593"/>
                    </a:lnTo>
                    <a:lnTo>
                      <a:pt x="579" y="595"/>
                    </a:lnTo>
                    <a:lnTo>
                      <a:pt x="579" y="593"/>
                    </a:lnTo>
                    <a:lnTo>
                      <a:pt x="581" y="593"/>
                    </a:lnTo>
                    <a:lnTo>
                      <a:pt x="581" y="591"/>
                    </a:lnTo>
                    <a:lnTo>
                      <a:pt x="579" y="593"/>
                    </a:lnTo>
                    <a:lnTo>
                      <a:pt x="578" y="595"/>
                    </a:lnTo>
                    <a:lnTo>
                      <a:pt x="578" y="593"/>
                    </a:lnTo>
                    <a:lnTo>
                      <a:pt x="579" y="591"/>
                    </a:lnTo>
                    <a:lnTo>
                      <a:pt x="578" y="591"/>
                    </a:lnTo>
                    <a:lnTo>
                      <a:pt x="579" y="589"/>
                    </a:lnTo>
                    <a:lnTo>
                      <a:pt x="578" y="591"/>
                    </a:lnTo>
                    <a:lnTo>
                      <a:pt x="578" y="589"/>
                    </a:lnTo>
                    <a:lnTo>
                      <a:pt x="579" y="589"/>
                    </a:lnTo>
                    <a:lnTo>
                      <a:pt x="579" y="587"/>
                    </a:lnTo>
                    <a:lnTo>
                      <a:pt x="578" y="587"/>
                    </a:lnTo>
                    <a:lnTo>
                      <a:pt x="578" y="589"/>
                    </a:lnTo>
                    <a:lnTo>
                      <a:pt x="578" y="591"/>
                    </a:lnTo>
                    <a:lnTo>
                      <a:pt x="578" y="593"/>
                    </a:lnTo>
                    <a:lnTo>
                      <a:pt x="576" y="591"/>
                    </a:lnTo>
                    <a:lnTo>
                      <a:pt x="576" y="589"/>
                    </a:lnTo>
                    <a:lnTo>
                      <a:pt x="574" y="589"/>
                    </a:lnTo>
                    <a:lnTo>
                      <a:pt x="574" y="591"/>
                    </a:lnTo>
                    <a:lnTo>
                      <a:pt x="574" y="589"/>
                    </a:lnTo>
                    <a:lnTo>
                      <a:pt x="572" y="591"/>
                    </a:lnTo>
                    <a:lnTo>
                      <a:pt x="572" y="589"/>
                    </a:lnTo>
                    <a:lnTo>
                      <a:pt x="574" y="589"/>
                    </a:lnTo>
                    <a:lnTo>
                      <a:pt x="572" y="589"/>
                    </a:lnTo>
                    <a:lnTo>
                      <a:pt x="570" y="587"/>
                    </a:lnTo>
                    <a:lnTo>
                      <a:pt x="570" y="589"/>
                    </a:lnTo>
                    <a:lnTo>
                      <a:pt x="568" y="587"/>
                    </a:lnTo>
                    <a:lnTo>
                      <a:pt x="568" y="585"/>
                    </a:lnTo>
                    <a:lnTo>
                      <a:pt x="570" y="585"/>
                    </a:lnTo>
                    <a:lnTo>
                      <a:pt x="572" y="585"/>
                    </a:lnTo>
                    <a:lnTo>
                      <a:pt x="572" y="587"/>
                    </a:lnTo>
                    <a:lnTo>
                      <a:pt x="572" y="585"/>
                    </a:lnTo>
                    <a:lnTo>
                      <a:pt x="574" y="587"/>
                    </a:lnTo>
                    <a:lnTo>
                      <a:pt x="574" y="585"/>
                    </a:lnTo>
                    <a:lnTo>
                      <a:pt x="574" y="587"/>
                    </a:lnTo>
                    <a:lnTo>
                      <a:pt x="574" y="585"/>
                    </a:lnTo>
                    <a:lnTo>
                      <a:pt x="572" y="585"/>
                    </a:lnTo>
                    <a:lnTo>
                      <a:pt x="572" y="583"/>
                    </a:lnTo>
                    <a:lnTo>
                      <a:pt x="570" y="583"/>
                    </a:lnTo>
                    <a:lnTo>
                      <a:pt x="570" y="581"/>
                    </a:lnTo>
                    <a:lnTo>
                      <a:pt x="570" y="580"/>
                    </a:lnTo>
                    <a:lnTo>
                      <a:pt x="570" y="581"/>
                    </a:lnTo>
                    <a:lnTo>
                      <a:pt x="572" y="581"/>
                    </a:lnTo>
                    <a:lnTo>
                      <a:pt x="570" y="581"/>
                    </a:lnTo>
                    <a:lnTo>
                      <a:pt x="572" y="580"/>
                    </a:lnTo>
                    <a:lnTo>
                      <a:pt x="572" y="578"/>
                    </a:lnTo>
                    <a:lnTo>
                      <a:pt x="574" y="578"/>
                    </a:lnTo>
                    <a:lnTo>
                      <a:pt x="572" y="578"/>
                    </a:lnTo>
                    <a:lnTo>
                      <a:pt x="572" y="580"/>
                    </a:lnTo>
                    <a:lnTo>
                      <a:pt x="572" y="578"/>
                    </a:lnTo>
                    <a:lnTo>
                      <a:pt x="570" y="580"/>
                    </a:lnTo>
                    <a:lnTo>
                      <a:pt x="568" y="580"/>
                    </a:lnTo>
                    <a:lnTo>
                      <a:pt x="566" y="580"/>
                    </a:lnTo>
                    <a:lnTo>
                      <a:pt x="566" y="578"/>
                    </a:lnTo>
                    <a:lnTo>
                      <a:pt x="566" y="576"/>
                    </a:lnTo>
                    <a:lnTo>
                      <a:pt x="568" y="576"/>
                    </a:lnTo>
                    <a:lnTo>
                      <a:pt x="566" y="576"/>
                    </a:lnTo>
                    <a:lnTo>
                      <a:pt x="568" y="576"/>
                    </a:lnTo>
                    <a:lnTo>
                      <a:pt x="566" y="576"/>
                    </a:lnTo>
                    <a:lnTo>
                      <a:pt x="568" y="576"/>
                    </a:lnTo>
                    <a:lnTo>
                      <a:pt x="568" y="574"/>
                    </a:lnTo>
                    <a:lnTo>
                      <a:pt x="568" y="576"/>
                    </a:lnTo>
                    <a:lnTo>
                      <a:pt x="568" y="574"/>
                    </a:lnTo>
                    <a:lnTo>
                      <a:pt x="570" y="574"/>
                    </a:lnTo>
                    <a:lnTo>
                      <a:pt x="570" y="572"/>
                    </a:lnTo>
                    <a:lnTo>
                      <a:pt x="570" y="570"/>
                    </a:lnTo>
                    <a:lnTo>
                      <a:pt x="570" y="572"/>
                    </a:lnTo>
                    <a:lnTo>
                      <a:pt x="568" y="572"/>
                    </a:lnTo>
                    <a:lnTo>
                      <a:pt x="570" y="572"/>
                    </a:lnTo>
                    <a:lnTo>
                      <a:pt x="568" y="572"/>
                    </a:lnTo>
                    <a:lnTo>
                      <a:pt x="568" y="570"/>
                    </a:lnTo>
                    <a:lnTo>
                      <a:pt x="568" y="568"/>
                    </a:lnTo>
                    <a:lnTo>
                      <a:pt x="568" y="566"/>
                    </a:lnTo>
                    <a:lnTo>
                      <a:pt x="568" y="564"/>
                    </a:lnTo>
                    <a:lnTo>
                      <a:pt x="566" y="562"/>
                    </a:lnTo>
                    <a:lnTo>
                      <a:pt x="566" y="564"/>
                    </a:lnTo>
                    <a:lnTo>
                      <a:pt x="566" y="562"/>
                    </a:lnTo>
                    <a:lnTo>
                      <a:pt x="564" y="564"/>
                    </a:lnTo>
                    <a:lnTo>
                      <a:pt x="564" y="562"/>
                    </a:lnTo>
                    <a:lnTo>
                      <a:pt x="562" y="562"/>
                    </a:lnTo>
                    <a:lnTo>
                      <a:pt x="562" y="561"/>
                    </a:lnTo>
                    <a:lnTo>
                      <a:pt x="562" y="559"/>
                    </a:lnTo>
                    <a:lnTo>
                      <a:pt x="562" y="561"/>
                    </a:lnTo>
                    <a:lnTo>
                      <a:pt x="562" y="559"/>
                    </a:lnTo>
                    <a:close/>
                    <a:moveTo>
                      <a:pt x="209" y="1320"/>
                    </a:moveTo>
                    <a:lnTo>
                      <a:pt x="211" y="1320"/>
                    </a:lnTo>
                    <a:lnTo>
                      <a:pt x="213" y="1322"/>
                    </a:lnTo>
                    <a:lnTo>
                      <a:pt x="215" y="1322"/>
                    </a:lnTo>
                    <a:lnTo>
                      <a:pt x="219" y="1324"/>
                    </a:lnTo>
                    <a:lnTo>
                      <a:pt x="221" y="1326"/>
                    </a:lnTo>
                    <a:lnTo>
                      <a:pt x="221" y="1328"/>
                    </a:lnTo>
                    <a:lnTo>
                      <a:pt x="223" y="1328"/>
                    </a:lnTo>
                    <a:lnTo>
                      <a:pt x="223" y="1329"/>
                    </a:lnTo>
                    <a:lnTo>
                      <a:pt x="225" y="1331"/>
                    </a:lnTo>
                    <a:lnTo>
                      <a:pt x="225" y="1333"/>
                    </a:lnTo>
                    <a:lnTo>
                      <a:pt x="223" y="1335"/>
                    </a:lnTo>
                    <a:lnTo>
                      <a:pt x="221" y="1335"/>
                    </a:lnTo>
                    <a:lnTo>
                      <a:pt x="217" y="1335"/>
                    </a:lnTo>
                    <a:lnTo>
                      <a:pt x="215" y="1337"/>
                    </a:lnTo>
                    <a:lnTo>
                      <a:pt x="215" y="1339"/>
                    </a:lnTo>
                    <a:lnTo>
                      <a:pt x="213" y="1339"/>
                    </a:lnTo>
                    <a:lnTo>
                      <a:pt x="213" y="1341"/>
                    </a:lnTo>
                    <a:lnTo>
                      <a:pt x="211" y="1343"/>
                    </a:lnTo>
                    <a:lnTo>
                      <a:pt x="211" y="1341"/>
                    </a:lnTo>
                    <a:lnTo>
                      <a:pt x="209" y="1341"/>
                    </a:lnTo>
                    <a:lnTo>
                      <a:pt x="208" y="1339"/>
                    </a:lnTo>
                    <a:lnTo>
                      <a:pt x="208" y="1335"/>
                    </a:lnTo>
                    <a:lnTo>
                      <a:pt x="208" y="1333"/>
                    </a:lnTo>
                    <a:lnTo>
                      <a:pt x="208" y="1331"/>
                    </a:lnTo>
                    <a:lnTo>
                      <a:pt x="208" y="1329"/>
                    </a:lnTo>
                    <a:lnTo>
                      <a:pt x="206" y="1329"/>
                    </a:lnTo>
                    <a:lnTo>
                      <a:pt x="206" y="1328"/>
                    </a:lnTo>
                    <a:lnTo>
                      <a:pt x="208" y="1326"/>
                    </a:lnTo>
                    <a:lnTo>
                      <a:pt x="209" y="1324"/>
                    </a:lnTo>
                    <a:lnTo>
                      <a:pt x="208" y="1322"/>
                    </a:lnTo>
                    <a:lnTo>
                      <a:pt x="208" y="1320"/>
                    </a:lnTo>
                    <a:lnTo>
                      <a:pt x="209" y="1320"/>
                    </a:lnTo>
                    <a:close/>
                    <a:moveTo>
                      <a:pt x="528" y="501"/>
                    </a:moveTo>
                    <a:lnTo>
                      <a:pt x="530" y="503"/>
                    </a:lnTo>
                    <a:lnTo>
                      <a:pt x="532" y="503"/>
                    </a:lnTo>
                    <a:lnTo>
                      <a:pt x="532" y="505"/>
                    </a:lnTo>
                    <a:lnTo>
                      <a:pt x="532" y="507"/>
                    </a:lnTo>
                    <a:lnTo>
                      <a:pt x="528" y="507"/>
                    </a:lnTo>
                    <a:lnTo>
                      <a:pt x="528" y="509"/>
                    </a:lnTo>
                    <a:lnTo>
                      <a:pt x="530" y="509"/>
                    </a:lnTo>
                    <a:lnTo>
                      <a:pt x="528" y="509"/>
                    </a:lnTo>
                    <a:lnTo>
                      <a:pt x="530" y="509"/>
                    </a:lnTo>
                    <a:lnTo>
                      <a:pt x="528" y="509"/>
                    </a:lnTo>
                    <a:lnTo>
                      <a:pt x="528" y="511"/>
                    </a:lnTo>
                    <a:lnTo>
                      <a:pt x="528" y="509"/>
                    </a:lnTo>
                    <a:lnTo>
                      <a:pt x="530" y="511"/>
                    </a:lnTo>
                    <a:lnTo>
                      <a:pt x="532" y="509"/>
                    </a:lnTo>
                    <a:lnTo>
                      <a:pt x="532" y="507"/>
                    </a:lnTo>
                    <a:lnTo>
                      <a:pt x="534" y="507"/>
                    </a:lnTo>
                    <a:lnTo>
                      <a:pt x="534" y="505"/>
                    </a:lnTo>
                    <a:lnTo>
                      <a:pt x="536" y="505"/>
                    </a:lnTo>
                    <a:lnTo>
                      <a:pt x="536" y="507"/>
                    </a:lnTo>
                    <a:lnTo>
                      <a:pt x="539" y="507"/>
                    </a:lnTo>
                    <a:lnTo>
                      <a:pt x="541" y="509"/>
                    </a:lnTo>
                    <a:lnTo>
                      <a:pt x="541" y="511"/>
                    </a:lnTo>
                    <a:lnTo>
                      <a:pt x="541" y="513"/>
                    </a:lnTo>
                    <a:lnTo>
                      <a:pt x="541" y="515"/>
                    </a:lnTo>
                    <a:lnTo>
                      <a:pt x="539" y="513"/>
                    </a:lnTo>
                    <a:lnTo>
                      <a:pt x="537" y="511"/>
                    </a:lnTo>
                    <a:lnTo>
                      <a:pt x="537" y="513"/>
                    </a:lnTo>
                    <a:lnTo>
                      <a:pt x="539" y="513"/>
                    </a:lnTo>
                    <a:lnTo>
                      <a:pt x="539" y="515"/>
                    </a:lnTo>
                    <a:lnTo>
                      <a:pt x="541" y="515"/>
                    </a:lnTo>
                    <a:lnTo>
                      <a:pt x="539" y="517"/>
                    </a:lnTo>
                    <a:lnTo>
                      <a:pt x="537" y="517"/>
                    </a:lnTo>
                    <a:lnTo>
                      <a:pt x="534" y="513"/>
                    </a:lnTo>
                    <a:lnTo>
                      <a:pt x="528" y="511"/>
                    </a:lnTo>
                    <a:lnTo>
                      <a:pt x="528" y="509"/>
                    </a:lnTo>
                    <a:lnTo>
                      <a:pt x="526" y="509"/>
                    </a:lnTo>
                    <a:lnTo>
                      <a:pt x="526" y="511"/>
                    </a:lnTo>
                    <a:lnTo>
                      <a:pt x="528" y="511"/>
                    </a:lnTo>
                    <a:lnTo>
                      <a:pt x="528" y="513"/>
                    </a:lnTo>
                    <a:lnTo>
                      <a:pt x="528" y="511"/>
                    </a:lnTo>
                    <a:lnTo>
                      <a:pt x="530" y="513"/>
                    </a:lnTo>
                    <a:lnTo>
                      <a:pt x="528" y="513"/>
                    </a:lnTo>
                    <a:lnTo>
                      <a:pt x="530" y="513"/>
                    </a:lnTo>
                    <a:lnTo>
                      <a:pt x="532" y="513"/>
                    </a:lnTo>
                    <a:lnTo>
                      <a:pt x="530" y="515"/>
                    </a:lnTo>
                    <a:lnTo>
                      <a:pt x="532" y="513"/>
                    </a:lnTo>
                    <a:lnTo>
                      <a:pt x="532" y="515"/>
                    </a:lnTo>
                    <a:lnTo>
                      <a:pt x="534" y="515"/>
                    </a:lnTo>
                    <a:lnTo>
                      <a:pt x="534" y="517"/>
                    </a:lnTo>
                    <a:lnTo>
                      <a:pt x="536" y="517"/>
                    </a:lnTo>
                    <a:lnTo>
                      <a:pt x="534" y="517"/>
                    </a:lnTo>
                    <a:lnTo>
                      <a:pt x="536" y="519"/>
                    </a:lnTo>
                    <a:lnTo>
                      <a:pt x="536" y="517"/>
                    </a:lnTo>
                    <a:lnTo>
                      <a:pt x="537" y="519"/>
                    </a:lnTo>
                    <a:lnTo>
                      <a:pt x="537" y="517"/>
                    </a:lnTo>
                    <a:lnTo>
                      <a:pt x="539" y="519"/>
                    </a:lnTo>
                    <a:lnTo>
                      <a:pt x="539" y="517"/>
                    </a:lnTo>
                    <a:lnTo>
                      <a:pt x="541" y="517"/>
                    </a:lnTo>
                    <a:lnTo>
                      <a:pt x="541" y="519"/>
                    </a:lnTo>
                    <a:lnTo>
                      <a:pt x="541" y="520"/>
                    </a:lnTo>
                    <a:lnTo>
                      <a:pt x="541" y="519"/>
                    </a:lnTo>
                    <a:lnTo>
                      <a:pt x="543" y="520"/>
                    </a:lnTo>
                    <a:lnTo>
                      <a:pt x="543" y="524"/>
                    </a:lnTo>
                    <a:lnTo>
                      <a:pt x="541" y="522"/>
                    </a:lnTo>
                    <a:lnTo>
                      <a:pt x="541" y="524"/>
                    </a:lnTo>
                    <a:lnTo>
                      <a:pt x="543" y="524"/>
                    </a:lnTo>
                    <a:lnTo>
                      <a:pt x="543" y="526"/>
                    </a:lnTo>
                    <a:lnTo>
                      <a:pt x="539" y="526"/>
                    </a:lnTo>
                    <a:lnTo>
                      <a:pt x="537" y="524"/>
                    </a:lnTo>
                    <a:lnTo>
                      <a:pt x="528" y="517"/>
                    </a:lnTo>
                    <a:lnTo>
                      <a:pt x="530" y="519"/>
                    </a:lnTo>
                    <a:lnTo>
                      <a:pt x="528" y="519"/>
                    </a:lnTo>
                    <a:lnTo>
                      <a:pt x="530" y="519"/>
                    </a:lnTo>
                    <a:lnTo>
                      <a:pt x="528" y="519"/>
                    </a:lnTo>
                    <a:lnTo>
                      <a:pt x="528" y="520"/>
                    </a:lnTo>
                    <a:lnTo>
                      <a:pt x="530" y="520"/>
                    </a:lnTo>
                    <a:lnTo>
                      <a:pt x="532" y="522"/>
                    </a:lnTo>
                    <a:lnTo>
                      <a:pt x="530" y="522"/>
                    </a:lnTo>
                    <a:lnTo>
                      <a:pt x="532" y="522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0" y="526"/>
                    </a:lnTo>
                    <a:lnTo>
                      <a:pt x="532" y="526"/>
                    </a:lnTo>
                    <a:lnTo>
                      <a:pt x="530" y="528"/>
                    </a:lnTo>
                    <a:lnTo>
                      <a:pt x="530" y="526"/>
                    </a:lnTo>
                    <a:lnTo>
                      <a:pt x="530" y="528"/>
                    </a:lnTo>
                    <a:lnTo>
                      <a:pt x="528" y="528"/>
                    </a:lnTo>
                    <a:lnTo>
                      <a:pt x="526" y="526"/>
                    </a:lnTo>
                    <a:lnTo>
                      <a:pt x="526" y="524"/>
                    </a:lnTo>
                    <a:lnTo>
                      <a:pt x="524" y="524"/>
                    </a:lnTo>
                    <a:lnTo>
                      <a:pt x="528" y="526"/>
                    </a:lnTo>
                    <a:lnTo>
                      <a:pt x="526" y="524"/>
                    </a:lnTo>
                    <a:lnTo>
                      <a:pt x="526" y="522"/>
                    </a:lnTo>
                    <a:lnTo>
                      <a:pt x="524" y="524"/>
                    </a:lnTo>
                    <a:lnTo>
                      <a:pt x="524" y="522"/>
                    </a:lnTo>
                    <a:lnTo>
                      <a:pt x="526" y="522"/>
                    </a:lnTo>
                    <a:lnTo>
                      <a:pt x="524" y="520"/>
                    </a:lnTo>
                    <a:lnTo>
                      <a:pt x="526" y="522"/>
                    </a:lnTo>
                    <a:lnTo>
                      <a:pt x="524" y="522"/>
                    </a:lnTo>
                    <a:lnTo>
                      <a:pt x="522" y="520"/>
                    </a:lnTo>
                    <a:lnTo>
                      <a:pt x="524" y="520"/>
                    </a:lnTo>
                    <a:lnTo>
                      <a:pt x="524" y="522"/>
                    </a:lnTo>
                    <a:lnTo>
                      <a:pt x="524" y="520"/>
                    </a:lnTo>
                    <a:lnTo>
                      <a:pt x="524" y="519"/>
                    </a:lnTo>
                    <a:lnTo>
                      <a:pt x="522" y="520"/>
                    </a:lnTo>
                    <a:lnTo>
                      <a:pt x="522" y="519"/>
                    </a:lnTo>
                    <a:lnTo>
                      <a:pt x="522" y="520"/>
                    </a:lnTo>
                    <a:lnTo>
                      <a:pt x="522" y="519"/>
                    </a:lnTo>
                    <a:lnTo>
                      <a:pt x="522" y="517"/>
                    </a:lnTo>
                    <a:lnTo>
                      <a:pt x="520" y="517"/>
                    </a:lnTo>
                    <a:lnTo>
                      <a:pt x="522" y="517"/>
                    </a:lnTo>
                    <a:lnTo>
                      <a:pt x="520" y="517"/>
                    </a:lnTo>
                    <a:lnTo>
                      <a:pt x="520" y="515"/>
                    </a:lnTo>
                    <a:lnTo>
                      <a:pt x="520" y="517"/>
                    </a:lnTo>
                    <a:lnTo>
                      <a:pt x="520" y="515"/>
                    </a:lnTo>
                    <a:lnTo>
                      <a:pt x="520" y="517"/>
                    </a:lnTo>
                    <a:lnTo>
                      <a:pt x="518" y="515"/>
                    </a:lnTo>
                    <a:lnTo>
                      <a:pt x="518" y="517"/>
                    </a:lnTo>
                    <a:lnTo>
                      <a:pt x="518" y="515"/>
                    </a:lnTo>
                    <a:lnTo>
                      <a:pt x="518" y="511"/>
                    </a:lnTo>
                    <a:lnTo>
                      <a:pt x="520" y="513"/>
                    </a:lnTo>
                    <a:lnTo>
                      <a:pt x="518" y="511"/>
                    </a:lnTo>
                    <a:lnTo>
                      <a:pt x="518" y="509"/>
                    </a:lnTo>
                    <a:lnTo>
                      <a:pt x="522" y="513"/>
                    </a:lnTo>
                    <a:lnTo>
                      <a:pt x="524" y="515"/>
                    </a:lnTo>
                    <a:lnTo>
                      <a:pt x="522" y="513"/>
                    </a:lnTo>
                    <a:lnTo>
                      <a:pt x="520" y="511"/>
                    </a:lnTo>
                    <a:lnTo>
                      <a:pt x="520" y="509"/>
                    </a:lnTo>
                    <a:lnTo>
                      <a:pt x="518" y="507"/>
                    </a:lnTo>
                    <a:lnTo>
                      <a:pt x="518" y="505"/>
                    </a:lnTo>
                    <a:lnTo>
                      <a:pt x="520" y="507"/>
                    </a:lnTo>
                    <a:lnTo>
                      <a:pt x="520" y="505"/>
                    </a:lnTo>
                    <a:lnTo>
                      <a:pt x="518" y="503"/>
                    </a:lnTo>
                    <a:lnTo>
                      <a:pt x="520" y="503"/>
                    </a:lnTo>
                    <a:lnTo>
                      <a:pt x="520" y="505"/>
                    </a:lnTo>
                    <a:lnTo>
                      <a:pt x="522" y="505"/>
                    </a:lnTo>
                    <a:lnTo>
                      <a:pt x="522" y="507"/>
                    </a:lnTo>
                    <a:lnTo>
                      <a:pt x="524" y="507"/>
                    </a:lnTo>
                    <a:lnTo>
                      <a:pt x="522" y="507"/>
                    </a:lnTo>
                    <a:lnTo>
                      <a:pt x="522" y="505"/>
                    </a:lnTo>
                    <a:lnTo>
                      <a:pt x="522" y="503"/>
                    </a:lnTo>
                    <a:lnTo>
                      <a:pt x="524" y="503"/>
                    </a:lnTo>
                    <a:lnTo>
                      <a:pt x="522" y="503"/>
                    </a:lnTo>
                    <a:lnTo>
                      <a:pt x="524" y="503"/>
                    </a:lnTo>
                    <a:lnTo>
                      <a:pt x="526" y="505"/>
                    </a:lnTo>
                    <a:lnTo>
                      <a:pt x="524" y="503"/>
                    </a:lnTo>
                    <a:lnTo>
                      <a:pt x="526" y="503"/>
                    </a:lnTo>
                    <a:lnTo>
                      <a:pt x="528" y="501"/>
                    </a:lnTo>
                    <a:close/>
                    <a:moveTo>
                      <a:pt x="45" y="435"/>
                    </a:moveTo>
                    <a:lnTo>
                      <a:pt x="45" y="436"/>
                    </a:lnTo>
                    <a:lnTo>
                      <a:pt x="47" y="436"/>
                    </a:lnTo>
                    <a:lnTo>
                      <a:pt x="45" y="438"/>
                    </a:lnTo>
                    <a:lnTo>
                      <a:pt x="49" y="438"/>
                    </a:lnTo>
                    <a:lnTo>
                      <a:pt x="49" y="436"/>
                    </a:lnTo>
                    <a:lnTo>
                      <a:pt x="51" y="436"/>
                    </a:lnTo>
                    <a:lnTo>
                      <a:pt x="51" y="438"/>
                    </a:lnTo>
                    <a:lnTo>
                      <a:pt x="53" y="438"/>
                    </a:lnTo>
                    <a:lnTo>
                      <a:pt x="53" y="440"/>
                    </a:lnTo>
                    <a:lnTo>
                      <a:pt x="51" y="440"/>
                    </a:lnTo>
                    <a:lnTo>
                      <a:pt x="53" y="440"/>
                    </a:lnTo>
                    <a:lnTo>
                      <a:pt x="51" y="442"/>
                    </a:lnTo>
                    <a:lnTo>
                      <a:pt x="53" y="442"/>
                    </a:lnTo>
                    <a:lnTo>
                      <a:pt x="53" y="444"/>
                    </a:lnTo>
                    <a:lnTo>
                      <a:pt x="51" y="446"/>
                    </a:lnTo>
                    <a:lnTo>
                      <a:pt x="53" y="446"/>
                    </a:lnTo>
                    <a:lnTo>
                      <a:pt x="53" y="448"/>
                    </a:lnTo>
                    <a:lnTo>
                      <a:pt x="53" y="450"/>
                    </a:lnTo>
                    <a:lnTo>
                      <a:pt x="55" y="448"/>
                    </a:lnTo>
                    <a:lnTo>
                      <a:pt x="53" y="450"/>
                    </a:lnTo>
                    <a:lnTo>
                      <a:pt x="55" y="450"/>
                    </a:lnTo>
                    <a:lnTo>
                      <a:pt x="51" y="452"/>
                    </a:lnTo>
                    <a:lnTo>
                      <a:pt x="51" y="450"/>
                    </a:lnTo>
                    <a:lnTo>
                      <a:pt x="49" y="452"/>
                    </a:lnTo>
                    <a:lnTo>
                      <a:pt x="47" y="452"/>
                    </a:lnTo>
                    <a:lnTo>
                      <a:pt x="45" y="454"/>
                    </a:lnTo>
                    <a:lnTo>
                      <a:pt x="45" y="452"/>
                    </a:lnTo>
                    <a:lnTo>
                      <a:pt x="44" y="452"/>
                    </a:lnTo>
                    <a:lnTo>
                      <a:pt x="45" y="452"/>
                    </a:lnTo>
                    <a:lnTo>
                      <a:pt x="44" y="452"/>
                    </a:lnTo>
                    <a:lnTo>
                      <a:pt x="44" y="454"/>
                    </a:lnTo>
                    <a:lnTo>
                      <a:pt x="44" y="452"/>
                    </a:lnTo>
                    <a:lnTo>
                      <a:pt x="44" y="454"/>
                    </a:lnTo>
                    <a:lnTo>
                      <a:pt x="45" y="454"/>
                    </a:lnTo>
                    <a:lnTo>
                      <a:pt x="45" y="456"/>
                    </a:lnTo>
                    <a:lnTo>
                      <a:pt x="44" y="456"/>
                    </a:lnTo>
                    <a:lnTo>
                      <a:pt x="44" y="454"/>
                    </a:lnTo>
                    <a:lnTo>
                      <a:pt x="42" y="452"/>
                    </a:lnTo>
                    <a:lnTo>
                      <a:pt x="40" y="452"/>
                    </a:lnTo>
                    <a:lnTo>
                      <a:pt x="38" y="452"/>
                    </a:lnTo>
                    <a:lnTo>
                      <a:pt x="36" y="452"/>
                    </a:lnTo>
                    <a:lnTo>
                      <a:pt x="34" y="450"/>
                    </a:lnTo>
                    <a:lnTo>
                      <a:pt x="30" y="448"/>
                    </a:lnTo>
                    <a:lnTo>
                      <a:pt x="28" y="446"/>
                    </a:lnTo>
                    <a:lnTo>
                      <a:pt x="26" y="446"/>
                    </a:lnTo>
                    <a:lnTo>
                      <a:pt x="26" y="444"/>
                    </a:lnTo>
                    <a:lnTo>
                      <a:pt x="25" y="440"/>
                    </a:lnTo>
                    <a:lnTo>
                      <a:pt x="25" y="442"/>
                    </a:lnTo>
                    <a:lnTo>
                      <a:pt x="26" y="440"/>
                    </a:lnTo>
                    <a:lnTo>
                      <a:pt x="28" y="440"/>
                    </a:lnTo>
                    <a:lnTo>
                      <a:pt x="30" y="440"/>
                    </a:lnTo>
                    <a:lnTo>
                      <a:pt x="32" y="440"/>
                    </a:lnTo>
                    <a:lnTo>
                      <a:pt x="34" y="440"/>
                    </a:lnTo>
                    <a:lnTo>
                      <a:pt x="34" y="438"/>
                    </a:lnTo>
                    <a:lnTo>
                      <a:pt x="36" y="438"/>
                    </a:lnTo>
                    <a:lnTo>
                      <a:pt x="36" y="436"/>
                    </a:lnTo>
                    <a:lnTo>
                      <a:pt x="36" y="438"/>
                    </a:lnTo>
                    <a:lnTo>
                      <a:pt x="38" y="438"/>
                    </a:lnTo>
                    <a:lnTo>
                      <a:pt x="38" y="436"/>
                    </a:lnTo>
                    <a:lnTo>
                      <a:pt x="38" y="438"/>
                    </a:lnTo>
                    <a:lnTo>
                      <a:pt x="38" y="436"/>
                    </a:lnTo>
                    <a:lnTo>
                      <a:pt x="40" y="436"/>
                    </a:lnTo>
                    <a:lnTo>
                      <a:pt x="40" y="435"/>
                    </a:lnTo>
                    <a:lnTo>
                      <a:pt x="40" y="436"/>
                    </a:lnTo>
                    <a:lnTo>
                      <a:pt x="40" y="435"/>
                    </a:lnTo>
                    <a:lnTo>
                      <a:pt x="42" y="436"/>
                    </a:lnTo>
                    <a:lnTo>
                      <a:pt x="44" y="435"/>
                    </a:lnTo>
                    <a:lnTo>
                      <a:pt x="44" y="436"/>
                    </a:lnTo>
                    <a:lnTo>
                      <a:pt x="44" y="435"/>
                    </a:lnTo>
                    <a:lnTo>
                      <a:pt x="45" y="436"/>
                    </a:lnTo>
                    <a:lnTo>
                      <a:pt x="45" y="435"/>
                    </a:lnTo>
                    <a:close/>
                    <a:moveTo>
                      <a:pt x="541" y="498"/>
                    </a:moveTo>
                    <a:lnTo>
                      <a:pt x="543" y="499"/>
                    </a:lnTo>
                    <a:lnTo>
                      <a:pt x="541" y="498"/>
                    </a:lnTo>
                    <a:lnTo>
                      <a:pt x="545" y="501"/>
                    </a:lnTo>
                    <a:lnTo>
                      <a:pt x="545" y="503"/>
                    </a:lnTo>
                    <a:lnTo>
                      <a:pt x="545" y="505"/>
                    </a:lnTo>
                    <a:lnTo>
                      <a:pt x="547" y="505"/>
                    </a:lnTo>
                    <a:lnTo>
                      <a:pt x="547" y="503"/>
                    </a:lnTo>
                    <a:lnTo>
                      <a:pt x="549" y="505"/>
                    </a:lnTo>
                    <a:lnTo>
                      <a:pt x="551" y="505"/>
                    </a:lnTo>
                    <a:lnTo>
                      <a:pt x="551" y="507"/>
                    </a:lnTo>
                    <a:lnTo>
                      <a:pt x="551" y="505"/>
                    </a:lnTo>
                    <a:lnTo>
                      <a:pt x="553" y="505"/>
                    </a:lnTo>
                    <a:lnTo>
                      <a:pt x="555" y="505"/>
                    </a:lnTo>
                    <a:lnTo>
                      <a:pt x="553" y="505"/>
                    </a:lnTo>
                    <a:lnTo>
                      <a:pt x="553" y="507"/>
                    </a:lnTo>
                    <a:lnTo>
                      <a:pt x="555" y="509"/>
                    </a:lnTo>
                    <a:lnTo>
                      <a:pt x="555" y="511"/>
                    </a:lnTo>
                    <a:lnTo>
                      <a:pt x="557" y="513"/>
                    </a:lnTo>
                    <a:lnTo>
                      <a:pt x="557" y="515"/>
                    </a:lnTo>
                    <a:lnTo>
                      <a:pt x="558" y="515"/>
                    </a:lnTo>
                    <a:lnTo>
                      <a:pt x="558" y="517"/>
                    </a:lnTo>
                    <a:lnTo>
                      <a:pt x="558" y="519"/>
                    </a:lnTo>
                    <a:lnTo>
                      <a:pt x="558" y="520"/>
                    </a:lnTo>
                    <a:lnTo>
                      <a:pt x="560" y="520"/>
                    </a:lnTo>
                    <a:lnTo>
                      <a:pt x="560" y="522"/>
                    </a:lnTo>
                    <a:lnTo>
                      <a:pt x="558" y="522"/>
                    </a:lnTo>
                    <a:lnTo>
                      <a:pt x="558" y="520"/>
                    </a:lnTo>
                    <a:lnTo>
                      <a:pt x="557" y="519"/>
                    </a:lnTo>
                    <a:lnTo>
                      <a:pt x="557" y="515"/>
                    </a:lnTo>
                    <a:lnTo>
                      <a:pt x="555" y="513"/>
                    </a:lnTo>
                    <a:lnTo>
                      <a:pt x="555" y="511"/>
                    </a:lnTo>
                    <a:lnTo>
                      <a:pt x="553" y="509"/>
                    </a:lnTo>
                    <a:lnTo>
                      <a:pt x="555" y="509"/>
                    </a:lnTo>
                    <a:lnTo>
                      <a:pt x="553" y="507"/>
                    </a:lnTo>
                    <a:lnTo>
                      <a:pt x="551" y="507"/>
                    </a:lnTo>
                    <a:lnTo>
                      <a:pt x="553" y="509"/>
                    </a:lnTo>
                    <a:lnTo>
                      <a:pt x="551" y="509"/>
                    </a:lnTo>
                    <a:lnTo>
                      <a:pt x="553" y="511"/>
                    </a:lnTo>
                    <a:lnTo>
                      <a:pt x="551" y="509"/>
                    </a:lnTo>
                    <a:lnTo>
                      <a:pt x="553" y="513"/>
                    </a:lnTo>
                    <a:lnTo>
                      <a:pt x="551" y="515"/>
                    </a:lnTo>
                    <a:lnTo>
                      <a:pt x="553" y="515"/>
                    </a:lnTo>
                    <a:lnTo>
                      <a:pt x="553" y="513"/>
                    </a:lnTo>
                    <a:lnTo>
                      <a:pt x="555" y="519"/>
                    </a:lnTo>
                    <a:lnTo>
                      <a:pt x="557" y="519"/>
                    </a:lnTo>
                    <a:lnTo>
                      <a:pt x="555" y="519"/>
                    </a:lnTo>
                    <a:lnTo>
                      <a:pt x="555" y="520"/>
                    </a:lnTo>
                    <a:lnTo>
                      <a:pt x="557" y="520"/>
                    </a:lnTo>
                    <a:lnTo>
                      <a:pt x="557" y="522"/>
                    </a:lnTo>
                    <a:lnTo>
                      <a:pt x="558" y="526"/>
                    </a:lnTo>
                    <a:lnTo>
                      <a:pt x="558" y="524"/>
                    </a:lnTo>
                    <a:lnTo>
                      <a:pt x="557" y="524"/>
                    </a:lnTo>
                    <a:lnTo>
                      <a:pt x="558" y="526"/>
                    </a:lnTo>
                    <a:lnTo>
                      <a:pt x="557" y="524"/>
                    </a:lnTo>
                    <a:lnTo>
                      <a:pt x="555" y="524"/>
                    </a:lnTo>
                    <a:lnTo>
                      <a:pt x="555" y="526"/>
                    </a:lnTo>
                    <a:lnTo>
                      <a:pt x="557" y="526"/>
                    </a:lnTo>
                    <a:lnTo>
                      <a:pt x="558" y="526"/>
                    </a:lnTo>
                    <a:lnTo>
                      <a:pt x="558" y="528"/>
                    </a:lnTo>
                    <a:lnTo>
                      <a:pt x="557" y="530"/>
                    </a:lnTo>
                    <a:lnTo>
                      <a:pt x="555" y="530"/>
                    </a:lnTo>
                    <a:lnTo>
                      <a:pt x="555" y="528"/>
                    </a:lnTo>
                    <a:lnTo>
                      <a:pt x="555" y="530"/>
                    </a:lnTo>
                    <a:lnTo>
                      <a:pt x="555" y="528"/>
                    </a:lnTo>
                    <a:lnTo>
                      <a:pt x="555" y="530"/>
                    </a:lnTo>
                    <a:lnTo>
                      <a:pt x="555" y="528"/>
                    </a:lnTo>
                    <a:lnTo>
                      <a:pt x="553" y="528"/>
                    </a:lnTo>
                    <a:lnTo>
                      <a:pt x="555" y="528"/>
                    </a:lnTo>
                    <a:lnTo>
                      <a:pt x="553" y="530"/>
                    </a:lnTo>
                    <a:lnTo>
                      <a:pt x="555" y="530"/>
                    </a:lnTo>
                    <a:lnTo>
                      <a:pt x="555" y="532"/>
                    </a:lnTo>
                    <a:lnTo>
                      <a:pt x="555" y="534"/>
                    </a:lnTo>
                    <a:lnTo>
                      <a:pt x="553" y="534"/>
                    </a:lnTo>
                    <a:lnTo>
                      <a:pt x="551" y="532"/>
                    </a:lnTo>
                    <a:lnTo>
                      <a:pt x="551" y="534"/>
                    </a:lnTo>
                    <a:lnTo>
                      <a:pt x="553" y="536"/>
                    </a:lnTo>
                    <a:lnTo>
                      <a:pt x="551" y="536"/>
                    </a:lnTo>
                    <a:lnTo>
                      <a:pt x="551" y="534"/>
                    </a:lnTo>
                    <a:lnTo>
                      <a:pt x="551" y="536"/>
                    </a:lnTo>
                    <a:lnTo>
                      <a:pt x="549" y="538"/>
                    </a:lnTo>
                    <a:lnTo>
                      <a:pt x="547" y="538"/>
                    </a:lnTo>
                    <a:lnTo>
                      <a:pt x="549" y="538"/>
                    </a:lnTo>
                    <a:lnTo>
                      <a:pt x="547" y="538"/>
                    </a:lnTo>
                    <a:lnTo>
                      <a:pt x="547" y="540"/>
                    </a:lnTo>
                    <a:lnTo>
                      <a:pt x="547" y="538"/>
                    </a:lnTo>
                    <a:lnTo>
                      <a:pt x="547" y="540"/>
                    </a:lnTo>
                    <a:lnTo>
                      <a:pt x="547" y="538"/>
                    </a:lnTo>
                    <a:lnTo>
                      <a:pt x="547" y="536"/>
                    </a:lnTo>
                    <a:lnTo>
                      <a:pt x="547" y="534"/>
                    </a:lnTo>
                    <a:lnTo>
                      <a:pt x="547" y="532"/>
                    </a:lnTo>
                    <a:lnTo>
                      <a:pt x="549" y="532"/>
                    </a:lnTo>
                    <a:lnTo>
                      <a:pt x="547" y="532"/>
                    </a:lnTo>
                    <a:lnTo>
                      <a:pt x="549" y="530"/>
                    </a:lnTo>
                    <a:lnTo>
                      <a:pt x="547" y="530"/>
                    </a:lnTo>
                    <a:lnTo>
                      <a:pt x="547" y="528"/>
                    </a:lnTo>
                    <a:lnTo>
                      <a:pt x="549" y="528"/>
                    </a:lnTo>
                    <a:lnTo>
                      <a:pt x="551" y="528"/>
                    </a:lnTo>
                    <a:lnTo>
                      <a:pt x="551" y="530"/>
                    </a:lnTo>
                    <a:lnTo>
                      <a:pt x="551" y="528"/>
                    </a:lnTo>
                    <a:lnTo>
                      <a:pt x="549" y="528"/>
                    </a:lnTo>
                    <a:lnTo>
                      <a:pt x="547" y="524"/>
                    </a:lnTo>
                    <a:lnTo>
                      <a:pt x="549" y="526"/>
                    </a:lnTo>
                    <a:lnTo>
                      <a:pt x="549" y="524"/>
                    </a:lnTo>
                    <a:lnTo>
                      <a:pt x="549" y="522"/>
                    </a:lnTo>
                    <a:lnTo>
                      <a:pt x="549" y="524"/>
                    </a:lnTo>
                    <a:lnTo>
                      <a:pt x="551" y="524"/>
                    </a:lnTo>
                    <a:lnTo>
                      <a:pt x="549" y="524"/>
                    </a:lnTo>
                    <a:lnTo>
                      <a:pt x="551" y="522"/>
                    </a:lnTo>
                    <a:lnTo>
                      <a:pt x="549" y="522"/>
                    </a:lnTo>
                    <a:lnTo>
                      <a:pt x="549" y="524"/>
                    </a:lnTo>
                    <a:lnTo>
                      <a:pt x="547" y="524"/>
                    </a:lnTo>
                    <a:lnTo>
                      <a:pt x="547" y="522"/>
                    </a:lnTo>
                    <a:lnTo>
                      <a:pt x="545" y="520"/>
                    </a:lnTo>
                    <a:lnTo>
                      <a:pt x="545" y="517"/>
                    </a:lnTo>
                    <a:lnTo>
                      <a:pt x="545" y="515"/>
                    </a:lnTo>
                    <a:lnTo>
                      <a:pt x="545" y="509"/>
                    </a:lnTo>
                    <a:lnTo>
                      <a:pt x="543" y="507"/>
                    </a:lnTo>
                    <a:lnTo>
                      <a:pt x="545" y="507"/>
                    </a:lnTo>
                    <a:lnTo>
                      <a:pt x="545" y="505"/>
                    </a:lnTo>
                    <a:lnTo>
                      <a:pt x="545" y="503"/>
                    </a:lnTo>
                    <a:lnTo>
                      <a:pt x="545" y="505"/>
                    </a:lnTo>
                    <a:lnTo>
                      <a:pt x="543" y="507"/>
                    </a:lnTo>
                    <a:lnTo>
                      <a:pt x="543" y="503"/>
                    </a:lnTo>
                    <a:lnTo>
                      <a:pt x="541" y="503"/>
                    </a:lnTo>
                    <a:lnTo>
                      <a:pt x="543" y="501"/>
                    </a:lnTo>
                    <a:lnTo>
                      <a:pt x="541" y="501"/>
                    </a:lnTo>
                    <a:lnTo>
                      <a:pt x="541" y="498"/>
                    </a:lnTo>
                    <a:close/>
                    <a:moveTo>
                      <a:pt x="534" y="522"/>
                    </a:moveTo>
                    <a:lnTo>
                      <a:pt x="536" y="522"/>
                    </a:lnTo>
                    <a:lnTo>
                      <a:pt x="536" y="524"/>
                    </a:lnTo>
                    <a:lnTo>
                      <a:pt x="534" y="526"/>
                    </a:lnTo>
                    <a:lnTo>
                      <a:pt x="536" y="526"/>
                    </a:lnTo>
                    <a:lnTo>
                      <a:pt x="536" y="524"/>
                    </a:lnTo>
                    <a:lnTo>
                      <a:pt x="536" y="526"/>
                    </a:lnTo>
                    <a:lnTo>
                      <a:pt x="537" y="524"/>
                    </a:lnTo>
                    <a:lnTo>
                      <a:pt x="537" y="526"/>
                    </a:lnTo>
                    <a:lnTo>
                      <a:pt x="537" y="528"/>
                    </a:lnTo>
                    <a:lnTo>
                      <a:pt x="537" y="526"/>
                    </a:lnTo>
                    <a:lnTo>
                      <a:pt x="539" y="526"/>
                    </a:lnTo>
                    <a:lnTo>
                      <a:pt x="539" y="528"/>
                    </a:lnTo>
                    <a:lnTo>
                      <a:pt x="541" y="528"/>
                    </a:lnTo>
                    <a:lnTo>
                      <a:pt x="541" y="530"/>
                    </a:lnTo>
                    <a:lnTo>
                      <a:pt x="539" y="528"/>
                    </a:lnTo>
                    <a:lnTo>
                      <a:pt x="539" y="530"/>
                    </a:lnTo>
                    <a:lnTo>
                      <a:pt x="541" y="530"/>
                    </a:lnTo>
                    <a:lnTo>
                      <a:pt x="539" y="532"/>
                    </a:lnTo>
                    <a:lnTo>
                      <a:pt x="541" y="532"/>
                    </a:lnTo>
                    <a:lnTo>
                      <a:pt x="541" y="530"/>
                    </a:lnTo>
                    <a:lnTo>
                      <a:pt x="541" y="532"/>
                    </a:lnTo>
                    <a:lnTo>
                      <a:pt x="543" y="532"/>
                    </a:lnTo>
                    <a:lnTo>
                      <a:pt x="541" y="532"/>
                    </a:lnTo>
                    <a:lnTo>
                      <a:pt x="543" y="534"/>
                    </a:lnTo>
                    <a:lnTo>
                      <a:pt x="543" y="536"/>
                    </a:lnTo>
                    <a:lnTo>
                      <a:pt x="543" y="534"/>
                    </a:lnTo>
                    <a:lnTo>
                      <a:pt x="543" y="536"/>
                    </a:lnTo>
                    <a:lnTo>
                      <a:pt x="543" y="538"/>
                    </a:lnTo>
                    <a:lnTo>
                      <a:pt x="545" y="538"/>
                    </a:lnTo>
                    <a:lnTo>
                      <a:pt x="545" y="540"/>
                    </a:lnTo>
                    <a:lnTo>
                      <a:pt x="545" y="541"/>
                    </a:lnTo>
                    <a:lnTo>
                      <a:pt x="545" y="543"/>
                    </a:lnTo>
                    <a:lnTo>
                      <a:pt x="543" y="543"/>
                    </a:lnTo>
                    <a:lnTo>
                      <a:pt x="545" y="543"/>
                    </a:lnTo>
                    <a:lnTo>
                      <a:pt x="545" y="545"/>
                    </a:lnTo>
                    <a:lnTo>
                      <a:pt x="547" y="547"/>
                    </a:lnTo>
                    <a:lnTo>
                      <a:pt x="545" y="547"/>
                    </a:lnTo>
                    <a:lnTo>
                      <a:pt x="547" y="547"/>
                    </a:lnTo>
                    <a:lnTo>
                      <a:pt x="547" y="549"/>
                    </a:lnTo>
                    <a:lnTo>
                      <a:pt x="547" y="551"/>
                    </a:lnTo>
                    <a:lnTo>
                      <a:pt x="547" y="553"/>
                    </a:lnTo>
                    <a:lnTo>
                      <a:pt x="545" y="549"/>
                    </a:lnTo>
                    <a:lnTo>
                      <a:pt x="545" y="553"/>
                    </a:lnTo>
                    <a:lnTo>
                      <a:pt x="547" y="555"/>
                    </a:lnTo>
                    <a:lnTo>
                      <a:pt x="545" y="555"/>
                    </a:lnTo>
                    <a:lnTo>
                      <a:pt x="547" y="557"/>
                    </a:lnTo>
                    <a:lnTo>
                      <a:pt x="545" y="557"/>
                    </a:lnTo>
                    <a:lnTo>
                      <a:pt x="547" y="557"/>
                    </a:lnTo>
                    <a:lnTo>
                      <a:pt x="547" y="559"/>
                    </a:lnTo>
                    <a:lnTo>
                      <a:pt x="545" y="561"/>
                    </a:lnTo>
                    <a:lnTo>
                      <a:pt x="547" y="559"/>
                    </a:lnTo>
                    <a:lnTo>
                      <a:pt x="545" y="561"/>
                    </a:lnTo>
                    <a:lnTo>
                      <a:pt x="547" y="559"/>
                    </a:lnTo>
                    <a:lnTo>
                      <a:pt x="545" y="561"/>
                    </a:lnTo>
                    <a:lnTo>
                      <a:pt x="547" y="561"/>
                    </a:lnTo>
                    <a:lnTo>
                      <a:pt x="545" y="564"/>
                    </a:lnTo>
                    <a:lnTo>
                      <a:pt x="545" y="562"/>
                    </a:lnTo>
                    <a:lnTo>
                      <a:pt x="545" y="561"/>
                    </a:lnTo>
                    <a:lnTo>
                      <a:pt x="545" y="562"/>
                    </a:lnTo>
                    <a:lnTo>
                      <a:pt x="545" y="561"/>
                    </a:lnTo>
                    <a:lnTo>
                      <a:pt x="543" y="561"/>
                    </a:lnTo>
                    <a:lnTo>
                      <a:pt x="545" y="561"/>
                    </a:lnTo>
                    <a:lnTo>
                      <a:pt x="543" y="561"/>
                    </a:lnTo>
                    <a:lnTo>
                      <a:pt x="543" y="559"/>
                    </a:lnTo>
                    <a:lnTo>
                      <a:pt x="543" y="557"/>
                    </a:lnTo>
                    <a:lnTo>
                      <a:pt x="543" y="559"/>
                    </a:lnTo>
                    <a:lnTo>
                      <a:pt x="541" y="559"/>
                    </a:lnTo>
                    <a:lnTo>
                      <a:pt x="543" y="559"/>
                    </a:lnTo>
                    <a:lnTo>
                      <a:pt x="541" y="557"/>
                    </a:lnTo>
                    <a:lnTo>
                      <a:pt x="541" y="559"/>
                    </a:lnTo>
                    <a:lnTo>
                      <a:pt x="541" y="557"/>
                    </a:lnTo>
                    <a:lnTo>
                      <a:pt x="543" y="555"/>
                    </a:lnTo>
                    <a:lnTo>
                      <a:pt x="541" y="555"/>
                    </a:lnTo>
                    <a:lnTo>
                      <a:pt x="541" y="557"/>
                    </a:lnTo>
                    <a:lnTo>
                      <a:pt x="541" y="555"/>
                    </a:lnTo>
                    <a:lnTo>
                      <a:pt x="541" y="553"/>
                    </a:lnTo>
                    <a:lnTo>
                      <a:pt x="541" y="555"/>
                    </a:lnTo>
                    <a:lnTo>
                      <a:pt x="539" y="553"/>
                    </a:lnTo>
                    <a:lnTo>
                      <a:pt x="541" y="553"/>
                    </a:lnTo>
                    <a:lnTo>
                      <a:pt x="539" y="553"/>
                    </a:lnTo>
                    <a:lnTo>
                      <a:pt x="541" y="553"/>
                    </a:lnTo>
                    <a:lnTo>
                      <a:pt x="539" y="553"/>
                    </a:lnTo>
                    <a:lnTo>
                      <a:pt x="539" y="551"/>
                    </a:lnTo>
                    <a:lnTo>
                      <a:pt x="541" y="551"/>
                    </a:lnTo>
                    <a:lnTo>
                      <a:pt x="541" y="549"/>
                    </a:lnTo>
                    <a:lnTo>
                      <a:pt x="543" y="549"/>
                    </a:lnTo>
                    <a:lnTo>
                      <a:pt x="543" y="547"/>
                    </a:lnTo>
                    <a:lnTo>
                      <a:pt x="541" y="551"/>
                    </a:lnTo>
                    <a:lnTo>
                      <a:pt x="541" y="549"/>
                    </a:lnTo>
                    <a:lnTo>
                      <a:pt x="541" y="547"/>
                    </a:lnTo>
                    <a:lnTo>
                      <a:pt x="539" y="551"/>
                    </a:lnTo>
                    <a:lnTo>
                      <a:pt x="537" y="551"/>
                    </a:lnTo>
                    <a:lnTo>
                      <a:pt x="539" y="551"/>
                    </a:lnTo>
                    <a:lnTo>
                      <a:pt x="539" y="549"/>
                    </a:lnTo>
                    <a:lnTo>
                      <a:pt x="537" y="549"/>
                    </a:lnTo>
                    <a:lnTo>
                      <a:pt x="539" y="547"/>
                    </a:lnTo>
                    <a:lnTo>
                      <a:pt x="541" y="547"/>
                    </a:lnTo>
                    <a:lnTo>
                      <a:pt x="539" y="547"/>
                    </a:lnTo>
                    <a:lnTo>
                      <a:pt x="539" y="545"/>
                    </a:lnTo>
                    <a:lnTo>
                      <a:pt x="537" y="549"/>
                    </a:lnTo>
                    <a:lnTo>
                      <a:pt x="537" y="547"/>
                    </a:lnTo>
                    <a:lnTo>
                      <a:pt x="539" y="545"/>
                    </a:lnTo>
                    <a:lnTo>
                      <a:pt x="537" y="547"/>
                    </a:lnTo>
                    <a:lnTo>
                      <a:pt x="537" y="545"/>
                    </a:lnTo>
                    <a:lnTo>
                      <a:pt x="537" y="543"/>
                    </a:lnTo>
                    <a:lnTo>
                      <a:pt x="539" y="545"/>
                    </a:lnTo>
                    <a:lnTo>
                      <a:pt x="539" y="543"/>
                    </a:lnTo>
                    <a:lnTo>
                      <a:pt x="537" y="543"/>
                    </a:lnTo>
                    <a:lnTo>
                      <a:pt x="539" y="543"/>
                    </a:lnTo>
                    <a:lnTo>
                      <a:pt x="537" y="545"/>
                    </a:lnTo>
                    <a:lnTo>
                      <a:pt x="537" y="543"/>
                    </a:lnTo>
                    <a:lnTo>
                      <a:pt x="537" y="545"/>
                    </a:lnTo>
                    <a:lnTo>
                      <a:pt x="536" y="545"/>
                    </a:lnTo>
                    <a:lnTo>
                      <a:pt x="536" y="543"/>
                    </a:lnTo>
                    <a:lnTo>
                      <a:pt x="534" y="545"/>
                    </a:lnTo>
                    <a:lnTo>
                      <a:pt x="536" y="543"/>
                    </a:lnTo>
                    <a:lnTo>
                      <a:pt x="534" y="543"/>
                    </a:lnTo>
                    <a:lnTo>
                      <a:pt x="534" y="541"/>
                    </a:lnTo>
                    <a:lnTo>
                      <a:pt x="536" y="543"/>
                    </a:lnTo>
                    <a:lnTo>
                      <a:pt x="536" y="541"/>
                    </a:lnTo>
                    <a:lnTo>
                      <a:pt x="536" y="543"/>
                    </a:lnTo>
                    <a:lnTo>
                      <a:pt x="536" y="541"/>
                    </a:lnTo>
                    <a:lnTo>
                      <a:pt x="536" y="543"/>
                    </a:lnTo>
                    <a:lnTo>
                      <a:pt x="536" y="541"/>
                    </a:lnTo>
                    <a:lnTo>
                      <a:pt x="534" y="541"/>
                    </a:lnTo>
                    <a:lnTo>
                      <a:pt x="536" y="540"/>
                    </a:lnTo>
                    <a:lnTo>
                      <a:pt x="534" y="540"/>
                    </a:lnTo>
                    <a:lnTo>
                      <a:pt x="536" y="540"/>
                    </a:lnTo>
                    <a:lnTo>
                      <a:pt x="534" y="540"/>
                    </a:lnTo>
                    <a:lnTo>
                      <a:pt x="536" y="540"/>
                    </a:lnTo>
                    <a:lnTo>
                      <a:pt x="537" y="541"/>
                    </a:lnTo>
                    <a:lnTo>
                      <a:pt x="536" y="540"/>
                    </a:lnTo>
                    <a:lnTo>
                      <a:pt x="537" y="540"/>
                    </a:lnTo>
                    <a:lnTo>
                      <a:pt x="536" y="540"/>
                    </a:lnTo>
                    <a:lnTo>
                      <a:pt x="537" y="540"/>
                    </a:lnTo>
                    <a:lnTo>
                      <a:pt x="537" y="538"/>
                    </a:lnTo>
                    <a:lnTo>
                      <a:pt x="537" y="540"/>
                    </a:lnTo>
                    <a:lnTo>
                      <a:pt x="539" y="540"/>
                    </a:lnTo>
                    <a:lnTo>
                      <a:pt x="537" y="538"/>
                    </a:lnTo>
                    <a:lnTo>
                      <a:pt x="536" y="538"/>
                    </a:lnTo>
                    <a:lnTo>
                      <a:pt x="534" y="536"/>
                    </a:lnTo>
                    <a:lnTo>
                      <a:pt x="536" y="536"/>
                    </a:lnTo>
                    <a:lnTo>
                      <a:pt x="534" y="536"/>
                    </a:lnTo>
                    <a:lnTo>
                      <a:pt x="536" y="534"/>
                    </a:lnTo>
                    <a:lnTo>
                      <a:pt x="534" y="536"/>
                    </a:lnTo>
                    <a:lnTo>
                      <a:pt x="534" y="534"/>
                    </a:lnTo>
                    <a:lnTo>
                      <a:pt x="536" y="534"/>
                    </a:lnTo>
                    <a:lnTo>
                      <a:pt x="536" y="532"/>
                    </a:lnTo>
                    <a:lnTo>
                      <a:pt x="534" y="532"/>
                    </a:lnTo>
                    <a:lnTo>
                      <a:pt x="532" y="532"/>
                    </a:lnTo>
                    <a:lnTo>
                      <a:pt x="532" y="530"/>
                    </a:lnTo>
                    <a:lnTo>
                      <a:pt x="530" y="530"/>
                    </a:lnTo>
                    <a:lnTo>
                      <a:pt x="530" y="528"/>
                    </a:lnTo>
                    <a:lnTo>
                      <a:pt x="534" y="528"/>
                    </a:lnTo>
                    <a:lnTo>
                      <a:pt x="532" y="528"/>
                    </a:lnTo>
                    <a:lnTo>
                      <a:pt x="530" y="528"/>
                    </a:lnTo>
                    <a:lnTo>
                      <a:pt x="532" y="526"/>
                    </a:lnTo>
                    <a:lnTo>
                      <a:pt x="532" y="524"/>
                    </a:lnTo>
                    <a:lnTo>
                      <a:pt x="534" y="522"/>
                    </a:lnTo>
                    <a:close/>
                    <a:moveTo>
                      <a:pt x="84" y="595"/>
                    </a:moveTo>
                    <a:lnTo>
                      <a:pt x="86" y="595"/>
                    </a:lnTo>
                    <a:lnTo>
                      <a:pt x="84" y="595"/>
                    </a:lnTo>
                    <a:lnTo>
                      <a:pt x="86" y="595"/>
                    </a:lnTo>
                    <a:lnTo>
                      <a:pt x="87" y="595"/>
                    </a:lnTo>
                    <a:lnTo>
                      <a:pt x="87" y="597"/>
                    </a:lnTo>
                    <a:lnTo>
                      <a:pt x="89" y="599"/>
                    </a:lnTo>
                    <a:lnTo>
                      <a:pt x="89" y="601"/>
                    </a:lnTo>
                    <a:lnTo>
                      <a:pt x="89" y="602"/>
                    </a:lnTo>
                    <a:lnTo>
                      <a:pt x="91" y="602"/>
                    </a:lnTo>
                    <a:lnTo>
                      <a:pt x="93" y="602"/>
                    </a:lnTo>
                    <a:lnTo>
                      <a:pt x="93" y="604"/>
                    </a:lnTo>
                    <a:lnTo>
                      <a:pt x="95" y="604"/>
                    </a:lnTo>
                    <a:lnTo>
                      <a:pt x="95" y="606"/>
                    </a:lnTo>
                    <a:lnTo>
                      <a:pt x="93" y="604"/>
                    </a:lnTo>
                    <a:lnTo>
                      <a:pt x="91" y="604"/>
                    </a:lnTo>
                    <a:lnTo>
                      <a:pt x="89" y="604"/>
                    </a:lnTo>
                    <a:lnTo>
                      <a:pt x="89" y="602"/>
                    </a:lnTo>
                    <a:lnTo>
                      <a:pt x="89" y="604"/>
                    </a:lnTo>
                    <a:lnTo>
                      <a:pt x="89" y="606"/>
                    </a:lnTo>
                    <a:lnTo>
                      <a:pt x="87" y="606"/>
                    </a:lnTo>
                    <a:lnTo>
                      <a:pt x="86" y="606"/>
                    </a:lnTo>
                    <a:lnTo>
                      <a:pt x="82" y="606"/>
                    </a:lnTo>
                    <a:lnTo>
                      <a:pt x="80" y="606"/>
                    </a:lnTo>
                    <a:lnTo>
                      <a:pt x="78" y="606"/>
                    </a:lnTo>
                    <a:lnTo>
                      <a:pt x="74" y="608"/>
                    </a:lnTo>
                    <a:lnTo>
                      <a:pt x="74" y="610"/>
                    </a:lnTo>
                    <a:lnTo>
                      <a:pt x="72" y="612"/>
                    </a:lnTo>
                    <a:lnTo>
                      <a:pt x="68" y="612"/>
                    </a:lnTo>
                    <a:lnTo>
                      <a:pt x="66" y="612"/>
                    </a:lnTo>
                    <a:lnTo>
                      <a:pt x="65" y="610"/>
                    </a:lnTo>
                    <a:lnTo>
                      <a:pt x="65" y="608"/>
                    </a:lnTo>
                    <a:lnTo>
                      <a:pt x="65" y="606"/>
                    </a:lnTo>
                    <a:lnTo>
                      <a:pt x="66" y="606"/>
                    </a:lnTo>
                    <a:lnTo>
                      <a:pt x="68" y="604"/>
                    </a:lnTo>
                    <a:lnTo>
                      <a:pt x="70" y="601"/>
                    </a:lnTo>
                    <a:lnTo>
                      <a:pt x="70" y="599"/>
                    </a:lnTo>
                    <a:lnTo>
                      <a:pt x="72" y="599"/>
                    </a:lnTo>
                    <a:lnTo>
                      <a:pt x="74" y="599"/>
                    </a:lnTo>
                    <a:lnTo>
                      <a:pt x="76" y="599"/>
                    </a:lnTo>
                    <a:lnTo>
                      <a:pt x="74" y="599"/>
                    </a:lnTo>
                    <a:lnTo>
                      <a:pt x="76" y="599"/>
                    </a:lnTo>
                    <a:lnTo>
                      <a:pt x="76" y="597"/>
                    </a:lnTo>
                    <a:lnTo>
                      <a:pt x="78" y="597"/>
                    </a:lnTo>
                    <a:lnTo>
                      <a:pt x="80" y="597"/>
                    </a:lnTo>
                    <a:lnTo>
                      <a:pt x="82" y="595"/>
                    </a:lnTo>
                    <a:lnTo>
                      <a:pt x="84" y="595"/>
                    </a:lnTo>
                    <a:close/>
                    <a:moveTo>
                      <a:pt x="600" y="568"/>
                    </a:moveTo>
                    <a:lnTo>
                      <a:pt x="602" y="572"/>
                    </a:lnTo>
                    <a:lnTo>
                      <a:pt x="604" y="574"/>
                    </a:lnTo>
                    <a:lnTo>
                      <a:pt x="602" y="576"/>
                    </a:lnTo>
                    <a:lnTo>
                      <a:pt x="604" y="574"/>
                    </a:lnTo>
                    <a:lnTo>
                      <a:pt x="604" y="576"/>
                    </a:lnTo>
                    <a:lnTo>
                      <a:pt x="604" y="580"/>
                    </a:lnTo>
                    <a:lnTo>
                      <a:pt x="604" y="581"/>
                    </a:lnTo>
                    <a:lnTo>
                      <a:pt x="604" y="580"/>
                    </a:lnTo>
                    <a:lnTo>
                      <a:pt x="604" y="581"/>
                    </a:lnTo>
                    <a:lnTo>
                      <a:pt x="604" y="585"/>
                    </a:lnTo>
                    <a:lnTo>
                      <a:pt x="604" y="587"/>
                    </a:lnTo>
                    <a:lnTo>
                      <a:pt x="604" y="585"/>
                    </a:lnTo>
                    <a:lnTo>
                      <a:pt x="604" y="587"/>
                    </a:lnTo>
                    <a:lnTo>
                      <a:pt x="602" y="587"/>
                    </a:lnTo>
                    <a:lnTo>
                      <a:pt x="602" y="589"/>
                    </a:lnTo>
                    <a:lnTo>
                      <a:pt x="602" y="591"/>
                    </a:lnTo>
                    <a:lnTo>
                      <a:pt x="600" y="591"/>
                    </a:lnTo>
                    <a:lnTo>
                      <a:pt x="598" y="589"/>
                    </a:lnTo>
                    <a:lnTo>
                      <a:pt x="600" y="587"/>
                    </a:lnTo>
                    <a:lnTo>
                      <a:pt x="600" y="585"/>
                    </a:lnTo>
                    <a:lnTo>
                      <a:pt x="600" y="587"/>
                    </a:lnTo>
                    <a:lnTo>
                      <a:pt x="598" y="589"/>
                    </a:lnTo>
                    <a:lnTo>
                      <a:pt x="598" y="587"/>
                    </a:lnTo>
                    <a:lnTo>
                      <a:pt x="598" y="589"/>
                    </a:lnTo>
                    <a:lnTo>
                      <a:pt x="597" y="587"/>
                    </a:lnTo>
                    <a:lnTo>
                      <a:pt x="598" y="587"/>
                    </a:lnTo>
                    <a:lnTo>
                      <a:pt x="598" y="585"/>
                    </a:lnTo>
                    <a:lnTo>
                      <a:pt x="600" y="583"/>
                    </a:lnTo>
                    <a:lnTo>
                      <a:pt x="598" y="581"/>
                    </a:lnTo>
                    <a:lnTo>
                      <a:pt x="598" y="580"/>
                    </a:lnTo>
                    <a:lnTo>
                      <a:pt x="598" y="578"/>
                    </a:lnTo>
                    <a:lnTo>
                      <a:pt x="598" y="580"/>
                    </a:lnTo>
                    <a:lnTo>
                      <a:pt x="598" y="583"/>
                    </a:lnTo>
                    <a:lnTo>
                      <a:pt x="598" y="585"/>
                    </a:lnTo>
                    <a:lnTo>
                      <a:pt x="598" y="587"/>
                    </a:lnTo>
                    <a:lnTo>
                      <a:pt x="597" y="587"/>
                    </a:lnTo>
                    <a:lnTo>
                      <a:pt x="597" y="585"/>
                    </a:lnTo>
                    <a:lnTo>
                      <a:pt x="597" y="583"/>
                    </a:lnTo>
                    <a:lnTo>
                      <a:pt x="597" y="581"/>
                    </a:lnTo>
                    <a:lnTo>
                      <a:pt x="595" y="583"/>
                    </a:lnTo>
                    <a:lnTo>
                      <a:pt x="597" y="585"/>
                    </a:lnTo>
                    <a:lnTo>
                      <a:pt x="597" y="587"/>
                    </a:lnTo>
                    <a:lnTo>
                      <a:pt x="595" y="587"/>
                    </a:lnTo>
                    <a:lnTo>
                      <a:pt x="593" y="585"/>
                    </a:lnTo>
                    <a:lnTo>
                      <a:pt x="591" y="583"/>
                    </a:lnTo>
                    <a:lnTo>
                      <a:pt x="593" y="581"/>
                    </a:lnTo>
                    <a:lnTo>
                      <a:pt x="593" y="580"/>
                    </a:lnTo>
                    <a:lnTo>
                      <a:pt x="595" y="581"/>
                    </a:lnTo>
                    <a:lnTo>
                      <a:pt x="593" y="580"/>
                    </a:lnTo>
                    <a:lnTo>
                      <a:pt x="595" y="580"/>
                    </a:lnTo>
                    <a:lnTo>
                      <a:pt x="593" y="580"/>
                    </a:lnTo>
                    <a:lnTo>
                      <a:pt x="595" y="580"/>
                    </a:lnTo>
                    <a:lnTo>
                      <a:pt x="593" y="580"/>
                    </a:lnTo>
                    <a:lnTo>
                      <a:pt x="593" y="578"/>
                    </a:lnTo>
                    <a:lnTo>
                      <a:pt x="595" y="576"/>
                    </a:lnTo>
                    <a:lnTo>
                      <a:pt x="597" y="576"/>
                    </a:lnTo>
                    <a:lnTo>
                      <a:pt x="595" y="576"/>
                    </a:lnTo>
                    <a:lnTo>
                      <a:pt x="593" y="576"/>
                    </a:lnTo>
                    <a:lnTo>
                      <a:pt x="593" y="574"/>
                    </a:lnTo>
                    <a:lnTo>
                      <a:pt x="595" y="574"/>
                    </a:lnTo>
                    <a:lnTo>
                      <a:pt x="597" y="574"/>
                    </a:lnTo>
                    <a:lnTo>
                      <a:pt x="595" y="574"/>
                    </a:lnTo>
                    <a:lnTo>
                      <a:pt x="593" y="574"/>
                    </a:lnTo>
                    <a:lnTo>
                      <a:pt x="593" y="572"/>
                    </a:lnTo>
                    <a:lnTo>
                      <a:pt x="595" y="572"/>
                    </a:lnTo>
                    <a:lnTo>
                      <a:pt x="597" y="572"/>
                    </a:lnTo>
                    <a:lnTo>
                      <a:pt x="595" y="572"/>
                    </a:lnTo>
                    <a:lnTo>
                      <a:pt x="595" y="570"/>
                    </a:lnTo>
                    <a:lnTo>
                      <a:pt x="597" y="570"/>
                    </a:lnTo>
                    <a:lnTo>
                      <a:pt x="598" y="570"/>
                    </a:lnTo>
                    <a:lnTo>
                      <a:pt x="600" y="568"/>
                    </a:lnTo>
                    <a:close/>
                    <a:moveTo>
                      <a:pt x="558" y="536"/>
                    </a:moveTo>
                    <a:lnTo>
                      <a:pt x="562" y="538"/>
                    </a:lnTo>
                    <a:lnTo>
                      <a:pt x="566" y="540"/>
                    </a:lnTo>
                    <a:lnTo>
                      <a:pt x="568" y="540"/>
                    </a:lnTo>
                    <a:lnTo>
                      <a:pt x="566" y="540"/>
                    </a:lnTo>
                    <a:lnTo>
                      <a:pt x="568" y="540"/>
                    </a:lnTo>
                    <a:lnTo>
                      <a:pt x="568" y="541"/>
                    </a:lnTo>
                    <a:lnTo>
                      <a:pt x="568" y="540"/>
                    </a:lnTo>
                    <a:lnTo>
                      <a:pt x="572" y="540"/>
                    </a:lnTo>
                    <a:lnTo>
                      <a:pt x="572" y="541"/>
                    </a:lnTo>
                    <a:lnTo>
                      <a:pt x="574" y="543"/>
                    </a:lnTo>
                    <a:lnTo>
                      <a:pt x="572" y="545"/>
                    </a:lnTo>
                    <a:lnTo>
                      <a:pt x="572" y="543"/>
                    </a:lnTo>
                    <a:lnTo>
                      <a:pt x="570" y="543"/>
                    </a:lnTo>
                    <a:lnTo>
                      <a:pt x="572" y="543"/>
                    </a:lnTo>
                    <a:lnTo>
                      <a:pt x="574" y="547"/>
                    </a:lnTo>
                    <a:lnTo>
                      <a:pt x="574" y="549"/>
                    </a:lnTo>
                    <a:lnTo>
                      <a:pt x="572" y="551"/>
                    </a:lnTo>
                    <a:lnTo>
                      <a:pt x="572" y="549"/>
                    </a:lnTo>
                    <a:lnTo>
                      <a:pt x="570" y="549"/>
                    </a:lnTo>
                    <a:lnTo>
                      <a:pt x="570" y="547"/>
                    </a:lnTo>
                    <a:lnTo>
                      <a:pt x="568" y="545"/>
                    </a:lnTo>
                    <a:lnTo>
                      <a:pt x="570" y="545"/>
                    </a:lnTo>
                    <a:lnTo>
                      <a:pt x="568" y="545"/>
                    </a:lnTo>
                    <a:lnTo>
                      <a:pt x="568" y="541"/>
                    </a:lnTo>
                    <a:lnTo>
                      <a:pt x="566" y="543"/>
                    </a:lnTo>
                    <a:lnTo>
                      <a:pt x="568" y="543"/>
                    </a:lnTo>
                    <a:lnTo>
                      <a:pt x="568" y="545"/>
                    </a:lnTo>
                    <a:lnTo>
                      <a:pt x="566" y="543"/>
                    </a:lnTo>
                    <a:lnTo>
                      <a:pt x="568" y="545"/>
                    </a:lnTo>
                    <a:lnTo>
                      <a:pt x="566" y="545"/>
                    </a:lnTo>
                    <a:lnTo>
                      <a:pt x="568" y="547"/>
                    </a:lnTo>
                    <a:lnTo>
                      <a:pt x="568" y="549"/>
                    </a:lnTo>
                    <a:lnTo>
                      <a:pt x="570" y="551"/>
                    </a:lnTo>
                    <a:lnTo>
                      <a:pt x="570" y="549"/>
                    </a:lnTo>
                    <a:lnTo>
                      <a:pt x="570" y="551"/>
                    </a:lnTo>
                    <a:lnTo>
                      <a:pt x="572" y="553"/>
                    </a:lnTo>
                    <a:lnTo>
                      <a:pt x="570" y="553"/>
                    </a:lnTo>
                    <a:lnTo>
                      <a:pt x="570" y="555"/>
                    </a:lnTo>
                    <a:lnTo>
                      <a:pt x="568" y="555"/>
                    </a:lnTo>
                    <a:lnTo>
                      <a:pt x="566" y="555"/>
                    </a:lnTo>
                    <a:lnTo>
                      <a:pt x="566" y="553"/>
                    </a:lnTo>
                    <a:lnTo>
                      <a:pt x="566" y="555"/>
                    </a:lnTo>
                    <a:lnTo>
                      <a:pt x="564" y="555"/>
                    </a:lnTo>
                    <a:lnTo>
                      <a:pt x="562" y="555"/>
                    </a:lnTo>
                    <a:lnTo>
                      <a:pt x="562" y="553"/>
                    </a:lnTo>
                    <a:lnTo>
                      <a:pt x="562" y="551"/>
                    </a:lnTo>
                    <a:lnTo>
                      <a:pt x="560" y="551"/>
                    </a:lnTo>
                    <a:lnTo>
                      <a:pt x="562" y="551"/>
                    </a:lnTo>
                    <a:lnTo>
                      <a:pt x="562" y="549"/>
                    </a:lnTo>
                    <a:lnTo>
                      <a:pt x="560" y="549"/>
                    </a:lnTo>
                    <a:lnTo>
                      <a:pt x="560" y="547"/>
                    </a:lnTo>
                    <a:lnTo>
                      <a:pt x="562" y="547"/>
                    </a:lnTo>
                    <a:lnTo>
                      <a:pt x="560" y="547"/>
                    </a:lnTo>
                    <a:lnTo>
                      <a:pt x="562" y="547"/>
                    </a:lnTo>
                    <a:lnTo>
                      <a:pt x="560" y="545"/>
                    </a:lnTo>
                    <a:lnTo>
                      <a:pt x="562" y="545"/>
                    </a:lnTo>
                    <a:lnTo>
                      <a:pt x="560" y="545"/>
                    </a:lnTo>
                    <a:lnTo>
                      <a:pt x="562" y="545"/>
                    </a:lnTo>
                    <a:lnTo>
                      <a:pt x="560" y="543"/>
                    </a:lnTo>
                    <a:lnTo>
                      <a:pt x="562" y="543"/>
                    </a:lnTo>
                    <a:lnTo>
                      <a:pt x="560" y="543"/>
                    </a:lnTo>
                    <a:lnTo>
                      <a:pt x="560" y="545"/>
                    </a:lnTo>
                    <a:lnTo>
                      <a:pt x="560" y="543"/>
                    </a:lnTo>
                    <a:lnTo>
                      <a:pt x="560" y="545"/>
                    </a:lnTo>
                    <a:lnTo>
                      <a:pt x="560" y="543"/>
                    </a:lnTo>
                    <a:lnTo>
                      <a:pt x="558" y="543"/>
                    </a:lnTo>
                    <a:lnTo>
                      <a:pt x="560" y="543"/>
                    </a:lnTo>
                    <a:lnTo>
                      <a:pt x="558" y="543"/>
                    </a:lnTo>
                    <a:lnTo>
                      <a:pt x="558" y="541"/>
                    </a:lnTo>
                    <a:lnTo>
                      <a:pt x="558" y="543"/>
                    </a:lnTo>
                    <a:lnTo>
                      <a:pt x="560" y="543"/>
                    </a:lnTo>
                    <a:lnTo>
                      <a:pt x="560" y="541"/>
                    </a:lnTo>
                    <a:lnTo>
                      <a:pt x="558" y="541"/>
                    </a:lnTo>
                    <a:lnTo>
                      <a:pt x="557" y="540"/>
                    </a:lnTo>
                    <a:lnTo>
                      <a:pt x="557" y="538"/>
                    </a:lnTo>
                    <a:lnTo>
                      <a:pt x="558" y="536"/>
                    </a:lnTo>
                    <a:close/>
                    <a:moveTo>
                      <a:pt x="36" y="623"/>
                    </a:moveTo>
                    <a:lnTo>
                      <a:pt x="38" y="623"/>
                    </a:lnTo>
                    <a:lnTo>
                      <a:pt x="38" y="625"/>
                    </a:lnTo>
                    <a:lnTo>
                      <a:pt x="38" y="627"/>
                    </a:lnTo>
                    <a:lnTo>
                      <a:pt x="40" y="627"/>
                    </a:lnTo>
                    <a:lnTo>
                      <a:pt x="40" y="625"/>
                    </a:lnTo>
                    <a:lnTo>
                      <a:pt x="42" y="625"/>
                    </a:lnTo>
                    <a:lnTo>
                      <a:pt x="42" y="623"/>
                    </a:lnTo>
                    <a:lnTo>
                      <a:pt x="42" y="625"/>
                    </a:lnTo>
                    <a:lnTo>
                      <a:pt x="44" y="625"/>
                    </a:lnTo>
                    <a:lnTo>
                      <a:pt x="44" y="623"/>
                    </a:lnTo>
                    <a:lnTo>
                      <a:pt x="44" y="625"/>
                    </a:lnTo>
                    <a:lnTo>
                      <a:pt x="44" y="627"/>
                    </a:lnTo>
                    <a:lnTo>
                      <a:pt x="42" y="627"/>
                    </a:lnTo>
                    <a:lnTo>
                      <a:pt x="40" y="627"/>
                    </a:lnTo>
                    <a:lnTo>
                      <a:pt x="42" y="629"/>
                    </a:lnTo>
                    <a:lnTo>
                      <a:pt x="40" y="629"/>
                    </a:lnTo>
                    <a:lnTo>
                      <a:pt x="38" y="629"/>
                    </a:lnTo>
                    <a:lnTo>
                      <a:pt x="40" y="629"/>
                    </a:lnTo>
                    <a:lnTo>
                      <a:pt x="38" y="631"/>
                    </a:lnTo>
                    <a:lnTo>
                      <a:pt x="40" y="631"/>
                    </a:lnTo>
                    <a:lnTo>
                      <a:pt x="38" y="631"/>
                    </a:lnTo>
                    <a:lnTo>
                      <a:pt x="40" y="631"/>
                    </a:lnTo>
                    <a:lnTo>
                      <a:pt x="42" y="629"/>
                    </a:lnTo>
                    <a:lnTo>
                      <a:pt x="42" y="631"/>
                    </a:lnTo>
                    <a:lnTo>
                      <a:pt x="42" y="629"/>
                    </a:lnTo>
                    <a:lnTo>
                      <a:pt x="42" y="631"/>
                    </a:lnTo>
                    <a:lnTo>
                      <a:pt x="44" y="631"/>
                    </a:lnTo>
                    <a:lnTo>
                      <a:pt x="42" y="633"/>
                    </a:lnTo>
                    <a:lnTo>
                      <a:pt x="42" y="631"/>
                    </a:lnTo>
                    <a:lnTo>
                      <a:pt x="42" y="633"/>
                    </a:lnTo>
                    <a:lnTo>
                      <a:pt x="42" y="631"/>
                    </a:lnTo>
                    <a:lnTo>
                      <a:pt x="42" y="633"/>
                    </a:lnTo>
                    <a:lnTo>
                      <a:pt x="40" y="633"/>
                    </a:lnTo>
                    <a:lnTo>
                      <a:pt x="38" y="633"/>
                    </a:lnTo>
                    <a:lnTo>
                      <a:pt x="40" y="635"/>
                    </a:lnTo>
                    <a:lnTo>
                      <a:pt x="38" y="635"/>
                    </a:lnTo>
                    <a:lnTo>
                      <a:pt x="38" y="637"/>
                    </a:lnTo>
                    <a:lnTo>
                      <a:pt x="38" y="635"/>
                    </a:lnTo>
                    <a:lnTo>
                      <a:pt x="38" y="637"/>
                    </a:lnTo>
                    <a:lnTo>
                      <a:pt x="36" y="637"/>
                    </a:lnTo>
                    <a:lnTo>
                      <a:pt x="36" y="635"/>
                    </a:lnTo>
                    <a:lnTo>
                      <a:pt x="38" y="637"/>
                    </a:lnTo>
                    <a:lnTo>
                      <a:pt x="36" y="637"/>
                    </a:lnTo>
                    <a:lnTo>
                      <a:pt x="36" y="635"/>
                    </a:lnTo>
                    <a:lnTo>
                      <a:pt x="34" y="635"/>
                    </a:lnTo>
                    <a:lnTo>
                      <a:pt x="34" y="637"/>
                    </a:lnTo>
                    <a:lnTo>
                      <a:pt x="36" y="637"/>
                    </a:lnTo>
                    <a:lnTo>
                      <a:pt x="34" y="637"/>
                    </a:lnTo>
                    <a:lnTo>
                      <a:pt x="36" y="637"/>
                    </a:lnTo>
                    <a:lnTo>
                      <a:pt x="36" y="639"/>
                    </a:lnTo>
                    <a:lnTo>
                      <a:pt x="34" y="639"/>
                    </a:lnTo>
                    <a:lnTo>
                      <a:pt x="34" y="637"/>
                    </a:lnTo>
                    <a:lnTo>
                      <a:pt x="34" y="639"/>
                    </a:lnTo>
                    <a:lnTo>
                      <a:pt x="34" y="637"/>
                    </a:lnTo>
                    <a:lnTo>
                      <a:pt x="34" y="639"/>
                    </a:lnTo>
                    <a:lnTo>
                      <a:pt x="34" y="637"/>
                    </a:lnTo>
                    <a:lnTo>
                      <a:pt x="34" y="639"/>
                    </a:lnTo>
                    <a:lnTo>
                      <a:pt x="32" y="639"/>
                    </a:lnTo>
                    <a:lnTo>
                      <a:pt x="32" y="637"/>
                    </a:lnTo>
                    <a:lnTo>
                      <a:pt x="32" y="639"/>
                    </a:lnTo>
                    <a:lnTo>
                      <a:pt x="30" y="639"/>
                    </a:lnTo>
                    <a:lnTo>
                      <a:pt x="32" y="637"/>
                    </a:lnTo>
                    <a:lnTo>
                      <a:pt x="30" y="639"/>
                    </a:lnTo>
                    <a:lnTo>
                      <a:pt x="28" y="639"/>
                    </a:lnTo>
                    <a:lnTo>
                      <a:pt x="26" y="641"/>
                    </a:lnTo>
                    <a:lnTo>
                      <a:pt x="25" y="643"/>
                    </a:lnTo>
                    <a:lnTo>
                      <a:pt x="23" y="643"/>
                    </a:lnTo>
                    <a:lnTo>
                      <a:pt x="23" y="644"/>
                    </a:lnTo>
                    <a:lnTo>
                      <a:pt x="21" y="644"/>
                    </a:lnTo>
                    <a:lnTo>
                      <a:pt x="21" y="643"/>
                    </a:lnTo>
                    <a:lnTo>
                      <a:pt x="19" y="643"/>
                    </a:lnTo>
                    <a:lnTo>
                      <a:pt x="21" y="641"/>
                    </a:lnTo>
                    <a:lnTo>
                      <a:pt x="23" y="641"/>
                    </a:lnTo>
                    <a:lnTo>
                      <a:pt x="23" y="639"/>
                    </a:lnTo>
                    <a:lnTo>
                      <a:pt x="25" y="641"/>
                    </a:lnTo>
                    <a:lnTo>
                      <a:pt x="23" y="639"/>
                    </a:lnTo>
                    <a:lnTo>
                      <a:pt x="25" y="639"/>
                    </a:lnTo>
                    <a:lnTo>
                      <a:pt x="26" y="639"/>
                    </a:lnTo>
                    <a:lnTo>
                      <a:pt x="28" y="639"/>
                    </a:lnTo>
                    <a:lnTo>
                      <a:pt x="26" y="639"/>
                    </a:lnTo>
                    <a:lnTo>
                      <a:pt x="26" y="637"/>
                    </a:lnTo>
                    <a:lnTo>
                      <a:pt x="28" y="639"/>
                    </a:lnTo>
                    <a:lnTo>
                      <a:pt x="28" y="637"/>
                    </a:lnTo>
                    <a:lnTo>
                      <a:pt x="28" y="639"/>
                    </a:lnTo>
                    <a:lnTo>
                      <a:pt x="28" y="637"/>
                    </a:lnTo>
                    <a:lnTo>
                      <a:pt x="30" y="637"/>
                    </a:lnTo>
                    <a:lnTo>
                      <a:pt x="32" y="637"/>
                    </a:lnTo>
                    <a:lnTo>
                      <a:pt x="32" y="635"/>
                    </a:lnTo>
                    <a:lnTo>
                      <a:pt x="30" y="637"/>
                    </a:lnTo>
                    <a:lnTo>
                      <a:pt x="30" y="635"/>
                    </a:lnTo>
                    <a:lnTo>
                      <a:pt x="28" y="635"/>
                    </a:lnTo>
                    <a:lnTo>
                      <a:pt x="28" y="633"/>
                    </a:lnTo>
                    <a:lnTo>
                      <a:pt x="30" y="633"/>
                    </a:lnTo>
                    <a:lnTo>
                      <a:pt x="30" y="635"/>
                    </a:lnTo>
                    <a:lnTo>
                      <a:pt x="30" y="633"/>
                    </a:lnTo>
                    <a:lnTo>
                      <a:pt x="32" y="633"/>
                    </a:lnTo>
                    <a:lnTo>
                      <a:pt x="30" y="633"/>
                    </a:lnTo>
                    <a:lnTo>
                      <a:pt x="30" y="631"/>
                    </a:lnTo>
                    <a:lnTo>
                      <a:pt x="34" y="631"/>
                    </a:lnTo>
                    <a:lnTo>
                      <a:pt x="34" y="633"/>
                    </a:lnTo>
                    <a:lnTo>
                      <a:pt x="36" y="633"/>
                    </a:lnTo>
                    <a:lnTo>
                      <a:pt x="34" y="631"/>
                    </a:lnTo>
                    <a:lnTo>
                      <a:pt x="36" y="631"/>
                    </a:lnTo>
                    <a:lnTo>
                      <a:pt x="34" y="631"/>
                    </a:lnTo>
                    <a:lnTo>
                      <a:pt x="36" y="631"/>
                    </a:lnTo>
                    <a:lnTo>
                      <a:pt x="34" y="631"/>
                    </a:lnTo>
                    <a:lnTo>
                      <a:pt x="34" y="629"/>
                    </a:lnTo>
                    <a:lnTo>
                      <a:pt x="32" y="629"/>
                    </a:lnTo>
                    <a:lnTo>
                      <a:pt x="30" y="629"/>
                    </a:lnTo>
                    <a:lnTo>
                      <a:pt x="28" y="627"/>
                    </a:lnTo>
                    <a:lnTo>
                      <a:pt x="30" y="627"/>
                    </a:lnTo>
                    <a:lnTo>
                      <a:pt x="30" y="625"/>
                    </a:lnTo>
                    <a:lnTo>
                      <a:pt x="32" y="625"/>
                    </a:lnTo>
                    <a:lnTo>
                      <a:pt x="34" y="623"/>
                    </a:lnTo>
                    <a:lnTo>
                      <a:pt x="36" y="623"/>
                    </a:lnTo>
                    <a:close/>
                    <a:moveTo>
                      <a:pt x="1539" y="929"/>
                    </a:moveTo>
                    <a:lnTo>
                      <a:pt x="1537" y="929"/>
                    </a:lnTo>
                    <a:lnTo>
                      <a:pt x="1537" y="931"/>
                    </a:lnTo>
                    <a:lnTo>
                      <a:pt x="1537" y="929"/>
                    </a:lnTo>
                    <a:lnTo>
                      <a:pt x="1537" y="931"/>
                    </a:lnTo>
                    <a:lnTo>
                      <a:pt x="1535" y="931"/>
                    </a:lnTo>
                    <a:lnTo>
                      <a:pt x="1537" y="931"/>
                    </a:lnTo>
                    <a:lnTo>
                      <a:pt x="1535" y="931"/>
                    </a:lnTo>
                    <a:lnTo>
                      <a:pt x="1535" y="933"/>
                    </a:lnTo>
                    <a:lnTo>
                      <a:pt x="1533" y="933"/>
                    </a:lnTo>
                    <a:lnTo>
                      <a:pt x="1533" y="934"/>
                    </a:lnTo>
                    <a:lnTo>
                      <a:pt x="1535" y="934"/>
                    </a:lnTo>
                    <a:lnTo>
                      <a:pt x="1535" y="933"/>
                    </a:lnTo>
                    <a:lnTo>
                      <a:pt x="1537" y="933"/>
                    </a:lnTo>
                    <a:lnTo>
                      <a:pt x="1537" y="931"/>
                    </a:lnTo>
                    <a:lnTo>
                      <a:pt x="1537" y="933"/>
                    </a:lnTo>
                    <a:lnTo>
                      <a:pt x="1537" y="931"/>
                    </a:lnTo>
                    <a:lnTo>
                      <a:pt x="1539" y="933"/>
                    </a:lnTo>
                    <a:lnTo>
                      <a:pt x="1539" y="931"/>
                    </a:lnTo>
                    <a:lnTo>
                      <a:pt x="1540" y="931"/>
                    </a:lnTo>
                    <a:lnTo>
                      <a:pt x="1540" y="933"/>
                    </a:lnTo>
                    <a:lnTo>
                      <a:pt x="1542" y="933"/>
                    </a:lnTo>
                    <a:lnTo>
                      <a:pt x="1542" y="931"/>
                    </a:lnTo>
                    <a:lnTo>
                      <a:pt x="1544" y="931"/>
                    </a:lnTo>
                    <a:lnTo>
                      <a:pt x="1535" y="934"/>
                    </a:lnTo>
                    <a:lnTo>
                      <a:pt x="1533" y="934"/>
                    </a:lnTo>
                    <a:lnTo>
                      <a:pt x="1533" y="936"/>
                    </a:lnTo>
                    <a:lnTo>
                      <a:pt x="1535" y="934"/>
                    </a:lnTo>
                    <a:lnTo>
                      <a:pt x="1531" y="936"/>
                    </a:lnTo>
                    <a:lnTo>
                      <a:pt x="1533" y="936"/>
                    </a:lnTo>
                    <a:lnTo>
                      <a:pt x="1531" y="936"/>
                    </a:lnTo>
                    <a:lnTo>
                      <a:pt x="1529" y="936"/>
                    </a:lnTo>
                    <a:lnTo>
                      <a:pt x="1529" y="938"/>
                    </a:lnTo>
                    <a:lnTo>
                      <a:pt x="1529" y="936"/>
                    </a:lnTo>
                    <a:lnTo>
                      <a:pt x="1527" y="936"/>
                    </a:lnTo>
                    <a:lnTo>
                      <a:pt x="1527" y="938"/>
                    </a:lnTo>
                    <a:lnTo>
                      <a:pt x="1527" y="936"/>
                    </a:lnTo>
                    <a:lnTo>
                      <a:pt x="1525" y="938"/>
                    </a:lnTo>
                    <a:lnTo>
                      <a:pt x="1523" y="938"/>
                    </a:lnTo>
                    <a:lnTo>
                      <a:pt x="1523" y="936"/>
                    </a:lnTo>
                    <a:lnTo>
                      <a:pt x="1523" y="938"/>
                    </a:lnTo>
                    <a:lnTo>
                      <a:pt x="1525" y="938"/>
                    </a:lnTo>
                    <a:lnTo>
                      <a:pt x="1523" y="938"/>
                    </a:lnTo>
                    <a:lnTo>
                      <a:pt x="1521" y="938"/>
                    </a:lnTo>
                    <a:lnTo>
                      <a:pt x="1520" y="938"/>
                    </a:lnTo>
                    <a:lnTo>
                      <a:pt x="1520" y="940"/>
                    </a:lnTo>
                    <a:lnTo>
                      <a:pt x="1520" y="938"/>
                    </a:lnTo>
                    <a:lnTo>
                      <a:pt x="1520" y="940"/>
                    </a:lnTo>
                    <a:lnTo>
                      <a:pt x="1520" y="938"/>
                    </a:lnTo>
                    <a:lnTo>
                      <a:pt x="1518" y="940"/>
                    </a:lnTo>
                    <a:lnTo>
                      <a:pt x="1518" y="938"/>
                    </a:lnTo>
                    <a:lnTo>
                      <a:pt x="1518" y="940"/>
                    </a:lnTo>
                    <a:lnTo>
                      <a:pt x="1518" y="938"/>
                    </a:lnTo>
                    <a:lnTo>
                      <a:pt x="1518" y="940"/>
                    </a:lnTo>
                    <a:lnTo>
                      <a:pt x="1516" y="940"/>
                    </a:lnTo>
                    <a:lnTo>
                      <a:pt x="1518" y="940"/>
                    </a:lnTo>
                    <a:lnTo>
                      <a:pt x="1516" y="940"/>
                    </a:lnTo>
                    <a:lnTo>
                      <a:pt x="1512" y="942"/>
                    </a:lnTo>
                    <a:lnTo>
                      <a:pt x="1512" y="940"/>
                    </a:lnTo>
                    <a:lnTo>
                      <a:pt x="1514" y="940"/>
                    </a:lnTo>
                    <a:lnTo>
                      <a:pt x="1514" y="938"/>
                    </a:lnTo>
                    <a:lnTo>
                      <a:pt x="1512" y="940"/>
                    </a:lnTo>
                    <a:lnTo>
                      <a:pt x="1510" y="940"/>
                    </a:lnTo>
                    <a:lnTo>
                      <a:pt x="1510" y="938"/>
                    </a:lnTo>
                    <a:lnTo>
                      <a:pt x="1512" y="938"/>
                    </a:lnTo>
                    <a:lnTo>
                      <a:pt x="1512" y="936"/>
                    </a:lnTo>
                    <a:lnTo>
                      <a:pt x="1514" y="936"/>
                    </a:lnTo>
                    <a:lnTo>
                      <a:pt x="1514" y="934"/>
                    </a:lnTo>
                    <a:lnTo>
                      <a:pt x="1516" y="936"/>
                    </a:lnTo>
                    <a:lnTo>
                      <a:pt x="1516" y="934"/>
                    </a:lnTo>
                    <a:lnTo>
                      <a:pt x="1516" y="936"/>
                    </a:lnTo>
                    <a:lnTo>
                      <a:pt x="1516" y="934"/>
                    </a:lnTo>
                    <a:lnTo>
                      <a:pt x="1516" y="936"/>
                    </a:lnTo>
                    <a:lnTo>
                      <a:pt x="1516" y="934"/>
                    </a:lnTo>
                    <a:lnTo>
                      <a:pt x="1518" y="934"/>
                    </a:lnTo>
                    <a:lnTo>
                      <a:pt x="1520" y="934"/>
                    </a:lnTo>
                    <a:lnTo>
                      <a:pt x="1520" y="933"/>
                    </a:lnTo>
                    <a:lnTo>
                      <a:pt x="1520" y="934"/>
                    </a:lnTo>
                    <a:lnTo>
                      <a:pt x="1520" y="933"/>
                    </a:lnTo>
                    <a:lnTo>
                      <a:pt x="1520" y="934"/>
                    </a:lnTo>
                    <a:lnTo>
                      <a:pt x="1521" y="934"/>
                    </a:lnTo>
                    <a:lnTo>
                      <a:pt x="1521" y="933"/>
                    </a:lnTo>
                    <a:lnTo>
                      <a:pt x="1520" y="934"/>
                    </a:lnTo>
                    <a:lnTo>
                      <a:pt x="1520" y="933"/>
                    </a:lnTo>
                    <a:lnTo>
                      <a:pt x="1521" y="934"/>
                    </a:lnTo>
                    <a:lnTo>
                      <a:pt x="1521" y="933"/>
                    </a:lnTo>
                    <a:lnTo>
                      <a:pt x="1523" y="934"/>
                    </a:lnTo>
                    <a:lnTo>
                      <a:pt x="1523" y="933"/>
                    </a:lnTo>
                    <a:lnTo>
                      <a:pt x="1525" y="933"/>
                    </a:lnTo>
                    <a:lnTo>
                      <a:pt x="1527" y="933"/>
                    </a:lnTo>
                    <a:lnTo>
                      <a:pt x="1525" y="933"/>
                    </a:lnTo>
                    <a:lnTo>
                      <a:pt x="1531" y="933"/>
                    </a:lnTo>
                    <a:lnTo>
                      <a:pt x="1533" y="933"/>
                    </a:lnTo>
                    <a:lnTo>
                      <a:pt x="1535" y="931"/>
                    </a:lnTo>
                    <a:lnTo>
                      <a:pt x="1537" y="931"/>
                    </a:lnTo>
                    <a:lnTo>
                      <a:pt x="1537" y="929"/>
                    </a:lnTo>
                    <a:lnTo>
                      <a:pt x="1539" y="929"/>
                    </a:lnTo>
                    <a:close/>
                    <a:moveTo>
                      <a:pt x="68" y="419"/>
                    </a:moveTo>
                    <a:lnTo>
                      <a:pt x="68" y="421"/>
                    </a:lnTo>
                    <a:lnTo>
                      <a:pt x="72" y="421"/>
                    </a:lnTo>
                    <a:lnTo>
                      <a:pt x="74" y="421"/>
                    </a:lnTo>
                    <a:lnTo>
                      <a:pt x="74" y="423"/>
                    </a:lnTo>
                    <a:lnTo>
                      <a:pt x="76" y="423"/>
                    </a:lnTo>
                    <a:lnTo>
                      <a:pt x="76" y="425"/>
                    </a:lnTo>
                    <a:lnTo>
                      <a:pt x="74" y="427"/>
                    </a:lnTo>
                    <a:lnTo>
                      <a:pt x="74" y="429"/>
                    </a:lnTo>
                    <a:lnTo>
                      <a:pt x="72" y="429"/>
                    </a:lnTo>
                    <a:lnTo>
                      <a:pt x="70" y="431"/>
                    </a:lnTo>
                    <a:lnTo>
                      <a:pt x="72" y="431"/>
                    </a:lnTo>
                    <a:lnTo>
                      <a:pt x="72" y="433"/>
                    </a:lnTo>
                    <a:lnTo>
                      <a:pt x="70" y="433"/>
                    </a:lnTo>
                    <a:lnTo>
                      <a:pt x="70" y="435"/>
                    </a:lnTo>
                    <a:lnTo>
                      <a:pt x="70" y="436"/>
                    </a:lnTo>
                    <a:lnTo>
                      <a:pt x="68" y="438"/>
                    </a:lnTo>
                    <a:lnTo>
                      <a:pt x="65" y="436"/>
                    </a:lnTo>
                    <a:lnTo>
                      <a:pt x="61" y="435"/>
                    </a:lnTo>
                    <a:lnTo>
                      <a:pt x="63" y="433"/>
                    </a:lnTo>
                    <a:lnTo>
                      <a:pt x="65" y="431"/>
                    </a:lnTo>
                    <a:lnTo>
                      <a:pt x="63" y="431"/>
                    </a:lnTo>
                    <a:lnTo>
                      <a:pt x="61" y="433"/>
                    </a:lnTo>
                    <a:lnTo>
                      <a:pt x="59" y="433"/>
                    </a:lnTo>
                    <a:lnTo>
                      <a:pt x="57" y="431"/>
                    </a:lnTo>
                    <a:lnTo>
                      <a:pt x="57" y="429"/>
                    </a:lnTo>
                    <a:lnTo>
                      <a:pt x="59" y="429"/>
                    </a:lnTo>
                    <a:lnTo>
                      <a:pt x="61" y="427"/>
                    </a:lnTo>
                    <a:lnTo>
                      <a:pt x="63" y="427"/>
                    </a:lnTo>
                    <a:lnTo>
                      <a:pt x="63" y="425"/>
                    </a:lnTo>
                    <a:lnTo>
                      <a:pt x="65" y="425"/>
                    </a:lnTo>
                    <a:lnTo>
                      <a:pt x="63" y="423"/>
                    </a:lnTo>
                    <a:lnTo>
                      <a:pt x="65" y="423"/>
                    </a:lnTo>
                    <a:lnTo>
                      <a:pt x="65" y="421"/>
                    </a:lnTo>
                    <a:lnTo>
                      <a:pt x="66" y="419"/>
                    </a:lnTo>
                    <a:lnTo>
                      <a:pt x="68" y="419"/>
                    </a:lnTo>
                    <a:close/>
                    <a:moveTo>
                      <a:pt x="553" y="541"/>
                    </a:moveTo>
                    <a:lnTo>
                      <a:pt x="557" y="543"/>
                    </a:lnTo>
                    <a:lnTo>
                      <a:pt x="557" y="545"/>
                    </a:lnTo>
                    <a:lnTo>
                      <a:pt x="557" y="543"/>
                    </a:lnTo>
                    <a:lnTo>
                      <a:pt x="557" y="545"/>
                    </a:lnTo>
                    <a:lnTo>
                      <a:pt x="558" y="545"/>
                    </a:lnTo>
                    <a:lnTo>
                      <a:pt x="558" y="547"/>
                    </a:lnTo>
                    <a:lnTo>
                      <a:pt x="558" y="545"/>
                    </a:lnTo>
                    <a:lnTo>
                      <a:pt x="557" y="547"/>
                    </a:lnTo>
                    <a:lnTo>
                      <a:pt x="557" y="549"/>
                    </a:lnTo>
                    <a:lnTo>
                      <a:pt x="555" y="549"/>
                    </a:lnTo>
                    <a:lnTo>
                      <a:pt x="557" y="549"/>
                    </a:lnTo>
                    <a:lnTo>
                      <a:pt x="558" y="547"/>
                    </a:lnTo>
                    <a:lnTo>
                      <a:pt x="558" y="545"/>
                    </a:lnTo>
                    <a:lnTo>
                      <a:pt x="560" y="545"/>
                    </a:lnTo>
                    <a:lnTo>
                      <a:pt x="560" y="547"/>
                    </a:lnTo>
                    <a:lnTo>
                      <a:pt x="560" y="549"/>
                    </a:lnTo>
                    <a:lnTo>
                      <a:pt x="560" y="551"/>
                    </a:lnTo>
                    <a:lnTo>
                      <a:pt x="562" y="551"/>
                    </a:lnTo>
                    <a:lnTo>
                      <a:pt x="560" y="551"/>
                    </a:lnTo>
                    <a:lnTo>
                      <a:pt x="560" y="553"/>
                    </a:lnTo>
                    <a:lnTo>
                      <a:pt x="558" y="551"/>
                    </a:lnTo>
                    <a:lnTo>
                      <a:pt x="557" y="551"/>
                    </a:lnTo>
                    <a:lnTo>
                      <a:pt x="558" y="551"/>
                    </a:lnTo>
                    <a:lnTo>
                      <a:pt x="558" y="553"/>
                    </a:lnTo>
                    <a:lnTo>
                      <a:pt x="558" y="551"/>
                    </a:lnTo>
                    <a:lnTo>
                      <a:pt x="557" y="553"/>
                    </a:lnTo>
                    <a:lnTo>
                      <a:pt x="558" y="551"/>
                    </a:lnTo>
                    <a:lnTo>
                      <a:pt x="558" y="553"/>
                    </a:lnTo>
                    <a:lnTo>
                      <a:pt x="557" y="553"/>
                    </a:lnTo>
                    <a:lnTo>
                      <a:pt x="558" y="553"/>
                    </a:lnTo>
                    <a:lnTo>
                      <a:pt x="557" y="553"/>
                    </a:lnTo>
                    <a:lnTo>
                      <a:pt x="557" y="555"/>
                    </a:lnTo>
                    <a:lnTo>
                      <a:pt x="558" y="555"/>
                    </a:lnTo>
                    <a:lnTo>
                      <a:pt x="557" y="555"/>
                    </a:lnTo>
                    <a:lnTo>
                      <a:pt x="558" y="555"/>
                    </a:lnTo>
                    <a:lnTo>
                      <a:pt x="558" y="557"/>
                    </a:lnTo>
                    <a:lnTo>
                      <a:pt x="558" y="559"/>
                    </a:lnTo>
                    <a:lnTo>
                      <a:pt x="558" y="557"/>
                    </a:lnTo>
                    <a:lnTo>
                      <a:pt x="558" y="559"/>
                    </a:lnTo>
                    <a:lnTo>
                      <a:pt x="558" y="561"/>
                    </a:lnTo>
                    <a:lnTo>
                      <a:pt x="557" y="557"/>
                    </a:lnTo>
                    <a:lnTo>
                      <a:pt x="557" y="559"/>
                    </a:lnTo>
                    <a:lnTo>
                      <a:pt x="557" y="561"/>
                    </a:lnTo>
                    <a:lnTo>
                      <a:pt x="558" y="561"/>
                    </a:lnTo>
                    <a:lnTo>
                      <a:pt x="558" y="562"/>
                    </a:lnTo>
                    <a:lnTo>
                      <a:pt x="557" y="562"/>
                    </a:lnTo>
                    <a:lnTo>
                      <a:pt x="558" y="562"/>
                    </a:lnTo>
                    <a:lnTo>
                      <a:pt x="557" y="564"/>
                    </a:lnTo>
                    <a:lnTo>
                      <a:pt x="557" y="566"/>
                    </a:lnTo>
                    <a:lnTo>
                      <a:pt x="557" y="564"/>
                    </a:lnTo>
                    <a:lnTo>
                      <a:pt x="557" y="562"/>
                    </a:lnTo>
                    <a:lnTo>
                      <a:pt x="555" y="562"/>
                    </a:lnTo>
                    <a:lnTo>
                      <a:pt x="557" y="561"/>
                    </a:lnTo>
                    <a:lnTo>
                      <a:pt x="555" y="559"/>
                    </a:lnTo>
                    <a:lnTo>
                      <a:pt x="555" y="561"/>
                    </a:lnTo>
                    <a:lnTo>
                      <a:pt x="555" y="562"/>
                    </a:lnTo>
                    <a:lnTo>
                      <a:pt x="553" y="562"/>
                    </a:lnTo>
                    <a:lnTo>
                      <a:pt x="553" y="564"/>
                    </a:lnTo>
                    <a:lnTo>
                      <a:pt x="555" y="564"/>
                    </a:lnTo>
                    <a:lnTo>
                      <a:pt x="553" y="564"/>
                    </a:lnTo>
                    <a:lnTo>
                      <a:pt x="555" y="564"/>
                    </a:lnTo>
                    <a:lnTo>
                      <a:pt x="555" y="566"/>
                    </a:lnTo>
                    <a:lnTo>
                      <a:pt x="555" y="568"/>
                    </a:lnTo>
                    <a:lnTo>
                      <a:pt x="553" y="566"/>
                    </a:lnTo>
                    <a:lnTo>
                      <a:pt x="555" y="566"/>
                    </a:lnTo>
                    <a:lnTo>
                      <a:pt x="553" y="566"/>
                    </a:lnTo>
                    <a:lnTo>
                      <a:pt x="553" y="564"/>
                    </a:lnTo>
                    <a:lnTo>
                      <a:pt x="553" y="562"/>
                    </a:lnTo>
                    <a:lnTo>
                      <a:pt x="553" y="561"/>
                    </a:lnTo>
                    <a:lnTo>
                      <a:pt x="553" y="559"/>
                    </a:lnTo>
                    <a:lnTo>
                      <a:pt x="555" y="561"/>
                    </a:lnTo>
                    <a:lnTo>
                      <a:pt x="553" y="559"/>
                    </a:lnTo>
                    <a:lnTo>
                      <a:pt x="555" y="559"/>
                    </a:lnTo>
                    <a:lnTo>
                      <a:pt x="553" y="559"/>
                    </a:lnTo>
                    <a:lnTo>
                      <a:pt x="553" y="561"/>
                    </a:lnTo>
                    <a:lnTo>
                      <a:pt x="551" y="559"/>
                    </a:lnTo>
                    <a:lnTo>
                      <a:pt x="553" y="559"/>
                    </a:lnTo>
                    <a:lnTo>
                      <a:pt x="551" y="559"/>
                    </a:lnTo>
                    <a:lnTo>
                      <a:pt x="553" y="557"/>
                    </a:lnTo>
                    <a:lnTo>
                      <a:pt x="553" y="559"/>
                    </a:lnTo>
                    <a:lnTo>
                      <a:pt x="553" y="557"/>
                    </a:lnTo>
                    <a:lnTo>
                      <a:pt x="553" y="555"/>
                    </a:lnTo>
                    <a:lnTo>
                      <a:pt x="553" y="557"/>
                    </a:lnTo>
                    <a:lnTo>
                      <a:pt x="553" y="555"/>
                    </a:lnTo>
                    <a:lnTo>
                      <a:pt x="555" y="557"/>
                    </a:lnTo>
                    <a:lnTo>
                      <a:pt x="553" y="557"/>
                    </a:lnTo>
                    <a:lnTo>
                      <a:pt x="555" y="557"/>
                    </a:lnTo>
                    <a:lnTo>
                      <a:pt x="553" y="557"/>
                    </a:lnTo>
                    <a:lnTo>
                      <a:pt x="555" y="557"/>
                    </a:lnTo>
                    <a:lnTo>
                      <a:pt x="557" y="559"/>
                    </a:lnTo>
                    <a:lnTo>
                      <a:pt x="557" y="557"/>
                    </a:lnTo>
                    <a:lnTo>
                      <a:pt x="555" y="555"/>
                    </a:lnTo>
                    <a:lnTo>
                      <a:pt x="557" y="555"/>
                    </a:lnTo>
                    <a:lnTo>
                      <a:pt x="557" y="553"/>
                    </a:lnTo>
                    <a:lnTo>
                      <a:pt x="555" y="553"/>
                    </a:lnTo>
                    <a:lnTo>
                      <a:pt x="557" y="553"/>
                    </a:lnTo>
                    <a:lnTo>
                      <a:pt x="555" y="553"/>
                    </a:lnTo>
                    <a:lnTo>
                      <a:pt x="555" y="555"/>
                    </a:lnTo>
                    <a:lnTo>
                      <a:pt x="555" y="553"/>
                    </a:lnTo>
                    <a:lnTo>
                      <a:pt x="553" y="553"/>
                    </a:lnTo>
                    <a:lnTo>
                      <a:pt x="553" y="551"/>
                    </a:lnTo>
                    <a:lnTo>
                      <a:pt x="551" y="553"/>
                    </a:lnTo>
                    <a:lnTo>
                      <a:pt x="553" y="551"/>
                    </a:lnTo>
                    <a:lnTo>
                      <a:pt x="555" y="551"/>
                    </a:lnTo>
                    <a:lnTo>
                      <a:pt x="553" y="549"/>
                    </a:lnTo>
                    <a:lnTo>
                      <a:pt x="555" y="549"/>
                    </a:lnTo>
                    <a:lnTo>
                      <a:pt x="555" y="551"/>
                    </a:lnTo>
                    <a:lnTo>
                      <a:pt x="555" y="549"/>
                    </a:lnTo>
                    <a:lnTo>
                      <a:pt x="553" y="549"/>
                    </a:lnTo>
                    <a:lnTo>
                      <a:pt x="553" y="551"/>
                    </a:lnTo>
                    <a:lnTo>
                      <a:pt x="553" y="549"/>
                    </a:lnTo>
                    <a:lnTo>
                      <a:pt x="553" y="547"/>
                    </a:lnTo>
                    <a:lnTo>
                      <a:pt x="553" y="549"/>
                    </a:lnTo>
                    <a:lnTo>
                      <a:pt x="551" y="549"/>
                    </a:lnTo>
                    <a:lnTo>
                      <a:pt x="551" y="547"/>
                    </a:lnTo>
                    <a:lnTo>
                      <a:pt x="551" y="545"/>
                    </a:lnTo>
                    <a:lnTo>
                      <a:pt x="549" y="543"/>
                    </a:lnTo>
                    <a:lnTo>
                      <a:pt x="551" y="543"/>
                    </a:lnTo>
                    <a:lnTo>
                      <a:pt x="553" y="545"/>
                    </a:lnTo>
                    <a:lnTo>
                      <a:pt x="551" y="545"/>
                    </a:lnTo>
                    <a:lnTo>
                      <a:pt x="553" y="545"/>
                    </a:lnTo>
                    <a:lnTo>
                      <a:pt x="551" y="543"/>
                    </a:lnTo>
                    <a:lnTo>
                      <a:pt x="551" y="541"/>
                    </a:lnTo>
                    <a:lnTo>
                      <a:pt x="555" y="543"/>
                    </a:lnTo>
                    <a:lnTo>
                      <a:pt x="553" y="541"/>
                    </a:lnTo>
                    <a:close/>
                    <a:moveTo>
                      <a:pt x="259" y="496"/>
                    </a:moveTo>
                    <a:lnTo>
                      <a:pt x="261" y="496"/>
                    </a:lnTo>
                    <a:lnTo>
                      <a:pt x="263" y="496"/>
                    </a:lnTo>
                    <a:lnTo>
                      <a:pt x="261" y="498"/>
                    </a:lnTo>
                    <a:lnTo>
                      <a:pt x="263" y="498"/>
                    </a:lnTo>
                    <a:lnTo>
                      <a:pt x="263" y="499"/>
                    </a:lnTo>
                    <a:lnTo>
                      <a:pt x="263" y="498"/>
                    </a:lnTo>
                    <a:lnTo>
                      <a:pt x="263" y="499"/>
                    </a:lnTo>
                    <a:lnTo>
                      <a:pt x="263" y="501"/>
                    </a:lnTo>
                    <a:lnTo>
                      <a:pt x="265" y="499"/>
                    </a:lnTo>
                    <a:lnTo>
                      <a:pt x="265" y="498"/>
                    </a:lnTo>
                    <a:lnTo>
                      <a:pt x="267" y="498"/>
                    </a:lnTo>
                    <a:lnTo>
                      <a:pt x="265" y="498"/>
                    </a:lnTo>
                    <a:lnTo>
                      <a:pt x="267" y="499"/>
                    </a:lnTo>
                    <a:lnTo>
                      <a:pt x="269" y="498"/>
                    </a:lnTo>
                    <a:lnTo>
                      <a:pt x="269" y="499"/>
                    </a:lnTo>
                    <a:lnTo>
                      <a:pt x="269" y="501"/>
                    </a:lnTo>
                    <a:lnTo>
                      <a:pt x="269" y="503"/>
                    </a:lnTo>
                    <a:lnTo>
                      <a:pt x="269" y="499"/>
                    </a:lnTo>
                    <a:lnTo>
                      <a:pt x="269" y="501"/>
                    </a:lnTo>
                    <a:lnTo>
                      <a:pt x="270" y="499"/>
                    </a:lnTo>
                    <a:lnTo>
                      <a:pt x="270" y="501"/>
                    </a:lnTo>
                    <a:lnTo>
                      <a:pt x="270" y="503"/>
                    </a:lnTo>
                    <a:lnTo>
                      <a:pt x="269" y="503"/>
                    </a:lnTo>
                    <a:lnTo>
                      <a:pt x="269" y="505"/>
                    </a:lnTo>
                    <a:lnTo>
                      <a:pt x="269" y="503"/>
                    </a:lnTo>
                    <a:lnTo>
                      <a:pt x="267" y="505"/>
                    </a:lnTo>
                    <a:lnTo>
                      <a:pt x="267" y="503"/>
                    </a:lnTo>
                    <a:lnTo>
                      <a:pt x="267" y="501"/>
                    </a:lnTo>
                    <a:lnTo>
                      <a:pt x="265" y="501"/>
                    </a:lnTo>
                    <a:lnTo>
                      <a:pt x="267" y="503"/>
                    </a:lnTo>
                    <a:lnTo>
                      <a:pt x="265" y="501"/>
                    </a:lnTo>
                    <a:lnTo>
                      <a:pt x="265" y="503"/>
                    </a:lnTo>
                    <a:lnTo>
                      <a:pt x="265" y="505"/>
                    </a:lnTo>
                    <a:lnTo>
                      <a:pt x="267" y="505"/>
                    </a:lnTo>
                    <a:lnTo>
                      <a:pt x="265" y="505"/>
                    </a:lnTo>
                    <a:lnTo>
                      <a:pt x="265" y="507"/>
                    </a:lnTo>
                    <a:lnTo>
                      <a:pt x="265" y="505"/>
                    </a:lnTo>
                    <a:lnTo>
                      <a:pt x="263" y="505"/>
                    </a:lnTo>
                    <a:lnTo>
                      <a:pt x="261" y="505"/>
                    </a:lnTo>
                    <a:lnTo>
                      <a:pt x="261" y="507"/>
                    </a:lnTo>
                    <a:lnTo>
                      <a:pt x="261" y="505"/>
                    </a:lnTo>
                    <a:lnTo>
                      <a:pt x="261" y="503"/>
                    </a:lnTo>
                    <a:lnTo>
                      <a:pt x="261" y="505"/>
                    </a:lnTo>
                    <a:lnTo>
                      <a:pt x="261" y="507"/>
                    </a:lnTo>
                    <a:lnTo>
                      <a:pt x="259" y="507"/>
                    </a:lnTo>
                    <a:lnTo>
                      <a:pt x="257" y="507"/>
                    </a:lnTo>
                    <a:lnTo>
                      <a:pt x="259" y="509"/>
                    </a:lnTo>
                    <a:lnTo>
                      <a:pt x="257" y="509"/>
                    </a:lnTo>
                    <a:lnTo>
                      <a:pt x="255" y="509"/>
                    </a:lnTo>
                    <a:lnTo>
                      <a:pt x="253" y="509"/>
                    </a:lnTo>
                    <a:lnTo>
                      <a:pt x="253" y="507"/>
                    </a:lnTo>
                    <a:lnTo>
                      <a:pt x="253" y="505"/>
                    </a:lnTo>
                    <a:lnTo>
                      <a:pt x="251" y="507"/>
                    </a:lnTo>
                    <a:lnTo>
                      <a:pt x="251" y="505"/>
                    </a:lnTo>
                    <a:lnTo>
                      <a:pt x="251" y="503"/>
                    </a:lnTo>
                    <a:lnTo>
                      <a:pt x="253" y="503"/>
                    </a:lnTo>
                    <a:lnTo>
                      <a:pt x="255" y="505"/>
                    </a:lnTo>
                    <a:lnTo>
                      <a:pt x="255" y="503"/>
                    </a:lnTo>
                    <a:lnTo>
                      <a:pt x="257" y="505"/>
                    </a:lnTo>
                    <a:lnTo>
                      <a:pt x="255" y="503"/>
                    </a:lnTo>
                    <a:lnTo>
                      <a:pt x="253" y="503"/>
                    </a:lnTo>
                    <a:lnTo>
                      <a:pt x="253" y="501"/>
                    </a:lnTo>
                    <a:lnTo>
                      <a:pt x="253" y="499"/>
                    </a:lnTo>
                    <a:lnTo>
                      <a:pt x="255" y="501"/>
                    </a:lnTo>
                    <a:lnTo>
                      <a:pt x="255" y="503"/>
                    </a:lnTo>
                    <a:lnTo>
                      <a:pt x="255" y="501"/>
                    </a:lnTo>
                    <a:lnTo>
                      <a:pt x="257" y="501"/>
                    </a:lnTo>
                    <a:lnTo>
                      <a:pt x="255" y="501"/>
                    </a:lnTo>
                    <a:lnTo>
                      <a:pt x="257" y="501"/>
                    </a:lnTo>
                    <a:lnTo>
                      <a:pt x="259" y="503"/>
                    </a:lnTo>
                    <a:lnTo>
                      <a:pt x="257" y="501"/>
                    </a:lnTo>
                    <a:lnTo>
                      <a:pt x="259" y="501"/>
                    </a:lnTo>
                    <a:lnTo>
                      <a:pt x="257" y="501"/>
                    </a:lnTo>
                    <a:lnTo>
                      <a:pt x="257" y="499"/>
                    </a:lnTo>
                    <a:lnTo>
                      <a:pt x="259" y="499"/>
                    </a:lnTo>
                    <a:lnTo>
                      <a:pt x="257" y="499"/>
                    </a:lnTo>
                    <a:lnTo>
                      <a:pt x="259" y="499"/>
                    </a:lnTo>
                    <a:lnTo>
                      <a:pt x="257" y="498"/>
                    </a:lnTo>
                    <a:lnTo>
                      <a:pt x="255" y="498"/>
                    </a:lnTo>
                    <a:lnTo>
                      <a:pt x="257" y="498"/>
                    </a:lnTo>
                    <a:lnTo>
                      <a:pt x="259" y="498"/>
                    </a:lnTo>
                    <a:lnTo>
                      <a:pt x="257" y="498"/>
                    </a:lnTo>
                    <a:lnTo>
                      <a:pt x="257" y="496"/>
                    </a:lnTo>
                    <a:lnTo>
                      <a:pt x="259" y="496"/>
                    </a:lnTo>
                    <a:lnTo>
                      <a:pt x="259" y="498"/>
                    </a:lnTo>
                    <a:lnTo>
                      <a:pt x="259" y="496"/>
                    </a:lnTo>
                    <a:close/>
                    <a:moveTo>
                      <a:pt x="196" y="1307"/>
                    </a:moveTo>
                    <a:lnTo>
                      <a:pt x="198" y="1307"/>
                    </a:lnTo>
                    <a:lnTo>
                      <a:pt x="200" y="1308"/>
                    </a:lnTo>
                    <a:lnTo>
                      <a:pt x="202" y="1307"/>
                    </a:lnTo>
                    <a:lnTo>
                      <a:pt x="202" y="1308"/>
                    </a:lnTo>
                    <a:lnTo>
                      <a:pt x="204" y="1308"/>
                    </a:lnTo>
                    <a:lnTo>
                      <a:pt x="206" y="1310"/>
                    </a:lnTo>
                    <a:lnTo>
                      <a:pt x="208" y="1310"/>
                    </a:lnTo>
                    <a:lnTo>
                      <a:pt x="208" y="1312"/>
                    </a:lnTo>
                    <a:lnTo>
                      <a:pt x="206" y="1312"/>
                    </a:lnTo>
                    <a:lnTo>
                      <a:pt x="204" y="1312"/>
                    </a:lnTo>
                    <a:lnTo>
                      <a:pt x="202" y="1314"/>
                    </a:lnTo>
                    <a:lnTo>
                      <a:pt x="200" y="1314"/>
                    </a:lnTo>
                    <a:lnTo>
                      <a:pt x="200" y="1312"/>
                    </a:lnTo>
                    <a:lnTo>
                      <a:pt x="200" y="1310"/>
                    </a:lnTo>
                    <a:lnTo>
                      <a:pt x="198" y="1310"/>
                    </a:lnTo>
                    <a:lnTo>
                      <a:pt x="196" y="1310"/>
                    </a:lnTo>
                    <a:lnTo>
                      <a:pt x="196" y="1308"/>
                    </a:lnTo>
                    <a:lnTo>
                      <a:pt x="196" y="1307"/>
                    </a:lnTo>
                    <a:close/>
                    <a:moveTo>
                      <a:pt x="5644" y="665"/>
                    </a:moveTo>
                    <a:lnTo>
                      <a:pt x="5646" y="667"/>
                    </a:lnTo>
                    <a:lnTo>
                      <a:pt x="5644" y="671"/>
                    </a:lnTo>
                    <a:lnTo>
                      <a:pt x="5642" y="671"/>
                    </a:lnTo>
                    <a:lnTo>
                      <a:pt x="5644" y="673"/>
                    </a:lnTo>
                    <a:lnTo>
                      <a:pt x="5642" y="673"/>
                    </a:lnTo>
                    <a:lnTo>
                      <a:pt x="5640" y="673"/>
                    </a:lnTo>
                    <a:lnTo>
                      <a:pt x="5638" y="673"/>
                    </a:lnTo>
                    <a:lnTo>
                      <a:pt x="5640" y="673"/>
                    </a:lnTo>
                    <a:lnTo>
                      <a:pt x="5638" y="675"/>
                    </a:lnTo>
                    <a:lnTo>
                      <a:pt x="5640" y="675"/>
                    </a:lnTo>
                    <a:lnTo>
                      <a:pt x="5638" y="675"/>
                    </a:lnTo>
                    <a:lnTo>
                      <a:pt x="5637" y="675"/>
                    </a:lnTo>
                    <a:lnTo>
                      <a:pt x="5637" y="673"/>
                    </a:lnTo>
                    <a:lnTo>
                      <a:pt x="5638" y="675"/>
                    </a:lnTo>
                    <a:lnTo>
                      <a:pt x="5637" y="675"/>
                    </a:lnTo>
                    <a:lnTo>
                      <a:pt x="5635" y="675"/>
                    </a:lnTo>
                    <a:lnTo>
                      <a:pt x="5635" y="677"/>
                    </a:lnTo>
                    <a:lnTo>
                      <a:pt x="5633" y="675"/>
                    </a:lnTo>
                    <a:lnTo>
                      <a:pt x="5631" y="675"/>
                    </a:lnTo>
                    <a:lnTo>
                      <a:pt x="5629" y="675"/>
                    </a:lnTo>
                    <a:lnTo>
                      <a:pt x="5629" y="677"/>
                    </a:lnTo>
                    <a:lnTo>
                      <a:pt x="5625" y="675"/>
                    </a:lnTo>
                    <a:lnTo>
                      <a:pt x="5625" y="677"/>
                    </a:lnTo>
                    <a:lnTo>
                      <a:pt x="5625" y="675"/>
                    </a:lnTo>
                    <a:lnTo>
                      <a:pt x="5627" y="675"/>
                    </a:lnTo>
                    <a:lnTo>
                      <a:pt x="5629" y="675"/>
                    </a:lnTo>
                    <a:lnTo>
                      <a:pt x="5631" y="675"/>
                    </a:lnTo>
                    <a:lnTo>
                      <a:pt x="5631" y="673"/>
                    </a:lnTo>
                    <a:lnTo>
                      <a:pt x="5631" y="675"/>
                    </a:lnTo>
                    <a:lnTo>
                      <a:pt x="5631" y="673"/>
                    </a:lnTo>
                    <a:lnTo>
                      <a:pt x="5633" y="675"/>
                    </a:lnTo>
                    <a:lnTo>
                      <a:pt x="5635" y="673"/>
                    </a:lnTo>
                    <a:lnTo>
                      <a:pt x="5633" y="673"/>
                    </a:lnTo>
                    <a:lnTo>
                      <a:pt x="5635" y="673"/>
                    </a:lnTo>
                    <a:lnTo>
                      <a:pt x="5637" y="673"/>
                    </a:lnTo>
                    <a:lnTo>
                      <a:pt x="5635" y="675"/>
                    </a:lnTo>
                    <a:lnTo>
                      <a:pt x="5637" y="673"/>
                    </a:lnTo>
                    <a:lnTo>
                      <a:pt x="5638" y="673"/>
                    </a:lnTo>
                    <a:lnTo>
                      <a:pt x="5637" y="673"/>
                    </a:lnTo>
                    <a:lnTo>
                      <a:pt x="5637" y="671"/>
                    </a:lnTo>
                    <a:lnTo>
                      <a:pt x="5638" y="671"/>
                    </a:lnTo>
                    <a:lnTo>
                      <a:pt x="5640" y="671"/>
                    </a:lnTo>
                    <a:lnTo>
                      <a:pt x="5642" y="669"/>
                    </a:lnTo>
                    <a:lnTo>
                      <a:pt x="5640" y="669"/>
                    </a:lnTo>
                    <a:lnTo>
                      <a:pt x="5642" y="669"/>
                    </a:lnTo>
                    <a:lnTo>
                      <a:pt x="5640" y="669"/>
                    </a:lnTo>
                    <a:lnTo>
                      <a:pt x="5640" y="667"/>
                    </a:lnTo>
                    <a:lnTo>
                      <a:pt x="5640" y="669"/>
                    </a:lnTo>
                    <a:lnTo>
                      <a:pt x="5638" y="669"/>
                    </a:lnTo>
                    <a:lnTo>
                      <a:pt x="5638" y="667"/>
                    </a:lnTo>
                    <a:lnTo>
                      <a:pt x="5640" y="667"/>
                    </a:lnTo>
                    <a:lnTo>
                      <a:pt x="5640" y="665"/>
                    </a:lnTo>
                    <a:lnTo>
                      <a:pt x="5644" y="665"/>
                    </a:lnTo>
                    <a:close/>
                    <a:moveTo>
                      <a:pt x="349" y="435"/>
                    </a:moveTo>
                    <a:lnTo>
                      <a:pt x="349" y="436"/>
                    </a:lnTo>
                    <a:lnTo>
                      <a:pt x="347" y="436"/>
                    </a:lnTo>
                    <a:lnTo>
                      <a:pt x="351" y="436"/>
                    </a:lnTo>
                    <a:lnTo>
                      <a:pt x="349" y="440"/>
                    </a:lnTo>
                    <a:lnTo>
                      <a:pt x="351" y="438"/>
                    </a:lnTo>
                    <a:lnTo>
                      <a:pt x="351" y="440"/>
                    </a:lnTo>
                    <a:lnTo>
                      <a:pt x="347" y="442"/>
                    </a:lnTo>
                    <a:lnTo>
                      <a:pt x="345" y="446"/>
                    </a:lnTo>
                    <a:lnTo>
                      <a:pt x="343" y="448"/>
                    </a:lnTo>
                    <a:lnTo>
                      <a:pt x="345" y="450"/>
                    </a:lnTo>
                    <a:lnTo>
                      <a:pt x="343" y="450"/>
                    </a:lnTo>
                    <a:lnTo>
                      <a:pt x="343" y="448"/>
                    </a:lnTo>
                    <a:lnTo>
                      <a:pt x="341" y="450"/>
                    </a:lnTo>
                    <a:lnTo>
                      <a:pt x="343" y="452"/>
                    </a:lnTo>
                    <a:lnTo>
                      <a:pt x="341" y="454"/>
                    </a:lnTo>
                    <a:lnTo>
                      <a:pt x="341" y="452"/>
                    </a:lnTo>
                    <a:lnTo>
                      <a:pt x="339" y="452"/>
                    </a:lnTo>
                    <a:lnTo>
                      <a:pt x="339" y="454"/>
                    </a:lnTo>
                    <a:lnTo>
                      <a:pt x="337" y="454"/>
                    </a:lnTo>
                    <a:lnTo>
                      <a:pt x="335" y="456"/>
                    </a:lnTo>
                    <a:lnTo>
                      <a:pt x="335" y="454"/>
                    </a:lnTo>
                    <a:lnTo>
                      <a:pt x="335" y="452"/>
                    </a:lnTo>
                    <a:lnTo>
                      <a:pt x="337" y="452"/>
                    </a:lnTo>
                    <a:lnTo>
                      <a:pt x="337" y="450"/>
                    </a:lnTo>
                    <a:lnTo>
                      <a:pt x="339" y="448"/>
                    </a:lnTo>
                    <a:lnTo>
                      <a:pt x="341" y="446"/>
                    </a:lnTo>
                    <a:lnTo>
                      <a:pt x="343" y="446"/>
                    </a:lnTo>
                    <a:lnTo>
                      <a:pt x="343" y="444"/>
                    </a:lnTo>
                    <a:lnTo>
                      <a:pt x="345" y="442"/>
                    </a:lnTo>
                    <a:lnTo>
                      <a:pt x="345" y="440"/>
                    </a:lnTo>
                    <a:lnTo>
                      <a:pt x="347" y="440"/>
                    </a:lnTo>
                    <a:lnTo>
                      <a:pt x="347" y="438"/>
                    </a:lnTo>
                    <a:lnTo>
                      <a:pt x="347" y="436"/>
                    </a:lnTo>
                    <a:lnTo>
                      <a:pt x="349" y="435"/>
                    </a:lnTo>
                    <a:close/>
                    <a:moveTo>
                      <a:pt x="175" y="1295"/>
                    </a:moveTo>
                    <a:lnTo>
                      <a:pt x="177" y="1295"/>
                    </a:lnTo>
                    <a:lnTo>
                      <a:pt x="175" y="1295"/>
                    </a:lnTo>
                    <a:lnTo>
                      <a:pt x="177" y="1297"/>
                    </a:lnTo>
                    <a:lnTo>
                      <a:pt x="177" y="1299"/>
                    </a:lnTo>
                    <a:lnTo>
                      <a:pt x="179" y="1299"/>
                    </a:lnTo>
                    <a:lnTo>
                      <a:pt x="179" y="1301"/>
                    </a:lnTo>
                    <a:lnTo>
                      <a:pt x="181" y="1301"/>
                    </a:lnTo>
                    <a:lnTo>
                      <a:pt x="179" y="1303"/>
                    </a:lnTo>
                    <a:lnTo>
                      <a:pt x="179" y="1301"/>
                    </a:lnTo>
                    <a:lnTo>
                      <a:pt x="177" y="1303"/>
                    </a:lnTo>
                    <a:lnTo>
                      <a:pt x="177" y="1301"/>
                    </a:lnTo>
                    <a:lnTo>
                      <a:pt x="175" y="1301"/>
                    </a:lnTo>
                    <a:lnTo>
                      <a:pt x="177" y="1301"/>
                    </a:lnTo>
                    <a:lnTo>
                      <a:pt x="175" y="1301"/>
                    </a:lnTo>
                    <a:lnTo>
                      <a:pt x="173" y="1301"/>
                    </a:lnTo>
                    <a:lnTo>
                      <a:pt x="171" y="1299"/>
                    </a:lnTo>
                    <a:lnTo>
                      <a:pt x="171" y="1297"/>
                    </a:lnTo>
                    <a:lnTo>
                      <a:pt x="169" y="1297"/>
                    </a:lnTo>
                    <a:lnTo>
                      <a:pt x="173" y="1297"/>
                    </a:lnTo>
                    <a:lnTo>
                      <a:pt x="173" y="1295"/>
                    </a:lnTo>
                    <a:lnTo>
                      <a:pt x="175" y="1295"/>
                    </a:lnTo>
                    <a:close/>
                    <a:moveTo>
                      <a:pt x="581" y="559"/>
                    </a:moveTo>
                    <a:lnTo>
                      <a:pt x="581" y="561"/>
                    </a:lnTo>
                    <a:lnTo>
                      <a:pt x="581" y="562"/>
                    </a:lnTo>
                    <a:lnTo>
                      <a:pt x="579" y="562"/>
                    </a:lnTo>
                    <a:lnTo>
                      <a:pt x="581" y="562"/>
                    </a:lnTo>
                    <a:lnTo>
                      <a:pt x="583" y="562"/>
                    </a:lnTo>
                    <a:lnTo>
                      <a:pt x="585" y="562"/>
                    </a:lnTo>
                    <a:lnTo>
                      <a:pt x="583" y="562"/>
                    </a:lnTo>
                    <a:lnTo>
                      <a:pt x="585" y="562"/>
                    </a:lnTo>
                    <a:lnTo>
                      <a:pt x="587" y="564"/>
                    </a:lnTo>
                    <a:lnTo>
                      <a:pt x="587" y="566"/>
                    </a:lnTo>
                    <a:lnTo>
                      <a:pt x="585" y="564"/>
                    </a:lnTo>
                    <a:lnTo>
                      <a:pt x="585" y="566"/>
                    </a:lnTo>
                    <a:lnTo>
                      <a:pt x="585" y="564"/>
                    </a:lnTo>
                    <a:lnTo>
                      <a:pt x="583" y="564"/>
                    </a:lnTo>
                    <a:lnTo>
                      <a:pt x="585" y="566"/>
                    </a:lnTo>
                    <a:lnTo>
                      <a:pt x="585" y="568"/>
                    </a:lnTo>
                    <a:lnTo>
                      <a:pt x="585" y="570"/>
                    </a:lnTo>
                    <a:lnTo>
                      <a:pt x="583" y="570"/>
                    </a:lnTo>
                    <a:lnTo>
                      <a:pt x="581" y="570"/>
                    </a:lnTo>
                    <a:lnTo>
                      <a:pt x="581" y="568"/>
                    </a:lnTo>
                    <a:lnTo>
                      <a:pt x="583" y="566"/>
                    </a:lnTo>
                    <a:lnTo>
                      <a:pt x="581" y="566"/>
                    </a:lnTo>
                    <a:lnTo>
                      <a:pt x="581" y="568"/>
                    </a:lnTo>
                    <a:lnTo>
                      <a:pt x="581" y="566"/>
                    </a:lnTo>
                    <a:lnTo>
                      <a:pt x="581" y="568"/>
                    </a:lnTo>
                    <a:lnTo>
                      <a:pt x="581" y="566"/>
                    </a:lnTo>
                    <a:lnTo>
                      <a:pt x="581" y="564"/>
                    </a:lnTo>
                    <a:lnTo>
                      <a:pt x="581" y="562"/>
                    </a:lnTo>
                    <a:lnTo>
                      <a:pt x="581" y="564"/>
                    </a:lnTo>
                    <a:lnTo>
                      <a:pt x="581" y="566"/>
                    </a:lnTo>
                    <a:lnTo>
                      <a:pt x="579" y="566"/>
                    </a:lnTo>
                    <a:lnTo>
                      <a:pt x="579" y="562"/>
                    </a:lnTo>
                    <a:lnTo>
                      <a:pt x="579" y="564"/>
                    </a:lnTo>
                    <a:lnTo>
                      <a:pt x="579" y="566"/>
                    </a:lnTo>
                    <a:lnTo>
                      <a:pt x="578" y="566"/>
                    </a:lnTo>
                    <a:lnTo>
                      <a:pt x="579" y="566"/>
                    </a:lnTo>
                    <a:lnTo>
                      <a:pt x="578" y="566"/>
                    </a:lnTo>
                    <a:lnTo>
                      <a:pt x="578" y="564"/>
                    </a:lnTo>
                    <a:lnTo>
                      <a:pt x="578" y="562"/>
                    </a:lnTo>
                    <a:lnTo>
                      <a:pt x="578" y="564"/>
                    </a:lnTo>
                    <a:lnTo>
                      <a:pt x="578" y="562"/>
                    </a:lnTo>
                    <a:lnTo>
                      <a:pt x="578" y="561"/>
                    </a:lnTo>
                    <a:lnTo>
                      <a:pt x="578" y="562"/>
                    </a:lnTo>
                    <a:lnTo>
                      <a:pt x="578" y="561"/>
                    </a:lnTo>
                    <a:lnTo>
                      <a:pt x="579" y="561"/>
                    </a:lnTo>
                    <a:lnTo>
                      <a:pt x="579" y="559"/>
                    </a:lnTo>
                    <a:lnTo>
                      <a:pt x="581" y="559"/>
                    </a:lnTo>
                    <a:close/>
                    <a:moveTo>
                      <a:pt x="152" y="1286"/>
                    </a:moveTo>
                    <a:lnTo>
                      <a:pt x="154" y="1286"/>
                    </a:lnTo>
                    <a:lnTo>
                      <a:pt x="154" y="1287"/>
                    </a:lnTo>
                    <a:lnTo>
                      <a:pt x="154" y="1289"/>
                    </a:lnTo>
                    <a:lnTo>
                      <a:pt x="152" y="1289"/>
                    </a:lnTo>
                    <a:lnTo>
                      <a:pt x="154" y="1289"/>
                    </a:lnTo>
                    <a:lnTo>
                      <a:pt x="154" y="1291"/>
                    </a:lnTo>
                    <a:lnTo>
                      <a:pt x="152" y="1291"/>
                    </a:lnTo>
                    <a:lnTo>
                      <a:pt x="150" y="1291"/>
                    </a:lnTo>
                    <a:lnTo>
                      <a:pt x="148" y="1291"/>
                    </a:lnTo>
                    <a:lnTo>
                      <a:pt x="148" y="1289"/>
                    </a:lnTo>
                    <a:lnTo>
                      <a:pt x="147" y="1289"/>
                    </a:lnTo>
                    <a:lnTo>
                      <a:pt x="147" y="1287"/>
                    </a:lnTo>
                    <a:lnTo>
                      <a:pt x="148" y="1287"/>
                    </a:lnTo>
                    <a:lnTo>
                      <a:pt x="150" y="1286"/>
                    </a:lnTo>
                    <a:lnTo>
                      <a:pt x="152" y="1286"/>
                    </a:lnTo>
                    <a:close/>
                    <a:moveTo>
                      <a:pt x="5434" y="650"/>
                    </a:moveTo>
                    <a:lnTo>
                      <a:pt x="5438" y="650"/>
                    </a:lnTo>
                    <a:lnTo>
                      <a:pt x="5436" y="650"/>
                    </a:lnTo>
                    <a:lnTo>
                      <a:pt x="5438" y="650"/>
                    </a:lnTo>
                    <a:lnTo>
                      <a:pt x="5440" y="650"/>
                    </a:lnTo>
                    <a:lnTo>
                      <a:pt x="5442" y="652"/>
                    </a:lnTo>
                    <a:lnTo>
                      <a:pt x="5440" y="652"/>
                    </a:lnTo>
                    <a:lnTo>
                      <a:pt x="5442" y="652"/>
                    </a:lnTo>
                    <a:lnTo>
                      <a:pt x="5444" y="652"/>
                    </a:lnTo>
                    <a:lnTo>
                      <a:pt x="5444" y="654"/>
                    </a:lnTo>
                    <a:lnTo>
                      <a:pt x="5446" y="654"/>
                    </a:lnTo>
                    <a:lnTo>
                      <a:pt x="5444" y="654"/>
                    </a:lnTo>
                    <a:lnTo>
                      <a:pt x="5444" y="656"/>
                    </a:lnTo>
                    <a:lnTo>
                      <a:pt x="5442" y="654"/>
                    </a:lnTo>
                    <a:lnTo>
                      <a:pt x="5442" y="656"/>
                    </a:lnTo>
                    <a:lnTo>
                      <a:pt x="5440" y="656"/>
                    </a:lnTo>
                    <a:lnTo>
                      <a:pt x="5440" y="654"/>
                    </a:lnTo>
                    <a:lnTo>
                      <a:pt x="5438" y="656"/>
                    </a:lnTo>
                    <a:lnTo>
                      <a:pt x="5438" y="658"/>
                    </a:lnTo>
                    <a:lnTo>
                      <a:pt x="5436" y="656"/>
                    </a:lnTo>
                    <a:lnTo>
                      <a:pt x="5434" y="656"/>
                    </a:lnTo>
                    <a:lnTo>
                      <a:pt x="5436" y="654"/>
                    </a:lnTo>
                    <a:lnTo>
                      <a:pt x="5432" y="654"/>
                    </a:lnTo>
                    <a:lnTo>
                      <a:pt x="5432" y="652"/>
                    </a:lnTo>
                    <a:lnTo>
                      <a:pt x="5431" y="652"/>
                    </a:lnTo>
                    <a:lnTo>
                      <a:pt x="5432" y="650"/>
                    </a:lnTo>
                    <a:lnTo>
                      <a:pt x="5434" y="650"/>
                    </a:lnTo>
                    <a:close/>
                    <a:moveTo>
                      <a:pt x="5604" y="677"/>
                    </a:moveTo>
                    <a:lnTo>
                      <a:pt x="5604" y="679"/>
                    </a:lnTo>
                    <a:lnTo>
                      <a:pt x="5604" y="677"/>
                    </a:lnTo>
                    <a:lnTo>
                      <a:pt x="5604" y="679"/>
                    </a:lnTo>
                    <a:lnTo>
                      <a:pt x="5604" y="681"/>
                    </a:lnTo>
                    <a:lnTo>
                      <a:pt x="5606" y="681"/>
                    </a:lnTo>
                    <a:lnTo>
                      <a:pt x="5608" y="683"/>
                    </a:lnTo>
                    <a:lnTo>
                      <a:pt x="5606" y="683"/>
                    </a:lnTo>
                    <a:lnTo>
                      <a:pt x="5608" y="683"/>
                    </a:lnTo>
                    <a:lnTo>
                      <a:pt x="5606" y="683"/>
                    </a:lnTo>
                    <a:lnTo>
                      <a:pt x="5604" y="685"/>
                    </a:lnTo>
                    <a:lnTo>
                      <a:pt x="5602" y="685"/>
                    </a:lnTo>
                    <a:lnTo>
                      <a:pt x="5602" y="686"/>
                    </a:lnTo>
                    <a:lnTo>
                      <a:pt x="5600" y="686"/>
                    </a:lnTo>
                    <a:lnTo>
                      <a:pt x="5600" y="685"/>
                    </a:lnTo>
                    <a:lnTo>
                      <a:pt x="5600" y="683"/>
                    </a:lnTo>
                    <a:lnTo>
                      <a:pt x="5598" y="686"/>
                    </a:lnTo>
                    <a:lnTo>
                      <a:pt x="5598" y="685"/>
                    </a:lnTo>
                    <a:lnTo>
                      <a:pt x="5600" y="683"/>
                    </a:lnTo>
                    <a:lnTo>
                      <a:pt x="5598" y="683"/>
                    </a:lnTo>
                    <a:lnTo>
                      <a:pt x="5598" y="681"/>
                    </a:lnTo>
                    <a:lnTo>
                      <a:pt x="5600" y="681"/>
                    </a:lnTo>
                    <a:lnTo>
                      <a:pt x="5600" y="683"/>
                    </a:lnTo>
                    <a:lnTo>
                      <a:pt x="5602" y="683"/>
                    </a:lnTo>
                    <a:lnTo>
                      <a:pt x="5602" y="681"/>
                    </a:lnTo>
                    <a:lnTo>
                      <a:pt x="5602" y="679"/>
                    </a:lnTo>
                    <a:lnTo>
                      <a:pt x="5602" y="681"/>
                    </a:lnTo>
                    <a:lnTo>
                      <a:pt x="5600" y="679"/>
                    </a:lnTo>
                    <a:lnTo>
                      <a:pt x="5600" y="677"/>
                    </a:lnTo>
                    <a:lnTo>
                      <a:pt x="5602" y="677"/>
                    </a:lnTo>
                    <a:lnTo>
                      <a:pt x="5604" y="677"/>
                    </a:lnTo>
                    <a:close/>
                    <a:moveTo>
                      <a:pt x="570" y="589"/>
                    </a:moveTo>
                    <a:lnTo>
                      <a:pt x="570" y="591"/>
                    </a:lnTo>
                    <a:lnTo>
                      <a:pt x="570" y="589"/>
                    </a:lnTo>
                    <a:lnTo>
                      <a:pt x="572" y="591"/>
                    </a:lnTo>
                    <a:lnTo>
                      <a:pt x="570" y="591"/>
                    </a:lnTo>
                    <a:lnTo>
                      <a:pt x="572" y="591"/>
                    </a:lnTo>
                    <a:lnTo>
                      <a:pt x="570" y="591"/>
                    </a:lnTo>
                    <a:lnTo>
                      <a:pt x="572" y="591"/>
                    </a:lnTo>
                    <a:lnTo>
                      <a:pt x="572" y="593"/>
                    </a:lnTo>
                    <a:lnTo>
                      <a:pt x="574" y="595"/>
                    </a:lnTo>
                    <a:lnTo>
                      <a:pt x="572" y="593"/>
                    </a:lnTo>
                    <a:lnTo>
                      <a:pt x="570" y="593"/>
                    </a:lnTo>
                    <a:lnTo>
                      <a:pt x="572" y="593"/>
                    </a:lnTo>
                    <a:lnTo>
                      <a:pt x="572" y="595"/>
                    </a:lnTo>
                    <a:lnTo>
                      <a:pt x="574" y="595"/>
                    </a:lnTo>
                    <a:lnTo>
                      <a:pt x="574" y="597"/>
                    </a:lnTo>
                    <a:lnTo>
                      <a:pt x="572" y="597"/>
                    </a:lnTo>
                    <a:lnTo>
                      <a:pt x="574" y="599"/>
                    </a:lnTo>
                    <a:lnTo>
                      <a:pt x="574" y="597"/>
                    </a:lnTo>
                    <a:lnTo>
                      <a:pt x="574" y="599"/>
                    </a:lnTo>
                    <a:lnTo>
                      <a:pt x="576" y="599"/>
                    </a:lnTo>
                    <a:lnTo>
                      <a:pt x="574" y="599"/>
                    </a:lnTo>
                    <a:lnTo>
                      <a:pt x="576" y="599"/>
                    </a:lnTo>
                    <a:lnTo>
                      <a:pt x="576" y="601"/>
                    </a:lnTo>
                    <a:lnTo>
                      <a:pt x="576" y="602"/>
                    </a:lnTo>
                    <a:lnTo>
                      <a:pt x="578" y="602"/>
                    </a:lnTo>
                    <a:lnTo>
                      <a:pt x="576" y="602"/>
                    </a:lnTo>
                    <a:lnTo>
                      <a:pt x="578" y="602"/>
                    </a:lnTo>
                    <a:lnTo>
                      <a:pt x="576" y="602"/>
                    </a:lnTo>
                    <a:lnTo>
                      <a:pt x="578" y="604"/>
                    </a:lnTo>
                    <a:lnTo>
                      <a:pt x="578" y="606"/>
                    </a:lnTo>
                    <a:lnTo>
                      <a:pt x="578" y="604"/>
                    </a:lnTo>
                    <a:lnTo>
                      <a:pt x="576" y="604"/>
                    </a:lnTo>
                    <a:lnTo>
                      <a:pt x="574" y="604"/>
                    </a:lnTo>
                    <a:lnTo>
                      <a:pt x="574" y="602"/>
                    </a:lnTo>
                    <a:lnTo>
                      <a:pt x="576" y="602"/>
                    </a:lnTo>
                    <a:lnTo>
                      <a:pt x="574" y="602"/>
                    </a:lnTo>
                    <a:lnTo>
                      <a:pt x="572" y="601"/>
                    </a:lnTo>
                    <a:lnTo>
                      <a:pt x="574" y="601"/>
                    </a:lnTo>
                    <a:lnTo>
                      <a:pt x="572" y="601"/>
                    </a:lnTo>
                    <a:lnTo>
                      <a:pt x="572" y="599"/>
                    </a:lnTo>
                    <a:lnTo>
                      <a:pt x="570" y="599"/>
                    </a:lnTo>
                    <a:lnTo>
                      <a:pt x="572" y="599"/>
                    </a:lnTo>
                    <a:lnTo>
                      <a:pt x="572" y="597"/>
                    </a:lnTo>
                    <a:lnTo>
                      <a:pt x="570" y="597"/>
                    </a:lnTo>
                    <a:lnTo>
                      <a:pt x="570" y="595"/>
                    </a:lnTo>
                    <a:lnTo>
                      <a:pt x="568" y="595"/>
                    </a:lnTo>
                    <a:lnTo>
                      <a:pt x="570" y="595"/>
                    </a:lnTo>
                    <a:lnTo>
                      <a:pt x="568" y="593"/>
                    </a:lnTo>
                    <a:lnTo>
                      <a:pt x="570" y="593"/>
                    </a:lnTo>
                    <a:lnTo>
                      <a:pt x="568" y="593"/>
                    </a:lnTo>
                    <a:lnTo>
                      <a:pt x="570" y="593"/>
                    </a:lnTo>
                    <a:lnTo>
                      <a:pt x="568" y="591"/>
                    </a:lnTo>
                    <a:lnTo>
                      <a:pt x="570" y="591"/>
                    </a:lnTo>
                    <a:lnTo>
                      <a:pt x="568" y="591"/>
                    </a:lnTo>
                    <a:lnTo>
                      <a:pt x="570" y="591"/>
                    </a:lnTo>
                    <a:lnTo>
                      <a:pt x="568" y="591"/>
                    </a:lnTo>
                    <a:lnTo>
                      <a:pt x="568" y="589"/>
                    </a:lnTo>
                    <a:lnTo>
                      <a:pt x="570" y="589"/>
                    </a:lnTo>
                    <a:close/>
                    <a:moveTo>
                      <a:pt x="574" y="545"/>
                    </a:moveTo>
                    <a:lnTo>
                      <a:pt x="576" y="545"/>
                    </a:lnTo>
                    <a:lnTo>
                      <a:pt x="576" y="547"/>
                    </a:lnTo>
                    <a:lnTo>
                      <a:pt x="578" y="547"/>
                    </a:lnTo>
                    <a:lnTo>
                      <a:pt x="578" y="549"/>
                    </a:lnTo>
                    <a:lnTo>
                      <a:pt x="579" y="551"/>
                    </a:lnTo>
                    <a:lnTo>
                      <a:pt x="578" y="553"/>
                    </a:lnTo>
                    <a:lnTo>
                      <a:pt x="576" y="553"/>
                    </a:lnTo>
                    <a:lnTo>
                      <a:pt x="578" y="553"/>
                    </a:lnTo>
                    <a:lnTo>
                      <a:pt x="576" y="551"/>
                    </a:lnTo>
                    <a:lnTo>
                      <a:pt x="576" y="553"/>
                    </a:lnTo>
                    <a:lnTo>
                      <a:pt x="578" y="553"/>
                    </a:lnTo>
                    <a:lnTo>
                      <a:pt x="576" y="553"/>
                    </a:lnTo>
                    <a:lnTo>
                      <a:pt x="574" y="553"/>
                    </a:lnTo>
                    <a:lnTo>
                      <a:pt x="574" y="551"/>
                    </a:lnTo>
                    <a:lnTo>
                      <a:pt x="574" y="549"/>
                    </a:lnTo>
                    <a:lnTo>
                      <a:pt x="574" y="551"/>
                    </a:lnTo>
                    <a:lnTo>
                      <a:pt x="576" y="551"/>
                    </a:lnTo>
                    <a:lnTo>
                      <a:pt x="574" y="549"/>
                    </a:lnTo>
                    <a:lnTo>
                      <a:pt x="574" y="547"/>
                    </a:lnTo>
                    <a:lnTo>
                      <a:pt x="572" y="545"/>
                    </a:lnTo>
                    <a:lnTo>
                      <a:pt x="574" y="545"/>
                    </a:lnTo>
                    <a:close/>
                    <a:moveTo>
                      <a:pt x="581" y="555"/>
                    </a:moveTo>
                    <a:lnTo>
                      <a:pt x="585" y="555"/>
                    </a:lnTo>
                    <a:lnTo>
                      <a:pt x="585" y="557"/>
                    </a:lnTo>
                    <a:lnTo>
                      <a:pt x="585" y="559"/>
                    </a:lnTo>
                    <a:lnTo>
                      <a:pt x="587" y="557"/>
                    </a:lnTo>
                    <a:lnTo>
                      <a:pt x="589" y="559"/>
                    </a:lnTo>
                    <a:lnTo>
                      <a:pt x="589" y="562"/>
                    </a:lnTo>
                    <a:lnTo>
                      <a:pt x="587" y="562"/>
                    </a:lnTo>
                    <a:lnTo>
                      <a:pt x="587" y="561"/>
                    </a:lnTo>
                    <a:lnTo>
                      <a:pt x="589" y="562"/>
                    </a:lnTo>
                    <a:lnTo>
                      <a:pt x="587" y="564"/>
                    </a:lnTo>
                    <a:lnTo>
                      <a:pt x="585" y="562"/>
                    </a:lnTo>
                    <a:lnTo>
                      <a:pt x="587" y="564"/>
                    </a:lnTo>
                    <a:lnTo>
                      <a:pt x="585" y="564"/>
                    </a:lnTo>
                    <a:lnTo>
                      <a:pt x="585" y="562"/>
                    </a:lnTo>
                    <a:lnTo>
                      <a:pt x="583" y="561"/>
                    </a:lnTo>
                    <a:lnTo>
                      <a:pt x="583" y="559"/>
                    </a:lnTo>
                    <a:lnTo>
                      <a:pt x="583" y="557"/>
                    </a:lnTo>
                    <a:lnTo>
                      <a:pt x="581" y="555"/>
                    </a:lnTo>
                    <a:close/>
                    <a:moveTo>
                      <a:pt x="356" y="433"/>
                    </a:moveTo>
                    <a:lnTo>
                      <a:pt x="358" y="433"/>
                    </a:lnTo>
                    <a:lnTo>
                      <a:pt x="356" y="433"/>
                    </a:lnTo>
                    <a:lnTo>
                      <a:pt x="358" y="433"/>
                    </a:lnTo>
                    <a:lnTo>
                      <a:pt x="360" y="433"/>
                    </a:lnTo>
                    <a:lnTo>
                      <a:pt x="360" y="435"/>
                    </a:lnTo>
                    <a:lnTo>
                      <a:pt x="364" y="435"/>
                    </a:lnTo>
                    <a:lnTo>
                      <a:pt x="362" y="435"/>
                    </a:lnTo>
                    <a:lnTo>
                      <a:pt x="364" y="435"/>
                    </a:lnTo>
                    <a:lnTo>
                      <a:pt x="364" y="436"/>
                    </a:lnTo>
                    <a:lnTo>
                      <a:pt x="362" y="436"/>
                    </a:lnTo>
                    <a:lnTo>
                      <a:pt x="360" y="436"/>
                    </a:lnTo>
                    <a:lnTo>
                      <a:pt x="358" y="438"/>
                    </a:lnTo>
                    <a:lnTo>
                      <a:pt x="356" y="440"/>
                    </a:lnTo>
                    <a:lnTo>
                      <a:pt x="354" y="440"/>
                    </a:lnTo>
                    <a:lnTo>
                      <a:pt x="354" y="438"/>
                    </a:lnTo>
                    <a:lnTo>
                      <a:pt x="356" y="438"/>
                    </a:lnTo>
                    <a:lnTo>
                      <a:pt x="356" y="436"/>
                    </a:lnTo>
                    <a:lnTo>
                      <a:pt x="358" y="436"/>
                    </a:lnTo>
                    <a:lnTo>
                      <a:pt x="356" y="436"/>
                    </a:lnTo>
                    <a:lnTo>
                      <a:pt x="354" y="436"/>
                    </a:lnTo>
                    <a:lnTo>
                      <a:pt x="356" y="436"/>
                    </a:lnTo>
                    <a:lnTo>
                      <a:pt x="354" y="436"/>
                    </a:lnTo>
                    <a:lnTo>
                      <a:pt x="354" y="435"/>
                    </a:lnTo>
                    <a:lnTo>
                      <a:pt x="356" y="435"/>
                    </a:lnTo>
                    <a:lnTo>
                      <a:pt x="354" y="435"/>
                    </a:lnTo>
                    <a:lnTo>
                      <a:pt x="356" y="433"/>
                    </a:lnTo>
                    <a:close/>
                    <a:moveTo>
                      <a:pt x="576" y="555"/>
                    </a:moveTo>
                    <a:lnTo>
                      <a:pt x="578" y="557"/>
                    </a:lnTo>
                    <a:lnTo>
                      <a:pt x="578" y="559"/>
                    </a:lnTo>
                    <a:lnTo>
                      <a:pt x="578" y="561"/>
                    </a:lnTo>
                    <a:lnTo>
                      <a:pt x="576" y="561"/>
                    </a:lnTo>
                    <a:lnTo>
                      <a:pt x="574" y="561"/>
                    </a:lnTo>
                    <a:lnTo>
                      <a:pt x="574" y="559"/>
                    </a:lnTo>
                    <a:lnTo>
                      <a:pt x="572" y="559"/>
                    </a:lnTo>
                    <a:lnTo>
                      <a:pt x="572" y="557"/>
                    </a:lnTo>
                    <a:lnTo>
                      <a:pt x="572" y="555"/>
                    </a:lnTo>
                    <a:lnTo>
                      <a:pt x="574" y="555"/>
                    </a:lnTo>
                    <a:lnTo>
                      <a:pt x="574" y="557"/>
                    </a:lnTo>
                    <a:lnTo>
                      <a:pt x="574" y="555"/>
                    </a:lnTo>
                    <a:lnTo>
                      <a:pt x="576" y="555"/>
                    </a:lnTo>
                    <a:close/>
                    <a:moveTo>
                      <a:pt x="1281" y="770"/>
                    </a:moveTo>
                    <a:lnTo>
                      <a:pt x="1279" y="772"/>
                    </a:lnTo>
                    <a:lnTo>
                      <a:pt x="1281" y="772"/>
                    </a:lnTo>
                    <a:lnTo>
                      <a:pt x="1277" y="774"/>
                    </a:lnTo>
                    <a:lnTo>
                      <a:pt x="1279" y="774"/>
                    </a:lnTo>
                    <a:lnTo>
                      <a:pt x="1277" y="774"/>
                    </a:lnTo>
                    <a:lnTo>
                      <a:pt x="1275" y="776"/>
                    </a:lnTo>
                    <a:lnTo>
                      <a:pt x="1272" y="778"/>
                    </a:lnTo>
                    <a:lnTo>
                      <a:pt x="1274" y="778"/>
                    </a:lnTo>
                    <a:lnTo>
                      <a:pt x="1270" y="780"/>
                    </a:lnTo>
                    <a:lnTo>
                      <a:pt x="1268" y="780"/>
                    </a:lnTo>
                    <a:lnTo>
                      <a:pt x="1270" y="778"/>
                    </a:lnTo>
                    <a:lnTo>
                      <a:pt x="1268" y="778"/>
                    </a:lnTo>
                    <a:lnTo>
                      <a:pt x="1270" y="778"/>
                    </a:lnTo>
                    <a:lnTo>
                      <a:pt x="1268" y="778"/>
                    </a:lnTo>
                    <a:lnTo>
                      <a:pt x="1270" y="776"/>
                    </a:lnTo>
                    <a:lnTo>
                      <a:pt x="1275" y="774"/>
                    </a:lnTo>
                    <a:lnTo>
                      <a:pt x="1274" y="774"/>
                    </a:lnTo>
                    <a:lnTo>
                      <a:pt x="1275" y="774"/>
                    </a:lnTo>
                    <a:lnTo>
                      <a:pt x="1277" y="772"/>
                    </a:lnTo>
                    <a:lnTo>
                      <a:pt x="1279" y="772"/>
                    </a:lnTo>
                    <a:lnTo>
                      <a:pt x="1281" y="770"/>
                    </a:lnTo>
                    <a:lnTo>
                      <a:pt x="1279" y="772"/>
                    </a:lnTo>
                    <a:lnTo>
                      <a:pt x="1281" y="770"/>
                    </a:lnTo>
                    <a:close/>
                    <a:moveTo>
                      <a:pt x="5581" y="679"/>
                    </a:moveTo>
                    <a:lnTo>
                      <a:pt x="5583" y="679"/>
                    </a:lnTo>
                    <a:lnTo>
                      <a:pt x="5583" y="681"/>
                    </a:lnTo>
                    <a:lnTo>
                      <a:pt x="5585" y="681"/>
                    </a:lnTo>
                    <a:lnTo>
                      <a:pt x="5587" y="681"/>
                    </a:lnTo>
                    <a:lnTo>
                      <a:pt x="5589" y="681"/>
                    </a:lnTo>
                    <a:lnTo>
                      <a:pt x="5587" y="681"/>
                    </a:lnTo>
                    <a:lnTo>
                      <a:pt x="5585" y="683"/>
                    </a:lnTo>
                    <a:lnTo>
                      <a:pt x="5585" y="685"/>
                    </a:lnTo>
                    <a:lnTo>
                      <a:pt x="5583" y="685"/>
                    </a:lnTo>
                    <a:lnTo>
                      <a:pt x="5583" y="686"/>
                    </a:lnTo>
                    <a:lnTo>
                      <a:pt x="5583" y="685"/>
                    </a:lnTo>
                    <a:lnTo>
                      <a:pt x="5581" y="686"/>
                    </a:lnTo>
                    <a:lnTo>
                      <a:pt x="5581" y="685"/>
                    </a:lnTo>
                    <a:lnTo>
                      <a:pt x="5579" y="685"/>
                    </a:lnTo>
                    <a:lnTo>
                      <a:pt x="5581" y="685"/>
                    </a:lnTo>
                    <a:lnTo>
                      <a:pt x="5583" y="685"/>
                    </a:lnTo>
                    <a:lnTo>
                      <a:pt x="5583" y="683"/>
                    </a:lnTo>
                    <a:lnTo>
                      <a:pt x="5581" y="683"/>
                    </a:lnTo>
                    <a:lnTo>
                      <a:pt x="5581" y="681"/>
                    </a:lnTo>
                    <a:lnTo>
                      <a:pt x="5579" y="681"/>
                    </a:lnTo>
                    <a:lnTo>
                      <a:pt x="5579" y="679"/>
                    </a:lnTo>
                    <a:lnTo>
                      <a:pt x="5581" y="679"/>
                    </a:lnTo>
                    <a:close/>
                    <a:moveTo>
                      <a:pt x="5659" y="429"/>
                    </a:moveTo>
                    <a:lnTo>
                      <a:pt x="5661" y="433"/>
                    </a:lnTo>
                    <a:lnTo>
                      <a:pt x="5665" y="435"/>
                    </a:lnTo>
                    <a:lnTo>
                      <a:pt x="5671" y="436"/>
                    </a:lnTo>
                    <a:lnTo>
                      <a:pt x="5667" y="436"/>
                    </a:lnTo>
                    <a:lnTo>
                      <a:pt x="5667" y="438"/>
                    </a:lnTo>
                    <a:lnTo>
                      <a:pt x="5663" y="436"/>
                    </a:lnTo>
                    <a:lnTo>
                      <a:pt x="5659" y="433"/>
                    </a:lnTo>
                    <a:lnTo>
                      <a:pt x="5657" y="433"/>
                    </a:lnTo>
                    <a:lnTo>
                      <a:pt x="5657" y="431"/>
                    </a:lnTo>
                    <a:lnTo>
                      <a:pt x="5659" y="429"/>
                    </a:lnTo>
                    <a:close/>
                    <a:moveTo>
                      <a:pt x="528" y="530"/>
                    </a:moveTo>
                    <a:lnTo>
                      <a:pt x="530" y="530"/>
                    </a:lnTo>
                    <a:lnTo>
                      <a:pt x="530" y="532"/>
                    </a:lnTo>
                    <a:lnTo>
                      <a:pt x="532" y="536"/>
                    </a:lnTo>
                    <a:lnTo>
                      <a:pt x="532" y="538"/>
                    </a:lnTo>
                    <a:lnTo>
                      <a:pt x="530" y="538"/>
                    </a:lnTo>
                    <a:lnTo>
                      <a:pt x="530" y="540"/>
                    </a:lnTo>
                    <a:lnTo>
                      <a:pt x="528" y="540"/>
                    </a:lnTo>
                    <a:lnTo>
                      <a:pt x="526" y="540"/>
                    </a:lnTo>
                    <a:lnTo>
                      <a:pt x="528" y="540"/>
                    </a:lnTo>
                    <a:lnTo>
                      <a:pt x="526" y="538"/>
                    </a:lnTo>
                    <a:lnTo>
                      <a:pt x="528" y="538"/>
                    </a:lnTo>
                    <a:lnTo>
                      <a:pt x="528" y="536"/>
                    </a:lnTo>
                    <a:lnTo>
                      <a:pt x="530" y="536"/>
                    </a:lnTo>
                    <a:lnTo>
                      <a:pt x="528" y="534"/>
                    </a:lnTo>
                    <a:lnTo>
                      <a:pt x="530" y="534"/>
                    </a:lnTo>
                    <a:lnTo>
                      <a:pt x="528" y="534"/>
                    </a:lnTo>
                    <a:lnTo>
                      <a:pt x="528" y="532"/>
                    </a:lnTo>
                    <a:lnTo>
                      <a:pt x="526" y="532"/>
                    </a:lnTo>
                    <a:lnTo>
                      <a:pt x="528" y="532"/>
                    </a:lnTo>
                    <a:lnTo>
                      <a:pt x="526" y="532"/>
                    </a:lnTo>
                    <a:lnTo>
                      <a:pt x="528" y="532"/>
                    </a:lnTo>
                    <a:lnTo>
                      <a:pt x="528" y="530"/>
                    </a:lnTo>
                    <a:lnTo>
                      <a:pt x="526" y="530"/>
                    </a:lnTo>
                    <a:lnTo>
                      <a:pt x="528" y="530"/>
                    </a:lnTo>
                    <a:close/>
                    <a:moveTo>
                      <a:pt x="566" y="562"/>
                    </a:moveTo>
                    <a:lnTo>
                      <a:pt x="566" y="564"/>
                    </a:lnTo>
                    <a:lnTo>
                      <a:pt x="568" y="564"/>
                    </a:lnTo>
                    <a:lnTo>
                      <a:pt x="568" y="566"/>
                    </a:lnTo>
                    <a:lnTo>
                      <a:pt x="568" y="564"/>
                    </a:lnTo>
                    <a:lnTo>
                      <a:pt x="566" y="566"/>
                    </a:lnTo>
                    <a:lnTo>
                      <a:pt x="568" y="566"/>
                    </a:lnTo>
                    <a:lnTo>
                      <a:pt x="568" y="568"/>
                    </a:lnTo>
                    <a:lnTo>
                      <a:pt x="566" y="568"/>
                    </a:lnTo>
                    <a:lnTo>
                      <a:pt x="566" y="566"/>
                    </a:lnTo>
                    <a:lnTo>
                      <a:pt x="566" y="568"/>
                    </a:lnTo>
                    <a:lnTo>
                      <a:pt x="564" y="568"/>
                    </a:lnTo>
                    <a:lnTo>
                      <a:pt x="564" y="566"/>
                    </a:lnTo>
                    <a:lnTo>
                      <a:pt x="564" y="568"/>
                    </a:lnTo>
                    <a:lnTo>
                      <a:pt x="562" y="568"/>
                    </a:lnTo>
                    <a:lnTo>
                      <a:pt x="562" y="570"/>
                    </a:lnTo>
                    <a:lnTo>
                      <a:pt x="562" y="568"/>
                    </a:lnTo>
                    <a:lnTo>
                      <a:pt x="562" y="570"/>
                    </a:lnTo>
                    <a:lnTo>
                      <a:pt x="560" y="570"/>
                    </a:lnTo>
                    <a:lnTo>
                      <a:pt x="560" y="568"/>
                    </a:lnTo>
                    <a:lnTo>
                      <a:pt x="560" y="570"/>
                    </a:lnTo>
                    <a:lnTo>
                      <a:pt x="560" y="568"/>
                    </a:lnTo>
                    <a:lnTo>
                      <a:pt x="562" y="566"/>
                    </a:lnTo>
                    <a:lnTo>
                      <a:pt x="560" y="566"/>
                    </a:lnTo>
                    <a:lnTo>
                      <a:pt x="562" y="566"/>
                    </a:lnTo>
                    <a:lnTo>
                      <a:pt x="564" y="566"/>
                    </a:lnTo>
                    <a:lnTo>
                      <a:pt x="562" y="564"/>
                    </a:lnTo>
                    <a:lnTo>
                      <a:pt x="564" y="564"/>
                    </a:lnTo>
                    <a:lnTo>
                      <a:pt x="566" y="562"/>
                    </a:lnTo>
                    <a:close/>
                    <a:moveTo>
                      <a:pt x="131" y="585"/>
                    </a:moveTo>
                    <a:lnTo>
                      <a:pt x="133" y="585"/>
                    </a:lnTo>
                    <a:lnTo>
                      <a:pt x="133" y="587"/>
                    </a:lnTo>
                    <a:lnTo>
                      <a:pt x="131" y="587"/>
                    </a:lnTo>
                    <a:lnTo>
                      <a:pt x="133" y="587"/>
                    </a:lnTo>
                    <a:lnTo>
                      <a:pt x="133" y="585"/>
                    </a:lnTo>
                    <a:lnTo>
                      <a:pt x="135" y="585"/>
                    </a:lnTo>
                    <a:lnTo>
                      <a:pt x="135" y="587"/>
                    </a:lnTo>
                    <a:lnTo>
                      <a:pt x="133" y="587"/>
                    </a:lnTo>
                    <a:lnTo>
                      <a:pt x="135" y="589"/>
                    </a:lnTo>
                    <a:lnTo>
                      <a:pt x="133" y="589"/>
                    </a:lnTo>
                    <a:lnTo>
                      <a:pt x="135" y="589"/>
                    </a:lnTo>
                    <a:lnTo>
                      <a:pt x="135" y="591"/>
                    </a:lnTo>
                    <a:lnTo>
                      <a:pt x="133" y="591"/>
                    </a:lnTo>
                    <a:lnTo>
                      <a:pt x="135" y="591"/>
                    </a:lnTo>
                    <a:lnTo>
                      <a:pt x="135" y="593"/>
                    </a:lnTo>
                    <a:lnTo>
                      <a:pt x="135" y="591"/>
                    </a:lnTo>
                    <a:lnTo>
                      <a:pt x="133" y="591"/>
                    </a:lnTo>
                    <a:lnTo>
                      <a:pt x="131" y="591"/>
                    </a:lnTo>
                    <a:lnTo>
                      <a:pt x="129" y="593"/>
                    </a:lnTo>
                    <a:lnTo>
                      <a:pt x="129" y="591"/>
                    </a:lnTo>
                    <a:lnTo>
                      <a:pt x="129" y="589"/>
                    </a:lnTo>
                    <a:lnTo>
                      <a:pt x="129" y="587"/>
                    </a:lnTo>
                    <a:lnTo>
                      <a:pt x="129" y="585"/>
                    </a:lnTo>
                    <a:lnTo>
                      <a:pt x="131" y="585"/>
                    </a:lnTo>
                    <a:close/>
                    <a:moveTo>
                      <a:pt x="5654" y="673"/>
                    </a:moveTo>
                    <a:lnTo>
                      <a:pt x="5652" y="673"/>
                    </a:lnTo>
                    <a:lnTo>
                      <a:pt x="5654" y="673"/>
                    </a:lnTo>
                    <a:lnTo>
                      <a:pt x="5656" y="673"/>
                    </a:lnTo>
                    <a:lnTo>
                      <a:pt x="5656" y="675"/>
                    </a:lnTo>
                    <a:lnTo>
                      <a:pt x="5656" y="673"/>
                    </a:lnTo>
                    <a:lnTo>
                      <a:pt x="5656" y="675"/>
                    </a:lnTo>
                    <a:lnTo>
                      <a:pt x="5657" y="673"/>
                    </a:lnTo>
                    <a:lnTo>
                      <a:pt x="5659" y="673"/>
                    </a:lnTo>
                    <a:lnTo>
                      <a:pt x="5659" y="675"/>
                    </a:lnTo>
                    <a:lnTo>
                      <a:pt x="5661" y="673"/>
                    </a:lnTo>
                    <a:lnTo>
                      <a:pt x="5659" y="675"/>
                    </a:lnTo>
                    <a:lnTo>
                      <a:pt x="5657" y="675"/>
                    </a:lnTo>
                    <a:lnTo>
                      <a:pt x="5656" y="675"/>
                    </a:lnTo>
                    <a:lnTo>
                      <a:pt x="5654" y="675"/>
                    </a:lnTo>
                    <a:lnTo>
                      <a:pt x="5652" y="675"/>
                    </a:lnTo>
                    <a:lnTo>
                      <a:pt x="5650" y="675"/>
                    </a:lnTo>
                    <a:lnTo>
                      <a:pt x="5648" y="675"/>
                    </a:lnTo>
                    <a:lnTo>
                      <a:pt x="5646" y="675"/>
                    </a:lnTo>
                    <a:lnTo>
                      <a:pt x="5646" y="673"/>
                    </a:lnTo>
                    <a:lnTo>
                      <a:pt x="5644" y="673"/>
                    </a:lnTo>
                    <a:lnTo>
                      <a:pt x="5646" y="673"/>
                    </a:lnTo>
                    <a:lnTo>
                      <a:pt x="5648" y="673"/>
                    </a:lnTo>
                    <a:lnTo>
                      <a:pt x="5648" y="675"/>
                    </a:lnTo>
                    <a:lnTo>
                      <a:pt x="5650" y="673"/>
                    </a:lnTo>
                    <a:lnTo>
                      <a:pt x="5652" y="673"/>
                    </a:lnTo>
                    <a:lnTo>
                      <a:pt x="5654" y="673"/>
                    </a:lnTo>
                    <a:close/>
                    <a:moveTo>
                      <a:pt x="187" y="1303"/>
                    </a:moveTo>
                    <a:lnTo>
                      <a:pt x="190" y="1303"/>
                    </a:lnTo>
                    <a:lnTo>
                      <a:pt x="192" y="1303"/>
                    </a:lnTo>
                    <a:lnTo>
                      <a:pt x="192" y="1305"/>
                    </a:lnTo>
                    <a:lnTo>
                      <a:pt x="194" y="1303"/>
                    </a:lnTo>
                    <a:lnTo>
                      <a:pt x="194" y="1305"/>
                    </a:lnTo>
                    <a:lnTo>
                      <a:pt x="196" y="1305"/>
                    </a:lnTo>
                    <a:lnTo>
                      <a:pt x="194" y="1305"/>
                    </a:lnTo>
                    <a:lnTo>
                      <a:pt x="192" y="1307"/>
                    </a:lnTo>
                    <a:lnTo>
                      <a:pt x="188" y="1305"/>
                    </a:lnTo>
                    <a:lnTo>
                      <a:pt x="187" y="1305"/>
                    </a:lnTo>
                    <a:lnTo>
                      <a:pt x="187" y="1303"/>
                    </a:lnTo>
                    <a:close/>
                    <a:moveTo>
                      <a:pt x="738" y="767"/>
                    </a:moveTo>
                    <a:lnTo>
                      <a:pt x="740" y="768"/>
                    </a:lnTo>
                    <a:lnTo>
                      <a:pt x="738" y="768"/>
                    </a:lnTo>
                    <a:lnTo>
                      <a:pt x="738" y="770"/>
                    </a:lnTo>
                    <a:lnTo>
                      <a:pt x="736" y="770"/>
                    </a:lnTo>
                    <a:lnTo>
                      <a:pt x="738" y="770"/>
                    </a:lnTo>
                    <a:lnTo>
                      <a:pt x="738" y="772"/>
                    </a:lnTo>
                    <a:lnTo>
                      <a:pt x="738" y="774"/>
                    </a:lnTo>
                    <a:lnTo>
                      <a:pt x="740" y="774"/>
                    </a:lnTo>
                    <a:lnTo>
                      <a:pt x="740" y="772"/>
                    </a:lnTo>
                    <a:lnTo>
                      <a:pt x="740" y="774"/>
                    </a:lnTo>
                    <a:lnTo>
                      <a:pt x="741" y="774"/>
                    </a:lnTo>
                    <a:lnTo>
                      <a:pt x="741" y="776"/>
                    </a:lnTo>
                    <a:lnTo>
                      <a:pt x="741" y="778"/>
                    </a:lnTo>
                    <a:lnTo>
                      <a:pt x="740" y="778"/>
                    </a:lnTo>
                    <a:lnTo>
                      <a:pt x="740" y="776"/>
                    </a:lnTo>
                    <a:lnTo>
                      <a:pt x="738" y="776"/>
                    </a:lnTo>
                    <a:lnTo>
                      <a:pt x="740" y="776"/>
                    </a:lnTo>
                    <a:lnTo>
                      <a:pt x="738" y="774"/>
                    </a:lnTo>
                    <a:lnTo>
                      <a:pt x="738" y="772"/>
                    </a:lnTo>
                    <a:lnTo>
                      <a:pt x="736" y="772"/>
                    </a:lnTo>
                    <a:lnTo>
                      <a:pt x="736" y="770"/>
                    </a:lnTo>
                    <a:lnTo>
                      <a:pt x="736" y="767"/>
                    </a:lnTo>
                    <a:lnTo>
                      <a:pt x="738" y="767"/>
                    </a:lnTo>
                    <a:close/>
                    <a:moveTo>
                      <a:pt x="595" y="587"/>
                    </a:moveTo>
                    <a:lnTo>
                      <a:pt x="597" y="589"/>
                    </a:lnTo>
                    <a:lnTo>
                      <a:pt x="597" y="591"/>
                    </a:lnTo>
                    <a:lnTo>
                      <a:pt x="598" y="589"/>
                    </a:lnTo>
                    <a:lnTo>
                      <a:pt x="598" y="591"/>
                    </a:lnTo>
                    <a:lnTo>
                      <a:pt x="598" y="593"/>
                    </a:lnTo>
                    <a:lnTo>
                      <a:pt x="598" y="595"/>
                    </a:lnTo>
                    <a:lnTo>
                      <a:pt x="597" y="595"/>
                    </a:lnTo>
                    <a:lnTo>
                      <a:pt x="595" y="593"/>
                    </a:lnTo>
                    <a:lnTo>
                      <a:pt x="595" y="595"/>
                    </a:lnTo>
                    <a:lnTo>
                      <a:pt x="597" y="595"/>
                    </a:lnTo>
                    <a:lnTo>
                      <a:pt x="595" y="595"/>
                    </a:lnTo>
                    <a:lnTo>
                      <a:pt x="595" y="597"/>
                    </a:lnTo>
                    <a:lnTo>
                      <a:pt x="595" y="595"/>
                    </a:lnTo>
                    <a:lnTo>
                      <a:pt x="595" y="593"/>
                    </a:lnTo>
                    <a:lnTo>
                      <a:pt x="597" y="593"/>
                    </a:lnTo>
                    <a:lnTo>
                      <a:pt x="595" y="591"/>
                    </a:lnTo>
                    <a:lnTo>
                      <a:pt x="595" y="589"/>
                    </a:lnTo>
                    <a:lnTo>
                      <a:pt x="597" y="589"/>
                    </a:lnTo>
                    <a:lnTo>
                      <a:pt x="595" y="587"/>
                    </a:lnTo>
                    <a:close/>
                    <a:moveTo>
                      <a:pt x="5595" y="679"/>
                    </a:moveTo>
                    <a:lnTo>
                      <a:pt x="5596" y="679"/>
                    </a:lnTo>
                    <a:lnTo>
                      <a:pt x="5596" y="681"/>
                    </a:lnTo>
                    <a:lnTo>
                      <a:pt x="5596" y="683"/>
                    </a:lnTo>
                    <a:lnTo>
                      <a:pt x="5595" y="685"/>
                    </a:lnTo>
                    <a:lnTo>
                      <a:pt x="5595" y="683"/>
                    </a:lnTo>
                    <a:lnTo>
                      <a:pt x="5595" y="685"/>
                    </a:lnTo>
                    <a:lnTo>
                      <a:pt x="5593" y="685"/>
                    </a:lnTo>
                    <a:lnTo>
                      <a:pt x="5593" y="683"/>
                    </a:lnTo>
                    <a:lnTo>
                      <a:pt x="5591" y="683"/>
                    </a:lnTo>
                    <a:lnTo>
                      <a:pt x="5591" y="685"/>
                    </a:lnTo>
                    <a:lnTo>
                      <a:pt x="5589" y="685"/>
                    </a:lnTo>
                    <a:lnTo>
                      <a:pt x="5587" y="685"/>
                    </a:lnTo>
                    <a:lnTo>
                      <a:pt x="5587" y="683"/>
                    </a:lnTo>
                    <a:lnTo>
                      <a:pt x="5589" y="685"/>
                    </a:lnTo>
                    <a:lnTo>
                      <a:pt x="5591" y="683"/>
                    </a:lnTo>
                    <a:lnTo>
                      <a:pt x="5595" y="681"/>
                    </a:lnTo>
                    <a:lnTo>
                      <a:pt x="5595" y="679"/>
                    </a:lnTo>
                    <a:close/>
                    <a:moveTo>
                      <a:pt x="131" y="484"/>
                    </a:moveTo>
                    <a:lnTo>
                      <a:pt x="129" y="492"/>
                    </a:lnTo>
                    <a:lnTo>
                      <a:pt x="127" y="494"/>
                    </a:lnTo>
                    <a:lnTo>
                      <a:pt x="127" y="492"/>
                    </a:lnTo>
                    <a:lnTo>
                      <a:pt x="126" y="494"/>
                    </a:lnTo>
                    <a:lnTo>
                      <a:pt x="126" y="490"/>
                    </a:lnTo>
                    <a:lnTo>
                      <a:pt x="124" y="488"/>
                    </a:lnTo>
                    <a:lnTo>
                      <a:pt x="126" y="490"/>
                    </a:lnTo>
                    <a:lnTo>
                      <a:pt x="126" y="488"/>
                    </a:lnTo>
                    <a:lnTo>
                      <a:pt x="127" y="486"/>
                    </a:lnTo>
                    <a:lnTo>
                      <a:pt x="129" y="488"/>
                    </a:lnTo>
                    <a:lnTo>
                      <a:pt x="129" y="486"/>
                    </a:lnTo>
                    <a:lnTo>
                      <a:pt x="131" y="486"/>
                    </a:lnTo>
                    <a:lnTo>
                      <a:pt x="131" y="484"/>
                    </a:lnTo>
                    <a:close/>
                    <a:moveTo>
                      <a:pt x="49" y="618"/>
                    </a:moveTo>
                    <a:lnTo>
                      <a:pt x="49" y="620"/>
                    </a:lnTo>
                    <a:lnTo>
                      <a:pt x="51" y="618"/>
                    </a:lnTo>
                    <a:lnTo>
                      <a:pt x="51" y="620"/>
                    </a:lnTo>
                    <a:lnTo>
                      <a:pt x="53" y="620"/>
                    </a:lnTo>
                    <a:lnTo>
                      <a:pt x="53" y="622"/>
                    </a:lnTo>
                    <a:lnTo>
                      <a:pt x="51" y="622"/>
                    </a:lnTo>
                    <a:lnTo>
                      <a:pt x="49" y="622"/>
                    </a:lnTo>
                    <a:lnTo>
                      <a:pt x="49" y="623"/>
                    </a:lnTo>
                    <a:lnTo>
                      <a:pt x="49" y="622"/>
                    </a:lnTo>
                    <a:lnTo>
                      <a:pt x="47" y="622"/>
                    </a:lnTo>
                    <a:lnTo>
                      <a:pt x="45" y="620"/>
                    </a:lnTo>
                    <a:lnTo>
                      <a:pt x="47" y="618"/>
                    </a:lnTo>
                    <a:lnTo>
                      <a:pt x="49" y="618"/>
                    </a:lnTo>
                    <a:close/>
                    <a:moveTo>
                      <a:pt x="339" y="431"/>
                    </a:moveTo>
                    <a:lnTo>
                      <a:pt x="339" y="433"/>
                    </a:lnTo>
                    <a:lnTo>
                      <a:pt x="339" y="435"/>
                    </a:lnTo>
                    <a:lnTo>
                      <a:pt x="337" y="436"/>
                    </a:lnTo>
                    <a:lnTo>
                      <a:pt x="339" y="435"/>
                    </a:lnTo>
                    <a:lnTo>
                      <a:pt x="339" y="436"/>
                    </a:lnTo>
                    <a:lnTo>
                      <a:pt x="339" y="435"/>
                    </a:lnTo>
                    <a:lnTo>
                      <a:pt x="339" y="436"/>
                    </a:lnTo>
                    <a:lnTo>
                      <a:pt x="339" y="435"/>
                    </a:lnTo>
                    <a:lnTo>
                      <a:pt x="339" y="436"/>
                    </a:lnTo>
                    <a:lnTo>
                      <a:pt x="339" y="438"/>
                    </a:lnTo>
                    <a:lnTo>
                      <a:pt x="337" y="438"/>
                    </a:lnTo>
                    <a:lnTo>
                      <a:pt x="339" y="438"/>
                    </a:lnTo>
                    <a:lnTo>
                      <a:pt x="337" y="440"/>
                    </a:lnTo>
                    <a:lnTo>
                      <a:pt x="339" y="440"/>
                    </a:lnTo>
                    <a:lnTo>
                      <a:pt x="339" y="442"/>
                    </a:lnTo>
                    <a:lnTo>
                      <a:pt x="337" y="440"/>
                    </a:lnTo>
                    <a:lnTo>
                      <a:pt x="337" y="442"/>
                    </a:lnTo>
                    <a:lnTo>
                      <a:pt x="335" y="442"/>
                    </a:lnTo>
                    <a:lnTo>
                      <a:pt x="337" y="440"/>
                    </a:lnTo>
                    <a:lnTo>
                      <a:pt x="335" y="440"/>
                    </a:lnTo>
                    <a:lnTo>
                      <a:pt x="335" y="438"/>
                    </a:lnTo>
                    <a:lnTo>
                      <a:pt x="337" y="438"/>
                    </a:lnTo>
                    <a:lnTo>
                      <a:pt x="337" y="436"/>
                    </a:lnTo>
                    <a:lnTo>
                      <a:pt x="337" y="438"/>
                    </a:lnTo>
                    <a:lnTo>
                      <a:pt x="335" y="436"/>
                    </a:lnTo>
                    <a:lnTo>
                      <a:pt x="337" y="436"/>
                    </a:lnTo>
                    <a:lnTo>
                      <a:pt x="335" y="436"/>
                    </a:lnTo>
                    <a:lnTo>
                      <a:pt x="337" y="436"/>
                    </a:lnTo>
                    <a:lnTo>
                      <a:pt x="335" y="436"/>
                    </a:lnTo>
                    <a:lnTo>
                      <a:pt x="337" y="435"/>
                    </a:lnTo>
                    <a:lnTo>
                      <a:pt x="335" y="435"/>
                    </a:lnTo>
                    <a:lnTo>
                      <a:pt x="337" y="435"/>
                    </a:lnTo>
                    <a:lnTo>
                      <a:pt x="337" y="433"/>
                    </a:lnTo>
                    <a:lnTo>
                      <a:pt x="337" y="435"/>
                    </a:lnTo>
                    <a:lnTo>
                      <a:pt x="337" y="433"/>
                    </a:lnTo>
                    <a:lnTo>
                      <a:pt x="337" y="435"/>
                    </a:lnTo>
                    <a:lnTo>
                      <a:pt x="339" y="435"/>
                    </a:lnTo>
                    <a:lnTo>
                      <a:pt x="339" y="433"/>
                    </a:lnTo>
                    <a:lnTo>
                      <a:pt x="337" y="433"/>
                    </a:lnTo>
                    <a:lnTo>
                      <a:pt x="339" y="433"/>
                    </a:lnTo>
                    <a:lnTo>
                      <a:pt x="339" y="431"/>
                    </a:lnTo>
                    <a:close/>
                    <a:moveTo>
                      <a:pt x="251" y="534"/>
                    </a:moveTo>
                    <a:lnTo>
                      <a:pt x="251" y="536"/>
                    </a:lnTo>
                    <a:lnTo>
                      <a:pt x="253" y="534"/>
                    </a:lnTo>
                    <a:lnTo>
                      <a:pt x="253" y="536"/>
                    </a:lnTo>
                    <a:lnTo>
                      <a:pt x="253" y="534"/>
                    </a:lnTo>
                    <a:lnTo>
                      <a:pt x="255" y="534"/>
                    </a:lnTo>
                    <a:lnTo>
                      <a:pt x="257" y="534"/>
                    </a:lnTo>
                    <a:lnTo>
                      <a:pt x="255" y="536"/>
                    </a:lnTo>
                    <a:lnTo>
                      <a:pt x="253" y="536"/>
                    </a:lnTo>
                    <a:lnTo>
                      <a:pt x="251" y="536"/>
                    </a:lnTo>
                    <a:lnTo>
                      <a:pt x="251" y="538"/>
                    </a:lnTo>
                    <a:lnTo>
                      <a:pt x="251" y="540"/>
                    </a:lnTo>
                    <a:lnTo>
                      <a:pt x="250" y="540"/>
                    </a:lnTo>
                    <a:lnTo>
                      <a:pt x="250" y="538"/>
                    </a:lnTo>
                    <a:lnTo>
                      <a:pt x="248" y="538"/>
                    </a:lnTo>
                    <a:lnTo>
                      <a:pt x="250" y="536"/>
                    </a:lnTo>
                    <a:lnTo>
                      <a:pt x="248" y="538"/>
                    </a:lnTo>
                    <a:lnTo>
                      <a:pt x="250" y="536"/>
                    </a:lnTo>
                    <a:lnTo>
                      <a:pt x="248" y="536"/>
                    </a:lnTo>
                    <a:lnTo>
                      <a:pt x="250" y="534"/>
                    </a:lnTo>
                    <a:lnTo>
                      <a:pt x="251" y="534"/>
                    </a:lnTo>
                    <a:close/>
                    <a:moveTo>
                      <a:pt x="145" y="587"/>
                    </a:moveTo>
                    <a:lnTo>
                      <a:pt x="145" y="589"/>
                    </a:lnTo>
                    <a:lnTo>
                      <a:pt x="145" y="591"/>
                    </a:lnTo>
                    <a:lnTo>
                      <a:pt x="145" y="593"/>
                    </a:lnTo>
                    <a:lnTo>
                      <a:pt x="145" y="591"/>
                    </a:lnTo>
                    <a:lnTo>
                      <a:pt x="147" y="591"/>
                    </a:lnTo>
                    <a:lnTo>
                      <a:pt x="147" y="593"/>
                    </a:lnTo>
                    <a:lnTo>
                      <a:pt x="145" y="593"/>
                    </a:lnTo>
                    <a:lnTo>
                      <a:pt x="143" y="593"/>
                    </a:lnTo>
                    <a:lnTo>
                      <a:pt x="145" y="595"/>
                    </a:lnTo>
                    <a:lnTo>
                      <a:pt x="143" y="595"/>
                    </a:lnTo>
                    <a:lnTo>
                      <a:pt x="141" y="597"/>
                    </a:lnTo>
                    <a:lnTo>
                      <a:pt x="141" y="599"/>
                    </a:lnTo>
                    <a:lnTo>
                      <a:pt x="139" y="599"/>
                    </a:lnTo>
                    <a:lnTo>
                      <a:pt x="141" y="599"/>
                    </a:lnTo>
                    <a:lnTo>
                      <a:pt x="139" y="601"/>
                    </a:lnTo>
                    <a:lnTo>
                      <a:pt x="139" y="599"/>
                    </a:lnTo>
                    <a:lnTo>
                      <a:pt x="141" y="599"/>
                    </a:lnTo>
                    <a:lnTo>
                      <a:pt x="141" y="597"/>
                    </a:lnTo>
                    <a:lnTo>
                      <a:pt x="141" y="595"/>
                    </a:lnTo>
                    <a:lnTo>
                      <a:pt x="139" y="593"/>
                    </a:lnTo>
                    <a:lnTo>
                      <a:pt x="141" y="593"/>
                    </a:lnTo>
                    <a:lnTo>
                      <a:pt x="143" y="593"/>
                    </a:lnTo>
                    <a:lnTo>
                      <a:pt x="141" y="593"/>
                    </a:lnTo>
                    <a:lnTo>
                      <a:pt x="141" y="591"/>
                    </a:lnTo>
                    <a:lnTo>
                      <a:pt x="143" y="593"/>
                    </a:lnTo>
                    <a:lnTo>
                      <a:pt x="143" y="591"/>
                    </a:lnTo>
                    <a:lnTo>
                      <a:pt x="145" y="591"/>
                    </a:lnTo>
                    <a:lnTo>
                      <a:pt x="143" y="591"/>
                    </a:lnTo>
                    <a:lnTo>
                      <a:pt x="145" y="591"/>
                    </a:lnTo>
                    <a:lnTo>
                      <a:pt x="145" y="589"/>
                    </a:lnTo>
                    <a:lnTo>
                      <a:pt x="145" y="587"/>
                    </a:lnTo>
                    <a:close/>
                    <a:moveTo>
                      <a:pt x="5530" y="686"/>
                    </a:moveTo>
                    <a:lnTo>
                      <a:pt x="5532" y="686"/>
                    </a:lnTo>
                    <a:lnTo>
                      <a:pt x="5534" y="686"/>
                    </a:lnTo>
                    <a:lnTo>
                      <a:pt x="5534" y="688"/>
                    </a:lnTo>
                    <a:lnTo>
                      <a:pt x="5535" y="690"/>
                    </a:lnTo>
                    <a:lnTo>
                      <a:pt x="5537" y="690"/>
                    </a:lnTo>
                    <a:lnTo>
                      <a:pt x="5537" y="692"/>
                    </a:lnTo>
                    <a:lnTo>
                      <a:pt x="5539" y="692"/>
                    </a:lnTo>
                    <a:lnTo>
                      <a:pt x="5541" y="692"/>
                    </a:lnTo>
                    <a:lnTo>
                      <a:pt x="5537" y="692"/>
                    </a:lnTo>
                    <a:lnTo>
                      <a:pt x="5535" y="690"/>
                    </a:lnTo>
                    <a:lnTo>
                      <a:pt x="5534" y="688"/>
                    </a:lnTo>
                    <a:lnTo>
                      <a:pt x="5532" y="688"/>
                    </a:lnTo>
                    <a:lnTo>
                      <a:pt x="5532" y="686"/>
                    </a:lnTo>
                    <a:lnTo>
                      <a:pt x="5530" y="686"/>
                    </a:lnTo>
                    <a:lnTo>
                      <a:pt x="5528" y="686"/>
                    </a:lnTo>
                    <a:lnTo>
                      <a:pt x="5528" y="685"/>
                    </a:lnTo>
                    <a:lnTo>
                      <a:pt x="5530" y="686"/>
                    </a:lnTo>
                    <a:close/>
                    <a:moveTo>
                      <a:pt x="5513" y="673"/>
                    </a:moveTo>
                    <a:lnTo>
                      <a:pt x="5513" y="675"/>
                    </a:lnTo>
                    <a:lnTo>
                      <a:pt x="5513" y="677"/>
                    </a:lnTo>
                    <a:lnTo>
                      <a:pt x="5511" y="677"/>
                    </a:lnTo>
                    <a:lnTo>
                      <a:pt x="5513" y="677"/>
                    </a:lnTo>
                    <a:lnTo>
                      <a:pt x="5513" y="679"/>
                    </a:lnTo>
                    <a:lnTo>
                      <a:pt x="5511" y="679"/>
                    </a:lnTo>
                    <a:lnTo>
                      <a:pt x="5509" y="679"/>
                    </a:lnTo>
                    <a:lnTo>
                      <a:pt x="5507" y="679"/>
                    </a:lnTo>
                    <a:lnTo>
                      <a:pt x="5507" y="681"/>
                    </a:lnTo>
                    <a:lnTo>
                      <a:pt x="5507" y="679"/>
                    </a:lnTo>
                    <a:lnTo>
                      <a:pt x="5505" y="679"/>
                    </a:lnTo>
                    <a:lnTo>
                      <a:pt x="5507" y="679"/>
                    </a:lnTo>
                    <a:lnTo>
                      <a:pt x="5509" y="677"/>
                    </a:lnTo>
                    <a:lnTo>
                      <a:pt x="5511" y="677"/>
                    </a:lnTo>
                    <a:lnTo>
                      <a:pt x="5511" y="675"/>
                    </a:lnTo>
                    <a:lnTo>
                      <a:pt x="5511" y="673"/>
                    </a:lnTo>
                    <a:lnTo>
                      <a:pt x="5513" y="673"/>
                    </a:lnTo>
                    <a:close/>
                    <a:moveTo>
                      <a:pt x="591" y="583"/>
                    </a:moveTo>
                    <a:lnTo>
                      <a:pt x="593" y="585"/>
                    </a:lnTo>
                    <a:lnTo>
                      <a:pt x="595" y="587"/>
                    </a:lnTo>
                    <a:lnTo>
                      <a:pt x="595" y="589"/>
                    </a:lnTo>
                    <a:lnTo>
                      <a:pt x="593" y="587"/>
                    </a:lnTo>
                    <a:lnTo>
                      <a:pt x="593" y="589"/>
                    </a:lnTo>
                    <a:lnTo>
                      <a:pt x="593" y="591"/>
                    </a:lnTo>
                    <a:lnTo>
                      <a:pt x="593" y="593"/>
                    </a:lnTo>
                    <a:lnTo>
                      <a:pt x="591" y="593"/>
                    </a:lnTo>
                    <a:lnTo>
                      <a:pt x="593" y="593"/>
                    </a:lnTo>
                    <a:lnTo>
                      <a:pt x="591" y="591"/>
                    </a:lnTo>
                    <a:lnTo>
                      <a:pt x="591" y="587"/>
                    </a:lnTo>
                    <a:lnTo>
                      <a:pt x="591" y="585"/>
                    </a:lnTo>
                    <a:lnTo>
                      <a:pt x="591" y="583"/>
                    </a:lnTo>
                    <a:close/>
                    <a:moveTo>
                      <a:pt x="516" y="507"/>
                    </a:moveTo>
                    <a:lnTo>
                      <a:pt x="518" y="507"/>
                    </a:lnTo>
                    <a:lnTo>
                      <a:pt x="518" y="509"/>
                    </a:lnTo>
                    <a:lnTo>
                      <a:pt x="518" y="511"/>
                    </a:lnTo>
                    <a:lnTo>
                      <a:pt x="516" y="515"/>
                    </a:lnTo>
                    <a:lnTo>
                      <a:pt x="518" y="513"/>
                    </a:lnTo>
                    <a:lnTo>
                      <a:pt x="516" y="513"/>
                    </a:lnTo>
                    <a:lnTo>
                      <a:pt x="516" y="511"/>
                    </a:lnTo>
                    <a:lnTo>
                      <a:pt x="516" y="513"/>
                    </a:lnTo>
                    <a:lnTo>
                      <a:pt x="515" y="511"/>
                    </a:lnTo>
                    <a:lnTo>
                      <a:pt x="516" y="511"/>
                    </a:lnTo>
                    <a:lnTo>
                      <a:pt x="516" y="509"/>
                    </a:lnTo>
                    <a:lnTo>
                      <a:pt x="516" y="507"/>
                    </a:lnTo>
                    <a:close/>
                    <a:moveTo>
                      <a:pt x="190" y="1308"/>
                    </a:moveTo>
                    <a:lnTo>
                      <a:pt x="192" y="1308"/>
                    </a:lnTo>
                    <a:lnTo>
                      <a:pt x="194" y="1308"/>
                    </a:lnTo>
                    <a:lnTo>
                      <a:pt x="194" y="1310"/>
                    </a:lnTo>
                    <a:lnTo>
                      <a:pt x="192" y="1310"/>
                    </a:lnTo>
                    <a:lnTo>
                      <a:pt x="190" y="1310"/>
                    </a:lnTo>
                    <a:lnTo>
                      <a:pt x="190" y="1308"/>
                    </a:lnTo>
                    <a:close/>
                    <a:moveTo>
                      <a:pt x="1602" y="858"/>
                    </a:moveTo>
                    <a:lnTo>
                      <a:pt x="1603" y="858"/>
                    </a:lnTo>
                    <a:lnTo>
                      <a:pt x="1603" y="860"/>
                    </a:lnTo>
                    <a:lnTo>
                      <a:pt x="1602" y="860"/>
                    </a:lnTo>
                    <a:lnTo>
                      <a:pt x="1602" y="858"/>
                    </a:lnTo>
                    <a:lnTo>
                      <a:pt x="1602" y="860"/>
                    </a:lnTo>
                    <a:lnTo>
                      <a:pt x="1602" y="862"/>
                    </a:lnTo>
                    <a:lnTo>
                      <a:pt x="1600" y="862"/>
                    </a:lnTo>
                    <a:lnTo>
                      <a:pt x="1600" y="860"/>
                    </a:lnTo>
                    <a:lnTo>
                      <a:pt x="1600" y="858"/>
                    </a:lnTo>
                    <a:lnTo>
                      <a:pt x="1600" y="860"/>
                    </a:lnTo>
                    <a:lnTo>
                      <a:pt x="1600" y="858"/>
                    </a:lnTo>
                    <a:lnTo>
                      <a:pt x="1602" y="858"/>
                    </a:lnTo>
                    <a:close/>
                    <a:moveTo>
                      <a:pt x="547" y="499"/>
                    </a:moveTo>
                    <a:lnTo>
                      <a:pt x="551" y="501"/>
                    </a:lnTo>
                    <a:lnTo>
                      <a:pt x="553" y="503"/>
                    </a:lnTo>
                    <a:lnTo>
                      <a:pt x="551" y="503"/>
                    </a:lnTo>
                    <a:lnTo>
                      <a:pt x="549" y="503"/>
                    </a:lnTo>
                    <a:lnTo>
                      <a:pt x="547" y="501"/>
                    </a:lnTo>
                    <a:lnTo>
                      <a:pt x="545" y="501"/>
                    </a:lnTo>
                    <a:lnTo>
                      <a:pt x="547" y="499"/>
                    </a:lnTo>
                    <a:close/>
                    <a:moveTo>
                      <a:pt x="250" y="505"/>
                    </a:moveTo>
                    <a:lnTo>
                      <a:pt x="251" y="507"/>
                    </a:lnTo>
                    <a:lnTo>
                      <a:pt x="253" y="507"/>
                    </a:lnTo>
                    <a:lnTo>
                      <a:pt x="253" y="509"/>
                    </a:lnTo>
                    <a:lnTo>
                      <a:pt x="255" y="509"/>
                    </a:lnTo>
                    <a:lnTo>
                      <a:pt x="255" y="511"/>
                    </a:lnTo>
                    <a:lnTo>
                      <a:pt x="253" y="509"/>
                    </a:lnTo>
                    <a:lnTo>
                      <a:pt x="251" y="509"/>
                    </a:lnTo>
                    <a:lnTo>
                      <a:pt x="250" y="507"/>
                    </a:lnTo>
                    <a:lnTo>
                      <a:pt x="250" y="509"/>
                    </a:lnTo>
                    <a:lnTo>
                      <a:pt x="248" y="509"/>
                    </a:lnTo>
                    <a:lnTo>
                      <a:pt x="248" y="507"/>
                    </a:lnTo>
                    <a:lnTo>
                      <a:pt x="250" y="507"/>
                    </a:lnTo>
                    <a:lnTo>
                      <a:pt x="250" y="505"/>
                    </a:lnTo>
                    <a:close/>
                    <a:moveTo>
                      <a:pt x="5452" y="664"/>
                    </a:moveTo>
                    <a:lnTo>
                      <a:pt x="5450" y="664"/>
                    </a:lnTo>
                    <a:lnTo>
                      <a:pt x="5450" y="667"/>
                    </a:lnTo>
                    <a:lnTo>
                      <a:pt x="5448" y="667"/>
                    </a:lnTo>
                    <a:lnTo>
                      <a:pt x="5448" y="665"/>
                    </a:lnTo>
                    <a:lnTo>
                      <a:pt x="5446" y="667"/>
                    </a:lnTo>
                    <a:lnTo>
                      <a:pt x="5444" y="665"/>
                    </a:lnTo>
                    <a:lnTo>
                      <a:pt x="5446" y="665"/>
                    </a:lnTo>
                    <a:lnTo>
                      <a:pt x="5448" y="665"/>
                    </a:lnTo>
                    <a:lnTo>
                      <a:pt x="5448" y="664"/>
                    </a:lnTo>
                    <a:lnTo>
                      <a:pt x="5450" y="664"/>
                    </a:lnTo>
                    <a:lnTo>
                      <a:pt x="5452" y="664"/>
                    </a:lnTo>
                    <a:close/>
                    <a:moveTo>
                      <a:pt x="370" y="429"/>
                    </a:moveTo>
                    <a:lnTo>
                      <a:pt x="368" y="429"/>
                    </a:lnTo>
                    <a:lnTo>
                      <a:pt x="370" y="429"/>
                    </a:lnTo>
                    <a:lnTo>
                      <a:pt x="368" y="431"/>
                    </a:lnTo>
                    <a:lnTo>
                      <a:pt x="364" y="433"/>
                    </a:lnTo>
                    <a:lnTo>
                      <a:pt x="362" y="433"/>
                    </a:lnTo>
                    <a:lnTo>
                      <a:pt x="360" y="433"/>
                    </a:lnTo>
                    <a:lnTo>
                      <a:pt x="360" y="431"/>
                    </a:lnTo>
                    <a:lnTo>
                      <a:pt x="364" y="431"/>
                    </a:lnTo>
                    <a:lnTo>
                      <a:pt x="366" y="431"/>
                    </a:lnTo>
                    <a:lnTo>
                      <a:pt x="366" y="429"/>
                    </a:lnTo>
                    <a:lnTo>
                      <a:pt x="370" y="429"/>
                    </a:lnTo>
                    <a:close/>
                    <a:moveTo>
                      <a:pt x="5545" y="675"/>
                    </a:moveTo>
                    <a:lnTo>
                      <a:pt x="5545" y="677"/>
                    </a:lnTo>
                    <a:lnTo>
                      <a:pt x="5547" y="677"/>
                    </a:lnTo>
                    <a:lnTo>
                      <a:pt x="5545" y="677"/>
                    </a:lnTo>
                    <a:lnTo>
                      <a:pt x="5547" y="679"/>
                    </a:lnTo>
                    <a:lnTo>
                      <a:pt x="5545" y="679"/>
                    </a:lnTo>
                    <a:lnTo>
                      <a:pt x="5543" y="679"/>
                    </a:lnTo>
                    <a:lnTo>
                      <a:pt x="5541" y="679"/>
                    </a:lnTo>
                    <a:lnTo>
                      <a:pt x="5541" y="677"/>
                    </a:lnTo>
                    <a:lnTo>
                      <a:pt x="5543" y="677"/>
                    </a:lnTo>
                    <a:lnTo>
                      <a:pt x="5545" y="675"/>
                    </a:lnTo>
                    <a:close/>
                    <a:moveTo>
                      <a:pt x="5671" y="665"/>
                    </a:moveTo>
                    <a:lnTo>
                      <a:pt x="5671" y="667"/>
                    </a:lnTo>
                    <a:lnTo>
                      <a:pt x="5673" y="667"/>
                    </a:lnTo>
                    <a:lnTo>
                      <a:pt x="5671" y="669"/>
                    </a:lnTo>
                    <a:lnTo>
                      <a:pt x="5669" y="669"/>
                    </a:lnTo>
                    <a:lnTo>
                      <a:pt x="5667" y="669"/>
                    </a:lnTo>
                    <a:lnTo>
                      <a:pt x="5669" y="667"/>
                    </a:lnTo>
                    <a:lnTo>
                      <a:pt x="5671" y="665"/>
                    </a:lnTo>
                    <a:close/>
                    <a:moveTo>
                      <a:pt x="1144" y="1186"/>
                    </a:moveTo>
                    <a:lnTo>
                      <a:pt x="1144" y="1188"/>
                    </a:lnTo>
                    <a:lnTo>
                      <a:pt x="1142" y="1188"/>
                    </a:lnTo>
                    <a:lnTo>
                      <a:pt x="1140" y="1194"/>
                    </a:lnTo>
                    <a:lnTo>
                      <a:pt x="1140" y="1198"/>
                    </a:lnTo>
                    <a:lnTo>
                      <a:pt x="1138" y="1204"/>
                    </a:lnTo>
                    <a:lnTo>
                      <a:pt x="1140" y="1205"/>
                    </a:lnTo>
                    <a:lnTo>
                      <a:pt x="1140" y="1209"/>
                    </a:lnTo>
                    <a:lnTo>
                      <a:pt x="1140" y="1207"/>
                    </a:lnTo>
                    <a:lnTo>
                      <a:pt x="1140" y="1209"/>
                    </a:lnTo>
                    <a:lnTo>
                      <a:pt x="1140" y="1207"/>
                    </a:lnTo>
                    <a:lnTo>
                      <a:pt x="1138" y="1207"/>
                    </a:lnTo>
                    <a:lnTo>
                      <a:pt x="1140" y="1207"/>
                    </a:lnTo>
                    <a:lnTo>
                      <a:pt x="1138" y="1207"/>
                    </a:lnTo>
                    <a:lnTo>
                      <a:pt x="1140" y="1205"/>
                    </a:lnTo>
                    <a:lnTo>
                      <a:pt x="1138" y="1207"/>
                    </a:lnTo>
                    <a:lnTo>
                      <a:pt x="1140" y="1207"/>
                    </a:lnTo>
                    <a:lnTo>
                      <a:pt x="1140" y="1205"/>
                    </a:lnTo>
                    <a:lnTo>
                      <a:pt x="1140" y="1207"/>
                    </a:lnTo>
                    <a:lnTo>
                      <a:pt x="1140" y="1205"/>
                    </a:lnTo>
                    <a:lnTo>
                      <a:pt x="1138" y="1205"/>
                    </a:lnTo>
                    <a:lnTo>
                      <a:pt x="1140" y="1205"/>
                    </a:lnTo>
                    <a:lnTo>
                      <a:pt x="1138" y="1205"/>
                    </a:lnTo>
                    <a:lnTo>
                      <a:pt x="1140" y="1205"/>
                    </a:lnTo>
                    <a:lnTo>
                      <a:pt x="1138" y="1205"/>
                    </a:lnTo>
                    <a:lnTo>
                      <a:pt x="1140" y="1205"/>
                    </a:lnTo>
                    <a:lnTo>
                      <a:pt x="1138" y="1205"/>
                    </a:lnTo>
                    <a:lnTo>
                      <a:pt x="1140" y="1205"/>
                    </a:lnTo>
                    <a:lnTo>
                      <a:pt x="1138" y="1205"/>
                    </a:lnTo>
                    <a:lnTo>
                      <a:pt x="1138" y="1204"/>
                    </a:lnTo>
                    <a:lnTo>
                      <a:pt x="1138" y="1202"/>
                    </a:lnTo>
                    <a:lnTo>
                      <a:pt x="1138" y="1200"/>
                    </a:lnTo>
                    <a:lnTo>
                      <a:pt x="1138" y="1198"/>
                    </a:lnTo>
                    <a:lnTo>
                      <a:pt x="1140" y="1198"/>
                    </a:lnTo>
                    <a:lnTo>
                      <a:pt x="1138" y="1196"/>
                    </a:lnTo>
                    <a:lnTo>
                      <a:pt x="1140" y="1196"/>
                    </a:lnTo>
                    <a:lnTo>
                      <a:pt x="1138" y="1196"/>
                    </a:lnTo>
                    <a:lnTo>
                      <a:pt x="1140" y="1194"/>
                    </a:lnTo>
                    <a:lnTo>
                      <a:pt x="1142" y="1192"/>
                    </a:lnTo>
                    <a:lnTo>
                      <a:pt x="1140" y="1192"/>
                    </a:lnTo>
                    <a:lnTo>
                      <a:pt x="1142" y="1192"/>
                    </a:lnTo>
                    <a:lnTo>
                      <a:pt x="1140" y="1192"/>
                    </a:lnTo>
                    <a:lnTo>
                      <a:pt x="1142" y="1190"/>
                    </a:lnTo>
                    <a:lnTo>
                      <a:pt x="1142" y="1192"/>
                    </a:lnTo>
                    <a:lnTo>
                      <a:pt x="1142" y="1190"/>
                    </a:lnTo>
                    <a:lnTo>
                      <a:pt x="1142" y="1192"/>
                    </a:lnTo>
                    <a:lnTo>
                      <a:pt x="1142" y="1190"/>
                    </a:lnTo>
                    <a:lnTo>
                      <a:pt x="1142" y="1192"/>
                    </a:lnTo>
                    <a:lnTo>
                      <a:pt x="1142" y="1190"/>
                    </a:lnTo>
                    <a:lnTo>
                      <a:pt x="1142" y="1192"/>
                    </a:lnTo>
                    <a:lnTo>
                      <a:pt x="1142" y="1190"/>
                    </a:lnTo>
                    <a:lnTo>
                      <a:pt x="1142" y="1188"/>
                    </a:lnTo>
                    <a:lnTo>
                      <a:pt x="1144" y="1188"/>
                    </a:lnTo>
                    <a:lnTo>
                      <a:pt x="1144" y="1186"/>
                    </a:lnTo>
                    <a:close/>
                    <a:moveTo>
                      <a:pt x="265" y="490"/>
                    </a:moveTo>
                    <a:lnTo>
                      <a:pt x="265" y="492"/>
                    </a:lnTo>
                    <a:lnTo>
                      <a:pt x="265" y="494"/>
                    </a:lnTo>
                    <a:lnTo>
                      <a:pt x="263" y="494"/>
                    </a:lnTo>
                    <a:lnTo>
                      <a:pt x="263" y="496"/>
                    </a:lnTo>
                    <a:lnTo>
                      <a:pt x="261" y="496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61" y="494"/>
                    </a:lnTo>
                    <a:lnTo>
                      <a:pt x="261" y="492"/>
                    </a:lnTo>
                    <a:lnTo>
                      <a:pt x="263" y="492"/>
                    </a:lnTo>
                    <a:lnTo>
                      <a:pt x="261" y="492"/>
                    </a:lnTo>
                    <a:lnTo>
                      <a:pt x="263" y="492"/>
                    </a:lnTo>
                    <a:lnTo>
                      <a:pt x="263" y="490"/>
                    </a:lnTo>
                    <a:lnTo>
                      <a:pt x="263" y="492"/>
                    </a:lnTo>
                    <a:lnTo>
                      <a:pt x="265" y="490"/>
                    </a:lnTo>
                    <a:close/>
                    <a:moveTo>
                      <a:pt x="1565" y="921"/>
                    </a:moveTo>
                    <a:lnTo>
                      <a:pt x="1565" y="923"/>
                    </a:lnTo>
                    <a:lnTo>
                      <a:pt x="1565" y="921"/>
                    </a:lnTo>
                    <a:lnTo>
                      <a:pt x="1565" y="923"/>
                    </a:lnTo>
                    <a:lnTo>
                      <a:pt x="1567" y="925"/>
                    </a:lnTo>
                    <a:lnTo>
                      <a:pt x="1565" y="925"/>
                    </a:lnTo>
                    <a:lnTo>
                      <a:pt x="1567" y="925"/>
                    </a:lnTo>
                    <a:lnTo>
                      <a:pt x="1565" y="923"/>
                    </a:lnTo>
                    <a:lnTo>
                      <a:pt x="1567" y="923"/>
                    </a:lnTo>
                    <a:lnTo>
                      <a:pt x="1567" y="925"/>
                    </a:lnTo>
                    <a:lnTo>
                      <a:pt x="1567" y="923"/>
                    </a:lnTo>
                    <a:lnTo>
                      <a:pt x="1567" y="925"/>
                    </a:lnTo>
                    <a:lnTo>
                      <a:pt x="1563" y="925"/>
                    </a:lnTo>
                    <a:lnTo>
                      <a:pt x="1561" y="925"/>
                    </a:lnTo>
                    <a:lnTo>
                      <a:pt x="1563" y="923"/>
                    </a:lnTo>
                    <a:lnTo>
                      <a:pt x="1563" y="921"/>
                    </a:lnTo>
                    <a:lnTo>
                      <a:pt x="1565" y="923"/>
                    </a:lnTo>
                    <a:lnTo>
                      <a:pt x="1563" y="921"/>
                    </a:lnTo>
                    <a:lnTo>
                      <a:pt x="1565" y="921"/>
                    </a:lnTo>
                    <a:close/>
                    <a:moveTo>
                      <a:pt x="1226" y="1154"/>
                    </a:moveTo>
                    <a:lnTo>
                      <a:pt x="1228" y="1154"/>
                    </a:lnTo>
                    <a:lnTo>
                      <a:pt x="1228" y="1156"/>
                    </a:lnTo>
                    <a:lnTo>
                      <a:pt x="1230" y="1156"/>
                    </a:lnTo>
                    <a:lnTo>
                      <a:pt x="1228" y="1156"/>
                    </a:lnTo>
                    <a:lnTo>
                      <a:pt x="1228" y="1158"/>
                    </a:lnTo>
                    <a:lnTo>
                      <a:pt x="1226" y="1156"/>
                    </a:lnTo>
                    <a:lnTo>
                      <a:pt x="1224" y="1156"/>
                    </a:lnTo>
                    <a:lnTo>
                      <a:pt x="1224" y="1154"/>
                    </a:lnTo>
                    <a:lnTo>
                      <a:pt x="1224" y="1156"/>
                    </a:lnTo>
                    <a:lnTo>
                      <a:pt x="1224" y="1154"/>
                    </a:lnTo>
                    <a:lnTo>
                      <a:pt x="1226" y="1154"/>
                    </a:lnTo>
                    <a:close/>
                    <a:moveTo>
                      <a:pt x="564" y="572"/>
                    </a:moveTo>
                    <a:lnTo>
                      <a:pt x="564" y="574"/>
                    </a:lnTo>
                    <a:lnTo>
                      <a:pt x="566" y="574"/>
                    </a:lnTo>
                    <a:lnTo>
                      <a:pt x="568" y="574"/>
                    </a:lnTo>
                    <a:lnTo>
                      <a:pt x="566" y="574"/>
                    </a:lnTo>
                    <a:lnTo>
                      <a:pt x="568" y="574"/>
                    </a:lnTo>
                    <a:lnTo>
                      <a:pt x="566" y="574"/>
                    </a:lnTo>
                    <a:lnTo>
                      <a:pt x="566" y="576"/>
                    </a:lnTo>
                    <a:lnTo>
                      <a:pt x="566" y="574"/>
                    </a:lnTo>
                    <a:lnTo>
                      <a:pt x="566" y="576"/>
                    </a:lnTo>
                    <a:lnTo>
                      <a:pt x="564" y="574"/>
                    </a:lnTo>
                    <a:lnTo>
                      <a:pt x="564" y="576"/>
                    </a:lnTo>
                    <a:lnTo>
                      <a:pt x="562" y="576"/>
                    </a:lnTo>
                    <a:lnTo>
                      <a:pt x="562" y="574"/>
                    </a:lnTo>
                    <a:lnTo>
                      <a:pt x="560" y="574"/>
                    </a:lnTo>
                    <a:lnTo>
                      <a:pt x="562" y="574"/>
                    </a:lnTo>
                    <a:lnTo>
                      <a:pt x="562" y="572"/>
                    </a:lnTo>
                    <a:lnTo>
                      <a:pt x="562" y="574"/>
                    </a:lnTo>
                    <a:lnTo>
                      <a:pt x="562" y="572"/>
                    </a:lnTo>
                    <a:lnTo>
                      <a:pt x="564" y="572"/>
                    </a:lnTo>
                    <a:close/>
                    <a:moveTo>
                      <a:pt x="236" y="551"/>
                    </a:moveTo>
                    <a:lnTo>
                      <a:pt x="238" y="553"/>
                    </a:lnTo>
                    <a:lnTo>
                      <a:pt x="236" y="551"/>
                    </a:lnTo>
                    <a:lnTo>
                      <a:pt x="236" y="553"/>
                    </a:lnTo>
                    <a:lnTo>
                      <a:pt x="238" y="553"/>
                    </a:lnTo>
                    <a:lnTo>
                      <a:pt x="236" y="553"/>
                    </a:lnTo>
                    <a:lnTo>
                      <a:pt x="234" y="555"/>
                    </a:lnTo>
                    <a:lnTo>
                      <a:pt x="232" y="553"/>
                    </a:lnTo>
                    <a:lnTo>
                      <a:pt x="232" y="551"/>
                    </a:lnTo>
                    <a:lnTo>
                      <a:pt x="234" y="551"/>
                    </a:lnTo>
                    <a:lnTo>
                      <a:pt x="236" y="551"/>
                    </a:lnTo>
                    <a:close/>
                    <a:moveTo>
                      <a:pt x="105" y="326"/>
                    </a:moveTo>
                    <a:lnTo>
                      <a:pt x="106" y="326"/>
                    </a:lnTo>
                    <a:lnTo>
                      <a:pt x="105" y="328"/>
                    </a:lnTo>
                    <a:lnTo>
                      <a:pt x="106" y="328"/>
                    </a:lnTo>
                    <a:lnTo>
                      <a:pt x="105" y="328"/>
                    </a:lnTo>
                    <a:lnTo>
                      <a:pt x="101" y="328"/>
                    </a:lnTo>
                    <a:lnTo>
                      <a:pt x="99" y="328"/>
                    </a:lnTo>
                    <a:lnTo>
                      <a:pt x="101" y="328"/>
                    </a:lnTo>
                    <a:lnTo>
                      <a:pt x="101" y="326"/>
                    </a:lnTo>
                    <a:lnTo>
                      <a:pt x="103" y="326"/>
                    </a:lnTo>
                    <a:lnTo>
                      <a:pt x="105" y="326"/>
                    </a:lnTo>
                    <a:close/>
                    <a:moveTo>
                      <a:pt x="230" y="551"/>
                    </a:moveTo>
                    <a:lnTo>
                      <a:pt x="232" y="551"/>
                    </a:lnTo>
                    <a:lnTo>
                      <a:pt x="232" y="553"/>
                    </a:lnTo>
                    <a:lnTo>
                      <a:pt x="230" y="553"/>
                    </a:lnTo>
                    <a:lnTo>
                      <a:pt x="232" y="553"/>
                    </a:lnTo>
                    <a:lnTo>
                      <a:pt x="230" y="553"/>
                    </a:lnTo>
                    <a:lnTo>
                      <a:pt x="232" y="553"/>
                    </a:lnTo>
                    <a:lnTo>
                      <a:pt x="230" y="553"/>
                    </a:lnTo>
                    <a:lnTo>
                      <a:pt x="232" y="551"/>
                    </a:lnTo>
                    <a:lnTo>
                      <a:pt x="230" y="551"/>
                    </a:lnTo>
                    <a:lnTo>
                      <a:pt x="230" y="553"/>
                    </a:lnTo>
                    <a:lnTo>
                      <a:pt x="229" y="555"/>
                    </a:lnTo>
                    <a:lnTo>
                      <a:pt x="227" y="557"/>
                    </a:lnTo>
                    <a:lnTo>
                      <a:pt x="227" y="555"/>
                    </a:lnTo>
                    <a:lnTo>
                      <a:pt x="227" y="553"/>
                    </a:lnTo>
                    <a:lnTo>
                      <a:pt x="230" y="551"/>
                    </a:lnTo>
                    <a:close/>
                    <a:moveTo>
                      <a:pt x="780" y="1072"/>
                    </a:moveTo>
                    <a:lnTo>
                      <a:pt x="782" y="1072"/>
                    </a:lnTo>
                    <a:lnTo>
                      <a:pt x="783" y="1072"/>
                    </a:lnTo>
                    <a:lnTo>
                      <a:pt x="785" y="1072"/>
                    </a:lnTo>
                    <a:lnTo>
                      <a:pt x="787" y="1072"/>
                    </a:lnTo>
                    <a:lnTo>
                      <a:pt x="785" y="1072"/>
                    </a:lnTo>
                    <a:lnTo>
                      <a:pt x="783" y="1074"/>
                    </a:lnTo>
                    <a:lnTo>
                      <a:pt x="782" y="1074"/>
                    </a:lnTo>
                    <a:lnTo>
                      <a:pt x="782" y="1072"/>
                    </a:lnTo>
                    <a:lnTo>
                      <a:pt x="780" y="1072"/>
                    </a:lnTo>
                    <a:close/>
                    <a:moveTo>
                      <a:pt x="576" y="591"/>
                    </a:moveTo>
                    <a:lnTo>
                      <a:pt x="578" y="593"/>
                    </a:lnTo>
                    <a:lnTo>
                      <a:pt x="578" y="595"/>
                    </a:lnTo>
                    <a:lnTo>
                      <a:pt x="578" y="597"/>
                    </a:lnTo>
                    <a:lnTo>
                      <a:pt x="576" y="597"/>
                    </a:lnTo>
                    <a:lnTo>
                      <a:pt x="576" y="595"/>
                    </a:lnTo>
                    <a:lnTo>
                      <a:pt x="576" y="597"/>
                    </a:lnTo>
                    <a:lnTo>
                      <a:pt x="574" y="595"/>
                    </a:lnTo>
                    <a:lnTo>
                      <a:pt x="576" y="595"/>
                    </a:lnTo>
                    <a:lnTo>
                      <a:pt x="576" y="593"/>
                    </a:lnTo>
                    <a:lnTo>
                      <a:pt x="574" y="593"/>
                    </a:lnTo>
                    <a:lnTo>
                      <a:pt x="574" y="591"/>
                    </a:lnTo>
                    <a:lnTo>
                      <a:pt x="576" y="591"/>
                    </a:lnTo>
                    <a:close/>
                    <a:moveTo>
                      <a:pt x="5699" y="658"/>
                    </a:moveTo>
                    <a:lnTo>
                      <a:pt x="5699" y="660"/>
                    </a:lnTo>
                    <a:lnTo>
                      <a:pt x="5698" y="662"/>
                    </a:lnTo>
                    <a:lnTo>
                      <a:pt x="5696" y="662"/>
                    </a:lnTo>
                    <a:lnTo>
                      <a:pt x="5696" y="660"/>
                    </a:lnTo>
                    <a:lnTo>
                      <a:pt x="5698" y="660"/>
                    </a:lnTo>
                    <a:lnTo>
                      <a:pt x="5698" y="658"/>
                    </a:lnTo>
                    <a:lnTo>
                      <a:pt x="5699" y="658"/>
                    </a:lnTo>
                    <a:close/>
                    <a:moveTo>
                      <a:pt x="5713" y="652"/>
                    </a:moveTo>
                    <a:lnTo>
                      <a:pt x="5715" y="654"/>
                    </a:lnTo>
                    <a:lnTo>
                      <a:pt x="5715" y="656"/>
                    </a:lnTo>
                    <a:lnTo>
                      <a:pt x="5713" y="656"/>
                    </a:lnTo>
                    <a:lnTo>
                      <a:pt x="5715" y="656"/>
                    </a:lnTo>
                    <a:lnTo>
                      <a:pt x="5713" y="656"/>
                    </a:lnTo>
                    <a:lnTo>
                      <a:pt x="5711" y="654"/>
                    </a:lnTo>
                    <a:lnTo>
                      <a:pt x="5711" y="656"/>
                    </a:lnTo>
                    <a:lnTo>
                      <a:pt x="5709" y="656"/>
                    </a:lnTo>
                    <a:lnTo>
                      <a:pt x="5709" y="654"/>
                    </a:lnTo>
                    <a:lnTo>
                      <a:pt x="5711" y="654"/>
                    </a:lnTo>
                    <a:lnTo>
                      <a:pt x="5713" y="654"/>
                    </a:lnTo>
                    <a:lnTo>
                      <a:pt x="5713" y="652"/>
                    </a:lnTo>
                    <a:close/>
                    <a:moveTo>
                      <a:pt x="248" y="511"/>
                    </a:moveTo>
                    <a:lnTo>
                      <a:pt x="250" y="513"/>
                    </a:lnTo>
                    <a:lnTo>
                      <a:pt x="250" y="515"/>
                    </a:lnTo>
                    <a:lnTo>
                      <a:pt x="250" y="513"/>
                    </a:lnTo>
                    <a:lnTo>
                      <a:pt x="251" y="515"/>
                    </a:lnTo>
                    <a:lnTo>
                      <a:pt x="250" y="515"/>
                    </a:lnTo>
                    <a:lnTo>
                      <a:pt x="248" y="515"/>
                    </a:lnTo>
                    <a:lnTo>
                      <a:pt x="248" y="513"/>
                    </a:lnTo>
                    <a:lnTo>
                      <a:pt x="246" y="513"/>
                    </a:lnTo>
                    <a:lnTo>
                      <a:pt x="246" y="511"/>
                    </a:lnTo>
                    <a:lnTo>
                      <a:pt x="248" y="511"/>
                    </a:lnTo>
                    <a:close/>
                    <a:moveTo>
                      <a:pt x="55" y="616"/>
                    </a:moveTo>
                    <a:lnTo>
                      <a:pt x="55" y="618"/>
                    </a:lnTo>
                    <a:lnTo>
                      <a:pt x="57" y="618"/>
                    </a:lnTo>
                    <a:lnTo>
                      <a:pt x="57" y="620"/>
                    </a:lnTo>
                    <a:lnTo>
                      <a:pt x="55" y="618"/>
                    </a:lnTo>
                    <a:lnTo>
                      <a:pt x="55" y="620"/>
                    </a:lnTo>
                    <a:lnTo>
                      <a:pt x="53" y="620"/>
                    </a:lnTo>
                    <a:lnTo>
                      <a:pt x="53" y="618"/>
                    </a:lnTo>
                    <a:lnTo>
                      <a:pt x="55" y="618"/>
                    </a:lnTo>
                    <a:lnTo>
                      <a:pt x="53" y="618"/>
                    </a:lnTo>
                    <a:lnTo>
                      <a:pt x="53" y="616"/>
                    </a:lnTo>
                    <a:lnTo>
                      <a:pt x="55" y="616"/>
                    </a:lnTo>
                    <a:lnTo>
                      <a:pt x="53" y="616"/>
                    </a:lnTo>
                    <a:lnTo>
                      <a:pt x="55" y="616"/>
                    </a:lnTo>
                    <a:close/>
                    <a:moveTo>
                      <a:pt x="333" y="417"/>
                    </a:moveTo>
                    <a:lnTo>
                      <a:pt x="335" y="419"/>
                    </a:lnTo>
                    <a:lnTo>
                      <a:pt x="333" y="419"/>
                    </a:lnTo>
                    <a:lnTo>
                      <a:pt x="335" y="421"/>
                    </a:lnTo>
                    <a:lnTo>
                      <a:pt x="333" y="421"/>
                    </a:lnTo>
                    <a:lnTo>
                      <a:pt x="335" y="421"/>
                    </a:lnTo>
                    <a:lnTo>
                      <a:pt x="333" y="421"/>
                    </a:lnTo>
                    <a:lnTo>
                      <a:pt x="333" y="423"/>
                    </a:lnTo>
                    <a:lnTo>
                      <a:pt x="333" y="421"/>
                    </a:lnTo>
                    <a:lnTo>
                      <a:pt x="333" y="423"/>
                    </a:lnTo>
                    <a:lnTo>
                      <a:pt x="332" y="421"/>
                    </a:lnTo>
                    <a:lnTo>
                      <a:pt x="333" y="423"/>
                    </a:lnTo>
                    <a:lnTo>
                      <a:pt x="332" y="423"/>
                    </a:lnTo>
                    <a:lnTo>
                      <a:pt x="332" y="421"/>
                    </a:lnTo>
                    <a:lnTo>
                      <a:pt x="332" y="419"/>
                    </a:lnTo>
                    <a:lnTo>
                      <a:pt x="333" y="419"/>
                    </a:lnTo>
                    <a:lnTo>
                      <a:pt x="332" y="419"/>
                    </a:lnTo>
                    <a:lnTo>
                      <a:pt x="332" y="417"/>
                    </a:lnTo>
                    <a:lnTo>
                      <a:pt x="333" y="417"/>
                    </a:lnTo>
                    <a:close/>
                    <a:moveTo>
                      <a:pt x="600" y="597"/>
                    </a:moveTo>
                    <a:lnTo>
                      <a:pt x="600" y="599"/>
                    </a:lnTo>
                    <a:lnTo>
                      <a:pt x="598" y="599"/>
                    </a:lnTo>
                    <a:lnTo>
                      <a:pt x="598" y="601"/>
                    </a:lnTo>
                    <a:lnTo>
                      <a:pt x="598" y="599"/>
                    </a:lnTo>
                    <a:lnTo>
                      <a:pt x="597" y="599"/>
                    </a:lnTo>
                    <a:lnTo>
                      <a:pt x="597" y="597"/>
                    </a:lnTo>
                    <a:lnTo>
                      <a:pt x="598" y="597"/>
                    </a:lnTo>
                    <a:lnTo>
                      <a:pt x="600" y="597"/>
                    </a:lnTo>
                    <a:close/>
                    <a:moveTo>
                      <a:pt x="566" y="587"/>
                    </a:moveTo>
                    <a:lnTo>
                      <a:pt x="568" y="587"/>
                    </a:lnTo>
                    <a:lnTo>
                      <a:pt x="566" y="589"/>
                    </a:lnTo>
                    <a:lnTo>
                      <a:pt x="568" y="589"/>
                    </a:lnTo>
                    <a:lnTo>
                      <a:pt x="568" y="587"/>
                    </a:lnTo>
                    <a:lnTo>
                      <a:pt x="568" y="589"/>
                    </a:lnTo>
                    <a:lnTo>
                      <a:pt x="568" y="587"/>
                    </a:lnTo>
                    <a:lnTo>
                      <a:pt x="568" y="589"/>
                    </a:lnTo>
                    <a:lnTo>
                      <a:pt x="568" y="591"/>
                    </a:lnTo>
                    <a:lnTo>
                      <a:pt x="566" y="591"/>
                    </a:lnTo>
                    <a:lnTo>
                      <a:pt x="566" y="589"/>
                    </a:lnTo>
                    <a:lnTo>
                      <a:pt x="566" y="591"/>
                    </a:lnTo>
                    <a:lnTo>
                      <a:pt x="564" y="589"/>
                    </a:lnTo>
                    <a:lnTo>
                      <a:pt x="566" y="589"/>
                    </a:lnTo>
                    <a:lnTo>
                      <a:pt x="566" y="587"/>
                    </a:lnTo>
                    <a:lnTo>
                      <a:pt x="564" y="587"/>
                    </a:lnTo>
                    <a:lnTo>
                      <a:pt x="566" y="587"/>
                    </a:lnTo>
                    <a:close/>
                    <a:moveTo>
                      <a:pt x="778" y="1072"/>
                    </a:moveTo>
                    <a:lnTo>
                      <a:pt x="780" y="1074"/>
                    </a:lnTo>
                    <a:lnTo>
                      <a:pt x="778" y="1074"/>
                    </a:lnTo>
                    <a:lnTo>
                      <a:pt x="776" y="1074"/>
                    </a:lnTo>
                    <a:lnTo>
                      <a:pt x="776" y="1072"/>
                    </a:lnTo>
                    <a:lnTo>
                      <a:pt x="778" y="1072"/>
                    </a:lnTo>
                    <a:close/>
                    <a:moveTo>
                      <a:pt x="106" y="597"/>
                    </a:moveTo>
                    <a:lnTo>
                      <a:pt x="106" y="599"/>
                    </a:lnTo>
                    <a:lnTo>
                      <a:pt x="106" y="601"/>
                    </a:lnTo>
                    <a:lnTo>
                      <a:pt x="105" y="601"/>
                    </a:lnTo>
                    <a:lnTo>
                      <a:pt x="105" y="599"/>
                    </a:lnTo>
                    <a:lnTo>
                      <a:pt x="106" y="597"/>
                    </a:lnTo>
                    <a:close/>
                    <a:moveTo>
                      <a:pt x="5612" y="673"/>
                    </a:moveTo>
                    <a:lnTo>
                      <a:pt x="5614" y="673"/>
                    </a:lnTo>
                    <a:lnTo>
                      <a:pt x="5614" y="675"/>
                    </a:lnTo>
                    <a:lnTo>
                      <a:pt x="5614" y="677"/>
                    </a:lnTo>
                    <a:lnTo>
                      <a:pt x="5612" y="677"/>
                    </a:lnTo>
                    <a:lnTo>
                      <a:pt x="5610" y="677"/>
                    </a:lnTo>
                    <a:lnTo>
                      <a:pt x="5610" y="675"/>
                    </a:lnTo>
                    <a:lnTo>
                      <a:pt x="5612" y="673"/>
                    </a:lnTo>
                    <a:close/>
                    <a:moveTo>
                      <a:pt x="801" y="1083"/>
                    </a:moveTo>
                    <a:lnTo>
                      <a:pt x="803" y="1083"/>
                    </a:lnTo>
                    <a:lnTo>
                      <a:pt x="804" y="1083"/>
                    </a:lnTo>
                    <a:lnTo>
                      <a:pt x="806" y="1085"/>
                    </a:lnTo>
                    <a:lnTo>
                      <a:pt x="804" y="1085"/>
                    </a:lnTo>
                    <a:lnTo>
                      <a:pt x="803" y="1085"/>
                    </a:lnTo>
                    <a:lnTo>
                      <a:pt x="803" y="1083"/>
                    </a:lnTo>
                    <a:lnTo>
                      <a:pt x="801" y="1083"/>
                    </a:lnTo>
                    <a:close/>
                    <a:moveTo>
                      <a:pt x="732" y="759"/>
                    </a:moveTo>
                    <a:lnTo>
                      <a:pt x="736" y="759"/>
                    </a:lnTo>
                    <a:lnTo>
                      <a:pt x="734" y="761"/>
                    </a:lnTo>
                    <a:lnTo>
                      <a:pt x="734" y="759"/>
                    </a:lnTo>
                    <a:lnTo>
                      <a:pt x="732" y="759"/>
                    </a:lnTo>
                    <a:lnTo>
                      <a:pt x="734" y="761"/>
                    </a:lnTo>
                    <a:lnTo>
                      <a:pt x="732" y="761"/>
                    </a:lnTo>
                    <a:lnTo>
                      <a:pt x="730" y="761"/>
                    </a:lnTo>
                    <a:lnTo>
                      <a:pt x="732" y="759"/>
                    </a:lnTo>
                    <a:close/>
                    <a:moveTo>
                      <a:pt x="728" y="761"/>
                    </a:moveTo>
                    <a:lnTo>
                      <a:pt x="730" y="761"/>
                    </a:lnTo>
                    <a:lnTo>
                      <a:pt x="732" y="763"/>
                    </a:lnTo>
                    <a:lnTo>
                      <a:pt x="732" y="765"/>
                    </a:lnTo>
                    <a:lnTo>
                      <a:pt x="730" y="765"/>
                    </a:lnTo>
                    <a:lnTo>
                      <a:pt x="728" y="763"/>
                    </a:lnTo>
                    <a:lnTo>
                      <a:pt x="728" y="761"/>
                    </a:lnTo>
                    <a:lnTo>
                      <a:pt x="728" y="763"/>
                    </a:lnTo>
                    <a:lnTo>
                      <a:pt x="728" y="761"/>
                    </a:lnTo>
                    <a:lnTo>
                      <a:pt x="730" y="761"/>
                    </a:lnTo>
                    <a:lnTo>
                      <a:pt x="728" y="761"/>
                    </a:lnTo>
                    <a:close/>
                    <a:moveTo>
                      <a:pt x="1327" y="828"/>
                    </a:moveTo>
                    <a:lnTo>
                      <a:pt x="1329" y="831"/>
                    </a:lnTo>
                    <a:lnTo>
                      <a:pt x="1327" y="831"/>
                    </a:lnTo>
                    <a:lnTo>
                      <a:pt x="1325" y="831"/>
                    </a:lnTo>
                    <a:lnTo>
                      <a:pt x="1327" y="828"/>
                    </a:lnTo>
                    <a:close/>
                    <a:moveTo>
                      <a:pt x="333" y="442"/>
                    </a:moveTo>
                    <a:lnTo>
                      <a:pt x="332" y="446"/>
                    </a:lnTo>
                    <a:lnTo>
                      <a:pt x="330" y="448"/>
                    </a:lnTo>
                    <a:lnTo>
                      <a:pt x="330" y="446"/>
                    </a:lnTo>
                    <a:lnTo>
                      <a:pt x="332" y="446"/>
                    </a:lnTo>
                    <a:lnTo>
                      <a:pt x="330" y="446"/>
                    </a:lnTo>
                    <a:lnTo>
                      <a:pt x="332" y="446"/>
                    </a:lnTo>
                    <a:lnTo>
                      <a:pt x="332" y="444"/>
                    </a:lnTo>
                    <a:lnTo>
                      <a:pt x="330" y="446"/>
                    </a:lnTo>
                    <a:lnTo>
                      <a:pt x="330" y="444"/>
                    </a:lnTo>
                    <a:lnTo>
                      <a:pt x="332" y="444"/>
                    </a:lnTo>
                    <a:lnTo>
                      <a:pt x="332" y="442"/>
                    </a:lnTo>
                    <a:lnTo>
                      <a:pt x="332" y="444"/>
                    </a:lnTo>
                    <a:lnTo>
                      <a:pt x="333" y="442"/>
                    </a:lnTo>
                    <a:close/>
                    <a:moveTo>
                      <a:pt x="578" y="599"/>
                    </a:moveTo>
                    <a:lnTo>
                      <a:pt x="576" y="599"/>
                    </a:lnTo>
                    <a:lnTo>
                      <a:pt x="578" y="599"/>
                    </a:lnTo>
                    <a:lnTo>
                      <a:pt x="578" y="601"/>
                    </a:lnTo>
                    <a:lnTo>
                      <a:pt x="578" y="599"/>
                    </a:lnTo>
                    <a:lnTo>
                      <a:pt x="578" y="601"/>
                    </a:lnTo>
                    <a:lnTo>
                      <a:pt x="576" y="601"/>
                    </a:lnTo>
                    <a:lnTo>
                      <a:pt x="578" y="601"/>
                    </a:lnTo>
                    <a:lnTo>
                      <a:pt x="579" y="602"/>
                    </a:lnTo>
                    <a:lnTo>
                      <a:pt x="578" y="602"/>
                    </a:lnTo>
                    <a:lnTo>
                      <a:pt x="578" y="601"/>
                    </a:lnTo>
                    <a:lnTo>
                      <a:pt x="576" y="601"/>
                    </a:lnTo>
                    <a:lnTo>
                      <a:pt x="576" y="599"/>
                    </a:lnTo>
                    <a:lnTo>
                      <a:pt x="578" y="599"/>
                    </a:lnTo>
                    <a:close/>
                    <a:moveTo>
                      <a:pt x="99" y="610"/>
                    </a:moveTo>
                    <a:lnTo>
                      <a:pt x="101" y="610"/>
                    </a:lnTo>
                    <a:lnTo>
                      <a:pt x="101" y="612"/>
                    </a:lnTo>
                    <a:lnTo>
                      <a:pt x="101" y="610"/>
                    </a:lnTo>
                    <a:lnTo>
                      <a:pt x="101" y="612"/>
                    </a:lnTo>
                    <a:lnTo>
                      <a:pt x="101" y="610"/>
                    </a:lnTo>
                    <a:lnTo>
                      <a:pt x="101" y="612"/>
                    </a:lnTo>
                    <a:lnTo>
                      <a:pt x="103" y="612"/>
                    </a:lnTo>
                    <a:lnTo>
                      <a:pt x="101" y="612"/>
                    </a:lnTo>
                    <a:lnTo>
                      <a:pt x="103" y="612"/>
                    </a:lnTo>
                    <a:lnTo>
                      <a:pt x="103" y="614"/>
                    </a:lnTo>
                    <a:lnTo>
                      <a:pt x="101" y="612"/>
                    </a:lnTo>
                    <a:lnTo>
                      <a:pt x="101" y="614"/>
                    </a:lnTo>
                    <a:lnTo>
                      <a:pt x="101" y="612"/>
                    </a:lnTo>
                    <a:lnTo>
                      <a:pt x="101" y="614"/>
                    </a:lnTo>
                    <a:lnTo>
                      <a:pt x="101" y="612"/>
                    </a:lnTo>
                    <a:lnTo>
                      <a:pt x="99" y="612"/>
                    </a:lnTo>
                    <a:lnTo>
                      <a:pt x="97" y="612"/>
                    </a:lnTo>
                    <a:lnTo>
                      <a:pt x="99" y="610"/>
                    </a:lnTo>
                    <a:close/>
                    <a:moveTo>
                      <a:pt x="562" y="583"/>
                    </a:moveTo>
                    <a:lnTo>
                      <a:pt x="564" y="583"/>
                    </a:lnTo>
                    <a:lnTo>
                      <a:pt x="564" y="585"/>
                    </a:lnTo>
                    <a:lnTo>
                      <a:pt x="564" y="587"/>
                    </a:lnTo>
                    <a:lnTo>
                      <a:pt x="562" y="585"/>
                    </a:lnTo>
                    <a:lnTo>
                      <a:pt x="562" y="587"/>
                    </a:lnTo>
                    <a:lnTo>
                      <a:pt x="564" y="587"/>
                    </a:lnTo>
                    <a:lnTo>
                      <a:pt x="562" y="587"/>
                    </a:lnTo>
                    <a:lnTo>
                      <a:pt x="562" y="589"/>
                    </a:lnTo>
                    <a:lnTo>
                      <a:pt x="562" y="587"/>
                    </a:lnTo>
                    <a:lnTo>
                      <a:pt x="562" y="585"/>
                    </a:lnTo>
                    <a:lnTo>
                      <a:pt x="562" y="583"/>
                    </a:lnTo>
                    <a:close/>
                    <a:moveTo>
                      <a:pt x="5707" y="532"/>
                    </a:moveTo>
                    <a:lnTo>
                      <a:pt x="5707" y="534"/>
                    </a:lnTo>
                    <a:lnTo>
                      <a:pt x="5705" y="536"/>
                    </a:lnTo>
                    <a:lnTo>
                      <a:pt x="5705" y="534"/>
                    </a:lnTo>
                    <a:lnTo>
                      <a:pt x="5703" y="536"/>
                    </a:lnTo>
                    <a:lnTo>
                      <a:pt x="5703" y="534"/>
                    </a:lnTo>
                    <a:lnTo>
                      <a:pt x="5703" y="532"/>
                    </a:lnTo>
                    <a:lnTo>
                      <a:pt x="5705" y="534"/>
                    </a:lnTo>
                    <a:lnTo>
                      <a:pt x="5707" y="532"/>
                    </a:lnTo>
                    <a:close/>
                    <a:moveTo>
                      <a:pt x="141" y="1289"/>
                    </a:moveTo>
                    <a:lnTo>
                      <a:pt x="143" y="1289"/>
                    </a:lnTo>
                    <a:lnTo>
                      <a:pt x="141" y="1291"/>
                    </a:lnTo>
                    <a:lnTo>
                      <a:pt x="143" y="1291"/>
                    </a:lnTo>
                    <a:lnTo>
                      <a:pt x="141" y="1291"/>
                    </a:lnTo>
                    <a:lnTo>
                      <a:pt x="139" y="1293"/>
                    </a:lnTo>
                    <a:lnTo>
                      <a:pt x="139" y="1291"/>
                    </a:lnTo>
                    <a:lnTo>
                      <a:pt x="141" y="1289"/>
                    </a:lnTo>
                    <a:close/>
                    <a:moveTo>
                      <a:pt x="1510" y="940"/>
                    </a:moveTo>
                    <a:lnTo>
                      <a:pt x="1508" y="942"/>
                    </a:lnTo>
                    <a:lnTo>
                      <a:pt x="1506" y="942"/>
                    </a:lnTo>
                    <a:lnTo>
                      <a:pt x="1508" y="942"/>
                    </a:lnTo>
                    <a:lnTo>
                      <a:pt x="1508" y="940"/>
                    </a:lnTo>
                    <a:lnTo>
                      <a:pt x="1510" y="940"/>
                    </a:lnTo>
                    <a:close/>
                    <a:moveTo>
                      <a:pt x="213" y="574"/>
                    </a:moveTo>
                    <a:lnTo>
                      <a:pt x="213" y="576"/>
                    </a:lnTo>
                    <a:lnTo>
                      <a:pt x="211" y="574"/>
                    </a:lnTo>
                    <a:lnTo>
                      <a:pt x="211" y="572"/>
                    </a:lnTo>
                    <a:lnTo>
                      <a:pt x="213" y="570"/>
                    </a:lnTo>
                    <a:lnTo>
                      <a:pt x="213" y="572"/>
                    </a:lnTo>
                    <a:lnTo>
                      <a:pt x="213" y="574"/>
                    </a:lnTo>
                    <a:close/>
                    <a:moveTo>
                      <a:pt x="1153" y="1177"/>
                    </a:moveTo>
                    <a:lnTo>
                      <a:pt x="1155" y="1177"/>
                    </a:lnTo>
                    <a:lnTo>
                      <a:pt x="1153" y="1177"/>
                    </a:lnTo>
                    <a:lnTo>
                      <a:pt x="1155" y="1177"/>
                    </a:lnTo>
                    <a:lnTo>
                      <a:pt x="1153" y="1179"/>
                    </a:lnTo>
                    <a:lnTo>
                      <a:pt x="1151" y="1181"/>
                    </a:lnTo>
                    <a:lnTo>
                      <a:pt x="1148" y="1183"/>
                    </a:lnTo>
                    <a:lnTo>
                      <a:pt x="1148" y="1181"/>
                    </a:lnTo>
                    <a:lnTo>
                      <a:pt x="1150" y="1181"/>
                    </a:lnTo>
                    <a:lnTo>
                      <a:pt x="1151" y="1179"/>
                    </a:lnTo>
                    <a:lnTo>
                      <a:pt x="1150" y="1179"/>
                    </a:lnTo>
                    <a:lnTo>
                      <a:pt x="1151" y="1179"/>
                    </a:lnTo>
                    <a:lnTo>
                      <a:pt x="1150" y="1179"/>
                    </a:lnTo>
                    <a:lnTo>
                      <a:pt x="1151" y="1179"/>
                    </a:lnTo>
                    <a:lnTo>
                      <a:pt x="1153" y="1179"/>
                    </a:lnTo>
                    <a:lnTo>
                      <a:pt x="1153" y="1177"/>
                    </a:lnTo>
                    <a:close/>
                    <a:moveTo>
                      <a:pt x="5608" y="681"/>
                    </a:moveTo>
                    <a:lnTo>
                      <a:pt x="5610" y="681"/>
                    </a:lnTo>
                    <a:lnTo>
                      <a:pt x="5610" y="683"/>
                    </a:lnTo>
                    <a:lnTo>
                      <a:pt x="5608" y="683"/>
                    </a:lnTo>
                    <a:lnTo>
                      <a:pt x="5608" y="681"/>
                    </a:lnTo>
                    <a:close/>
                    <a:moveTo>
                      <a:pt x="114" y="591"/>
                    </a:moveTo>
                    <a:lnTo>
                      <a:pt x="116" y="591"/>
                    </a:lnTo>
                    <a:lnTo>
                      <a:pt x="116" y="593"/>
                    </a:lnTo>
                    <a:lnTo>
                      <a:pt x="116" y="595"/>
                    </a:lnTo>
                    <a:lnTo>
                      <a:pt x="116" y="593"/>
                    </a:lnTo>
                    <a:lnTo>
                      <a:pt x="116" y="595"/>
                    </a:lnTo>
                    <a:lnTo>
                      <a:pt x="114" y="593"/>
                    </a:lnTo>
                    <a:lnTo>
                      <a:pt x="114" y="591"/>
                    </a:lnTo>
                    <a:lnTo>
                      <a:pt x="114" y="593"/>
                    </a:lnTo>
                    <a:lnTo>
                      <a:pt x="112" y="593"/>
                    </a:lnTo>
                    <a:lnTo>
                      <a:pt x="112" y="591"/>
                    </a:lnTo>
                    <a:lnTo>
                      <a:pt x="114" y="591"/>
                    </a:lnTo>
                    <a:close/>
                    <a:moveTo>
                      <a:pt x="801" y="1091"/>
                    </a:moveTo>
                    <a:lnTo>
                      <a:pt x="803" y="1091"/>
                    </a:lnTo>
                    <a:lnTo>
                      <a:pt x="803" y="1093"/>
                    </a:lnTo>
                    <a:lnTo>
                      <a:pt x="804" y="1095"/>
                    </a:lnTo>
                    <a:lnTo>
                      <a:pt x="803" y="1095"/>
                    </a:lnTo>
                    <a:lnTo>
                      <a:pt x="801" y="1091"/>
                    </a:lnTo>
                    <a:close/>
                    <a:moveTo>
                      <a:pt x="560" y="580"/>
                    </a:moveTo>
                    <a:lnTo>
                      <a:pt x="560" y="581"/>
                    </a:lnTo>
                    <a:lnTo>
                      <a:pt x="562" y="580"/>
                    </a:lnTo>
                    <a:lnTo>
                      <a:pt x="562" y="581"/>
                    </a:lnTo>
                    <a:lnTo>
                      <a:pt x="562" y="583"/>
                    </a:lnTo>
                    <a:lnTo>
                      <a:pt x="560" y="583"/>
                    </a:lnTo>
                    <a:lnTo>
                      <a:pt x="558" y="583"/>
                    </a:lnTo>
                    <a:lnTo>
                      <a:pt x="560" y="581"/>
                    </a:lnTo>
                    <a:lnTo>
                      <a:pt x="560" y="583"/>
                    </a:lnTo>
                    <a:lnTo>
                      <a:pt x="560" y="581"/>
                    </a:lnTo>
                    <a:lnTo>
                      <a:pt x="560" y="580"/>
                    </a:lnTo>
                    <a:close/>
                    <a:moveTo>
                      <a:pt x="45" y="627"/>
                    </a:moveTo>
                    <a:lnTo>
                      <a:pt x="45" y="629"/>
                    </a:lnTo>
                    <a:lnTo>
                      <a:pt x="44" y="629"/>
                    </a:lnTo>
                    <a:lnTo>
                      <a:pt x="45" y="631"/>
                    </a:lnTo>
                    <a:lnTo>
                      <a:pt x="44" y="631"/>
                    </a:lnTo>
                    <a:lnTo>
                      <a:pt x="42" y="629"/>
                    </a:lnTo>
                    <a:lnTo>
                      <a:pt x="44" y="629"/>
                    </a:lnTo>
                    <a:lnTo>
                      <a:pt x="44" y="627"/>
                    </a:lnTo>
                    <a:lnTo>
                      <a:pt x="45" y="627"/>
                    </a:lnTo>
                    <a:close/>
                    <a:moveTo>
                      <a:pt x="248" y="467"/>
                    </a:moveTo>
                    <a:lnTo>
                      <a:pt x="250" y="469"/>
                    </a:lnTo>
                    <a:lnTo>
                      <a:pt x="248" y="469"/>
                    </a:lnTo>
                    <a:lnTo>
                      <a:pt x="246" y="469"/>
                    </a:lnTo>
                    <a:lnTo>
                      <a:pt x="246" y="467"/>
                    </a:lnTo>
                    <a:lnTo>
                      <a:pt x="248" y="467"/>
                    </a:lnTo>
                    <a:close/>
                    <a:moveTo>
                      <a:pt x="5713" y="551"/>
                    </a:moveTo>
                    <a:lnTo>
                      <a:pt x="5717" y="551"/>
                    </a:lnTo>
                    <a:lnTo>
                      <a:pt x="5719" y="551"/>
                    </a:lnTo>
                    <a:lnTo>
                      <a:pt x="5717" y="553"/>
                    </a:lnTo>
                    <a:lnTo>
                      <a:pt x="5715" y="553"/>
                    </a:lnTo>
                    <a:lnTo>
                      <a:pt x="5715" y="551"/>
                    </a:lnTo>
                    <a:lnTo>
                      <a:pt x="5713" y="551"/>
                    </a:lnTo>
                    <a:close/>
                    <a:moveTo>
                      <a:pt x="738" y="763"/>
                    </a:moveTo>
                    <a:lnTo>
                      <a:pt x="738" y="765"/>
                    </a:lnTo>
                    <a:lnTo>
                      <a:pt x="738" y="763"/>
                    </a:lnTo>
                    <a:lnTo>
                      <a:pt x="740" y="765"/>
                    </a:lnTo>
                    <a:lnTo>
                      <a:pt x="740" y="767"/>
                    </a:lnTo>
                    <a:lnTo>
                      <a:pt x="738" y="765"/>
                    </a:lnTo>
                    <a:lnTo>
                      <a:pt x="738" y="767"/>
                    </a:lnTo>
                    <a:lnTo>
                      <a:pt x="736" y="765"/>
                    </a:lnTo>
                    <a:lnTo>
                      <a:pt x="738" y="765"/>
                    </a:lnTo>
                    <a:lnTo>
                      <a:pt x="736" y="763"/>
                    </a:lnTo>
                    <a:lnTo>
                      <a:pt x="738" y="763"/>
                    </a:lnTo>
                    <a:close/>
                    <a:moveTo>
                      <a:pt x="541" y="526"/>
                    </a:moveTo>
                    <a:lnTo>
                      <a:pt x="543" y="526"/>
                    </a:lnTo>
                    <a:lnTo>
                      <a:pt x="543" y="528"/>
                    </a:lnTo>
                    <a:lnTo>
                      <a:pt x="543" y="530"/>
                    </a:lnTo>
                    <a:lnTo>
                      <a:pt x="541" y="528"/>
                    </a:lnTo>
                    <a:lnTo>
                      <a:pt x="541" y="526"/>
                    </a:lnTo>
                    <a:close/>
                    <a:moveTo>
                      <a:pt x="137" y="585"/>
                    </a:moveTo>
                    <a:lnTo>
                      <a:pt x="137" y="587"/>
                    </a:lnTo>
                    <a:lnTo>
                      <a:pt x="139" y="587"/>
                    </a:lnTo>
                    <a:lnTo>
                      <a:pt x="137" y="589"/>
                    </a:lnTo>
                    <a:lnTo>
                      <a:pt x="137" y="587"/>
                    </a:lnTo>
                    <a:lnTo>
                      <a:pt x="137" y="589"/>
                    </a:lnTo>
                    <a:lnTo>
                      <a:pt x="135" y="587"/>
                    </a:lnTo>
                    <a:lnTo>
                      <a:pt x="135" y="585"/>
                    </a:lnTo>
                    <a:lnTo>
                      <a:pt x="137" y="587"/>
                    </a:lnTo>
                    <a:lnTo>
                      <a:pt x="137" y="585"/>
                    </a:lnTo>
                    <a:close/>
                    <a:moveTo>
                      <a:pt x="394" y="448"/>
                    </a:moveTo>
                    <a:lnTo>
                      <a:pt x="391" y="450"/>
                    </a:lnTo>
                    <a:lnTo>
                      <a:pt x="389" y="454"/>
                    </a:lnTo>
                    <a:lnTo>
                      <a:pt x="389" y="452"/>
                    </a:lnTo>
                    <a:lnTo>
                      <a:pt x="391" y="450"/>
                    </a:lnTo>
                    <a:lnTo>
                      <a:pt x="393" y="448"/>
                    </a:lnTo>
                    <a:lnTo>
                      <a:pt x="394" y="448"/>
                    </a:lnTo>
                    <a:close/>
                    <a:moveTo>
                      <a:pt x="1575" y="925"/>
                    </a:moveTo>
                    <a:lnTo>
                      <a:pt x="1575" y="927"/>
                    </a:lnTo>
                    <a:lnTo>
                      <a:pt x="1573" y="927"/>
                    </a:lnTo>
                    <a:lnTo>
                      <a:pt x="1571" y="927"/>
                    </a:lnTo>
                    <a:lnTo>
                      <a:pt x="1571" y="925"/>
                    </a:lnTo>
                    <a:lnTo>
                      <a:pt x="1573" y="925"/>
                    </a:lnTo>
                    <a:lnTo>
                      <a:pt x="1573" y="927"/>
                    </a:lnTo>
                    <a:lnTo>
                      <a:pt x="1573" y="925"/>
                    </a:lnTo>
                    <a:lnTo>
                      <a:pt x="1575" y="925"/>
                    </a:lnTo>
                    <a:lnTo>
                      <a:pt x="1573" y="925"/>
                    </a:lnTo>
                    <a:lnTo>
                      <a:pt x="1575" y="925"/>
                    </a:lnTo>
                    <a:lnTo>
                      <a:pt x="1573" y="925"/>
                    </a:lnTo>
                    <a:lnTo>
                      <a:pt x="1575" y="925"/>
                    </a:lnTo>
                    <a:lnTo>
                      <a:pt x="1573" y="923"/>
                    </a:lnTo>
                    <a:lnTo>
                      <a:pt x="1573" y="925"/>
                    </a:lnTo>
                    <a:lnTo>
                      <a:pt x="1575" y="925"/>
                    </a:lnTo>
                    <a:close/>
                    <a:moveTo>
                      <a:pt x="150" y="589"/>
                    </a:moveTo>
                    <a:lnTo>
                      <a:pt x="150" y="591"/>
                    </a:lnTo>
                    <a:lnTo>
                      <a:pt x="150" y="593"/>
                    </a:lnTo>
                    <a:lnTo>
                      <a:pt x="150" y="595"/>
                    </a:lnTo>
                    <a:lnTo>
                      <a:pt x="150" y="593"/>
                    </a:lnTo>
                    <a:lnTo>
                      <a:pt x="150" y="595"/>
                    </a:lnTo>
                    <a:lnTo>
                      <a:pt x="148" y="595"/>
                    </a:lnTo>
                    <a:lnTo>
                      <a:pt x="148" y="593"/>
                    </a:lnTo>
                    <a:lnTo>
                      <a:pt x="150" y="593"/>
                    </a:lnTo>
                    <a:lnTo>
                      <a:pt x="150" y="591"/>
                    </a:lnTo>
                    <a:lnTo>
                      <a:pt x="148" y="591"/>
                    </a:lnTo>
                    <a:lnTo>
                      <a:pt x="150" y="591"/>
                    </a:lnTo>
                    <a:lnTo>
                      <a:pt x="150" y="589"/>
                    </a:lnTo>
                    <a:lnTo>
                      <a:pt x="150" y="591"/>
                    </a:lnTo>
                    <a:lnTo>
                      <a:pt x="150" y="589"/>
                    </a:lnTo>
                    <a:close/>
                    <a:moveTo>
                      <a:pt x="63" y="620"/>
                    </a:moveTo>
                    <a:lnTo>
                      <a:pt x="65" y="620"/>
                    </a:lnTo>
                    <a:lnTo>
                      <a:pt x="65" y="622"/>
                    </a:lnTo>
                    <a:lnTo>
                      <a:pt x="63" y="622"/>
                    </a:lnTo>
                    <a:lnTo>
                      <a:pt x="61" y="622"/>
                    </a:lnTo>
                    <a:lnTo>
                      <a:pt x="61" y="620"/>
                    </a:lnTo>
                    <a:lnTo>
                      <a:pt x="63" y="620"/>
                    </a:lnTo>
                    <a:lnTo>
                      <a:pt x="65" y="620"/>
                    </a:lnTo>
                    <a:lnTo>
                      <a:pt x="63" y="620"/>
                    </a:lnTo>
                    <a:close/>
                    <a:moveTo>
                      <a:pt x="335" y="446"/>
                    </a:moveTo>
                    <a:lnTo>
                      <a:pt x="337" y="446"/>
                    </a:lnTo>
                    <a:lnTo>
                      <a:pt x="335" y="448"/>
                    </a:lnTo>
                    <a:lnTo>
                      <a:pt x="333" y="450"/>
                    </a:lnTo>
                    <a:lnTo>
                      <a:pt x="333" y="448"/>
                    </a:lnTo>
                    <a:lnTo>
                      <a:pt x="335" y="448"/>
                    </a:lnTo>
                    <a:lnTo>
                      <a:pt x="335" y="446"/>
                    </a:lnTo>
                    <a:close/>
                    <a:moveTo>
                      <a:pt x="330" y="423"/>
                    </a:moveTo>
                    <a:lnTo>
                      <a:pt x="332" y="423"/>
                    </a:lnTo>
                    <a:lnTo>
                      <a:pt x="332" y="427"/>
                    </a:lnTo>
                    <a:lnTo>
                      <a:pt x="330" y="427"/>
                    </a:lnTo>
                    <a:lnTo>
                      <a:pt x="330" y="423"/>
                    </a:lnTo>
                    <a:close/>
                    <a:moveTo>
                      <a:pt x="564" y="580"/>
                    </a:moveTo>
                    <a:lnTo>
                      <a:pt x="568" y="580"/>
                    </a:lnTo>
                    <a:lnTo>
                      <a:pt x="568" y="583"/>
                    </a:lnTo>
                    <a:lnTo>
                      <a:pt x="564" y="583"/>
                    </a:lnTo>
                    <a:lnTo>
                      <a:pt x="564" y="580"/>
                    </a:lnTo>
                    <a:close/>
                    <a:moveTo>
                      <a:pt x="333" y="442"/>
                    </a:moveTo>
                    <a:lnTo>
                      <a:pt x="333" y="444"/>
                    </a:lnTo>
                    <a:lnTo>
                      <a:pt x="335" y="444"/>
                    </a:lnTo>
                    <a:lnTo>
                      <a:pt x="333" y="446"/>
                    </a:lnTo>
                    <a:lnTo>
                      <a:pt x="332" y="448"/>
                    </a:lnTo>
                    <a:lnTo>
                      <a:pt x="332" y="446"/>
                    </a:lnTo>
                    <a:lnTo>
                      <a:pt x="333" y="444"/>
                    </a:lnTo>
                    <a:lnTo>
                      <a:pt x="333" y="442"/>
                    </a:lnTo>
                    <a:close/>
                    <a:moveTo>
                      <a:pt x="87" y="345"/>
                    </a:moveTo>
                    <a:lnTo>
                      <a:pt x="91" y="347"/>
                    </a:lnTo>
                    <a:lnTo>
                      <a:pt x="87" y="345"/>
                    </a:lnTo>
                    <a:lnTo>
                      <a:pt x="86" y="347"/>
                    </a:lnTo>
                    <a:lnTo>
                      <a:pt x="87" y="345"/>
                    </a:lnTo>
                    <a:close/>
                    <a:moveTo>
                      <a:pt x="1148" y="1183"/>
                    </a:moveTo>
                    <a:lnTo>
                      <a:pt x="1146" y="1184"/>
                    </a:lnTo>
                    <a:lnTo>
                      <a:pt x="1144" y="1186"/>
                    </a:lnTo>
                    <a:lnTo>
                      <a:pt x="1144" y="1184"/>
                    </a:lnTo>
                    <a:lnTo>
                      <a:pt x="1146" y="1184"/>
                    </a:lnTo>
                    <a:lnTo>
                      <a:pt x="1146" y="1183"/>
                    </a:lnTo>
                    <a:lnTo>
                      <a:pt x="1148" y="1183"/>
                    </a:lnTo>
                    <a:lnTo>
                      <a:pt x="1146" y="1183"/>
                    </a:lnTo>
                    <a:lnTo>
                      <a:pt x="1148" y="1183"/>
                    </a:lnTo>
                    <a:lnTo>
                      <a:pt x="1146" y="1183"/>
                    </a:lnTo>
                    <a:lnTo>
                      <a:pt x="1148" y="1183"/>
                    </a:lnTo>
                    <a:close/>
                    <a:moveTo>
                      <a:pt x="187" y="551"/>
                    </a:moveTo>
                    <a:lnTo>
                      <a:pt x="188" y="551"/>
                    </a:lnTo>
                    <a:lnTo>
                      <a:pt x="190" y="553"/>
                    </a:lnTo>
                    <a:lnTo>
                      <a:pt x="188" y="553"/>
                    </a:lnTo>
                    <a:lnTo>
                      <a:pt x="187" y="553"/>
                    </a:lnTo>
                    <a:lnTo>
                      <a:pt x="185" y="553"/>
                    </a:lnTo>
                    <a:lnTo>
                      <a:pt x="187" y="551"/>
                    </a:lnTo>
                    <a:close/>
                    <a:moveTo>
                      <a:pt x="740" y="788"/>
                    </a:moveTo>
                    <a:lnTo>
                      <a:pt x="741" y="788"/>
                    </a:lnTo>
                    <a:lnTo>
                      <a:pt x="741" y="791"/>
                    </a:lnTo>
                    <a:lnTo>
                      <a:pt x="740" y="791"/>
                    </a:lnTo>
                    <a:lnTo>
                      <a:pt x="740" y="788"/>
                    </a:lnTo>
                    <a:close/>
                    <a:moveTo>
                      <a:pt x="1342" y="826"/>
                    </a:moveTo>
                    <a:lnTo>
                      <a:pt x="1344" y="828"/>
                    </a:lnTo>
                    <a:lnTo>
                      <a:pt x="1344" y="826"/>
                    </a:lnTo>
                    <a:lnTo>
                      <a:pt x="1346" y="828"/>
                    </a:lnTo>
                    <a:lnTo>
                      <a:pt x="1344" y="828"/>
                    </a:lnTo>
                    <a:lnTo>
                      <a:pt x="1342" y="826"/>
                    </a:lnTo>
                    <a:close/>
                    <a:moveTo>
                      <a:pt x="1556" y="917"/>
                    </a:moveTo>
                    <a:lnTo>
                      <a:pt x="1556" y="919"/>
                    </a:lnTo>
                    <a:lnTo>
                      <a:pt x="1554" y="919"/>
                    </a:lnTo>
                    <a:lnTo>
                      <a:pt x="1554" y="921"/>
                    </a:lnTo>
                    <a:lnTo>
                      <a:pt x="1554" y="923"/>
                    </a:lnTo>
                    <a:lnTo>
                      <a:pt x="1552" y="923"/>
                    </a:lnTo>
                    <a:lnTo>
                      <a:pt x="1554" y="921"/>
                    </a:lnTo>
                    <a:lnTo>
                      <a:pt x="1554" y="919"/>
                    </a:lnTo>
                    <a:lnTo>
                      <a:pt x="1556" y="917"/>
                    </a:lnTo>
                    <a:close/>
                    <a:moveTo>
                      <a:pt x="564" y="581"/>
                    </a:moveTo>
                    <a:lnTo>
                      <a:pt x="566" y="581"/>
                    </a:lnTo>
                    <a:lnTo>
                      <a:pt x="566" y="583"/>
                    </a:lnTo>
                    <a:lnTo>
                      <a:pt x="564" y="583"/>
                    </a:lnTo>
                    <a:lnTo>
                      <a:pt x="562" y="583"/>
                    </a:lnTo>
                    <a:lnTo>
                      <a:pt x="564" y="581"/>
                    </a:lnTo>
                    <a:close/>
                    <a:moveTo>
                      <a:pt x="553" y="570"/>
                    </a:moveTo>
                    <a:lnTo>
                      <a:pt x="553" y="572"/>
                    </a:lnTo>
                    <a:lnTo>
                      <a:pt x="553" y="570"/>
                    </a:lnTo>
                    <a:lnTo>
                      <a:pt x="555" y="570"/>
                    </a:lnTo>
                    <a:lnTo>
                      <a:pt x="553" y="572"/>
                    </a:lnTo>
                    <a:lnTo>
                      <a:pt x="553" y="574"/>
                    </a:lnTo>
                    <a:lnTo>
                      <a:pt x="553" y="572"/>
                    </a:lnTo>
                    <a:lnTo>
                      <a:pt x="551" y="572"/>
                    </a:lnTo>
                    <a:lnTo>
                      <a:pt x="553" y="572"/>
                    </a:lnTo>
                    <a:lnTo>
                      <a:pt x="551" y="572"/>
                    </a:lnTo>
                    <a:lnTo>
                      <a:pt x="551" y="570"/>
                    </a:lnTo>
                    <a:lnTo>
                      <a:pt x="553" y="570"/>
                    </a:lnTo>
                    <a:close/>
                    <a:moveTo>
                      <a:pt x="332" y="435"/>
                    </a:moveTo>
                    <a:lnTo>
                      <a:pt x="333" y="435"/>
                    </a:lnTo>
                    <a:lnTo>
                      <a:pt x="333" y="438"/>
                    </a:lnTo>
                    <a:lnTo>
                      <a:pt x="332" y="438"/>
                    </a:lnTo>
                    <a:lnTo>
                      <a:pt x="332" y="435"/>
                    </a:lnTo>
                    <a:close/>
                    <a:moveTo>
                      <a:pt x="566" y="570"/>
                    </a:moveTo>
                    <a:lnTo>
                      <a:pt x="568" y="570"/>
                    </a:lnTo>
                    <a:lnTo>
                      <a:pt x="568" y="574"/>
                    </a:lnTo>
                    <a:lnTo>
                      <a:pt x="566" y="574"/>
                    </a:lnTo>
                    <a:lnTo>
                      <a:pt x="566" y="570"/>
                    </a:lnTo>
                    <a:close/>
                    <a:moveTo>
                      <a:pt x="240" y="551"/>
                    </a:moveTo>
                    <a:lnTo>
                      <a:pt x="240" y="553"/>
                    </a:lnTo>
                    <a:lnTo>
                      <a:pt x="238" y="553"/>
                    </a:lnTo>
                    <a:lnTo>
                      <a:pt x="236" y="553"/>
                    </a:lnTo>
                    <a:lnTo>
                      <a:pt x="238" y="553"/>
                    </a:lnTo>
                    <a:lnTo>
                      <a:pt x="240" y="551"/>
                    </a:lnTo>
                    <a:close/>
                    <a:moveTo>
                      <a:pt x="196" y="1314"/>
                    </a:moveTo>
                    <a:lnTo>
                      <a:pt x="198" y="1314"/>
                    </a:lnTo>
                    <a:lnTo>
                      <a:pt x="196" y="1314"/>
                    </a:lnTo>
                    <a:close/>
                    <a:moveTo>
                      <a:pt x="1594" y="860"/>
                    </a:moveTo>
                    <a:lnTo>
                      <a:pt x="1598" y="860"/>
                    </a:lnTo>
                    <a:lnTo>
                      <a:pt x="1598" y="864"/>
                    </a:lnTo>
                    <a:lnTo>
                      <a:pt x="1594" y="864"/>
                    </a:lnTo>
                    <a:lnTo>
                      <a:pt x="1594" y="860"/>
                    </a:lnTo>
                    <a:close/>
                    <a:moveTo>
                      <a:pt x="732" y="761"/>
                    </a:moveTo>
                    <a:lnTo>
                      <a:pt x="734" y="761"/>
                    </a:lnTo>
                    <a:lnTo>
                      <a:pt x="734" y="765"/>
                    </a:lnTo>
                    <a:lnTo>
                      <a:pt x="732" y="765"/>
                    </a:lnTo>
                    <a:lnTo>
                      <a:pt x="732" y="761"/>
                    </a:lnTo>
                    <a:close/>
                    <a:moveTo>
                      <a:pt x="290" y="467"/>
                    </a:moveTo>
                    <a:lnTo>
                      <a:pt x="291" y="467"/>
                    </a:lnTo>
                    <a:lnTo>
                      <a:pt x="291" y="471"/>
                    </a:lnTo>
                    <a:lnTo>
                      <a:pt x="290" y="471"/>
                    </a:lnTo>
                    <a:lnTo>
                      <a:pt x="290" y="467"/>
                    </a:lnTo>
                    <a:close/>
                    <a:moveTo>
                      <a:pt x="139" y="583"/>
                    </a:moveTo>
                    <a:lnTo>
                      <a:pt x="141" y="583"/>
                    </a:lnTo>
                    <a:lnTo>
                      <a:pt x="141" y="585"/>
                    </a:lnTo>
                    <a:lnTo>
                      <a:pt x="139" y="585"/>
                    </a:lnTo>
                    <a:lnTo>
                      <a:pt x="137" y="585"/>
                    </a:lnTo>
                    <a:lnTo>
                      <a:pt x="137" y="583"/>
                    </a:lnTo>
                    <a:lnTo>
                      <a:pt x="139" y="583"/>
                    </a:lnTo>
                    <a:close/>
                    <a:moveTo>
                      <a:pt x="5612" y="679"/>
                    </a:moveTo>
                    <a:lnTo>
                      <a:pt x="5612" y="681"/>
                    </a:lnTo>
                    <a:lnTo>
                      <a:pt x="5614" y="681"/>
                    </a:lnTo>
                    <a:lnTo>
                      <a:pt x="5612" y="681"/>
                    </a:lnTo>
                    <a:lnTo>
                      <a:pt x="5612" y="683"/>
                    </a:lnTo>
                    <a:lnTo>
                      <a:pt x="5612" y="681"/>
                    </a:lnTo>
                    <a:lnTo>
                      <a:pt x="5612" y="683"/>
                    </a:lnTo>
                    <a:lnTo>
                      <a:pt x="5612" y="681"/>
                    </a:lnTo>
                    <a:lnTo>
                      <a:pt x="5610" y="681"/>
                    </a:lnTo>
                    <a:lnTo>
                      <a:pt x="5610" y="679"/>
                    </a:lnTo>
                    <a:lnTo>
                      <a:pt x="5612" y="679"/>
                    </a:lnTo>
                    <a:close/>
                    <a:moveTo>
                      <a:pt x="270" y="431"/>
                    </a:moveTo>
                    <a:lnTo>
                      <a:pt x="272" y="433"/>
                    </a:lnTo>
                    <a:lnTo>
                      <a:pt x="272" y="435"/>
                    </a:lnTo>
                    <a:lnTo>
                      <a:pt x="270" y="435"/>
                    </a:lnTo>
                    <a:lnTo>
                      <a:pt x="270" y="436"/>
                    </a:lnTo>
                    <a:lnTo>
                      <a:pt x="270" y="435"/>
                    </a:lnTo>
                    <a:lnTo>
                      <a:pt x="270" y="436"/>
                    </a:lnTo>
                    <a:lnTo>
                      <a:pt x="269" y="436"/>
                    </a:lnTo>
                    <a:lnTo>
                      <a:pt x="270" y="436"/>
                    </a:lnTo>
                    <a:lnTo>
                      <a:pt x="270" y="435"/>
                    </a:lnTo>
                    <a:lnTo>
                      <a:pt x="270" y="433"/>
                    </a:lnTo>
                    <a:lnTo>
                      <a:pt x="270" y="431"/>
                    </a:lnTo>
                    <a:close/>
                    <a:moveTo>
                      <a:pt x="1180" y="1160"/>
                    </a:moveTo>
                    <a:lnTo>
                      <a:pt x="1180" y="1162"/>
                    </a:lnTo>
                    <a:lnTo>
                      <a:pt x="1174" y="1163"/>
                    </a:lnTo>
                    <a:lnTo>
                      <a:pt x="1176" y="1163"/>
                    </a:lnTo>
                    <a:lnTo>
                      <a:pt x="1176" y="1162"/>
                    </a:lnTo>
                    <a:lnTo>
                      <a:pt x="1178" y="1162"/>
                    </a:lnTo>
                    <a:lnTo>
                      <a:pt x="1176" y="1162"/>
                    </a:lnTo>
                    <a:lnTo>
                      <a:pt x="1178" y="1162"/>
                    </a:lnTo>
                    <a:lnTo>
                      <a:pt x="1176" y="1162"/>
                    </a:lnTo>
                    <a:lnTo>
                      <a:pt x="1178" y="1162"/>
                    </a:lnTo>
                    <a:lnTo>
                      <a:pt x="1180" y="1162"/>
                    </a:lnTo>
                    <a:lnTo>
                      <a:pt x="1178" y="1162"/>
                    </a:lnTo>
                    <a:lnTo>
                      <a:pt x="1180" y="1162"/>
                    </a:lnTo>
                    <a:lnTo>
                      <a:pt x="1178" y="1162"/>
                    </a:lnTo>
                    <a:lnTo>
                      <a:pt x="1178" y="1160"/>
                    </a:lnTo>
                    <a:lnTo>
                      <a:pt x="1180" y="1160"/>
                    </a:lnTo>
                    <a:close/>
                    <a:moveTo>
                      <a:pt x="68" y="215"/>
                    </a:moveTo>
                    <a:lnTo>
                      <a:pt x="66" y="217"/>
                    </a:lnTo>
                    <a:lnTo>
                      <a:pt x="65" y="217"/>
                    </a:lnTo>
                    <a:lnTo>
                      <a:pt x="63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1" y="219"/>
                    </a:lnTo>
                    <a:lnTo>
                      <a:pt x="59" y="219"/>
                    </a:lnTo>
                    <a:lnTo>
                      <a:pt x="55" y="221"/>
                    </a:lnTo>
                    <a:lnTo>
                      <a:pt x="61" y="217"/>
                    </a:lnTo>
                    <a:lnTo>
                      <a:pt x="68" y="215"/>
                    </a:lnTo>
                    <a:close/>
                    <a:moveTo>
                      <a:pt x="5568" y="681"/>
                    </a:moveTo>
                    <a:lnTo>
                      <a:pt x="5570" y="681"/>
                    </a:lnTo>
                    <a:lnTo>
                      <a:pt x="5570" y="683"/>
                    </a:lnTo>
                    <a:lnTo>
                      <a:pt x="5568" y="683"/>
                    </a:lnTo>
                    <a:lnTo>
                      <a:pt x="5568" y="681"/>
                    </a:lnTo>
                    <a:close/>
                    <a:moveTo>
                      <a:pt x="1380" y="1207"/>
                    </a:moveTo>
                    <a:lnTo>
                      <a:pt x="1382" y="1207"/>
                    </a:lnTo>
                    <a:lnTo>
                      <a:pt x="1382" y="1209"/>
                    </a:lnTo>
                    <a:lnTo>
                      <a:pt x="1382" y="1211"/>
                    </a:lnTo>
                    <a:lnTo>
                      <a:pt x="1382" y="1209"/>
                    </a:lnTo>
                    <a:lnTo>
                      <a:pt x="1380" y="1207"/>
                    </a:lnTo>
                    <a:close/>
                    <a:moveTo>
                      <a:pt x="738" y="782"/>
                    </a:moveTo>
                    <a:lnTo>
                      <a:pt x="740" y="782"/>
                    </a:lnTo>
                    <a:lnTo>
                      <a:pt x="740" y="786"/>
                    </a:lnTo>
                    <a:lnTo>
                      <a:pt x="738" y="786"/>
                    </a:lnTo>
                    <a:lnTo>
                      <a:pt x="738" y="782"/>
                    </a:lnTo>
                    <a:close/>
                    <a:moveTo>
                      <a:pt x="1487" y="1038"/>
                    </a:moveTo>
                    <a:lnTo>
                      <a:pt x="1487" y="1039"/>
                    </a:lnTo>
                    <a:lnTo>
                      <a:pt x="1487" y="1041"/>
                    </a:lnTo>
                    <a:lnTo>
                      <a:pt x="1487" y="1049"/>
                    </a:lnTo>
                    <a:lnTo>
                      <a:pt x="1485" y="1049"/>
                    </a:lnTo>
                    <a:lnTo>
                      <a:pt x="1483" y="1049"/>
                    </a:lnTo>
                    <a:lnTo>
                      <a:pt x="1485" y="1049"/>
                    </a:lnTo>
                    <a:lnTo>
                      <a:pt x="1485" y="1047"/>
                    </a:lnTo>
                    <a:lnTo>
                      <a:pt x="1487" y="1047"/>
                    </a:lnTo>
                    <a:lnTo>
                      <a:pt x="1487" y="1041"/>
                    </a:lnTo>
                    <a:lnTo>
                      <a:pt x="1487" y="1039"/>
                    </a:lnTo>
                    <a:lnTo>
                      <a:pt x="1487" y="1038"/>
                    </a:lnTo>
                    <a:close/>
                    <a:moveTo>
                      <a:pt x="1474" y="973"/>
                    </a:moveTo>
                    <a:lnTo>
                      <a:pt x="1474" y="975"/>
                    </a:lnTo>
                    <a:lnTo>
                      <a:pt x="1476" y="975"/>
                    </a:lnTo>
                    <a:lnTo>
                      <a:pt x="1474" y="975"/>
                    </a:lnTo>
                    <a:lnTo>
                      <a:pt x="1476" y="975"/>
                    </a:lnTo>
                    <a:lnTo>
                      <a:pt x="1474" y="975"/>
                    </a:lnTo>
                    <a:lnTo>
                      <a:pt x="1476" y="975"/>
                    </a:lnTo>
                    <a:lnTo>
                      <a:pt x="1474" y="975"/>
                    </a:lnTo>
                    <a:lnTo>
                      <a:pt x="1474" y="976"/>
                    </a:lnTo>
                    <a:lnTo>
                      <a:pt x="1474" y="975"/>
                    </a:lnTo>
                    <a:lnTo>
                      <a:pt x="1474" y="973"/>
                    </a:lnTo>
                    <a:close/>
                    <a:moveTo>
                      <a:pt x="579" y="555"/>
                    </a:moveTo>
                    <a:lnTo>
                      <a:pt x="581" y="555"/>
                    </a:lnTo>
                    <a:lnTo>
                      <a:pt x="581" y="559"/>
                    </a:lnTo>
                    <a:lnTo>
                      <a:pt x="579" y="559"/>
                    </a:lnTo>
                    <a:lnTo>
                      <a:pt x="579" y="555"/>
                    </a:lnTo>
                    <a:close/>
                    <a:moveTo>
                      <a:pt x="5526" y="677"/>
                    </a:moveTo>
                    <a:lnTo>
                      <a:pt x="5528" y="677"/>
                    </a:lnTo>
                    <a:lnTo>
                      <a:pt x="5528" y="679"/>
                    </a:lnTo>
                    <a:lnTo>
                      <a:pt x="5526" y="679"/>
                    </a:lnTo>
                    <a:lnTo>
                      <a:pt x="5526" y="677"/>
                    </a:lnTo>
                    <a:close/>
                    <a:moveTo>
                      <a:pt x="150" y="595"/>
                    </a:moveTo>
                    <a:lnTo>
                      <a:pt x="154" y="595"/>
                    </a:lnTo>
                    <a:lnTo>
                      <a:pt x="154" y="597"/>
                    </a:lnTo>
                    <a:lnTo>
                      <a:pt x="150" y="597"/>
                    </a:lnTo>
                    <a:lnTo>
                      <a:pt x="150" y="595"/>
                    </a:lnTo>
                    <a:close/>
                    <a:moveTo>
                      <a:pt x="530" y="498"/>
                    </a:moveTo>
                    <a:lnTo>
                      <a:pt x="532" y="499"/>
                    </a:lnTo>
                    <a:lnTo>
                      <a:pt x="530" y="499"/>
                    </a:lnTo>
                    <a:lnTo>
                      <a:pt x="530" y="498"/>
                    </a:lnTo>
                    <a:close/>
                    <a:moveTo>
                      <a:pt x="5707" y="656"/>
                    </a:moveTo>
                    <a:lnTo>
                      <a:pt x="5709" y="656"/>
                    </a:lnTo>
                    <a:lnTo>
                      <a:pt x="5709" y="658"/>
                    </a:lnTo>
                    <a:lnTo>
                      <a:pt x="5707" y="658"/>
                    </a:lnTo>
                    <a:lnTo>
                      <a:pt x="5707" y="656"/>
                    </a:lnTo>
                    <a:close/>
                    <a:moveTo>
                      <a:pt x="597" y="568"/>
                    </a:moveTo>
                    <a:lnTo>
                      <a:pt x="598" y="568"/>
                    </a:lnTo>
                    <a:lnTo>
                      <a:pt x="597" y="570"/>
                    </a:lnTo>
                    <a:lnTo>
                      <a:pt x="595" y="570"/>
                    </a:lnTo>
                    <a:lnTo>
                      <a:pt x="597" y="568"/>
                    </a:lnTo>
                    <a:close/>
                    <a:moveTo>
                      <a:pt x="1493" y="988"/>
                    </a:moveTo>
                    <a:lnTo>
                      <a:pt x="1491" y="992"/>
                    </a:lnTo>
                    <a:lnTo>
                      <a:pt x="1489" y="996"/>
                    </a:lnTo>
                    <a:lnTo>
                      <a:pt x="1489" y="997"/>
                    </a:lnTo>
                    <a:lnTo>
                      <a:pt x="1489" y="996"/>
                    </a:lnTo>
                    <a:lnTo>
                      <a:pt x="1489" y="997"/>
                    </a:lnTo>
                    <a:lnTo>
                      <a:pt x="1489" y="996"/>
                    </a:lnTo>
                    <a:lnTo>
                      <a:pt x="1491" y="994"/>
                    </a:lnTo>
                    <a:lnTo>
                      <a:pt x="1489" y="994"/>
                    </a:lnTo>
                    <a:lnTo>
                      <a:pt x="1491" y="994"/>
                    </a:lnTo>
                    <a:lnTo>
                      <a:pt x="1491" y="992"/>
                    </a:lnTo>
                    <a:lnTo>
                      <a:pt x="1493" y="992"/>
                    </a:lnTo>
                    <a:lnTo>
                      <a:pt x="1491" y="990"/>
                    </a:lnTo>
                    <a:lnTo>
                      <a:pt x="1493" y="990"/>
                    </a:lnTo>
                    <a:lnTo>
                      <a:pt x="1493" y="988"/>
                    </a:lnTo>
                    <a:close/>
                    <a:moveTo>
                      <a:pt x="1405" y="1177"/>
                    </a:moveTo>
                    <a:lnTo>
                      <a:pt x="1405" y="1179"/>
                    </a:lnTo>
                    <a:lnTo>
                      <a:pt x="1405" y="1181"/>
                    </a:lnTo>
                    <a:lnTo>
                      <a:pt x="1407" y="1183"/>
                    </a:lnTo>
                    <a:lnTo>
                      <a:pt x="1409" y="1186"/>
                    </a:lnTo>
                    <a:lnTo>
                      <a:pt x="1407" y="1186"/>
                    </a:lnTo>
                    <a:lnTo>
                      <a:pt x="1407" y="1184"/>
                    </a:lnTo>
                    <a:lnTo>
                      <a:pt x="1405" y="1181"/>
                    </a:lnTo>
                    <a:lnTo>
                      <a:pt x="1405" y="1179"/>
                    </a:lnTo>
                    <a:lnTo>
                      <a:pt x="1405" y="1177"/>
                    </a:lnTo>
                    <a:close/>
                    <a:moveTo>
                      <a:pt x="1247" y="803"/>
                    </a:moveTo>
                    <a:lnTo>
                      <a:pt x="1245" y="803"/>
                    </a:lnTo>
                    <a:lnTo>
                      <a:pt x="1245" y="805"/>
                    </a:lnTo>
                    <a:lnTo>
                      <a:pt x="1243" y="805"/>
                    </a:lnTo>
                    <a:lnTo>
                      <a:pt x="1245" y="803"/>
                    </a:lnTo>
                    <a:lnTo>
                      <a:pt x="1247" y="803"/>
                    </a:lnTo>
                    <a:close/>
                    <a:moveTo>
                      <a:pt x="333" y="423"/>
                    </a:moveTo>
                    <a:lnTo>
                      <a:pt x="335" y="423"/>
                    </a:lnTo>
                    <a:lnTo>
                      <a:pt x="335" y="427"/>
                    </a:lnTo>
                    <a:lnTo>
                      <a:pt x="333" y="427"/>
                    </a:lnTo>
                    <a:lnTo>
                      <a:pt x="333" y="423"/>
                    </a:lnTo>
                    <a:close/>
                    <a:moveTo>
                      <a:pt x="272" y="501"/>
                    </a:moveTo>
                    <a:lnTo>
                      <a:pt x="274" y="501"/>
                    </a:lnTo>
                    <a:lnTo>
                      <a:pt x="274" y="505"/>
                    </a:lnTo>
                    <a:lnTo>
                      <a:pt x="272" y="505"/>
                    </a:lnTo>
                    <a:lnTo>
                      <a:pt x="272" y="501"/>
                    </a:lnTo>
                    <a:close/>
                    <a:moveTo>
                      <a:pt x="5688" y="662"/>
                    </a:moveTo>
                    <a:lnTo>
                      <a:pt x="5690" y="662"/>
                    </a:lnTo>
                    <a:lnTo>
                      <a:pt x="5690" y="665"/>
                    </a:lnTo>
                    <a:lnTo>
                      <a:pt x="5688" y="665"/>
                    </a:lnTo>
                    <a:lnTo>
                      <a:pt x="5688" y="662"/>
                    </a:lnTo>
                    <a:close/>
                    <a:moveTo>
                      <a:pt x="1304" y="835"/>
                    </a:moveTo>
                    <a:lnTo>
                      <a:pt x="1306" y="835"/>
                    </a:lnTo>
                    <a:lnTo>
                      <a:pt x="1306" y="837"/>
                    </a:lnTo>
                    <a:lnTo>
                      <a:pt x="1304" y="837"/>
                    </a:lnTo>
                    <a:lnTo>
                      <a:pt x="1304" y="835"/>
                    </a:lnTo>
                    <a:close/>
                    <a:moveTo>
                      <a:pt x="1319" y="841"/>
                    </a:moveTo>
                    <a:lnTo>
                      <a:pt x="1321" y="841"/>
                    </a:lnTo>
                    <a:lnTo>
                      <a:pt x="1321" y="843"/>
                    </a:lnTo>
                    <a:lnTo>
                      <a:pt x="1319" y="843"/>
                    </a:lnTo>
                    <a:lnTo>
                      <a:pt x="1319" y="841"/>
                    </a:lnTo>
                    <a:close/>
                    <a:moveTo>
                      <a:pt x="557" y="570"/>
                    </a:moveTo>
                    <a:lnTo>
                      <a:pt x="558" y="570"/>
                    </a:lnTo>
                    <a:lnTo>
                      <a:pt x="558" y="572"/>
                    </a:lnTo>
                    <a:lnTo>
                      <a:pt x="557" y="572"/>
                    </a:lnTo>
                    <a:lnTo>
                      <a:pt x="557" y="570"/>
                    </a:lnTo>
                    <a:close/>
                    <a:moveTo>
                      <a:pt x="1308" y="809"/>
                    </a:moveTo>
                    <a:lnTo>
                      <a:pt x="1310" y="809"/>
                    </a:lnTo>
                    <a:lnTo>
                      <a:pt x="1310" y="812"/>
                    </a:lnTo>
                    <a:lnTo>
                      <a:pt x="1308" y="812"/>
                    </a:lnTo>
                    <a:lnTo>
                      <a:pt x="1308" y="809"/>
                    </a:lnTo>
                    <a:close/>
                    <a:moveTo>
                      <a:pt x="263" y="511"/>
                    </a:moveTo>
                    <a:lnTo>
                      <a:pt x="265" y="513"/>
                    </a:lnTo>
                    <a:lnTo>
                      <a:pt x="263" y="513"/>
                    </a:lnTo>
                    <a:lnTo>
                      <a:pt x="263" y="511"/>
                    </a:lnTo>
                    <a:lnTo>
                      <a:pt x="261" y="513"/>
                    </a:lnTo>
                    <a:lnTo>
                      <a:pt x="263" y="511"/>
                    </a:lnTo>
                    <a:close/>
                    <a:moveTo>
                      <a:pt x="343" y="425"/>
                    </a:moveTo>
                    <a:lnTo>
                      <a:pt x="343" y="427"/>
                    </a:lnTo>
                    <a:lnTo>
                      <a:pt x="345" y="425"/>
                    </a:lnTo>
                    <a:lnTo>
                      <a:pt x="345" y="427"/>
                    </a:lnTo>
                    <a:lnTo>
                      <a:pt x="343" y="427"/>
                    </a:lnTo>
                    <a:lnTo>
                      <a:pt x="341" y="427"/>
                    </a:lnTo>
                    <a:lnTo>
                      <a:pt x="343" y="427"/>
                    </a:lnTo>
                    <a:lnTo>
                      <a:pt x="341" y="427"/>
                    </a:lnTo>
                    <a:lnTo>
                      <a:pt x="343" y="427"/>
                    </a:lnTo>
                    <a:lnTo>
                      <a:pt x="341" y="425"/>
                    </a:lnTo>
                    <a:lnTo>
                      <a:pt x="343" y="425"/>
                    </a:lnTo>
                    <a:close/>
                    <a:moveTo>
                      <a:pt x="347" y="417"/>
                    </a:moveTo>
                    <a:lnTo>
                      <a:pt x="347" y="419"/>
                    </a:lnTo>
                    <a:lnTo>
                      <a:pt x="349" y="419"/>
                    </a:lnTo>
                    <a:lnTo>
                      <a:pt x="347" y="419"/>
                    </a:lnTo>
                    <a:lnTo>
                      <a:pt x="349" y="419"/>
                    </a:lnTo>
                    <a:lnTo>
                      <a:pt x="347" y="419"/>
                    </a:lnTo>
                    <a:lnTo>
                      <a:pt x="345" y="419"/>
                    </a:lnTo>
                    <a:lnTo>
                      <a:pt x="347" y="419"/>
                    </a:lnTo>
                    <a:lnTo>
                      <a:pt x="347" y="417"/>
                    </a:lnTo>
                    <a:close/>
                    <a:moveTo>
                      <a:pt x="162" y="570"/>
                    </a:moveTo>
                    <a:lnTo>
                      <a:pt x="164" y="572"/>
                    </a:lnTo>
                    <a:lnTo>
                      <a:pt x="164" y="574"/>
                    </a:lnTo>
                    <a:lnTo>
                      <a:pt x="164" y="572"/>
                    </a:lnTo>
                    <a:lnTo>
                      <a:pt x="162" y="572"/>
                    </a:lnTo>
                    <a:lnTo>
                      <a:pt x="160" y="574"/>
                    </a:lnTo>
                    <a:lnTo>
                      <a:pt x="162" y="574"/>
                    </a:lnTo>
                    <a:lnTo>
                      <a:pt x="160" y="574"/>
                    </a:lnTo>
                    <a:lnTo>
                      <a:pt x="160" y="572"/>
                    </a:lnTo>
                    <a:lnTo>
                      <a:pt x="162" y="570"/>
                    </a:lnTo>
                    <a:close/>
                    <a:moveTo>
                      <a:pt x="333" y="446"/>
                    </a:moveTo>
                    <a:lnTo>
                      <a:pt x="333" y="448"/>
                    </a:lnTo>
                    <a:lnTo>
                      <a:pt x="332" y="450"/>
                    </a:lnTo>
                    <a:lnTo>
                      <a:pt x="330" y="450"/>
                    </a:lnTo>
                    <a:lnTo>
                      <a:pt x="332" y="450"/>
                    </a:lnTo>
                    <a:lnTo>
                      <a:pt x="330" y="450"/>
                    </a:lnTo>
                    <a:lnTo>
                      <a:pt x="332" y="448"/>
                    </a:lnTo>
                    <a:lnTo>
                      <a:pt x="330" y="448"/>
                    </a:lnTo>
                    <a:lnTo>
                      <a:pt x="332" y="448"/>
                    </a:lnTo>
                    <a:lnTo>
                      <a:pt x="332" y="450"/>
                    </a:lnTo>
                    <a:lnTo>
                      <a:pt x="332" y="448"/>
                    </a:lnTo>
                    <a:lnTo>
                      <a:pt x="333" y="446"/>
                    </a:lnTo>
                    <a:close/>
                    <a:moveTo>
                      <a:pt x="572" y="551"/>
                    </a:moveTo>
                    <a:lnTo>
                      <a:pt x="574" y="551"/>
                    </a:lnTo>
                    <a:lnTo>
                      <a:pt x="574" y="553"/>
                    </a:lnTo>
                    <a:lnTo>
                      <a:pt x="572" y="553"/>
                    </a:lnTo>
                    <a:lnTo>
                      <a:pt x="572" y="551"/>
                    </a:lnTo>
                    <a:close/>
                    <a:moveTo>
                      <a:pt x="1592" y="864"/>
                    </a:moveTo>
                    <a:lnTo>
                      <a:pt x="1594" y="864"/>
                    </a:lnTo>
                    <a:lnTo>
                      <a:pt x="1594" y="866"/>
                    </a:lnTo>
                    <a:lnTo>
                      <a:pt x="1592" y="866"/>
                    </a:lnTo>
                    <a:lnTo>
                      <a:pt x="1592" y="864"/>
                    </a:lnTo>
                    <a:close/>
                    <a:moveTo>
                      <a:pt x="154" y="597"/>
                    </a:moveTo>
                    <a:lnTo>
                      <a:pt x="156" y="597"/>
                    </a:lnTo>
                    <a:lnTo>
                      <a:pt x="156" y="601"/>
                    </a:lnTo>
                    <a:lnTo>
                      <a:pt x="154" y="601"/>
                    </a:lnTo>
                    <a:lnTo>
                      <a:pt x="154" y="597"/>
                    </a:lnTo>
                    <a:close/>
                    <a:moveTo>
                      <a:pt x="116" y="589"/>
                    </a:moveTo>
                    <a:lnTo>
                      <a:pt x="118" y="589"/>
                    </a:lnTo>
                    <a:lnTo>
                      <a:pt x="118" y="591"/>
                    </a:lnTo>
                    <a:lnTo>
                      <a:pt x="116" y="591"/>
                    </a:lnTo>
                    <a:lnTo>
                      <a:pt x="116" y="589"/>
                    </a:lnTo>
                    <a:close/>
                    <a:moveTo>
                      <a:pt x="1184" y="1156"/>
                    </a:moveTo>
                    <a:lnTo>
                      <a:pt x="1182" y="1158"/>
                    </a:lnTo>
                    <a:lnTo>
                      <a:pt x="1180" y="1160"/>
                    </a:lnTo>
                    <a:lnTo>
                      <a:pt x="1182" y="1158"/>
                    </a:lnTo>
                    <a:lnTo>
                      <a:pt x="1184" y="1158"/>
                    </a:lnTo>
                    <a:lnTo>
                      <a:pt x="1184" y="1156"/>
                    </a:lnTo>
                    <a:close/>
                    <a:moveTo>
                      <a:pt x="1510" y="934"/>
                    </a:moveTo>
                    <a:lnTo>
                      <a:pt x="1512" y="934"/>
                    </a:lnTo>
                    <a:lnTo>
                      <a:pt x="1512" y="938"/>
                    </a:lnTo>
                    <a:lnTo>
                      <a:pt x="1510" y="938"/>
                    </a:lnTo>
                    <a:lnTo>
                      <a:pt x="1510" y="934"/>
                    </a:lnTo>
                    <a:close/>
                    <a:moveTo>
                      <a:pt x="732" y="791"/>
                    </a:moveTo>
                    <a:lnTo>
                      <a:pt x="734" y="791"/>
                    </a:lnTo>
                    <a:lnTo>
                      <a:pt x="734" y="795"/>
                    </a:lnTo>
                    <a:lnTo>
                      <a:pt x="732" y="795"/>
                    </a:lnTo>
                    <a:lnTo>
                      <a:pt x="732" y="791"/>
                    </a:lnTo>
                    <a:close/>
                    <a:moveTo>
                      <a:pt x="5707" y="652"/>
                    </a:moveTo>
                    <a:lnTo>
                      <a:pt x="5709" y="652"/>
                    </a:lnTo>
                    <a:lnTo>
                      <a:pt x="5709" y="654"/>
                    </a:lnTo>
                    <a:lnTo>
                      <a:pt x="5707" y="654"/>
                    </a:lnTo>
                    <a:lnTo>
                      <a:pt x="5707" y="652"/>
                    </a:lnTo>
                    <a:close/>
                    <a:moveTo>
                      <a:pt x="785" y="1087"/>
                    </a:moveTo>
                    <a:lnTo>
                      <a:pt x="789" y="1087"/>
                    </a:lnTo>
                    <a:lnTo>
                      <a:pt x="785" y="1087"/>
                    </a:lnTo>
                    <a:close/>
                    <a:moveTo>
                      <a:pt x="257" y="509"/>
                    </a:moveTo>
                    <a:lnTo>
                      <a:pt x="259" y="509"/>
                    </a:lnTo>
                    <a:lnTo>
                      <a:pt x="259" y="513"/>
                    </a:lnTo>
                    <a:lnTo>
                      <a:pt x="257" y="513"/>
                    </a:lnTo>
                    <a:lnTo>
                      <a:pt x="257" y="509"/>
                    </a:lnTo>
                    <a:close/>
                    <a:moveTo>
                      <a:pt x="5713" y="650"/>
                    </a:moveTo>
                    <a:lnTo>
                      <a:pt x="5715" y="650"/>
                    </a:lnTo>
                    <a:lnTo>
                      <a:pt x="5715" y="652"/>
                    </a:lnTo>
                    <a:lnTo>
                      <a:pt x="5713" y="652"/>
                    </a:lnTo>
                    <a:lnTo>
                      <a:pt x="5713" y="650"/>
                    </a:lnTo>
                    <a:close/>
                    <a:moveTo>
                      <a:pt x="352" y="419"/>
                    </a:moveTo>
                    <a:lnTo>
                      <a:pt x="354" y="419"/>
                    </a:lnTo>
                    <a:lnTo>
                      <a:pt x="354" y="421"/>
                    </a:lnTo>
                    <a:lnTo>
                      <a:pt x="352" y="421"/>
                    </a:lnTo>
                    <a:lnTo>
                      <a:pt x="352" y="419"/>
                    </a:lnTo>
                    <a:close/>
                    <a:moveTo>
                      <a:pt x="1472" y="1053"/>
                    </a:moveTo>
                    <a:lnTo>
                      <a:pt x="1474" y="1053"/>
                    </a:lnTo>
                    <a:lnTo>
                      <a:pt x="1474" y="1055"/>
                    </a:lnTo>
                    <a:lnTo>
                      <a:pt x="1472" y="1055"/>
                    </a:lnTo>
                    <a:lnTo>
                      <a:pt x="1472" y="1053"/>
                    </a:lnTo>
                    <a:close/>
                    <a:moveTo>
                      <a:pt x="1563" y="896"/>
                    </a:moveTo>
                    <a:lnTo>
                      <a:pt x="1565" y="896"/>
                    </a:lnTo>
                    <a:lnTo>
                      <a:pt x="1565" y="898"/>
                    </a:lnTo>
                    <a:lnTo>
                      <a:pt x="1563" y="898"/>
                    </a:lnTo>
                    <a:lnTo>
                      <a:pt x="1563" y="896"/>
                    </a:lnTo>
                    <a:close/>
                    <a:moveTo>
                      <a:pt x="532" y="532"/>
                    </a:moveTo>
                    <a:lnTo>
                      <a:pt x="534" y="532"/>
                    </a:lnTo>
                    <a:lnTo>
                      <a:pt x="534" y="534"/>
                    </a:lnTo>
                    <a:lnTo>
                      <a:pt x="532" y="534"/>
                    </a:lnTo>
                    <a:lnTo>
                      <a:pt x="532" y="532"/>
                    </a:lnTo>
                    <a:close/>
                    <a:moveTo>
                      <a:pt x="581" y="549"/>
                    </a:moveTo>
                    <a:lnTo>
                      <a:pt x="583" y="549"/>
                    </a:lnTo>
                    <a:lnTo>
                      <a:pt x="583" y="551"/>
                    </a:lnTo>
                    <a:lnTo>
                      <a:pt x="581" y="551"/>
                    </a:lnTo>
                    <a:lnTo>
                      <a:pt x="581" y="549"/>
                    </a:lnTo>
                    <a:close/>
                    <a:moveTo>
                      <a:pt x="63" y="419"/>
                    </a:moveTo>
                    <a:lnTo>
                      <a:pt x="65" y="419"/>
                    </a:lnTo>
                    <a:lnTo>
                      <a:pt x="65" y="421"/>
                    </a:lnTo>
                    <a:lnTo>
                      <a:pt x="63" y="421"/>
                    </a:lnTo>
                    <a:lnTo>
                      <a:pt x="63" y="419"/>
                    </a:lnTo>
                    <a:close/>
                    <a:moveTo>
                      <a:pt x="530" y="530"/>
                    </a:moveTo>
                    <a:lnTo>
                      <a:pt x="532" y="530"/>
                    </a:lnTo>
                    <a:lnTo>
                      <a:pt x="532" y="532"/>
                    </a:lnTo>
                    <a:lnTo>
                      <a:pt x="530" y="532"/>
                    </a:lnTo>
                    <a:lnTo>
                      <a:pt x="530" y="530"/>
                    </a:lnTo>
                    <a:close/>
                    <a:moveTo>
                      <a:pt x="5612" y="679"/>
                    </a:moveTo>
                    <a:lnTo>
                      <a:pt x="5614" y="679"/>
                    </a:lnTo>
                    <a:lnTo>
                      <a:pt x="5614" y="681"/>
                    </a:lnTo>
                    <a:lnTo>
                      <a:pt x="5612" y="681"/>
                    </a:lnTo>
                    <a:lnTo>
                      <a:pt x="5612" y="679"/>
                    </a:lnTo>
                    <a:close/>
                    <a:moveTo>
                      <a:pt x="585" y="566"/>
                    </a:moveTo>
                    <a:lnTo>
                      <a:pt x="587" y="566"/>
                    </a:lnTo>
                    <a:lnTo>
                      <a:pt x="587" y="570"/>
                    </a:lnTo>
                    <a:lnTo>
                      <a:pt x="585" y="570"/>
                    </a:lnTo>
                    <a:lnTo>
                      <a:pt x="585" y="566"/>
                    </a:lnTo>
                    <a:close/>
                    <a:moveTo>
                      <a:pt x="1394" y="1223"/>
                    </a:moveTo>
                    <a:lnTo>
                      <a:pt x="1396" y="1223"/>
                    </a:lnTo>
                    <a:lnTo>
                      <a:pt x="1396" y="1225"/>
                    </a:lnTo>
                    <a:lnTo>
                      <a:pt x="1394" y="1225"/>
                    </a:lnTo>
                    <a:lnTo>
                      <a:pt x="1394" y="1223"/>
                    </a:lnTo>
                    <a:close/>
                    <a:moveTo>
                      <a:pt x="59" y="622"/>
                    </a:moveTo>
                    <a:lnTo>
                      <a:pt x="55" y="622"/>
                    </a:lnTo>
                    <a:lnTo>
                      <a:pt x="59" y="622"/>
                    </a:lnTo>
                    <a:close/>
                    <a:moveTo>
                      <a:pt x="341" y="438"/>
                    </a:moveTo>
                    <a:lnTo>
                      <a:pt x="345" y="438"/>
                    </a:lnTo>
                    <a:lnTo>
                      <a:pt x="345" y="440"/>
                    </a:lnTo>
                    <a:lnTo>
                      <a:pt x="341" y="440"/>
                    </a:lnTo>
                    <a:lnTo>
                      <a:pt x="341" y="438"/>
                    </a:lnTo>
                    <a:close/>
                    <a:moveTo>
                      <a:pt x="240" y="522"/>
                    </a:moveTo>
                    <a:lnTo>
                      <a:pt x="242" y="522"/>
                    </a:lnTo>
                    <a:lnTo>
                      <a:pt x="242" y="526"/>
                    </a:lnTo>
                    <a:lnTo>
                      <a:pt x="240" y="526"/>
                    </a:lnTo>
                    <a:lnTo>
                      <a:pt x="240" y="522"/>
                    </a:lnTo>
                    <a:close/>
                    <a:moveTo>
                      <a:pt x="587" y="566"/>
                    </a:moveTo>
                    <a:lnTo>
                      <a:pt x="589" y="566"/>
                    </a:lnTo>
                    <a:lnTo>
                      <a:pt x="589" y="568"/>
                    </a:lnTo>
                    <a:lnTo>
                      <a:pt x="587" y="568"/>
                    </a:lnTo>
                    <a:lnTo>
                      <a:pt x="587" y="566"/>
                    </a:lnTo>
                    <a:close/>
                    <a:moveTo>
                      <a:pt x="45" y="229"/>
                    </a:moveTo>
                    <a:lnTo>
                      <a:pt x="44" y="229"/>
                    </a:lnTo>
                    <a:lnTo>
                      <a:pt x="42" y="229"/>
                    </a:lnTo>
                    <a:lnTo>
                      <a:pt x="40" y="230"/>
                    </a:lnTo>
                    <a:lnTo>
                      <a:pt x="38" y="232"/>
                    </a:lnTo>
                    <a:lnTo>
                      <a:pt x="40" y="230"/>
                    </a:lnTo>
                    <a:lnTo>
                      <a:pt x="44" y="229"/>
                    </a:lnTo>
                    <a:lnTo>
                      <a:pt x="45" y="229"/>
                    </a:lnTo>
                    <a:close/>
                    <a:moveTo>
                      <a:pt x="1333" y="1154"/>
                    </a:moveTo>
                    <a:lnTo>
                      <a:pt x="1335" y="1154"/>
                    </a:lnTo>
                    <a:lnTo>
                      <a:pt x="1333" y="1154"/>
                    </a:lnTo>
                    <a:close/>
                    <a:moveTo>
                      <a:pt x="1472" y="1051"/>
                    </a:moveTo>
                    <a:lnTo>
                      <a:pt x="1472" y="1055"/>
                    </a:lnTo>
                    <a:lnTo>
                      <a:pt x="1472" y="1051"/>
                    </a:lnTo>
                    <a:close/>
                    <a:moveTo>
                      <a:pt x="1245" y="799"/>
                    </a:moveTo>
                    <a:lnTo>
                      <a:pt x="1249" y="799"/>
                    </a:lnTo>
                    <a:lnTo>
                      <a:pt x="1249" y="801"/>
                    </a:lnTo>
                    <a:lnTo>
                      <a:pt x="1245" y="801"/>
                    </a:lnTo>
                    <a:lnTo>
                      <a:pt x="1245" y="799"/>
                    </a:lnTo>
                    <a:close/>
                    <a:moveTo>
                      <a:pt x="1483" y="1036"/>
                    </a:moveTo>
                    <a:lnTo>
                      <a:pt x="1485" y="1036"/>
                    </a:lnTo>
                    <a:lnTo>
                      <a:pt x="1485" y="1038"/>
                    </a:lnTo>
                    <a:lnTo>
                      <a:pt x="1483" y="1038"/>
                    </a:lnTo>
                    <a:lnTo>
                      <a:pt x="1483" y="1036"/>
                    </a:lnTo>
                    <a:close/>
                    <a:moveTo>
                      <a:pt x="1380" y="1209"/>
                    </a:moveTo>
                    <a:lnTo>
                      <a:pt x="1380" y="1211"/>
                    </a:lnTo>
                    <a:lnTo>
                      <a:pt x="1382" y="1211"/>
                    </a:lnTo>
                    <a:lnTo>
                      <a:pt x="1384" y="1211"/>
                    </a:lnTo>
                    <a:lnTo>
                      <a:pt x="1382" y="1213"/>
                    </a:lnTo>
                    <a:lnTo>
                      <a:pt x="1382" y="1211"/>
                    </a:lnTo>
                    <a:lnTo>
                      <a:pt x="1380" y="1211"/>
                    </a:lnTo>
                    <a:lnTo>
                      <a:pt x="1380" y="1209"/>
                    </a:lnTo>
                    <a:close/>
                    <a:moveTo>
                      <a:pt x="1409" y="1186"/>
                    </a:moveTo>
                    <a:lnTo>
                      <a:pt x="1409" y="1188"/>
                    </a:lnTo>
                    <a:lnTo>
                      <a:pt x="1411" y="1194"/>
                    </a:lnTo>
                    <a:lnTo>
                      <a:pt x="1411" y="1192"/>
                    </a:lnTo>
                    <a:lnTo>
                      <a:pt x="1411" y="1194"/>
                    </a:lnTo>
                    <a:lnTo>
                      <a:pt x="1411" y="1192"/>
                    </a:lnTo>
                    <a:lnTo>
                      <a:pt x="1409" y="1192"/>
                    </a:lnTo>
                    <a:lnTo>
                      <a:pt x="1411" y="1192"/>
                    </a:lnTo>
                    <a:lnTo>
                      <a:pt x="1409" y="1192"/>
                    </a:lnTo>
                    <a:lnTo>
                      <a:pt x="1411" y="1192"/>
                    </a:lnTo>
                    <a:lnTo>
                      <a:pt x="1409" y="1192"/>
                    </a:lnTo>
                    <a:lnTo>
                      <a:pt x="1409" y="1190"/>
                    </a:lnTo>
                    <a:lnTo>
                      <a:pt x="1409" y="1188"/>
                    </a:lnTo>
                    <a:lnTo>
                      <a:pt x="1409" y="1186"/>
                    </a:lnTo>
                    <a:lnTo>
                      <a:pt x="1409" y="1188"/>
                    </a:lnTo>
                    <a:lnTo>
                      <a:pt x="1409" y="1186"/>
                    </a:lnTo>
                    <a:close/>
                    <a:moveTo>
                      <a:pt x="120" y="589"/>
                    </a:moveTo>
                    <a:lnTo>
                      <a:pt x="122" y="589"/>
                    </a:lnTo>
                    <a:lnTo>
                      <a:pt x="122" y="591"/>
                    </a:lnTo>
                    <a:lnTo>
                      <a:pt x="120" y="591"/>
                    </a:lnTo>
                    <a:lnTo>
                      <a:pt x="120" y="589"/>
                    </a:lnTo>
                    <a:close/>
                    <a:moveTo>
                      <a:pt x="265" y="480"/>
                    </a:moveTo>
                    <a:lnTo>
                      <a:pt x="267" y="480"/>
                    </a:lnTo>
                    <a:lnTo>
                      <a:pt x="269" y="480"/>
                    </a:lnTo>
                    <a:lnTo>
                      <a:pt x="267" y="482"/>
                    </a:lnTo>
                    <a:lnTo>
                      <a:pt x="265" y="482"/>
                    </a:lnTo>
                    <a:lnTo>
                      <a:pt x="265" y="480"/>
                    </a:lnTo>
                    <a:close/>
                    <a:moveTo>
                      <a:pt x="5520" y="675"/>
                    </a:moveTo>
                    <a:lnTo>
                      <a:pt x="5522" y="675"/>
                    </a:lnTo>
                    <a:lnTo>
                      <a:pt x="5522" y="677"/>
                    </a:lnTo>
                    <a:lnTo>
                      <a:pt x="5520" y="677"/>
                    </a:lnTo>
                    <a:lnTo>
                      <a:pt x="5520" y="675"/>
                    </a:lnTo>
                    <a:close/>
                    <a:moveTo>
                      <a:pt x="5564" y="694"/>
                    </a:moveTo>
                    <a:lnTo>
                      <a:pt x="5566" y="694"/>
                    </a:lnTo>
                    <a:lnTo>
                      <a:pt x="5566" y="696"/>
                    </a:lnTo>
                    <a:lnTo>
                      <a:pt x="5564" y="696"/>
                    </a:lnTo>
                    <a:lnTo>
                      <a:pt x="5564" y="694"/>
                    </a:lnTo>
                    <a:close/>
                    <a:moveTo>
                      <a:pt x="148" y="601"/>
                    </a:moveTo>
                    <a:lnTo>
                      <a:pt x="150" y="601"/>
                    </a:lnTo>
                    <a:lnTo>
                      <a:pt x="150" y="602"/>
                    </a:lnTo>
                    <a:lnTo>
                      <a:pt x="148" y="602"/>
                    </a:lnTo>
                    <a:lnTo>
                      <a:pt x="148" y="601"/>
                    </a:lnTo>
                    <a:close/>
                    <a:moveTo>
                      <a:pt x="579" y="549"/>
                    </a:moveTo>
                    <a:lnTo>
                      <a:pt x="581" y="549"/>
                    </a:lnTo>
                    <a:lnTo>
                      <a:pt x="581" y="551"/>
                    </a:lnTo>
                    <a:lnTo>
                      <a:pt x="579" y="551"/>
                    </a:lnTo>
                    <a:lnTo>
                      <a:pt x="579" y="549"/>
                    </a:lnTo>
                    <a:close/>
                    <a:moveTo>
                      <a:pt x="572" y="564"/>
                    </a:moveTo>
                    <a:lnTo>
                      <a:pt x="572" y="566"/>
                    </a:lnTo>
                    <a:lnTo>
                      <a:pt x="572" y="564"/>
                    </a:lnTo>
                    <a:close/>
                    <a:moveTo>
                      <a:pt x="255" y="499"/>
                    </a:moveTo>
                    <a:lnTo>
                      <a:pt x="257" y="499"/>
                    </a:lnTo>
                    <a:lnTo>
                      <a:pt x="257" y="501"/>
                    </a:lnTo>
                    <a:lnTo>
                      <a:pt x="255" y="501"/>
                    </a:lnTo>
                    <a:lnTo>
                      <a:pt x="255" y="499"/>
                    </a:lnTo>
                    <a:close/>
                    <a:moveTo>
                      <a:pt x="522" y="499"/>
                    </a:moveTo>
                    <a:lnTo>
                      <a:pt x="524" y="499"/>
                    </a:lnTo>
                    <a:lnTo>
                      <a:pt x="524" y="501"/>
                    </a:lnTo>
                    <a:lnTo>
                      <a:pt x="522" y="501"/>
                    </a:lnTo>
                    <a:lnTo>
                      <a:pt x="522" y="499"/>
                    </a:lnTo>
                    <a:close/>
                    <a:moveTo>
                      <a:pt x="84" y="213"/>
                    </a:moveTo>
                    <a:lnTo>
                      <a:pt x="86" y="215"/>
                    </a:lnTo>
                    <a:lnTo>
                      <a:pt x="82" y="213"/>
                    </a:lnTo>
                    <a:lnTo>
                      <a:pt x="84" y="213"/>
                    </a:lnTo>
                    <a:close/>
                    <a:moveTo>
                      <a:pt x="1140" y="1209"/>
                    </a:moveTo>
                    <a:lnTo>
                      <a:pt x="1142" y="1213"/>
                    </a:lnTo>
                    <a:lnTo>
                      <a:pt x="1142" y="1215"/>
                    </a:lnTo>
                    <a:lnTo>
                      <a:pt x="1142" y="1219"/>
                    </a:lnTo>
                    <a:lnTo>
                      <a:pt x="1142" y="1217"/>
                    </a:lnTo>
                    <a:lnTo>
                      <a:pt x="1142" y="1215"/>
                    </a:lnTo>
                    <a:lnTo>
                      <a:pt x="1142" y="1213"/>
                    </a:lnTo>
                    <a:lnTo>
                      <a:pt x="1140" y="1213"/>
                    </a:lnTo>
                    <a:lnTo>
                      <a:pt x="1142" y="1211"/>
                    </a:lnTo>
                    <a:lnTo>
                      <a:pt x="1140" y="1211"/>
                    </a:lnTo>
                    <a:lnTo>
                      <a:pt x="1142" y="1211"/>
                    </a:lnTo>
                    <a:lnTo>
                      <a:pt x="1140" y="1211"/>
                    </a:lnTo>
                    <a:lnTo>
                      <a:pt x="1140" y="1209"/>
                    </a:lnTo>
                    <a:lnTo>
                      <a:pt x="1140" y="1211"/>
                    </a:lnTo>
                    <a:lnTo>
                      <a:pt x="1140" y="1209"/>
                    </a:lnTo>
                    <a:close/>
                    <a:moveTo>
                      <a:pt x="532" y="532"/>
                    </a:moveTo>
                    <a:lnTo>
                      <a:pt x="534" y="532"/>
                    </a:lnTo>
                    <a:lnTo>
                      <a:pt x="534" y="536"/>
                    </a:lnTo>
                    <a:lnTo>
                      <a:pt x="532" y="536"/>
                    </a:lnTo>
                    <a:lnTo>
                      <a:pt x="532" y="532"/>
                    </a:lnTo>
                    <a:close/>
                    <a:moveTo>
                      <a:pt x="1268" y="1160"/>
                    </a:moveTo>
                    <a:lnTo>
                      <a:pt x="1270" y="1160"/>
                    </a:lnTo>
                    <a:lnTo>
                      <a:pt x="1270" y="1162"/>
                    </a:lnTo>
                    <a:lnTo>
                      <a:pt x="1268" y="1162"/>
                    </a:lnTo>
                    <a:lnTo>
                      <a:pt x="1268" y="1160"/>
                    </a:lnTo>
                    <a:close/>
                    <a:moveTo>
                      <a:pt x="1310" y="1141"/>
                    </a:moveTo>
                    <a:lnTo>
                      <a:pt x="1312" y="1141"/>
                    </a:lnTo>
                    <a:lnTo>
                      <a:pt x="1308" y="1141"/>
                    </a:lnTo>
                    <a:lnTo>
                      <a:pt x="1300" y="1142"/>
                    </a:lnTo>
                    <a:lnTo>
                      <a:pt x="1298" y="1142"/>
                    </a:lnTo>
                    <a:lnTo>
                      <a:pt x="1300" y="1142"/>
                    </a:lnTo>
                    <a:lnTo>
                      <a:pt x="1302" y="1141"/>
                    </a:lnTo>
                    <a:lnTo>
                      <a:pt x="1306" y="1141"/>
                    </a:lnTo>
                    <a:lnTo>
                      <a:pt x="1310" y="1141"/>
                    </a:lnTo>
                    <a:close/>
                    <a:moveTo>
                      <a:pt x="520" y="519"/>
                    </a:moveTo>
                    <a:lnTo>
                      <a:pt x="522" y="519"/>
                    </a:lnTo>
                    <a:lnTo>
                      <a:pt x="522" y="520"/>
                    </a:lnTo>
                    <a:lnTo>
                      <a:pt x="520" y="520"/>
                    </a:lnTo>
                    <a:lnTo>
                      <a:pt x="520" y="519"/>
                    </a:lnTo>
                    <a:close/>
                    <a:moveTo>
                      <a:pt x="5566" y="692"/>
                    </a:moveTo>
                    <a:lnTo>
                      <a:pt x="5568" y="692"/>
                    </a:lnTo>
                    <a:lnTo>
                      <a:pt x="5568" y="694"/>
                    </a:lnTo>
                    <a:lnTo>
                      <a:pt x="5566" y="694"/>
                    </a:lnTo>
                    <a:lnTo>
                      <a:pt x="5566" y="692"/>
                    </a:lnTo>
                    <a:close/>
                    <a:moveTo>
                      <a:pt x="381" y="431"/>
                    </a:moveTo>
                    <a:lnTo>
                      <a:pt x="383" y="431"/>
                    </a:lnTo>
                    <a:lnTo>
                      <a:pt x="383" y="435"/>
                    </a:lnTo>
                    <a:lnTo>
                      <a:pt x="381" y="435"/>
                    </a:lnTo>
                    <a:lnTo>
                      <a:pt x="381" y="431"/>
                    </a:lnTo>
                    <a:close/>
                    <a:moveTo>
                      <a:pt x="259" y="442"/>
                    </a:moveTo>
                    <a:lnTo>
                      <a:pt x="261" y="442"/>
                    </a:lnTo>
                    <a:lnTo>
                      <a:pt x="261" y="444"/>
                    </a:lnTo>
                    <a:lnTo>
                      <a:pt x="259" y="444"/>
                    </a:lnTo>
                    <a:lnTo>
                      <a:pt x="259" y="442"/>
                    </a:lnTo>
                    <a:close/>
                    <a:moveTo>
                      <a:pt x="404" y="61"/>
                    </a:moveTo>
                    <a:lnTo>
                      <a:pt x="402" y="62"/>
                    </a:lnTo>
                    <a:lnTo>
                      <a:pt x="402" y="61"/>
                    </a:lnTo>
                    <a:lnTo>
                      <a:pt x="400" y="61"/>
                    </a:lnTo>
                    <a:lnTo>
                      <a:pt x="402" y="61"/>
                    </a:lnTo>
                    <a:lnTo>
                      <a:pt x="404" y="61"/>
                    </a:lnTo>
                    <a:close/>
                    <a:moveTo>
                      <a:pt x="84" y="343"/>
                    </a:moveTo>
                    <a:lnTo>
                      <a:pt x="86" y="343"/>
                    </a:lnTo>
                    <a:lnTo>
                      <a:pt x="86" y="347"/>
                    </a:lnTo>
                    <a:lnTo>
                      <a:pt x="84" y="347"/>
                    </a:lnTo>
                    <a:lnTo>
                      <a:pt x="84" y="343"/>
                    </a:lnTo>
                    <a:close/>
                    <a:moveTo>
                      <a:pt x="1396" y="1150"/>
                    </a:moveTo>
                    <a:lnTo>
                      <a:pt x="1396" y="1154"/>
                    </a:lnTo>
                    <a:lnTo>
                      <a:pt x="1396" y="1152"/>
                    </a:lnTo>
                    <a:lnTo>
                      <a:pt x="1394" y="1150"/>
                    </a:lnTo>
                    <a:lnTo>
                      <a:pt x="1396" y="1150"/>
                    </a:lnTo>
                    <a:close/>
                    <a:moveTo>
                      <a:pt x="772" y="1072"/>
                    </a:moveTo>
                    <a:lnTo>
                      <a:pt x="774" y="1072"/>
                    </a:lnTo>
                    <a:lnTo>
                      <a:pt x="772" y="1072"/>
                    </a:lnTo>
                    <a:close/>
                    <a:moveTo>
                      <a:pt x="1249" y="797"/>
                    </a:moveTo>
                    <a:lnTo>
                      <a:pt x="1251" y="797"/>
                    </a:lnTo>
                    <a:lnTo>
                      <a:pt x="1251" y="799"/>
                    </a:lnTo>
                    <a:lnTo>
                      <a:pt x="1249" y="799"/>
                    </a:lnTo>
                    <a:lnTo>
                      <a:pt x="1249" y="797"/>
                    </a:lnTo>
                    <a:close/>
                    <a:moveTo>
                      <a:pt x="377" y="436"/>
                    </a:moveTo>
                    <a:lnTo>
                      <a:pt x="379" y="436"/>
                    </a:lnTo>
                    <a:lnTo>
                      <a:pt x="379" y="438"/>
                    </a:lnTo>
                    <a:lnTo>
                      <a:pt x="377" y="438"/>
                    </a:lnTo>
                    <a:lnTo>
                      <a:pt x="377" y="436"/>
                    </a:lnTo>
                    <a:close/>
                    <a:moveTo>
                      <a:pt x="610" y="601"/>
                    </a:moveTo>
                    <a:lnTo>
                      <a:pt x="612" y="601"/>
                    </a:lnTo>
                    <a:lnTo>
                      <a:pt x="612" y="602"/>
                    </a:lnTo>
                    <a:lnTo>
                      <a:pt x="610" y="602"/>
                    </a:lnTo>
                    <a:lnTo>
                      <a:pt x="610" y="601"/>
                    </a:lnTo>
                    <a:close/>
                    <a:moveTo>
                      <a:pt x="105" y="442"/>
                    </a:moveTo>
                    <a:lnTo>
                      <a:pt x="106" y="442"/>
                    </a:lnTo>
                    <a:lnTo>
                      <a:pt x="106" y="444"/>
                    </a:lnTo>
                    <a:lnTo>
                      <a:pt x="105" y="444"/>
                    </a:lnTo>
                    <a:lnTo>
                      <a:pt x="105" y="442"/>
                    </a:lnTo>
                    <a:close/>
                    <a:moveTo>
                      <a:pt x="44" y="623"/>
                    </a:moveTo>
                    <a:lnTo>
                      <a:pt x="45" y="623"/>
                    </a:lnTo>
                    <a:lnTo>
                      <a:pt x="45" y="625"/>
                    </a:lnTo>
                    <a:lnTo>
                      <a:pt x="44" y="625"/>
                    </a:lnTo>
                    <a:lnTo>
                      <a:pt x="44" y="623"/>
                    </a:lnTo>
                    <a:close/>
                    <a:moveTo>
                      <a:pt x="291" y="43"/>
                    </a:moveTo>
                    <a:lnTo>
                      <a:pt x="293" y="43"/>
                    </a:lnTo>
                    <a:lnTo>
                      <a:pt x="293" y="45"/>
                    </a:lnTo>
                    <a:lnTo>
                      <a:pt x="291" y="45"/>
                    </a:lnTo>
                    <a:lnTo>
                      <a:pt x="291" y="43"/>
                    </a:lnTo>
                    <a:close/>
                    <a:moveTo>
                      <a:pt x="379" y="435"/>
                    </a:moveTo>
                    <a:lnTo>
                      <a:pt x="377" y="436"/>
                    </a:lnTo>
                    <a:lnTo>
                      <a:pt x="375" y="436"/>
                    </a:lnTo>
                    <a:lnTo>
                      <a:pt x="377" y="436"/>
                    </a:lnTo>
                    <a:lnTo>
                      <a:pt x="377" y="435"/>
                    </a:lnTo>
                    <a:lnTo>
                      <a:pt x="379" y="435"/>
                    </a:lnTo>
                    <a:close/>
                    <a:moveTo>
                      <a:pt x="34" y="234"/>
                    </a:moveTo>
                    <a:lnTo>
                      <a:pt x="30" y="238"/>
                    </a:lnTo>
                    <a:lnTo>
                      <a:pt x="30" y="240"/>
                    </a:lnTo>
                    <a:lnTo>
                      <a:pt x="28" y="240"/>
                    </a:lnTo>
                    <a:lnTo>
                      <a:pt x="30" y="238"/>
                    </a:lnTo>
                    <a:lnTo>
                      <a:pt x="34" y="234"/>
                    </a:lnTo>
                    <a:close/>
                    <a:moveTo>
                      <a:pt x="566" y="568"/>
                    </a:moveTo>
                    <a:lnTo>
                      <a:pt x="568" y="568"/>
                    </a:lnTo>
                    <a:lnTo>
                      <a:pt x="568" y="570"/>
                    </a:lnTo>
                    <a:lnTo>
                      <a:pt x="566" y="570"/>
                    </a:lnTo>
                    <a:lnTo>
                      <a:pt x="566" y="568"/>
                    </a:lnTo>
                    <a:close/>
                    <a:moveTo>
                      <a:pt x="1466" y="1059"/>
                    </a:moveTo>
                    <a:lnTo>
                      <a:pt x="1468" y="1059"/>
                    </a:lnTo>
                    <a:lnTo>
                      <a:pt x="1466" y="1059"/>
                    </a:lnTo>
                    <a:lnTo>
                      <a:pt x="1460" y="1060"/>
                    </a:lnTo>
                    <a:lnTo>
                      <a:pt x="1462" y="1060"/>
                    </a:lnTo>
                    <a:lnTo>
                      <a:pt x="1466" y="1059"/>
                    </a:lnTo>
                    <a:close/>
                    <a:moveTo>
                      <a:pt x="1592" y="858"/>
                    </a:moveTo>
                    <a:lnTo>
                      <a:pt x="1592" y="862"/>
                    </a:lnTo>
                    <a:lnTo>
                      <a:pt x="1592" y="858"/>
                    </a:lnTo>
                    <a:close/>
                    <a:moveTo>
                      <a:pt x="564" y="568"/>
                    </a:moveTo>
                    <a:lnTo>
                      <a:pt x="566" y="568"/>
                    </a:lnTo>
                    <a:lnTo>
                      <a:pt x="566" y="570"/>
                    </a:lnTo>
                    <a:lnTo>
                      <a:pt x="564" y="570"/>
                    </a:lnTo>
                    <a:lnTo>
                      <a:pt x="564" y="568"/>
                    </a:lnTo>
                    <a:close/>
                    <a:moveTo>
                      <a:pt x="5522" y="681"/>
                    </a:moveTo>
                    <a:lnTo>
                      <a:pt x="5524" y="681"/>
                    </a:lnTo>
                    <a:lnTo>
                      <a:pt x="5524" y="683"/>
                    </a:lnTo>
                    <a:lnTo>
                      <a:pt x="5522" y="683"/>
                    </a:lnTo>
                    <a:lnTo>
                      <a:pt x="5522" y="681"/>
                    </a:lnTo>
                    <a:close/>
                    <a:moveTo>
                      <a:pt x="293" y="43"/>
                    </a:moveTo>
                    <a:lnTo>
                      <a:pt x="293" y="45"/>
                    </a:lnTo>
                    <a:lnTo>
                      <a:pt x="293" y="43"/>
                    </a:lnTo>
                    <a:close/>
                    <a:moveTo>
                      <a:pt x="1537" y="929"/>
                    </a:moveTo>
                    <a:lnTo>
                      <a:pt x="1539" y="929"/>
                    </a:lnTo>
                    <a:lnTo>
                      <a:pt x="1539" y="931"/>
                    </a:lnTo>
                    <a:lnTo>
                      <a:pt x="1537" y="931"/>
                    </a:lnTo>
                    <a:lnTo>
                      <a:pt x="1537" y="929"/>
                    </a:lnTo>
                    <a:close/>
                    <a:moveTo>
                      <a:pt x="553" y="513"/>
                    </a:moveTo>
                    <a:lnTo>
                      <a:pt x="555" y="513"/>
                    </a:lnTo>
                    <a:lnTo>
                      <a:pt x="555" y="517"/>
                    </a:lnTo>
                    <a:lnTo>
                      <a:pt x="553" y="517"/>
                    </a:lnTo>
                    <a:lnTo>
                      <a:pt x="553" y="513"/>
                    </a:lnTo>
                    <a:close/>
                    <a:moveTo>
                      <a:pt x="1167" y="1171"/>
                    </a:moveTo>
                    <a:lnTo>
                      <a:pt x="1165" y="1171"/>
                    </a:lnTo>
                    <a:lnTo>
                      <a:pt x="1161" y="1173"/>
                    </a:lnTo>
                    <a:lnTo>
                      <a:pt x="1163" y="1173"/>
                    </a:lnTo>
                    <a:lnTo>
                      <a:pt x="1161" y="1173"/>
                    </a:lnTo>
                    <a:lnTo>
                      <a:pt x="1163" y="1173"/>
                    </a:lnTo>
                    <a:lnTo>
                      <a:pt x="1163" y="1171"/>
                    </a:lnTo>
                    <a:lnTo>
                      <a:pt x="1165" y="1171"/>
                    </a:lnTo>
                    <a:lnTo>
                      <a:pt x="1167" y="1171"/>
                    </a:lnTo>
                    <a:close/>
                    <a:moveTo>
                      <a:pt x="295" y="465"/>
                    </a:moveTo>
                    <a:lnTo>
                      <a:pt x="297" y="465"/>
                    </a:lnTo>
                    <a:lnTo>
                      <a:pt x="297" y="467"/>
                    </a:lnTo>
                    <a:lnTo>
                      <a:pt x="295" y="467"/>
                    </a:lnTo>
                    <a:lnTo>
                      <a:pt x="295" y="465"/>
                    </a:lnTo>
                    <a:close/>
                    <a:moveTo>
                      <a:pt x="1268" y="1162"/>
                    </a:moveTo>
                    <a:lnTo>
                      <a:pt x="1270" y="1162"/>
                    </a:lnTo>
                    <a:lnTo>
                      <a:pt x="1270" y="1163"/>
                    </a:lnTo>
                    <a:lnTo>
                      <a:pt x="1268" y="1163"/>
                    </a:lnTo>
                    <a:lnTo>
                      <a:pt x="1268" y="1162"/>
                    </a:lnTo>
                    <a:close/>
                    <a:moveTo>
                      <a:pt x="65" y="417"/>
                    </a:moveTo>
                    <a:lnTo>
                      <a:pt x="65" y="419"/>
                    </a:lnTo>
                    <a:lnTo>
                      <a:pt x="65" y="417"/>
                    </a:lnTo>
                    <a:close/>
                    <a:moveTo>
                      <a:pt x="736" y="772"/>
                    </a:moveTo>
                    <a:lnTo>
                      <a:pt x="736" y="776"/>
                    </a:lnTo>
                    <a:lnTo>
                      <a:pt x="736" y="772"/>
                    </a:lnTo>
                    <a:close/>
                    <a:moveTo>
                      <a:pt x="541" y="496"/>
                    </a:moveTo>
                    <a:lnTo>
                      <a:pt x="543" y="496"/>
                    </a:lnTo>
                    <a:lnTo>
                      <a:pt x="543" y="498"/>
                    </a:lnTo>
                    <a:lnTo>
                      <a:pt x="541" y="498"/>
                    </a:lnTo>
                    <a:lnTo>
                      <a:pt x="541" y="496"/>
                    </a:lnTo>
                    <a:close/>
                    <a:moveTo>
                      <a:pt x="536" y="545"/>
                    </a:moveTo>
                    <a:lnTo>
                      <a:pt x="537" y="545"/>
                    </a:lnTo>
                    <a:lnTo>
                      <a:pt x="537" y="547"/>
                    </a:lnTo>
                    <a:lnTo>
                      <a:pt x="536" y="547"/>
                    </a:lnTo>
                    <a:lnTo>
                      <a:pt x="536" y="545"/>
                    </a:lnTo>
                    <a:close/>
                    <a:moveTo>
                      <a:pt x="530" y="519"/>
                    </a:moveTo>
                    <a:lnTo>
                      <a:pt x="532" y="519"/>
                    </a:lnTo>
                    <a:lnTo>
                      <a:pt x="532" y="520"/>
                    </a:lnTo>
                    <a:lnTo>
                      <a:pt x="530" y="520"/>
                    </a:lnTo>
                    <a:lnTo>
                      <a:pt x="530" y="519"/>
                    </a:lnTo>
                    <a:close/>
                    <a:moveTo>
                      <a:pt x="51" y="223"/>
                    </a:moveTo>
                    <a:lnTo>
                      <a:pt x="49" y="225"/>
                    </a:lnTo>
                    <a:lnTo>
                      <a:pt x="49" y="227"/>
                    </a:lnTo>
                    <a:lnTo>
                      <a:pt x="47" y="227"/>
                    </a:lnTo>
                    <a:lnTo>
                      <a:pt x="47" y="225"/>
                    </a:lnTo>
                    <a:lnTo>
                      <a:pt x="51" y="223"/>
                    </a:lnTo>
                    <a:close/>
                    <a:moveTo>
                      <a:pt x="379" y="435"/>
                    </a:moveTo>
                    <a:lnTo>
                      <a:pt x="377" y="435"/>
                    </a:lnTo>
                    <a:lnTo>
                      <a:pt x="375" y="435"/>
                    </a:lnTo>
                    <a:lnTo>
                      <a:pt x="377" y="435"/>
                    </a:lnTo>
                    <a:lnTo>
                      <a:pt x="379" y="435"/>
                    </a:lnTo>
                    <a:close/>
                    <a:moveTo>
                      <a:pt x="1474" y="984"/>
                    </a:moveTo>
                    <a:lnTo>
                      <a:pt x="1476" y="984"/>
                    </a:lnTo>
                    <a:lnTo>
                      <a:pt x="1476" y="986"/>
                    </a:lnTo>
                    <a:lnTo>
                      <a:pt x="1474" y="986"/>
                    </a:lnTo>
                    <a:lnTo>
                      <a:pt x="1474" y="984"/>
                    </a:lnTo>
                    <a:close/>
                    <a:moveTo>
                      <a:pt x="593" y="570"/>
                    </a:moveTo>
                    <a:lnTo>
                      <a:pt x="595" y="570"/>
                    </a:lnTo>
                    <a:lnTo>
                      <a:pt x="595" y="572"/>
                    </a:lnTo>
                    <a:lnTo>
                      <a:pt x="593" y="572"/>
                    </a:lnTo>
                    <a:lnTo>
                      <a:pt x="593" y="570"/>
                    </a:lnTo>
                    <a:close/>
                    <a:moveTo>
                      <a:pt x="391" y="442"/>
                    </a:moveTo>
                    <a:lnTo>
                      <a:pt x="393" y="442"/>
                    </a:lnTo>
                    <a:lnTo>
                      <a:pt x="393" y="444"/>
                    </a:lnTo>
                    <a:lnTo>
                      <a:pt x="391" y="444"/>
                    </a:lnTo>
                    <a:lnTo>
                      <a:pt x="391" y="442"/>
                    </a:lnTo>
                    <a:close/>
                    <a:moveTo>
                      <a:pt x="568" y="583"/>
                    </a:moveTo>
                    <a:lnTo>
                      <a:pt x="568" y="585"/>
                    </a:lnTo>
                    <a:lnTo>
                      <a:pt x="568" y="583"/>
                    </a:lnTo>
                    <a:close/>
                    <a:moveTo>
                      <a:pt x="291" y="404"/>
                    </a:moveTo>
                    <a:lnTo>
                      <a:pt x="293" y="404"/>
                    </a:lnTo>
                    <a:lnTo>
                      <a:pt x="293" y="406"/>
                    </a:lnTo>
                    <a:lnTo>
                      <a:pt x="291" y="406"/>
                    </a:lnTo>
                    <a:lnTo>
                      <a:pt x="291" y="404"/>
                    </a:lnTo>
                    <a:close/>
                    <a:moveTo>
                      <a:pt x="1592" y="864"/>
                    </a:moveTo>
                    <a:lnTo>
                      <a:pt x="1594" y="864"/>
                    </a:lnTo>
                    <a:lnTo>
                      <a:pt x="1592" y="864"/>
                    </a:lnTo>
                    <a:close/>
                    <a:moveTo>
                      <a:pt x="1598" y="864"/>
                    </a:moveTo>
                    <a:lnTo>
                      <a:pt x="1600" y="864"/>
                    </a:lnTo>
                    <a:lnTo>
                      <a:pt x="1598" y="864"/>
                    </a:lnTo>
                    <a:close/>
                    <a:moveTo>
                      <a:pt x="1596" y="866"/>
                    </a:moveTo>
                    <a:lnTo>
                      <a:pt x="1596" y="868"/>
                    </a:lnTo>
                    <a:lnTo>
                      <a:pt x="1596" y="866"/>
                    </a:lnTo>
                    <a:close/>
                    <a:moveTo>
                      <a:pt x="23" y="244"/>
                    </a:moveTo>
                    <a:lnTo>
                      <a:pt x="21" y="246"/>
                    </a:lnTo>
                    <a:lnTo>
                      <a:pt x="23" y="246"/>
                    </a:lnTo>
                    <a:lnTo>
                      <a:pt x="21" y="246"/>
                    </a:lnTo>
                    <a:lnTo>
                      <a:pt x="21" y="248"/>
                    </a:lnTo>
                    <a:lnTo>
                      <a:pt x="21" y="246"/>
                    </a:lnTo>
                    <a:lnTo>
                      <a:pt x="23" y="244"/>
                    </a:lnTo>
                    <a:close/>
                    <a:moveTo>
                      <a:pt x="177" y="557"/>
                    </a:moveTo>
                    <a:lnTo>
                      <a:pt x="179" y="557"/>
                    </a:lnTo>
                    <a:lnTo>
                      <a:pt x="179" y="559"/>
                    </a:lnTo>
                    <a:lnTo>
                      <a:pt x="177" y="559"/>
                    </a:lnTo>
                    <a:lnTo>
                      <a:pt x="177" y="557"/>
                    </a:lnTo>
                    <a:close/>
                    <a:moveTo>
                      <a:pt x="553" y="511"/>
                    </a:moveTo>
                    <a:lnTo>
                      <a:pt x="553" y="513"/>
                    </a:lnTo>
                    <a:lnTo>
                      <a:pt x="553" y="511"/>
                    </a:lnTo>
                    <a:close/>
                    <a:moveTo>
                      <a:pt x="290" y="43"/>
                    </a:moveTo>
                    <a:lnTo>
                      <a:pt x="291" y="43"/>
                    </a:lnTo>
                    <a:lnTo>
                      <a:pt x="291" y="45"/>
                    </a:lnTo>
                    <a:lnTo>
                      <a:pt x="290" y="45"/>
                    </a:lnTo>
                    <a:lnTo>
                      <a:pt x="290" y="43"/>
                    </a:lnTo>
                    <a:close/>
                    <a:moveTo>
                      <a:pt x="736" y="757"/>
                    </a:moveTo>
                    <a:lnTo>
                      <a:pt x="738" y="757"/>
                    </a:lnTo>
                    <a:lnTo>
                      <a:pt x="738" y="761"/>
                    </a:lnTo>
                    <a:lnTo>
                      <a:pt x="736" y="761"/>
                    </a:lnTo>
                    <a:lnTo>
                      <a:pt x="736" y="757"/>
                    </a:lnTo>
                    <a:close/>
                    <a:moveTo>
                      <a:pt x="1405" y="1177"/>
                    </a:moveTo>
                    <a:lnTo>
                      <a:pt x="1403" y="1177"/>
                    </a:lnTo>
                    <a:lnTo>
                      <a:pt x="1405" y="1177"/>
                    </a:lnTo>
                    <a:lnTo>
                      <a:pt x="1405" y="1179"/>
                    </a:lnTo>
                    <a:lnTo>
                      <a:pt x="1405" y="1181"/>
                    </a:lnTo>
                    <a:lnTo>
                      <a:pt x="1405" y="1179"/>
                    </a:lnTo>
                    <a:lnTo>
                      <a:pt x="1403" y="1177"/>
                    </a:lnTo>
                    <a:lnTo>
                      <a:pt x="1405" y="1177"/>
                    </a:lnTo>
                    <a:close/>
                    <a:moveTo>
                      <a:pt x="536" y="478"/>
                    </a:moveTo>
                    <a:lnTo>
                      <a:pt x="536" y="482"/>
                    </a:lnTo>
                    <a:lnTo>
                      <a:pt x="536" y="478"/>
                    </a:lnTo>
                    <a:close/>
                    <a:moveTo>
                      <a:pt x="297" y="410"/>
                    </a:moveTo>
                    <a:lnTo>
                      <a:pt x="299" y="410"/>
                    </a:lnTo>
                    <a:lnTo>
                      <a:pt x="299" y="412"/>
                    </a:lnTo>
                    <a:lnTo>
                      <a:pt x="297" y="412"/>
                    </a:lnTo>
                    <a:lnTo>
                      <a:pt x="297" y="410"/>
                    </a:lnTo>
                    <a:close/>
                    <a:moveTo>
                      <a:pt x="366" y="435"/>
                    </a:moveTo>
                    <a:lnTo>
                      <a:pt x="368" y="435"/>
                    </a:lnTo>
                    <a:lnTo>
                      <a:pt x="370" y="436"/>
                    </a:lnTo>
                    <a:lnTo>
                      <a:pt x="368" y="436"/>
                    </a:lnTo>
                    <a:lnTo>
                      <a:pt x="366" y="435"/>
                    </a:lnTo>
                    <a:close/>
                    <a:moveTo>
                      <a:pt x="1575" y="870"/>
                    </a:moveTo>
                    <a:lnTo>
                      <a:pt x="1577" y="870"/>
                    </a:lnTo>
                    <a:lnTo>
                      <a:pt x="1577" y="872"/>
                    </a:lnTo>
                    <a:lnTo>
                      <a:pt x="1575" y="872"/>
                    </a:lnTo>
                    <a:lnTo>
                      <a:pt x="1575" y="870"/>
                    </a:lnTo>
                    <a:close/>
                    <a:moveTo>
                      <a:pt x="1457" y="1062"/>
                    </a:moveTo>
                    <a:lnTo>
                      <a:pt x="1455" y="1064"/>
                    </a:lnTo>
                    <a:lnTo>
                      <a:pt x="1453" y="1066"/>
                    </a:lnTo>
                    <a:lnTo>
                      <a:pt x="1455" y="1064"/>
                    </a:lnTo>
                    <a:lnTo>
                      <a:pt x="1453" y="1064"/>
                    </a:lnTo>
                    <a:lnTo>
                      <a:pt x="1455" y="1064"/>
                    </a:lnTo>
                    <a:lnTo>
                      <a:pt x="1457" y="1064"/>
                    </a:lnTo>
                    <a:lnTo>
                      <a:pt x="1455" y="1064"/>
                    </a:lnTo>
                    <a:lnTo>
                      <a:pt x="1457" y="1062"/>
                    </a:lnTo>
                    <a:close/>
                    <a:moveTo>
                      <a:pt x="5657" y="425"/>
                    </a:moveTo>
                    <a:lnTo>
                      <a:pt x="5659" y="425"/>
                    </a:lnTo>
                    <a:lnTo>
                      <a:pt x="5659" y="429"/>
                    </a:lnTo>
                    <a:lnTo>
                      <a:pt x="5657" y="429"/>
                    </a:lnTo>
                    <a:lnTo>
                      <a:pt x="5657" y="425"/>
                    </a:lnTo>
                    <a:close/>
                    <a:moveTo>
                      <a:pt x="1340" y="1152"/>
                    </a:moveTo>
                    <a:lnTo>
                      <a:pt x="1338" y="1154"/>
                    </a:lnTo>
                    <a:lnTo>
                      <a:pt x="1336" y="1154"/>
                    </a:lnTo>
                    <a:lnTo>
                      <a:pt x="1335" y="1156"/>
                    </a:lnTo>
                    <a:lnTo>
                      <a:pt x="1335" y="1154"/>
                    </a:lnTo>
                    <a:lnTo>
                      <a:pt x="1335" y="1156"/>
                    </a:lnTo>
                    <a:lnTo>
                      <a:pt x="1336" y="1156"/>
                    </a:lnTo>
                    <a:lnTo>
                      <a:pt x="1336" y="1154"/>
                    </a:lnTo>
                    <a:lnTo>
                      <a:pt x="1338" y="1154"/>
                    </a:lnTo>
                    <a:lnTo>
                      <a:pt x="1340" y="1152"/>
                    </a:lnTo>
                    <a:lnTo>
                      <a:pt x="1338" y="1154"/>
                    </a:lnTo>
                    <a:lnTo>
                      <a:pt x="1340" y="1152"/>
                    </a:lnTo>
                    <a:close/>
                    <a:moveTo>
                      <a:pt x="106" y="442"/>
                    </a:moveTo>
                    <a:lnTo>
                      <a:pt x="108" y="442"/>
                    </a:lnTo>
                    <a:lnTo>
                      <a:pt x="108" y="444"/>
                    </a:lnTo>
                    <a:lnTo>
                      <a:pt x="106" y="444"/>
                    </a:lnTo>
                    <a:lnTo>
                      <a:pt x="106" y="442"/>
                    </a:lnTo>
                    <a:close/>
                    <a:moveTo>
                      <a:pt x="156" y="572"/>
                    </a:moveTo>
                    <a:lnTo>
                      <a:pt x="158" y="572"/>
                    </a:lnTo>
                    <a:lnTo>
                      <a:pt x="158" y="574"/>
                    </a:lnTo>
                    <a:lnTo>
                      <a:pt x="156" y="574"/>
                    </a:lnTo>
                    <a:lnTo>
                      <a:pt x="156" y="572"/>
                    </a:lnTo>
                    <a:close/>
                    <a:moveTo>
                      <a:pt x="1548" y="927"/>
                    </a:moveTo>
                    <a:lnTo>
                      <a:pt x="1550" y="927"/>
                    </a:lnTo>
                    <a:lnTo>
                      <a:pt x="1550" y="929"/>
                    </a:lnTo>
                    <a:lnTo>
                      <a:pt x="1548" y="929"/>
                    </a:lnTo>
                    <a:lnTo>
                      <a:pt x="1548" y="927"/>
                    </a:lnTo>
                    <a:close/>
                    <a:moveTo>
                      <a:pt x="108" y="429"/>
                    </a:moveTo>
                    <a:lnTo>
                      <a:pt x="108" y="431"/>
                    </a:lnTo>
                    <a:lnTo>
                      <a:pt x="108" y="429"/>
                    </a:lnTo>
                    <a:close/>
                    <a:moveTo>
                      <a:pt x="291" y="43"/>
                    </a:moveTo>
                    <a:lnTo>
                      <a:pt x="293" y="43"/>
                    </a:lnTo>
                    <a:lnTo>
                      <a:pt x="293" y="47"/>
                    </a:lnTo>
                    <a:lnTo>
                      <a:pt x="291" y="47"/>
                    </a:lnTo>
                    <a:lnTo>
                      <a:pt x="291" y="43"/>
                    </a:lnTo>
                    <a:close/>
                    <a:moveTo>
                      <a:pt x="736" y="761"/>
                    </a:moveTo>
                    <a:lnTo>
                      <a:pt x="736" y="763"/>
                    </a:lnTo>
                    <a:lnTo>
                      <a:pt x="736" y="761"/>
                    </a:lnTo>
                    <a:close/>
                    <a:moveTo>
                      <a:pt x="72" y="345"/>
                    </a:moveTo>
                    <a:lnTo>
                      <a:pt x="74" y="345"/>
                    </a:lnTo>
                    <a:lnTo>
                      <a:pt x="74" y="347"/>
                    </a:lnTo>
                    <a:lnTo>
                      <a:pt x="72" y="347"/>
                    </a:lnTo>
                    <a:lnTo>
                      <a:pt x="72" y="345"/>
                    </a:lnTo>
                    <a:close/>
                    <a:moveTo>
                      <a:pt x="236" y="547"/>
                    </a:moveTo>
                    <a:lnTo>
                      <a:pt x="238" y="547"/>
                    </a:lnTo>
                    <a:lnTo>
                      <a:pt x="238" y="549"/>
                    </a:lnTo>
                    <a:lnTo>
                      <a:pt x="236" y="549"/>
                    </a:lnTo>
                    <a:lnTo>
                      <a:pt x="236" y="547"/>
                    </a:lnTo>
                    <a:close/>
                    <a:moveTo>
                      <a:pt x="1476" y="860"/>
                    </a:moveTo>
                    <a:lnTo>
                      <a:pt x="1478" y="860"/>
                    </a:lnTo>
                    <a:lnTo>
                      <a:pt x="1478" y="862"/>
                    </a:lnTo>
                    <a:lnTo>
                      <a:pt x="1476" y="862"/>
                    </a:lnTo>
                    <a:lnTo>
                      <a:pt x="1476" y="860"/>
                    </a:lnTo>
                    <a:close/>
                    <a:moveTo>
                      <a:pt x="738" y="761"/>
                    </a:moveTo>
                    <a:lnTo>
                      <a:pt x="738" y="763"/>
                    </a:lnTo>
                    <a:lnTo>
                      <a:pt x="738" y="761"/>
                    </a:lnTo>
                    <a:close/>
                    <a:moveTo>
                      <a:pt x="1552" y="919"/>
                    </a:moveTo>
                    <a:lnTo>
                      <a:pt x="1552" y="923"/>
                    </a:lnTo>
                    <a:lnTo>
                      <a:pt x="1552" y="919"/>
                    </a:lnTo>
                    <a:close/>
                    <a:moveTo>
                      <a:pt x="259" y="490"/>
                    </a:moveTo>
                    <a:lnTo>
                      <a:pt x="261" y="490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59" y="490"/>
                    </a:lnTo>
                    <a:close/>
                    <a:moveTo>
                      <a:pt x="5484" y="667"/>
                    </a:moveTo>
                    <a:lnTo>
                      <a:pt x="5486" y="667"/>
                    </a:lnTo>
                    <a:lnTo>
                      <a:pt x="5484" y="667"/>
                    </a:lnTo>
                    <a:close/>
                    <a:moveTo>
                      <a:pt x="137" y="488"/>
                    </a:moveTo>
                    <a:lnTo>
                      <a:pt x="139" y="488"/>
                    </a:lnTo>
                    <a:lnTo>
                      <a:pt x="139" y="490"/>
                    </a:lnTo>
                    <a:lnTo>
                      <a:pt x="137" y="490"/>
                    </a:lnTo>
                    <a:lnTo>
                      <a:pt x="137" y="488"/>
                    </a:lnTo>
                    <a:close/>
                    <a:moveTo>
                      <a:pt x="1411" y="1194"/>
                    </a:moveTo>
                    <a:lnTo>
                      <a:pt x="1413" y="1198"/>
                    </a:lnTo>
                    <a:lnTo>
                      <a:pt x="1413" y="1200"/>
                    </a:lnTo>
                    <a:lnTo>
                      <a:pt x="1413" y="1198"/>
                    </a:lnTo>
                    <a:lnTo>
                      <a:pt x="1413" y="1196"/>
                    </a:lnTo>
                    <a:lnTo>
                      <a:pt x="1411" y="1198"/>
                    </a:lnTo>
                    <a:lnTo>
                      <a:pt x="1411" y="1196"/>
                    </a:lnTo>
                    <a:lnTo>
                      <a:pt x="1411" y="1194"/>
                    </a:lnTo>
                    <a:close/>
                    <a:moveTo>
                      <a:pt x="600" y="593"/>
                    </a:moveTo>
                    <a:lnTo>
                      <a:pt x="602" y="593"/>
                    </a:lnTo>
                    <a:lnTo>
                      <a:pt x="602" y="595"/>
                    </a:lnTo>
                    <a:lnTo>
                      <a:pt x="600" y="595"/>
                    </a:lnTo>
                    <a:lnTo>
                      <a:pt x="600" y="593"/>
                    </a:lnTo>
                    <a:close/>
                    <a:moveTo>
                      <a:pt x="152" y="574"/>
                    </a:moveTo>
                    <a:lnTo>
                      <a:pt x="154" y="574"/>
                    </a:lnTo>
                    <a:lnTo>
                      <a:pt x="154" y="576"/>
                    </a:lnTo>
                    <a:lnTo>
                      <a:pt x="152" y="576"/>
                    </a:lnTo>
                    <a:lnTo>
                      <a:pt x="152" y="574"/>
                    </a:lnTo>
                    <a:close/>
                    <a:moveTo>
                      <a:pt x="715" y="810"/>
                    </a:moveTo>
                    <a:lnTo>
                      <a:pt x="717" y="810"/>
                    </a:lnTo>
                    <a:lnTo>
                      <a:pt x="717" y="812"/>
                    </a:lnTo>
                    <a:lnTo>
                      <a:pt x="715" y="812"/>
                    </a:lnTo>
                    <a:lnTo>
                      <a:pt x="715" y="810"/>
                    </a:lnTo>
                    <a:close/>
                    <a:moveTo>
                      <a:pt x="1478" y="1053"/>
                    </a:moveTo>
                    <a:lnTo>
                      <a:pt x="1474" y="1057"/>
                    </a:lnTo>
                    <a:lnTo>
                      <a:pt x="1476" y="1053"/>
                    </a:lnTo>
                    <a:lnTo>
                      <a:pt x="1478" y="1053"/>
                    </a:lnTo>
                    <a:close/>
                    <a:moveTo>
                      <a:pt x="272" y="473"/>
                    </a:moveTo>
                    <a:lnTo>
                      <a:pt x="274" y="473"/>
                    </a:lnTo>
                    <a:lnTo>
                      <a:pt x="274" y="475"/>
                    </a:lnTo>
                    <a:lnTo>
                      <a:pt x="272" y="475"/>
                    </a:lnTo>
                    <a:lnTo>
                      <a:pt x="272" y="473"/>
                    </a:lnTo>
                    <a:close/>
                    <a:moveTo>
                      <a:pt x="1445" y="1074"/>
                    </a:moveTo>
                    <a:lnTo>
                      <a:pt x="1447" y="1074"/>
                    </a:lnTo>
                    <a:lnTo>
                      <a:pt x="1443" y="1074"/>
                    </a:lnTo>
                    <a:lnTo>
                      <a:pt x="1445" y="1074"/>
                    </a:lnTo>
                    <a:lnTo>
                      <a:pt x="1443" y="1074"/>
                    </a:lnTo>
                    <a:lnTo>
                      <a:pt x="1445" y="1074"/>
                    </a:lnTo>
                    <a:close/>
                    <a:moveTo>
                      <a:pt x="103" y="612"/>
                    </a:moveTo>
                    <a:lnTo>
                      <a:pt x="105" y="612"/>
                    </a:lnTo>
                    <a:lnTo>
                      <a:pt x="105" y="614"/>
                    </a:lnTo>
                    <a:lnTo>
                      <a:pt x="103" y="614"/>
                    </a:lnTo>
                    <a:lnTo>
                      <a:pt x="103" y="612"/>
                    </a:lnTo>
                    <a:close/>
                    <a:moveTo>
                      <a:pt x="1317" y="843"/>
                    </a:moveTo>
                    <a:lnTo>
                      <a:pt x="1319" y="843"/>
                    </a:lnTo>
                    <a:lnTo>
                      <a:pt x="1319" y="845"/>
                    </a:lnTo>
                    <a:lnTo>
                      <a:pt x="1317" y="845"/>
                    </a:lnTo>
                    <a:lnTo>
                      <a:pt x="1317" y="843"/>
                    </a:lnTo>
                    <a:close/>
                    <a:moveTo>
                      <a:pt x="1268" y="1163"/>
                    </a:moveTo>
                    <a:lnTo>
                      <a:pt x="1270" y="1163"/>
                    </a:lnTo>
                    <a:lnTo>
                      <a:pt x="1270" y="1165"/>
                    </a:lnTo>
                    <a:lnTo>
                      <a:pt x="1268" y="1165"/>
                    </a:lnTo>
                    <a:lnTo>
                      <a:pt x="1268" y="1163"/>
                    </a:lnTo>
                    <a:close/>
                    <a:moveTo>
                      <a:pt x="732" y="761"/>
                    </a:moveTo>
                    <a:lnTo>
                      <a:pt x="734" y="761"/>
                    </a:lnTo>
                    <a:lnTo>
                      <a:pt x="734" y="763"/>
                    </a:lnTo>
                    <a:lnTo>
                      <a:pt x="732" y="763"/>
                    </a:lnTo>
                    <a:lnTo>
                      <a:pt x="732" y="761"/>
                    </a:lnTo>
                    <a:close/>
                    <a:moveTo>
                      <a:pt x="147" y="601"/>
                    </a:moveTo>
                    <a:lnTo>
                      <a:pt x="148" y="601"/>
                    </a:lnTo>
                    <a:lnTo>
                      <a:pt x="148" y="602"/>
                    </a:lnTo>
                    <a:lnTo>
                      <a:pt x="147" y="602"/>
                    </a:lnTo>
                    <a:lnTo>
                      <a:pt x="147" y="601"/>
                    </a:lnTo>
                    <a:close/>
                    <a:moveTo>
                      <a:pt x="1502" y="965"/>
                    </a:moveTo>
                    <a:lnTo>
                      <a:pt x="1504" y="965"/>
                    </a:lnTo>
                    <a:lnTo>
                      <a:pt x="1504" y="967"/>
                    </a:lnTo>
                    <a:lnTo>
                      <a:pt x="1502" y="967"/>
                    </a:lnTo>
                    <a:lnTo>
                      <a:pt x="1502" y="965"/>
                    </a:lnTo>
                    <a:close/>
                    <a:moveTo>
                      <a:pt x="1474" y="1057"/>
                    </a:moveTo>
                    <a:lnTo>
                      <a:pt x="1472" y="1060"/>
                    </a:lnTo>
                    <a:lnTo>
                      <a:pt x="1470" y="1060"/>
                    </a:lnTo>
                    <a:lnTo>
                      <a:pt x="1472" y="1059"/>
                    </a:lnTo>
                    <a:lnTo>
                      <a:pt x="1472" y="1057"/>
                    </a:lnTo>
                    <a:lnTo>
                      <a:pt x="1472" y="1059"/>
                    </a:lnTo>
                    <a:lnTo>
                      <a:pt x="1472" y="1057"/>
                    </a:lnTo>
                    <a:lnTo>
                      <a:pt x="1474" y="1057"/>
                    </a:lnTo>
                    <a:close/>
                    <a:moveTo>
                      <a:pt x="1394" y="1242"/>
                    </a:moveTo>
                    <a:lnTo>
                      <a:pt x="1394" y="1244"/>
                    </a:lnTo>
                    <a:lnTo>
                      <a:pt x="1394" y="1242"/>
                    </a:lnTo>
                    <a:close/>
                    <a:moveTo>
                      <a:pt x="1521" y="940"/>
                    </a:moveTo>
                    <a:lnTo>
                      <a:pt x="1523" y="940"/>
                    </a:lnTo>
                    <a:lnTo>
                      <a:pt x="1521" y="940"/>
                    </a:lnTo>
                    <a:lnTo>
                      <a:pt x="1518" y="940"/>
                    </a:lnTo>
                    <a:lnTo>
                      <a:pt x="1520" y="940"/>
                    </a:lnTo>
                    <a:lnTo>
                      <a:pt x="1521" y="940"/>
                    </a:lnTo>
                    <a:lnTo>
                      <a:pt x="1520" y="940"/>
                    </a:lnTo>
                    <a:lnTo>
                      <a:pt x="1521" y="940"/>
                    </a:lnTo>
                    <a:close/>
                    <a:moveTo>
                      <a:pt x="574" y="589"/>
                    </a:moveTo>
                    <a:lnTo>
                      <a:pt x="574" y="591"/>
                    </a:lnTo>
                    <a:lnTo>
                      <a:pt x="574" y="589"/>
                    </a:lnTo>
                    <a:close/>
                    <a:moveTo>
                      <a:pt x="591" y="581"/>
                    </a:moveTo>
                    <a:lnTo>
                      <a:pt x="593" y="581"/>
                    </a:lnTo>
                    <a:lnTo>
                      <a:pt x="593" y="583"/>
                    </a:lnTo>
                    <a:lnTo>
                      <a:pt x="591" y="583"/>
                    </a:lnTo>
                    <a:lnTo>
                      <a:pt x="591" y="581"/>
                    </a:lnTo>
                    <a:close/>
                    <a:moveTo>
                      <a:pt x="375" y="435"/>
                    </a:moveTo>
                    <a:lnTo>
                      <a:pt x="375" y="436"/>
                    </a:lnTo>
                    <a:lnTo>
                      <a:pt x="375" y="435"/>
                    </a:lnTo>
                    <a:close/>
                    <a:moveTo>
                      <a:pt x="1481" y="1049"/>
                    </a:moveTo>
                    <a:lnTo>
                      <a:pt x="1483" y="1049"/>
                    </a:lnTo>
                    <a:lnTo>
                      <a:pt x="1479" y="1051"/>
                    </a:lnTo>
                    <a:lnTo>
                      <a:pt x="1481" y="1049"/>
                    </a:lnTo>
                    <a:close/>
                    <a:moveTo>
                      <a:pt x="753" y="992"/>
                    </a:moveTo>
                    <a:lnTo>
                      <a:pt x="755" y="992"/>
                    </a:lnTo>
                    <a:lnTo>
                      <a:pt x="753" y="992"/>
                    </a:lnTo>
                    <a:close/>
                    <a:moveTo>
                      <a:pt x="1508" y="957"/>
                    </a:moveTo>
                    <a:lnTo>
                      <a:pt x="1510" y="957"/>
                    </a:lnTo>
                    <a:lnTo>
                      <a:pt x="1506" y="961"/>
                    </a:lnTo>
                    <a:lnTo>
                      <a:pt x="1506" y="963"/>
                    </a:lnTo>
                    <a:lnTo>
                      <a:pt x="1508" y="961"/>
                    </a:lnTo>
                    <a:lnTo>
                      <a:pt x="1508" y="959"/>
                    </a:lnTo>
                    <a:lnTo>
                      <a:pt x="1508" y="957"/>
                    </a:lnTo>
                    <a:close/>
                    <a:moveTo>
                      <a:pt x="1531" y="936"/>
                    </a:moveTo>
                    <a:lnTo>
                      <a:pt x="1525" y="938"/>
                    </a:lnTo>
                    <a:lnTo>
                      <a:pt x="1521" y="940"/>
                    </a:lnTo>
                    <a:lnTo>
                      <a:pt x="1525" y="938"/>
                    </a:lnTo>
                    <a:lnTo>
                      <a:pt x="1531" y="936"/>
                    </a:lnTo>
                    <a:close/>
                    <a:moveTo>
                      <a:pt x="5616" y="677"/>
                    </a:moveTo>
                    <a:lnTo>
                      <a:pt x="5617" y="677"/>
                    </a:lnTo>
                    <a:lnTo>
                      <a:pt x="5617" y="679"/>
                    </a:lnTo>
                    <a:lnTo>
                      <a:pt x="5616" y="679"/>
                    </a:lnTo>
                    <a:lnTo>
                      <a:pt x="5616" y="677"/>
                    </a:lnTo>
                    <a:close/>
                    <a:moveTo>
                      <a:pt x="65" y="354"/>
                    </a:moveTo>
                    <a:lnTo>
                      <a:pt x="66" y="354"/>
                    </a:lnTo>
                    <a:lnTo>
                      <a:pt x="66" y="356"/>
                    </a:lnTo>
                    <a:lnTo>
                      <a:pt x="65" y="356"/>
                    </a:lnTo>
                    <a:lnTo>
                      <a:pt x="65" y="354"/>
                    </a:lnTo>
                    <a:close/>
                    <a:moveTo>
                      <a:pt x="724" y="818"/>
                    </a:moveTo>
                    <a:lnTo>
                      <a:pt x="726" y="818"/>
                    </a:lnTo>
                    <a:lnTo>
                      <a:pt x="724" y="818"/>
                    </a:lnTo>
                    <a:close/>
                    <a:moveTo>
                      <a:pt x="5614" y="677"/>
                    </a:moveTo>
                    <a:lnTo>
                      <a:pt x="5617" y="677"/>
                    </a:lnTo>
                    <a:lnTo>
                      <a:pt x="5614" y="677"/>
                    </a:lnTo>
                    <a:close/>
                    <a:moveTo>
                      <a:pt x="339" y="429"/>
                    </a:moveTo>
                    <a:lnTo>
                      <a:pt x="341" y="429"/>
                    </a:lnTo>
                    <a:lnTo>
                      <a:pt x="341" y="431"/>
                    </a:lnTo>
                    <a:lnTo>
                      <a:pt x="339" y="431"/>
                    </a:lnTo>
                    <a:lnTo>
                      <a:pt x="339" y="429"/>
                    </a:lnTo>
                    <a:close/>
                    <a:moveTo>
                      <a:pt x="572" y="561"/>
                    </a:moveTo>
                    <a:lnTo>
                      <a:pt x="574" y="561"/>
                    </a:lnTo>
                    <a:lnTo>
                      <a:pt x="574" y="562"/>
                    </a:lnTo>
                    <a:lnTo>
                      <a:pt x="572" y="562"/>
                    </a:lnTo>
                    <a:lnTo>
                      <a:pt x="572" y="561"/>
                    </a:lnTo>
                    <a:close/>
                    <a:moveTo>
                      <a:pt x="1266" y="1163"/>
                    </a:moveTo>
                    <a:lnTo>
                      <a:pt x="1268" y="1163"/>
                    </a:lnTo>
                    <a:lnTo>
                      <a:pt x="1268" y="1165"/>
                    </a:lnTo>
                    <a:lnTo>
                      <a:pt x="1266" y="1165"/>
                    </a:lnTo>
                    <a:lnTo>
                      <a:pt x="1266" y="1163"/>
                    </a:lnTo>
                    <a:close/>
                    <a:moveTo>
                      <a:pt x="137" y="486"/>
                    </a:moveTo>
                    <a:lnTo>
                      <a:pt x="137" y="490"/>
                    </a:lnTo>
                    <a:lnTo>
                      <a:pt x="137" y="486"/>
                    </a:lnTo>
                    <a:close/>
                    <a:moveTo>
                      <a:pt x="1388" y="1221"/>
                    </a:moveTo>
                    <a:lnTo>
                      <a:pt x="1390" y="1221"/>
                    </a:lnTo>
                    <a:lnTo>
                      <a:pt x="1388" y="1221"/>
                    </a:lnTo>
                    <a:close/>
                    <a:moveTo>
                      <a:pt x="141" y="587"/>
                    </a:moveTo>
                    <a:lnTo>
                      <a:pt x="143" y="587"/>
                    </a:lnTo>
                    <a:lnTo>
                      <a:pt x="141" y="587"/>
                    </a:lnTo>
                    <a:close/>
                    <a:moveTo>
                      <a:pt x="42" y="137"/>
                    </a:moveTo>
                    <a:lnTo>
                      <a:pt x="44" y="137"/>
                    </a:lnTo>
                    <a:lnTo>
                      <a:pt x="44" y="139"/>
                    </a:lnTo>
                    <a:lnTo>
                      <a:pt x="42" y="139"/>
                    </a:lnTo>
                    <a:lnTo>
                      <a:pt x="42" y="137"/>
                    </a:lnTo>
                    <a:close/>
                    <a:moveTo>
                      <a:pt x="604" y="585"/>
                    </a:moveTo>
                    <a:lnTo>
                      <a:pt x="606" y="585"/>
                    </a:lnTo>
                    <a:lnTo>
                      <a:pt x="606" y="587"/>
                    </a:lnTo>
                    <a:lnTo>
                      <a:pt x="604" y="587"/>
                    </a:lnTo>
                    <a:lnTo>
                      <a:pt x="604" y="585"/>
                    </a:lnTo>
                    <a:close/>
                    <a:moveTo>
                      <a:pt x="1327" y="826"/>
                    </a:moveTo>
                    <a:lnTo>
                      <a:pt x="1329" y="826"/>
                    </a:lnTo>
                    <a:lnTo>
                      <a:pt x="1329" y="828"/>
                    </a:lnTo>
                    <a:lnTo>
                      <a:pt x="1327" y="828"/>
                    </a:lnTo>
                    <a:lnTo>
                      <a:pt x="1327" y="826"/>
                    </a:lnTo>
                    <a:close/>
                    <a:moveTo>
                      <a:pt x="1344" y="822"/>
                    </a:moveTo>
                    <a:lnTo>
                      <a:pt x="1346" y="822"/>
                    </a:lnTo>
                    <a:lnTo>
                      <a:pt x="1346" y="824"/>
                    </a:lnTo>
                    <a:lnTo>
                      <a:pt x="1344" y="824"/>
                    </a:lnTo>
                    <a:lnTo>
                      <a:pt x="1344" y="822"/>
                    </a:lnTo>
                    <a:close/>
                    <a:moveTo>
                      <a:pt x="734" y="761"/>
                    </a:moveTo>
                    <a:lnTo>
                      <a:pt x="736" y="761"/>
                    </a:lnTo>
                    <a:lnTo>
                      <a:pt x="736" y="763"/>
                    </a:lnTo>
                    <a:lnTo>
                      <a:pt x="734" y="763"/>
                    </a:lnTo>
                    <a:lnTo>
                      <a:pt x="734" y="761"/>
                    </a:lnTo>
                    <a:close/>
                    <a:moveTo>
                      <a:pt x="278" y="475"/>
                    </a:moveTo>
                    <a:lnTo>
                      <a:pt x="280" y="475"/>
                    </a:lnTo>
                    <a:lnTo>
                      <a:pt x="280" y="477"/>
                    </a:lnTo>
                    <a:lnTo>
                      <a:pt x="278" y="477"/>
                    </a:lnTo>
                    <a:lnTo>
                      <a:pt x="278" y="475"/>
                    </a:lnTo>
                    <a:close/>
                    <a:moveTo>
                      <a:pt x="1561" y="921"/>
                    </a:moveTo>
                    <a:lnTo>
                      <a:pt x="1563" y="921"/>
                    </a:lnTo>
                    <a:lnTo>
                      <a:pt x="1563" y="923"/>
                    </a:lnTo>
                    <a:lnTo>
                      <a:pt x="1561" y="923"/>
                    </a:lnTo>
                    <a:lnTo>
                      <a:pt x="1561" y="921"/>
                    </a:lnTo>
                    <a:close/>
                    <a:moveTo>
                      <a:pt x="581" y="570"/>
                    </a:moveTo>
                    <a:lnTo>
                      <a:pt x="583" y="570"/>
                    </a:lnTo>
                    <a:lnTo>
                      <a:pt x="583" y="572"/>
                    </a:lnTo>
                    <a:lnTo>
                      <a:pt x="581" y="572"/>
                    </a:lnTo>
                    <a:lnTo>
                      <a:pt x="581" y="570"/>
                    </a:lnTo>
                    <a:close/>
                    <a:moveTo>
                      <a:pt x="1193" y="1148"/>
                    </a:moveTo>
                    <a:lnTo>
                      <a:pt x="1195" y="1148"/>
                    </a:lnTo>
                    <a:lnTo>
                      <a:pt x="1195" y="1152"/>
                    </a:lnTo>
                    <a:lnTo>
                      <a:pt x="1193" y="1152"/>
                    </a:lnTo>
                    <a:lnTo>
                      <a:pt x="1193" y="1148"/>
                    </a:lnTo>
                    <a:close/>
                    <a:moveTo>
                      <a:pt x="741" y="997"/>
                    </a:moveTo>
                    <a:lnTo>
                      <a:pt x="743" y="997"/>
                    </a:lnTo>
                    <a:lnTo>
                      <a:pt x="743" y="999"/>
                    </a:lnTo>
                    <a:lnTo>
                      <a:pt x="741" y="999"/>
                    </a:lnTo>
                    <a:lnTo>
                      <a:pt x="741" y="997"/>
                    </a:lnTo>
                    <a:close/>
                    <a:moveTo>
                      <a:pt x="1598" y="858"/>
                    </a:moveTo>
                    <a:lnTo>
                      <a:pt x="1598" y="860"/>
                    </a:lnTo>
                    <a:lnTo>
                      <a:pt x="1598" y="858"/>
                    </a:lnTo>
                    <a:close/>
                    <a:moveTo>
                      <a:pt x="736" y="793"/>
                    </a:moveTo>
                    <a:lnTo>
                      <a:pt x="738" y="793"/>
                    </a:lnTo>
                    <a:lnTo>
                      <a:pt x="738" y="795"/>
                    </a:lnTo>
                    <a:lnTo>
                      <a:pt x="736" y="795"/>
                    </a:lnTo>
                    <a:lnTo>
                      <a:pt x="736" y="793"/>
                    </a:lnTo>
                    <a:close/>
                    <a:moveTo>
                      <a:pt x="106" y="440"/>
                    </a:moveTo>
                    <a:lnTo>
                      <a:pt x="108" y="440"/>
                    </a:lnTo>
                    <a:lnTo>
                      <a:pt x="108" y="444"/>
                    </a:lnTo>
                    <a:lnTo>
                      <a:pt x="106" y="444"/>
                    </a:lnTo>
                    <a:lnTo>
                      <a:pt x="106" y="440"/>
                    </a:lnTo>
                    <a:close/>
                    <a:moveTo>
                      <a:pt x="574" y="564"/>
                    </a:moveTo>
                    <a:lnTo>
                      <a:pt x="576" y="564"/>
                    </a:lnTo>
                    <a:lnTo>
                      <a:pt x="574" y="564"/>
                    </a:lnTo>
                    <a:close/>
                    <a:moveTo>
                      <a:pt x="469" y="465"/>
                    </a:moveTo>
                    <a:lnTo>
                      <a:pt x="471" y="467"/>
                    </a:lnTo>
                    <a:lnTo>
                      <a:pt x="473" y="469"/>
                    </a:lnTo>
                    <a:lnTo>
                      <a:pt x="469" y="467"/>
                    </a:lnTo>
                    <a:lnTo>
                      <a:pt x="469" y="465"/>
                    </a:lnTo>
                    <a:close/>
                    <a:moveTo>
                      <a:pt x="13" y="276"/>
                    </a:moveTo>
                    <a:lnTo>
                      <a:pt x="15" y="276"/>
                    </a:lnTo>
                    <a:lnTo>
                      <a:pt x="13" y="276"/>
                    </a:lnTo>
                    <a:close/>
                    <a:moveTo>
                      <a:pt x="1407" y="1100"/>
                    </a:moveTo>
                    <a:lnTo>
                      <a:pt x="1407" y="1102"/>
                    </a:lnTo>
                    <a:lnTo>
                      <a:pt x="1407" y="1100"/>
                    </a:lnTo>
                    <a:close/>
                    <a:moveTo>
                      <a:pt x="743" y="786"/>
                    </a:moveTo>
                    <a:lnTo>
                      <a:pt x="743" y="788"/>
                    </a:lnTo>
                    <a:lnTo>
                      <a:pt x="743" y="786"/>
                    </a:lnTo>
                    <a:close/>
                    <a:moveTo>
                      <a:pt x="1478" y="990"/>
                    </a:moveTo>
                    <a:lnTo>
                      <a:pt x="1478" y="992"/>
                    </a:lnTo>
                    <a:lnTo>
                      <a:pt x="1478" y="990"/>
                    </a:lnTo>
                    <a:close/>
                    <a:moveTo>
                      <a:pt x="84" y="341"/>
                    </a:moveTo>
                    <a:lnTo>
                      <a:pt x="86" y="341"/>
                    </a:lnTo>
                    <a:lnTo>
                      <a:pt x="86" y="343"/>
                    </a:lnTo>
                    <a:lnTo>
                      <a:pt x="84" y="343"/>
                    </a:lnTo>
                    <a:lnTo>
                      <a:pt x="84" y="341"/>
                    </a:lnTo>
                    <a:close/>
                    <a:moveTo>
                      <a:pt x="518" y="501"/>
                    </a:moveTo>
                    <a:lnTo>
                      <a:pt x="520" y="501"/>
                    </a:lnTo>
                    <a:lnTo>
                      <a:pt x="520" y="503"/>
                    </a:lnTo>
                    <a:lnTo>
                      <a:pt x="518" y="503"/>
                    </a:lnTo>
                    <a:lnTo>
                      <a:pt x="518" y="501"/>
                    </a:lnTo>
                    <a:close/>
                    <a:moveTo>
                      <a:pt x="194" y="566"/>
                    </a:moveTo>
                    <a:lnTo>
                      <a:pt x="196" y="566"/>
                    </a:lnTo>
                    <a:lnTo>
                      <a:pt x="196" y="568"/>
                    </a:lnTo>
                    <a:lnTo>
                      <a:pt x="194" y="568"/>
                    </a:lnTo>
                    <a:lnTo>
                      <a:pt x="194" y="566"/>
                    </a:lnTo>
                    <a:close/>
                    <a:moveTo>
                      <a:pt x="118" y="593"/>
                    </a:moveTo>
                    <a:lnTo>
                      <a:pt x="118" y="595"/>
                    </a:lnTo>
                    <a:lnTo>
                      <a:pt x="118" y="593"/>
                    </a:lnTo>
                    <a:close/>
                    <a:moveTo>
                      <a:pt x="274" y="475"/>
                    </a:moveTo>
                    <a:lnTo>
                      <a:pt x="276" y="475"/>
                    </a:lnTo>
                    <a:lnTo>
                      <a:pt x="276" y="477"/>
                    </a:lnTo>
                    <a:lnTo>
                      <a:pt x="274" y="477"/>
                    </a:lnTo>
                    <a:lnTo>
                      <a:pt x="274" y="475"/>
                    </a:lnTo>
                    <a:close/>
                    <a:moveTo>
                      <a:pt x="68" y="368"/>
                    </a:moveTo>
                    <a:lnTo>
                      <a:pt x="70" y="368"/>
                    </a:lnTo>
                    <a:lnTo>
                      <a:pt x="68" y="368"/>
                    </a:lnTo>
                    <a:close/>
                    <a:moveTo>
                      <a:pt x="65" y="362"/>
                    </a:moveTo>
                    <a:lnTo>
                      <a:pt x="66" y="362"/>
                    </a:lnTo>
                    <a:lnTo>
                      <a:pt x="66" y="364"/>
                    </a:lnTo>
                    <a:lnTo>
                      <a:pt x="65" y="364"/>
                    </a:lnTo>
                    <a:lnTo>
                      <a:pt x="65" y="362"/>
                    </a:lnTo>
                    <a:close/>
                    <a:moveTo>
                      <a:pt x="194" y="562"/>
                    </a:moveTo>
                    <a:lnTo>
                      <a:pt x="194" y="564"/>
                    </a:lnTo>
                    <a:lnTo>
                      <a:pt x="194" y="562"/>
                    </a:lnTo>
                    <a:close/>
                    <a:moveTo>
                      <a:pt x="5455" y="658"/>
                    </a:moveTo>
                    <a:lnTo>
                      <a:pt x="5457" y="658"/>
                    </a:lnTo>
                    <a:lnTo>
                      <a:pt x="5455" y="658"/>
                    </a:lnTo>
                    <a:close/>
                    <a:moveTo>
                      <a:pt x="379" y="435"/>
                    </a:moveTo>
                    <a:lnTo>
                      <a:pt x="379" y="436"/>
                    </a:lnTo>
                    <a:lnTo>
                      <a:pt x="379" y="435"/>
                    </a:lnTo>
                    <a:close/>
                    <a:moveTo>
                      <a:pt x="293" y="43"/>
                    </a:moveTo>
                    <a:lnTo>
                      <a:pt x="295" y="43"/>
                    </a:lnTo>
                    <a:lnTo>
                      <a:pt x="295" y="47"/>
                    </a:lnTo>
                    <a:lnTo>
                      <a:pt x="293" y="47"/>
                    </a:lnTo>
                    <a:lnTo>
                      <a:pt x="293" y="43"/>
                    </a:lnTo>
                    <a:close/>
                    <a:moveTo>
                      <a:pt x="5568" y="686"/>
                    </a:moveTo>
                    <a:lnTo>
                      <a:pt x="5570" y="686"/>
                    </a:lnTo>
                    <a:lnTo>
                      <a:pt x="5570" y="688"/>
                    </a:lnTo>
                    <a:lnTo>
                      <a:pt x="5568" y="688"/>
                    </a:lnTo>
                    <a:lnTo>
                      <a:pt x="5568" y="686"/>
                    </a:lnTo>
                    <a:close/>
                    <a:moveTo>
                      <a:pt x="1594" y="854"/>
                    </a:moveTo>
                    <a:lnTo>
                      <a:pt x="1594" y="856"/>
                    </a:lnTo>
                    <a:lnTo>
                      <a:pt x="1594" y="854"/>
                    </a:lnTo>
                    <a:close/>
                    <a:moveTo>
                      <a:pt x="55" y="622"/>
                    </a:moveTo>
                    <a:lnTo>
                      <a:pt x="55" y="623"/>
                    </a:lnTo>
                    <a:lnTo>
                      <a:pt x="55" y="622"/>
                    </a:lnTo>
                    <a:close/>
                    <a:moveTo>
                      <a:pt x="383" y="440"/>
                    </a:moveTo>
                    <a:lnTo>
                      <a:pt x="385" y="440"/>
                    </a:lnTo>
                    <a:lnTo>
                      <a:pt x="383" y="440"/>
                    </a:lnTo>
                    <a:close/>
                    <a:moveTo>
                      <a:pt x="5617" y="677"/>
                    </a:moveTo>
                    <a:lnTo>
                      <a:pt x="5619" y="677"/>
                    </a:lnTo>
                    <a:lnTo>
                      <a:pt x="5619" y="679"/>
                    </a:lnTo>
                    <a:lnTo>
                      <a:pt x="5617" y="679"/>
                    </a:lnTo>
                    <a:lnTo>
                      <a:pt x="5617" y="677"/>
                    </a:lnTo>
                    <a:close/>
                    <a:moveTo>
                      <a:pt x="574" y="566"/>
                    </a:moveTo>
                    <a:lnTo>
                      <a:pt x="574" y="568"/>
                    </a:lnTo>
                    <a:lnTo>
                      <a:pt x="574" y="566"/>
                    </a:lnTo>
                    <a:close/>
                    <a:moveTo>
                      <a:pt x="1428" y="1085"/>
                    </a:moveTo>
                    <a:lnTo>
                      <a:pt x="1428" y="1087"/>
                    </a:lnTo>
                    <a:lnTo>
                      <a:pt x="1428" y="1085"/>
                    </a:lnTo>
                    <a:close/>
                    <a:moveTo>
                      <a:pt x="375" y="436"/>
                    </a:moveTo>
                    <a:lnTo>
                      <a:pt x="377" y="436"/>
                    </a:lnTo>
                    <a:lnTo>
                      <a:pt x="375" y="436"/>
                    </a:lnTo>
                    <a:close/>
                    <a:moveTo>
                      <a:pt x="578" y="555"/>
                    </a:moveTo>
                    <a:lnTo>
                      <a:pt x="579" y="555"/>
                    </a:lnTo>
                    <a:lnTo>
                      <a:pt x="578" y="555"/>
                    </a:lnTo>
                    <a:close/>
                    <a:moveTo>
                      <a:pt x="1413" y="1221"/>
                    </a:moveTo>
                    <a:lnTo>
                      <a:pt x="1413" y="1225"/>
                    </a:lnTo>
                    <a:lnTo>
                      <a:pt x="1413" y="1221"/>
                    </a:lnTo>
                    <a:close/>
                    <a:moveTo>
                      <a:pt x="103" y="62"/>
                    </a:moveTo>
                    <a:lnTo>
                      <a:pt x="101" y="64"/>
                    </a:lnTo>
                    <a:lnTo>
                      <a:pt x="103" y="64"/>
                    </a:lnTo>
                    <a:lnTo>
                      <a:pt x="101" y="66"/>
                    </a:lnTo>
                    <a:lnTo>
                      <a:pt x="101" y="68"/>
                    </a:lnTo>
                    <a:lnTo>
                      <a:pt x="99" y="70"/>
                    </a:lnTo>
                    <a:lnTo>
                      <a:pt x="101" y="66"/>
                    </a:lnTo>
                    <a:lnTo>
                      <a:pt x="103" y="62"/>
                    </a:lnTo>
                    <a:close/>
                    <a:moveTo>
                      <a:pt x="1388" y="1244"/>
                    </a:moveTo>
                    <a:lnTo>
                      <a:pt x="1390" y="1244"/>
                    </a:lnTo>
                    <a:lnTo>
                      <a:pt x="1390" y="1245"/>
                    </a:lnTo>
                    <a:lnTo>
                      <a:pt x="1388" y="1245"/>
                    </a:lnTo>
                    <a:lnTo>
                      <a:pt x="1388" y="1244"/>
                    </a:lnTo>
                    <a:close/>
                    <a:moveTo>
                      <a:pt x="1489" y="994"/>
                    </a:moveTo>
                    <a:lnTo>
                      <a:pt x="1489" y="996"/>
                    </a:lnTo>
                    <a:lnTo>
                      <a:pt x="1489" y="994"/>
                    </a:lnTo>
                    <a:close/>
                    <a:moveTo>
                      <a:pt x="126" y="229"/>
                    </a:moveTo>
                    <a:lnTo>
                      <a:pt x="127" y="229"/>
                    </a:lnTo>
                    <a:lnTo>
                      <a:pt x="127" y="232"/>
                    </a:lnTo>
                    <a:lnTo>
                      <a:pt x="126" y="232"/>
                    </a:lnTo>
                    <a:lnTo>
                      <a:pt x="126" y="229"/>
                    </a:lnTo>
                    <a:close/>
                    <a:moveTo>
                      <a:pt x="211" y="21"/>
                    </a:moveTo>
                    <a:lnTo>
                      <a:pt x="213" y="21"/>
                    </a:lnTo>
                    <a:lnTo>
                      <a:pt x="213" y="22"/>
                    </a:lnTo>
                    <a:lnTo>
                      <a:pt x="211" y="22"/>
                    </a:lnTo>
                    <a:lnTo>
                      <a:pt x="211" y="21"/>
                    </a:lnTo>
                    <a:close/>
                    <a:moveTo>
                      <a:pt x="110" y="55"/>
                    </a:moveTo>
                    <a:lnTo>
                      <a:pt x="105" y="57"/>
                    </a:lnTo>
                    <a:lnTo>
                      <a:pt x="103" y="61"/>
                    </a:lnTo>
                    <a:lnTo>
                      <a:pt x="103" y="62"/>
                    </a:lnTo>
                    <a:lnTo>
                      <a:pt x="103" y="61"/>
                    </a:lnTo>
                    <a:lnTo>
                      <a:pt x="105" y="57"/>
                    </a:lnTo>
                    <a:lnTo>
                      <a:pt x="110" y="55"/>
                    </a:lnTo>
                    <a:close/>
                    <a:moveTo>
                      <a:pt x="335" y="53"/>
                    </a:moveTo>
                    <a:lnTo>
                      <a:pt x="337" y="53"/>
                    </a:lnTo>
                    <a:lnTo>
                      <a:pt x="337" y="55"/>
                    </a:lnTo>
                    <a:lnTo>
                      <a:pt x="335" y="55"/>
                    </a:lnTo>
                    <a:lnTo>
                      <a:pt x="335" y="53"/>
                    </a:lnTo>
                    <a:close/>
                    <a:moveTo>
                      <a:pt x="1399" y="1232"/>
                    </a:moveTo>
                    <a:lnTo>
                      <a:pt x="1399" y="1234"/>
                    </a:lnTo>
                    <a:lnTo>
                      <a:pt x="1399" y="1232"/>
                    </a:lnTo>
                    <a:close/>
                    <a:moveTo>
                      <a:pt x="93" y="583"/>
                    </a:moveTo>
                    <a:lnTo>
                      <a:pt x="93" y="585"/>
                    </a:lnTo>
                    <a:lnTo>
                      <a:pt x="93" y="583"/>
                    </a:lnTo>
                    <a:close/>
                    <a:moveTo>
                      <a:pt x="86" y="343"/>
                    </a:moveTo>
                    <a:lnTo>
                      <a:pt x="87" y="343"/>
                    </a:lnTo>
                    <a:lnTo>
                      <a:pt x="87" y="345"/>
                    </a:lnTo>
                    <a:lnTo>
                      <a:pt x="86" y="345"/>
                    </a:lnTo>
                    <a:lnTo>
                      <a:pt x="86" y="343"/>
                    </a:lnTo>
                    <a:close/>
                    <a:moveTo>
                      <a:pt x="339" y="431"/>
                    </a:moveTo>
                    <a:lnTo>
                      <a:pt x="341" y="431"/>
                    </a:lnTo>
                    <a:lnTo>
                      <a:pt x="341" y="433"/>
                    </a:lnTo>
                    <a:lnTo>
                      <a:pt x="339" y="433"/>
                    </a:lnTo>
                    <a:lnTo>
                      <a:pt x="339" y="431"/>
                    </a:lnTo>
                    <a:close/>
                    <a:moveTo>
                      <a:pt x="1325" y="828"/>
                    </a:moveTo>
                    <a:lnTo>
                      <a:pt x="1325" y="830"/>
                    </a:lnTo>
                    <a:lnTo>
                      <a:pt x="1325" y="828"/>
                    </a:lnTo>
                    <a:close/>
                    <a:moveTo>
                      <a:pt x="564" y="562"/>
                    </a:moveTo>
                    <a:lnTo>
                      <a:pt x="564" y="564"/>
                    </a:lnTo>
                    <a:lnTo>
                      <a:pt x="564" y="562"/>
                    </a:lnTo>
                    <a:close/>
                    <a:moveTo>
                      <a:pt x="467" y="456"/>
                    </a:moveTo>
                    <a:lnTo>
                      <a:pt x="469" y="456"/>
                    </a:lnTo>
                    <a:lnTo>
                      <a:pt x="469" y="457"/>
                    </a:lnTo>
                    <a:lnTo>
                      <a:pt x="467" y="457"/>
                    </a:lnTo>
                    <a:lnTo>
                      <a:pt x="467" y="456"/>
                    </a:lnTo>
                    <a:close/>
                    <a:moveTo>
                      <a:pt x="511" y="480"/>
                    </a:moveTo>
                    <a:lnTo>
                      <a:pt x="513" y="480"/>
                    </a:lnTo>
                    <a:lnTo>
                      <a:pt x="513" y="482"/>
                    </a:lnTo>
                    <a:lnTo>
                      <a:pt x="511" y="482"/>
                    </a:lnTo>
                    <a:lnTo>
                      <a:pt x="511" y="480"/>
                    </a:lnTo>
                    <a:close/>
                    <a:moveTo>
                      <a:pt x="72" y="347"/>
                    </a:moveTo>
                    <a:lnTo>
                      <a:pt x="74" y="347"/>
                    </a:lnTo>
                    <a:lnTo>
                      <a:pt x="72" y="347"/>
                    </a:lnTo>
                    <a:close/>
                    <a:moveTo>
                      <a:pt x="1479" y="1034"/>
                    </a:moveTo>
                    <a:lnTo>
                      <a:pt x="1481" y="1034"/>
                    </a:lnTo>
                    <a:lnTo>
                      <a:pt x="1481" y="1036"/>
                    </a:lnTo>
                    <a:lnTo>
                      <a:pt x="1479" y="1036"/>
                    </a:lnTo>
                    <a:lnTo>
                      <a:pt x="1479" y="1034"/>
                    </a:lnTo>
                    <a:close/>
                    <a:moveTo>
                      <a:pt x="1321" y="835"/>
                    </a:moveTo>
                    <a:lnTo>
                      <a:pt x="1323" y="835"/>
                    </a:lnTo>
                    <a:lnTo>
                      <a:pt x="1323" y="837"/>
                    </a:lnTo>
                    <a:lnTo>
                      <a:pt x="1321" y="837"/>
                    </a:lnTo>
                    <a:lnTo>
                      <a:pt x="1321" y="835"/>
                    </a:lnTo>
                    <a:close/>
                    <a:moveTo>
                      <a:pt x="1478" y="994"/>
                    </a:moveTo>
                    <a:lnTo>
                      <a:pt x="1479" y="994"/>
                    </a:lnTo>
                    <a:lnTo>
                      <a:pt x="1478" y="994"/>
                    </a:lnTo>
                    <a:close/>
                    <a:moveTo>
                      <a:pt x="1497" y="973"/>
                    </a:moveTo>
                    <a:lnTo>
                      <a:pt x="1499" y="973"/>
                    </a:lnTo>
                    <a:lnTo>
                      <a:pt x="1499" y="975"/>
                    </a:lnTo>
                    <a:lnTo>
                      <a:pt x="1497" y="975"/>
                    </a:lnTo>
                    <a:lnTo>
                      <a:pt x="1497" y="973"/>
                    </a:lnTo>
                    <a:close/>
                    <a:moveTo>
                      <a:pt x="68" y="419"/>
                    </a:moveTo>
                    <a:lnTo>
                      <a:pt x="70" y="419"/>
                    </a:lnTo>
                    <a:lnTo>
                      <a:pt x="70" y="421"/>
                    </a:lnTo>
                    <a:lnTo>
                      <a:pt x="68" y="421"/>
                    </a:lnTo>
                    <a:lnTo>
                      <a:pt x="68" y="419"/>
                    </a:lnTo>
                    <a:close/>
                    <a:moveTo>
                      <a:pt x="1287" y="1142"/>
                    </a:moveTo>
                    <a:lnTo>
                      <a:pt x="1285" y="1142"/>
                    </a:lnTo>
                    <a:lnTo>
                      <a:pt x="1283" y="1142"/>
                    </a:lnTo>
                    <a:lnTo>
                      <a:pt x="1285" y="1142"/>
                    </a:lnTo>
                    <a:lnTo>
                      <a:pt x="1287" y="1142"/>
                    </a:lnTo>
                    <a:close/>
                    <a:moveTo>
                      <a:pt x="101" y="438"/>
                    </a:moveTo>
                    <a:lnTo>
                      <a:pt x="103" y="438"/>
                    </a:lnTo>
                    <a:lnTo>
                      <a:pt x="103" y="440"/>
                    </a:lnTo>
                    <a:lnTo>
                      <a:pt x="101" y="440"/>
                    </a:lnTo>
                    <a:lnTo>
                      <a:pt x="101" y="438"/>
                    </a:lnTo>
                    <a:close/>
                    <a:moveTo>
                      <a:pt x="539" y="494"/>
                    </a:moveTo>
                    <a:lnTo>
                      <a:pt x="541" y="494"/>
                    </a:lnTo>
                    <a:lnTo>
                      <a:pt x="541" y="496"/>
                    </a:lnTo>
                    <a:lnTo>
                      <a:pt x="539" y="496"/>
                    </a:lnTo>
                    <a:lnTo>
                      <a:pt x="539" y="494"/>
                    </a:lnTo>
                    <a:close/>
                    <a:moveTo>
                      <a:pt x="1552" y="917"/>
                    </a:moveTo>
                    <a:lnTo>
                      <a:pt x="1554" y="917"/>
                    </a:lnTo>
                    <a:lnTo>
                      <a:pt x="1554" y="919"/>
                    </a:lnTo>
                    <a:lnTo>
                      <a:pt x="1552" y="919"/>
                    </a:lnTo>
                    <a:lnTo>
                      <a:pt x="1552" y="917"/>
                    </a:lnTo>
                    <a:close/>
                    <a:moveTo>
                      <a:pt x="1449" y="1070"/>
                    </a:moveTo>
                    <a:lnTo>
                      <a:pt x="1451" y="1070"/>
                    </a:lnTo>
                    <a:lnTo>
                      <a:pt x="1451" y="1072"/>
                    </a:lnTo>
                    <a:lnTo>
                      <a:pt x="1449" y="1072"/>
                    </a:lnTo>
                    <a:lnTo>
                      <a:pt x="1449" y="1070"/>
                    </a:lnTo>
                    <a:close/>
                    <a:moveTo>
                      <a:pt x="1479" y="1009"/>
                    </a:moveTo>
                    <a:lnTo>
                      <a:pt x="1481" y="1009"/>
                    </a:lnTo>
                    <a:lnTo>
                      <a:pt x="1481" y="1011"/>
                    </a:lnTo>
                    <a:lnTo>
                      <a:pt x="1479" y="1011"/>
                    </a:lnTo>
                    <a:lnTo>
                      <a:pt x="1479" y="1009"/>
                    </a:lnTo>
                    <a:close/>
                    <a:moveTo>
                      <a:pt x="730" y="751"/>
                    </a:moveTo>
                    <a:lnTo>
                      <a:pt x="732" y="751"/>
                    </a:lnTo>
                    <a:lnTo>
                      <a:pt x="730" y="751"/>
                    </a:lnTo>
                    <a:close/>
                    <a:moveTo>
                      <a:pt x="1386" y="1245"/>
                    </a:moveTo>
                    <a:lnTo>
                      <a:pt x="1388" y="1245"/>
                    </a:lnTo>
                    <a:lnTo>
                      <a:pt x="1386" y="1245"/>
                    </a:lnTo>
                    <a:close/>
                    <a:moveTo>
                      <a:pt x="47" y="379"/>
                    </a:moveTo>
                    <a:lnTo>
                      <a:pt x="49" y="379"/>
                    </a:lnTo>
                    <a:lnTo>
                      <a:pt x="49" y="381"/>
                    </a:lnTo>
                    <a:lnTo>
                      <a:pt x="47" y="381"/>
                    </a:lnTo>
                    <a:lnTo>
                      <a:pt x="47" y="379"/>
                    </a:lnTo>
                    <a:close/>
                    <a:moveTo>
                      <a:pt x="314" y="396"/>
                    </a:moveTo>
                    <a:lnTo>
                      <a:pt x="316" y="396"/>
                    </a:lnTo>
                    <a:lnTo>
                      <a:pt x="316" y="398"/>
                    </a:lnTo>
                    <a:lnTo>
                      <a:pt x="314" y="398"/>
                    </a:lnTo>
                    <a:lnTo>
                      <a:pt x="314" y="396"/>
                    </a:lnTo>
                    <a:close/>
                    <a:moveTo>
                      <a:pt x="65" y="618"/>
                    </a:moveTo>
                    <a:lnTo>
                      <a:pt x="66" y="618"/>
                    </a:lnTo>
                    <a:lnTo>
                      <a:pt x="65" y="618"/>
                    </a:lnTo>
                    <a:close/>
                    <a:moveTo>
                      <a:pt x="608" y="602"/>
                    </a:moveTo>
                    <a:lnTo>
                      <a:pt x="610" y="602"/>
                    </a:lnTo>
                    <a:lnTo>
                      <a:pt x="610" y="604"/>
                    </a:lnTo>
                    <a:lnTo>
                      <a:pt x="608" y="604"/>
                    </a:lnTo>
                    <a:lnTo>
                      <a:pt x="608" y="602"/>
                    </a:lnTo>
                    <a:close/>
                    <a:moveTo>
                      <a:pt x="730" y="759"/>
                    </a:moveTo>
                    <a:lnTo>
                      <a:pt x="732" y="759"/>
                    </a:lnTo>
                    <a:lnTo>
                      <a:pt x="730" y="759"/>
                    </a:lnTo>
                    <a:close/>
                    <a:moveTo>
                      <a:pt x="520" y="517"/>
                    </a:moveTo>
                    <a:lnTo>
                      <a:pt x="520" y="519"/>
                    </a:lnTo>
                    <a:lnTo>
                      <a:pt x="520" y="517"/>
                    </a:lnTo>
                    <a:close/>
                    <a:moveTo>
                      <a:pt x="0" y="246"/>
                    </a:moveTo>
                    <a:lnTo>
                      <a:pt x="2" y="246"/>
                    </a:lnTo>
                    <a:lnTo>
                      <a:pt x="2" y="248"/>
                    </a:lnTo>
                    <a:lnTo>
                      <a:pt x="0" y="248"/>
                    </a:lnTo>
                    <a:lnTo>
                      <a:pt x="0" y="246"/>
                    </a:lnTo>
                    <a:close/>
                    <a:moveTo>
                      <a:pt x="1613" y="856"/>
                    </a:moveTo>
                    <a:lnTo>
                      <a:pt x="1613" y="858"/>
                    </a:lnTo>
                    <a:lnTo>
                      <a:pt x="1613" y="856"/>
                    </a:lnTo>
                    <a:close/>
                    <a:moveTo>
                      <a:pt x="152" y="574"/>
                    </a:moveTo>
                    <a:lnTo>
                      <a:pt x="154" y="574"/>
                    </a:lnTo>
                    <a:lnTo>
                      <a:pt x="154" y="576"/>
                    </a:lnTo>
                    <a:lnTo>
                      <a:pt x="152" y="576"/>
                    </a:lnTo>
                    <a:lnTo>
                      <a:pt x="152" y="574"/>
                    </a:lnTo>
                    <a:close/>
                    <a:moveTo>
                      <a:pt x="19" y="246"/>
                    </a:moveTo>
                    <a:lnTo>
                      <a:pt x="21" y="246"/>
                    </a:lnTo>
                    <a:lnTo>
                      <a:pt x="21" y="248"/>
                    </a:lnTo>
                    <a:lnTo>
                      <a:pt x="19" y="248"/>
                    </a:lnTo>
                    <a:lnTo>
                      <a:pt x="19" y="246"/>
                    </a:lnTo>
                    <a:close/>
                    <a:moveTo>
                      <a:pt x="1514" y="940"/>
                    </a:moveTo>
                    <a:lnTo>
                      <a:pt x="1518" y="940"/>
                    </a:lnTo>
                    <a:lnTo>
                      <a:pt x="1514" y="940"/>
                    </a:lnTo>
                    <a:close/>
                    <a:moveTo>
                      <a:pt x="1540" y="929"/>
                    </a:moveTo>
                    <a:lnTo>
                      <a:pt x="1540" y="931"/>
                    </a:lnTo>
                    <a:lnTo>
                      <a:pt x="1540" y="929"/>
                    </a:lnTo>
                    <a:close/>
                    <a:moveTo>
                      <a:pt x="564" y="601"/>
                    </a:moveTo>
                    <a:lnTo>
                      <a:pt x="564" y="602"/>
                    </a:lnTo>
                    <a:lnTo>
                      <a:pt x="564" y="601"/>
                    </a:lnTo>
                    <a:close/>
                    <a:moveTo>
                      <a:pt x="1405" y="1177"/>
                    </a:moveTo>
                    <a:lnTo>
                      <a:pt x="1405" y="1179"/>
                    </a:lnTo>
                    <a:lnTo>
                      <a:pt x="1405" y="1177"/>
                    </a:lnTo>
                    <a:close/>
                    <a:moveTo>
                      <a:pt x="1561" y="893"/>
                    </a:moveTo>
                    <a:lnTo>
                      <a:pt x="1561" y="896"/>
                    </a:lnTo>
                    <a:lnTo>
                      <a:pt x="1561" y="893"/>
                    </a:lnTo>
                    <a:close/>
                    <a:moveTo>
                      <a:pt x="127" y="570"/>
                    </a:moveTo>
                    <a:lnTo>
                      <a:pt x="129" y="570"/>
                    </a:lnTo>
                    <a:lnTo>
                      <a:pt x="127" y="570"/>
                    </a:lnTo>
                    <a:close/>
                    <a:moveTo>
                      <a:pt x="51" y="223"/>
                    </a:moveTo>
                    <a:lnTo>
                      <a:pt x="53" y="223"/>
                    </a:lnTo>
                    <a:lnTo>
                      <a:pt x="51" y="223"/>
                    </a:lnTo>
                    <a:close/>
                    <a:moveTo>
                      <a:pt x="147" y="593"/>
                    </a:moveTo>
                    <a:lnTo>
                      <a:pt x="147" y="595"/>
                    </a:lnTo>
                    <a:lnTo>
                      <a:pt x="147" y="593"/>
                    </a:lnTo>
                    <a:close/>
                    <a:moveTo>
                      <a:pt x="1579" y="870"/>
                    </a:moveTo>
                    <a:lnTo>
                      <a:pt x="1581" y="870"/>
                    </a:lnTo>
                    <a:lnTo>
                      <a:pt x="1581" y="872"/>
                    </a:lnTo>
                    <a:lnTo>
                      <a:pt x="1579" y="872"/>
                    </a:lnTo>
                    <a:lnTo>
                      <a:pt x="1579" y="870"/>
                    </a:lnTo>
                    <a:close/>
                    <a:moveTo>
                      <a:pt x="66" y="293"/>
                    </a:moveTo>
                    <a:lnTo>
                      <a:pt x="66" y="295"/>
                    </a:lnTo>
                    <a:lnTo>
                      <a:pt x="66" y="293"/>
                    </a:lnTo>
                    <a:close/>
                    <a:moveTo>
                      <a:pt x="570" y="580"/>
                    </a:moveTo>
                    <a:lnTo>
                      <a:pt x="570" y="581"/>
                    </a:lnTo>
                    <a:lnTo>
                      <a:pt x="570" y="580"/>
                    </a:lnTo>
                    <a:close/>
                    <a:moveTo>
                      <a:pt x="295" y="43"/>
                    </a:moveTo>
                    <a:lnTo>
                      <a:pt x="297" y="43"/>
                    </a:lnTo>
                    <a:lnTo>
                      <a:pt x="297" y="45"/>
                    </a:lnTo>
                    <a:lnTo>
                      <a:pt x="295" y="45"/>
                    </a:lnTo>
                    <a:lnTo>
                      <a:pt x="295" y="43"/>
                    </a:lnTo>
                    <a:close/>
                    <a:moveTo>
                      <a:pt x="536" y="547"/>
                    </a:moveTo>
                    <a:lnTo>
                      <a:pt x="537" y="547"/>
                    </a:lnTo>
                    <a:lnTo>
                      <a:pt x="536" y="547"/>
                    </a:lnTo>
                    <a:close/>
                    <a:moveTo>
                      <a:pt x="1504" y="965"/>
                    </a:moveTo>
                    <a:lnTo>
                      <a:pt x="1506" y="965"/>
                    </a:lnTo>
                    <a:lnTo>
                      <a:pt x="1504" y="965"/>
                    </a:lnTo>
                    <a:close/>
                    <a:moveTo>
                      <a:pt x="293" y="402"/>
                    </a:moveTo>
                    <a:lnTo>
                      <a:pt x="293" y="404"/>
                    </a:lnTo>
                    <a:lnTo>
                      <a:pt x="293" y="402"/>
                    </a:lnTo>
                    <a:close/>
                    <a:moveTo>
                      <a:pt x="114" y="51"/>
                    </a:moveTo>
                    <a:lnTo>
                      <a:pt x="122" y="53"/>
                    </a:lnTo>
                    <a:lnTo>
                      <a:pt x="114" y="51"/>
                    </a:lnTo>
                    <a:lnTo>
                      <a:pt x="112" y="51"/>
                    </a:lnTo>
                    <a:lnTo>
                      <a:pt x="112" y="53"/>
                    </a:lnTo>
                    <a:lnTo>
                      <a:pt x="112" y="51"/>
                    </a:lnTo>
                    <a:lnTo>
                      <a:pt x="114" y="51"/>
                    </a:lnTo>
                    <a:close/>
                    <a:moveTo>
                      <a:pt x="1277" y="1142"/>
                    </a:moveTo>
                    <a:lnTo>
                      <a:pt x="1279" y="1144"/>
                    </a:lnTo>
                    <a:lnTo>
                      <a:pt x="1275" y="1142"/>
                    </a:lnTo>
                    <a:lnTo>
                      <a:pt x="1277" y="1142"/>
                    </a:lnTo>
                    <a:close/>
                    <a:moveTo>
                      <a:pt x="68" y="343"/>
                    </a:moveTo>
                    <a:lnTo>
                      <a:pt x="70" y="343"/>
                    </a:lnTo>
                    <a:lnTo>
                      <a:pt x="70" y="345"/>
                    </a:lnTo>
                    <a:lnTo>
                      <a:pt x="68" y="345"/>
                    </a:lnTo>
                    <a:lnTo>
                      <a:pt x="68" y="343"/>
                    </a:lnTo>
                    <a:close/>
                    <a:moveTo>
                      <a:pt x="162" y="22"/>
                    </a:moveTo>
                    <a:lnTo>
                      <a:pt x="158" y="24"/>
                    </a:lnTo>
                    <a:lnTo>
                      <a:pt x="156" y="24"/>
                    </a:lnTo>
                    <a:lnTo>
                      <a:pt x="162" y="22"/>
                    </a:lnTo>
                    <a:close/>
                    <a:moveTo>
                      <a:pt x="465" y="459"/>
                    </a:moveTo>
                    <a:lnTo>
                      <a:pt x="465" y="461"/>
                    </a:lnTo>
                    <a:lnTo>
                      <a:pt x="465" y="459"/>
                    </a:lnTo>
                    <a:close/>
                    <a:moveTo>
                      <a:pt x="70" y="345"/>
                    </a:moveTo>
                    <a:lnTo>
                      <a:pt x="72" y="345"/>
                    </a:lnTo>
                    <a:lnTo>
                      <a:pt x="70" y="345"/>
                    </a:lnTo>
                    <a:close/>
                    <a:moveTo>
                      <a:pt x="1270" y="1163"/>
                    </a:moveTo>
                    <a:lnTo>
                      <a:pt x="1270" y="1165"/>
                    </a:lnTo>
                    <a:lnTo>
                      <a:pt x="1270" y="1163"/>
                    </a:lnTo>
                    <a:close/>
                    <a:moveTo>
                      <a:pt x="1392" y="1242"/>
                    </a:moveTo>
                    <a:lnTo>
                      <a:pt x="1392" y="1244"/>
                    </a:lnTo>
                    <a:lnTo>
                      <a:pt x="1392" y="1242"/>
                    </a:lnTo>
                    <a:close/>
                    <a:moveTo>
                      <a:pt x="566" y="583"/>
                    </a:moveTo>
                    <a:lnTo>
                      <a:pt x="566" y="585"/>
                    </a:lnTo>
                    <a:lnTo>
                      <a:pt x="566" y="583"/>
                    </a:lnTo>
                    <a:close/>
                    <a:moveTo>
                      <a:pt x="558" y="553"/>
                    </a:moveTo>
                    <a:lnTo>
                      <a:pt x="560" y="553"/>
                    </a:lnTo>
                    <a:lnTo>
                      <a:pt x="560" y="555"/>
                    </a:lnTo>
                    <a:lnTo>
                      <a:pt x="558" y="555"/>
                    </a:lnTo>
                    <a:lnTo>
                      <a:pt x="558" y="553"/>
                    </a:lnTo>
                    <a:close/>
                    <a:moveTo>
                      <a:pt x="38" y="625"/>
                    </a:moveTo>
                    <a:lnTo>
                      <a:pt x="40" y="625"/>
                    </a:lnTo>
                    <a:lnTo>
                      <a:pt x="40" y="627"/>
                    </a:lnTo>
                    <a:lnTo>
                      <a:pt x="38" y="627"/>
                    </a:lnTo>
                    <a:lnTo>
                      <a:pt x="38" y="625"/>
                    </a:lnTo>
                    <a:close/>
                    <a:moveTo>
                      <a:pt x="1451" y="1066"/>
                    </a:moveTo>
                    <a:lnTo>
                      <a:pt x="1453" y="1066"/>
                    </a:lnTo>
                    <a:lnTo>
                      <a:pt x="1451" y="1066"/>
                    </a:lnTo>
                    <a:close/>
                    <a:moveTo>
                      <a:pt x="1298" y="1142"/>
                    </a:moveTo>
                    <a:lnTo>
                      <a:pt x="1294" y="1142"/>
                    </a:lnTo>
                    <a:lnTo>
                      <a:pt x="1296" y="1142"/>
                    </a:lnTo>
                    <a:lnTo>
                      <a:pt x="1298" y="1142"/>
                    </a:lnTo>
                    <a:close/>
                    <a:moveTo>
                      <a:pt x="1542" y="925"/>
                    </a:moveTo>
                    <a:lnTo>
                      <a:pt x="1544" y="925"/>
                    </a:lnTo>
                    <a:lnTo>
                      <a:pt x="1544" y="927"/>
                    </a:lnTo>
                    <a:lnTo>
                      <a:pt x="1542" y="927"/>
                    </a:lnTo>
                    <a:lnTo>
                      <a:pt x="1542" y="925"/>
                    </a:lnTo>
                    <a:close/>
                    <a:moveTo>
                      <a:pt x="1476" y="975"/>
                    </a:moveTo>
                    <a:lnTo>
                      <a:pt x="1478" y="975"/>
                    </a:lnTo>
                    <a:lnTo>
                      <a:pt x="1478" y="976"/>
                    </a:lnTo>
                    <a:lnTo>
                      <a:pt x="1476" y="976"/>
                    </a:lnTo>
                    <a:lnTo>
                      <a:pt x="1476" y="975"/>
                    </a:lnTo>
                    <a:close/>
                    <a:moveTo>
                      <a:pt x="341" y="423"/>
                    </a:moveTo>
                    <a:lnTo>
                      <a:pt x="343" y="423"/>
                    </a:lnTo>
                    <a:lnTo>
                      <a:pt x="343" y="425"/>
                    </a:lnTo>
                    <a:lnTo>
                      <a:pt x="341" y="425"/>
                    </a:lnTo>
                    <a:lnTo>
                      <a:pt x="341" y="423"/>
                    </a:lnTo>
                    <a:close/>
                    <a:moveTo>
                      <a:pt x="97" y="72"/>
                    </a:moveTo>
                    <a:lnTo>
                      <a:pt x="95" y="74"/>
                    </a:lnTo>
                    <a:lnTo>
                      <a:pt x="95" y="78"/>
                    </a:lnTo>
                    <a:lnTo>
                      <a:pt x="95" y="76"/>
                    </a:lnTo>
                    <a:lnTo>
                      <a:pt x="97" y="72"/>
                    </a:lnTo>
                    <a:close/>
                    <a:moveTo>
                      <a:pt x="293" y="43"/>
                    </a:moveTo>
                    <a:lnTo>
                      <a:pt x="297" y="43"/>
                    </a:lnTo>
                    <a:lnTo>
                      <a:pt x="297" y="47"/>
                    </a:lnTo>
                    <a:lnTo>
                      <a:pt x="293" y="47"/>
                    </a:lnTo>
                    <a:lnTo>
                      <a:pt x="293" y="43"/>
                    </a:lnTo>
                    <a:close/>
                    <a:moveTo>
                      <a:pt x="337" y="53"/>
                    </a:moveTo>
                    <a:lnTo>
                      <a:pt x="337" y="55"/>
                    </a:lnTo>
                    <a:lnTo>
                      <a:pt x="337" y="53"/>
                    </a:lnTo>
                    <a:close/>
                    <a:moveTo>
                      <a:pt x="806" y="1078"/>
                    </a:moveTo>
                    <a:lnTo>
                      <a:pt x="808" y="1078"/>
                    </a:lnTo>
                    <a:lnTo>
                      <a:pt x="806" y="1078"/>
                    </a:lnTo>
                    <a:close/>
                    <a:moveTo>
                      <a:pt x="45" y="227"/>
                    </a:moveTo>
                    <a:lnTo>
                      <a:pt x="47" y="227"/>
                    </a:lnTo>
                    <a:lnTo>
                      <a:pt x="47" y="229"/>
                    </a:lnTo>
                    <a:lnTo>
                      <a:pt x="45" y="229"/>
                    </a:lnTo>
                    <a:lnTo>
                      <a:pt x="45" y="227"/>
                    </a:lnTo>
                    <a:close/>
                    <a:moveTo>
                      <a:pt x="5690" y="662"/>
                    </a:moveTo>
                    <a:lnTo>
                      <a:pt x="5692" y="662"/>
                    </a:lnTo>
                    <a:lnTo>
                      <a:pt x="5690" y="662"/>
                    </a:lnTo>
                    <a:close/>
                    <a:moveTo>
                      <a:pt x="291" y="45"/>
                    </a:moveTo>
                    <a:lnTo>
                      <a:pt x="293" y="45"/>
                    </a:lnTo>
                    <a:lnTo>
                      <a:pt x="293" y="47"/>
                    </a:lnTo>
                    <a:lnTo>
                      <a:pt x="291" y="47"/>
                    </a:lnTo>
                    <a:lnTo>
                      <a:pt x="291" y="45"/>
                    </a:lnTo>
                    <a:close/>
                    <a:moveTo>
                      <a:pt x="1438" y="1076"/>
                    </a:moveTo>
                    <a:lnTo>
                      <a:pt x="1439" y="1076"/>
                    </a:lnTo>
                    <a:lnTo>
                      <a:pt x="1438" y="1076"/>
                    </a:lnTo>
                    <a:close/>
                    <a:moveTo>
                      <a:pt x="114" y="232"/>
                    </a:moveTo>
                    <a:lnTo>
                      <a:pt x="116" y="232"/>
                    </a:lnTo>
                    <a:lnTo>
                      <a:pt x="116" y="234"/>
                    </a:lnTo>
                    <a:lnTo>
                      <a:pt x="114" y="234"/>
                    </a:lnTo>
                    <a:lnTo>
                      <a:pt x="114" y="232"/>
                    </a:lnTo>
                    <a:close/>
                    <a:moveTo>
                      <a:pt x="734" y="763"/>
                    </a:moveTo>
                    <a:lnTo>
                      <a:pt x="736" y="763"/>
                    </a:lnTo>
                    <a:lnTo>
                      <a:pt x="736" y="765"/>
                    </a:lnTo>
                    <a:lnTo>
                      <a:pt x="734" y="765"/>
                    </a:lnTo>
                    <a:lnTo>
                      <a:pt x="734" y="763"/>
                    </a:lnTo>
                    <a:close/>
                    <a:moveTo>
                      <a:pt x="93" y="82"/>
                    </a:moveTo>
                    <a:lnTo>
                      <a:pt x="93" y="83"/>
                    </a:lnTo>
                    <a:lnTo>
                      <a:pt x="93" y="91"/>
                    </a:lnTo>
                    <a:lnTo>
                      <a:pt x="93" y="83"/>
                    </a:lnTo>
                    <a:lnTo>
                      <a:pt x="93" y="82"/>
                    </a:lnTo>
                    <a:close/>
                    <a:moveTo>
                      <a:pt x="1365" y="1160"/>
                    </a:moveTo>
                    <a:lnTo>
                      <a:pt x="1365" y="1162"/>
                    </a:lnTo>
                    <a:lnTo>
                      <a:pt x="1365" y="1160"/>
                    </a:lnTo>
                    <a:close/>
                    <a:moveTo>
                      <a:pt x="244" y="541"/>
                    </a:moveTo>
                    <a:lnTo>
                      <a:pt x="246" y="541"/>
                    </a:lnTo>
                    <a:lnTo>
                      <a:pt x="244" y="541"/>
                    </a:lnTo>
                    <a:close/>
                    <a:moveTo>
                      <a:pt x="524" y="494"/>
                    </a:moveTo>
                    <a:lnTo>
                      <a:pt x="526" y="494"/>
                    </a:lnTo>
                    <a:lnTo>
                      <a:pt x="526" y="496"/>
                    </a:lnTo>
                    <a:lnTo>
                      <a:pt x="524" y="496"/>
                    </a:lnTo>
                    <a:lnTo>
                      <a:pt x="524" y="494"/>
                    </a:lnTo>
                    <a:close/>
                    <a:moveTo>
                      <a:pt x="293" y="47"/>
                    </a:moveTo>
                    <a:lnTo>
                      <a:pt x="293" y="49"/>
                    </a:lnTo>
                    <a:lnTo>
                      <a:pt x="293" y="47"/>
                    </a:lnTo>
                    <a:close/>
                    <a:moveTo>
                      <a:pt x="72" y="291"/>
                    </a:moveTo>
                    <a:lnTo>
                      <a:pt x="68" y="295"/>
                    </a:lnTo>
                    <a:lnTo>
                      <a:pt x="68" y="293"/>
                    </a:lnTo>
                    <a:lnTo>
                      <a:pt x="68" y="295"/>
                    </a:lnTo>
                    <a:lnTo>
                      <a:pt x="72" y="291"/>
                    </a:lnTo>
                    <a:close/>
                    <a:moveTo>
                      <a:pt x="1329" y="826"/>
                    </a:moveTo>
                    <a:lnTo>
                      <a:pt x="1331" y="826"/>
                    </a:lnTo>
                    <a:lnTo>
                      <a:pt x="1331" y="828"/>
                    </a:lnTo>
                    <a:lnTo>
                      <a:pt x="1329" y="828"/>
                    </a:lnTo>
                    <a:lnTo>
                      <a:pt x="1329" y="826"/>
                    </a:lnTo>
                    <a:close/>
                    <a:moveTo>
                      <a:pt x="70" y="345"/>
                    </a:moveTo>
                    <a:lnTo>
                      <a:pt x="70" y="347"/>
                    </a:lnTo>
                    <a:lnTo>
                      <a:pt x="70" y="345"/>
                    </a:lnTo>
                    <a:close/>
                    <a:moveTo>
                      <a:pt x="269" y="480"/>
                    </a:moveTo>
                    <a:lnTo>
                      <a:pt x="270" y="480"/>
                    </a:lnTo>
                    <a:lnTo>
                      <a:pt x="270" y="482"/>
                    </a:lnTo>
                    <a:lnTo>
                      <a:pt x="269" y="482"/>
                    </a:lnTo>
                    <a:lnTo>
                      <a:pt x="269" y="480"/>
                    </a:lnTo>
                    <a:close/>
                    <a:moveTo>
                      <a:pt x="1415" y="1207"/>
                    </a:moveTo>
                    <a:lnTo>
                      <a:pt x="1415" y="1209"/>
                    </a:lnTo>
                    <a:lnTo>
                      <a:pt x="1415" y="1207"/>
                    </a:lnTo>
                    <a:lnTo>
                      <a:pt x="1415" y="1205"/>
                    </a:lnTo>
                    <a:lnTo>
                      <a:pt x="1415" y="1207"/>
                    </a:lnTo>
                    <a:close/>
                    <a:moveTo>
                      <a:pt x="1476" y="986"/>
                    </a:moveTo>
                    <a:lnTo>
                      <a:pt x="1476" y="990"/>
                    </a:lnTo>
                    <a:lnTo>
                      <a:pt x="1476" y="986"/>
                    </a:lnTo>
                    <a:close/>
                    <a:moveTo>
                      <a:pt x="1310" y="831"/>
                    </a:moveTo>
                    <a:lnTo>
                      <a:pt x="1310" y="833"/>
                    </a:lnTo>
                    <a:lnTo>
                      <a:pt x="1310" y="831"/>
                    </a:lnTo>
                    <a:close/>
                    <a:moveTo>
                      <a:pt x="572" y="561"/>
                    </a:moveTo>
                    <a:lnTo>
                      <a:pt x="574" y="561"/>
                    </a:lnTo>
                    <a:lnTo>
                      <a:pt x="572" y="561"/>
                    </a:lnTo>
                    <a:close/>
                    <a:moveTo>
                      <a:pt x="579" y="551"/>
                    </a:moveTo>
                    <a:lnTo>
                      <a:pt x="579" y="553"/>
                    </a:lnTo>
                    <a:lnTo>
                      <a:pt x="579" y="551"/>
                    </a:lnTo>
                    <a:close/>
                    <a:moveTo>
                      <a:pt x="1254" y="1156"/>
                    </a:moveTo>
                    <a:lnTo>
                      <a:pt x="1256" y="1156"/>
                    </a:lnTo>
                    <a:lnTo>
                      <a:pt x="1256" y="1158"/>
                    </a:lnTo>
                    <a:lnTo>
                      <a:pt x="1254" y="1158"/>
                    </a:lnTo>
                    <a:lnTo>
                      <a:pt x="1254" y="1156"/>
                    </a:lnTo>
                    <a:close/>
                    <a:moveTo>
                      <a:pt x="312" y="450"/>
                    </a:moveTo>
                    <a:lnTo>
                      <a:pt x="312" y="452"/>
                    </a:lnTo>
                    <a:lnTo>
                      <a:pt x="312" y="450"/>
                    </a:lnTo>
                    <a:close/>
                    <a:moveTo>
                      <a:pt x="126" y="229"/>
                    </a:moveTo>
                    <a:lnTo>
                      <a:pt x="126" y="230"/>
                    </a:lnTo>
                    <a:lnTo>
                      <a:pt x="126" y="229"/>
                    </a:lnTo>
                    <a:close/>
                    <a:moveTo>
                      <a:pt x="1390" y="1244"/>
                    </a:moveTo>
                    <a:lnTo>
                      <a:pt x="1392" y="1244"/>
                    </a:lnTo>
                    <a:lnTo>
                      <a:pt x="1390" y="1244"/>
                    </a:lnTo>
                    <a:close/>
                    <a:moveTo>
                      <a:pt x="1268" y="1163"/>
                    </a:moveTo>
                    <a:lnTo>
                      <a:pt x="1270" y="1163"/>
                    </a:lnTo>
                    <a:lnTo>
                      <a:pt x="1270" y="1165"/>
                    </a:lnTo>
                    <a:lnTo>
                      <a:pt x="1268" y="1165"/>
                    </a:lnTo>
                    <a:lnTo>
                      <a:pt x="1268" y="1163"/>
                    </a:lnTo>
                    <a:close/>
                    <a:moveTo>
                      <a:pt x="343" y="425"/>
                    </a:moveTo>
                    <a:lnTo>
                      <a:pt x="345" y="425"/>
                    </a:lnTo>
                    <a:lnTo>
                      <a:pt x="343" y="425"/>
                    </a:lnTo>
                    <a:close/>
                    <a:moveTo>
                      <a:pt x="1375" y="1196"/>
                    </a:moveTo>
                    <a:lnTo>
                      <a:pt x="1375" y="1198"/>
                    </a:lnTo>
                    <a:lnTo>
                      <a:pt x="1376" y="1200"/>
                    </a:lnTo>
                    <a:lnTo>
                      <a:pt x="1375" y="1198"/>
                    </a:lnTo>
                    <a:lnTo>
                      <a:pt x="1375" y="1196"/>
                    </a:lnTo>
                    <a:close/>
                    <a:moveTo>
                      <a:pt x="305" y="457"/>
                    </a:moveTo>
                    <a:lnTo>
                      <a:pt x="307" y="457"/>
                    </a:lnTo>
                    <a:lnTo>
                      <a:pt x="307" y="459"/>
                    </a:lnTo>
                    <a:lnTo>
                      <a:pt x="305" y="459"/>
                    </a:lnTo>
                    <a:lnTo>
                      <a:pt x="305" y="457"/>
                    </a:lnTo>
                    <a:close/>
                    <a:moveTo>
                      <a:pt x="578" y="553"/>
                    </a:moveTo>
                    <a:lnTo>
                      <a:pt x="579" y="553"/>
                    </a:lnTo>
                    <a:lnTo>
                      <a:pt x="579" y="555"/>
                    </a:lnTo>
                    <a:lnTo>
                      <a:pt x="578" y="555"/>
                    </a:lnTo>
                    <a:lnTo>
                      <a:pt x="578" y="553"/>
                    </a:lnTo>
                    <a:close/>
                    <a:moveTo>
                      <a:pt x="335" y="438"/>
                    </a:moveTo>
                    <a:lnTo>
                      <a:pt x="335" y="440"/>
                    </a:lnTo>
                    <a:lnTo>
                      <a:pt x="335" y="438"/>
                    </a:lnTo>
                    <a:close/>
                    <a:moveTo>
                      <a:pt x="1373" y="1194"/>
                    </a:moveTo>
                    <a:lnTo>
                      <a:pt x="1375" y="1194"/>
                    </a:lnTo>
                    <a:lnTo>
                      <a:pt x="1375" y="1196"/>
                    </a:lnTo>
                    <a:lnTo>
                      <a:pt x="1373" y="1196"/>
                    </a:lnTo>
                    <a:lnTo>
                      <a:pt x="1373" y="1194"/>
                    </a:lnTo>
                    <a:close/>
                    <a:moveTo>
                      <a:pt x="1600" y="858"/>
                    </a:moveTo>
                    <a:lnTo>
                      <a:pt x="1600" y="860"/>
                    </a:lnTo>
                    <a:lnTo>
                      <a:pt x="1600" y="858"/>
                    </a:lnTo>
                    <a:close/>
                    <a:moveTo>
                      <a:pt x="265" y="515"/>
                    </a:moveTo>
                    <a:lnTo>
                      <a:pt x="265" y="517"/>
                    </a:lnTo>
                    <a:lnTo>
                      <a:pt x="265" y="515"/>
                    </a:lnTo>
                    <a:close/>
                    <a:moveTo>
                      <a:pt x="463" y="452"/>
                    </a:moveTo>
                    <a:lnTo>
                      <a:pt x="463" y="454"/>
                    </a:lnTo>
                    <a:lnTo>
                      <a:pt x="463" y="452"/>
                    </a:lnTo>
                    <a:close/>
                    <a:moveTo>
                      <a:pt x="1270" y="1163"/>
                    </a:moveTo>
                    <a:lnTo>
                      <a:pt x="1272" y="1163"/>
                    </a:lnTo>
                    <a:lnTo>
                      <a:pt x="1270" y="1163"/>
                    </a:lnTo>
                    <a:close/>
                    <a:moveTo>
                      <a:pt x="295" y="43"/>
                    </a:moveTo>
                    <a:lnTo>
                      <a:pt x="295" y="45"/>
                    </a:lnTo>
                    <a:lnTo>
                      <a:pt x="295" y="43"/>
                    </a:lnTo>
                    <a:close/>
                    <a:moveTo>
                      <a:pt x="520" y="490"/>
                    </a:moveTo>
                    <a:lnTo>
                      <a:pt x="522" y="490"/>
                    </a:lnTo>
                    <a:lnTo>
                      <a:pt x="520" y="490"/>
                    </a:lnTo>
                    <a:close/>
                    <a:moveTo>
                      <a:pt x="147" y="593"/>
                    </a:moveTo>
                    <a:lnTo>
                      <a:pt x="148" y="593"/>
                    </a:lnTo>
                    <a:lnTo>
                      <a:pt x="147" y="593"/>
                    </a:lnTo>
                    <a:close/>
                    <a:moveTo>
                      <a:pt x="1371" y="1184"/>
                    </a:moveTo>
                    <a:lnTo>
                      <a:pt x="1371" y="1186"/>
                    </a:lnTo>
                    <a:lnTo>
                      <a:pt x="1371" y="1188"/>
                    </a:lnTo>
                    <a:lnTo>
                      <a:pt x="1371" y="1186"/>
                    </a:lnTo>
                    <a:lnTo>
                      <a:pt x="1371" y="1184"/>
                    </a:lnTo>
                    <a:close/>
                    <a:moveTo>
                      <a:pt x="1499" y="971"/>
                    </a:moveTo>
                    <a:lnTo>
                      <a:pt x="1499" y="973"/>
                    </a:lnTo>
                    <a:lnTo>
                      <a:pt x="1499" y="971"/>
                    </a:lnTo>
                    <a:close/>
                    <a:moveTo>
                      <a:pt x="1376" y="1200"/>
                    </a:moveTo>
                    <a:lnTo>
                      <a:pt x="1376" y="1202"/>
                    </a:lnTo>
                    <a:lnTo>
                      <a:pt x="1376" y="1200"/>
                    </a:lnTo>
                    <a:close/>
                    <a:moveTo>
                      <a:pt x="1468" y="1059"/>
                    </a:moveTo>
                    <a:lnTo>
                      <a:pt x="1470" y="1059"/>
                    </a:lnTo>
                    <a:lnTo>
                      <a:pt x="1470" y="1060"/>
                    </a:lnTo>
                    <a:lnTo>
                      <a:pt x="1468" y="1060"/>
                    </a:lnTo>
                    <a:lnTo>
                      <a:pt x="1468" y="1059"/>
                    </a:lnTo>
                    <a:close/>
                    <a:moveTo>
                      <a:pt x="562" y="578"/>
                    </a:moveTo>
                    <a:lnTo>
                      <a:pt x="564" y="578"/>
                    </a:lnTo>
                    <a:lnTo>
                      <a:pt x="562" y="578"/>
                    </a:lnTo>
                    <a:close/>
                    <a:moveTo>
                      <a:pt x="53" y="221"/>
                    </a:moveTo>
                    <a:lnTo>
                      <a:pt x="55" y="221"/>
                    </a:lnTo>
                    <a:lnTo>
                      <a:pt x="55" y="223"/>
                    </a:lnTo>
                    <a:lnTo>
                      <a:pt x="53" y="223"/>
                    </a:lnTo>
                    <a:lnTo>
                      <a:pt x="53" y="221"/>
                    </a:lnTo>
                    <a:close/>
                    <a:moveTo>
                      <a:pt x="63" y="360"/>
                    </a:moveTo>
                    <a:lnTo>
                      <a:pt x="65" y="360"/>
                    </a:lnTo>
                    <a:lnTo>
                      <a:pt x="65" y="362"/>
                    </a:lnTo>
                    <a:lnTo>
                      <a:pt x="63" y="362"/>
                    </a:lnTo>
                    <a:lnTo>
                      <a:pt x="63" y="360"/>
                    </a:lnTo>
                    <a:close/>
                    <a:moveTo>
                      <a:pt x="1262" y="1144"/>
                    </a:moveTo>
                    <a:lnTo>
                      <a:pt x="1264" y="1144"/>
                    </a:lnTo>
                    <a:lnTo>
                      <a:pt x="1262" y="1144"/>
                    </a:lnTo>
                    <a:close/>
                    <a:moveTo>
                      <a:pt x="293" y="45"/>
                    </a:moveTo>
                    <a:lnTo>
                      <a:pt x="295" y="45"/>
                    </a:lnTo>
                    <a:lnTo>
                      <a:pt x="295" y="47"/>
                    </a:lnTo>
                    <a:lnTo>
                      <a:pt x="293" y="47"/>
                    </a:lnTo>
                    <a:lnTo>
                      <a:pt x="293" y="45"/>
                    </a:lnTo>
                    <a:close/>
                    <a:moveTo>
                      <a:pt x="724" y="816"/>
                    </a:moveTo>
                    <a:lnTo>
                      <a:pt x="724" y="818"/>
                    </a:lnTo>
                    <a:lnTo>
                      <a:pt x="724" y="816"/>
                    </a:lnTo>
                    <a:close/>
                    <a:moveTo>
                      <a:pt x="1478" y="992"/>
                    </a:moveTo>
                    <a:lnTo>
                      <a:pt x="1479" y="992"/>
                    </a:lnTo>
                    <a:lnTo>
                      <a:pt x="1478" y="992"/>
                    </a:lnTo>
                    <a:close/>
                    <a:moveTo>
                      <a:pt x="566" y="570"/>
                    </a:moveTo>
                    <a:lnTo>
                      <a:pt x="568" y="570"/>
                    </a:lnTo>
                    <a:lnTo>
                      <a:pt x="566" y="570"/>
                    </a:lnTo>
                    <a:close/>
                    <a:moveTo>
                      <a:pt x="391" y="446"/>
                    </a:moveTo>
                    <a:lnTo>
                      <a:pt x="391" y="448"/>
                    </a:lnTo>
                    <a:lnTo>
                      <a:pt x="391" y="446"/>
                    </a:lnTo>
                    <a:close/>
                    <a:moveTo>
                      <a:pt x="1253" y="1156"/>
                    </a:moveTo>
                    <a:lnTo>
                      <a:pt x="1254" y="1156"/>
                    </a:lnTo>
                    <a:lnTo>
                      <a:pt x="1253" y="1156"/>
                    </a:lnTo>
                    <a:close/>
                    <a:moveTo>
                      <a:pt x="97" y="612"/>
                    </a:moveTo>
                    <a:lnTo>
                      <a:pt x="99" y="612"/>
                    </a:lnTo>
                    <a:lnTo>
                      <a:pt x="99" y="614"/>
                    </a:lnTo>
                    <a:lnTo>
                      <a:pt x="97" y="614"/>
                    </a:lnTo>
                    <a:lnTo>
                      <a:pt x="97" y="612"/>
                    </a:lnTo>
                    <a:close/>
                    <a:moveTo>
                      <a:pt x="1397" y="1242"/>
                    </a:moveTo>
                    <a:lnTo>
                      <a:pt x="1399" y="1242"/>
                    </a:lnTo>
                    <a:lnTo>
                      <a:pt x="1399" y="1244"/>
                    </a:lnTo>
                    <a:lnTo>
                      <a:pt x="1397" y="1244"/>
                    </a:lnTo>
                    <a:lnTo>
                      <a:pt x="1397" y="1242"/>
                    </a:lnTo>
                    <a:close/>
                    <a:moveTo>
                      <a:pt x="1243" y="799"/>
                    </a:moveTo>
                    <a:lnTo>
                      <a:pt x="1245" y="799"/>
                    </a:lnTo>
                    <a:lnTo>
                      <a:pt x="1243" y="799"/>
                    </a:lnTo>
                    <a:close/>
                    <a:moveTo>
                      <a:pt x="34" y="232"/>
                    </a:moveTo>
                    <a:lnTo>
                      <a:pt x="38" y="232"/>
                    </a:lnTo>
                    <a:lnTo>
                      <a:pt x="38" y="234"/>
                    </a:lnTo>
                    <a:lnTo>
                      <a:pt x="34" y="234"/>
                    </a:lnTo>
                    <a:lnTo>
                      <a:pt x="34" y="232"/>
                    </a:lnTo>
                    <a:close/>
                    <a:moveTo>
                      <a:pt x="112" y="595"/>
                    </a:moveTo>
                    <a:lnTo>
                      <a:pt x="114" y="595"/>
                    </a:lnTo>
                    <a:lnTo>
                      <a:pt x="114" y="597"/>
                    </a:lnTo>
                    <a:lnTo>
                      <a:pt x="112" y="597"/>
                    </a:lnTo>
                    <a:lnTo>
                      <a:pt x="112" y="595"/>
                    </a:lnTo>
                    <a:close/>
                    <a:moveTo>
                      <a:pt x="248" y="517"/>
                    </a:moveTo>
                    <a:lnTo>
                      <a:pt x="250" y="517"/>
                    </a:lnTo>
                    <a:lnTo>
                      <a:pt x="250" y="519"/>
                    </a:lnTo>
                    <a:lnTo>
                      <a:pt x="248" y="519"/>
                    </a:lnTo>
                    <a:lnTo>
                      <a:pt x="248" y="517"/>
                    </a:lnTo>
                    <a:close/>
                    <a:moveTo>
                      <a:pt x="1483" y="1005"/>
                    </a:moveTo>
                    <a:lnTo>
                      <a:pt x="1485" y="1005"/>
                    </a:lnTo>
                    <a:lnTo>
                      <a:pt x="1485" y="1007"/>
                    </a:lnTo>
                    <a:lnTo>
                      <a:pt x="1483" y="1007"/>
                    </a:lnTo>
                    <a:lnTo>
                      <a:pt x="1483" y="1005"/>
                    </a:lnTo>
                    <a:close/>
                    <a:moveTo>
                      <a:pt x="309" y="40"/>
                    </a:moveTo>
                    <a:lnTo>
                      <a:pt x="311" y="40"/>
                    </a:lnTo>
                    <a:lnTo>
                      <a:pt x="309" y="40"/>
                    </a:lnTo>
                    <a:close/>
                    <a:moveTo>
                      <a:pt x="1378" y="1207"/>
                    </a:moveTo>
                    <a:lnTo>
                      <a:pt x="1380" y="1207"/>
                    </a:lnTo>
                    <a:lnTo>
                      <a:pt x="1380" y="1209"/>
                    </a:lnTo>
                    <a:lnTo>
                      <a:pt x="1378" y="1209"/>
                    </a:lnTo>
                    <a:lnTo>
                      <a:pt x="1378" y="1207"/>
                    </a:lnTo>
                    <a:close/>
                    <a:moveTo>
                      <a:pt x="66" y="362"/>
                    </a:moveTo>
                    <a:lnTo>
                      <a:pt x="66" y="364"/>
                    </a:lnTo>
                    <a:lnTo>
                      <a:pt x="66" y="362"/>
                    </a:lnTo>
                    <a:close/>
                    <a:moveTo>
                      <a:pt x="1479" y="990"/>
                    </a:moveTo>
                    <a:lnTo>
                      <a:pt x="1479" y="992"/>
                    </a:lnTo>
                    <a:lnTo>
                      <a:pt x="1479" y="990"/>
                    </a:lnTo>
                    <a:close/>
                    <a:moveTo>
                      <a:pt x="291" y="45"/>
                    </a:moveTo>
                    <a:lnTo>
                      <a:pt x="291" y="47"/>
                    </a:lnTo>
                    <a:lnTo>
                      <a:pt x="291" y="45"/>
                    </a:lnTo>
                    <a:close/>
                    <a:moveTo>
                      <a:pt x="574" y="538"/>
                    </a:moveTo>
                    <a:lnTo>
                      <a:pt x="576" y="538"/>
                    </a:lnTo>
                    <a:lnTo>
                      <a:pt x="576" y="540"/>
                    </a:lnTo>
                    <a:lnTo>
                      <a:pt x="574" y="540"/>
                    </a:lnTo>
                    <a:lnTo>
                      <a:pt x="574" y="538"/>
                    </a:lnTo>
                    <a:close/>
                    <a:moveTo>
                      <a:pt x="86" y="343"/>
                    </a:moveTo>
                    <a:lnTo>
                      <a:pt x="86" y="345"/>
                    </a:lnTo>
                    <a:lnTo>
                      <a:pt x="86" y="343"/>
                    </a:lnTo>
                    <a:close/>
                    <a:moveTo>
                      <a:pt x="379" y="436"/>
                    </a:moveTo>
                    <a:lnTo>
                      <a:pt x="381" y="436"/>
                    </a:lnTo>
                    <a:lnTo>
                      <a:pt x="381" y="438"/>
                    </a:lnTo>
                    <a:lnTo>
                      <a:pt x="379" y="438"/>
                    </a:lnTo>
                    <a:lnTo>
                      <a:pt x="379" y="436"/>
                    </a:lnTo>
                    <a:close/>
                    <a:moveTo>
                      <a:pt x="265" y="528"/>
                    </a:moveTo>
                    <a:lnTo>
                      <a:pt x="267" y="528"/>
                    </a:lnTo>
                    <a:lnTo>
                      <a:pt x="265" y="528"/>
                    </a:lnTo>
                    <a:close/>
                    <a:moveTo>
                      <a:pt x="1266" y="1165"/>
                    </a:moveTo>
                    <a:lnTo>
                      <a:pt x="1266" y="1167"/>
                    </a:lnTo>
                    <a:lnTo>
                      <a:pt x="1266" y="1165"/>
                    </a:lnTo>
                    <a:close/>
                    <a:moveTo>
                      <a:pt x="259" y="492"/>
                    </a:moveTo>
                    <a:lnTo>
                      <a:pt x="261" y="492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59" y="492"/>
                    </a:lnTo>
                    <a:close/>
                    <a:moveTo>
                      <a:pt x="1270" y="1142"/>
                    </a:moveTo>
                    <a:lnTo>
                      <a:pt x="1272" y="1142"/>
                    </a:lnTo>
                    <a:lnTo>
                      <a:pt x="1272" y="1144"/>
                    </a:lnTo>
                    <a:lnTo>
                      <a:pt x="1270" y="1144"/>
                    </a:lnTo>
                    <a:lnTo>
                      <a:pt x="1270" y="1142"/>
                    </a:lnTo>
                    <a:close/>
                    <a:moveTo>
                      <a:pt x="1575" y="919"/>
                    </a:moveTo>
                    <a:lnTo>
                      <a:pt x="1575" y="921"/>
                    </a:lnTo>
                    <a:lnTo>
                      <a:pt x="1575" y="919"/>
                    </a:lnTo>
                    <a:close/>
                    <a:moveTo>
                      <a:pt x="1270" y="1163"/>
                    </a:moveTo>
                    <a:lnTo>
                      <a:pt x="1272" y="1163"/>
                    </a:lnTo>
                    <a:lnTo>
                      <a:pt x="1270" y="1163"/>
                    </a:lnTo>
                    <a:close/>
                    <a:moveTo>
                      <a:pt x="145" y="595"/>
                    </a:moveTo>
                    <a:lnTo>
                      <a:pt x="147" y="595"/>
                    </a:lnTo>
                    <a:lnTo>
                      <a:pt x="145" y="595"/>
                    </a:lnTo>
                    <a:close/>
                    <a:moveTo>
                      <a:pt x="1413" y="1225"/>
                    </a:moveTo>
                    <a:lnTo>
                      <a:pt x="1413" y="1226"/>
                    </a:lnTo>
                    <a:lnTo>
                      <a:pt x="1413" y="1225"/>
                    </a:lnTo>
                    <a:close/>
                    <a:moveTo>
                      <a:pt x="1560" y="923"/>
                    </a:moveTo>
                    <a:lnTo>
                      <a:pt x="1561" y="923"/>
                    </a:lnTo>
                    <a:lnTo>
                      <a:pt x="1560" y="923"/>
                    </a:lnTo>
                    <a:close/>
                    <a:moveTo>
                      <a:pt x="65" y="358"/>
                    </a:moveTo>
                    <a:lnTo>
                      <a:pt x="65" y="360"/>
                    </a:lnTo>
                    <a:lnTo>
                      <a:pt x="65" y="358"/>
                    </a:lnTo>
                    <a:close/>
                    <a:moveTo>
                      <a:pt x="606" y="583"/>
                    </a:moveTo>
                    <a:lnTo>
                      <a:pt x="606" y="585"/>
                    </a:lnTo>
                    <a:lnTo>
                      <a:pt x="606" y="583"/>
                    </a:lnTo>
                    <a:close/>
                    <a:moveTo>
                      <a:pt x="1457" y="1060"/>
                    </a:moveTo>
                    <a:lnTo>
                      <a:pt x="1458" y="1060"/>
                    </a:lnTo>
                    <a:lnTo>
                      <a:pt x="1458" y="1062"/>
                    </a:lnTo>
                    <a:lnTo>
                      <a:pt x="1457" y="1062"/>
                    </a:lnTo>
                    <a:lnTo>
                      <a:pt x="1457" y="1060"/>
                    </a:lnTo>
                    <a:close/>
                    <a:moveTo>
                      <a:pt x="65" y="360"/>
                    </a:moveTo>
                    <a:lnTo>
                      <a:pt x="65" y="362"/>
                    </a:lnTo>
                    <a:lnTo>
                      <a:pt x="65" y="360"/>
                    </a:lnTo>
                    <a:close/>
                    <a:moveTo>
                      <a:pt x="1392" y="1242"/>
                    </a:moveTo>
                    <a:lnTo>
                      <a:pt x="1394" y="1242"/>
                    </a:lnTo>
                    <a:lnTo>
                      <a:pt x="1394" y="1244"/>
                    </a:lnTo>
                    <a:lnTo>
                      <a:pt x="1392" y="1244"/>
                    </a:lnTo>
                    <a:lnTo>
                      <a:pt x="1392" y="1242"/>
                    </a:lnTo>
                    <a:close/>
                    <a:moveTo>
                      <a:pt x="562" y="578"/>
                    </a:moveTo>
                    <a:lnTo>
                      <a:pt x="564" y="578"/>
                    </a:lnTo>
                    <a:lnTo>
                      <a:pt x="564" y="580"/>
                    </a:lnTo>
                    <a:lnTo>
                      <a:pt x="562" y="580"/>
                    </a:lnTo>
                    <a:lnTo>
                      <a:pt x="562" y="578"/>
                    </a:lnTo>
                    <a:close/>
                    <a:moveTo>
                      <a:pt x="345" y="55"/>
                    </a:moveTo>
                    <a:lnTo>
                      <a:pt x="347" y="55"/>
                    </a:lnTo>
                    <a:lnTo>
                      <a:pt x="347" y="57"/>
                    </a:lnTo>
                    <a:lnTo>
                      <a:pt x="345" y="57"/>
                    </a:lnTo>
                    <a:lnTo>
                      <a:pt x="345" y="55"/>
                    </a:lnTo>
                    <a:close/>
                    <a:moveTo>
                      <a:pt x="332" y="51"/>
                    </a:moveTo>
                    <a:lnTo>
                      <a:pt x="333" y="51"/>
                    </a:lnTo>
                    <a:lnTo>
                      <a:pt x="332" y="51"/>
                    </a:lnTo>
                    <a:close/>
                    <a:moveTo>
                      <a:pt x="597" y="589"/>
                    </a:moveTo>
                    <a:lnTo>
                      <a:pt x="598" y="589"/>
                    </a:lnTo>
                    <a:lnTo>
                      <a:pt x="597" y="589"/>
                    </a:lnTo>
                    <a:close/>
                    <a:moveTo>
                      <a:pt x="1441" y="1074"/>
                    </a:moveTo>
                    <a:lnTo>
                      <a:pt x="1443" y="1074"/>
                    </a:lnTo>
                    <a:lnTo>
                      <a:pt x="1441" y="1074"/>
                    </a:lnTo>
                    <a:close/>
                    <a:moveTo>
                      <a:pt x="1499" y="969"/>
                    </a:moveTo>
                    <a:lnTo>
                      <a:pt x="1500" y="969"/>
                    </a:lnTo>
                    <a:lnTo>
                      <a:pt x="1500" y="971"/>
                    </a:lnTo>
                    <a:lnTo>
                      <a:pt x="1499" y="971"/>
                    </a:lnTo>
                    <a:lnTo>
                      <a:pt x="1499" y="969"/>
                    </a:lnTo>
                    <a:close/>
                    <a:moveTo>
                      <a:pt x="532" y="520"/>
                    </a:moveTo>
                    <a:lnTo>
                      <a:pt x="532" y="522"/>
                    </a:lnTo>
                    <a:lnTo>
                      <a:pt x="532" y="520"/>
                    </a:lnTo>
                    <a:close/>
                    <a:moveTo>
                      <a:pt x="1504" y="963"/>
                    </a:moveTo>
                    <a:lnTo>
                      <a:pt x="1506" y="963"/>
                    </a:lnTo>
                    <a:lnTo>
                      <a:pt x="1506" y="965"/>
                    </a:lnTo>
                    <a:lnTo>
                      <a:pt x="1504" y="965"/>
                    </a:lnTo>
                    <a:lnTo>
                      <a:pt x="1504" y="963"/>
                    </a:lnTo>
                    <a:close/>
                    <a:moveTo>
                      <a:pt x="257" y="24"/>
                    </a:moveTo>
                    <a:lnTo>
                      <a:pt x="259" y="24"/>
                    </a:lnTo>
                    <a:lnTo>
                      <a:pt x="257" y="24"/>
                    </a:lnTo>
                    <a:close/>
                    <a:moveTo>
                      <a:pt x="1451" y="1066"/>
                    </a:moveTo>
                    <a:lnTo>
                      <a:pt x="1451" y="1068"/>
                    </a:lnTo>
                    <a:lnTo>
                      <a:pt x="1451" y="1066"/>
                    </a:lnTo>
                    <a:close/>
                    <a:moveTo>
                      <a:pt x="70" y="345"/>
                    </a:moveTo>
                    <a:lnTo>
                      <a:pt x="72" y="345"/>
                    </a:lnTo>
                    <a:lnTo>
                      <a:pt x="70" y="345"/>
                    </a:lnTo>
                    <a:close/>
                    <a:moveTo>
                      <a:pt x="97" y="585"/>
                    </a:moveTo>
                    <a:lnTo>
                      <a:pt x="101" y="585"/>
                    </a:lnTo>
                    <a:lnTo>
                      <a:pt x="101" y="587"/>
                    </a:lnTo>
                    <a:lnTo>
                      <a:pt x="97" y="587"/>
                    </a:lnTo>
                    <a:lnTo>
                      <a:pt x="97" y="585"/>
                    </a:lnTo>
                    <a:close/>
                    <a:moveTo>
                      <a:pt x="1575" y="872"/>
                    </a:moveTo>
                    <a:lnTo>
                      <a:pt x="1575" y="873"/>
                    </a:lnTo>
                    <a:lnTo>
                      <a:pt x="1575" y="872"/>
                    </a:lnTo>
                    <a:close/>
                    <a:moveTo>
                      <a:pt x="1249" y="801"/>
                    </a:moveTo>
                    <a:lnTo>
                      <a:pt x="1249" y="803"/>
                    </a:lnTo>
                    <a:lnTo>
                      <a:pt x="1249" y="801"/>
                    </a:lnTo>
                    <a:close/>
                    <a:moveTo>
                      <a:pt x="5621" y="671"/>
                    </a:moveTo>
                    <a:lnTo>
                      <a:pt x="5621" y="673"/>
                    </a:lnTo>
                    <a:lnTo>
                      <a:pt x="5621" y="671"/>
                    </a:lnTo>
                    <a:close/>
                    <a:moveTo>
                      <a:pt x="379" y="436"/>
                    </a:moveTo>
                    <a:lnTo>
                      <a:pt x="379" y="438"/>
                    </a:lnTo>
                    <a:lnTo>
                      <a:pt x="379" y="436"/>
                    </a:lnTo>
                    <a:close/>
                    <a:moveTo>
                      <a:pt x="1340" y="1150"/>
                    </a:moveTo>
                    <a:lnTo>
                      <a:pt x="1342" y="1150"/>
                    </a:lnTo>
                    <a:lnTo>
                      <a:pt x="1342" y="1152"/>
                    </a:lnTo>
                    <a:lnTo>
                      <a:pt x="1340" y="1152"/>
                    </a:lnTo>
                    <a:lnTo>
                      <a:pt x="1340" y="1150"/>
                    </a:lnTo>
                    <a:close/>
                    <a:moveTo>
                      <a:pt x="572" y="562"/>
                    </a:moveTo>
                    <a:lnTo>
                      <a:pt x="574" y="562"/>
                    </a:lnTo>
                    <a:lnTo>
                      <a:pt x="574" y="564"/>
                    </a:lnTo>
                    <a:lnTo>
                      <a:pt x="572" y="564"/>
                    </a:lnTo>
                    <a:lnTo>
                      <a:pt x="572" y="562"/>
                    </a:lnTo>
                    <a:close/>
                    <a:moveTo>
                      <a:pt x="265" y="517"/>
                    </a:moveTo>
                    <a:lnTo>
                      <a:pt x="267" y="517"/>
                    </a:lnTo>
                    <a:lnTo>
                      <a:pt x="265" y="517"/>
                    </a:lnTo>
                    <a:close/>
                    <a:moveTo>
                      <a:pt x="1371" y="917"/>
                    </a:moveTo>
                    <a:lnTo>
                      <a:pt x="1371" y="919"/>
                    </a:lnTo>
                    <a:lnTo>
                      <a:pt x="1371" y="917"/>
                    </a:lnTo>
                    <a:close/>
                    <a:moveTo>
                      <a:pt x="66" y="360"/>
                    </a:moveTo>
                    <a:lnTo>
                      <a:pt x="66" y="362"/>
                    </a:lnTo>
                    <a:lnTo>
                      <a:pt x="66" y="360"/>
                    </a:lnTo>
                    <a:close/>
                    <a:moveTo>
                      <a:pt x="255" y="22"/>
                    </a:moveTo>
                    <a:lnTo>
                      <a:pt x="257" y="22"/>
                    </a:lnTo>
                    <a:lnTo>
                      <a:pt x="257" y="24"/>
                    </a:lnTo>
                    <a:lnTo>
                      <a:pt x="255" y="24"/>
                    </a:lnTo>
                    <a:lnTo>
                      <a:pt x="255" y="22"/>
                    </a:lnTo>
                    <a:close/>
                    <a:moveTo>
                      <a:pt x="375" y="435"/>
                    </a:moveTo>
                    <a:lnTo>
                      <a:pt x="377" y="435"/>
                    </a:lnTo>
                    <a:lnTo>
                      <a:pt x="375" y="435"/>
                    </a:lnTo>
                    <a:close/>
                    <a:moveTo>
                      <a:pt x="1504" y="963"/>
                    </a:moveTo>
                    <a:lnTo>
                      <a:pt x="1506" y="963"/>
                    </a:lnTo>
                    <a:lnTo>
                      <a:pt x="1506" y="965"/>
                    </a:lnTo>
                    <a:lnTo>
                      <a:pt x="1504" y="965"/>
                    </a:lnTo>
                    <a:lnTo>
                      <a:pt x="1504" y="963"/>
                    </a:lnTo>
                    <a:close/>
                    <a:moveTo>
                      <a:pt x="593" y="570"/>
                    </a:moveTo>
                    <a:lnTo>
                      <a:pt x="595" y="570"/>
                    </a:lnTo>
                    <a:lnTo>
                      <a:pt x="595" y="572"/>
                    </a:lnTo>
                    <a:lnTo>
                      <a:pt x="593" y="572"/>
                    </a:lnTo>
                    <a:lnTo>
                      <a:pt x="593" y="570"/>
                    </a:lnTo>
                    <a:close/>
                    <a:moveTo>
                      <a:pt x="379" y="440"/>
                    </a:moveTo>
                    <a:lnTo>
                      <a:pt x="383" y="440"/>
                    </a:lnTo>
                    <a:lnTo>
                      <a:pt x="379" y="440"/>
                    </a:lnTo>
                    <a:close/>
                    <a:moveTo>
                      <a:pt x="732" y="793"/>
                    </a:moveTo>
                    <a:lnTo>
                      <a:pt x="734" y="793"/>
                    </a:lnTo>
                    <a:lnTo>
                      <a:pt x="734" y="795"/>
                    </a:lnTo>
                    <a:lnTo>
                      <a:pt x="732" y="795"/>
                    </a:lnTo>
                    <a:lnTo>
                      <a:pt x="732" y="793"/>
                    </a:lnTo>
                    <a:close/>
                    <a:moveTo>
                      <a:pt x="311" y="452"/>
                    </a:moveTo>
                    <a:lnTo>
                      <a:pt x="312" y="452"/>
                    </a:lnTo>
                    <a:lnTo>
                      <a:pt x="312" y="454"/>
                    </a:lnTo>
                    <a:lnTo>
                      <a:pt x="311" y="454"/>
                    </a:lnTo>
                    <a:lnTo>
                      <a:pt x="311" y="452"/>
                    </a:lnTo>
                    <a:close/>
                    <a:moveTo>
                      <a:pt x="608" y="602"/>
                    </a:moveTo>
                    <a:lnTo>
                      <a:pt x="610" y="602"/>
                    </a:lnTo>
                    <a:lnTo>
                      <a:pt x="610" y="604"/>
                    </a:lnTo>
                    <a:lnTo>
                      <a:pt x="608" y="604"/>
                    </a:lnTo>
                    <a:lnTo>
                      <a:pt x="608" y="602"/>
                    </a:lnTo>
                    <a:close/>
                    <a:moveTo>
                      <a:pt x="290" y="49"/>
                    </a:moveTo>
                    <a:lnTo>
                      <a:pt x="291" y="49"/>
                    </a:lnTo>
                    <a:lnTo>
                      <a:pt x="291" y="51"/>
                    </a:lnTo>
                    <a:lnTo>
                      <a:pt x="290" y="51"/>
                    </a:lnTo>
                    <a:lnTo>
                      <a:pt x="290" y="49"/>
                    </a:lnTo>
                    <a:close/>
                    <a:moveTo>
                      <a:pt x="1617" y="852"/>
                    </a:moveTo>
                    <a:lnTo>
                      <a:pt x="1617" y="854"/>
                    </a:lnTo>
                    <a:lnTo>
                      <a:pt x="1617" y="852"/>
                    </a:lnTo>
                    <a:close/>
                    <a:moveTo>
                      <a:pt x="106" y="440"/>
                    </a:moveTo>
                    <a:lnTo>
                      <a:pt x="106" y="442"/>
                    </a:lnTo>
                    <a:lnTo>
                      <a:pt x="106" y="440"/>
                    </a:lnTo>
                    <a:close/>
                    <a:moveTo>
                      <a:pt x="749" y="992"/>
                    </a:moveTo>
                    <a:lnTo>
                      <a:pt x="751" y="992"/>
                    </a:lnTo>
                    <a:lnTo>
                      <a:pt x="751" y="994"/>
                    </a:lnTo>
                    <a:lnTo>
                      <a:pt x="749" y="994"/>
                    </a:lnTo>
                    <a:lnTo>
                      <a:pt x="749" y="992"/>
                    </a:lnTo>
                    <a:close/>
                    <a:moveTo>
                      <a:pt x="65" y="360"/>
                    </a:moveTo>
                    <a:lnTo>
                      <a:pt x="66" y="360"/>
                    </a:lnTo>
                    <a:lnTo>
                      <a:pt x="66" y="362"/>
                    </a:lnTo>
                    <a:lnTo>
                      <a:pt x="65" y="362"/>
                    </a:lnTo>
                    <a:lnTo>
                      <a:pt x="65" y="360"/>
                    </a:lnTo>
                    <a:close/>
                    <a:moveTo>
                      <a:pt x="1600" y="864"/>
                    </a:moveTo>
                    <a:lnTo>
                      <a:pt x="1602" y="864"/>
                    </a:lnTo>
                    <a:lnTo>
                      <a:pt x="1602" y="866"/>
                    </a:lnTo>
                    <a:lnTo>
                      <a:pt x="1600" y="866"/>
                    </a:lnTo>
                    <a:lnTo>
                      <a:pt x="1600" y="864"/>
                    </a:lnTo>
                    <a:close/>
                    <a:moveTo>
                      <a:pt x="105" y="442"/>
                    </a:moveTo>
                    <a:lnTo>
                      <a:pt x="106" y="442"/>
                    </a:lnTo>
                    <a:lnTo>
                      <a:pt x="105" y="442"/>
                    </a:lnTo>
                    <a:close/>
                    <a:moveTo>
                      <a:pt x="230" y="507"/>
                    </a:moveTo>
                    <a:lnTo>
                      <a:pt x="230" y="509"/>
                    </a:lnTo>
                    <a:lnTo>
                      <a:pt x="230" y="507"/>
                    </a:lnTo>
                    <a:close/>
                    <a:moveTo>
                      <a:pt x="1254" y="1158"/>
                    </a:moveTo>
                    <a:lnTo>
                      <a:pt x="1256" y="1158"/>
                    </a:lnTo>
                    <a:lnTo>
                      <a:pt x="1254" y="1158"/>
                    </a:lnTo>
                    <a:close/>
                    <a:moveTo>
                      <a:pt x="349" y="415"/>
                    </a:moveTo>
                    <a:lnTo>
                      <a:pt x="349" y="417"/>
                    </a:lnTo>
                    <a:lnTo>
                      <a:pt x="349" y="415"/>
                    </a:lnTo>
                    <a:close/>
                    <a:moveTo>
                      <a:pt x="1254" y="1154"/>
                    </a:moveTo>
                    <a:lnTo>
                      <a:pt x="1254" y="1156"/>
                    </a:lnTo>
                    <a:lnTo>
                      <a:pt x="1254" y="1154"/>
                    </a:lnTo>
                    <a:close/>
                    <a:moveTo>
                      <a:pt x="1411" y="1228"/>
                    </a:moveTo>
                    <a:lnTo>
                      <a:pt x="1413" y="1228"/>
                    </a:lnTo>
                    <a:lnTo>
                      <a:pt x="1413" y="1230"/>
                    </a:lnTo>
                    <a:lnTo>
                      <a:pt x="1411" y="1230"/>
                    </a:lnTo>
                    <a:lnTo>
                      <a:pt x="1411" y="1228"/>
                    </a:lnTo>
                    <a:close/>
                    <a:moveTo>
                      <a:pt x="1399" y="1242"/>
                    </a:moveTo>
                    <a:lnTo>
                      <a:pt x="1401" y="1242"/>
                    </a:lnTo>
                    <a:lnTo>
                      <a:pt x="1399" y="1242"/>
                    </a:lnTo>
                    <a:close/>
                    <a:moveTo>
                      <a:pt x="593" y="587"/>
                    </a:moveTo>
                    <a:lnTo>
                      <a:pt x="595" y="587"/>
                    </a:lnTo>
                    <a:lnTo>
                      <a:pt x="593" y="587"/>
                    </a:lnTo>
                    <a:close/>
                    <a:moveTo>
                      <a:pt x="1371" y="1192"/>
                    </a:moveTo>
                    <a:lnTo>
                      <a:pt x="1373" y="1192"/>
                    </a:lnTo>
                    <a:lnTo>
                      <a:pt x="1373" y="1194"/>
                    </a:lnTo>
                    <a:lnTo>
                      <a:pt x="1371" y="1194"/>
                    </a:lnTo>
                    <a:lnTo>
                      <a:pt x="1371" y="1192"/>
                    </a:lnTo>
                    <a:close/>
                    <a:moveTo>
                      <a:pt x="1474" y="1003"/>
                    </a:moveTo>
                    <a:lnTo>
                      <a:pt x="1474" y="1005"/>
                    </a:lnTo>
                    <a:lnTo>
                      <a:pt x="1474" y="1003"/>
                    </a:lnTo>
                    <a:close/>
                    <a:moveTo>
                      <a:pt x="1245" y="799"/>
                    </a:moveTo>
                    <a:lnTo>
                      <a:pt x="1247" y="799"/>
                    </a:lnTo>
                    <a:lnTo>
                      <a:pt x="1247" y="801"/>
                    </a:lnTo>
                    <a:lnTo>
                      <a:pt x="1245" y="801"/>
                    </a:lnTo>
                    <a:lnTo>
                      <a:pt x="1245" y="799"/>
                    </a:lnTo>
                    <a:close/>
                    <a:moveTo>
                      <a:pt x="368" y="436"/>
                    </a:moveTo>
                    <a:lnTo>
                      <a:pt x="370" y="436"/>
                    </a:lnTo>
                    <a:lnTo>
                      <a:pt x="368" y="436"/>
                    </a:lnTo>
                    <a:close/>
                    <a:moveTo>
                      <a:pt x="1384" y="1211"/>
                    </a:moveTo>
                    <a:lnTo>
                      <a:pt x="1386" y="1211"/>
                    </a:lnTo>
                    <a:lnTo>
                      <a:pt x="1386" y="1213"/>
                    </a:lnTo>
                    <a:lnTo>
                      <a:pt x="1384" y="1213"/>
                    </a:lnTo>
                    <a:lnTo>
                      <a:pt x="1384" y="1211"/>
                    </a:lnTo>
                    <a:close/>
                    <a:moveTo>
                      <a:pt x="1483" y="1003"/>
                    </a:moveTo>
                    <a:lnTo>
                      <a:pt x="1485" y="1003"/>
                    </a:lnTo>
                    <a:lnTo>
                      <a:pt x="1485" y="1005"/>
                    </a:lnTo>
                    <a:lnTo>
                      <a:pt x="1483" y="1005"/>
                    </a:lnTo>
                    <a:lnTo>
                      <a:pt x="1483" y="1003"/>
                    </a:lnTo>
                    <a:close/>
                    <a:moveTo>
                      <a:pt x="1579" y="870"/>
                    </a:moveTo>
                    <a:lnTo>
                      <a:pt x="1581" y="870"/>
                    </a:lnTo>
                    <a:lnTo>
                      <a:pt x="1579" y="870"/>
                    </a:lnTo>
                    <a:close/>
                    <a:moveTo>
                      <a:pt x="379" y="435"/>
                    </a:moveTo>
                    <a:lnTo>
                      <a:pt x="379" y="436"/>
                    </a:lnTo>
                    <a:lnTo>
                      <a:pt x="379" y="435"/>
                    </a:lnTo>
                    <a:close/>
                    <a:moveTo>
                      <a:pt x="1613" y="854"/>
                    </a:moveTo>
                    <a:lnTo>
                      <a:pt x="1615" y="854"/>
                    </a:lnTo>
                    <a:lnTo>
                      <a:pt x="1613" y="854"/>
                    </a:lnTo>
                    <a:close/>
                    <a:moveTo>
                      <a:pt x="1472" y="866"/>
                    </a:moveTo>
                    <a:lnTo>
                      <a:pt x="1474" y="866"/>
                    </a:lnTo>
                    <a:lnTo>
                      <a:pt x="1472" y="866"/>
                    </a:lnTo>
                    <a:close/>
                    <a:moveTo>
                      <a:pt x="108" y="427"/>
                    </a:moveTo>
                    <a:lnTo>
                      <a:pt x="110" y="427"/>
                    </a:lnTo>
                    <a:lnTo>
                      <a:pt x="108" y="427"/>
                    </a:lnTo>
                    <a:close/>
                    <a:moveTo>
                      <a:pt x="1439" y="1074"/>
                    </a:moveTo>
                    <a:lnTo>
                      <a:pt x="1441" y="1074"/>
                    </a:lnTo>
                    <a:lnTo>
                      <a:pt x="1441" y="1076"/>
                    </a:lnTo>
                    <a:lnTo>
                      <a:pt x="1439" y="1076"/>
                    </a:lnTo>
                    <a:lnTo>
                      <a:pt x="1439" y="1074"/>
                    </a:lnTo>
                    <a:close/>
                    <a:moveTo>
                      <a:pt x="1392" y="1223"/>
                    </a:moveTo>
                    <a:lnTo>
                      <a:pt x="1394" y="1223"/>
                    </a:lnTo>
                    <a:lnTo>
                      <a:pt x="1392" y="1223"/>
                    </a:lnTo>
                    <a:close/>
                    <a:moveTo>
                      <a:pt x="1479" y="1011"/>
                    </a:moveTo>
                    <a:lnTo>
                      <a:pt x="1479" y="1013"/>
                    </a:lnTo>
                    <a:lnTo>
                      <a:pt x="1479" y="1011"/>
                    </a:lnTo>
                    <a:close/>
                    <a:moveTo>
                      <a:pt x="139" y="484"/>
                    </a:moveTo>
                    <a:lnTo>
                      <a:pt x="141" y="484"/>
                    </a:lnTo>
                    <a:lnTo>
                      <a:pt x="139" y="484"/>
                    </a:lnTo>
                    <a:close/>
                    <a:moveTo>
                      <a:pt x="145" y="53"/>
                    </a:moveTo>
                    <a:lnTo>
                      <a:pt x="145" y="55"/>
                    </a:lnTo>
                    <a:lnTo>
                      <a:pt x="145" y="53"/>
                    </a:lnTo>
                    <a:close/>
                    <a:moveTo>
                      <a:pt x="721" y="818"/>
                    </a:moveTo>
                    <a:lnTo>
                      <a:pt x="722" y="818"/>
                    </a:lnTo>
                    <a:lnTo>
                      <a:pt x="721" y="818"/>
                    </a:lnTo>
                    <a:close/>
                    <a:moveTo>
                      <a:pt x="1386" y="1219"/>
                    </a:moveTo>
                    <a:lnTo>
                      <a:pt x="1388" y="1219"/>
                    </a:lnTo>
                    <a:lnTo>
                      <a:pt x="1388" y="1221"/>
                    </a:lnTo>
                    <a:lnTo>
                      <a:pt x="1386" y="1221"/>
                    </a:lnTo>
                    <a:lnTo>
                      <a:pt x="1386" y="1219"/>
                    </a:lnTo>
                    <a:close/>
                    <a:moveTo>
                      <a:pt x="171" y="564"/>
                    </a:moveTo>
                    <a:lnTo>
                      <a:pt x="173" y="564"/>
                    </a:lnTo>
                    <a:lnTo>
                      <a:pt x="171" y="564"/>
                    </a:lnTo>
                    <a:close/>
                    <a:moveTo>
                      <a:pt x="5720" y="656"/>
                    </a:moveTo>
                    <a:lnTo>
                      <a:pt x="5722" y="656"/>
                    </a:lnTo>
                    <a:lnTo>
                      <a:pt x="5720" y="656"/>
                    </a:lnTo>
                    <a:close/>
                    <a:moveTo>
                      <a:pt x="558" y="557"/>
                    </a:moveTo>
                    <a:lnTo>
                      <a:pt x="560" y="557"/>
                    </a:lnTo>
                    <a:lnTo>
                      <a:pt x="558" y="557"/>
                    </a:lnTo>
                    <a:close/>
                    <a:moveTo>
                      <a:pt x="1270" y="1163"/>
                    </a:moveTo>
                    <a:lnTo>
                      <a:pt x="1272" y="1163"/>
                    </a:lnTo>
                    <a:lnTo>
                      <a:pt x="1270" y="1163"/>
                    </a:lnTo>
                    <a:close/>
                    <a:moveTo>
                      <a:pt x="5614" y="677"/>
                    </a:moveTo>
                    <a:lnTo>
                      <a:pt x="5614" y="679"/>
                    </a:lnTo>
                    <a:lnTo>
                      <a:pt x="5614" y="677"/>
                    </a:lnTo>
                    <a:close/>
                    <a:moveTo>
                      <a:pt x="431" y="74"/>
                    </a:moveTo>
                    <a:lnTo>
                      <a:pt x="433" y="76"/>
                    </a:lnTo>
                    <a:lnTo>
                      <a:pt x="434" y="76"/>
                    </a:lnTo>
                    <a:lnTo>
                      <a:pt x="436" y="78"/>
                    </a:lnTo>
                    <a:lnTo>
                      <a:pt x="438" y="80"/>
                    </a:lnTo>
                    <a:lnTo>
                      <a:pt x="436" y="78"/>
                    </a:lnTo>
                    <a:lnTo>
                      <a:pt x="434" y="78"/>
                    </a:lnTo>
                    <a:lnTo>
                      <a:pt x="433" y="76"/>
                    </a:lnTo>
                    <a:lnTo>
                      <a:pt x="431" y="74"/>
                    </a:lnTo>
                    <a:close/>
                    <a:moveTo>
                      <a:pt x="1373" y="1169"/>
                    </a:moveTo>
                    <a:lnTo>
                      <a:pt x="1373" y="1171"/>
                    </a:lnTo>
                    <a:lnTo>
                      <a:pt x="1373" y="1169"/>
                    </a:lnTo>
                    <a:close/>
                    <a:moveTo>
                      <a:pt x="63" y="360"/>
                    </a:moveTo>
                    <a:lnTo>
                      <a:pt x="65" y="360"/>
                    </a:lnTo>
                    <a:lnTo>
                      <a:pt x="63" y="360"/>
                    </a:lnTo>
                    <a:close/>
                    <a:moveTo>
                      <a:pt x="1390" y="1141"/>
                    </a:moveTo>
                    <a:lnTo>
                      <a:pt x="1392" y="1141"/>
                    </a:lnTo>
                    <a:lnTo>
                      <a:pt x="1390" y="1141"/>
                    </a:lnTo>
                    <a:close/>
                    <a:moveTo>
                      <a:pt x="1472" y="969"/>
                    </a:moveTo>
                    <a:lnTo>
                      <a:pt x="1474" y="969"/>
                    </a:lnTo>
                    <a:lnTo>
                      <a:pt x="1472" y="969"/>
                    </a:lnTo>
                    <a:close/>
                    <a:moveTo>
                      <a:pt x="1453" y="1064"/>
                    </a:moveTo>
                    <a:lnTo>
                      <a:pt x="1453" y="1066"/>
                    </a:lnTo>
                    <a:lnTo>
                      <a:pt x="1453" y="1064"/>
                    </a:lnTo>
                    <a:close/>
                    <a:moveTo>
                      <a:pt x="70" y="345"/>
                    </a:moveTo>
                    <a:lnTo>
                      <a:pt x="72" y="345"/>
                    </a:lnTo>
                    <a:lnTo>
                      <a:pt x="72" y="347"/>
                    </a:lnTo>
                    <a:lnTo>
                      <a:pt x="70" y="347"/>
                    </a:lnTo>
                    <a:lnTo>
                      <a:pt x="70" y="345"/>
                    </a:lnTo>
                    <a:close/>
                    <a:moveTo>
                      <a:pt x="364" y="57"/>
                    </a:moveTo>
                    <a:lnTo>
                      <a:pt x="366" y="57"/>
                    </a:lnTo>
                    <a:lnTo>
                      <a:pt x="366" y="59"/>
                    </a:lnTo>
                    <a:lnTo>
                      <a:pt x="364" y="59"/>
                    </a:lnTo>
                    <a:lnTo>
                      <a:pt x="364" y="57"/>
                    </a:lnTo>
                    <a:close/>
                    <a:moveTo>
                      <a:pt x="1174" y="1163"/>
                    </a:moveTo>
                    <a:lnTo>
                      <a:pt x="1174" y="1165"/>
                    </a:lnTo>
                    <a:lnTo>
                      <a:pt x="1174" y="1163"/>
                    </a:lnTo>
                    <a:close/>
                    <a:moveTo>
                      <a:pt x="469" y="465"/>
                    </a:moveTo>
                    <a:lnTo>
                      <a:pt x="469" y="467"/>
                    </a:lnTo>
                    <a:lnTo>
                      <a:pt x="469" y="465"/>
                    </a:lnTo>
                    <a:close/>
                    <a:moveTo>
                      <a:pt x="122" y="307"/>
                    </a:moveTo>
                    <a:lnTo>
                      <a:pt x="122" y="309"/>
                    </a:lnTo>
                    <a:lnTo>
                      <a:pt x="122" y="307"/>
                    </a:lnTo>
                    <a:close/>
                    <a:moveTo>
                      <a:pt x="343" y="431"/>
                    </a:moveTo>
                    <a:lnTo>
                      <a:pt x="345" y="431"/>
                    </a:lnTo>
                    <a:lnTo>
                      <a:pt x="343" y="431"/>
                    </a:lnTo>
                    <a:close/>
                    <a:moveTo>
                      <a:pt x="63" y="362"/>
                    </a:moveTo>
                    <a:lnTo>
                      <a:pt x="65" y="362"/>
                    </a:lnTo>
                    <a:lnTo>
                      <a:pt x="63" y="362"/>
                    </a:lnTo>
                    <a:close/>
                    <a:moveTo>
                      <a:pt x="564" y="532"/>
                    </a:moveTo>
                    <a:lnTo>
                      <a:pt x="564" y="534"/>
                    </a:lnTo>
                    <a:lnTo>
                      <a:pt x="564" y="532"/>
                    </a:lnTo>
                    <a:close/>
                    <a:moveTo>
                      <a:pt x="1460" y="1059"/>
                    </a:moveTo>
                    <a:lnTo>
                      <a:pt x="1460" y="1060"/>
                    </a:lnTo>
                    <a:lnTo>
                      <a:pt x="1460" y="1059"/>
                    </a:lnTo>
                    <a:close/>
                    <a:moveTo>
                      <a:pt x="722" y="816"/>
                    </a:moveTo>
                    <a:lnTo>
                      <a:pt x="722" y="818"/>
                    </a:lnTo>
                    <a:lnTo>
                      <a:pt x="722" y="816"/>
                    </a:lnTo>
                    <a:close/>
                    <a:moveTo>
                      <a:pt x="1247" y="1163"/>
                    </a:moveTo>
                    <a:lnTo>
                      <a:pt x="1249" y="1163"/>
                    </a:lnTo>
                    <a:lnTo>
                      <a:pt x="1249" y="1165"/>
                    </a:lnTo>
                    <a:lnTo>
                      <a:pt x="1247" y="1165"/>
                    </a:lnTo>
                    <a:lnTo>
                      <a:pt x="1247" y="1163"/>
                    </a:lnTo>
                    <a:close/>
                    <a:moveTo>
                      <a:pt x="1378" y="1205"/>
                    </a:moveTo>
                    <a:lnTo>
                      <a:pt x="1380" y="1205"/>
                    </a:lnTo>
                    <a:lnTo>
                      <a:pt x="1380" y="1207"/>
                    </a:lnTo>
                    <a:lnTo>
                      <a:pt x="1378" y="1207"/>
                    </a:lnTo>
                    <a:lnTo>
                      <a:pt x="1378" y="1205"/>
                    </a:lnTo>
                    <a:close/>
                    <a:moveTo>
                      <a:pt x="5572" y="686"/>
                    </a:moveTo>
                    <a:lnTo>
                      <a:pt x="5574" y="686"/>
                    </a:lnTo>
                    <a:lnTo>
                      <a:pt x="5572" y="686"/>
                    </a:lnTo>
                    <a:close/>
                    <a:moveTo>
                      <a:pt x="66" y="362"/>
                    </a:moveTo>
                    <a:lnTo>
                      <a:pt x="66" y="364"/>
                    </a:lnTo>
                    <a:lnTo>
                      <a:pt x="66" y="362"/>
                    </a:lnTo>
                    <a:close/>
                    <a:moveTo>
                      <a:pt x="44" y="293"/>
                    </a:moveTo>
                    <a:lnTo>
                      <a:pt x="44" y="295"/>
                    </a:lnTo>
                    <a:lnTo>
                      <a:pt x="44" y="293"/>
                    </a:lnTo>
                    <a:close/>
                    <a:moveTo>
                      <a:pt x="1245" y="1165"/>
                    </a:moveTo>
                    <a:lnTo>
                      <a:pt x="1247" y="1165"/>
                    </a:lnTo>
                    <a:lnTo>
                      <a:pt x="1245" y="1165"/>
                    </a:lnTo>
                    <a:close/>
                    <a:moveTo>
                      <a:pt x="736" y="761"/>
                    </a:moveTo>
                    <a:lnTo>
                      <a:pt x="738" y="761"/>
                    </a:lnTo>
                    <a:lnTo>
                      <a:pt x="736" y="761"/>
                    </a:lnTo>
                    <a:close/>
                    <a:moveTo>
                      <a:pt x="558" y="530"/>
                    </a:moveTo>
                    <a:lnTo>
                      <a:pt x="558" y="532"/>
                    </a:lnTo>
                    <a:lnTo>
                      <a:pt x="558" y="530"/>
                    </a:lnTo>
                    <a:close/>
                    <a:moveTo>
                      <a:pt x="127" y="227"/>
                    </a:moveTo>
                    <a:lnTo>
                      <a:pt x="127" y="229"/>
                    </a:lnTo>
                    <a:lnTo>
                      <a:pt x="127" y="227"/>
                    </a:lnTo>
                    <a:close/>
                    <a:moveTo>
                      <a:pt x="557" y="559"/>
                    </a:moveTo>
                    <a:lnTo>
                      <a:pt x="558" y="559"/>
                    </a:lnTo>
                    <a:lnTo>
                      <a:pt x="558" y="561"/>
                    </a:lnTo>
                    <a:lnTo>
                      <a:pt x="557" y="561"/>
                    </a:lnTo>
                    <a:lnTo>
                      <a:pt x="557" y="559"/>
                    </a:lnTo>
                    <a:close/>
                    <a:moveTo>
                      <a:pt x="1245" y="797"/>
                    </a:moveTo>
                    <a:lnTo>
                      <a:pt x="1247" y="797"/>
                    </a:lnTo>
                    <a:lnTo>
                      <a:pt x="1247" y="799"/>
                    </a:lnTo>
                    <a:lnTo>
                      <a:pt x="1245" y="799"/>
                    </a:lnTo>
                    <a:lnTo>
                      <a:pt x="1245" y="797"/>
                    </a:lnTo>
                    <a:close/>
                    <a:moveTo>
                      <a:pt x="1293" y="789"/>
                    </a:moveTo>
                    <a:lnTo>
                      <a:pt x="1294" y="789"/>
                    </a:lnTo>
                    <a:lnTo>
                      <a:pt x="1293" y="789"/>
                    </a:lnTo>
                    <a:close/>
                    <a:moveTo>
                      <a:pt x="558" y="530"/>
                    </a:moveTo>
                    <a:lnTo>
                      <a:pt x="560" y="530"/>
                    </a:lnTo>
                    <a:lnTo>
                      <a:pt x="558" y="530"/>
                    </a:lnTo>
                    <a:close/>
                    <a:moveTo>
                      <a:pt x="1279" y="1144"/>
                    </a:moveTo>
                    <a:lnTo>
                      <a:pt x="1281" y="1144"/>
                    </a:lnTo>
                    <a:lnTo>
                      <a:pt x="1279" y="1144"/>
                    </a:lnTo>
                    <a:close/>
                    <a:moveTo>
                      <a:pt x="108" y="429"/>
                    </a:moveTo>
                    <a:lnTo>
                      <a:pt x="110" y="429"/>
                    </a:lnTo>
                    <a:lnTo>
                      <a:pt x="108" y="429"/>
                    </a:lnTo>
                    <a:close/>
                    <a:moveTo>
                      <a:pt x="570" y="559"/>
                    </a:moveTo>
                    <a:lnTo>
                      <a:pt x="570" y="561"/>
                    </a:lnTo>
                    <a:lnTo>
                      <a:pt x="570" y="559"/>
                    </a:lnTo>
                    <a:close/>
                    <a:moveTo>
                      <a:pt x="126" y="51"/>
                    </a:moveTo>
                    <a:lnTo>
                      <a:pt x="124" y="53"/>
                    </a:lnTo>
                    <a:lnTo>
                      <a:pt x="122" y="53"/>
                    </a:lnTo>
                    <a:lnTo>
                      <a:pt x="126" y="51"/>
                    </a:lnTo>
                    <a:close/>
                    <a:moveTo>
                      <a:pt x="1478" y="994"/>
                    </a:moveTo>
                    <a:lnTo>
                      <a:pt x="1479" y="994"/>
                    </a:lnTo>
                    <a:lnTo>
                      <a:pt x="1479" y="996"/>
                    </a:lnTo>
                    <a:lnTo>
                      <a:pt x="1478" y="996"/>
                    </a:lnTo>
                    <a:lnTo>
                      <a:pt x="1478" y="994"/>
                    </a:lnTo>
                    <a:close/>
                    <a:moveTo>
                      <a:pt x="1346" y="822"/>
                    </a:moveTo>
                    <a:lnTo>
                      <a:pt x="1346" y="824"/>
                    </a:lnTo>
                    <a:lnTo>
                      <a:pt x="1346" y="822"/>
                    </a:lnTo>
                    <a:close/>
                    <a:moveTo>
                      <a:pt x="295" y="467"/>
                    </a:moveTo>
                    <a:lnTo>
                      <a:pt x="295" y="469"/>
                    </a:lnTo>
                    <a:lnTo>
                      <a:pt x="295" y="467"/>
                    </a:lnTo>
                    <a:close/>
                    <a:moveTo>
                      <a:pt x="465" y="459"/>
                    </a:moveTo>
                    <a:lnTo>
                      <a:pt x="467" y="459"/>
                    </a:lnTo>
                    <a:lnTo>
                      <a:pt x="467" y="461"/>
                    </a:lnTo>
                    <a:lnTo>
                      <a:pt x="465" y="461"/>
                    </a:lnTo>
                    <a:lnTo>
                      <a:pt x="465" y="459"/>
                    </a:lnTo>
                    <a:close/>
                    <a:moveTo>
                      <a:pt x="1268" y="1163"/>
                    </a:moveTo>
                    <a:lnTo>
                      <a:pt x="1270" y="1163"/>
                    </a:lnTo>
                    <a:lnTo>
                      <a:pt x="1268" y="1163"/>
                    </a:lnTo>
                    <a:close/>
                    <a:moveTo>
                      <a:pt x="564" y="562"/>
                    </a:moveTo>
                    <a:lnTo>
                      <a:pt x="564" y="564"/>
                    </a:lnTo>
                    <a:lnTo>
                      <a:pt x="564" y="562"/>
                    </a:lnTo>
                    <a:close/>
                    <a:moveTo>
                      <a:pt x="314" y="42"/>
                    </a:moveTo>
                    <a:lnTo>
                      <a:pt x="316" y="42"/>
                    </a:lnTo>
                    <a:lnTo>
                      <a:pt x="318" y="43"/>
                    </a:lnTo>
                    <a:lnTo>
                      <a:pt x="320" y="43"/>
                    </a:lnTo>
                    <a:lnTo>
                      <a:pt x="318" y="43"/>
                    </a:lnTo>
                    <a:lnTo>
                      <a:pt x="316" y="43"/>
                    </a:lnTo>
                    <a:lnTo>
                      <a:pt x="316" y="42"/>
                    </a:lnTo>
                    <a:lnTo>
                      <a:pt x="316" y="43"/>
                    </a:lnTo>
                    <a:lnTo>
                      <a:pt x="314" y="42"/>
                    </a:lnTo>
                    <a:close/>
                    <a:moveTo>
                      <a:pt x="534" y="543"/>
                    </a:moveTo>
                    <a:lnTo>
                      <a:pt x="534" y="545"/>
                    </a:lnTo>
                    <a:lnTo>
                      <a:pt x="534" y="543"/>
                    </a:lnTo>
                    <a:close/>
                    <a:moveTo>
                      <a:pt x="473" y="469"/>
                    </a:moveTo>
                    <a:lnTo>
                      <a:pt x="475" y="469"/>
                    </a:lnTo>
                    <a:lnTo>
                      <a:pt x="473" y="469"/>
                    </a:lnTo>
                    <a:close/>
                    <a:moveTo>
                      <a:pt x="1607" y="856"/>
                    </a:moveTo>
                    <a:lnTo>
                      <a:pt x="1609" y="856"/>
                    </a:lnTo>
                    <a:lnTo>
                      <a:pt x="1609" y="858"/>
                    </a:lnTo>
                    <a:lnTo>
                      <a:pt x="1607" y="858"/>
                    </a:lnTo>
                    <a:lnTo>
                      <a:pt x="1607" y="856"/>
                    </a:lnTo>
                    <a:close/>
                    <a:moveTo>
                      <a:pt x="581" y="581"/>
                    </a:moveTo>
                    <a:lnTo>
                      <a:pt x="583" y="581"/>
                    </a:lnTo>
                    <a:lnTo>
                      <a:pt x="583" y="583"/>
                    </a:lnTo>
                    <a:lnTo>
                      <a:pt x="581" y="583"/>
                    </a:lnTo>
                    <a:lnTo>
                      <a:pt x="581" y="581"/>
                    </a:lnTo>
                    <a:close/>
                    <a:moveTo>
                      <a:pt x="583" y="570"/>
                    </a:moveTo>
                    <a:lnTo>
                      <a:pt x="583" y="572"/>
                    </a:lnTo>
                    <a:lnTo>
                      <a:pt x="583" y="570"/>
                    </a:lnTo>
                    <a:close/>
                    <a:moveTo>
                      <a:pt x="255" y="509"/>
                    </a:moveTo>
                    <a:lnTo>
                      <a:pt x="257" y="509"/>
                    </a:lnTo>
                    <a:lnTo>
                      <a:pt x="255" y="509"/>
                    </a:lnTo>
                    <a:close/>
                    <a:moveTo>
                      <a:pt x="110" y="425"/>
                    </a:moveTo>
                    <a:lnTo>
                      <a:pt x="110" y="427"/>
                    </a:lnTo>
                    <a:lnTo>
                      <a:pt x="110" y="425"/>
                    </a:lnTo>
                    <a:close/>
                    <a:moveTo>
                      <a:pt x="1262" y="1156"/>
                    </a:moveTo>
                    <a:lnTo>
                      <a:pt x="1264" y="1156"/>
                    </a:lnTo>
                    <a:lnTo>
                      <a:pt x="1262" y="1156"/>
                    </a:lnTo>
                    <a:close/>
                    <a:moveTo>
                      <a:pt x="307" y="457"/>
                    </a:moveTo>
                    <a:lnTo>
                      <a:pt x="307" y="459"/>
                    </a:lnTo>
                    <a:lnTo>
                      <a:pt x="307" y="457"/>
                    </a:lnTo>
                    <a:close/>
                    <a:moveTo>
                      <a:pt x="1569" y="925"/>
                    </a:moveTo>
                    <a:lnTo>
                      <a:pt x="1571" y="925"/>
                    </a:lnTo>
                    <a:lnTo>
                      <a:pt x="1569" y="925"/>
                    </a:lnTo>
                    <a:close/>
                    <a:moveTo>
                      <a:pt x="440" y="452"/>
                    </a:moveTo>
                    <a:lnTo>
                      <a:pt x="444" y="454"/>
                    </a:lnTo>
                    <a:lnTo>
                      <a:pt x="442" y="454"/>
                    </a:lnTo>
                    <a:lnTo>
                      <a:pt x="440" y="452"/>
                    </a:lnTo>
                    <a:close/>
                    <a:moveTo>
                      <a:pt x="295" y="43"/>
                    </a:moveTo>
                    <a:lnTo>
                      <a:pt x="297" y="43"/>
                    </a:lnTo>
                    <a:lnTo>
                      <a:pt x="297" y="45"/>
                    </a:lnTo>
                    <a:lnTo>
                      <a:pt x="295" y="45"/>
                    </a:lnTo>
                    <a:lnTo>
                      <a:pt x="295" y="43"/>
                    </a:lnTo>
                    <a:close/>
                    <a:moveTo>
                      <a:pt x="1390" y="1244"/>
                    </a:moveTo>
                    <a:lnTo>
                      <a:pt x="1390" y="1245"/>
                    </a:lnTo>
                    <a:lnTo>
                      <a:pt x="1390" y="1244"/>
                    </a:lnTo>
                    <a:close/>
                    <a:moveTo>
                      <a:pt x="1266" y="1163"/>
                    </a:moveTo>
                    <a:lnTo>
                      <a:pt x="1268" y="1163"/>
                    </a:lnTo>
                    <a:lnTo>
                      <a:pt x="1268" y="1167"/>
                    </a:lnTo>
                    <a:lnTo>
                      <a:pt x="1266" y="1167"/>
                    </a:lnTo>
                    <a:lnTo>
                      <a:pt x="1266" y="1163"/>
                    </a:lnTo>
                    <a:close/>
                    <a:moveTo>
                      <a:pt x="274" y="40"/>
                    </a:moveTo>
                    <a:lnTo>
                      <a:pt x="274" y="42"/>
                    </a:lnTo>
                    <a:lnTo>
                      <a:pt x="274" y="40"/>
                    </a:lnTo>
                    <a:close/>
                    <a:moveTo>
                      <a:pt x="1401" y="1240"/>
                    </a:moveTo>
                    <a:lnTo>
                      <a:pt x="1403" y="1240"/>
                    </a:lnTo>
                    <a:lnTo>
                      <a:pt x="1403" y="1242"/>
                    </a:lnTo>
                    <a:lnTo>
                      <a:pt x="1401" y="1242"/>
                    </a:lnTo>
                    <a:lnTo>
                      <a:pt x="1401" y="1240"/>
                    </a:lnTo>
                    <a:close/>
                    <a:moveTo>
                      <a:pt x="1306" y="835"/>
                    </a:moveTo>
                    <a:lnTo>
                      <a:pt x="1308" y="835"/>
                    </a:lnTo>
                    <a:lnTo>
                      <a:pt x="1306" y="835"/>
                    </a:lnTo>
                    <a:close/>
                    <a:moveTo>
                      <a:pt x="332" y="51"/>
                    </a:moveTo>
                    <a:lnTo>
                      <a:pt x="332" y="53"/>
                    </a:lnTo>
                    <a:lnTo>
                      <a:pt x="332" y="51"/>
                    </a:lnTo>
                    <a:close/>
                    <a:moveTo>
                      <a:pt x="516" y="486"/>
                    </a:moveTo>
                    <a:lnTo>
                      <a:pt x="518" y="486"/>
                    </a:lnTo>
                    <a:lnTo>
                      <a:pt x="516" y="486"/>
                    </a:lnTo>
                    <a:close/>
                    <a:moveTo>
                      <a:pt x="95" y="587"/>
                    </a:moveTo>
                    <a:lnTo>
                      <a:pt x="97" y="587"/>
                    </a:lnTo>
                    <a:lnTo>
                      <a:pt x="97" y="589"/>
                    </a:lnTo>
                    <a:lnTo>
                      <a:pt x="95" y="589"/>
                    </a:lnTo>
                    <a:lnTo>
                      <a:pt x="95" y="587"/>
                    </a:lnTo>
                    <a:close/>
                    <a:moveTo>
                      <a:pt x="65" y="360"/>
                    </a:moveTo>
                    <a:lnTo>
                      <a:pt x="66" y="360"/>
                    </a:lnTo>
                    <a:lnTo>
                      <a:pt x="65" y="360"/>
                    </a:lnTo>
                    <a:close/>
                    <a:moveTo>
                      <a:pt x="1598" y="864"/>
                    </a:moveTo>
                    <a:lnTo>
                      <a:pt x="1598" y="866"/>
                    </a:lnTo>
                    <a:lnTo>
                      <a:pt x="1598" y="864"/>
                    </a:lnTo>
                    <a:close/>
                    <a:moveTo>
                      <a:pt x="1176" y="1154"/>
                    </a:moveTo>
                    <a:lnTo>
                      <a:pt x="1178" y="1154"/>
                    </a:lnTo>
                    <a:lnTo>
                      <a:pt x="1176" y="1154"/>
                    </a:lnTo>
                    <a:close/>
                    <a:moveTo>
                      <a:pt x="1479" y="1011"/>
                    </a:moveTo>
                    <a:lnTo>
                      <a:pt x="1481" y="1011"/>
                    </a:lnTo>
                    <a:lnTo>
                      <a:pt x="1479" y="1011"/>
                    </a:lnTo>
                    <a:close/>
                    <a:moveTo>
                      <a:pt x="1380" y="1244"/>
                    </a:moveTo>
                    <a:lnTo>
                      <a:pt x="1382" y="1244"/>
                    </a:lnTo>
                    <a:lnTo>
                      <a:pt x="1382" y="1245"/>
                    </a:lnTo>
                    <a:lnTo>
                      <a:pt x="1380" y="1245"/>
                    </a:lnTo>
                    <a:lnTo>
                      <a:pt x="1380" y="1244"/>
                    </a:lnTo>
                    <a:close/>
                    <a:moveTo>
                      <a:pt x="1390" y="1244"/>
                    </a:moveTo>
                    <a:lnTo>
                      <a:pt x="1392" y="1244"/>
                    </a:lnTo>
                    <a:lnTo>
                      <a:pt x="1390" y="1244"/>
                    </a:lnTo>
                    <a:close/>
                    <a:moveTo>
                      <a:pt x="1376" y="1202"/>
                    </a:moveTo>
                    <a:lnTo>
                      <a:pt x="1378" y="1202"/>
                    </a:lnTo>
                    <a:lnTo>
                      <a:pt x="1378" y="1204"/>
                    </a:lnTo>
                    <a:lnTo>
                      <a:pt x="1376" y="1204"/>
                    </a:lnTo>
                    <a:lnTo>
                      <a:pt x="1376" y="1202"/>
                    </a:lnTo>
                    <a:close/>
                    <a:moveTo>
                      <a:pt x="1235" y="1158"/>
                    </a:moveTo>
                    <a:lnTo>
                      <a:pt x="1235" y="1160"/>
                    </a:lnTo>
                    <a:lnTo>
                      <a:pt x="1235" y="1158"/>
                    </a:lnTo>
                    <a:close/>
                    <a:moveTo>
                      <a:pt x="1371" y="1188"/>
                    </a:moveTo>
                    <a:lnTo>
                      <a:pt x="1373" y="1188"/>
                    </a:lnTo>
                    <a:lnTo>
                      <a:pt x="1373" y="1190"/>
                    </a:lnTo>
                    <a:lnTo>
                      <a:pt x="1371" y="1190"/>
                    </a:lnTo>
                    <a:lnTo>
                      <a:pt x="1371" y="1188"/>
                    </a:lnTo>
                    <a:close/>
                    <a:moveTo>
                      <a:pt x="1182" y="1156"/>
                    </a:moveTo>
                    <a:lnTo>
                      <a:pt x="1184" y="1156"/>
                    </a:lnTo>
                    <a:lnTo>
                      <a:pt x="1184" y="1158"/>
                    </a:lnTo>
                    <a:lnTo>
                      <a:pt x="1182" y="1158"/>
                    </a:lnTo>
                    <a:lnTo>
                      <a:pt x="1182" y="1156"/>
                    </a:lnTo>
                    <a:close/>
                    <a:moveTo>
                      <a:pt x="377" y="440"/>
                    </a:moveTo>
                    <a:lnTo>
                      <a:pt x="379" y="440"/>
                    </a:lnTo>
                    <a:lnTo>
                      <a:pt x="377" y="440"/>
                    </a:lnTo>
                    <a:close/>
                    <a:moveTo>
                      <a:pt x="1394" y="1242"/>
                    </a:moveTo>
                    <a:lnTo>
                      <a:pt x="1394" y="1244"/>
                    </a:lnTo>
                    <a:lnTo>
                      <a:pt x="1394" y="1242"/>
                    </a:lnTo>
                    <a:close/>
                    <a:moveTo>
                      <a:pt x="541" y="530"/>
                    </a:moveTo>
                    <a:lnTo>
                      <a:pt x="543" y="530"/>
                    </a:lnTo>
                    <a:lnTo>
                      <a:pt x="543" y="532"/>
                    </a:lnTo>
                    <a:lnTo>
                      <a:pt x="541" y="532"/>
                    </a:lnTo>
                    <a:lnTo>
                      <a:pt x="541" y="530"/>
                    </a:lnTo>
                    <a:close/>
                    <a:moveTo>
                      <a:pt x="110" y="425"/>
                    </a:moveTo>
                    <a:lnTo>
                      <a:pt x="110" y="427"/>
                    </a:lnTo>
                    <a:lnTo>
                      <a:pt x="110" y="425"/>
                    </a:lnTo>
                    <a:close/>
                    <a:moveTo>
                      <a:pt x="314" y="398"/>
                    </a:moveTo>
                    <a:lnTo>
                      <a:pt x="316" y="398"/>
                    </a:lnTo>
                    <a:lnTo>
                      <a:pt x="316" y="400"/>
                    </a:lnTo>
                    <a:lnTo>
                      <a:pt x="314" y="400"/>
                    </a:lnTo>
                    <a:lnTo>
                      <a:pt x="314" y="398"/>
                    </a:lnTo>
                    <a:close/>
                    <a:moveTo>
                      <a:pt x="1458" y="1060"/>
                    </a:moveTo>
                    <a:lnTo>
                      <a:pt x="1460" y="1060"/>
                    </a:lnTo>
                    <a:lnTo>
                      <a:pt x="1458" y="1060"/>
                    </a:lnTo>
                    <a:close/>
                    <a:moveTo>
                      <a:pt x="1268" y="1146"/>
                    </a:moveTo>
                    <a:lnTo>
                      <a:pt x="1270" y="1146"/>
                    </a:lnTo>
                    <a:lnTo>
                      <a:pt x="1268" y="1146"/>
                    </a:lnTo>
                    <a:close/>
                    <a:moveTo>
                      <a:pt x="1378" y="1204"/>
                    </a:moveTo>
                    <a:lnTo>
                      <a:pt x="1378" y="1205"/>
                    </a:lnTo>
                    <a:lnTo>
                      <a:pt x="1378" y="1204"/>
                    </a:lnTo>
                    <a:close/>
                    <a:moveTo>
                      <a:pt x="1142" y="1186"/>
                    </a:moveTo>
                    <a:lnTo>
                      <a:pt x="1144" y="1186"/>
                    </a:lnTo>
                    <a:lnTo>
                      <a:pt x="1142" y="1186"/>
                    </a:lnTo>
                    <a:close/>
                    <a:moveTo>
                      <a:pt x="562" y="583"/>
                    </a:moveTo>
                    <a:lnTo>
                      <a:pt x="562" y="585"/>
                    </a:lnTo>
                    <a:lnTo>
                      <a:pt x="562" y="583"/>
                    </a:lnTo>
                    <a:close/>
                    <a:moveTo>
                      <a:pt x="566" y="568"/>
                    </a:moveTo>
                    <a:lnTo>
                      <a:pt x="568" y="568"/>
                    </a:lnTo>
                    <a:lnTo>
                      <a:pt x="566" y="568"/>
                    </a:lnTo>
                    <a:close/>
                    <a:moveTo>
                      <a:pt x="129" y="49"/>
                    </a:moveTo>
                    <a:lnTo>
                      <a:pt x="127" y="51"/>
                    </a:lnTo>
                    <a:lnTo>
                      <a:pt x="126" y="51"/>
                    </a:lnTo>
                    <a:lnTo>
                      <a:pt x="129" y="49"/>
                    </a:lnTo>
                    <a:close/>
                    <a:moveTo>
                      <a:pt x="581" y="601"/>
                    </a:moveTo>
                    <a:lnTo>
                      <a:pt x="581" y="602"/>
                    </a:lnTo>
                    <a:lnTo>
                      <a:pt x="581" y="601"/>
                    </a:lnTo>
                    <a:close/>
                    <a:moveTo>
                      <a:pt x="1268" y="1162"/>
                    </a:moveTo>
                    <a:lnTo>
                      <a:pt x="1268" y="1163"/>
                    </a:lnTo>
                    <a:lnTo>
                      <a:pt x="1268" y="1162"/>
                    </a:lnTo>
                    <a:close/>
                    <a:moveTo>
                      <a:pt x="1294" y="1142"/>
                    </a:moveTo>
                    <a:lnTo>
                      <a:pt x="1296" y="1142"/>
                    </a:lnTo>
                    <a:lnTo>
                      <a:pt x="1294" y="1142"/>
                    </a:lnTo>
                    <a:close/>
                    <a:moveTo>
                      <a:pt x="419" y="444"/>
                    </a:moveTo>
                    <a:lnTo>
                      <a:pt x="421" y="444"/>
                    </a:lnTo>
                    <a:lnTo>
                      <a:pt x="419" y="444"/>
                    </a:lnTo>
                    <a:close/>
                    <a:moveTo>
                      <a:pt x="1371" y="1190"/>
                    </a:moveTo>
                    <a:lnTo>
                      <a:pt x="1373" y="1190"/>
                    </a:lnTo>
                    <a:lnTo>
                      <a:pt x="1371" y="1190"/>
                    </a:lnTo>
                    <a:close/>
                    <a:moveTo>
                      <a:pt x="1590" y="862"/>
                    </a:moveTo>
                    <a:lnTo>
                      <a:pt x="1592" y="862"/>
                    </a:lnTo>
                    <a:lnTo>
                      <a:pt x="1590" y="862"/>
                    </a:lnTo>
                    <a:close/>
                    <a:moveTo>
                      <a:pt x="1323" y="833"/>
                    </a:moveTo>
                    <a:lnTo>
                      <a:pt x="1323" y="835"/>
                    </a:lnTo>
                    <a:lnTo>
                      <a:pt x="1323" y="833"/>
                    </a:lnTo>
                    <a:close/>
                    <a:moveTo>
                      <a:pt x="1342" y="822"/>
                    </a:moveTo>
                    <a:lnTo>
                      <a:pt x="1342" y="824"/>
                    </a:lnTo>
                    <a:lnTo>
                      <a:pt x="1342" y="822"/>
                    </a:lnTo>
                    <a:close/>
                    <a:moveTo>
                      <a:pt x="1392" y="1244"/>
                    </a:moveTo>
                    <a:lnTo>
                      <a:pt x="1394" y="1244"/>
                    </a:lnTo>
                    <a:lnTo>
                      <a:pt x="1392" y="1244"/>
                    </a:lnTo>
                    <a:close/>
                    <a:moveTo>
                      <a:pt x="1472" y="971"/>
                    </a:moveTo>
                    <a:lnTo>
                      <a:pt x="1472" y="973"/>
                    </a:lnTo>
                    <a:lnTo>
                      <a:pt x="1472" y="971"/>
                    </a:lnTo>
                    <a:close/>
                    <a:moveTo>
                      <a:pt x="339" y="431"/>
                    </a:moveTo>
                    <a:lnTo>
                      <a:pt x="339" y="433"/>
                    </a:lnTo>
                    <a:lnTo>
                      <a:pt x="339" y="431"/>
                    </a:lnTo>
                    <a:close/>
                    <a:moveTo>
                      <a:pt x="103" y="614"/>
                    </a:moveTo>
                    <a:lnTo>
                      <a:pt x="105" y="614"/>
                    </a:lnTo>
                    <a:lnTo>
                      <a:pt x="103" y="614"/>
                    </a:lnTo>
                    <a:close/>
                    <a:moveTo>
                      <a:pt x="463" y="452"/>
                    </a:moveTo>
                    <a:lnTo>
                      <a:pt x="465" y="452"/>
                    </a:lnTo>
                    <a:lnTo>
                      <a:pt x="465" y="454"/>
                    </a:lnTo>
                    <a:lnTo>
                      <a:pt x="463" y="454"/>
                    </a:lnTo>
                    <a:lnTo>
                      <a:pt x="463" y="452"/>
                    </a:lnTo>
                    <a:close/>
                    <a:moveTo>
                      <a:pt x="593" y="580"/>
                    </a:moveTo>
                    <a:lnTo>
                      <a:pt x="593" y="581"/>
                    </a:lnTo>
                    <a:lnTo>
                      <a:pt x="593" y="580"/>
                    </a:lnTo>
                    <a:close/>
                    <a:moveTo>
                      <a:pt x="293" y="47"/>
                    </a:moveTo>
                    <a:lnTo>
                      <a:pt x="295" y="47"/>
                    </a:lnTo>
                    <a:lnTo>
                      <a:pt x="293" y="47"/>
                    </a:lnTo>
                    <a:close/>
                    <a:moveTo>
                      <a:pt x="1582" y="868"/>
                    </a:moveTo>
                    <a:lnTo>
                      <a:pt x="1584" y="868"/>
                    </a:lnTo>
                    <a:lnTo>
                      <a:pt x="1584" y="870"/>
                    </a:lnTo>
                    <a:lnTo>
                      <a:pt x="1582" y="870"/>
                    </a:lnTo>
                    <a:lnTo>
                      <a:pt x="1582" y="868"/>
                    </a:lnTo>
                    <a:close/>
                    <a:moveTo>
                      <a:pt x="1397" y="1232"/>
                    </a:moveTo>
                    <a:lnTo>
                      <a:pt x="1399" y="1232"/>
                    </a:lnTo>
                    <a:lnTo>
                      <a:pt x="1397" y="1232"/>
                    </a:lnTo>
                    <a:close/>
                    <a:moveTo>
                      <a:pt x="5606" y="683"/>
                    </a:moveTo>
                    <a:lnTo>
                      <a:pt x="5606" y="685"/>
                    </a:lnTo>
                    <a:lnTo>
                      <a:pt x="5606" y="683"/>
                    </a:lnTo>
                    <a:close/>
                    <a:moveTo>
                      <a:pt x="1411" y="1230"/>
                    </a:moveTo>
                    <a:lnTo>
                      <a:pt x="1411" y="1232"/>
                    </a:lnTo>
                    <a:lnTo>
                      <a:pt x="1411" y="1230"/>
                    </a:lnTo>
                    <a:close/>
                    <a:moveTo>
                      <a:pt x="1571" y="873"/>
                    </a:moveTo>
                    <a:lnTo>
                      <a:pt x="1573" y="873"/>
                    </a:lnTo>
                    <a:lnTo>
                      <a:pt x="1571" y="873"/>
                    </a:lnTo>
                    <a:close/>
                    <a:moveTo>
                      <a:pt x="1499" y="971"/>
                    </a:moveTo>
                    <a:lnTo>
                      <a:pt x="1499" y="973"/>
                    </a:lnTo>
                    <a:lnTo>
                      <a:pt x="1499" y="971"/>
                    </a:lnTo>
                    <a:close/>
                    <a:moveTo>
                      <a:pt x="70" y="429"/>
                    </a:moveTo>
                    <a:lnTo>
                      <a:pt x="72" y="429"/>
                    </a:lnTo>
                    <a:lnTo>
                      <a:pt x="72" y="431"/>
                    </a:lnTo>
                    <a:lnTo>
                      <a:pt x="70" y="431"/>
                    </a:lnTo>
                    <a:lnTo>
                      <a:pt x="70" y="429"/>
                    </a:lnTo>
                    <a:close/>
                    <a:moveTo>
                      <a:pt x="564" y="526"/>
                    </a:moveTo>
                    <a:lnTo>
                      <a:pt x="566" y="526"/>
                    </a:lnTo>
                    <a:lnTo>
                      <a:pt x="564" y="526"/>
                    </a:lnTo>
                    <a:close/>
                    <a:moveTo>
                      <a:pt x="1539" y="929"/>
                    </a:moveTo>
                    <a:lnTo>
                      <a:pt x="1540" y="929"/>
                    </a:lnTo>
                    <a:lnTo>
                      <a:pt x="1539" y="929"/>
                    </a:lnTo>
                    <a:close/>
                    <a:moveTo>
                      <a:pt x="1346" y="1146"/>
                    </a:moveTo>
                    <a:lnTo>
                      <a:pt x="1346" y="1148"/>
                    </a:lnTo>
                    <a:lnTo>
                      <a:pt x="1346" y="1146"/>
                    </a:lnTo>
                    <a:close/>
                    <a:moveTo>
                      <a:pt x="572" y="601"/>
                    </a:moveTo>
                    <a:lnTo>
                      <a:pt x="574" y="601"/>
                    </a:lnTo>
                    <a:lnTo>
                      <a:pt x="572" y="601"/>
                    </a:lnTo>
                    <a:close/>
                    <a:moveTo>
                      <a:pt x="1184" y="1156"/>
                    </a:moveTo>
                    <a:lnTo>
                      <a:pt x="1184" y="1158"/>
                    </a:lnTo>
                    <a:lnTo>
                      <a:pt x="1184" y="1156"/>
                    </a:lnTo>
                    <a:close/>
                    <a:moveTo>
                      <a:pt x="337" y="425"/>
                    </a:moveTo>
                    <a:lnTo>
                      <a:pt x="337" y="427"/>
                    </a:lnTo>
                    <a:lnTo>
                      <a:pt x="337" y="425"/>
                    </a:lnTo>
                    <a:close/>
                    <a:moveTo>
                      <a:pt x="547" y="522"/>
                    </a:moveTo>
                    <a:lnTo>
                      <a:pt x="549" y="522"/>
                    </a:lnTo>
                    <a:lnTo>
                      <a:pt x="549" y="524"/>
                    </a:lnTo>
                    <a:lnTo>
                      <a:pt x="547" y="524"/>
                    </a:lnTo>
                    <a:lnTo>
                      <a:pt x="547" y="522"/>
                    </a:lnTo>
                    <a:close/>
                    <a:moveTo>
                      <a:pt x="555" y="555"/>
                    </a:moveTo>
                    <a:lnTo>
                      <a:pt x="557" y="555"/>
                    </a:lnTo>
                    <a:lnTo>
                      <a:pt x="557" y="557"/>
                    </a:lnTo>
                    <a:lnTo>
                      <a:pt x="555" y="557"/>
                    </a:lnTo>
                    <a:lnTo>
                      <a:pt x="555" y="555"/>
                    </a:lnTo>
                    <a:close/>
                    <a:moveTo>
                      <a:pt x="1405" y="1238"/>
                    </a:moveTo>
                    <a:lnTo>
                      <a:pt x="1405" y="1240"/>
                    </a:lnTo>
                    <a:lnTo>
                      <a:pt x="1405" y="1238"/>
                    </a:lnTo>
                    <a:close/>
                    <a:moveTo>
                      <a:pt x="1571" y="873"/>
                    </a:moveTo>
                    <a:lnTo>
                      <a:pt x="1571" y="875"/>
                    </a:lnTo>
                    <a:lnTo>
                      <a:pt x="1571" y="873"/>
                    </a:lnTo>
                    <a:close/>
                    <a:moveTo>
                      <a:pt x="211" y="7"/>
                    </a:moveTo>
                    <a:lnTo>
                      <a:pt x="213" y="7"/>
                    </a:lnTo>
                    <a:lnTo>
                      <a:pt x="211" y="7"/>
                    </a:lnTo>
                    <a:close/>
                    <a:moveTo>
                      <a:pt x="263" y="494"/>
                    </a:moveTo>
                    <a:lnTo>
                      <a:pt x="263" y="496"/>
                    </a:lnTo>
                    <a:lnTo>
                      <a:pt x="263" y="494"/>
                    </a:lnTo>
                    <a:close/>
                    <a:moveTo>
                      <a:pt x="1392" y="1242"/>
                    </a:moveTo>
                    <a:lnTo>
                      <a:pt x="1394" y="1242"/>
                    </a:lnTo>
                    <a:lnTo>
                      <a:pt x="1392" y="1242"/>
                    </a:lnTo>
                    <a:close/>
                    <a:moveTo>
                      <a:pt x="570" y="580"/>
                    </a:moveTo>
                    <a:lnTo>
                      <a:pt x="572" y="580"/>
                    </a:lnTo>
                    <a:lnTo>
                      <a:pt x="570" y="580"/>
                    </a:lnTo>
                    <a:close/>
                    <a:moveTo>
                      <a:pt x="373" y="438"/>
                    </a:moveTo>
                    <a:lnTo>
                      <a:pt x="375" y="438"/>
                    </a:lnTo>
                    <a:lnTo>
                      <a:pt x="375" y="440"/>
                    </a:lnTo>
                    <a:lnTo>
                      <a:pt x="373" y="440"/>
                    </a:lnTo>
                    <a:lnTo>
                      <a:pt x="373" y="438"/>
                    </a:lnTo>
                    <a:close/>
                    <a:moveTo>
                      <a:pt x="1268" y="1148"/>
                    </a:moveTo>
                    <a:lnTo>
                      <a:pt x="1268" y="1150"/>
                    </a:lnTo>
                    <a:lnTo>
                      <a:pt x="1268" y="1148"/>
                    </a:lnTo>
                    <a:close/>
                    <a:moveTo>
                      <a:pt x="515" y="482"/>
                    </a:moveTo>
                    <a:lnTo>
                      <a:pt x="516" y="482"/>
                    </a:lnTo>
                    <a:lnTo>
                      <a:pt x="515" y="482"/>
                    </a:lnTo>
                    <a:close/>
                    <a:moveTo>
                      <a:pt x="106" y="440"/>
                    </a:moveTo>
                    <a:lnTo>
                      <a:pt x="106" y="442"/>
                    </a:lnTo>
                    <a:lnTo>
                      <a:pt x="106" y="440"/>
                    </a:lnTo>
                    <a:close/>
                    <a:moveTo>
                      <a:pt x="1254" y="1158"/>
                    </a:moveTo>
                    <a:lnTo>
                      <a:pt x="1256" y="1158"/>
                    </a:lnTo>
                    <a:lnTo>
                      <a:pt x="1254" y="1158"/>
                    </a:lnTo>
                    <a:close/>
                    <a:moveTo>
                      <a:pt x="1140" y="1186"/>
                    </a:moveTo>
                    <a:lnTo>
                      <a:pt x="1142" y="1186"/>
                    </a:lnTo>
                    <a:lnTo>
                      <a:pt x="1140" y="1186"/>
                    </a:lnTo>
                    <a:close/>
                    <a:moveTo>
                      <a:pt x="1596" y="862"/>
                    </a:moveTo>
                    <a:lnTo>
                      <a:pt x="1596" y="864"/>
                    </a:lnTo>
                    <a:lnTo>
                      <a:pt x="1596" y="862"/>
                    </a:lnTo>
                    <a:close/>
                    <a:moveTo>
                      <a:pt x="1581" y="870"/>
                    </a:moveTo>
                    <a:lnTo>
                      <a:pt x="1581" y="872"/>
                    </a:lnTo>
                    <a:lnTo>
                      <a:pt x="1581" y="870"/>
                    </a:lnTo>
                    <a:close/>
                    <a:moveTo>
                      <a:pt x="1373" y="1192"/>
                    </a:moveTo>
                    <a:lnTo>
                      <a:pt x="1373" y="1194"/>
                    </a:lnTo>
                    <a:lnTo>
                      <a:pt x="1373" y="1192"/>
                    </a:lnTo>
                    <a:close/>
                    <a:moveTo>
                      <a:pt x="1380" y="1204"/>
                    </a:moveTo>
                    <a:lnTo>
                      <a:pt x="1382" y="1204"/>
                    </a:lnTo>
                    <a:lnTo>
                      <a:pt x="1380" y="1204"/>
                    </a:lnTo>
                    <a:close/>
                    <a:moveTo>
                      <a:pt x="1270" y="1162"/>
                    </a:moveTo>
                    <a:lnTo>
                      <a:pt x="1272" y="1162"/>
                    </a:lnTo>
                    <a:lnTo>
                      <a:pt x="1272" y="1163"/>
                    </a:lnTo>
                    <a:lnTo>
                      <a:pt x="1270" y="1163"/>
                    </a:lnTo>
                    <a:lnTo>
                      <a:pt x="1270" y="1162"/>
                    </a:lnTo>
                    <a:close/>
                    <a:moveTo>
                      <a:pt x="1176" y="1152"/>
                    </a:moveTo>
                    <a:lnTo>
                      <a:pt x="1176" y="1154"/>
                    </a:lnTo>
                    <a:lnTo>
                      <a:pt x="1176" y="1152"/>
                    </a:lnTo>
                    <a:close/>
                    <a:moveTo>
                      <a:pt x="740" y="996"/>
                    </a:moveTo>
                    <a:lnTo>
                      <a:pt x="741" y="996"/>
                    </a:lnTo>
                    <a:lnTo>
                      <a:pt x="741" y="997"/>
                    </a:lnTo>
                    <a:lnTo>
                      <a:pt x="740" y="997"/>
                    </a:lnTo>
                    <a:lnTo>
                      <a:pt x="740" y="996"/>
                    </a:lnTo>
                    <a:close/>
                    <a:moveTo>
                      <a:pt x="65" y="358"/>
                    </a:moveTo>
                    <a:lnTo>
                      <a:pt x="66" y="358"/>
                    </a:lnTo>
                    <a:lnTo>
                      <a:pt x="65" y="358"/>
                    </a:lnTo>
                    <a:close/>
                    <a:moveTo>
                      <a:pt x="332" y="51"/>
                    </a:moveTo>
                    <a:lnTo>
                      <a:pt x="332" y="53"/>
                    </a:lnTo>
                    <a:lnTo>
                      <a:pt x="332" y="51"/>
                    </a:lnTo>
                    <a:close/>
                    <a:moveTo>
                      <a:pt x="110" y="53"/>
                    </a:moveTo>
                    <a:lnTo>
                      <a:pt x="112" y="53"/>
                    </a:lnTo>
                    <a:lnTo>
                      <a:pt x="110" y="53"/>
                    </a:lnTo>
                    <a:close/>
                    <a:moveTo>
                      <a:pt x="65" y="358"/>
                    </a:moveTo>
                    <a:lnTo>
                      <a:pt x="66" y="358"/>
                    </a:lnTo>
                    <a:lnTo>
                      <a:pt x="66" y="360"/>
                    </a:lnTo>
                    <a:lnTo>
                      <a:pt x="65" y="360"/>
                    </a:lnTo>
                    <a:lnTo>
                      <a:pt x="65" y="358"/>
                    </a:lnTo>
                    <a:close/>
                    <a:moveTo>
                      <a:pt x="1376" y="1184"/>
                    </a:moveTo>
                    <a:lnTo>
                      <a:pt x="1376" y="1186"/>
                    </a:lnTo>
                    <a:lnTo>
                      <a:pt x="1376" y="1184"/>
                    </a:lnTo>
                    <a:close/>
                    <a:moveTo>
                      <a:pt x="438" y="450"/>
                    </a:moveTo>
                    <a:lnTo>
                      <a:pt x="438" y="452"/>
                    </a:lnTo>
                    <a:lnTo>
                      <a:pt x="438" y="450"/>
                    </a:lnTo>
                    <a:close/>
                    <a:moveTo>
                      <a:pt x="103" y="440"/>
                    </a:moveTo>
                    <a:lnTo>
                      <a:pt x="105" y="440"/>
                    </a:lnTo>
                    <a:lnTo>
                      <a:pt x="103" y="440"/>
                    </a:lnTo>
                    <a:close/>
                    <a:moveTo>
                      <a:pt x="179" y="553"/>
                    </a:moveTo>
                    <a:lnTo>
                      <a:pt x="179" y="555"/>
                    </a:lnTo>
                    <a:lnTo>
                      <a:pt x="179" y="553"/>
                    </a:lnTo>
                    <a:close/>
                    <a:moveTo>
                      <a:pt x="335" y="53"/>
                    </a:moveTo>
                    <a:lnTo>
                      <a:pt x="335" y="55"/>
                    </a:lnTo>
                    <a:lnTo>
                      <a:pt x="335" y="53"/>
                    </a:lnTo>
                    <a:close/>
                    <a:moveTo>
                      <a:pt x="1571" y="872"/>
                    </a:moveTo>
                    <a:lnTo>
                      <a:pt x="1573" y="872"/>
                    </a:lnTo>
                    <a:lnTo>
                      <a:pt x="1573" y="873"/>
                    </a:lnTo>
                    <a:lnTo>
                      <a:pt x="1571" y="873"/>
                    </a:lnTo>
                    <a:lnTo>
                      <a:pt x="1571" y="872"/>
                    </a:lnTo>
                    <a:close/>
                    <a:moveTo>
                      <a:pt x="1306" y="837"/>
                    </a:moveTo>
                    <a:lnTo>
                      <a:pt x="1306" y="839"/>
                    </a:lnTo>
                    <a:lnTo>
                      <a:pt x="1306" y="837"/>
                    </a:lnTo>
                    <a:close/>
                    <a:moveTo>
                      <a:pt x="93" y="78"/>
                    </a:moveTo>
                    <a:lnTo>
                      <a:pt x="95" y="78"/>
                    </a:lnTo>
                    <a:lnTo>
                      <a:pt x="95" y="82"/>
                    </a:lnTo>
                    <a:lnTo>
                      <a:pt x="93" y="82"/>
                    </a:lnTo>
                    <a:lnTo>
                      <a:pt x="93" y="78"/>
                    </a:lnTo>
                    <a:close/>
                    <a:moveTo>
                      <a:pt x="314" y="398"/>
                    </a:moveTo>
                    <a:lnTo>
                      <a:pt x="314" y="400"/>
                    </a:lnTo>
                    <a:lnTo>
                      <a:pt x="314" y="398"/>
                    </a:lnTo>
                    <a:close/>
                    <a:moveTo>
                      <a:pt x="1397" y="1242"/>
                    </a:moveTo>
                    <a:lnTo>
                      <a:pt x="1397" y="1244"/>
                    </a:lnTo>
                    <a:lnTo>
                      <a:pt x="1397" y="1242"/>
                    </a:lnTo>
                    <a:close/>
                    <a:moveTo>
                      <a:pt x="1224" y="805"/>
                    </a:moveTo>
                    <a:lnTo>
                      <a:pt x="1224" y="807"/>
                    </a:lnTo>
                    <a:lnTo>
                      <a:pt x="1224" y="805"/>
                    </a:lnTo>
                    <a:close/>
                    <a:moveTo>
                      <a:pt x="574" y="562"/>
                    </a:moveTo>
                    <a:lnTo>
                      <a:pt x="574" y="564"/>
                    </a:lnTo>
                    <a:lnTo>
                      <a:pt x="574" y="562"/>
                    </a:lnTo>
                    <a:close/>
                    <a:moveTo>
                      <a:pt x="1405" y="1234"/>
                    </a:moveTo>
                    <a:lnTo>
                      <a:pt x="1405" y="1236"/>
                    </a:lnTo>
                    <a:lnTo>
                      <a:pt x="1405" y="1234"/>
                    </a:lnTo>
                    <a:close/>
                    <a:moveTo>
                      <a:pt x="1373" y="1167"/>
                    </a:moveTo>
                    <a:lnTo>
                      <a:pt x="1373" y="1169"/>
                    </a:lnTo>
                    <a:lnTo>
                      <a:pt x="1373" y="1167"/>
                    </a:lnTo>
                    <a:close/>
                    <a:moveTo>
                      <a:pt x="598" y="599"/>
                    </a:moveTo>
                    <a:lnTo>
                      <a:pt x="600" y="599"/>
                    </a:lnTo>
                    <a:lnTo>
                      <a:pt x="600" y="601"/>
                    </a:lnTo>
                    <a:lnTo>
                      <a:pt x="598" y="601"/>
                    </a:lnTo>
                    <a:lnTo>
                      <a:pt x="598" y="599"/>
                    </a:lnTo>
                    <a:close/>
                    <a:moveTo>
                      <a:pt x="1388" y="1221"/>
                    </a:moveTo>
                    <a:lnTo>
                      <a:pt x="1390" y="1221"/>
                    </a:lnTo>
                    <a:lnTo>
                      <a:pt x="1388" y="1221"/>
                    </a:lnTo>
                    <a:close/>
                    <a:moveTo>
                      <a:pt x="1403" y="1240"/>
                    </a:moveTo>
                    <a:lnTo>
                      <a:pt x="1405" y="1240"/>
                    </a:lnTo>
                    <a:lnTo>
                      <a:pt x="1403" y="1240"/>
                    </a:lnTo>
                    <a:close/>
                    <a:moveTo>
                      <a:pt x="1146" y="1181"/>
                    </a:moveTo>
                    <a:lnTo>
                      <a:pt x="1148" y="1181"/>
                    </a:lnTo>
                    <a:lnTo>
                      <a:pt x="1148" y="1183"/>
                    </a:lnTo>
                    <a:lnTo>
                      <a:pt x="1146" y="1183"/>
                    </a:lnTo>
                    <a:lnTo>
                      <a:pt x="1146" y="1181"/>
                    </a:lnTo>
                    <a:close/>
                    <a:moveTo>
                      <a:pt x="1266" y="1150"/>
                    </a:moveTo>
                    <a:lnTo>
                      <a:pt x="1266" y="1152"/>
                    </a:lnTo>
                    <a:lnTo>
                      <a:pt x="1266" y="1150"/>
                    </a:lnTo>
                    <a:close/>
                    <a:moveTo>
                      <a:pt x="1388" y="1221"/>
                    </a:moveTo>
                    <a:lnTo>
                      <a:pt x="1388" y="1223"/>
                    </a:lnTo>
                    <a:lnTo>
                      <a:pt x="1388" y="1221"/>
                    </a:lnTo>
                    <a:close/>
                    <a:moveTo>
                      <a:pt x="1174" y="1152"/>
                    </a:moveTo>
                    <a:lnTo>
                      <a:pt x="1176" y="1152"/>
                    </a:lnTo>
                    <a:lnTo>
                      <a:pt x="1174" y="1152"/>
                    </a:lnTo>
                    <a:close/>
                    <a:moveTo>
                      <a:pt x="1373" y="921"/>
                    </a:moveTo>
                    <a:lnTo>
                      <a:pt x="1373" y="923"/>
                    </a:lnTo>
                    <a:lnTo>
                      <a:pt x="1373" y="921"/>
                    </a:lnTo>
                    <a:close/>
                    <a:moveTo>
                      <a:pt x="526" y="526"/>
                    </a:moveTo>
                    <a:lnTo>
                      <a:pt x="526" y="528"/>
                    </a:lnTo>
                    <a:lnTo>
                      <a:pt x="526" y="526"/>
                    </a:lnTo>
                    <a:close/>
                    <a:moveTo>
                      <a:pt x="368" y="57"/>
                    </a:moveTo>
                    <a:lnTo>
                      <a:pt x="370" y="57"/>
                    </a:lnTo>
                    <a:lnTo>
                      <a:pt x="370" y="59"/>
                    </a:lnTo>
                    <a:lnTo>
                      <a:pt x="368" y="59"/>
                    </a:lnTo>
                    <a:lnTo>
                      <a:pt x="368" y="57"/>
                    </a:lnTo>
                    <a:close/>
                    <a:moveTo>
                      <a:pt x="587" y="566"/>
                    </a:moveTo>
                    <a:lnTo>
                      <a:pt x="587" y="568"/>
                    </a:lnTo>
                    <a:lnTo>
                      <a:pt x="587" y="566"/>
                    </a:lnTo>
                    <a:close/>
                    <a:moveTo>
                      <a:pt x="383" y="431"/>
                    </a:moveTo>
                    <a:lnTo>
                      <a:pt x="383" y="433"/>
                    </a:lnTo>
                    <a:lnTo>
                      <a:pt x="383" y="431"/>
                    </a:lnTo>
                    <a:close/>
                    <a:moveTo>
                      <a:pt x="295" y="45"/>
                    </a:moveTo>
                    <a:lnTo>
                      <a:pt x="297" y="45"/>
                    </a:lnTo>
                    <a:lnTo>
                      <a:pt x="297" y="47"/>
                    </a:lnTo>
                    <a:lnTo>
                      <a:pt x="295" y="47"/>
                    </a:lnTo>
                    <a:lnTo>
                      <a:pt x="295" y="45"/>
                    </a:lnTo>
                    <a:close/>
                    <a:moveTo>
                      <a:pt x="332" y="51"/>
                    </a:moveTo>
                    <a:lnTo>
                      <a:pt x="333" y="51"/>
                    </a:lnTo>
                    <a:lnTo>
                      <a:pt x="332" y="51"/>
                    </a:lnTo>
                    <a:close/>
                    <a:moveTo>
                      <a:pt x="221" y="11"/>
                    </a:moveTo>
                    <a:lnTo>
                      <a:pt x="223" y="11"/>
                    </a:lnTo>
                    <a:lnTo>
                      <a:pt x="223" y="13"/>
                    </a:lnTo>
                    <a:lnTo>
                      <a:pt x="221" y="13"/>
                    </a:lnTo>
                    <a:lnTo>
                      <a:pt x="221" y="11"/>
                    </a:lnTo>
                    <a:close/>
                    <a:moveTo>
                      <a:pt x="465" y="459"/>
                    </a:moveTo>
                    <a:lnTo>
                      <a:pt x="465" y="461"/>
                    </a:lnTo>
                    <a:lnTo>
                      <a:pt x="465" y="459"/>
                    </a:lnTo>
                    <a:close/>
                    <a:moveTo>
                      <a:pt x="732" y="757"/>
                    </a:moveTo>
                    <a:lnTo>
                      <a:pt x="734" y="757"/>
                    </a:lnTo>
                    <a:lnTo>
                      <a:pt x="732" y="757"/>
                    </a:lnTo>
                    <a:close/>
                    <a:moveTo>
                      <a:pt x="1373" y="1192"/>
                    </a:moveTo>
                    <a:lnTo>
                      <a:pt x="1375" y="1192"/>
                    </a:lnTo>
                    <a:lnTo>
                      <a:pt x="1373" y="1192"/>
                    </a:lnTo>
                    <a:close/>
                    <a:moveTo>
                      <a:pt x="1264" y="1152"/>
                    </a:moveTo>
                    <a:lnTo>
                      <a:pt x="1264" y="1154"/>
                    </a:lnTo>
                    <a:lnTo>
                      <a:pt x="1264" y="1152"/>
                    </a:lnTo>
                    <a:close/>
                    <a:moveTo>
                      <a:pt x="1308" y="831"/>
                    </a:moveTo>
                    <a:lnTo>
                      <a:pt x="1310" y="831"/>
                    </a:lnTo>
                    <a:lnTo>
                      <a:pt x="1308" y="831"/>
                    </a:lnTo>
                    <a:close/>
                    <a:moveTo>
                      <a:pt x="99" y="194"/>
                    </a:moveTo>
                    <a:lnTo>
                      <a:pt x="99" y="196"/>
                    </a:lnTo>
                    <a:lnTo>
                      <a:pt x="99" y="194"/>
                    </a:lnTo>
                    <a:close/>
                    <a:moveTo>
                      <a:pt x="547" y="524"/>
                    </a:moveTo>
                    <a:lnTo>
                      <a:pt x="549" y="524"/>
                    </a:lnTo>
                    <a:lnTo>
                      <a:pt x="547" y="524"/>
                    </a:lnTo>
                    <a:close/>
                    <a:moveTo>
                      <a:pt x="1361" y="870"/>
                    </a:moveTo>
                    <a:lnTo>
                      <a:pt x="1361" y="872"/>
                    </a:lnTo>
                    <a:lnTo>
                      <a:pt x="1361" y="870"/>
                    </a:lnTo>
                    <a:close/>
                    <a:moveTo>
                      <a:pt x="1502" y="965"/>
                    </a:moveTo>
                    <a:lnTo>
                      <a:pt x="1502" y="967"/>
                    </a:lnTo>
                    <a:lnTo>
                      <a:pt x="1502" y="965"/>
                    </a:lnTo>
                    <a:close/>
                    <a:moveTo>
                      <a:pt x="1476" y="988"/>
                    </a:moveTo>
                    <a:lnTo>
                      <a:pt x="1478" y="988"/>
                    </a:lnTo>
                    <a:lnTo>
                      <a:pt x="1478" y="990"/>
                    </a:lnTo>
                    <a:lnTo>
                      <a:pt x="1476" y="990"/>
                    </a:lnTo>
                    <a:lnTo>
                      <a:pt x="1476" y="988"/>
                    </a:lnTo>
                    <a:close/>
                    <a:moveTo>
                      <a:pt x="127" y="568"/>
                    </a:moveTo>
                    <a:lnTo>
                      <a:pt x="129" y="568"/>
                    </a:lnTo>
                    <a:lnTo>
                      <a:pt x="127" y="568"/>
                    </a:lnTo>
                    <a:close/>
                    <a:moveTo>
                      <a:pt x="1270" y="1163"/>
                    </a:moveTo>
                    <a:lnTo>
                      <a:pt x="1270" y="1165"/>
                    </a:lnTo>
                    <a:lnTo>
                      <a:pt x="1270" y="1163"/>
                    </a:lnTo>
                    <a:close/>
                    <a:moveTo>
                      <a:pt x="1390" y="1221"/>
                    </a:moveTo>
                    <a:lnTo>
                      <a:pt x="1392" y="1221"/>
                    </a:lnTo>
                    <a:lnTo>
                      <a:pt x="1392" y="1223"/>
                    </a:lnTo>
                    <a:lnTo>
                      <a:pt x="1390" y="1223"/>
                    </a:lnTo>
                    <a:lnTo>
                      <a:pt x="1390" y="1221"/>
                    </a:lnTo>
                    <a:close/>
                    <a:moveTo>
                      <a:pt x="70" y="347"/>
                    </a:moveTo>
                    <a:lnTo>
                      <a:pt x="72" y="347"/>
                    </a:lnTo>
                    <a:lnTo>
                      <a:pt x="70" y="347"/>
                    </a:lnTo>
                    <a:close/>
                    <a:moveTo>
                      <a:pt x="5566" y="686"/>
                    </a:moveTo>
                    <a:lnTo>
                      <a:pt x="5566" y="688"/>
                    </a:lnTo>
                    <a:lnTo>
                      <a:pt x="5566" y="686"/>
                    </a:lnTo>
                    <a:close/>
                    <a:moveTo>
                      <a:pt x="534" y="543"/>
                    </a:moveTo>
                    <a:lnTo>
                      <a:pt x="534" y="545"/>
                    </a:lnTo>
                    <a:lnTo>
                      <a:pt x="534" y="543"/>
                    </a:lnTo>
                    <a:close/>
                    <a:moveTo>
                      <a:pt x="129" y="566"/>
                    </a:moveTo>
                    <a:lnTo>
                      <a:pt x="129" y="568"/>
                    </a:lnTo>
                    <a:lnTo>
                      <a:pt x="129" y="566"/>
                    </a:lnTo>
                    <a:close/>
                    <a:moveTo>
                      <a:pt x="1388" y="1221"/>
                    </a:moveTo>
                    <a:lnTo>
                      <a:pt x="1388" y="1223"/>
                    </a:lnTo>
                    <a:lnTo>
                      <a:pt x="1388" y="1221"/>
                    </a:lnTo>
                    <a:close/>
                    <a:moveTo>
                      <a:pt x="1243" y="1163"/>
                    </a:moveTo>
                    <a:lnTo>
                      <a:pt x="1243" y="1165"/>
                    </a:lnTo>
                    <a:lnTo>
                      <a:pt x="1243" y="1163"/>
                    </a:lnTo>
                    <a:close/>
                    <a:moveTo>
                      <a:pt x="143" y="597"/>
                    </a:moveTo>
                    <a:lnTo>
                      <a:pt x="143" y="599"/>
                    </a:lnTo>
                    <a:lnTo>
                      <a:pt x="143" y="597"/>
                    </a:lnTo>
                    <a:close/>
                    <a:moveTo>
                      <a:pt x="728" y="761"/>
                    </a:moveTo>
                    <a:lnTo>
                      <a:pt x="730" y="761"/>
                    </a:lnTo>
                    <a:lnTo>
                      <a:pt x="728" y="761"/>
                    </a:lnTo>
                    <a:close/>
                    <a:moveTo>
                      <a:pt x="375" y="440"/>
                    </a:moveTo>
                    <a:lnTo>
                      <a:pt x="377" y="440"/>
                    </a:lnTo>
                    <a:lnTo>
                      <a:pt x="375" y="440"/>
                    </a:lnTo>
                    <a:close/>
                    <a:moveTo>
                      <a:pt x="1600" y="862"/>
                    </a:moveTo>
                    <a:lnTo>
                      <a:pt x="1600" y="864"/>
                    </a:lnTo>
                    <a:lnTo>
                      <a:pt x="1600" y="862"/>
                    </a:lnTo>
                    <a:close/>
                    <a:moveTo>
                      <a:pt x="1447" y="1074"/>
                    </a:moveTo>
                    <a:lnTo>
                      <a:pt x="1447" y="1076"/>
                    </a:lnTo>
                    <a:lnTo>
                      <a:pt x="1447" y="1074"/>
                    </a:lnTo>
                    <a:close/>
                    <a:moveTo>
                      <a:pt x="234" y="541"/>
                    </a:moveTo>
                    <a:lnTo>
                      <a:pt x="236" y="541"/>
                    </a:lnTo>
                    <a:lnTo>
                      <a:pt x="234" y="541"/>
                    </a:lnTo>
                    <a:close/>
                    <a:moveTo>
                      <a:pt x="1373" y="1192"/>
                    </a:moveTo>
                    <a:lnTo>
                      <a:pt x="1375" y="1192"/>
                    </a:lnTo>
                    <a:lnTo>
                      <a:pt x="1373" y="1192"/>
                    </a:lnTo>
                    <a:close/>
                    <a:moveTo>
                      <a:pt x="1151" y="1177"/>
                    </a:moveTo>
                    <a:lnTo>
                      <a:pt x="1153" y="1177"/>
                    </a:lnTo>
                    <a:lnTo>
                      <a:pt x="1151" y="1177"/>
                    </a:lnTo>
                    <a:close/>
                    <a:moveTo>
                      <a:pt x="795" y="1081"/>
                    </a:moveTo>
                    <a:lnTo>
                      <a:pt x="795" y="1083"/>
                    </a:lnTo>
                    <a:lnTo>
                      <a:pt x="795" y="1081"/>
                    </a:lnTo>
                    <a:close/>
                    <a:moveTo>
                      <a:pt x="381" y="431"/>
                    </a:moveTo>
                    <a:lnTo>
                      <a:pt x="383" y="431"/>
                    </a:lnTo>
                    <a:lnTo>
                      <a:pt x="383" y="433"/>
                    </a:lnTo>
                    <a:lnTo>
                      <a:pt x="381" y="433"/>
                    </a:lnTo>
                    <a:lnTo>
                      <a:pt x="381" y="431"/>
                    </a:lnTo>
                    <a:close/>
                    <a:moveTo>
                      <a:pt x="1453" y="1064"/>
                    </a:moveTo>
                    <a:lnTo>
                      <a:pt x="1453" y="1066"/>
                    </a:lnTo>
                    <a:lnTo>
                      <a:pt x="1453" y="1064"/>
                    </a:lnTo>
                    <a:close/>
                    <a:moveTo>
                      <a:pt x="404" y="59"/>
                    </a:moveTo>
                    <a:lnTo>
                      <a:pt x="406" y="59"/>
                    </a:lnTo>
                    <a:lnTo>
                      <a:pt x="406" y="61"/>
                    </a:lnTo>
                    <a:lnTo>
                      <a:pt x="404" y="61"/>
                    </a:lnTo>
                    <a:lnTo>
                      <a:pt x="404" y="59"/>
                    </a:lnTo>
                    <a:close/>
                    <a:moveTo>
                      <a:pt x="534" y="538"/>
                    </a:moveTo>
                    <a:lnTo>
                      <a:pt x="536" y="538"/>
                    </a:lnTo>
                    <a:lnTo>
                      <a:pt x="534" y="538"/>
                    </a:lnTo>
                    <a:close/>
                    <a:moveTo>
                      <a:pt x="1575" y="917"/>
                    </a:moveTo>
                    <a:lnTo>
                      <a:pt x="1575" y="919"/>
                    </a:lnTo>
                    <a:lnTo>
                      <a:pt x="1575" y="917"/>
                    </a:lnTo>
                    <a:close/>
                    <a:moveTo>
                      <a:pt x="787" y="1072"/>
                    </a:moveTo>
                    <a:lnTo>
                      <a:pt x="789" y="1072"/>
                    </a:lnTo>
                    <a:lnTo>
                      <a:pt x="787" y="1072"/>
                    </a:lnTo>
                    <a:close/>
                    <a:moveTo>
                      <a:pt x="1489" y="992"/>
                    </a:moveTo>
                    <a:lnTo>
                      <a:pt x="1489" y="994"/>
                    </a:lnTo>
                    <a:lnTo>
                      <a:pt x="1489" y="992"/>
                    </a:lnTo>
                    <a:close/>
                    <a:moveTo>
                      <a:pt x="1390" y="1244"/>
                    </a:moveTo>
                    <a:lnTo>
                      <a:pt x="1392" y="1244"/>
                    </a:lnTo>
                    <a:lnTo>
                      <a:pt x="1390" y="1244"/>
                    </a:lnTo>
                    <a:close/>
                    <a:moveTo>
                      <a:pt x="68" y="164"/>
                    </a:moveTo>
                    <a:lnTo>
                      <a:pt x="70" y="164"/>
                    </a:lnTo>
                    <a:lnTo>
                      <a:pt x="70" y="166"/>
                    </a:lnTo>
                    <a:lnTo>
                      <a:pt x="68" y="166"/>
                    </a:lnTo>
                    <a:lnTo>
                      <a:pt x="68" y="164"/>
                    </a:lnTo>
                    <a:close/>
                    <a:moveTo>
                      <a:pt x="65" y="360"/>
                    </a:moveTo>
                    <a:lnTo>
                      <a:pt x="66" y="360"/>
                    </a:lnTo>
                    <a:lnTo>
                      <a:pt x="65" y="360"/>
                    </a:lnTo>
                    <a:close/>
                    <a:moveTo>
                      <a:pt x="236" y="540"/>
                    </a:moveTo>
                    <a:lnTo>
                      <a:pt x="236" y="541"/>
                    </a:lnTo>
                    <a:lnTo>
                      <a:pt x="236" y="540"/>
                    </a:lnTo>
                    <a:close/>
                    <a:moveTo>
                      <a:pt x="726" y="818"/>
                    </a:moveTo>
                    <a:lnTo>
                      <a:pt x="728" y="818"/>
                    </a:lnTo>
                    <a:lnTo>
                      <a:pt x="726" y="818"/>
                    </a:lnTo>
                    <a:close/>
                    <a:moveTo>
                      <a:pt x="1256" y="1160"/>
                    </a:moveTo>
                    <a:lnTo>
                      <a:pt x="1258" y="1160"/>
                    </a:lnTo>
                    <a:lnTo>
                      <a:pt x="1258" y="1162"/>
                    </a:lnTo>
                    <a:lnTo>
                      <a:pt x="1256" y="1162"/>
                    </a:lnTo>
                    <a:lnTo>
                      <a:pt x="1256" y="1160"/>
                    </a:lnTo>
                    <a:close/>
                    <a:moveTo>
                      <a:pt x="295" y="45"/>
                    </a:moveTo>
                    <a:lnTo>
                      <a:pt x="297" y="45"/>
                    </a:lnTo>
                    <a:lnTo>
                      <a:pt x="297" y="47"/>
                    </a:lnTo>
                    <a:lnTo>
                      <a:pt x="295" y="47"/>
                    </a:lnTo>
                    <a:lnTo>
                      <a:pt x="295" y="45"/>
                    </a:lnTo>
                    <a:close/>
                    <a:moveTo>
                      <a:pt x="1584" y="872"/>
                    </a:moveTo>
                    <a:lnTo>
                      <a:pt x="1586" y="872"/>
                    </a:lnTo>
                    <a:lnTo>
                      <a:pt x="1586" y="873"/>
                    </a:lnTo>
                    <a:lnTo>
                      <a:pt x="1584" y="873"/>
                    </a:lnTo>
                    <a:lnTo>
                      <a:pt x="1584" y="872"/>
                    </a:lnTo>
                    <a:close/>
                    <a:moveTo>
                      <a:pt x="398" y="61"/>
                    </a:moveTo>
                    <a:lnTo>
                      <a:pt x="400" y="61"/>
                    </a:lnTo>
                    <a:lnTo>
                      <a:pt x="400" y="62"/>
                    </a:lnTo>
                    <a:lnTo>
                      <a:pt x="398" y="62"/>
                    </a:lnTo>
                    <a:lnTo>
                      <a:pt x="398" y="61"/>
                    </a:lnTo>
                    <a:close/>
                    <a:moveTo>
                      <a:pt x="597" y="581"/>
                    </a:moveTo>
                    <a:lnTo>
                      <a:pt x="597" y="583"/>
                    </a:lnTo>
                    <a:lnTo>
                      <a:pt x="597" y="581"/>
                    </a:lnTo>
                    <a:close/>
                    <a:moveTo>
                      <a:pt x="1603" y="856"/>
                    </a:moveTo>
                    <a:lnTo>
                      <a:pt x="1603" y="858"/>
                    </a:lnTo>
                    <a:lnTo>
                      <a:pt x="1603" y="856"/>
                    </a:lnTo>
                    <a:close/>
                    <a:moveTo>
                      <a:pt x="349" y="51"/>
                    </a:moveTo>
                    <a:lnTo>
                      <a:pt x="351" y="51"/>
                    </a:lnTo>
                    <a:lnTo>
                      <a:pt x="351" y="53"/>
                    </a:lnTo>
                    <a:lnTo>
                      <a:pt x="349" y="53"/>
                    </a:lnTo>
                    <a:lnTo>
                      <a:pt x="349" y="51"/>
                    </a:lnTo>
                    <a:close/>
                    <a:moveTo>
                      <a:pt x="1392" y="1242"/>
                    </a:moveTo>
                    <a:lnTo>
                      <a:pt x="1392" y="1244"/>
                    </a:lnTo>
                    <a:lnTo>
                      <a:pt x="1392" y="1242"/>
                    </a:lnTo>
                    <a:close/>
                    <a:moveTo>
                      <a:pt x="1504" y="963"/>
                    </a:moveTo>
                    <a:lnTo>
                      <a:pt x="1506" y="963"/>
                    </a:lnTo>
                    <a:lnTo>
                      <a:pt x="1506" y="965"/>
                    </a:lnTo>
                    <a:lnTo>
                      <a:pt x="1504" y="965"/>
                    </a:lnTo>
                    <a:lnTo>
                      <a:pt x="1504" y="963"/>
                    </a:lnTo>
                    <a:close/>
                    <a:moveTo>
                      <a:pt x="1439" y="1074"/>
                    </a:moveTo>
                    <a:lnTo>
                      <a:pt x="1439" y="1076"/>
                    </a:lnTo>
                    <a:lnTo>
                      <a:pt x="1439" y="1074"/>
                    </a:lnTo>
                    <a:close/>
                    <a:moveTo>
                      <a:pt x="1277" y="772"/>
                    </a:moveTo>
                    <a:lnTo>
                      <a:pt x="1279" y="772"/>
                    </a:lnTo>
                    <a:lnTo>
                      <a:pt x="1277" y="772"/>
                    </a:lnTo>
                    <a:close/>
                    <a:moveTo>
                      <a:pt x="1266" y="1146"/>
                    </a:moveTo>
                    <a:lnTo>
                      <a:pt x="1268" y="1146"/>
                    </a:lnTo>
                    <a:lnTo>
                      <a:pt x="1266" y="1146"/>
                    </a:lnTo>
                    <a:close/>
                    <a:moveTo>
                      <a:pt x="518" y="503"/>
                    </a:moveTo>
                    <a:lnTo>
                      <a:pt x="518" y="505"/>
                    </a:lnTo>
                    <a:lnTo>
                      <a:pt x="518" y="503"/>
                    </a:lnTo>
                    <a:close/>
                    <a:moveTo>
                      <a:pt x="312" y="40"/>
                    </a:moveTo>
                    <a:lnTo>
                      <a:pt x="314" y="40"/>
                    </a:lnTo>
                    <a:lnTo>
                      <a:pt x="314" y="42"/>
                    </a:lnTo>
                    <a:lnTo>
                      <a:pt x="312" y="42"/>
                    </a:lnTo>
                    <a:lnTo>
                      <a:pt x="312" y="40"/>
                    </a:lnTo>
                    <a:close/>
                    <a:moveTo>
                      <a:pt x="314" y="398"/>
                    </a:moveTo>
                    <a:lnTo>
                      <a:pt x="316" y="398"/>
                    </a:lnTo>
                    <a:lnTo>
                      <a:pt x="316" y="400"/>
                    </a:lnTo>
                    <a:lnTo>
                      <a:pt x="314" y="400"/>
                    </a:lnTo>
                    <a:lnTo>
                      <a:pt x="314" y="398"/>
                    </a:lnTo>
                    <a:close/>
                    <a:moveTo>
                      <a:pt x="1483" y="1003"/>
                    </a:moveTo>
                    <a:lnTo>
                      <a:pt x="1483" y="1005"/>
                    </a:lnTo>
                    <a:lnTo>
                      <a:pt x="1483" y="1003"/>
                    </a:lnTo>
                    <a:close/>
                    <a:moveTo>
                      <a:pt x="560" y="572"/>
                    </a:moveTo>
                    <a:lnTo>
                      <a:pt x="562" y="572"/>
                    </a:lnTo>
                    <a:lnTo>
                      <a:pt x="560" y="572"/>
                    </a:lnTo>
                    <a:close/>
                    <a:moveTo>
                      <a:pt x="1371" y="1183"/>
                    </a:moveTo>
                    <a:lnTo>
                      <a:pt x="1371" y="1184"/>
                    </a:lnTo>
                    <a:lnTo>
                      <a:pt x="1371" y="1183"/>
                    </a:lnTo>
                    <a:close/>
                    <a:moveTo>
                      <a:pt x="741" y="774"/>
                    </a:moveTo>
                    <a:lnTo>
                      <a:pt x="741" y="776"/>
                    </a:lnTo>
                    <a:lnTo>
                      <a:pt x="741" y="774"/>
                    </a:lnTo>
                    <a:close/>
                    <a:moveTo>
                      <a:pt x="59" y="364"/>
                    </a:moveTo>
                    <a:lnTo>
                      <a:pt x="61" y="364"/>
                    </a:lnTo>
                    <a:lnTo>
                      <a:pt x="59" y="364"/>
                    </a:lnTo>
                    <a:close/>
                    <a:moveTo>
                      <a:pt x="438" y="80"/>
                    </a:moveTo>
                    <a:lnTo>
                      <a:pt x="440" y="80"/>
                    </a:lnTo>
                    <a:lnTo>
                      <a:pt x="440" y="82"/>
                    </a:lnTo>
                    <a:lnTo>
                      <a:pt x="438" y="82"/>
                    </a:lnTo>
                    <a:lnTo>
                      <a:pt x="438" y="80"/>
                    </a:lnTo>
                    <a:close/>
                    <a:moveTo>
                      <a:pt x="1481" y="1007"/>
                    </a:moveTo>
                    <a:lnTo>
                      <a:pt x="1481" y="1009"/>
                    </a:lnTo>
                    <a:lnTo>
                      <a:pt x="1481" y="1007"/>
                    </a:lnTo>
                    <a:close/>
                    <a:moveTo>
                      <a:pt x="259" y="513"/>
                    </a:moveTo>
                    <a:lnTo>
                      <a:pt x="261" y="513"/>
                    </a:lnTo>
                    <a:lnTo>
                      <a:pt x="259" y="513"/>
                    </a:lnTo>
                    <a:close/>
                    <a:moveTo>
                      <a:pt x="1497" y="973"/>
                    </a:moveTo>
                    <a:lnTo>
                      <a:pt x="1499" y="973"/>
                    </a:lnTo>
                    <a:lnTo>
                      <a:pt x="1497" y="973"/>
                    </a:lnTo>
                    <a:close/>
                    <a:moveTo>
                      <a:pt x="337" y="421"/>
                    </a:moveTo>
                    <a:lnTo>
                      <a:pt x="339" y="421"/>
                    </a:lnTo>
                    <a:lnTo>
                      <a:pt x="339" y="423"/>
                    </a:lnTo>
                    <a:lnTo>
                      <a:pt x="337" y="423"/>
                    </a:lnTo>
                    <a:lnTo>
                      <a:pt x="337" y="421"/>
                    </a:lnTo>
                    <a:close/>
                    <a:moveTo>
                      <a:pt x="1153" y="1177"/>
                    </a:moveTo>
                    <a:lnTo>
                      <a:pt x="1155" y="1177"/>
                    </a:lnTo>
                    <a:lnTo>
                      <a:pt x="1153" y="1177"/>
                    </a:lnTo>
                    <a:close/>
                    <a:moveTo>
                      <a:pt x="335" y="49"/>
                    </a:moveTo>
                    <a:lnTo>
                      <a:pt x="335" y="51"/>
                    </a:lnTo>
                    <a:lnTo>
                      <a:pt x="335" y="49"/>
                    </a:lnTo>
                    <a:close/>
                    <a:moveTo>
                      <a:pt x="1274" y="1141"/>
                    </a:moveTo>
                    <a:lnTo>
                      <a:pt x="1275" y="1141"/>
                    </a:lnTo>
                    <a:lnTo>
                      <a:pt x="1274" y="1141"/>
                    </a:lnTo>
                    <a:close/>
                    <a:moveTo>
                      <a:pt x="1272" y="1144"/>
                    </a:moveTo>
                    <a:lnTo>
                      <a:pt x="1274" y="1144"/>
                    </a:lnTo>
                    <a:lnTo>
                      <a:pt x="1272" y="1144"/>
                    </a:lnTo>
                    <a:close/>
                    <a:moveTo>
                      <a:pt x="1598" y="860"/>
                    </a:moveTo>
                    <a:lnTo>
                      <a:pt x="1598" y="862"/>
                    </a:lnTo>
                    <a:lnTo>
                      <a:pt x="1598" y="860"/>
                    </a:lnTo>
                    <a:close/>
                    <a:moveTo>
                      <a:pt x="1518" y="940"/>
                    </a:moveTo>
                    <a:lnTo>
                      <a:pt x="1520" y="940"/>
                    </a:lnTo>
                    <a:lnTo>
                      <a:pt x="1518" y="940"/>
                    </a:lnTo>
                    <a:close/>
                    <a:moveTo>
                      <a:pt x="1142" y="1186"/>
                    </a:moveTo>
                    <a:lnTo>
                      <a:pt x="1144" y="1186"/>
                    </a:lnTo>
                    <a:lnTo>
                      <a:pt x="1142" y="1186"/>
                    </a:lnTo>
                    <a:close/>
                    <a:moveTo>
                      <a:pt x="425" y="70"/>
                    </a:moveTo>
                    <a:lnTo>
                      <a:pt x="427" y="70"/>
                    </a:lnTo>
                    <a:lnTo>
                      <a:pt x="427" y="72"/>
                    </a:lnTo>
                    <a:lnTo>
                      <a:pt x="425" y="72"/>
                    </a:lnTo>
                    <a:lnTo>
                      <a:pt x="425" y="70"/>
                    </a:lnTo>
                    <a:close/>
                    <a:moveTo>
                      <a:pt x="190" y="480"/>
                    </a:moveTo>
                    <a:lnTo>
                      <a:pt x="192" y="480"/>
                    </a:lnTo>
                    <a:lnTo>
                      <a:pt x="190" y="480"/>
                    </a:lnTo>
                    <a:close/>
                    <a:moveTo>
                      <a:pt x="1399" y="1232"/>
                    </a:moveTo>
                    <a:lnTo>
                      <a:pt x="1401" y="1232"/>
                    </a:lnTo>
                    <a:lnTo>
                      <a:pt x="1401" y="1234"/>
                    </a:lnTo>
                    <a:lnTo>
                      <a:pt x="1399" y="1234"/>
                    </a:lnTo>
                    <a:lnTo>
                      <a:pt x="1399" y="1232"/>
                    </a:lnTo>
                    <a:close/>
                    <a:moveTo>
                      <a:pt x="383" y="433"/>
                    </a:moveTo>
                    <a:lnTo>
                      <a:pt x="383" y="435"/>
                    </a:lnTo>
                    <a:lnTo>
                      <a:pt x="383" y="433"/>
                    </a:lnTo>
                    <a:close/>
                    <a:moveTo>
                      <a:pt x="557" y="543"/>
                    </a:moveTo>
                    <a:lnTo>
                      <a:pt x="558" y="543"/>
                    </a:lnTo>
                    <a:lnTo>
                      <a:pt x="557" y="543"/>
                    </a:lnTo>
                    <a:close/>
                    <a:moveTo>
                      <a:pt x="564" y="519"/>
                    </a:moveTo>
                    <a:lnTo>
                      <a:pt x="566" y="519"/>
                    </a:lnTo>
                    <a:lnTo>
                      <a:pt x="564" y="519"/>
                    </a:lnTo>
                    <a:close/>
                    <a:moveTo>
                      <a:pt x="1392" y="1223"/>
                    </a:moveTo>
                    <a:lnTo>
                      <a:pt x="1394" y="1223"/>
                    </a:lnTo>
                    <a:lnTo>
                      <a:pt x="1392" y="1223"/>
                    </a:lnTo>
                    <a:close/>
                    <a:moveTo>
                      <a:pt x="465" y="452"/>
                    </a:moveTo>
                    <a:lnTo>
                      <a:pt x="465" y="454"/>
                    </a:lnTo>
                    <a:lnTo>
                      <a:pt x="465" y="452"/>
                    </a:lnTo>
                    <a:close/>
                    <a:moveTo>
                      <a:pt x="74" y="345"/>
                    </a:moveTo>
                    <a:lnTo>
                      <a:pt x="74" y="347"/>
                    </a:lnTo>
                    <a:lnTo>
                      <a:pt x="74" y="345"/>
                    </a:lnTo>
                    <a:close/>
                    <a:moveTo>
                      <a:pt x="1571" y="873"/>
                    </a:moveTo>
                    <a:lnTo>
                      <a:pt x="1571" y="875"/>
                    </a:lnTo>
                    <a:lnTo>
                      <a:pt x="1571" y="873"/>
                    </a:lnTo>
                    <a:close/>
                    <a:moveTo>
                      <a:pt x="1478" y="992"/>
                    </a:moveTo>
                    <a:lnTo>
                      <a:pt x="1479" y="992"/>
                    </a:lnTo>
                    <a:lnTo>
                      <a:pt x="1478" y="992"/>
                    </a:lnTo>
                    <a:close/>
                    <a:moveTo>
                      <a:pt x="343" y="47"/>
                    </a:moveTo>
                    <a:lnTo>
                      <a:pt x="343" y="49"/>
                    </a:lnTo>
                    <a:lnTo>
                      <a:pt x="343" y="47"/>
                    </a:lnTo>
                    <a:close/>
                    <a:moveTo>
                      <a:pt x="1266" y="1150"/>
                    </a:moveTo>
                    <a:lnTo>
                      <a:pt x="1268" y="1150"/>
                    </a:lnTo>
                    <a:lnTo>
                      <a:pt x="1266" y="1150"/>
                    </a:lnTo>
                    <a:close/>
                    <a:moveTo>
                      <a:pt x="1270" y="1163"/>
                    </a:moveTo>
                    <a:lnTo>
                      <a:pt x="1270" y="1165"/>
                    </a:lnTo>
                    <a:lnTo>
                      <a:pt x="1270" y="1163"/>
                    </a:lnTo>
                    <a:close/>
                    <a:moveTo>
                      <a:pt x="1151" y="1177"/>
                    </a:moveTo>
                    <a:lnTo>
                      <a:pt x="1151" y="1179"/>
                    </a:lnTo>
                    <a:lnTo>
                      <a:pt x="1151" y="1177"/>
                    </a:lnTo>
                    <a:close/>
                    <a:moveTo>
                      <a:pt x="408" y="59"/>
                    </a:moveTo>
                    <a:lnTo>
                      <a:pt x="410" y="59"/>
                    </a:lnTo>
                    <a:lnTo>
                      <a:pt x="410" y="61"/>
                    </a:lnTo>
                    <a:lnTo>
                      <a:pt x="408" y="61"/>
                    </a:lnTo>
                    <a:lnTo>
                      <a:pt x="408" y="59"/>
                    </a:lnTo>
                    <a:close/>
                    <a:moveTo>
                      <a:pt x="1483" y="1003"/>
                    </a:moveTo>
                    <a:lnTo>
                      <a:pt x="1483" y="1005"/>
                    </a:lnTo>
                    <a:lnTo>
                      <a:pt x="1483" y="1003"/>
                    </a:lnTo>
                    <a:close/>
                    <a:moveTo>
                      <a:pt x="1481" y="997"/>
                    </a:moveTo>
                    <a:lnTo>
                      <a:pt x="1483" y="997"/>
                    </a:lnTo>
                    <a:lnTo>
                      <a:pt x="1483" y="999"/>
                    </a:lnTo>
                    <a:lnTo>
                      <a:pt x="1481" y="999"/>
                    </a:lnTo>
                    <a:lnTo>
                      <a:pt x="1481" y="997"/>
                    </a:lnTo>
                    <a:close/>
                    <a:moveTo>
                      <a:pt x="566" y="570"/>
                    </a:moveTo>
                    <a:lnTo>
                      <a:pt x="568" y="570"/>
                    </a:lnTo>
                    <a:lnTo>
                      <a:pt x="568" y="572"/>
                    </a:lnTo>
                    <a:lnTo>
                      <a:pt x="566" y="572"/>
                    </a:lnTo>
                    <a:lnTo>
                      <a:pt x="566" y="570"/>
                    </a:lnTo>
                    <a:close/>
                    <a:moveTo>
                      <a:pt x="101" y="583"/>
                    </a:moveTo>
                    <a:lnTo>
                      <a:pt x="101" y="585"/>
                    </a:lnTo>
                    <a:lnTo>
                      <a:pt x="101" y="583"/>
                    </a:lnTo>
                    <a:close/>
                    <a:moveTo>
                      <a:pt x="526" y="492"/>
                    </a:moveTo>
                    <a:lnTo>
                      <a:pt x="526" y="494"/>
                    </a:lnTo>
                    <a:lnTo>
                      <a:pt x="526" y="492"/>
                    </a:lnTo>
                    <a:close/>
                    <a:moveTo>
                      <a:pt x="372" y="436"/>
                    </a:moveTo>
                    <a:lnTo>
                      <a:pt x="373" y="436"/>
                    </a:lnTo>
                    <a:lnTo>
                      <a:pt x="373" y="438"/>
                    </a:lnTo>
                    <a:lnTo>
                      <a:pt x="372" y="438"/>
                    </a:lnTo>
                    <a:lnTo>
                      <a:pt x="372" y="436"/>
                    </a:lnTo>
                    <a:close/>
                    <a:moveTo>
                      <a:pt x="1478" y="996"/>
                    </a:moveTo>
                    <a:lnTo>
                      <a:pt x="1479" y="996"/>
                    </a:lnTo>
                    <a:lnTo>
                      <a:pt x="1478" y="996"/>
                    </a:lnTo>
                    <a:close/>
                    <a:moveTo>
                      <a:pt x="263" y="517"/>
                    </a:moveTo>
                    <a:lnTo>
                      <a:pt x="265" y="517"/>
                    </a:lnTo>
                    <a:lnTo>
                      <a:pt x="263" y="517"/>
                    </a:lnTo>
                    <a:close/>
                    <a:moveTo>
                      <a:pt x="1180" y="1158"/>
                    </a:moveTo>
                    <a:lnTo>
                      <a:pt x="1182" y="1158"/>
                    </a:lnTo>
                    <a:lnTo>
                      <a:pt x="1182" y="1160"/>
                    </a:lnTo>
                    <a:lnTo>
                      <a:pt x="1180" y="1160"/>
                    </a:lnTo>
                    <a:lnTo>
                      <a:pt x="1180" y="1158"/>
                    </a:lnTo>
                    <a:close/>
                    <a:moveTo>
                      <a:pt x="42" y="280"/>
                    </a:moveTo>
                    <a:lnTo>
                      <a:pt x="42" y="282"/>
                    </a:lnTo>
                    <a:lnTo>
                      <a:pt x="42" y="280"/>
                    </a:lnTo>
                    <a:close/>
                    <a:moveTo>
                      <a:pt x="70" y="419"/>
                    </a:moveTo>
                    <a:lnTo>
                      <a:pt x="70" y="421"/>
                    </a:lnTo>
                    <a:lnTo>
                      <a:pt x="70" y="419"/>
                    </a:lnTo>
                    <a:close/>
                    <a:moveTo>
                      <a:pt x="1359" y="872"/>
                    </a:moveTo>
                    <a:lnTo>
                      <a:pt x="1361" y="872"/>
                    </a:lnTo>
                    <a:lnTo>
                      <a:pt x="1359" y="872"/>
                    </a:lnTo>
                    <a:close/>
                    <a:moveTo>
                      <a:pt x="358" y="55"/>
                    </a:moveTo>
                    <a:lnTo>
                      <a:pt x="360" y="55"/>
                    </a:lnTo>
                    <a:lnTo>
                      <a:pt x="360" y="57"/>
                    </a:lnTo>
                    <a:lnTo>
                      <a:pt x="358" y="57"/>
                    </a:lnTo>
                    <a:lnTo>
                      <a:pt x="358" y="55"/>
                    </a:lnTo>
                    <a:close/>
                    <a:moveTo>
                      <a:pt x="1388" y="1219"/>
                    </a:moveTo>
                    <a:lnTo>
                      <a:pt x="1388" y="1221"/>
                    </a:lnTo>
                    <a:lnTo>
                      <a:pt x="1388" y="1219"/>
                    </a:lnTo>
                    <a:close/>
                    <a:moveTo>
                      <a:pt x="5663" y="440"/>
                    </a:moveTo>
                    <a:lnTo>
                      <a:pt x="5663" y="442"/>
                    </a:lnTo>
                    <a:lnTo>
                      <a:pt x="5663" y="440"/>
                    </a:lnTo>
                    <a:close/>
                    <a:moveTo>
                      <a:pt x="1266" y="1150"/>
                    </a:moveTo>
                    <a:lnTo>
                      <a:pt x="1268" y="1150"/>
                    </a:lnTo>
                    <a:lnTo>
                      <a:pt x="1266" y="1150"/>
                    </a:lnTo>
                    <a:close/>
                    <a:moveTo>
                      <a:pt x="1390" y="1223"/>
                    </a:moveTo>
                    <a:lnTo>
                      <a:pt x="1392" y="1223"/>
                    </a:lnTo>
                    <a:lnTo>
                      <a:pt x="1390" y="1223"/>
                    </a:lnTo>
                    <a:close/>
                    <a:moveTo>
                      <a:pt x="1537" y="925"/>
                    </a:moveTo>
                    <a:lnTo>
                      <a:pt x="1537" y="927"/>
                    </a:lnTo>
                    <a:lnTo>
                      <a:pt x="1537" y="925"/>
                    </a:lnTo>
                    <a:close/>
                    <a:moveTo>
                      <a:pt x="1478" y="994"/>
                    </a:moveTo>
                    <a:lnTo>
                      <a:pt x="1478" y="996"/>
                    </a:lnTo>
                    <a:lnTo>
                      <a:pt x="1478" y="994"/>
                    </a:lnTo>
                    <a:close/>
                    <a:moveTo>
                      <a:pt x="1388" y="1244"/>
                    </a:moveTo>
                    <a:lnTo>
                      <a:pt x="1390" y="1244"/>
                    </a:lnTo>
                    <a:lnTo>
                      <a:pt x="1388" y="1244"/>
                    </a:lnTo>
                    <a:close/>
                    <a:moveTo>
                      <a:pt x="412" y="61"/>
                    </a:moveTo>
                    <a:lnTo>
                      <a:pt x="414" y="61"/>
                    </a:lnTo>
                    <a:lnTo>
                      <a:pt x="414" y="62"/>
                    </a:lnTo>
                    <a:lnTo>
                      <a:pt x="412" y="62"/>
                    </a:lnTo>
                    <a:lnTo>
                      <a:pt x="412" y="61"/>
                    </a:lnTo>
                    <a:close/>
                    <a:moveTo>
                      <a:pt x="1449" y="1068"/>
                    </a:moveTo>
                    <a:lnTo>
                      <a:pt x="1449" y="1070"/>
                    </a:lnTo>
                    <a:lnTo>
                      <a:pt x="1449" y="1068"/>
                    </a:lnTo>
                    <a:close/>
                    <a:moveTo>
                      <a:pt x="1609" y="854"/>
                    </a:moveTo>
                    <a:lnTo>
                      <a:pt x="1609" y="856"/>
                    </a:lnTo>
                    <a:lnTo>
                      <a:pt x="1609" y="854"/>
                    </a:lnTo>
                    <a:close/>
                    <a:moveTo>
                      <a:pt x="148" y="568"/>
                    </a:moveTo>
                    <a:lnTo>
                      <a:pt x="148" y="570"/>
                    </a:lnTo>
                    <a:lnTo>
                      <a:pt x="148" y="568"/>
                    </a:lnTo>
                    <a:close/>
                    <a:moveTo>
                      <a:pt x="213" y="7"/>
                    </a:moveTo>
                    <a:lnTo>
                      <a:pt x="215" y="7"/>
                    </a:lnTo>
                    <a:lnTo>
                      <a:pt x="215" y="9"/>
                    </a:lnTo>
                    <a:lnTo>
                      <a:pt x="213" y="9"/>
                    </a:lnTo>
                    <a:lnTo>
                      <a:pt x="213" y="7"/>
                    </a:lnTo>
                    <a:close/>
                    <a:moveTo>
                      <a:pt x="1481" y="1007"/>
                    </a:moveTo>
                    <a:lnTo>
                      <a:pt x="1481" y="1009"/>
                    </a:lnTo>
                    <a:lnTo>
                      <a:pt x="1481" y="1007"/>
                    </a:lnTo>
                    <a:close/>
                    <a:moveTo>
                      <a:pt x="385" y="433"/>
                    </a:moveTo>
                    <a:lnTo>
                      <a:pt x="387" y="433"/>
                    </a:lnTo>
                    <a:lnTo>
                      <a:pt x="385" y="433"/>
                    </a:lnTo>
                    <a:close/>
                    <a:moveTo>
                      <a:pt x="1584" y="868"/>
                    </a:moveTo>
                    <a:lnTo>
                      <a:pt x="1586" y="868"/>
                    </a:lnTo>
                    <a:lnTo>
                      <a:pt x="1584" y="868"/>
                    </a:lnTo>
                    <a:close/>
                    <a:moveTo>
                      <a:pt x="1481" y="1009"/>
                    </a:moveTo>
                    <a:lnTo>
                      <a:pt x="1481" y="1011"/>
                    </a:lnTo>
                    <a:lnTo>
                      <a:pt x="1481" y="1009"/>
                    </a:lnTo>
                    <a:close/>
                    <a:moveTo>
                      <a:pt x="333" y="43"/>
                    </a:moveTo>
                    <a:lnTo>
                      <a:pt x="335" y="43"/>
                    </a:lnTo>
                    <a:lnTo>
                      <a:pt x="333" y="43"/>
                    </a:lnTo>
                    <a:close/>
                    <a:moveTo>
                      <a:pt x="295" y="45"/>
                    </a:moveTo>
                    <a:lnTo>
                      <a:pt x="297" y="45"/>
                    </a:lnTo>
                    <a:lnTo>
                      <a:pt x="297" y="47"/>
                    </a:lnTo>
                    <a:lnTo>
                      <a:pt x="295" y="47"/>
                    </a:lnTo>
                    <a:lnTo>
                      <a:pt x="295" y="45"/>
                    </a:lnTo>
                    <a:close/>
                    <a:moveTo>
                      <a:pt x="1151" y="1177"/>
                    </a:moveTo>
                    <a:lnTo>
                      <a:pt x="1153" y="1177"/>
                    </a:lnTo>
                    <a:lnTo>
                      <a:pt x="1151" y="1177"/>
                    </a:lnTo>
                    <a:close/>
                    <a:moveTo>
                      <a:pt x="76" y="452"/>
                    </a:moveTo>
                    <a:lnTo>
                      <a:pt x="76" y="454"/>
                    </a:lnTo>
                    <a:lnTo>
                      <a:pt x="76" y="452"/>
                    </a:lnTo>
                    <a:close/>
                    <a:moveTo>
                      <a:pt x="1582" y="868"/>
                    </a:moveTo>
                    <a:lnTo>
                      <a:pt x="1584" y="868"/>
                    </a:lnTo>
                    <a:lnTo>
                      <a:pt x="1582" y="868"/>
                    </a:lnTo>
                    <a:close/>
                    <a:moveTo>
                      <a:pt x="379" y="436"/>
                    </a:moveTo>
                    <a:lnTo>
                      <a:pt x="379" y="438"/>
                    </a:lnTo>
                    <a:lnTo>
                      <a:pt x="379" y="436"/>
                    </a:lnTo>
                    <a:close/>
                    <a:moveTo>
                      <a:pt x="206" y="1"/>
                    </a:moveTo>
                    <a:lnTo>
                      <a:pt x="208" y="1"/>
                    </a:lnTo>
                    <a:lnTo>
                      <a:pt x="208" y="3"/>
                    </a:lnTo>
                    <a:lnTo>
                      <a:pt x="206" y="3"/>
                    </a:lnTo>
                    <a:lnTo>
                      <a:pt x="206" y="1"/>
                    </a:lnTo>
                    <a:close/>
                    <a:moveTo>
                      <a:pt x="1274" y="1142"/>
                    </a:moveTo>
                    <a:lnTo>
                      <a:pt x="1274" y="1144"/>
                    </a:lnTo>
                    <a:lnTo>
                      <a:pt x="1274" y="1142"/>
                    </a:lnTo>
                    <a:close/>
                    <a:moveTo>
                      <a:pt x="1260" y="1160"/>
                    </a:moveTo>
                    <a:lnTo>
                      <a:pt x="1262" y="1160"/>
                    </a:lnTo>
                    <a:lnTo>
                      <a:pt x="1260" y="1160"/>
                    </a:lnTo>
                    <a:close/>
                    <a:moveTo>
                      <a:pt x="303" y="40"/>
                    </a:moveTo>
                    <a:lnTo>
                      <a:pt x="305" y="40"/>
                    </a:lnTo>
                    <a:lnTo>
                      <a:pt x="303" y="40"/>
                    </a:lnTo>
                    <a:close/>
                    <a:moveTo>
                      <a:pt x="1565" y="919"/>
                    </a:moveTo>
                    <a:lnTo>
                      <a:pt x="1565" y="921"/>
                    </a:lnTo>
                    <a:lnTo>
                      <a:pt x="1565" y="919"/>
                    </a:lnTo>
                    <a:close/>
                    <a:moveTo>
                      <a:pt x="1245" y="1162"/>
                    </a:moveTo>
                    <a:lnTo>
                      <a:pt x="1245" y="1163"/>
                    </a:lnTo>
                    <a:lnTo>
                      <a:pt x="1245" y="1162"/>
                    </a:lnTo>
                    <a:close/>
                    <a:moveTo>
                      <a:pt x="1138" y="1200"/>
                    </a:moveTo>
                    <a:lnTo>
                      <a:pt x="1138" y="1202"/>
                    </a:lnTo>
                    <a:lnTo>
                      <a:pt x="1138" y="1200"/>
                    </a:lnTo>
                    <a:close/>
                    <a:moveTo>
                      <a:pt x="1464" y="988"/>
                    </a:moveTo>
                    <a:lnTo>
                      <a:pt x="1466" y="988"/>
                    </a:lnTo>
                    <a:lnTo>
                      <a:pt x="1464" y="988"/>
                    </a:lnTo>
                    <a:close/>
                    <a:moveTo>
                      <a:pt x="1138" y="1209"/>
                    </a:moveTo>
                    <a:lnTo>
                      <a:pt x="1138" y="1211"/>
                    </a:lnTo>
                    <a:lnTo>
                      <a:pt x="1138" y="1209"/>
                    </a:lnTo>
                    <a:close/>
                    <a:moveTo>
                      <a:pt x="536" y="477"/>
                    </a:moveTo>
                    <a:lnTo>
                      <a:pt x="536" y="478"/>
                    </a:lnTo>
                    <a:lnTo>
                      <a:pt x="536" y="477"/>
                    </a:lnTo>
                    <a:close/>
                    <a:moveTo>
                      <a:pt x="1264" y="1150"/>
                    </a:moveTo>
                    <a:lnTo>
                      <a:pt x="1264" y="1152"/>
                    </a:lnTo>
                    <a:lnTo>
                      <a:pt x="1264" y="1150"/>
                    </a:lnTo>
                    <a:close/>
                    <a:moveTo>
                      <a:pt x="370" y="59"/>
                    </a:moveTo>
                    <a:lnTo>
                      <a:pt x="372" y="59"/>
                    </a:lnTo>
                    <a:lnTo>
                      <a:pt x="372" y="62"/>
                    </a:lnTo>
                    <a:lnTo>
                      <a:pt x="370" y="62"/>
                    </a:lnTo>
                    <a:lnTo>
                      <a:pt x="370" y="59"/>
                    </a:lnTo>
                    <a:close/>
                    <a:moveTo>
                      <a:pt x="728" y="759"/>
                    </a:moveTo>
                    <a:lnTo>
                      <a:pt x="730" y="759"/>
                    </a:lnTo>
                    <a:lnTo>
                      <a:pt x="728" y="759"/>
                    </a:lnTo>
                    <a:close/>
                    <a:moveTo>
                      <a:pt x="370" y="435"/>
                    </a:moveTo>
                    <a:lnTo>
                      <a:pt x="372" y="435"/>
                    </a:lnTo>
                    <a:lnTo>
                      <a:pt x="370" y="435"/>
                    </a:lnTo>
                    <a:close/>
                    <a:moveTo>
                      <a:pt x="324" y="45"/>
                    </a:moveTo>
                    <a:lnTo>
                      <a:pt x="326" y="45"/>
                    </a:lnTo>
                    <a:lnTo>
                      <a:pt x="326" y="47"/>
                    </a:lnTo>
                    <a:lnTo>
                      <a:pt x="324" y="47"/>
                    </a:lnTo>
                    <a:lnTo>
                      <a:pt x="324" y="45"/>
                    </a:lnTo>
                    <a:close/>
                    <a:moveTo>
                      <a:pt x="461" y="454"/>
                    </a:moveTo>
                    <a:lnTo>
                      <a:pt x="463" y="454"/>
                    </a:lnTo>
                    <a:lnTo>
                      <a:pt x="461" y="454"/>
                    </a:lnTo>
                    <a:close/>
                    <a:moveTo>
                      <a:pt x="1243" y="805"/>
                    </a:moveTo>
                    <a:lnTo>
                      <a:pt x="1245" y="805"/>
                    </a:lnTo>
                    <a:lnTo>
                      <a:pt x="1245" y="807"/>
                    </a:lnTo>
                    <a:lnTo>
                      <a:pt x="1243" y="807"/>
                    </a:lnTo>
                    <a:lnTo>
                      <a:pt x="1243" y="805"/>
                    </a:lnTo>
                    <a:close/>
                    <a:moveTo>
                      <a:pt x="410" y="59"/>
                    </a:moveTo>
                    <a:lnTo>
                      <a:pt x="412" y="59"/>
                    </a:lnTo>
                    <a:lnTo>
                      <a:pt x="412" y="61"/>
                    </a:lnTo>
                    <a:lnTo>
                      <a:pt x="410" y="61"/>
                    </a:lnTo>
                    <a:lnTo>
                      <a:pt x="410" y="59"/>
                    </a:lnTo>
                    <a:close/>
                    <a:moveTo>
                      <a:pt x="1138" y="1204"/>
                    </a:moveTo>
                    <a:lnTo>
                      <a:pt x="1138" y="1205"/>
                    </a:lnTo>
                    <a:lnTo>
                      <a:pt x="1138" y="1204"/>
                    </a:lnTo>
                    <a:close/>
                    <a:moveTo>
                      <a:pt x="1394" y="1223"/>
                    </a:moveTo>
                    <a:lnTo>
                      <a:pt x="1394" y="1225"/>
                    </a:lnTo>
                    <a:lnTo>
                      <a:pt x="1394" y="1223"/>
                    </a:lnTo>
                    <a:close/>
                    <a:moveTo>
                      <a:pt x="1581" y="872"/>
                    </a:moveTo>
                    <a:lnTo>
                      <a:pt x="1581" y="873"/>
                    </a:lnTo>
                    <a:lnTo>
                      <a:pt x="1581" y="872"/>
                    </a:lnTo>
                    <a:close/>
                    <a:moveTo>
                      <a:pt x="221" y="11"/>
                    </a:moveTo>
                    <a:lnTo>
                      <a:pt x="223" y="11"/>
                    </a:lnTo>
                    <a:lnTo>
                      <a:pt x="223" y="13"/>
                    </a:lnTo>
                    <a:lnTo>
                      <a:pt x="221" y="13"/>
                    </a:lnTo>
                    <a:lnTo>
                      <a:pt x="221" y="11"/>
                    </a:lnTo>
                    <a:close/>
                    <a:moveTo>
                      <a:pt x="1266" y="1146"/>
                    </a:moveTo>
                    <a:lnTo>
                      <a:pt x="1266" y="1148"/>
                    </a:lnTo>
                    <a:lnTo>
                      <a:pt x="1266" y="1146"/>
                    </a:lnTo>
                    <a:close/>
                    <a:moveTo>
                      <a:pt x="1184" y="1156"/>
                    </a:moveTo>
                    <a:lnTo>
                      <a:pt x="1186" y="1156"/>
                    </a:lnTo>
                    <a:lnTo>
                      <a:pt x="1184" y="1156"/>
                    </a:lnTo>
                    <a:close/>
                    <a:moveTo>
                      <a:pt x="1346" y="822"/>
                    </a:moveTo>
                    <a:lnTo>
                      <a:pt x="1346" y="824"/>
                    </a:lnTo>
                    <a:lnTo>
                      <a:pt x="1346" y="822"/>
                    </a:lnTo>
                    <a:close/>
                    <a:moveTo>
                      <a:pt x="1590" y="862"/>
                    </a:moveTo>
                    <a:lnTo>
                      <a:pt x="1592" y="862"/>
                    </a:lnTo>
                    <a:lnTo>
                      <a:pt x="1590" y="862"/>
                    </a:lnTo>
                    <a:close/>
                    <a:moveTo>
                      <a:pt x="47" y="385"/>
                    </a:moveTo>
                    <a:lnTo>
                      <a:pt x="47" y="387"/>
                    </a:lnTo>
                    <a:lnTo>
                      <a:pt x="47" y="385"/>
                    </a:lnTo>
                    <a:close/>
                    <a:moveTo>
                      <a:pt x="219" y="9"/>
                    </a:moveTo>
                    <a:lnTo>
                      <a:pt x="221" y="9"/>
                    </a:lnTo>
                    <a:lnTo>
                      <a:pt x="221" y="11"/>
                    </a:lnTo>
                    <a:lnTo>
                      <a:pt x="219" y="11"/>
                    </a:lnTo>
                    <a:lnTo>
                      <a:pt x="219" y="9"/>
                    </a:lnTo>
                    <a:close/>
                    <a:moveTo>
                      <a:pt x="76" y="454"/>
                    </a:moveTo>
                    <a:lnTo>
                      <a:pt x="78" y="454"/>
                    </a:lnTo>
                    <a:lnTo>
                      <a:pt x="78" y="456"/>
                    </a:lnTo>
                    <a:lnTo>
                      <a:pt x="76" y="456"/>
                    </a:lnTo>
                    <a:lnTo>
                      <a:pt x="76" y="454"/>
                    </a:lnTo>
                    <a:close/>
                    <a:moveTo>
                      <a:pt x="1573" y="872"/>
                    </a:moveTo>
                    <a:lnTo>
                      <a:pt x="1573" y="873"/>
                    </a:lnTo>
                    <a:lnTo>
                      <a:pt x="1573" y="872"/>
                    </a:lnTo>
                    <a:close/>
                    <a:moveTo>
                      <a:pt x="1365" y="843"/>
                    </a:moveTo>
                    <a:lnTo>
                      <a:pt x="1365" y="845"/>
                    </a:lnTo>
                    <a:lnTo>
                      <a:pt x="1365" y="843"/>
                    </a:lnTo>
                    <a:close/>
                    <a:moveTo>
                      <a:pt x="114" y="465"/>
                    </a:moveTo>
                    <a:lnTo>
                      <a:pt x="114" y="467"/>
                    </a:lnTo>
                    <a:lnTo>
                      <a:pt x="114" y="465"/>
                    </a:lnTo>
                    <a:close/>
                    <a:moveTo>
                      <a:pt x="362" y="57"/>
                    </a:moveTo>
                    <a:lnTo>
                      <a:pt x="364" y="57"/>
                    </a:lnTo>
                    <a:lnTo>
                      <a:pt x="362" y="57"/>
                    </a:lnTo>
                    <a:close/>
                    <a:moveTo>
                      <a:pt x="152" y="547"/>
                    </a:moveTo>
                    <a:lnTo>
                      <a:pt x="154" y="547"/>
                    </a:lnTo>
                    <a:lnTo>
                      <a:pt x="154" y="549"/>
                    </a:lnTo>
                    <a:lnTo>
                      <a:pt x="152" y="549"/>
                    </a:lnTo>
                    <a:lnTo>
                      <a:pt x="152" y="547"/>
                    </a:lnTo>
                    <a:close/>
                    <a:moveTo>
                      <a:pt x="1481" y="1022"/>
                    </a:moveTo>
                    <a:lnTo>
                      <a:pt x="1481" y="1024"/>
                    </a:lnTo>
                    <a:lnTo>
                      <a:pt x="1481" y="1022"/>
                    </a:lnTo>
                    <a:close/>
                    <a:moveTo>
                      <a:pt x="1150" y="1179"/>
                    </a:moveTo>
                    <a:lnTo>
                      <a:pt x="1151" y="1179"/>
                    </a:lnTo>
                    <a:lnTo>
                      <a:pt x="1150" y="1179"/>
                    </a:lnTo>
                    <a:close/>
                    <a:moveTo>
                      <a:pt x="194" y="540"/>
                    </a:moveTo>
                    <a:lnTo>
                      <a:pt x="196" y="540"/>
                    </a:lnTo>
                    <a:lnTo>
                      <a:pt x="194" y="540"/>
                    </a:lnTo>
                    <a:close/>
                    <a:moveTo>
                      <a:pt x="1386" y="1244"/>
                    </a:moveTo>
                    <a:lnTo>
                      <a:pt x="1386" y="1245"/>
                    </a:lnTo>
                    <a:lnTo>
                      <a:pt x="1386" y="1244"/>
                    </a:lnTo>
                    <a:close/>
                    <a:moveTo>
                      <a:pt x="1260" y="1160"/>
                    </a:moveTo>
                    <a:lnTo>
                      <a:pt x="1262" y="1160"/>
                    </a:lnTo>
                    <a:lnTo>
                      <a:pt x="1260" y="1160"/>
                    </a:lnTo>
                    <a:close/>
                    <a:moveTo>
                      <a:pt x="429" y="74"/>
                    </a:moveTo>
                    <a:lnTo>
                      <a:pt x="431" y="74"/>
                    </a:lnTo>
                    <a:lnTo>
                      <a:pt x="429" y="74"/>
                    </a:lnTo>
                    <a:close/>
                    <a:moveTo>
                      <a:pt x="749" y="994"/>
                    </a:moveTo>
                    <a:lnTo>
                      <a:pt x="751" y="994"/>
                    </a:lnTo>
                    <a:lnTo>
                      <a:pt x="749" y="994"/>
                    </a:lnTo>
                    <a:close/>
                    <a:moveTo>
                      <a:pt x="1262" y="1154"/>
                    </a:moveTo>
                    <a:lnTo>
                      <a:pt x="1262" y="1156"/>
                    </a:lnTo>
                    <a:lnTo>
                      <a:pt x="1262" y="1154"/>
                    </a:lnTo>
                    <a:close/>
                    <a:moveTo>
                      <a:pt x="1260" y="1160"/>
                    </a:moveTo>
                    <a:lnTo>
                      <a:pt x="1262" y="1160"/>
                    </a:lnTo>
                    <a:lnTo>
                      <a:pt x="1260" y="1160"/>
                    </a:lnTo>
                    <a:close/>
                    <a:moveTo>
                      <a:pt x="164" y="545"/>
                    </a:moveTo>
                    <a:lnTo>
                      <a:pt x="166" y="545"/>
                    </a:lnTo>
                    <a:lnTo>
                      <a:pt x="164" y="545"/>
                    </a:lnTo>
                    <a:close/>
                    <a:moveTo>
                      <a:pt x="1277" y="1141"/>
                    </a:moveTo>
                    <a:lnTo>
                      <a:pt x="1279" y="1141"/>
                    </a:lnTo>
                    <a:lnTo>
                      <a:pt x="1277" y="1141"/>
                    </a:lnTo>
                    <a:close/>
                    <a:moveTo>
                      <a:pt x="1138" y="1202"/>
                    </a:moveTo>
                    <a:lnTo>
                      <a:pt x="1138" y="1204"/>
                    </a:lnTo>
                    <a:lnTo>
                      <a:pt x="1138" y="1202"/>
                    </a:lnTo>
                    <a:close/>
                    <a:moveTo>
                      <a:pt x="1258" y="1160"/>
                    </a:moveTo>
                    <a:lnTo>
                      <a:pt x="1260" y="1160"/>
                    </a:lnTo>
                    <a:lnTo>
                      <a:pt x="1258" y="1160"/>
                    </a:lnTo>
                    <a:close/>
                    <a:moveTo>
                      <a:pt x="1268" y="1163"/>
                    </a:moveTo>
                    <a:lnTo>
                      <a:pt x="1270" y="1163"/>
                    </a:lnTo>
                    <a:lnTo>
                      <a:pt x="1268" y="1163"/>
                    </a:lnTo>
                    <a:close/>
                    <a:moveTo>
                      <a:pt x="1151" y="1179"/>
                    </a:moveTo>
                    <a:lnTo>
                      <a:pt x="1153" y="1179"/>
                    </a:lnTo>
                    <a:lnTo>
                      <a:pt x="1151" y="1179"/>
                    </a:lnTo>
                    <a:close/>
                    <a:moveTo>
                      <a:pt x="1142" y="1186"/>
                    </a:moveTo>
                    <a:lnTo>
                      <a:pt x="1144" y="1186"/>
                    </a:lnTo>
                    <a:lnTo>
                      <a:pt x="1142" y="1186"/>
                    </a:lnTo>
                    <a:close/>
                    <a:moveTo>
                      <a:pt x="1264" y="1152"/>
                    </a:moveTo>
                    <a:lnTo>
                      <a:pt x="1266" y="1152"/>
                    </a:lnTo>
                    <a:lnTo>
                      <a:pt x="1264" y="1152"/>
                    </a:lnTo>
                    <a:close/>
                    <a:moveTo>
                      <a:pt x="461" y="454"/>
                    </a:moveTo>
                    <a:lnTo>
                      <a:pt x="463" y="454"/>
                    </a:lnTo>
                    <a:lnTo>
                      <a:pt x="461" y="454"/>
                    </a:lnTo>
                    <a:close/>
                    <a:moveTo>
                      <a:pt x="1264" y="1154"/>
                    </a:moveTo>
                    <a:lnTo>
                      <a:pt x="1266" y="1154"/>
                    </a:lnTo>
                    <a:lnTo>
                      <a:pt x="1264" y="1154"/>
                    </a:lnTo>
                    <a:close/>
                    <a:moveTo>
                      <a:pt x="555" y="541"/>
                    </a:moveTo>
                    <a:lnTo>
                      <a:pt x="557" y="541"/>
                    </a:lnTo>
                    <a:lnTo>
                      <a:pt x="555" y="541"/>
                    </a:lnTo>
                    <a:close/>
                    <a:moveTo>
                      <a:pt x="1426" y="1087"/>
                    </a:moveTo>
                    <a:lnTo>
                      <a:pt x="1428" y="1087"/>
                    </a:lnTo>
                    <a:lnTo>
                      <a:pt x="1426" y="1087"/>
                    </a:lnTo>
                    <a:close/>
                    <a:moveTo>
                      <a:pt x="356" y="55"/>
                    </a:moveTo>
                    <a:lnTo>
                      <a:pt x="358" y="55"/>
                    </a:lnTo>
                    <a:lnTo>
                      <a:pt x="356" y="55"/>
                    </a:lnTo>
                    <a:close/>
                    <a:moveTo>
                      <a:pt x="1277" y="772"/>
                    </a:moveTo>
                    <a:lnTo>
                      <a:pt x="1279" y="772"/>
                    </a:lnTo>
                    <a:lnTo>
                      <a:pt x="1277" y="772"/>
                    </a:lnTo>
                    <a:close/>
                    <a:moveTo>
                      <a:pt x="208" y="3"/>
                    </a:moveTo>
                    <a:lnTo>
                      <a:pt x="208" y="5"/>
                    </a:lnTo>
                    <a:lnTo>
                      <a:pt x="208" y="3"/>
                    </a:lnTo>
                    <a:close/>
                    <a:moveTo>
                      <a:pt x="1474" y="986"/>
                    </a:moveTo>
                    <a:lnTo>
                      <a:pt x="1476" y="986"/>
                    </a:lnTo>
                    <a:lnTo>
                      <a:pt x="1476" y="988"/>
                    </a:lnTo>
                    <a:lnTo>
                      <a:pt x="1474" y="988"/>
                    </a:lnTo>
                    <a:lnTo>
                      <a:pt x="1474" y="986"/>
                    </a:lnTo>
                    <a:close/>
                    <a:moveTo>
                      <a:pt x="53" y="229"/>
                    </a:moveTo>
                    <a:lnTo>
                      <a:pt x="53" y="230"/>
                    </a:lnTo>
                    <a:lnTo>
                      <a:pt x="53" y="229"/>
                    </a:lnTo>
                    <a:close/>
                    <a:moveTo>
                      <a:pt x="320" y="43"/>
                    </a:moveTo>
                    <a:lnTo>
                      <a:pt x="322" y="43"/>
                    </a:lnTo>
                    <a:lnTo>
                      <a:pt x="322" y="45"/>
                    </a:lnTo>
                    <a:lnTo>
                      <a:pt x="320" y="45"/>
                    </a:lnTo>
                    <a:lnTo>
                      <a:pt x="320" y="43"/>
                    </a:lnTo>
                    <a:close/>
                    <a:moveTo>
                      <a:pt x="1409" y="1232"/>
                    </a:moveTo>
                    <a:lnTo>
                      <a:pt x="1409" y="1234"/>
                    </a:lnTo>
                    <a:lnTo>
                      <a:pt x="1409" y="1232"/>
                    </a:lnTo>
                    <a:close/>
                    <a:moveTo>
                      <a:pt x="743" y="774"/>
                    </a:moveTo>
                    <a:lnTo>
                      <a:pt x="743" y="776"/>
                    </a:lnTo>
                    <a:lnTo>
                      <a:pt x="743" y="774"/>
                    </a:lnTo>
                    <a:close/>
                    <a:moveTo>
                      <a:pt x="1413" y="1223"/>
                    </a:moveTo>
                    <a:lnTo>
                      <a:pt x="1413" y="1225"/>
                    </a:lnTo>
                    <a:lnTo>
                      <a:pt x="1413" y="1223"/>
                    </a:lnTo>
                    <a:close/>
                    <a:moveTo>
                      <a:pt x="354" y="419"/>
                    </a:moveTo>
                    <a:lnTo>
                      <a:pt x="354" y="421"/>
                    </a:lnTo>
                    <a:lnTo>
                      <a:pt x="354" y="419"/>
                    </a:lnTo>
                    <a:close/>
                    <a:moveTo>
                      <a:pt x="1388" y="1219"/>
                    </a:moveTo>
                    <a:lnTo>
                      <a:pt x="1388" y="1221"/>
                    </a:lnTo>
                    <a:lnTo>
                      <a:pt x="1388" y="1219"/>
                    </a:lnTo>
                    <a:close/>
                    <a:moveTo>
                      <a:pt x="1573" y="872"/>
                    </a:moveTo>
                    <a:lnTo>
                      <a:pt x="1573" y="873"/>
                    </a:lnTo>
                    <a:lnTo>
                      <a:pt x="1573" y="872"/>
                    </a:lnTo>
                    <a:close/>
                    <a:moveTo>
                      <a:pt x="1346" y="822"/>
                    </a:moveTo>
                    <a:lnTo>
                      <a:pt x="1348" y="822"/>
                    </a:lnTo>
                    <a:lnTo>
                      <a:pt x="1348" y="824"/>
                    </a:lnTo>
                    <a:lnTo>
                      <a:pt x="1346" y="824"/>
                    </a:lnTo>
                    <a:lnTo>
                      <a:pt x="1346" y="822"/>
                    </a:lnTo>
                    <a:close/>
                    <a:moveTo>
                      <a:pt x="1138" y="1198"/>
                    </a:moveTo>
                    <a:lnTo>
                      <a:pt x="1138" y="1200"/>
                    </a:lnTo>
                    <a:lnTo>
                      <a:pt x="1138" y="1198"/>
                    </a:lnTo>
                    <a:close/>
                    <a:moveTo>
                      <a:pt x="244" y="478"/>
                    </a:moveTo>
                    <a:lnTo>
                      <a:pt x="246" y="478"/>
                    </a:lnTo>
                    <a:lnTo>
                      <a:pt x="244" y="478"/>
                    </a:lnTo>
                    <a:close/>
                    <a:moveTo>
                      <a:pt x="1392" y="1242"/>
                    </a:moveTo>
                    <a:lnTo>
                      <a:pt x="1392" y="1244"/>
                    </a:lnTo>
                    <a:lnTo>
                      <a:pt x="1392" y="1242"/>
                    </a:lnTo>
                    <a:close/>
                    <a:moveTo>
                      <a:pt x="1262" y="1162"/>
                    </a:moveTo>
                    <a:lnTo>
                      <a:pt x="1264" y="1162"/>
                    </a:lnTo>
                    <a:lnTo>
                      <a:pt x="1262" y="1162"/>
                    </a:lnTo>
                    <a:close/>
                    <a:moveTo>
                      <a:pt x="1254" y="1162"/>
                    </a:moveTo>
                    <a:lnTo>
                      <a:pt x="1256" y="1162"/>
                    </a:lnTo>
                    <a:lnTo>
                      <a:pt x="1256" y="1163"/>
                    </a:lnTo>
                    <a:lnTo>
                      <a:pt x="1254" y="1163"/>
                    </a:lnTo>
                    <a:lnTo>
                      <a:pt x="1254" y="1162"/>
                    </a:lnTo>
                    <a:close/>
                    <a:moveTo>
                      <a:pt x="1489" y="955"/>
                    </a:moveTo>
                    <a:lnTo>
                      <a:pt x="1491" y="955"/>
                    </a:lnTo>
                    <a:lnTo>
                      <a:pt x="1489" y="955"/>
                    </a:lnTo>
                    <a:close/>
                    <a:moveTo>
                      <a:pt x="715" y="816"/>
                    </a:moveTo>
                    <a:lnTo>
                      <a:pt x="717" y="816"/>
                    </a:lnTo>
                    <a:lnTo>
                      <a:pt x="715" y="816"/>
                    </a:lnTo>
                    <a:close/>
                    <a:moveTo>
                      <a:pt x="1268" y="1163"/>
                    </a:moveTo>
                    <a:lnTo>
                      <a:pt x="1270" y="1163"/>
                    </a:lnTo>
                    <a:lnTo>
                      <a:pt x="1268" y="1163"/>
                    </a:lnTo>
                    <a:close/>
                    <a:moveTo>
                      <a:pt x="1136" y="1204"/>
                    </a:moveTo>
                    <a:lnTo>
                      <a:pt x="1138" y="1204"/>
                    </a:lnTo>
                    <a:lnTo>
                      <a:pt x="1136" y="1204"/>
                    </a:lnTo>
                    <a:close/>
                    <a:moveTo>
                      <a:pt x="383" y="433"/>
                    </a:moveTo>
                    <a:lnTo>
                      <a:pt x="383" y="435"/>
                    </a:lnTo>
                    <a:lnTo>
                      <a:pt x="383" y="433"/>
                    </a:lnTo>
                    <a:close/>
                    <a:moveTo>
                      <a:pt x="1266" y="1165"/>
                    </a:moveTo>
                    <a:lnTo>
                      <a:pt x="1266" y="1167"/>
                    </a:lnTo>
                    <a:lnTo>
                      <a:pt x="1266" y="1165"/>
                    </a:lnTo>
                    <a:close/>
                    <a:moveTo>
                      <a:pt x="139" y="583"/>
                    </a:moveTo>
                    <a:lnTo>
                      <a:pt x="141" y="583"/>
                    </a:lnTo>
                    <a:lnTo>
                      <a:pt x="139" y="583"/>
                    </a:lnTo>
                    <a:close/>
                    <a:moveTo>
                      <a:pt x="1140" y="1190"/>
                    </a:moveTo>
                    <a:lnTo>
                      <a:pt x="1142" y="1190"/>
                    </a:lnTo>
                    <a:lnTo>
                      <a:pt x="1140" y="1190"/>
                    </a:lnTo>
                    <a:close/>
                    <a:moveTo>
                      <a:pt x="1275" y="776"/>
                    </a:moveTo>
                    <a:lnTo>
                      <a:pt x="1275" y="778"/>
                    </a:lnTo>
                    <a:lnTo>
                      <a:pt x="1275" y="77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7" name="Freeform 36">
                <a:extLst>
                  <a:ext uri="{FF2B5EF4-FFF2-40B4-BE49-F238E27FC236}">
                    <a16:creationId xmlns:a16="http://schemas.microsoft.com/office/drawing/2014/main" id="{734CCC24-F471-9296-BC30-7C74F8BDB77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679544" y="-3256250"/>
                <a:ext cx="6302" cy="15786"/>
              </a:xfrm>
              <a:custGeom>
                <a:avLst/>
                <a:gdLst>
                  <a:gd name="T0" fmla="*/ 2 w 4"/>
                  <a:gd name="T1" fmla="*/ 4 h 10"/>
                  <a:gd name="T2" fmla="*/ 0 w 4"/>
                  <a:gd name="T3" fmla="*/ 4 h 10"/>
                  <a:gd name="T4" fmla="*/ 0 w 4"/>
                  <a:gd name="T5" fmla="*/ 0 h 10"/>
                  <a:gd name="T6" fmla="*/ 2 w 4"/>
                  <a:gd name="T7" fmla="*/ 0 h 10"/>
                  <a:gd name="T8" fmla="*/ 0 w 4"/>
                  <a:gd name="T9" fmla="*/ 2 h 10"/>
                  <a:gd name="T10" fmla="*/ 2 w 4"/>
                  <a:gd name="T11" fmla="*/ 2 h 10"/>
                  <a:gd name="T12" fmla="*/ 2 w 4"/>
                  <a:gd name="T13" fmla="*/ 4 h 10"/>
                  <a:gd name="T14" fmla="*/ 0 w 4"/>
                  <a:gd name="T15" fmla="*/ 4 h 10"/>
                  <a:gd name="T16" fmla="*/ 2 w 4"/>
                  <a:gd name="T17" fmla="*/ 4 h 10"/>
                  <a:gd name="T18" fmla="*/ 2 w 4"/>
                  <a:gd name="T19" fmla="*/ 6 h 10"/>
                  <a:gd name="T20" fmla="*/ 2 w 4"/>
                  <a:gd name="T21" fmla="*/ 8 h 10"/>
                  <a:gd name="T22" fmla="*/ 2 w 4"/>
                  <a:gd name="T23" fmla="*/ 10 h 10"/>
                  <a:gd name="T24" fmla="*/ 0 w 4"/>
                  <a:gd name="T25" fmla="*/ 8 h 10"/>
                  <a:gd name="T26" fmla="*/ 2 w 4"/>
                  <a:gd name="T27" fmla="*/ 8 h 10"/>
                  <a:gd name="T28" fmla="*/ 2 w 4"/>
                  <a:gd name="T29" fmla="*/ 6 h 10"/>
                  <a:gd name="T30" fmla="*/ 2 w 4"/>
                  <a:gd name="T31" fmla="*/ 4 h 10"/>
                  <a:gd name="T32" fmla="*/ 2 w 4"/>
                  <a:gd name="T33" fmla="*/ 8 h 10"/>
                  <a:gd name="T34" fmla="*/ 4 w 4"/>
                  <a:gd name="T35" fmla="*/ 8 h 10"/>
                  <a:gd name="T36" fmla="*/ 4 w 4"/>
                  <a:gd name="T37" fmla="*/ 10 h 10"/>
                  <a:gd name="T38" fmla="*/ 2 w 4"/>
                  <a:gd name="T39" fmla="*/ 10 h 10"/>
                  <a:gd name="T40" fmla="*/ 2 w 4"/>
                  <a:gd name="T41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10">
                    <a:moveTo>
                      <a:pt x="2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  <a:moveTo>
                      <a:pt x="2" y="8"/>
                    </a:moveTo>
                    <a:lnTo>
                      <a:pt x="4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8" name="Freeform 49">
                <a:extLst>
                  <a:ext uri="{FF2B5EF4-FFF2-40B4-BE49-F238E27FC236}">
                    <a16:creationId xmlns:a16="http://schemas.microsoft.com/office/drawing/2014/main" id="{3165D830-CBF5-840B-93BF-B071C5C03A0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466840" y="-2771638"/>
                <a:ext cx="6302" cy="6313"/>
              </a:xfrm>
              <a:custGeom>
                <a:avLst/>
                <a:gdLst>
                  <a:gd name="T0" fmla="*/ 4 w 4"/>
                  <a:gd name="T1" fmla="*/ 2 h 4"/>
                  <a:gd name="T2" fmla="*/ 2 w 4"/>
                  <a:gd name="T3" fmla="*/ 4 h 4"/>
                  <a:gd name="T4" fmla="*/ 0 w 4"/>
                  <a:gd name="T5" fmla="*/ 4 h 4"/>
                  <a:gd name="T6" fmla="*/ 0 w 4"/>
                  <a:gd name="T7" fmla="*/ 2 h 4"/>
                  <a:gd name="T8" fmla="*/ 2 w 4"/>
                  <a:gd name="T9" fmla="*/ 2 h 4"/>
                  <a:gd name="T10" fmla="*/ 0 w 4"/>
                  <a:gd name="T11" fmla="*/ 4 h 4"/>
                  <a:gd name="T12" fmla="*/ 2 w 4"/>
                  <a:gd name="T13" fmla="*/ 4 h 4"/>
                  <a:gd name="T14" fmla="*/ 2 w 4"/>
                  <a:gd name="T15" fmla="*/ 2 h 4"/>
                  <a:gd name="T16" fmla="*/ 4 w 4"/>
                  <a:gd name="T17" fmla="*/ 2 h 4"/>
                  <a:gd name="T18" fmla="*/ 4 w 4"/>
                  <a:gd name="T19" fmla="*/ 0 h 4"/>
                  <a:gd name="T20" fmla="*/ 4 w 4"/>
                  <a:gd name="T21" fmla="*/ 2 h 4"/>
                  <a:gd name="T22" fmla="*/ 4 w 4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4">
                    <a:moveTo>
                      <a:pt x="4" y="2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  <a:moveTo>
                      <a:pt x="4" y="0"/>
                    </a:move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9" name="Freeform 54">
                <a:extLst>
                  <a:ext uri="{FF2B5EF4-FFF2-40B4-BE49-F238E27FC236}">
                    <a16:creationId xmlns:a16="http://schemas.microsoft.com/office/drawing/2014/main" id="{9E59C809-75FA-101E-4D20-7FDEAEE6394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463691" y="-2380162"/>
                <a:ext cx="12604" cy="18943"/>
              </a:xfrm>
              <a:custGeom>
                <a:avLst/>
                <a:gdLst>
                  <a:gd name="T0" fmla="*/ 4 w 8"/>
                  <a:gd name="T1" fmla="*/ 10 h 12"/>
                  <a:gd name="T2" fmla="*/ 4 w 8"/>
                  <a:gd name="T3" fmla="*/ 12 h 12"/>
                  <a:gd name="T4" fmla="*/ 6 w 8"/>
                  <a:gd name="T5" fmla="*/ 10 h 12"/>
                  <a:gd name="T6" fmla="*/ 6 w 8"/>
                  <a:gd name="T7" fmla="*/ 12 h 12"/>
                  <a:gd name="T8" fmla="*/ 8 w 8"/>
                  <a:gd name="T9" fmla="*/ 12 h 12"/>
                  <a:gd name="T10" fmla="*/ 6 w 8"/>
                  <a:gd name="T11" fmla="*/ 12 h 12"/>
                  <a:gd name="T12" fmla="*/ 4 w 8"/>
                  <a:gd name="T13" fmla="*/ 12 h 12"/>
                  <a:gd name="T14" fmla="*/ 2 w 8"/>
                  <a:gd name="T15" fmla="*/ 12 h 12"/>
                  <a:gd name="T16" fmla="*/ 4 w 8"/>
                  <a:gd name="T17" fmla="*/ 12 h 12"/>
                  <a:gd name="T18" fmla="*/ 4 w 8"/>
                  <a:gd name="T19" fmla="*/ 10 h 12"/>
                  <a:gd name="T20" fmla="*/ 2 w 8"/>
                  <a:gd name="T21" fmla="*/ 0 h 12"/>
                  <a:gd name="T22" fmla="*/ 4 w 8"/>
                  <a:gd name="T23" fmla="*/ 0 h 12"/>
                  <a:gd name="T24" fmla="*/ 4 w 8"/>
                  <a:gd name="T25" fmla="*/ 2 h 12"/>
                  <a:gd name="T26" fmla="*/ 2 w 8"/>
                  <a:gd name="T27" fmla="*/ 2 h 12"/>
                  <a:gd name="T28" fmla="*/ 0 w 8"/>
                  <a:gd name="T29" fmla="*/ 0 h 12"/>
                  <a:gd name="T30" fmla="*/ 0 w 8"/>
                  <a:gd name="T31" fmla="*/ 2 h 12"/>
                  <a:gd name="T32" fmla="*/ 0 w 8"/>
                  <a:gd name="T33" fmla="*/ 0 h 12"/>
                  <a:gd name="T34" fmla="*/ 2 w 8"/>
                  <a:gd name="T35" fmla="*/ 0 h 12"/>
                  <a:gd name="T36" fmla="*/ 4 w 8"/>
                  <a:gd name="T37" fmla="*/ 0 h 12"/>
                  <a:gd name="T38" fmla="*/ 6 w 8"/>
                  <a:gd name="T39" fmla="*/ 0 h 12"/>
                  <a:gd name="T40" fmla="*/ 6 w 8"/>
                  <a:gd name="T41" fmla="*/ 2 h 12"/>
                  <a:gd name="T42" fmla="*/ 4 w 8"/>
                  <a:gd name="T43" fmla="*/ 2 h 12"/>
                  <a:gd name="T44" fmla="*/ 4 w 8"/>
                  <a:gd name="T45" fmla="*/ 0 h 12"/>
                  <a:gd name="T46" fmla="*/ 2 w 8"/>
                  <a:gd name="T47" fmla="*/ 0 h 12"/>
                  <a:gd name="T48" fmla="*/ 4 w 8"/>
                  <a:gd name="T49" fmla="*/ 0 h 12"/>
                  <a:gd name="T50" fmla="*/ 2 w 8"/>
                  <a:gd name="T5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12">
                    <a:moveTo>
                      <a:pt x="4" y="10"/>
                    </a:moveTo>
                    <a:lnTo>
                      <a:pt x="4" y="12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0"/>
                    </a:lnTo>
                    <a:close/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4" y="0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0" name="Freeform 57">
                <a:extLst>
                  <a:ext uri="{FF2B5EF4-FFF2-40B4-BE49-F238E27FC236}">
                    <a16:creationId xmlns:a16="http://schemas.microsoft.com/office/drawing/2014/main" id="{AA441394-5EDE-0740-480F-2AF8A175F9B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91212" y="-2381741"/>
                <a:ext cx="66174" cy="14208"/>
              </a:xfrm>
              <a:custGeom>
                <a:avLst/>
                <a:gdLst>
                  <a:gd name="T0" fmla="*/ 12 w 42"/>
                  <a:gd name="T1" fmla="*/ 9 h 9"/>
                  <a:gd name="T2" fmla="*/ 12 w 42"/>
                  <a:gd name="T3" fmla="*/ 5 h 9"/>
                  <a:gd name="T4" fmla="*/ 10 w 42"/>
                  <a:gd name="T5" fmla="*/ 1 h 9"/>
                  <a:gd name="T6" fmla="*/ 12 w 42"/>
                  <a:gd name="T7" fmla="*/ 0 h 9"/>
                  <a:gd name="T8" fmla="*/ 17 w 42"/>
                  <a:gd name="T9" fmla="*/ 0 h 9"/>
                  <a:gd name="T10" fmla="*/ 21 w 42"/>
                  <a:gd name="T11" fmla="*/ 0 h 9"/>
                  <a:gd name="T12" fmla="*/ 25 w 42"/>
                  <a:gd name="T13" fmla="*/ 0 h 9"/>
                  <a:gd name="T14" fmla="*/ 29 w 42"/>
                  <a:gd name="T15" fmla="*/ 0 h 9"/>
                  <a:gd name="T16" fmla="*/ 29 w 42"/>
                  <a:gd name="T17" fmla="*/ 0 h 9"/>
                  <a:gd name="T18" fmla="*/ 29 w 42"/>
                  <a:gd name="T19" fmla="*/ 0 h 9"/>
                  <a:gd name="T20" fmla="*/ 31 w 42"/>
                  <a:gd name="T21" fmla="*/ 0 h 9"/>
                  <a:gd name="T22" fmla="*/ 35 w 42"/>
                  <a:gd name="T23" fmla="*/ 1 h 9"/>
                  <a:gd name="T24" fmla="*/ 36 w 42"/>
                  <a:gd name="T25" fmla="*/ 3 h 9"/>
                  <a:gd name="T26" fmla="*/ 36 w 42"/>
                  <a:gd name="T27" fmla="*/ 3 h 9"/>
                  <a:gd name="T28" fmla="*/ 35 w 42"/>
                  <a:gd name="T29" fmla="*/ 5 h 9"/>
                  <a:gd name="T30" fmla="*/ 33 w 42"/>
                  <a:gd name="T31" fmla="*/ 7 h 9"/>
                  <a:gd name="T32" fmla="*/ 31 w 42"/>
                  <a:gd name="T33" fmla="*/ 9 h 9"/>
                  <a:gd name="T34" fmla="*/ 27 w 42"/>
                  <a:gd name="T35" fmla="*/ 9 h 9"/>
                  <a:gd name="T36" fmla="*/ 27 w 42"/>
                  <a:gd name="T37" fmla="*/ 9 h 9"/>
                  <a:gd name="T38" fmla="*/ 23 w 42"/>
                  <a:gd name="T39" fmla="*/ 9 h 9"/>
                  <a:gd name="T40" fmla="*/ 19 w 42"/>
                  <a:gd name="T41" fmla="*/ 9 h 9"/>
                  <a:gd name="T42" fmla="*/ 17 w 42"/>
                  <a:gd name="T43" fmla="*/ 9 h 9"/>
                  <a:gd name="T44" fmla="*/ 17 w 42"/>
                  <a:gd name="T45" fmla="*/ 9 h 9"/>
                  <a:gd name="T46" fmla="*/ 14 w 42"/>
                  <a:gd name="T47" fmla="*/ 9 h 9"/>
                  <a:gd name="T48" fmla="*/ 42 w 42"/>
                  <a:gd name="T49" fmla="*/ 5 h 9"/>
                  <a:gd name="T50" fmla="*/ 42 w 42"/>
                  <a:gd name="T51" fmla="*/ 5 h 9"/>
                  <a:gd name="T52" fmla="*/ 40 w 42"/>
                  <a:gd name="T53" fmla="*/ 7 h 9"/>
                  <a:gd name="T54" fmla="*/ 38 w 42"/>
                  <a:gd name="T55" fmla="*/ 5 h 9"/>
                  <a:gd name="T56" fmla="*/ 0 w 42"/>
                  <a:gd name="T57" fmla="*/ 5 h 9"/>
                  <a:gd name="T58" fmla="*/ 2 w 42"/>
                  <a:gd name="T59" fmla="*/ 7 h 9"/>
                  <a:gd name="T60" fmla="*/ 0 w 42"/>
                  <a:gd name="T61" fmla="*/ 5 h 9"/>
                  <a:gd name="T62" fmla="*/ 42 w 42"/>
                  <a:gd name="T6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2" h="9">
                    <a:moveTo>
                      <a:pt x="14" y="9"/>
                    </a:moveTo>
                    <a:lnTo>
                      <a:pt x="12" y="9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1"/>
                    </a:lnTo>
                    <a:lnTo>
                      <a:pt x="29" y="0"/>
                    </a:lnTo>
                    <a:lnTo>
                      <a:pt x="29" y="1"/>
                    </a:lnTo>
                    <a:lnTo>
                      <a:pt x="29" y="0"/>
                    </a:lnTo>
                    <a:lnTo>
                      <a:pt x="31" y="1"/>
                    </a:lnTo>
                    <a:lnTo>
                      <a:pt x="31" y="0"/>
                    </a:lnTo>
                    <a:lnTo>
                      <a:pt x="33" y="1"/>
                    </a:lnTo>
                    <a:lnTo>
                      <a:pt x="35" y="1"/>
                    </a:lnTo>
                    <a:lnTo>
                      <a:pt x="36" y="1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5" y="5"/>
                    </a:lnTo>
                    <a:lnTo>
                      <a:pt x="35" y="7"/>
                    </a:lnTo>
                    <a:lnTo>
                      <a:pt x="33" y="7"/>
                    </a:lnTo>
                    <a:lnTo>
                      <a:pt x="33" y="9"/>
                    </a:lnTo>
                    <a:lnTo>
                      <a:pt x="31" y="9"/>
                    </a:lnTo>
                    <a:lnTo>
                      <a:pt x="29" y="9"/>
                    </a:lnTo>
                    <a:lnTo>
                      <a:pt x="27" y="9"/>
                    </a:lnTo>
                    <a:lnTo>
                      <a:pt x="29" y="9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17" y="9"/>
                    </a:lnTo>
                    <a:lnTo>
                      <a:pt x="15" y="9"/>
                    </a:lnTo>
                    <a:lnTo>
                      <a:pt x="14" y="9"/>
                    </a:lnTo>
                    <a:close/>
                    <a:moveTo>
                      <a:pt x="40" y="5"/>
                    </a:moveTo>
                    <a:lnTo>
                      <a:pt x="42" y="5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0" y="5"/>
                    </a:lnTo>
                    <a:lnTo>
                      <a:pt x="40" y="7"/>
                    </a:lnTo>
                    <a:lnTo>
                      <a:pt x="38" y="7"/>
                    </a:lnTo>
                    <a:lnTo>
                      <a:pt x="38" y="5"/>
                    </a:lnTo>
                    <a:lnTo>
                      <a:pt x="40" y="5"/>
                    </a:lnTo>
                    <a:close/>
                    <a:moveTo>
                      <a:pt x="0" y="5"/>
                    </a:moveTo>
                    <a:lnTo>
                      <a:pt x="2" y="5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close/>
                    <a:moveTo>
                      <a:pt x="42" y="1"/>
                    </a:moveTo>
                    <a:lnTo>
                      <a:pt x="42" y="3"/>
                    </a:lnTo>
                    <a:lnTo>
                      <a:pt x="42" y="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1" name="Freeform 58">
                <a:extLst>
                  <a:ext uri="{FF2B5EF4-FFF2-40B4-BE49-F238E27FC236}">
                    <a16:creationId xmlns:a16="http://schemas.microsoft.com/office/drawing/2014/main" id="{2D72C984-E6B3-834B-076F-DD318E5FFC3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469991" y="-2388056"/>
                <a:ext cx="11030" cy="11050"/>
              </a:xfrm>
              <a:custGeom>
                <a:avLst/>
                <a:gdLst>
                  <a:gd name="T0" fmla="*/ 2 w 7"/>
                  <a:gd name="T1" fmla="*/ 4 h 7"/>
                  <a:gd name="T2" fmla="*/ 4 w 7"/>
                  <a:gd name="T3" fmla="*/ 4 h 7"/>
                  <a:gd name="T4" fmla="*/ 4 w 7"/>
                  <a:gd name="T5" fmla="*/ 5 h 7"/>
                  <a:gd name="T6" fmla="*/ 2 w 7"/>
                  <a:gd name="T7" fmla="*/ 5 h 7"/>
                  <a:gd name="T8" fmla="*/ 2 w 7"/>
                  <a:gd name="T9" fmla="*/ 4 h 7"/>
                  <a:gd name="T10" fmla="*/ 6 w 7"/>
                  <a:gd name="T11" fmla="*/ 0 h 7"/>
                  <a:gd name="T12" fmla="*/ 7 w 7"/>
                  <a:gd name="T13" fmla="*/ 0 h 7"/>
                  <a:gd name="T14" fmla="*/ 6 w 7"/>
                  <a:gd name="T15" fmla="*/ 0 h 7"/>
                  <a:gd name="T16" fmla="*/ 6 w 7"/>
                  <a:gd name="T17" fmla="*/ 4 h 7"/>
                  <a:gd name="T18" fmla="*/ 7 w 7"/>
                  <a:gd name="T19" fmla="*/ 4 h 7"/>
                  <a:gd name="T20" fmla="*/ 7 w 7"/>
                  <a:gd name="T21" fmla="*/ 5 h 7"/>
                  <a:gd name="T22" fmla="*/ 6 w 7"/>
                  <a:gd name="T23" fmla="*/ 5 h 7"/>
                  <a:gd name="T24" fmla="*/ 6 w 7"/>
                  <a:gd name="T25" fmla="*/ 4 h 7"/>
                  <a:gd name="T26" fmla="*/ 0 w 7"/>
                  <a:gd name="T27" fmla="*/ 5 h 7"/>
                  <a:gd name="T28" fmla="*/ 2 w 7"/>
                  <a:gd name="T29" fmla="*/ 5 h 7"/>
                  <a:gd name="T30" fmla="*/ 0 w 7"/>
                  <a:gd name="T31" fmla="*/ 5 h 7"/>
                  <a:gd name="T32" fmla="*/ 4 w 7"/>
                  <a:gd name="T33" fmla="*/ 5 h 7"/>
                  <a:gd name="T34" fmla="*/ 4 w 7"/>
                  <a:gd name="T35" fmla="*/ 7 h 7"/>
                  <a:gd name="T36" fmla="*/ 4 w 7"/>
                  <a:gd name="T37" fmla="*/ 5 h 7"/>
                  <a:gd name="T38" fmla="*/ 4 w 7"/>
                  <a:gd name="T39" fmla="*/ 4 h 7"/>
                  <a:gd name="T40" fmla="*/ 4 w 7"/>
                  <a:gd name="T41" fmla="*/ 5 h 7"/>
                  <a:gd name="T42" fmla="*/ 4 w 7"/>
                  <a:gd name="T43" fmla="*/ 4 h 7"/>
                  <a:gd name="T44" fmla="*/ 4 w 7"/>
                  <a:gd name="T45" fmla="*/ 5 h 7"/>
                  <a:gd name="T46" fmla="*/ 6 w 7"/>
                  <a:gd name="T47" fmla="*/ 5 h 7"/>
                  <a:gd name="T48" fmla="*/ 4 w 7"/>
                  <a:gd name="T49" fmla="*/ 5 h 7"/>
                  <a:gd name="T50" fmla="*/ 0 w 7"/>
                  <a:gd name="T51" fmla="*/ 5 h 7"/>
                  <a:gd name="T52" fmla="*/ 2 w 7"/>
                  <a:gd name="T53" fmla="*/ 5 h 7"/>
                  <a:gd name="T54" fmla="*/ 0 w 7"/>
                  <a:gd name="T55" fmla="*/ 5 h 7"/>
                  <a:gd name="T56" fmla="*/ 4 w 7"/>
                  <a:gd name="T57" fmla="*/ 4 h 7"/>
                  <a:gd name="T58" fmla="*/ 6 w 7"/>
                  <a:gd name="T59" fmla="*/ 4 h 7"/>
                  <a:gd name="T60" fmla="*/ 4 w 7"/>
                  <a:gd name="T6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" h="7">
                    <a:moveTo>
                      <a:pt x="2" y="4"/>
                    </a:moveTo>
                    <a:lnTo>
                      <a:pt x="4" y="4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2" y="4"/>
                    </a:lnTo>
                    <a:close/>
                    <a:moveTo>
                      <a:pt x="6" y="0"/>
                    </a:moveTo>
                    <a:lnTo>
                      <a:pt x="7" y="0"/>
                    </a:lnTo>
                    <a:lnTo>
                      <a:pt x="6" y="0"/>
                    </a:lnTo>
                    <a:close/>
                    <a:moveTo>
                      <a:pt x="6" y="4"/>
                    </a:moveTo>
                    <a:lnTo>
                      <a:pt x="7" y="4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6" y="4"/>
                    </a:lnTo>
                    <a:close/>
                    <a:moveTo>
                      <a:pt x="0" y="5"/>
                    </a:moveTo>
                    <a:lnTo>
                      <a:pt x="2" y="5"/>
                    </a:lnTo>
                    <a:lnTo>
                      <a:pt x="0" y="5"/>
                    </a:lnTo>
                    <a:close/>
                    <a:moveTo>
                      <a:pt x="4" y="5"/>
                    </a:moveTo>
                    <a:lnTo>
                      <a:pt x="4" y="7"/>
                    </a:lnTo>
                    <a:lnTo>
                      <a:pt x="4" y="5"/>
                    </a:lnTo>
                    <a:close/>
                    <a:moveTo>
                      <a:pt x="4" y="4"/>
                    </a:moveTo>
                    <a:lnTo>
                      <a:pt x="4" y="5"/>
                    </a:lnTo>
                    <a:lnTo>
                      <a:pt x="4" y="4"/>
                    </a:lnTo>
                    <a:close/>
                    <a:moveTo>
                      <a:pt x="4" y="5"/>
                    </a:moveTo>
                    <a:lnTo>
                      <a:pt x="6" y="5"/>
                    </a:lnTo>
                    <a:lnTo>
                      <a:pt x="4" y="5"/>
                    </a:lnTo>
                    <a:close/>
                    <a:moveTo>
                      <a:pt x="0" y="5"/>
                    </a:moveTo>
                    <a:lnTo>
                      <a:pt x="2" y="5"/>
                    </a:lnTo>
                    <a:lnTo>
                      <a:pt x="0" y="5"/>
                    </a:lnTo>
                    <a:close/>
                    <a:moveTo>
                      <a:pt x="4" y="4"/>
                    </a:moveTo>
                    <a:lnTo>
                      <a:pt x="6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2" name="Freeform 59">
                <a:extLst>
                  <a:ext uri="{FF2B5EF4-FFF2-40B4-BE49-F238E27FC236}">
                    <a16:creationId xmlns:a16="http://schemas.microsoft.com/office/drawing/2014/main" id="{E8D17FB0-A94C-6A35-29E4-38FAF2DDD75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12532" y="-2377004"/>
                <a:ext cx="4727" cy="3158"/>
              </a:xfrm>
              <a:custGeom>
                <a:avLst/>
                <a:gdLst>
                  <a:gd name="T0" fmla="*/ 1 w 3"/>
                  <a:gd name="T1" fmla="*/ 0 h 2"/>
                  <a:gd name="T2" fmla="*/ 1 w 3"/>
                  <a:gd name="T3" fmla="*/ 2 h 2"/>
                  <a:gd name="T4" fmla="*/ 0 w 3"/>
                  <a:gd name="T5" fmla="*/ 2 h 2"/>
                  <a:gd name="T6" fmla="*/ 1 w 3"/>
                  <a:gd name="T7" fmla="*/ 0 h 2"/>
                  <a:gd name="T8" fmla="*/ 1 w 3"/>
                  <a:gd name="T9" fmla="*/ 0 h 2"/>
                  <a:gd name="T10" fmla="*/ 3 w 3"/>
                  <a:gd name="T11" fmla="*/ 0 h 2"/>
                  <a:gd name="T12" fmla="*/ 1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1" y="0"/>
                    </a:moveTo>
                    <a:lnTo>
                      <a:pt x="1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  <a:moveTo>
                      <a:pt x="1" y="0"/>
                    </a:move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3" name="Freeform 60">
                <a:extLst>
                  <a:ext uri="{FF2B5EF4-FFF2-40B4-BE49-F238E27FC236}">
                    <a16:creationId xmlns:a16="http://schemas.microsoft.com/office/drawing/2014/main" id="{F4E59D05-764F-358C-131C-183174168BF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12532" y="-2373847"/>
                <a:ext cx="1575" cy="3158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0 h 2"/>
                  <a:gd name="T4" fmla="*/ 1 w 1"/>
                  <a:gd name="T5" fmla="*/ 2 h 2"/>
                  <a:gd name="T6" fmla="*/ 0 w 1"/>
                  <a:gd name="T7" fmla="*/ 2 h 2"/>
                  <a:gd name="T8" fmla="*/ 0 w 1"/>
                  <a:gd name="T9" fmla="*/ 0 h 2"/>
                  <a:gd name="T10" fmla="*/ 1 w 1"/>
                  <a:gd name="T11" fmla="*/ 0 h 2"/>
                  <a:gd name="T12" fmla="*/ 1 w 1"/>
                  <a:gd name="T13" fmla="*/ 2 h 2"/>
                  <a:gd name="T14" fmla="*/ 1 w 1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" y="0"/>
                    </a:move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4" name="Freeform 61">
                <a:extLst>
                  <a:ext uri="{FF2B5EF4-FFF2-40B4-BE49-F238E27FC236}">
                    <a16:creationId xmlns:a16="http://schemas.microsoft.com/office/drawing/2014/main" id="{5E1F1AF9-17A9-6227-2535-838091D05ED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42467" y="-2361220"/>
                <a:ext cx="4727" cy="17364"/>
              </a:xfrm>
              <a:custGeom>
                <a:avLst/>
                <a:gdLst>
                  <a:gd name="T0" fmla="*/ 1 w 3"/>
                  <a:gd name="T1" fmla="*/ 9 h 11"/>
                  <a:gd name="T2" fmla="*/ 3 w 3"/>
                  <a:gd name="T3" fmla="*/ 9 h 11"/>
                  <a:gd name="T4" fmla="*/ 3 w 3"/>
                  <a:gd name="T5" fmla="*/ 11 h 11"/>
                  <a:gd name="T6" fmla="*/ 3 w 3"/>
                  <a:gd name="T7" fmla="*/ 9 h 11"/>
                  <a:gd name="T8" fmla="*/ 3 w 3"/>
                  <a:gd name="T9" fmla="*/ 11 h 11"/>
                  <a:gd name="T10" fmla="*/ 1 w 3"/>
                  <a:gd name="T11" fmla="*/ 11 h 11"/>
                  <a:gd name="T12" fmla="*/ 0 w 3"/>
                  <a:gd name="T13" fmla="*/ 11 h 11"/>
                  <a:gd name="T14" fmla="*/ 0 w 3"/>
                  <a:gd name="T15" fmla="*/ 9 h 11"/>
                  <a:gd name="T16" fmla="*/ 1 w 3"/>
                  <a:gd name="T17" fmla="*/ 9 h 11"/>
                  <a:gd name="T18" fmla="*/ 1 w 3"/>
                  <a:gd name="T19" fmla="*/ 0 h 11"/>
                  <a:gd name="T20" fmla="*/ 3 w 3"/>
                  <a:gd name="T21" fmla="*/ 2 h 11"/>
                  <a:gd name="T22" fmla="*/ 3 w 3"/>
                  <a:gd name="T23" fmla="*/ 4 h 11"/>
                  <a:gd name="T24" fmla="*/ 1 w 3"/>
                  <a:gd name="T25" fmla="*/ 2 h 11"/>
                  <a:gd name="T26" fmla="*/ 1 w 3"/>
                  <a:gd name="T27" fmla="*/ 4 h 11"/>
                  <a:gd name="T28" fmla="*/ 1 w 3"/>
                  <a:gd name="T29" fmla="*/ 2 h 11"/>
                  <a:gd name="T30" fmla="*/ 0 w 3"/>
                  <a:gd name="T31" fmla="*/ 0 h 11"/>
                  <a:gd name="T32" fmla="*/ 1 w 3"/>
                  <a:gd name="T33" fmla="*/ 0 h 11"/>
                  <a:gd name="T34" fmla="*/ 0 w 3"/>
                  <a:gd name="T35" fmla="*/ 0 h 11"/>
                  <a:gd name="T36" fmla="*/ 1 w 3"/>
                  <a:gd name="T37" fmla="*/ 2 h 11"/>
                  <a:gd name="T38" fmla="*/ 1 w 3"/>
                  <a:gd name="T3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" h="11">
                    <a:moveTo>
                      <a:pt x="1" y="9"/>
                    </a:moveTo>
                    <a:lnTo>
                      <a:pt x="3" y="9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1" y="9"/>
                    </a:lnTo>
                    <a:close/>
                    <a:moveTo>
                      <a:pt x="1" y="0"/>
                    </a:moveTo>
                    <a:lnTo>
                      <a:pt x="3" y="2"/>
                    </a:lnTo>
                    <a:lnTo>
                      <a:pt x="3" y="4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5" name="Freeform 62">
                <a:extLst>
                  <a:ext uri="{FF2B5EF4-FFF2-40B4-BE49-F238E27FC236}">
                    <a16:creationId xmlns:a16="http://schemas.microsoft.com/office/drawing/2014/main" id="{3972638D-34D6-F9EF-EC1B-3F70558A95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77769" y="-2476454"/>
                <a:ext cx="36239" cy="18943"/>
              </a:xfrm>
              <a:custGeom>
                <a:avLst/>
                <a:gdLst>
                  <a:gd name="T0" fmla="*/ 9 w 23"/>
                  <a:gd name="T1" fmla="*/ 2 h 12"/>
                  <a:gd name="T2" fmla="*/ 11 w 23"/>
                  <a:gd name="T3" fmla="*/ 4 h 12"/>
                  <a:gd name="T4" fmla="*/ 13 w 23"/>
                  <a:gd name="T5" fmla="*/ 4 h 12"/>
                  <a:gd name="T6" fmla="*/ 13 w 23"/>
                  <a:gd name="T7" fmla="*/ 6 h 12"/>
                  <a:gd name="T8" fmla="*/ 11 w 23"/>
                  <a:gd name="T9" fmla="*/ 6 h 12"/>
                  <a:gd name="T10" fmla="*/ 11 w 23"/>
                  <a:gd name="T11" fmla="*/ 4 h 12"/>
                  <a:gd name="T12" fmla="*/ 9 w 23"/>
                  <a:gd name="T13" fmla="*/ 6 h 12"/>
                  <a:gd name="T14" fmla="*/ 9 w 23"/>
                  <a:gd name="T15" fmla="*/ 4 h 12"/>
                  <a:gd name="T16" fmla="*/ 9 w 23"/>
                  <a:gd name="T17" fmla="*/ 2 h 12"/>
                  <a:gd name="T18" fmla="*/ 7 w 23"/>
                  <a:gd name="T19" fmla="*/ 0 h 12"/>
                  <a:gd name="T20" fmla="*/ 9 w 23"/>
                  <a:gd name="T21" fmla="*/ 2 h 12"/>
                  <a:gd name="T22" fmla="*/ 9 w 23"/>
                  <a:gd name="T23" fmla="*/ 4 h 12"/>
                  <a:gd name="T24" fmla="*/ 9 w 23"/>
                  <a:gd name="T25" fmla="*/ 2 h 12"/>
                  <a:gd name="T26" fmla="*/ 9 w 23"/>
                  <a:gd name="T27" fmla="*/ 4 h 12"/>
                  <a:gd name="T28" fmla="*/ 7 w 23"/>
                  <a:gd name="T29" fmla="*/ 4 h 12"/>
                  <a:gd name="T30" fmla="*/ 9 w 23"/>
                  <a:gd name="T31" fmla="*/ 4 h 12"/>
                  <a:gd name="T32" fmla="*/ 7 w 23"/>
                  <a:gd name="T33" fmla="*/ 2 h 12"/>
                  <a:gd name="T34" fmla="*/ 7 w 23"/>
                  <a:gd name="T35" fmla="*/ 0 h 12"/>
                  <a:gd name="T36" fmla="*/ 13 w 23"/>
                  <a:gd name="T37" fmla="*/ 4 h 12"/>
                  <a:gd name="T38" fmla="*/ 15 w 23"/>
                  <a:gd name="T39" fmla="*/ 4 h 12"/>
                  <a:gd name="T40" fmla="*/ 15 w 23"/>
                  <a:gd name="T41" fmla="*/ 6 h 12"/>
                  <a:gd name="T42" fmla="*/ 15 w 23"/>
                  <a:gd name="T43" fmla="*/ 4 h 12"/>
                  <a:gd name="T44" fmla="*/ 17 w 23"/>
                  <a:gd name="T45" fmla="*/ 6 h 12"/>
                  <a:gd name="T46" fmla="*/ 15 w 23"/>
                  <a:gd name="T47" fmla="*/ 6 h 12"/>
                  <a:gd name="T48" fmla="*/ 15 w 23"/>
                  <a:gd name="T49" fmla="*/ 8 h 12"/>
                  <a:gd name="T50" fmla="*/ 15 w 23"/>
                  <a:gd name="T51" fmla="*/ 6 h 12"/>
                  <a:gd name="T52" fmla="*/ 15 w 23"/>
                  <a:gd name="T53" fmla="*/ 8 h 12"/>
                  <a:gd name="T54" fmla="*/ 15 w 23"/>
                  <a:gd name="T55" fmla="*/ 6 h 12"/>
                  <a:gd name="T56" fmla="*/ 13 w 23"/>
                  <a:gd name="T57" fmla="*/ 6 h 12"/>
                  <a:gd name="T58" fmla="*/ 13 w 23"/>
                  <a:gd name="T59" fmla="*/ 4 h 12"/>
                  <a:gd name="T60" fmla="*/ 2 w 23"/>
                  <a:gd name="T61" fmla="*/ 2 h 12"/>
                  <a:gd name="T62" fmla="*/ 4 w 23"/>
                  <a:gd name="T63" fmla="*/ 4 h 12"/>
                  <a:gd name="T64" fmla="*/ 5 w 23"/>
                  <a:gd name="T65" fmla="*/ 4 h 12"/>
                  <a:gd name="T66" fmla="*/ 4 w 23"/>
                  <a:gd name="T67" fmla="*/ 4 h 12"/>
                  <a:gd name="T68" fmla="*/ 2 w 23"/>
                  <a:gd name="T69" fmla="*/ 4 h 12"/>
                  <a:gd name="T70" fmla="*/ 2 w 23"/>
                  <a:gd name="T71" fmla="*/ 2 h 12"/>
                  <a:gd name="T72" fmla="*/ 0 w 23"/>
                  <a:gd name="T73" fmla="*/ 6 h 12"/>
                  <a:gd name="T74" fmla="*/ 2 w 23"/>
                  <a:gd name="T75" fmla="*/ 6 h 12"/>
                  <a:gd name="T76" fmla="*/ 0 w 23"/>
                  <a:gd name="T77" fmla="*/ 6 h 12"/>
                  <a:gd name="T78" fmla="*/ 15 w 23"/>
                  <a:gd name="T79" fmla="*/ 8 h 12"/>
                  <a:gd name="T80" fmla="*/ 15 w 23"/>
                  <a:gd name="T81" fmla="*/ 10 h 12"/>
                  <a:gd name="T82" fmla="*/ 15 w 23"/>
                  <a:gd name="T83" fmla="*/ 8 h 12"/>
                  <a:gd name="T84" fmla="*/ 21 w 23"/>
                  <a:gd name="T85" fmla="*/ 8 h 12"/>
                  <a:gd name="T86" fmla="*/ 21 w 23"/>
                  <a:gd name="T87" fmla="*/ 10 h 12"/>
                  <a:gd name="T88" fmla="*/ 21 w 23"/>
                  <a:gd name="T89" fmla="*/ 8 h 12"/>
                  <a:gd name="T90" fmla="*/ 11 w 23"/>
                  <a:gd name="T91" fmla="*/ 12 h 12"/>
                  <a:gd name="T92" fmla="*/ 13 w 23"/>
                  <a:gd name="T93" fmla="*/ 12 h 12"/>
                  <a:gd name="T94" fmla="*/ 11 w 23"/>
                  <a:gd name="T95" fmla="*/ 12 h 12"/>
                  <a:gd name="T96" fmla="*/ 5 w 23"/>
                  <a:gd name="T97" fmla="*/ 2 h 12"/>
                  <a:gd name="T98" fmla="*/ 7 w 23"/>
                  <a:gd name="T99" fmla="*/ 2 h 12"/>
                  <a:gd name="T100" fmla="*/ 5 w 23"/>
                  <a:gd name="T101" fmla="*/ 2 h 12"/>
                  <a:gd name="T102" fmla="*/ 21 w 23"/>
                  <a:gd name="T103" fmla="*/ 10 h 12"/>
                  <a:gd name="T104" fmla="*/ 23 w 23"/>
                  <a:gd name="T105" fmla="*/ 10 h 12"/>
                  <a:gd name="T106" fmla="*/ 21 w 23"/>
                  <a:gd name="T10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" h="12">
                    <a:moveTo>
                      <a:pt x="9" y="2"/>
                    </a:moveTo>
                    <a:lnTo>
                      <a:pt x="11" y="4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1" y="6"/>
                    </a:lnTo>
                    <a:lnTo>
                      <a:pt x="11" y="4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2"/>
                    </a:lnTo>
                    <a:close/>
                    <a:moveTo>
                      <a:pt x="7" y="0"/>
                    </a:moveTo>
                    <a:lnTo>
                      <a:pt x="9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7" y="2"/>
                    </a:lnTo>
                    <a:lnTo>
                      <a:pt x="7" y="0"/>
                    </a:lnTo>
                    <a:close/>
                    <a:moveTo>
                      <a:pt x="13" y="4"/>
                    </a:moveTo>
                    <a:lnTo>
                      <a:pt x="15" y="4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5" y="6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3" y="6"/>
                    </a:lnTo>
                    <a:lnTo>
                      <a:pt x="13" y="4"/>
                    </a:lnTo>
                    <a:close/>
                    <a:moveTo>
                      <a:pt x="2" y="2"/>
                    </a:moveTo>
                    <a:lnTo>
                      <a:pt x="4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  <a:moveTo>
                      <a:pt x="0" y="6"/>
                    </a:moveTo>
                    <a:lnTo>
                      <a:pt x="2" y="6"/>
                    </a:lnTo>
                    <a:lnTo>
                      <a:pt x="0" y="6"/>
                    </a:lnTo>
                    <a:close/>
                    <a:moveTo>
                      <a:pt x="15" y="8"/>
                    </a:moveTo>
                    <a:lnTo>
                      <a:pt x="15" y="10"/>
                    </a:lnTo>
                    <a:lnTo>
                      <a:pt x="15" y="8"/>
                    </a:lnTo>
                    <a:close/>
                    <a:moveTo>
                      <a:pt x="21" y="8"/>
                    </a:moveTo>
                    <a:lnTo>
                      <a:pt x="21" y="10"/>
                    </a:lnTo>
                    <a:lnTo>
                      <a:pt x="21" y="8"/>
                    </a:lnTo>
                    <a:close/>
                    <a:moveTo>
                      <a:pt x="11" y="12"/>
                    </a:moveTo>
                    <a:lnTo>
                      <a:pt x="13" y="12"/>
                    </a:lnTo>
                    <a:lnTo>
                      <a:pt x="11" y="12"/>
                    </a:lnTo>
                    <a:close/>
                    <a:moveTo>
                      <a:pt x="5" y="2"/>
                    </a:moveTo>
                    <a:lnTo>
                      <a:pt x="7" y="2"/>
                    </a:lnTo>
                    <a:lnTo>
                      <a:pt x="5" y="2"/>
                    </a:lnTo>
                    <a:close/>
                    <a:moveTo>
                      <a:pt x="21" y="10"/>
                    </a:moveTo>
                    <a:lnTo>
                      <a:pt x="23" y="10"/>
                    </a:lnTo>
                    <a:lnTo>
                      <a:pt x="21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6" name="Freeform 63">
                <a:extLst>
                  <a:ext uri="{FF2B5EF4-FFF2-40B4-BE49-F238E27FC236}">
                    <a16:creationId xmlns:a16="http://schemas.microsoft.com/office/drawing/2014/main" id="{903424D9-1583-26D5-2A02-A5C7B1057C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88799" y="-2421202"/>
                <a:ext cx="94535" cy="66300"/>
              </a:xfrm>
              <a:custGeom>
                <a:avLst/>
                <a:gdLst>
                  <a:gd name="T0" fmla="*/ 6 w 60"/>
                  <a:gd name="T1" fmla="*/ 28 h 42"/>
                  <a:gd name="T2" fmla="*/ 2 w 60"/>
                  <a:gd name="T3" fmla="*/ 25 h 42"/>
                  <a:gd name="T4" fmla="*/ 2 w 60"/>
                  <a:gd name="T5" fmla="*/ 23 h 42"/>
                  <a:gd name="T6" fmla="*/ 4 w 60"/>
                  <a:gd name="T7" fmla="*/ 19 h 42"/>
                  <a:gd name="T8" fmla="*/ 4 w 60"/>
                  <a:gd name="T9" fmla="*/ 17 h 42"/>
                  <a:gd name="T10" fmla="*/ 4 w 60"/>
                  <a:gd name="T11" fmla="*/ 15 h 42"/>
                  <a:gd name="T12" fmla="*/ 4 w 60"/>
                  <a:gd name="T13" fmla="*/ 11 h 42"/>
                  <a:gd name="T14" fmla="*/ 6 w 60"/>
                  <a:gd name="T15" fmla="*/ 9 h 42"/>
                  <a:gd name="T16" fmla="*/ 4 w 60"/>
                  <a:gd name="T17" fmla="*/ 5 h 42"/>
                  <a:gd name="T18" fmla="*/ 6 w 60"/>
                  <a:gd name="T19" fmla="*/ 2 h 42"/>
                  <a:gd name="T20" fmla="*/ 12 w 60"/>
                  <a:gd name="T21" fmla="*/ 2 h 42"/>
                  <a:gd name="T22" fmla="*/ 16 w 60"/>
                  <a:gd name="T23" fmla="*/ 0 h 42"/>
                  <a:gd name="T24" fmla="*/ 21 w 60"/>
                  <a:gd name="T25" fmla="*/ 2 h 42"/>
                  <a:gd name="T26" fmla="*/ 25 w 60"/>
                  <a:gd name="T27" fmla="*/ 4 h 42"/>
                  <a:gd name="T28" fmla="*/ 33 w 60"/>
                  <a:gd name="T29" fmla="*/ 5 h 42"/>
                  <a:gd name="T30" fmla="*/ 35 w 60"/>
                  <a:gd name="T31" fmla="*/ 9 h 42"/>
                  <a:gd name="T32" fmla="*/ 40 w 60"/>
                  <a:gd name="T33" fmla="*/ 11 h 42"/>
                  <a:gd name="T34" fmla="*/ 46 w 60"/>
                  <a:gd name="T35" fmla="*/ 11 h 42"/>
                  <a:gd name="T36" fmla="*/ 40 w 60"/>
                  <a:gd name="T37" fmla="*/ 13 h 42"/>
                  <a:gd name="T38" fmla="*/ 40 w 60"/>
                  <a:gd name="T39" fmla="*/ 15 h 42"/>
                  <a:gd name="T40" fmla="*/ 44 w 60"/>
                  <a:gd name="T41" fmla="*/ 15 h 42"/>
                  <a:gd name="T42" fmla="*/ 46 w 60"/>
                  <a:gd name="T43" fmla="*/ 15 h 42"/>
                  <a:gd name="T44" fmla="*/ 48 w 60"/>
                  <a:gd name="T45" fmla="*/ 15 h 42"/>
                  <a:gd name="T46" fmla="*/ 52 w 60"/>
                  <a:gd name="T47" fmla="*/ 17 h 42"/>
                  <a:gd name="T48" fmla="*/ 58 w 60"/>
                  <a:gd name="T49" fmla="*/ 21 h 42"/>
                  <a:gd name="T50" fmla="*/ 58 w 60"/>
                  <a:gd name="T51" fmla="*/ 25 h 42"/>
                  <a:gd name="T52" fmla="*/ 54 w 60"/>
                  <a:gd name="T53" fmla="*/ 26 h 42"/>
                  <a:gd name="T54" fmla="*/ 52 w 60"/>
                  <a:gd name="T55" fmla="*/ 30 h 42"/>
                  <a:gd name="T56" fmla="*/ 48 w 60"/>
                  <a:gd name="T57" fmla="*/ 26 h 42"/>
                  <a:gd name="T58" fmla="*/ 42 w 60"/>
                  <a:gd name="T59" fmla="*/ 26 h 42"/>
                  <a:gd name="T60" fmla="*/ 37 w 60"/>
                  <a:gd name="T61" fmla="*/ 26 h 42"/>
                  <a:gd name="T62" fmla="*/ 31 w 60"/>
                  <a:gd name="T63" fmla="*/ 28 h 42"/>
                  <a:gd name="T64" fmla="*/ 29 w 60"/>
                  <a:gd name="T65" fmla="*/ 30 h 42"/>
                  <a:gd name="T66" fmla="*/ 25 w 60"/>
                  <a:gd name="T67" fmla="*/ 28 h 42"/>
                  <a:gd name="T68" fmla="*/ 23 w 60"/>
                  <a:gd name="T69" fmla="*/ 28 h 42"/>
                  <a:gd name="T70" fmla="*/ 19 w 60"/>
                  <a:gd name="T71" fmla="*/ 28 h 42"/>
                  <a:gd name="T72" fmla="*/ 19 w 60"/>
                  <a:gd name="T73" fmla="*/ 26 h 42"/>
                  <a:gd name="T74" fmla="*/ 14 w 60"/>
                  <a:gd name="T75" fmla="*/ 28 h 42"/>
                  <a:gd name="T76" fmla="*/ 14 w 60"/>
                  <a:gd name="T77" fmla="*/ 34 h 42"/>
                  <a:gd name="T78" fmla="*/ 10 w 60"/>
                  <a:gd name="T79" fmla="*/ 40 h 42"/>
                  <a:gd name="T80" fmla="*/ 6 w 60"/>
                  <a:gd name="T81" fmla="*/ 36 h 42"/>
                  <a:gd name="T82" fmla="*/ 54 w 60"/>
                  <a:gd name="T83" fmla="*/ 30 h 42"/>
                  <a:gd name="T84" fmla="*/ 54 w 60"/>
                  <a:gd name="T85" fmla="*/ 30 h 42"/>
                  <a:gd name="T86" fmla="*/ 54 w 60"/>
                  <a:gd name="T87" fmla="*/ 30 h 42"/>
                  <a:gd name="T88" fmla="*/ 8 w 60"/>
                  <a:gd name="T89" fmla="*/ 40 h 42"/>
                  <a:gd name="T90" fmla="*/ 48 w 60"/>
                  <a:gd name="T9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0" h="42">
                    <a:moveTo>
                      <a:pt x="4" y="32"/>
                    </a:moveTo>
                    <a:lnTo>
                      <a:pt x="4" y="30"/>
                    </a:lnTo>
                    <a:lnTo>
                      <a:pt x="6" y="28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2" y="17"/>
                    </a:lnTo>
                    <a:lnTo>
                      <a:pt x="4" y="17"/>
                    </a:lnTo>
                    <a:lnTo>
                      <a:pt x="4" y="15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5" y="5"/>
                    </a:lnTo>
                    <a:lnTo>
                      <a:pt x="35" y="7"/>
                    </a:lnTo>
                    <a:lnTo>
                      <a:pt x="35" y="9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4" y="13"/>
                    </a:lnTo>
                    <a:lnTo>
                      <a:pt x="42" y="13"/>
                    </a:lnTo>
                    <a:lnTo>
                      <a:pt x="40" y="13"/>
                    </a:lnTo>
                    <a:lnTo>
                      <a:pt x="39" y="13"/>
                    </a:lnTo>
                    <a:lnTo>
                      <a:pt x="39" y="15"/>
                    </a:lnTo>
                    <a:lnTo>
                      <a:pt x="40" y="15"/>
                    </a:lnTo>
                    <a:lnTo>
                      <a:pt x="42" y="15"/>
                    </a:lnTo>
                    <a:lnTo>
                      <a:pt x="44" y="17"/>
                    </a:lnTo>
                    <a:lnTo>
                      <a:pt x="44" y="15"/>
                    </a:lnTo>
                    <a:lnTo>
                      <a:pt x="44" y="17"/>
                    </a:lnTo>
                    <a:lnTo>
                      <a:pt x="46" y="17"/>
                    </a:lnTo>
                    <a:lnTo>
                      <a:pt x="46" y="15"/>
                    </a:lnTo>
                    <a:lnTo>
                      <a:pt x="46" y="17"/>
                    </a:lnTo>
                    <a:lnTo>
                      <a:pt x="48" y="17"/>
                    </a:lnTo>
                    <a:lnTo>
                      <a:pt x="48" y="15"/>
                    </a:lnTo>
                    <a:lnTo>
                      <a:pt x="50" y="15"/>
                    </a:lnTo>
                    <a:lnTo>
                      <a:pt x="50" y="17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6" y="21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58" y="25"/>
                    </a:lnTo>
                    <a:lnTo>
                      <a:pt x="58" y="26"/>
                    </a:lnTo>
                    <a:lnTo>
                      <a:pt x="56" y="28"/>
                    </a:lnTo>
                    <a:lnTo>
                      <a:pt x="54" y="26"/>
                    </a:lnTo>
                    <a:lnTo>
                      <a:pt x="54" y="28"/>
                    </a:lnTo>
                    <a:lnTo>
                      <a:pt x="54" y="30"/>
                    </a:lnTo>
                    <a:lnTo>
                      <a:pt x="52" y="30"/>
                    </a:lnTo>
                    <a:lnTo>
                      <a:pt x="52" y="28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6" y="26"/>
                    </a:lnTo>
                    <a:lnTo>
                      <a:pt x="44" y="26"/>
                    </a:lnTo>
                    <a:lnTo>
                      <a:pt x="42" y="26"/>
                    </a:lnTo>
                    <a:lnTo>
                      <a:pt x="40" y="26"/>
                    </a:lnTo>
                    <a:lnTo>
                      <a:pt x="39" y="26"/>
                    </a:lnTo>
                    <a:lnTo>
                      <a:pt x="37" y="26"/>
                    </a:lnTo>
                    <a:lnTo>
                      <a:pt x="35" y="25"/>
                    </a:lnTo>
                    <a:lnTo>
                      <a:pt x="33" y="26"/>
                    </a:lnTo>
                    <a:lnTo>
                      <a:pt x="31" y="28"/>
                    </a:lnTo>
                    <a:lnTo>
                      <a:pt x="29" y="30"/>
                    </a:lnTo>
                    <a:lnTo>
                      <a:pt x="29" y="28"/>
                    </a:lnTo>
                    <a:lnTo>
                      <a:pt x="29" y="30"/>
                    </a:lnTo>
                    <a:lnTo>
                      <a:pt x="27" y="28"/>
                    </a:lnTo>
                    <a:lnTo>
                      <a:pt x="27" y="30"/>
                    </a:lnTo>
                    <a:lnTo>
                      <a:pt x="25" y="28"/>
                    </a:lnTo>
                    <a:lnTo>
                      <a:pt x="25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1" y="26"/>
                    </a:lnTo>
                    <a:lnTo>
                      <a:pt x="19" y="28"/>
                    </a:lnTo>
                    <a:lnTo>
                      <a:pt x="19" y="26"/>
                    </a:lnTo>
                    <a:lnTo>
                      <a:pt x="19" y="28"/>
                    </a:lnTo>
                    <a:lnTo>
                      <a:pt x="19" y="26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4" y="34"/>
                    </a:lnTo>
                    <a:lnTo>
                      <a:pt x="12" y="36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8" y="38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4" y="32"/>
                    </a:lnTo>
                    <a:close/>
                    <a:moveTo>
                      <a:pt x="54" y="30"/>
                    </a:moveTo>
                    <a:lnTo>
                      <a:pt x="56" y="30"/>
                    </a:lnTo>
                    <a:lnTo>
                      <a:pt x="56" y="32"/>
                    </a:lnTo>
                    <a:lnTo>
                      <a:pt x="54" y="30"/>
                    </a:lnTo>
                    <a:lnTo>
                      <a:pt x="54" y="32"/>
                    </a:lnTo>
                    <a:lnTo>
                      <a:pt x="52" y="30"/>
                    </a:lnTo>
                    <a:lnTo>
                      <a:pt x="54" y="30"/>
                    </a:lnTo>
                    <a:close/>
                    <a:moveTo>
                      <a:pt x="8" y="40"/>
                    </a:moveTo>
                    <a:lnTo>
                      <a:pt x="8" y="42"/>
                    </a:lnTo>
                    <a:lnTo>
                      <a:pt x="8" y="40"/>
                    </a:lnTo>
                    <a:close/>
                    <a:moveTo>
                      <a:pt x="48" y="26"/>
                    </a:moveTo>
                    <a:lnTo>
                      <a:pt x="48" y="28"/>
                    </a:lnTo>
                    <a:lnTo>
                      <a:pt x="48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7" name="Freeform 64">
                <a:extLst>
                  <a:ext uri="{FF2B5EF4-FFF2-40B4-BE49-F238E27FC236}">
                    <a16:creationId xmlns:a16="http://schemas.microsoft.com/office/drawing/2014/main" id="{0C7EF49D-9BE2-A06F-D7F9-6853C34CA4E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25774" y="-2424360"/>
                <a:ext cx="72477" cy="53670"/>
              </a:xfrm>
              <a:custGeom>
                <a:avLst/>
                <a:gdLst>
                  <a:gd name="T0" fmla="*/ 46 w 46"/>
                  <a:gd name="T1" fmla="*/ 9 h 34"/>
                  <a:gd name="T2" fmla="*/ 44 w 46"/>
                  <a:gd name="T3" fmla="*/ 11 h 34"/>
                  <a:gd name="T4" fmla="*/ 46 w 46"/>
                  <a:gd name="T5" fmla="*/ 17 h 34"/>
                  <a:gd name="T6" fmla="*/ 44 w 46"/>
                  <a:gd name="T7" fmla="*/ 17 h 34"/>
                  <a:gd name="T8" fmla="*/ 44 w 46"/>
                  <a:gd name="T9" fmla="*/ 19 h 34"/>
                  <a:gd name="T10" fmla="*/ 44 w 46"/>
                  <a:gd name="T11" fmla="*/ 25 h 34"/>
                  <a:gd name="T12" fmla="*/ 40 w 46"/>
                  <a:gd name="T13" fmla="*/ 27 h 34"/>
                  <a:gd name="T14" fmla="*/ 44 w 46"/>
                  <a:gd name="T15" fmla="*/ 28 h 34"/>
                  <a:gd name="T16" fmla="*/ 44 w 46"/>
                  <a:gd name="T17" fmla="*/ 34 h 34"/>
                  <a:gd name="T18" fmla="*/ 40 w 46"/>
                  <a:gd name="T19" fmla="*/ 30 h 34"/>
                  <a:gd name="T20" fmla="*/ 33 w 46"/>
                  <a:gd name="T21" fmla="*/ 32 h 34"/>
                  <a:gd name="T22" fmla="*/ 31 w 46"/>
                  <a:gd name="T23" fmla="*/ 32 h 34"/>
                  <a:gd name="T24" fmla="*/ 25 w 46"/>
                  <a:gd name="T25" fmla="*/ 32 h 34"/>
                  <a:gd name="T26" fmla="*/ 19 w 46"/>
                  <a:gd name="T27" fmla="*/ 32 h 34"/>
                  <a:gd name="T28" fmla="*/ 19 w 46"/>
                  <a:gd name="T29" fmla="*/ 30 h 34"/>
                  <a:gd name="T30" fmla="*/ 16 w 46"/>
                  <a:gd name="T31" fmla="*/ 32 h 34"/>
                  <a:gd name="T32" fmla="*/ 16 w 46"/>
                  <a:gd name="T33" fmla="*/ 30 h 34"/>
                  <a:gd name="T34" fmla="*/ 14 w 46"/>
                  <a:gd name="T35" fmla="*/ 30 h 34"/>
                  <a:gd name="T36" fmla="*/ 14 w 46"/>
                  <a:gd name="T37" fmla="*/ 32 h 34"/>
                  <a:gd name="T38" fmla="*/ 10 w 46"/>
                  <a:gd name="T39" fmla="*/ 34 h 34"/>
                  <a:gd name="T40" fmla="*/ 8 w 46"/>
                  <a:gd name="T41" fmla="*/ 30 h 34"/>
                  <a:gd name="T42" fmla="*/ 2 w 46"/>
                  <a:gd name="T43" fmla="*/ 28 h 34"/>
                  <a:gd name="T44" fmla="*/ 0 w 46"/>
                  <a:gd name="T45" fmla="*/ 27 h 34"/>
                  <a:gd name="T46" fmla="*/ 6 w 46"/>
                  <a:gd name="T47" fmla="*/ 25 h 34"/>
                  <a:gd name="T48" fmla="*/ 10 w 46"/>
                  <a:gd name="T49" fmla="*/ 27 h 34"/>
                  <a:gd name="T50" fmla="*/ 14 w 46"/>
                  <a:gd name="T51" fmla="*/ 25 h 34"/>
                  <a:gd name="T52" fmla="*/ 14 w 46"/>
                  <a:gd name="T53" fmla="*/ 27 h 34"/>
                  <a:gd name="T54" fmla="*/ 21 w 46"/>
                  <a:gd name="T55" fmla="*/ 27 h 34"/>
                  <a:gd name="T56" fmla="*/ 25 w 46"/>
                  <a:gd name="T57" fmla="*/ 27 h 34"/>
                  <a:gd name="T58" fmla="*/ 31 w 46"/>
                  <a:gd name="T59" fmla="*/ 27 h 34"/>
                  <a:gd name="T60" fmla="*/ 35 w 46"/>
                  <a:gd name="T61" fmla="*/ 25 h 34"/>
                  <a:gd name="T62" fmla="*/ 31 w 46"/>
                  <a:gd name="T63" fmla="*/ 19 h 34"/>
                  <a:gd name="T64" fmla="*/ 29 w 46"/>
                  <a:gd name="T65" fmla="*/ 17 h 34"/>
                  <a:gd name="T66" fmla="*/ 29 w 46"/>
                  <a:gd name="T67" fmla="*/ 15 h 34"/>
                  <a:gd name="T68" fmla="*/ 29 w 46"/>
                  <a:gd name="T69" fmla="*/ 11 h 34"/>
                  <a:gd name="T70" fmla="*/ 27 w 46"/>
                  <a:gd name="T71" fmla="*/ 9 h 34"/>
                  <a:gd name="T72" fmla="*/ 23 w 46"/>
                  <a:gd name="T73" fmla="*/ 7 h 34"/>
                  <a:gd name="T74" fmla="*/ 18 w 46"/>
                  <a:gd name="T75" fmla="*/ 7 h 34"/>
                  <a:gd name="T76" fmla="*/ 18 w 46"/>
                  <a:gd name="T77" fmla="*/ 4 h 34"/>
                  <a:gd name="T78" fmla="*/ 23 w 46"/>
                  <a:gd name="T79" fmla="*/ 4 h 34"/>
                  <a:gd name="T80" fmla="*/ 29 w 46"/>
                  <a:gd name="T81" fmla="*/ 4 h 34"/>
                  <a:gd name="T82" fmla="*/ 33 w 46"/>
                  <a:gd name="T83" fmla="*/ 6 h 34"/>
                  <a:gd name="T84" fmla="*/ 37 w 46"/>
                  <a:gd name="T85" fmla="*/ 6 h 34"/>
                  <a:gd name="T86" fmla="*/ 38 w 46"/>
                  <a:gd name="T87" fmla="*/ 6 h 34"/>
                  <a:gd name="T88" fmla="*/ 38 w 46"/>
                  <a:gd name="T89" fmla="*/ 7 h 34"/>
                  <a:gd name="T90" fmla="*/ 40 w 46"/>
                  <a:gd name="T91" fmla="*/ 7 h 34"/>
                  <a:gd name="T92" fmla="*/ 42 w 46"/>
                  <a:gd name="T93" fmla="*/ 7 h 34"/>
                  <a:gd name="T94" fmla="*/ 42 w 46"/>
                  <a:gd name="T95" fmla="*/ 6 h 34"/>
                  <a:gd name="T96" fmla="*/ 23 w 46"/>
                  <a:gd name="T97" fmla="*/ 19 h 34"/>
                  <a:gd name="T98" fmla="*/ 27 w 46"/>
                  <a:gd name="T99" fmla="*/ 23 h 34"/>
                  <a:gd name="T100" fmla="*/ 21 w 46"/>
                  <a:gd name="T101" fmla="*/ 21 h 34"/>
                  <a:gd name="T102" fmla="*/ 21 w 46"/>
                  <a:gd name="T103" fmla="*/ 19 h 34"/>
                  <a:gd name="T104" fmla="*/ 31 w 46"/>
                  <a:gd name="T105" fmla="*/ 2 h 34"/>
                  <a:gd name="T106" fmla="*/ 27 w 46"/>
                  <a:gd name="T107" fmla="*/ 0 h 34"/>
                  <a:gd name="T108" fmla="*/ 12 w 46"/>
                  <a:gd name="T109" fmla="*/ 25 h 34"/>
                  <a:gd name="T110" fmla="*/ 14 w 46"/>
                  <a:gd name="T1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6" h="34">
                    <a:moveTo>
                      <a:pt x="44" y="7"/>
                    </a:moveTo>
                    <a:lnTo>
                      <a:pt x="44" y="9"/>
                    </a:lnTo>
                    <a:lnTo>
                      <a:pt x="46" y="9"/>
                    </a:lnTo>
                    <a:lnTo>
                      <a:pt x="46" y="11"/>
                    </a:lnTo>
                    <a:lnTo>
                      <a:pt x="46" y="13"/>
                    </a:lnTo>
                    <a:lnTo>
                      <a:pt x="44" y="11"/>
                    </a:lnTo>
                    <a:lnTo>
                      <a:pt x="44" y="13"/>
                    </a:lnTo>
                    <a:lnTo>
                      <a:pt x="46" y="15"/>
                    </a:lnTo>
                    <a:lnTo>
                      <a:pt x="46" y="17"/>
                    </a:lnTo>
                    <a:lnTo>
                      <a:pt x="44" y="17"/>
                    </a:lnTo>
                    <a:lnTo>
                      <a:pt x="46" y="17"/>
                    </a:lnTo>
                    <a:lnTo>
                      <a:pt x="44" y="17"/>
                    </a:lnTo>
                    <a:lnTo>
                      <a:pt x="44" y="19"/>
                    </a:lnTo>
                    <a:lnTo>
                      <a:pt x="42" y="19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4" y="25"/>
                    </a:lnTo>
                    <a:lnTo>
                      <a:pt x="42" y="25"/>
                    </a:lnTo>
                    <a:lnTo>
                      <a:pt x="40" y="25"/>
                    </a:lnTo>
                    <a:lnTo>
                      <a:pt x="40" y="27"/>
                    </a:lnTo>
                    <a:lnTo>
                      <a:pt x="42" y="27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6" y="30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2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37" y="32"/>
                    </a:lnTo>
                    <a:lnTo>
                      <a:pt x="35" y="30"/>
                    </a:lnTo>
                    <a:lnTo>
                      <a:pt x="33" y="32"/>
                    </a:lnTo>
                    <a:lnTo>
                      <a:pt x="31" y="32"/>
                    </a:lnTo>
                    <a:lnTo>
                      <a:pt x="33" y="32"/>
                    </a:lnTo>
                    <a:lnTo>
                      <a:pt x="31" y="32"/>
                    </a:lnTo>
                    <a:lnTo>
                      <a:pt x="29" y="32"/>
                    </a:lnTo>
                    <a:lnTo>
                      <a:pt x="27" y="32"/>
                    </a:lnTo>
                    <a:lnTo>
                      <a:pt x="25" y="32"/>
                    </a:lnTo>
                    <a:lnTo>
                      <a:pt x="23" y="32"/>
                    </a:lnTo>
                    <a:lnTo>
                      <a:pt x="21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0" y="28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4" y="27"/>
                    </a:lnTo>
                    <a:lnTo>
                      <a:pt x="14" y="25"/>
                    </a:lnTo>
                    <a:lnTo>
                      <a:pt x="16" y="25"/>
                    </a:lnTo>
                    <a:lnTo>
                      <a:pt x="16" y="27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8" y="27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7" y="28"/>
                    </a:lnTo>
                    <a:lnTo>
                      <a:pt x="29" y="28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31" y="19"/>
                    </a:lnTo>
                    <a:lnTo>
                      <a:pt x="29" y="19"/>
                    </a:lnTo>
                    <a:lnTo>
                      <a:pt x="27" y="17"/>
                    </a:lnTo>
                    <a:lnTo>
                      <a:pt x="29" y="17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9" y="13"/>
                    </a:lnTo>
                    <a:lnTo>
                      <a:pt x="29" y="11"/>
                    </a:lnTo>
                    <a:lnTo>
                      <a:pt x="29" y="13"/>
                    </a:lnTo>
                    <a:lnTo>
                      <a:pt x="29" y="11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5" y="7"/>
                    </a:lnTo>
                    <a:lnTo>
                      <a:pt x="23" y="7"/>
                    </a:lnTo>
                    <a:lnTo>
                      <a:pt x="21" y="7"/>
                    </a:lnTo>
                    <a:lnTo>
                      <a:pt x="19" y="7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9" y="4"/>
                    </a:lnTo>
                    <a:lnTo>
                      <a:pt x="18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9" y="2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3" y="4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38" y="6"/>
                    </a:lnTo>
                    <a:lnTo>
                      <a:pt x="38" y="7"/>
                    </a:lnTo>
                    <a:lnTo>
                      <a:pt x="40" y="6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0" y="6"/>
                    </a:lnTo>
                    <a:lnTo>
                      <a:pt x="40" y="7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7"/>
                    </a:lnTo>
                    <a:lnTo>
                      <a:pt x="44" y="7"/>
                    </a:lnTo>
                    <a:lnTo>
                      <a:pt x="42" y="7"/>
                    </a:lnTo>
                    <a:lnTo>
                      <a:pt x="42" y="6"/>
                    </a:lnTo>
                    <a:lnTo>
                      <a:pt x="44" y="7"/>
                    </a:lnTo>
                    <a:close/>
                    <a:moveTo>
                      <a:pt x="21" y="19"/>
                    </a:moveTo>
                    <a:lnTo>
                      <a:pt x="23" y="19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21" y="19"/>
                    </a:lnTo>
                    <a:close/>
                    <a:moveTo>
                      <a:pt x="27" y="0"/>
                    </a:moveTo>
                    <a:lnTo>
                      <a:pt x="29" y="2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27" y="0"/>
                    </a:lnTo>
                    <a:close/>
                    <a:moveTo>
                      <a:pt x="12" y="25"/>
                    </a:moveTo>
                    <a:lnTo>
                      <a:pt x="14" y="25"/>
                    </a:lnTo>
                    <a:lnTo>
                      <a:pt x="12" y="25"/>
                    </a:lnTo>
                    <a:close/>
                    <a:moveTo>
                      <a:pt x="14" y="34"/>
                    </a:moveTo>
                    <a:lnTo>
                      <a:pt x="16" y="34"/>
                    </a:lnTo>
                    <a:lnTo>
                      <a:pt x="14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8" name="Freeform 65">
                <a:extLst>
                  <a:ext uri="{FF2B5EF4-FFF2-40B4-BE49-F238E27FC236}">
                    <a16:creationId xmlns:a16="http://schemas.microsoft.com/office/drawing/2014/main" id="{083C2E69-64F2-ACE1-9EB5-9ACF0383092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129663" y="-2381741"/>
                <a:ext cx="55146" cy="20521"/>
              </a:xfrm>
              <a:custGeom>
                <a:avLst/>
                <a:gdLst>
                  <a:gd name="T0" fmla="*/ 8 w 35"/>
                  <a:gd name="T1" fmla="*/ 0 h 13"/>
                  <a:gd name="T2" fmla="*/ 10 w 35"/>
                  <a:gd name="T3" fmla="*/ 0 h 13"/>
                  <a:gd name="T4" fmla="*/ 12 w 35"/>
                  <a:gd name="T5" fmla="*/ 0 h 13"/>
                  <a:gd name="T6" fmla="*/ 14 w 35"/>
                  <a:gd name="T7" fmla="*/ 0 h 13"/>
                  <a:gd name="T8" fmla="*/ 16 w 35"/>
                  <a:gd name="T9" fmla="*/ 0 h 13"/>
                  <a:gd name="T10" fmla="*/ 17 w 35"/>
                  <a:gd name="T11" fmla="*/ 0 h 13"/>
                  <a:gd name="T12" fmla="*/ 19 w 35"/>
                  <a:gd name="T13" fmla="*/ 1 h 13"/>
                  <a:gd name="T14" fmla="*/ 21 w 35"/>
                  <a:gd name="T15" fmla="*/ 1 h 13"/>
                  <a:gd name="T16" fmla="*/ 23 w 35"/>
                  <a:gd name="T17" fmla="*/ 1 h 13"/>
                  <a:gd name="T18" fmla="*/ 25 w 35"/>
                  <a:gd name="T19" fmla="*/ 3 h 13"/>
                  <a:gd name="T20" fmla="*/ 27 w 35"/>
                  <a:gd name="T21" fmla="*/ 3 h 13"/>
                  <a:gd name="T22" fmla="*/ 27 w 35"/>
                  <a:gd name="T23" fmla="*/ 5 h 13"/>
                  <a:gd name="T24" fmla="*/ 29 w 35"/>
                  <a:gd name="T25" fmla="*/ 3 h 13"/>
                  <a:gd name="T26" fmla="*/ 29 w 35"/>
                  <a:gd name="T27" fmla="*/ 5 h 13"/>
                  <a:gd name="T28" fmla="*/ 31 w 35"/>
                  <a:gd name="T29" fmla="*/ 5 h 13"/>
                  <a:gd name="T30" fmla="*/ 33 w 35"/>
                  <a:gd name="T31" fmla="*/ 5 h 13"/>
                  <a:gd name="T32" fmla="*/ 33 w 35"/>
                  <a:gd name="T33" fmla="*/ 7 h 13"/>
                  <a:gd name="T34" fmla="*/ 35 w 35"/>
                  <a:gd name="T35" fmla="*/ 9 h 13"/>
                  <a:gd name="T36" fmla="*/ 33 w 35"/>
                  <a:gd name="T37" fmla="*/ 11 h 13"/>
                  <a:gd name="T38" fmla="*/ 33 w 35"/>
                  <a:gd name="T39" fmla="*/ 9 h 13"/>
                  <a:gd name="T40" fmla="*/ 33 w 35"/>
                  <a:gd name="T41" fmla="*/ 11 h 13"/>
                  <a:gd name="T42" fmla="*/ 31 w 35"/>
                  <a:gd name="T43" fmla="*/ 11 h 13"/>
                  <a:gd name="T44" fmla="*/ 29 w 35"/>
                  <a:gd name="T45" fmla="*/ 11 h 13"/>
                  <a:gd name="T46" fmla="*/ 27 w 35"/>
                  <a:gd name="T47" fmla="*/ 9 h 13"/>
                  <a:gd name="T48" fmla="*/ 25 w 35"/>
                  <a:gd name="T49" fmla="*/ 9 h 13"/>
                  <a:gd name="T50" fmla="*/ 27 w 35"/>
                  <a:gd name="T51" fmla="*/ 9 h 13"/>
                  <a:gd name="T52" fmla="*/ 25 w 35"/>
                  <a:gd name="T53" fmla="*/ 9 h 13"/>
                  <a:gd name="T54" fmla="*/ 25 w 35"/>
                  <a:gd name="T55" fmla="*/ 7 h 13"/>
                  <a:gd name="T56" fmla="*/ 25 w 35"/>
                  <a:gd name="T57" fmla="*/ 9 h 13"/>
                  <a:gd name="T58" fmla="*/ 23 w 35"/>
                  <a:gd name="T59" fmla="*/ 9 h 13"/>
                  <a:gd name="T60" fmla="*/ 25 w 35"/>
                  <a:gd name="T61" fmla="*/ 9 h 13"/>
                  <a:gd name="T62" fmla="*/ 23 w 35"/>
                  <a:gd name="T63" fmla="*/ 9 h 13"/>
                  <a:gd name="T64" fmla="*/ 23 w 35"/>
                  <a:gd name="T65" fmla="*/ 11 h 13"/>
                  <a:gd name="T66" fmla="*/ 21 w 35"/>
                  <a:gd name="T67" fmla="*/ 11 h 13"/>
                  <a:gd name="T68" fmla="*/ 21 w 35"/>
                  <a:gd name="T69" fmla="*/ 9 h 13"/>
                  <a:gd name="T70" fmla="*/ 19 w 35"/>
                  <a:gd name="T71" fmla="*/ 9 h 13"/>
                  <a:gd name="T72" fmla="*/ 19 w 35"/>
                  <a:gd name="T73" fmla="*/ 11 h 13"/>
                  <a:gd name="T74" fmla="*/ 19 w 35"/>
                  <a:gd name="T75" fmla="*/ 13 h 13"/>
                  <a:gd name="T76" fmla="*/ 17 w 35"/>
                  <a:gd name="T77" fmla="*/ 13 h 13"/>
                  <a:gd name="T78" fmla="*/ 17 w 35"/>
                  <a:gd name="T79" fmla="*/ 11 h 13"/>
                  <a:gd name="T80" fmla="*/ 16 w 35"/>
                  <a:gd name="T81" fmla="*/ 11 h 13"/>
                  <a:gd name="T82" fmla="*/ 14 w 35"/>
                  <a:gd name="T83" fmla="*/ 11 h 13"/>
                  <a:gd name="T84" fmla="*/ 10 w 35"/>
                  <a:gd name="T85" fmla="*/ 11 h 13"/>
                  <a:gd name="T86" fmla="*/ 10 w 35"/>
                  <a:gd name="T87" fmla="*/ 9 h 13"/>
                  <a:gd name="T88" fmla="*/ 8 w 35"/>
                  <a:gd name="T89" fmla="*/ 9 h 13"/>
                  <a:gd name="T90" fmla="*/ 8 w 35"/>
                  <a:gd name="T91" fmla="*/ 7 h 13"/>
                  <a:gd name="T92" fmla="*/ 6 w 35"/>
                  <a:gd name="T93" fmla="*/ 7 h 13"/>
                  <a:gd name="T94" fmla="*/ 6 w 35"/>
                  <a:gd name="T95" fmla="*/ 5 h 13"/>
                  <a:gd name="T96" fmla="*/ 4 w 35"/>
                  <a:gd name="T97" fmla="*/ 5 h 13"/>
                  <a:gd name="T98" fmla="*/ 2 w 35"/>
                  <a:gd name="T99" fmla="*/ 5 h 13"/>
                  <a:gd name="T100" fmla="*/ 0 w 35"/>
                  <a:gd name="T101" fmla="*/ 3 h 13"/>
                  <a:gd name="T102" fmla="*/ 0 w 35"/>
                  <a:gd name="T103" fmla="*/ 1 h 13"/>
                  <a:gd name="T104" fmla="*/ 2 w 35"/>
                  <a:gd name="T105" fmla="*/ 1 h 13"/>
                  <a:gd name="T106" fmla="*/ 4 w 35"/>
                  <a:gd name="T107" fmla="*/ 1 h 13"/>
                  <a:gd name="T108" fmla="*/ 4 w 35"/>
                  <a:gd name="T109" fmla="*/ 0 h 13"/>
                  <a:gd name="T110" fmla="*/ 4 w 35"/>
                  <a:gd name="T111" fmla="*/ 1 h 13"/>
                  <a:gd name="T112" fmla="*/ 6 w 35"/>
                  <a:gd name="T113" fmla="*/ 0 h 13"/>
                  <a:gd name="T114" fmla="*/ 8 w 35"/>
                  <a:gd name="T115" fmla="*/ 1 h 13"/>
                  <a:gd name="T116" fmla="*/ 6 w 35"/>
                  <a:gd name="T117" fmla="*/ 1 h 13"/>
                  <a:gd name="T118" fmla="*/ 8 w 35"/>
                  <a:gd name="T119" fmla="*/ 0 h 13"/>
                  <a:gd name="T120" fmla="*/ 21 w 35"/>
                  <a:gd name="T121" fmla="*/ 9 h 13"/>
                  <a:gd name="T122" fmla="*/ 21 w 35"/>
                  <a:gd name="T123" fmla="*/ 11 h 13"/>
                  <a:gd name="T124" fmla="*/ 21 w 35"/>
                  <a:gd name="T125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" h="13">
                    <a:moveTo>
                      <a:pt x="8" y="0"/>
                    </a:move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9" y="1"/>
                    </a:lnTo>
                    <a:lnTo>
                      <a:pt x="21" y="1"/>
                    </a:lnTo>
                    <a:lnTo>
                      <a:pt x="23" y="1"/>
                    </a:lnTo>
                    <a:lnTo>
                      <a:pt x="25" y="3"/>
                    </a:lnTo>
                    <a:lnTo>
                      <a:pt x="27" y="3"/>
                    </a:lnTo>
                    <a:lnTo>
                      <a:pt x="27" y="5"/>
                    </a:lnTo>
                    <a:lnTo>
                      <a:pt x="29" y="3"/>
                    </a:lnTo>
                    <a:lnTo>
                      <a:pt x="29" y="5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3" y="7"/>
                    </a:lnTo>
                    <a:lnTo>
                      <a:pt x="35" y="9"/>
                    </a:lnTo>
                    <a:lnTo>
                      <a:pt x="33" y="11"/>
                    </a:lnTo>
                    <a:lnTo>
                      <a:pt x="33" y="9"/>
                    </a:lnTo>
                    <a:lnTo>
                      <a:pt x="33" y="11"/>
                    </a:lnTo>
                    <a:lnTo>
                      <a:pt x="31" y="11"/>
                    </a:lnTo>
                    <a:lnTo>
                      <a:pt x="29" y="11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25" y="9"/>
                    </a:lnTo>
                    <a:lnTo>
                      <a:pt x="25" y="7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19" y="13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6" y="11"/>
                    </a:lnTo>
                    <a:lnTo>
                      <a:pt x="14" y="11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8" y="0"/>
                    </a:lnTo>
                    <a:close/>
                    <a:moveTo>
                      <a:pt x="21" y="9"/>
                    </a:moveTo>
                    <a:lnTo>
                      <a:pt x="21" y="11"/>
                    </a:lnTo>
                    <a:lnTo>
                      <a:pt x="21" y="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9" name="Freeform 66">
                <a:extLst>
                  <a:ext uri="{FF2B5EF4-FFF2-40B4-BE49-F238E27FC236}">
                    <a16:creationId xmlns:a16="http://schemas.microsoft.com/office/drawing/2014/main" id="{CA56FB0A-4B13-B942-7090-F730261485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964229" y="-2512758"/>
                <a:ext cx="271001" cy="94711"/>
              </a:xfrm>
              <a:custGeom>
                <a:avLst/>
                <a:gdLst>
                  <a:gd name="T0" fmla="*/ 115 w 172"/>
                  <a:gd name="T1" fmla="*/ 23 h 60"/>
                  <a:gd name="T2" fmla="*/ 130 w 172"/>
                  <a:gd name="T3" fmla="*/ 33 h 60"/>
                  <a:gd name="T4" fmla="*/ 147 w 172"/>
                  <a:gd name="T5" fmla="*/ 39 h 60"/>
                  <a:gd name="T6" fmla="*/ 161 w 172"/>
                  <a:gd name="T7" fmla="*/ 46 h 60"/>
                  <a:gd name="T8" fmla="*/ 166 w 172"/>
                  <a:gd name="T9" fmla="*/ 56 h 60"/>
                  <a:gd name="T10" fmla="*/ 145 w 172"/>
                  <a:gd name="T11" fmla="*/ 58 h 60"/>
                  <a:gd name="T12" fmla="*/ 121 w 172"/>
                  <a:gd name="T13" fmla="*/ 60 h 60"/>
                  <a:gd name="T14" fmla="*/ 124 w 172"/>
                  <a:gd name="T15" fmla="*/ 50 h 60"/>
                  <a:gd name="T16" fmla="*/ 111 w 172"/>
                  <a:gd name="T17" fmla="*/ 44 h 60"/>
                  <a:gd name="T18" fmla="*/ 102 w 172"/>
                  <a:gd name="T19" fmla="*/ 31 h 60"/>
                  <a:gd name="T20" fmla="*/ 82 w 172"/>
                  <a:gd name="T21" fmla="*/ 29 h 60"/>
                  <a:gd name="T22" fmla="*/ 71 w 172"/>
                  <a:gd name="T23" fmla="*/ 21 h 60"/>
                  <a:gd name="T24" fmla="*/ 56 w 172"/>
                  <a:gd name="T25" fmla="*/ 21 h 60"/>
                  <a:gd name="T26" fmla="*/ 50 w 172"/>
                  <a:gd name="T27" fmla="*/ 20 h 60"/>
                  <a:gd name="T28" fmla="*/ 46 w 172"/>
                  <a:gd name="T29" fmla="*/ 12 h 60"/>
                  <a:gd name="T30" fmla="*/ 25 w 172"/>
                  <a:gd name="T31" fmla="*/ 20 h 60"/>
                  <a:gd name="T32" fmla="*/ 8 w 172"/>
                  <a:gd name="T33" fmla="*/ 25 h 60"/>
                  <a:gd name="T34" fmla="*/ 12 w 172"/>
                  <a:gd name="T35" fmla="*/ 23 h 60"/>
                  <a:gd name="T36" fmla="*/ 14 w 172"/>
                  <a:gd name="T37" fmla="*/ 12 h 60"/>
                  <a:gd name="T38" fmla="*/ 27 w 172"/>
                  <a:gd name="T39" fmla="*/ 6 h 60"/>
                  <a:gd name="T40" fmla="*/ 54 w 172"/>
                  <a:gd name="T41" fmla="*/ 4 h 60"/>
                  <a:gd name="T42" fmla="*/ 65 w 172"/>
                  <a:gd name="T43" fmla="*/ 4 h 60"/>
                  <a:gd name="T44" fmla="*/ 79 w 172"/>
                  <a:gd name="T45" fmla="*/ 6 h 60"/>
                  <a:gd name="T46" fmla="*/ 86 w 172"/>
                  <a:gd name="T47" fmla="*/ 14 h 60"/>
                  <a:gd name="T48" fmla="*/ 102 w 172"/>
                  <a:gd name="T49" fmla="*/ 18 h 60"/>
                  <a:gd name="T50" fmla="*/ 31 w 172"/>
                  <a:gd name="T51" fmla="*/ 33 h 60"/>
                  <a:gd name="T52" fmla="*/ 33 w 172"/>
                  <a:gd name="T53" fmla="*/ 25 h 60"/>
                  <a:gd name="T54" fmla="*/ 115 w 172"/>
                  <a:gd name="T55" fmla="*/ 21 h 60"/>
                  <a:gd name="T56" fmla="*/ 115 w 172"/>
                  <a:gd name="T57" fmla="*/ 25 h 60"/>
                  <a:gd name="T58" fmla="*/ 111 w 172"/>
                  <a:gd name="T59" fmla="*/ 20 h 60"/>
                  <a:gd name="T60" fmla="*/ 107 w 172"/>
                  <a:gd name="T61" fmla="*/ 16 h 60"/>
                  <a:gd name="T62" fmla="*/ 102 w 172"/>
                  <a:gd name="T63" fmla="*/ 14 h 60"/>
                  <a:gd name="T64" fmla="*/ 90 w 172"/>
                  <a:gd name="T65" fmla="*/ 14 h 60"/>
                  <a:gd name="T66" fmla="*/ 73 w 172"/>
                  <a:gd name="T67" fmla="*/ 6 h 60"/>
                  <a:gd name="T68" fmla="*/ 75 w 172"/>
                  <a:gd name="T69" fmla="*/ 4 h 60"/>
                  <a:gd name="T70" fmla="*/ 54 w 172"/>
                  <a:gd name="T71" fmla="*/ 29 h 60"/>
                  <a:gd name="T72" fmla="*/ 88 w 172"/>
                  <a:gd name="T73" fmla="*/ 39 h 60"/>
                  <a:gd name="T74" fmla="*/ 63 w 172"/>
                  <a:gd name="T75" fmla="*/ 0 h 60"/>
                  <a:gd name="T76" fmla="*/ 48 w 172"/>
                  <a:gd name="T77" fmla="*/ 29 h 60"/>
                  <a:gd name="T78" fmla="*/ 39 w 172"/>
                  <a:gd name="T79" fmla="*/ 12 h 60"/>
                  <a:gd name="T80" fmla="*/ 54 w 172"/>
                  <a:gd name="T81" fmla="*/ 20 h 60"/>
                  <a:gd name="T82" fmla="*/ 8 w 172"/>
                  <a:gd name="T83" fmla="*/ 18 h 60"/>
                  <a:gd name="T84" fmla="*/ 25 w 172"/>
                  <a:gd name="T85" fmla="*/ 25 h 60"/>
                  <a:gd name="T86" fmla="*/ 21 w 172"/>
                  <a:gd name="T87" fmla="*/ 23 h 60"/>
                  <a:gd name="T88" fmla="*/ 111 w 172"/>
                  <a:gd name="T89" fmla="*/ 18 h 60"/>
                  <a:gd name="T90" fmla="*/ 65 w 172"/>
                  <a:gd name="T91" fmla="*/ 2 h 60"/>
                  <a:gd name="T92" fmla="*/ 37 w 172"/>
                  <a:gd name="T93" fmla="*/ 25 h 60"/>
                  <a:gd name="T94" fmla="*/ 77 w 172"/>
                  <a:gd name="T95" fmla="*/ 6 h 60"/>
                  <a:gd name="T96" fmla="*/ 67 w 172"/>
                  <a:gd name="T97" fmla="*/ 2 h 60"/>
                  <a:gd name="T98" fmla="*/ 98 w 172"/>
                  <a:gd name="T99" fmla="*/ 44 h 60"/>
                  <a:gd name="T100" fmla="*/ 115 w 172"/>
                  <a:gd name="T101" fmla="*/ 25 h 60"/>
                  <a:gd name="T102" fmla="*/ 117 w 172"/>
                  <a:gd name="T103" fmla="*/ 25 h 60"/>
                  <a:gd name="T104" fmla="*/ 67 w 172"/>
                  <a:gd name="T105" fmla="*/ 4 h 60"/>
                  <a:gd name="T106" fmla="*/ 69 w 172"/>
                  <a:gd name="T107" fmla="*/ 4 h 60"/>
                  <a:gd name="T108" fmla="*/ 35 w 172"/>
                  <a:gd name="T109" fmla="*/ 18 h 60"/>
                  <a:gd name="T110" fmla="*/ 111 w 172"/>
                  <a:gd name="T111" fmla="*/ 16 h 60"/>
                  <a:gd name="T112" fmla="*/ 109 w 172"/>
                  <a:gd name="T113" fmla="*/ 21 h 60"/>
                  <a:gd name="T114" fmla="*/ 107 w 172"/>
                  <a:gd name="T115" fmla="*/ 21 h 60"/>
                  <a:gd name="T116" fmla="*/ 122 w 172"/>
                  <a:gd name="T117" fmla="*/ 5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2" h="60">
                    <a:moveTo>
                      <a:pt x="105" y="20"/>
                    </a:moveTo>
                    <a:lnTo>
                      <a:pt x="105" y="21"/>
                    </a:lnTo>
                    <a:lnTo>
                      <a:pt x="105" y="20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7" y="20"/>
                    </a:lnTo>
                    <a:lnTo>
                      <a:pt x="107" y="21"/>
                    </a:lnTo>
                    <a:lnTo>
                      <a:pt x="109" y="21"/>
                    </a:lnTo>
                    <a:lnTo>
                      <a:pt x="111" y="21"/>
                    </a:lnTo>
                    <a:lnTo>
                      <a:pt x="111" y="23"/>
                    </a:lnTo>
                    <a:lnTo>
                      <a:pt x="113" y="25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5" y="27"/>
                    </a:lnTo>
                    <a:lnTo>
                      <a:pt x="119" y="27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4" y="29"/>
                    </a:lnTo>
                    <a:lnTo>
                      <a:pt x="124" y="31"/>
                    </a:lnTo>
                    <a:lnTo>
                      <a:pt x="126" y="31"/>
                    </a:lnTo>
                    <a:lnTo>
                      <a:pt x="128" y="33"/>
                    </a:lnTo>
                    <a:lnTo>
                      <a:pt x="130" y="33"/>
                    </a:lnTo>
                    <a:lnTo>
                      <a:pt x="130" y="35"/>
                    </a:lnTo>
                    <a:lnTo>
                      <a:pt x="130" y="33"/>
                    </a:lnTo>
                    <a:lnTo>
                      <a:pt x="130" y="35"/>
                    </a:lnTo>
                    <a:lnTo>
                      <a:pt x="132" y="35"/>
                    </a:lnTo>
                    <a:lnTo>
                      <a:pt x="134" y="35"/>
                    </a:lnTo>
                    <a:lnTo>
                      <a:pt x="134" y="37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6" y="37"/>
                    </a:lnTo>
                    <a:lnTo>
                      <a:pt x="138" y="37"/>
                    </a:lnTo>
                    <a:lnTo>
                      <a:pt x="140" y="37"/>
                    </a:lnTo>
                    <a:lnTo>
                      <a:pt x="142" y="39"/>
                    </a:lnTo>
                    <a:lnTo>
                      <a:pt x="143" y="39"/>
                    </a:lnTo>
                    <a:lnTo>
                      <a:pt x="145" y="39"/>
                    </a:lnTo>
                    <a:lnTo>
                      <a:pt x="147" y="39"/>
                    </a:lnTo>
                    <a:lnTo>
                      <a:pt x="149" y="39"/>
                    </a:lnTo>
                    <a:lnTo>
                      <a:pt x="149" y="41"/>
                    </a:lnTo>
                    <a:lnTo>
                      <a:pt x="149" y="42"/>
                    </a:lnTo>
                    <a:lnTo>
                      <a:pt x="147" y="42"/>
                    </a:lnTo>
                    <a:lnTo>
                      <a:pt x="149" y="42"/>
                    </a:lnTo>
                    <a:lnTo>
                      <a:pt x="149" y="44"/>
                    </a:lnTo>
                    <a:lnTo>
                      <a:pt x="151" y="44"/>
                    </a:lnTo>
                    <a:lnTo>
                      <a:pt x="153" y="44"/>
                    </a:lnTo>
                    <a:lnTo>
                      <a:pt x="153" y="46"/>
                    </a:lnTo>
                    <a:lnTo>
                      <a:pt x="155" y="44"/>
                    </a:lnTo>
                    <a:lnTo>
                      <a:pt x="157" y="46"/>
                    </a:lnTo>
                    <a:lnTo>
                      <a:pt x="159" y="46"/>
                    </a:lnTo>
                    <a:lnTo>
                      <a:pt x="161" y="46"/>
                    </a:lnTo>
                    <a:lnTo>
                      <a:pt x="163" y="46"/>
                    </a:lnTo>
                    <a:lnTo>
                      <a:pt x="163" y="48"/>
                    </a:lnTo>
                    <a:lnTo>
                      <a:pt x="164" y="48"/>
                    </a:lnTo>
                    <a:lnTo>
                      <a:pt x="164" y="50"/>
                    </a:lnTo>
                    <a:lnTo>
                      <a:pt x="166" y="50"/>
                    </a:lnTo>
                    <a:lnTo>
                      <a:pt x="166" y="52"/>
                    </a:lnTo>
                    <a:lnTo>
                      <a:pt x="168" y="52"/>
                    </a:lnTo>
                    <a:lnTo>
                      <a:pt x="170" y="52"/>
                    </a:lnTo>
                    <a:lnTo>
                      <a:pt x="172" y="52"/>
                    </a:lnTo>
                    <a:lnTo>
                      <a:pt x="172" y="54"/>
                    </a:lnTo>
                    <a:lnTo>
                      <a:pt x="170" y="56"/>
                    </a:lnTo>
                    <a:lnTo>
                      <a:pt x="168" y="56"/>
                    </a:lnTo>
                    <a:lnTo>
                      <a:pt x="166" y="56"/>
                    </a:lnTo>
                    <a:lnTo>
                      <a:pt x="163" y="56"/>
                    </a:lnTo>
                    <a:lnTo>
                      <a:pt x="163" y="58"/>
                    </a:lnTo>
                    <a:lnTo>
                      <a:pt x="161" y="58"/>
                    </a:lnTo>
                    <a:lnTo>
                      <a:pt x="159" y="58"/>
                    </a:lnTo>
                    <a:lnTo>
                      <a:pt x="159" y="60"/>
                    </a:lnTo>
                    <a:lnTo>
                      <a:pt x="157" y="60"/>
                    </a:lnTo>
                    <a:lnTo>
                      <a:pt x="157" y="58"/>
                    </a:lnTo>
                    <a:lnTo>
                      <a:pt x="155" y="60"/>
                    </a:lnTo>
                    <a:lnTo>
                      <a:pt x="153" y="60"/>
                    </a:lnTo>
                    <a:lnTo>
                      <a:pt x="151" y="60"/>
                    </a:lnTo>
                    <a:lnTo>
                      <a:pt x="149" y="60"/>
                    </a:lnTo>
                    <a:lnTo>
                      <a:pt x="147" y="58"/>
                    </a:lnTo>
                    <a:lnTo>
                      <a:pt x="145" y="58"/>
                    </a:lnTo>
                    <a:lnTo>
                      <a:pt x="143" y="58"/>
                    </a:lnTo>
                    <a:lnTo>
                      <a:pt x="140" y="58"/>
                    </a:lnTo>
                    <a:lnTo>
                      <a:pt x="138" y="58"/>
                    </a:lnTo>
                    <a:lnTo>
                      <a:pt x="136" y="58"/>
                    </a:lnTo>
                    <a:lnTo>
                      <a:pt x="134" y="58"/>
                    </a:lnTo>
                    <a:lnTo>
                      <a:pt x="132" y="58"/>
                    </a:lnTo>
                    <a:lnTo>
                      <a:pt x="130" y="58"/>
                    </a:lnTo>
                    <a:lnTo>
                      <a:pt x="128" y="58"/>
                    </a:lnTo>
                    <a:lnTo>
                      <a:pt x="128" y="60"/>
                    </a:lnTo>
                    <a:lnTo>
                      <a:pt x="126" y="60"/>
                    </a:lnTo>
                    <a:lnTo>
                      <a:pt x="124" y="60"/>
                    </a:lnTo>
                    <a:lnTo>
                      <a:pt x="122" y="60"/>
                    </a:lnTo>
                    <a:lnTo>
                      <a:pt x="121" y="60"/>
                    </a:lnTo>
                    <a:lnTo>
                      <a:pt x="119" y="60"/>
                    </a:lnTo>
                    <a:lnTo>
                      <a:pt x="117" y="60"/>
                    </a:lnTo>
                    <a:lnTo>
                      <a:pt x="115" y="60"/>
                    </a:lnTo>
                    <a:lnTo>
                      <a:pt x="117" y="58"/>
                    </a:lnTo>
                    <a:lnTo>
                      <a:pt x="117" y="56"/>
                    </a:lnTo>
                    <a:lnTo>
                      <a:pt x="119" y="56"/>
                    </a:lnTo>
                    <a:lnTo>
                      <a:pt x="117" y="56"/>
                    </a:lnTo>
                    <a:lnTo>
                      <a:pt x="119" y="56"/>
                    </a:lnTo>
                    <a:lnTo>
                      <a:pt x="121" y="54"/>
                    </a:lnTo>
                    <a:lnTo>
                      <a:pt x="122" y="54"/>
                    </a:lnTo>
                    <a:lnTo>
                      <a:pt x="122" y="52"/>
                    </a:lnTo>
                    <a:lnTo>
                      <a:pt x="124" y="52"/>
                    </a:lnTo>
                    <a:lnTo>
                      <a:pt x="124" y="50"/>
                    </a:lnTo>
                    <a:lnTo>
                      <a:pt x="126" y="50"/>
                    </a:lnTo>
                    <a:lnTo>
                      <a:pt x="124" y="48"/>
                    </a:lnTo>
                    <a:lnTo>
                      <a:pt x="122" y="48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1" y="46"/>
                    </a:lnTo>
                    <a:lnTo>
                      <a:pt x="119" y="46"/>
                    </a:lnTo>
                    <a:lnTo>
                      <a:pt x="117" y="46"/>
                    </a:lnTo>
                    <a:lnTo>
                      <a:pt x="115" y="46"/>
                    </a:lnTo>
                    <a:lnTo>
                      <a:pt x="113" y="44"/>
                    </a:lnTo>
                    <a:lnTo>
                      <a:pt x="113" y="46"/>
                    </a:lnTo>
                    <a:lnTo>
                      <a:pt x="111" y="46"/>
                    </a:lnTo>
                    <a:lnTo>
                      <a:pt x="111" y="44"/>
                    </a:lnTo>
                    <a:lnTo>
                      <a:pt x="111" y="46"/>
                    </a:lnTo>
                    <a:lnTo>
                      <a:pt x="109" y="44"/>
                    </a:lnTo>
                    <a:lnTo>
                      <a:pt x="107" y="42"/>
                    </a:lnTo>
                    <a:lnTo>
                      <a:pt x="107" y="44"/>
                    </a:lnTo>
                    <a:lnTo>
                      <a:pt x="107" y="42"/>
                    </a:lnTo>
                    <a:lnTo>
                      <a:pt x="105" y="42"/>
                    </a:lnTo>
                    <a:lnTo>
                      <a:pt x="105" y="41"/>
                    </a:lnTo>
                    <a:lnTo>
                      <a:pt x="103" y="41"/>
                    </a:lnTo>
                    <a:lnTo>
                      <a:pt x="103" y="39"/>
                    </a:lnTo>
                    <a:lnTo>
                      <a:pt x="103" y="37"/>
                    </a:lnTo>
                    <a:lnTo>
                      <a:pt x="103" y="35"/>
                    </a:lnTo>
                    <a:lnTo>
                      <a:pt x="102" y="33"/>
                    </a:lnTo>
                    <a:lnTo>
                      <a:pt x="102" y="31"/>
                    </a:lnTo>
                    <a:lnTo>
                      <a:pt x="100" y="31"/>
                    </a:lnTo>
                    <a:lnTo>
                      <a:pt x="100" y="29"/>
                    </a:lnTo>
                    <a:lnTo>
                      <a:pt x="98" y="29"/>
                    </a:lnTo>
                    <a:lnTo>
                      <a:pt x="98" y="31"/>
                    </a:lnTo>
                    <a:lnTo>
                      <a:pt x="94" y="31"/>
                    </a:lnTo>
                    <a:lnTo>
                      <a:pt x="92" y="31"/>
                    </a:lnTo>
                    <a:lnTo>
                      <a:pt x="90" y="31"/>
                    </a:lnTo>
                    <a:lnTo>
                      <a:pt x="88" y="31"/>
                    </a:lnTo>
                    <a:lnTo>
                      <a:pt x="86" y="29"/>
                    </a:lnTo>
                    <a:lnTo>
                      <a:pt x="84" y="29"/>
                    </a:lnTo>
                    <a:lnTo>
                      <a:pt x="82" y="29"/>
                    </a:lnTo>
                    <a:lnTo>
                      <a:pt x="81" y="29"/>
                    </a:lnTo>
                    <a:lnTo>
                      <a:pt x="82" y="29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79" y="27"/>
                    </a:lnTo>
                    <a:lnTo>
                      <a:pt x="81" y="27"/>
                    </a:lnTo>
                    <a:lnTo>
                      <a:pt x="79" y="27"/>
                    </a:lnTo>
                    <a:lnTo>
                      <a:pt x="77" y="27"/>
                    </a:lnTo>
                    <a:lnTo>
                      <a:pt x="75" y="25"/>
                    </a:lnTo>
                    <a:lnTo>
                      <a:pt x="73" y="23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69" y="23"/>
                    </a:lnTo>
                    <a:lnTo>
                      <a:pt x="67" y="21"/>
                    </a:lnTo>
                    <a:lnTo>
                      <a:pt x="65" y="23"/>
                    </a:lnTo>
                    <a:lnTo>
                      <a:pt x="63" y="23"/>
                    </a:lnTo>
                    <a:lnTo>
                      <a:pt x="61" y="21"/>
                    </a:lnTo>
                    <a:lnTo>
                      <a:pt x="61" y="20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20"/>
                    </a:lnTo>
                    <a:lnTo>
                      <a:pt x="60" y="21"/>
                    </a:lnTo>
                    <a:lnTo>
                      <a:pt x="60" y="23"/>
                    </a:lnTo>
                    <a:lnTo>
                      <a:pt x="58" y="23"/>
                    </a:lnTo>
                    <a:lnTo>
                      <a:pt x="56" y="21"/>
                    </a:lnTo>
                    <a:lnTo>
                      <a:pt x="58" y="23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58" y="21"/>
                    </a:lnTo>
                    <a:lnTo>
                      <a:pt x="58" y="20"/>
                    </a:lnTo>
                    <a:lnTo>
                      <a:pt x="56" y="20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54" y="21"/>
                    </a:lnTo>
                    <a:lnTo>
                      <a:pt x="52" y="21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0" y="20"/>
                    </a:lnTo>
                    <a:lnTo>
                      <a:pt x="48" y="20"/>
                    </a:lnTo>
                    <a:lnTo>
                      <a:pt x="46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4" y="14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0" y="12"/>
                    </a:lnTo>
                    <a:lnTo>
                      <a:pt x="46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39" y="12"/>
                    </a:lnTo>
                    <a:lnTo>
                      <a:pt x="37" y="12"/>
                    </a:lnTo>
                    <a:lnTo>
                      <a:pt x="35" y="12"/>
                    </a:lnTo>
                    <a:lnTo>
                      <a:pt x="35" y="14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29" y="18"/>
                    </a:lnTo>
                    <a:lnTo>
                      <a:pt x="27" y="18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3" y="20"/>
                    </a:lnTo>
                    <a:lnTo>
                      <a:pt x="21" y="20"/>
                    </a:lnTo>
                    <a:lnTo>
                      <a:pt x="20" y="21"/>
                    </a:lnTo>
                    <a:lnTo>
                      <a:pt x="20" y="20"/>
                    </a:lnTo>
                    <a:lnTo>
                      <a:pt x="18" y="21"/>
                    </a:lnTo>
                    <a:lnTo>
                      <a:pt x="18" y="20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12" y="25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0" y="23"/>
                    </a:lnTo>
                    <a:lnTo>
                      <a:pt x="10" y="21"/>
                    </a:lnTo>
                    <a:lnTo>
                      <a:pt x="8" y="20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20" y="10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6" y="4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61" y="2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61" y="6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5" y="6"/>
                    </a:lnTo>
                    <a:lnTo>
                      <a:pt x="65" y="4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71" y="6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5" y="8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9" y="8"/>
                    </a:lnTo>
                    <a:lnTo>
                      <a:pt x="79" y="6"/>
                    </a:lnTo>
                    <a:lnTo>
                      <a:pt x="79" y="8"/>
                    </a:lnTo>
                    <a:lnTo>
                      <a:pt x="79" y="6"/>
                    </a:lnTo>
                    <a:lnTo>
                      <a:pt x="79" y="8"/>
                    </a:lnTo>
                    <a:lnTo>
                      <a:pt x="81" y="8"/>
                    </a:lnTo>
                    <a:lnTo>
                      <a:pt x="82" y="8"/>
                    </a:lnTo>
                    <a:lnTo>
                      <a:pt x="81" y="8"/>
                    </a:lnTo>
                    <a:lnTo>
                      <a:pt x="82" y="6"/>
                    </a:lnTo>
                    <a:lnTo>
                      <a:pt x="82" y="8"/>
                    </a:lnTo>
                    <a:lnTo>
                      <a:pt x="81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6" y="12"/>
                    </a:lnTo>
                    <a:lnTo>
                      <a:pt x="86" y="14"/>
                    </a:lnTo>
                    <a:lnTo>
                      <a:pt x="88" y="14"/>
                    </a:lnTo>
                    <a:lnTo>
                      <a:pt x="90" y="16"/>
                    </a:lnTo>
                    <a:lnTo>
                      <a:pt x="92" y="18"/>
                    </a:lnTo>
                    <a:lnTo>
                      <a:pt x="94" y="16"/>
                    </a:lnTo>
                    <a:lnTo>
                      <a:pt x="94" y="18"/>
                    </a:lnTo>
                    <a:lnTo>
                      <a:pt x="94" y="16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8" y="18"/>
                    </a:lnTo>
                    <a:lnTo>
                      <a:pt x="98" y="16"/>
                    </a:lnTo>
                    <a:lnTo>
                      <a:pt x="98" y="18"/>
                    </a:lnTo>
                    <a:lnTo>
                      <a:pt x="100" y="18"/>
                    </a:lnTo>
                    <a:lnTo>
                      <a:pt x="102" y="18"/>
                    </a:lnTo>
                    <a:lnTo>
                      <a:pt x="103" y="20"/>
                    </a:lnTo>
                    <a:lnTo>
                      <a:pt x="105" y="20"/>
                    </a:lnTo>
                    <a:close/>
                    <a:moveTo>
                      <a:pt x="33" y="25"/>
                    </a:moveTo>
                    <a:lnTo>
                      <a:pt x="35" y="25"/>
                    </a:lnTo>
                    <a:lnTo>
                      <a:pt x="37" y="25"/>
                    </a:lnTo>
                    <a:lnTo>
                      <a:pt x="37" y="27"/>
                    </a:lnTo>
                    <a:lnTo>
                      <a:pt x="39" y="27"/>
                    </a:lnTo>
                    <a:lnTo>
                      <a:pt x="39" y="29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5" y="33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29" y="31"/>
                    </a:lnTo>
                    <a:lnTo>
                      <a:pt x="29" y="29"/>
                    </a:lnTo>
                    <a:lnTo>
                      <a:pt x="31" y="31"/>
                    </a:lnTo>
                    <a:lnTo>
                      <a:pt x="33" y="31"/>
                    </a:lnTo>
                    <a:lnTo>
                      <a:pt x="31" y="31"/>
                    </a:lnTo>
                    <a:lnTo>
                      <a:pt x="33" y="31"/>
                    </a:lnTo>
                    <a:lnTo>
                      <a:pt x="31" y="31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3" y="25"/>
                    </a:lnTo>
                    <a:close/>
                    <a:moveTo>
                      <a:pt x="111" y="20"/>
                    </a:moveTo>
                    <a:lnTo>
                      <a:pt x="111" y="18"/>
                    </a:lnTo>
                    <a:lnTo>
                      <a:pt x="111" y="20"/>
                    </a:lnTo>
                    <a:lnTo>
                      <a:pt x="113" y="20"/>
                    </a:lnTo>
                    <a:lnTo>
                      <a:pt x="111" y="20"/>
                    </a:lnTo>
                    <a:lnTo>
                      <a:pt x="113" y="20"/>
                    </a:lnTo>
                    <a:lnTo>
                      <a:pt x="111" y="20"/>
                    </a:lnTo>
                    <a:lnTo>
                      <a:pt x="113" y="18"/>
                    </a:lnTo>
                    <a:lnTo>
                      <a:pt x="113" y="20"/>
                    </a:lnTo>
                    <a:lnTo>
                      <a:pt x="113" y="18"/>
                    </a:lnTo>
                    <a:lnTo>
                      <a:pt x="113" y="20"/>
                    </a:lnTo>
                    <a:lnTo>
                      <a:pt x="113" y="21"/>
                    </a:lnTo>
                    <a:lnTo>
                      <a:pt x="115" y="21"/>
                    </a:lnTo>
                    <a:lnTo>
                      <a:pt x="115" y="23"/>
                    </a:lnTo>
                    <a:lnTo>
                      <a:pt x="115" y="21"/>
                    </a:lnTo>
                    <a:lnTo>
                      <a:pt x="115" y="23"/>
                    </a:lnTo>
                    <a:lnTo>
                      <a:pt x="117" y="21"/>
                    </a:lnTo>
                    <a:lnTo>
                      <a:pt x="117" y="23"/>
                    </a:lnTo>
                    <a:lnTo>
                      <a:pt x="117" y="21"/>
                    </a:lnTo>
                    <a:lnTo>
                      <a:pt x="117" y="23"/>
                    </a:lnTo>
                    <a:lnTo>
                      <a:pt x="117" y="25"/>
                    </a:lnTo>
                    <a:lnTo>
                      <a:pt x="117" y="23"/>
                    </a:lnTo>
                    <a:lnTo>
                      <a:pt x="115" y="23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3" y="23"/>
                    </a:lnTo>
                    <a:lnTo>
                      <a:pt x="111" y="21"/>
                    </a:lnTo>
                    <a:lnTo>
                      <a:pt x="111" y="20"/>
                    </a:lnTo>
                    <a:lnTo>
                      <a:pt x="109" y="21"/>
                    </a:lnTo>
                    <a:lnTo>
                      <a:pt x="109" y="20"/>
                    </a:lnTo>
                    <a:lnTo>
                      <a:pt x="111" y="20"/>
                    </a:lnTo>
                    <a:lnTo>
                      <a:pt x="109" y="20"/>
                    </a:lnTo>
                    <a:lnTo>
                      <a:pt x="111" y="20"/>
                    </a:lnTo>
                    <a:lnTo>
                      <a:pt x="111" y="18"/>
                    </a:lnTo>
                    <a:lnTo>
                      <a:pt x="111" y="20"/>
                    </a:lnTo>
                    <a:close/>
                    <a:moveTo>
                      <a:pt x="107" y="16"/>
                    </a:moveTo>
                    <a:lnTo>
                      <a:pt x="109" y="16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1" y="20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7" y="18"/>
                    </a:lnTo>
                    <a:lnTo>
                      <a:pt x="107" y="16"/>
                    </a:lnTo>
                    <a:lnTo>
                      <a:pt x="107" y="18"/>
                    </a:lnTo>
                    <a:lnTo>
                      <a:pt x="107" y="16"/>
                    </a:lnTo>
                    <a:lnTo>
                      <a:pt x="107" y="18"/>
                    </a:lnTo>
                    <a:lnTo>
                      <a:pt x="105" y="16"/>
                    </a:lnTo>
                    <a:lnTo>
                      <a:pt x="107" y="16"/>
                    </a:lnTo>
                    <a:close/>
                    <a:moveTo>
                      <a:pt x="100" y="14"/>
                    </a:moveTo>
                    <a:lnTo>
                      <a:pt x="102" y="14"/>
                    </a:lnTo>
                    <a:lnTo>
                      <a:pt x="103" y="14"/>
                    </a:lnTo>
                    <a:lnTo>
                      <a:pt x="105" y="14"/>
                    </a:lnTo>
                    <a:lnTo>
                      <a:pt x="105" y="16"/>
                    </a:lnTo>
                    <a:lnTo>
                      <a:pt x="107" y="16"/>
                    </a:lnTo>
                    <a:lnTo>
                      <a:pt x="105" y="16"/>
                    </a:lnTo>
                    <a:lnTo>
                      <a:pt x="103" y="16"/>
                    </a:lnTo>
                    <a:lnTo>
                      <a:pt x="102" y="16"/>
                    </a:lnTo>
                    <a:lnTo>
                      <a:pt x="102" y="14"/>
                    </a:lnTo>
                    <a:lnTo>
                      <a:pt x="100" y="14"/>
                    </a:lnTo>
                    <a:lnTo>
                      <a:pt x="100" y="16"/>
                    </a:lnTo>
                    <a:lnTo>
                      <a:pt x="100" y="14"/>
                    </a:lnTo>
                    <a:lnTo>
                      <a:pt x="100" y="16"/>
                    </a:lnTo>
                    <a:lnTo>
                      <a:pt x="100" y="14"/>
                    </a:lnTo>
                    <a:close/>
                    <a:moveTo>
                      <a:pt x="117" y="25"/>
                    </a:moveTo>
                    <a:lnTo>
                      <a:pt x="121" y="25"/>
                    </a:lnTo>
                    <a:lnTo>
                      <a:pt x="121" y="27"/>
                    </a:lnTo>
                    <a:lnTo>
                      <a:pt x="117" y="27"/>
                    </a:lnTo>
                    <a:lnTo>
                      <a:pt x="117" y="25"/>
                    </a:lnTo>
                    <a:close/>
                    <a:moveTo>
                      <a:pt x="86" y="10"/>
                    </a:moveTo>
                    <a:lnTo>
                      <a:pt x="90" y="12"/>
                    </a:lnTo>
                    <a:lnTo>
                      <a:pt x="90" y="14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6" y="10"/>
                    </a:lnTo>
                    <a:close/>
                    <a:moveTo>
                      <a:pt x="92" y="41"/>
                    </a:moveTo>
                    <a:lnTo>
                      <a:pt x="94" y="42"/>
                    </a:lnTo>
                    <a:lnTo>
                      <a:pt x="96" y="42"/>
                    </a:lnTo>
                    <a:lnTo>
                      <a:pt x="94" y="42"/>
                    </a:lnTo>
                    <a:lnTo>
                      <a:pt x="92" y="41"/>
                    </a:lnTo>
                    <a:lnTo>
                      <a:pt x="94" y="42"/>
                    </a:lnTo>
                    <a:lnTo>
                      <a:pt x="92" y="41"/>
                    </a:lnTo>
                    <a:close/>
                    <a:moveTo>
                      <a:pt x="73" y="6"/>
                    </a:moveTo>
                    <a:lnTo>
                      <a:pt x="77" y="6"/>
                    </a:lnTo>
                    <a:lnTo>
                      <a:pt x="77" y="8"/>
                    </a:lnTo>
                    <a:lnTo>
                      <a:pt x="73" y="8"/>
                    </a:lnTo>
                    <a:lnTo>
                      <a:pt x="73" y="6"/>
                    </a:lnTo>
                    <a:close/>
                    <a:moveTo>
                      <a:pt x="96" y="12"/>
                    </a:moveTo>
                    <a:lnTo>
                      <a:pt x="96" y="14"/>
                    </a:lnTo>
                    <a:lnTo>
                      <a:pt x="98" y="14"/>
                    </a:lnTo>
                    <a:lnTo>
                      <a:pt x="98" y="16"/>
                    </a:lnTo>
                    <a:lnTo>
                      <a:pt x="98" y="14"/>
                    </a:lnTo>
                    <a:lnTo>
                      <a:pt x="98" y="16"/>
                    </a:lnTo>
                    <a:lnTo>
                      <a:pt x="96" y="14"/>
                    </a:lnTo>
                    <a:lnTo>
                      <a:pt x="96" y="12"/>
                    </a:lnTo>
                    <a:close/>
                    <a:moveTo>
                      <a:pt x="75" y="4"/>
                    </a:moveTo>
                    <a:lnTo>
                      <a:pt x="77" y="4"/>
                    </a:lnTo>
                    <a:lnTo>
                      <a:pt x="77" y="6"/>
                    </a:lnTo>
                    <a:lnTo>
                      <a:pt x="75" y="6"/>
                    </a:lnTo>
                    <a:lnTo>
                      <a:pt x="75" y="4"/>
                    </a:lnTo>
                    <a:close/>
                    <a:moveTo>
                      <a:pt x="44" y="29"/>
                    </a:moveTo>
                    <a:lnTo>
                      <a:pt x="48" y="29"/>
                    </a:lnTo>
                    <a:lnTo>
                      <a:pt x="48" y="31"/>
                    </a:lnTo>
                    <a:lnTo>
                      <a:pt x="44" y="31"/>
                    </a:lnTo>
                    <a:lnTo>
                      <a:pt x="44" y="29"/>
                    </a:lnTo>
                    <a:close/>
                    <a:moveTo>
                      <a:pt x="58" y="29"/>
                    </a:moveTo>
                    <a:lnTo>
                      <a:pt x="56" y="31"/>
                    </a:lnTo>
                    <a:lnTo>
                      <a:pt x="54" y="31"/>
                    </a:lnTo>
                    <a:lnTo>
                      <a:pt x="54" y="29"/>
                    </a:lnTo>
                    <a:lnTo>
                      <a:pt x="56" y="29"/>
                    </a:lnTo>
                    <a:lnTo>
                      <a:pt x="56" y="31"/>
                    </a:lnTo>
                    <a:lnTo>
                      <a:pt x="56" y="29"/>
                    </a:lnTo>
                    <a:lnTo>
                      <a:pt x="58" y="29"/>
                    </a:lnTo>
                    <a:close/>
                    <a:moveTo>
                      <a:pt x="96" y="44"/>
                    </a:moveTo>
                    <a:lnTo>
                      <a:pt x="98" y="44"/>
                    </a:lnTo>
                    <a:lnTo>
                      <a:pt x="96" y="44"/>
                    </a:lnTo>
                    <a:close/>
                    <a:moveTo>
                      <a:pt x="103" y="46"/>
                    </a:moveTo>
                    <a:lnTo>
                      <a:pt x="105" y="46"/>
                    </a:lnTo>
                    <a:lnTo>
                      <a:pt x="105" y="48"/>
                    </a:lnTo>
                    <a:lnTo>
                      <a:pt x="103" y="48"/>
                    </a:lnTo>
                    <a:lnTo>
                      <a:pt x="103" y="46"/>
                    </a:lnTo>
                    <a:close/>
                    <a:moveTo>
                      <a:pt x="88" y="39"/>
                    </a:moveTo>
                    <a:lnTo>
                      <a:pt x="90" y="39"/>
                    </a:lnTo>
                    <a:lnTo>
                      <a:pt x="90" y="41"/>
                    </a:lnTo>
                    <a:lnTo>
                      <a:pt x="88" y="41"/>
                    </a:lnTo>
                    <a:lnTo>
                      <a:pt x="88" y="39"/>
                    </a:lnTo>
                    <a:close/>
                    <a:moveTo>
                      <a:pt x="65" y="4"/>
                    </a:moveTo>
                    <a:lnTo>
                      <a:pt x="67" y="4"/>
                    </a:lnTo>
                    <a:lnTo>
                      <a:pt x="65" y="4"/>
                    </a:lnTo>
                    <a:lnTo>
                      <a:pt x="63" y="4"/>
                    </a:lnTo>
                    <a:lnTo>
                      <a:pt x="65" y="4"/>
                    </a:lnTo>
                    <a:close/>
                    <a:moveTo>
                      <a:pt x="81" y="6"/>
                    </a:moveTo>
                    <a:lnTo>
                      <a:pt x="81" y="8"/>
                    </a:lnTo>
                    <a:lnTo>
                      <a:pt x="81" y="6"/>
                    </a:lnTo>
                    <a:close/>
                    <a:moveTo>
                      <a:pt x="63" y="0"/>
                    </a:moveTo>
                    <a:lnTo>
                      <a:pt x="65" y="0"/>
                    </a:lnTo>
                    <a:lnTo>
                      <a:pt x="65" y="2"/>
                    </a:lnTo>
                    <a:lnTo>
                      <a:pt x="63" y="2"/>
                    </a:lnTo>
                    <a:lnTo>
                      <a:pt x="63" y="0"/>
                    </a:lnTo>
                    <a:close/>
                    <a:moveTo>
                      <a:pt x="94" y="12"/>
                    </a:moveTo>
                    <a:lnTo>
                      <a:pt x="96" y="12"/>
                    </a:lnTo>
                    <a:lnTo>
                      <a:pt x="94" y="12"/>
                    </a:lnTo>
                    <a:close/>
                    <a:moveTo>
                      <a:pt x="113" y="18"/>
                    </a:moveTo>
                    <a:lnTo>
                      <a:pt x="115" y="18"/>
                    </a:lnTo>
                    <a:lnTo>
                      <a:pt x="115" y="21"/>
                    </a:lnTo>
                    <a:lnTo>
                      <a:pt x="113" y="21"/>
                    </a:lnTo>
                    <a:lnTo>
                      <a:pt x="113" y="18"/>
                    </a:lnTo>
                    <a:close/>
                    <a:moveTo>
                      <a:pt x="48" y="29"/>
                    </a:moveTo>
                    <a:lnTo>
                      <a:pt x="50" y="29"/>
                    </a:lnTo>
                    <a:lnTo>
                      <a:pt x="50" y="31"/>
                    </a:lnTo>
                    <a:lnTo>
                      <a:pt x="48" y="31"/>
                    </a:lnTo>
                    <a:lnTo>
                      <a:pt x="48" y="29"/>
                    </a:lnTo>
                    <a:close/>
                    <a:moveTo>
                      <a:pt x="92" y="12"/>
                    </a:moveTo>
                    <a:lnTo>
                      <a:pt x="94" y="12"/>
                    </a:lnTo>
                    <a:lnTo>
                      <a:pt x="94" y="14"/>
                    </a:lnTo>
                    <a:lnTo>
                      <a:pt x="92" y="14"/>
                    </a:lnTo>
                    <a:lnTo>
                      <a:pt x="92" y="12"/>
                    </a:lnTo>
                    <a:close/>
                    <a:moveTo>
                      <a:pt x="88" y="12"/>
                    </a:moveTo>
                    <a:lnTo>
                      <a:pt x="88" y="14"/>
                    </a:lnTo>
                    <a:lnTo>
                      <a:pt x="88" y="12"/>
                    </a:lnTo>
                    <a:close/>
                    <a:moveTo>
                      <a:pt x="39" y="12"/>
                    </a:moveTo>
                    <a:lnTo>
                      <a:pt x="39" y="14"/>
                    </a:lnTo>
                    <a:lnTo>
                      <a:pt x="39" y="12"/>
                    </a:lnTo>
                    <a:close/>
                    <a:moveTo>
                      <a:pt x="100" y="12"/>
                    </a:moveTo>
                    <a:lnTo>
                      <a:pt x="102" y="12"/>
                    </a:lnTo>
                    <a:lnTo>
                      <a:pt x="102" y="14"/>
                    </a:lnTo>
                    <a:lnTo>
                      <a:pt x="100" y="14"/>
                    </a:lnTo>
                    <a:lnTo>
                      <a:pt x="100" y="12"/>
                    </a:lnTo>
                    <a:close/>
                    <a:moveTo>
                      <a:pt x="107" y="16"/>
                    </a:moveTo>
                    <a:lnTo>
                      <a:pt x="109" y="16"/>
                    </a:lnTo>
                    <a:lnTo>
                      <a:pt x="107" y="16"/>
                    </a:lnTo>
                    <a:close/>
                    <a:moveTo>
                      <a:pt x="54" y="20"/>
                    </a:moveTo>
                    <a:lnTo>
                      <a:pt x="54" y="21"/>
                    </a:lnTo>
                    <a:lnTo>
                      <a:pt x="54" y="20"/>
                    </a:lnTo>
                    <a:close/>
                    <a:moveTo>
                      <a:pt x="71" y="2"/>
                    </a:moveTo>
                    <a:lnTo>
                      <a:pt x="71" y="4"/>
                    </a:lnTo>
                    <a:lnTo>
                      <a:pt x="71" y="2"/>
                    </a:lnTo>
                    <a:close/>
                    <a:moveTo>
                      <a:pt x="39" y="29"/>
                    </a:moveTo>
                    <a:lnTo>
                      <a:pt x="40" y="29"/>
                    </a:lnTo>
                    <a:lnTo>
                      <a:pt x="39" y="29"/>
                    </a:lnTo>
                    <a:close/>
                    <a:moveTo>
                      <a:pt x="100" y="46"/>
                    </a:moveTo>
                    <a:lnTo>
                      <a:pt x="102" y="46"/>
                    </a:lnTo>
                    <a:lnTo>
                      <a:pt x="100" y="46"/>
                    </a:lnTo>
                    <a:close/>
                    <a:moveTo>
                      <a:pt x="8" y="16"/>
                    </a:moveTo>
                    <a:lnTo>
                      <a:pt x="10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close/>
                    <a:moveTo>
                      <a:pt x="40" y="29"/>
                    </a:moveTo>
                    <a:lnTo>
                      <a:pt x="42" y="29"/>
                    </a:lnTo>
                    <a:lnTo>
                      <a:pt x="42" y="31"/>
                    </a:lnTo>
                    <a:lnTo>
                      <a:pt x="40" y="31"/>
                    </a:lnTo>
                    <a:lnTo>
                      <a:pt x="40" y="29"/>
                    </a:lnTo>
                    <a:close/>
                    <a:moveTo>
                      <a:pt x="54" y="21"/>
                    </a:moveTo>
                    <a:lnTo>
                      <a:pt x="56" y="21"/>
                    </a:lnTo>
                    <a:lnTo>
                      <a:pt x="56" y="23"/>
                    </a:lnTo>
                    <a:lnTo>
                      <a:pt x="54" y="23"/>
                    </a:lnTo>
                    <a:lnTo>
                      <a:pt x="54" y="21"/>
                    </a:lnTo>
                    <a:close/>
                    <a:moveTo>
                      <a:pt x="25" y="23"/>
                    </a:moveTo>
                    <a:lnTo>
                      <a:pt x="25" y="25"/>
                    </a:lnTo>
                    <a:lnTo>
                      <a:pt x="23" y="25"/>
                    </a:lnTo>
                    <a:lnTo>
                      <a:pt x="23" y="23"/>
                    </a:lnTo>
                    <a:lnTo>
                      <a:pt x="25" y="25"/>
                    </a:lnTo>
                    <a:lnTo>
                      <a:pt x="25" y="23"/>
                    </a:lnTo>
                    <a:close/>
                    <a:moveTo>
                      <a:pt x="35" y="23"/>
                    </a:moveTo>
                    <a:lnTo>
                      <a:pt x="37" y="23"/>
                    </a:lnTo>
                    <a:lnTo>
                      <a:pt x="37" y="25"/>
                    </a:lnTo>
                    <a:lnTo>
                      <a:pt x="35" y="25"/>
                    </a:lnTo>
                    <a:lnTo>
                      <a:pt x="35" y="23"/>
                    </a:lnTo>
                    <a:close/>
                    <a:moveTo>
                      <a:pt x="39" y="27"/>
                    </a:moveTo>
                    <a:lnTo>
                      <a:pt x="39" y="29"/>
                    </a:lnTo>
                    <a:lnTo>
                      <a:pt x="39" y="27"/>
                    </a:lnTo>
                    <a:close/>
                    <a:moveTo>
                      <a:pt x="21" y="23"/>
                    </a:moveTo>
                    <a:lnTo>
                      <a:pt x="23" y="23"/>
                    </a:lnTo>
                    <a:lnTo>
                      <a:pt x="21" y="23"/>
                    </a:lnTo>
                    <a:close/>
                    <a:moveTo>
                      <a:pt x="77" y="6"/>
                    </a:moveTo>
                    <a:lnTo>
                      <a:pt x="79" y="6"/>
                    </a:lnTo>
                    <a:lnTo>
                      <a:pt x="77" y="6"/>
                    </a:lnTo>
                    <a:close/>
                    <a:moveTo>
                      <a:pt x="33" y="21"/>
                    </a:moveTo>
                    <a:lnTo>
                      <a:pt x="35" y="21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33" y="21"/>
                    </a:lnTo>
                    <a:close/>
                    <a:moveTo>
                      <a:pt x="111" y="18"/>
                    </a:moveTo>
                    <a:lnTo>
                      <a:pt x="113" y="18"/>
                    </a:lnTo>
                    <a:lnTo>
                      <a:pt x="111" y="18"/>
                    </a:lnTo>
                    <a:close/>
                    <a:moveTo>
                      <a:pt x="79" y="4"/>
                    </a:moveTo>
                    <a:lnTo>
                      <a:pt x="79" y="6"/>
                    </a:lnTo>
                    <a:lnTo>
                      <a:pt x="79" y="4"/>
                    </a:lnTo>
                    <a:close/>
                    <a:moveTo>
                      <a:pt x="84" y="8"/>
                    </a:moveTo>
                    <a:lnTo>
                      <a:pt x="84" y="10"/>
                    </a:lnTo>
                    <a:lnTo>
                      <a:pt x="84" y="8"/>
                    </a:lnTo>
                    <a:close/>
                    <a:moveTo>
                      <a:pt x="18" y="10"/>
                    </a:moveTo>
                    <a:lnTo>
                      <a:pt x="20" y="10"/>
                    </a:lnTo>
                    <a:lnTo>
                      <a:pt x="18" y="10"/>
                    </a:lnTo>
                    <a:close/>
                    <a:moveTo>
                      <a:pt x="37" y="12"/>
                    </a:moveTo>
                    <a:lnTo>
                      <a:pt x="37" y="14"/>
                    </a:lnTo>
                    <a:lnTo>
                      <a:pt x="37" y="12"/>
                    </a:lnTo>
                    <a:close/>
                    <a:moveTo>
                      <a:pt x="65" y="2"/>
                    </a:moveTo>
                    <a:lnTo>
                      <a:pt x="67" y="2"/>
                    </a:lnTo>
                    <a:lnTo>
                      <a:pt x="67" y="4"/>
                    </a:lnTo>
                    <a:lnTo>
                      <a:pt x="65" y="4"/>
                    </a:lnTo>
                    <a:lnTo>
                      <a:pt x="65" y="2"/>
                    </a:lnTo>
                    <a:close/>
                    <a:moveTo>
                      <a:pt x="27" y="25"/>
                    </a:moveTo>
                    <a:lnTo>
                      <a:pt x="29" y="25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7" y="25"/>
                    </a:lnTo>
                    <a:close/>
                    <a:moveTo>
                      <a:pt x="82" y="6"/>
                    </a:moveTo>
                    <a:lnTo>
                      <a:pt x="82" y="8"/>
                    </a:lnTo>
                    <a:lnTo>
                      <a:pt x="82" y="6"/>
                    </a:lnTo>
                    <a:close/>
                    <a:moveTo>
                      <a:pt x="37" y="25"/>
                    </a:moveTo>
                    <a:lnTo>
                      <a:pt x="39" y="25"/>
                    </a:lnTo>
                    <a:lnTo>
                      <a:pt x="37" y="25"/>
                    </a:lnTo>
                    <a:close/>
                    <a:moveTo>
                      <a:pt x="92" y="12"/>
                    </a:moveTo>
                    <a:lnTo>
                      <a:pt x="92" y="14"/>
                    </a:lnTo>
                    <a:lnTo>
                      <a:pt x="92" y="12"/>
                    </a:lnTo>
                    <a:close/>
                    <a:moveTo>
                      <a:pt x="100" y="44"/>
                    </a:moveTo>
                    <a:lnTo>
                      <a:pt x="102" y="44"/>
                    </a:lnTo>
                    <a:lnTo>
                      <a:pt x="100" y="44"/>
                    </a:lnTo>
                    <a:close/>
                    <a:moveTo>
                      <a:pt x="42" y="31"/>
                    </a:moveTo>
                    <a:lnTo>
                      <a:pt x="44" y="31"/>
                    </a:lnTo>
                    <a:lnTo>
                      <a:pt x="42" y="31"/>
                    </a:lnTo>
                    <a:close/>
                    <a:moveTo>
                      <a:pt x="75" y="6"/>
                    </a:moveTo>
                    <a:lnTo>
                      <a:pt x="77" y="6"/>
                    </a:lnTo>
                    <a:lnTo>
                      <a:pt x="75" y="6"/>
                    </a:lnTo>
                    <a:close/>
                    <a:moveTo>
                      <a:pt x="90" y="16"/>
                    </a:moveTo>
                    <a:lnTo>
                      <a:pt x="92" y="16"/>
                    </a:lnTo>
                    <a:lnTo>
                      <a:pt x="90" y="16"/>
                    </a:lnTo>
                    <a:close/>
                    <a:moveTo>
                      <a:pt x="69" y="2"/>
                    </a:moveTo>
                    <a:lnTo>
                      <a:pt x="71" y="2"/>
                    </a:lnTo>
                    <a:lnTo>
                      <a:pt x="69" y="2"/>
                    </a:lnTo>
                    <a:close/>
                    <a:moveTo>
                      <a:pt x="86" y="12"/>
                    </a:moveTo>
                    <a:lnTo>
                      <a:pt x="88" y="12"/>
                    </a:lnTo>
                    <a:lnTo>
                      <a:pt x="86" y="12"/>
                    </a:lnTo>
                    <a:close/>
                    <a:moveTo>
                      <a:pt x="67" y="2"/>
                    </a:moveTo>
                    <a:lnTo>
                      <a:pt x="69" y="2"/>
                    </a:lnTo>
                    <a:lnTo>
                      <a:pt x="67" y="2"/>
                    </a:lnTo>
                    <a:close/>
                    <a:moveTo>
                      <a:pt x="102" y="46"/>
                    </a:moveTo>
                    <a:lnTo>
                      <a:pt x="103" y="46"/>
                    </a:lnTo>
                    <a:lnTo>
                      <a:pt x="102" y="46"/>
                    </a:lnTo>
                    <a:close/>
                    <a:moveTo>
                      <a:pt x="69" y="4"/>
                    </a:moveTo>
                    <a:lnTo>
                      <a:pt x="71" y="4"/>
                    </a:lnTo>
                    <a:lnTo>
                      <a:pt x="69" y="4"/>
                    </a:lnTo>
                    <a:close/>
                    <a:moveTo>
                      <a:pt x="82" y="8"/>
                    </a:moveTo>
                    <a:lnTo>
                      <a:pt x="84" y="8"/>
                    </a:lnTo>
                    <a:lnTo>
                      <a:pt x="82" y="8"/>
                    </a:lnTo>
                    <a:close/>
                    <a:moveTo>
                      <a:pt x="10" y="14"/>
                    </a:moveTo>
                    <a:lnTo>
                      <a:pt x="10" y="16"/>
                    </a:lnTo>
                    <a:lnTo>
                      <a:pt x="10" y="14"/>
                    </a:lnTo>
                    <a:close/>
                    <a:moveTo>
                      <a:pt x="98" y="44"/>
                    </a:moveTo>
                    <a:lnTo>
                      <a:pt x="100" y="44"/>
                    </a:lnTo>
                    <a:lnTo>
                      <a:pt x="100" y="46"/>
                    </a:lnTo>
                    <a:lnTo>
                      <a:pt x="98" y="46"/>
                    </a:lnTo>
                    <a:lnTo>
                      <a:pt x="98" y="44"/>
                    </a:lnTo>
                    <a:close/>
                    <a:moveTo>
                      <a:pt x="90" y="14"/>
                    </a:moveTo>
                    <a:lnTo>
                      <a:pt x="92" y="14"/>
                    </a:lnTo>
                    <a:lnTo>
                      <a:pt x="90" y="14"/>
                    </a:lnTo>
                    <a:close/>
                    <a:moveTo>
                      <a:pt x="102" y="42"/>
                    </a:moveTo>
                    <a:lnTo>
                      <a:pt x="102" y="44"/>
                    </a:lnTo>
                    <a:lnTo>
                      <a:pt x="102" y="42"/>
                    </a:lnTo>
                    <a:close/>
                    <a:moveTo>
                      <a:pt x="115" y="25"/>
                    </a:moveTo>
                    <a:lnTo>
                      <a:pt x="117" y="25"/>
                    </a:lnTo>
                    <a:lnTo>
                      <a:pt x="115" y="25"/>
                    </a:lnTo>
                    <a:close/>
                    <a:moveTo>
                      <a:pt x="111" y="18"/>
                    </a:moveTo>
                    <a:lnTo>
                      <a:pt x="111" y="20"/>
                    </a:lnTo>
                    <a:lnTo>
                      <a:pt x="111" y="18"/>
                    </a:lnTo>
                    <a:close/>
                    <a:moveTo>
                      <a:pt x="98" y="33"/>
                    </a:moveTo>
                    <a:lnTo>
                      <a:pt x="100" y="33"/>
                    </a:lnTo>
                    <a:lnTo>
                      <a:pt x="100" y="35"/>
                    </a:lnTo>
                    <a:lnTo>
                      <a:pt x="98" y="35"/>
                    </a:lnTo>
                    <a:lnTo>
                      <a:pt x="98" y="33"/>
                    </a:lnTo>
                    <a:close/>
                    <a:moveTo>
                      <a:pt x="40" y="31"/>
                    </a:moveTo>
                    <a:lnTo>
                      <a:pt x="42" y="31"/>
                    </a:lnTo>
                    <a:lnTo>
                      <a:pt x="40" y="31"/>
                    </a:lnTo>
                    <a:close/>
                    <a:moveTo>
                      <a:pt x="117" y="23"/>
                    </a:moveTo>
                    <a:lnTo>
                      <a:pt x="117" y="25"/>
                    </a:lnTo>
                    <a:lnTo>
                      <a:pt x="117" y="23"/>
                    </a:lnTo>
                    <a:close/>
                    <a:moveTo>
                      <a:pt x="81" y="6"/>
                    </a:moveTo>
                    <a:lnTo>
                      <a:pt x="81" y="8"/>
                    </a:lnTo>
                    <a:lnTo>
                      <a:pt x="81" y="6"/>
                    </a:lnTo>
                    <a:close/>
                    <a:moveTo>
                      <a:pt x="103" y="44"/>
                    </a:moveTo>
                    <a:lnTo>
                      <a:pt x="105" y="44"/>
                    </a:lnTo>
                    <a:lnTo>
                      <a:pt x="105" y="46"/>
                    </a:lnTo>
                    <a:lnTo>
                      <a:pt x="103" y="46"/>
                    </a:lnTo>
                    <a:lnTo>
                      <a:pt x="103" y="44"/>
                    </a:lnTo>
                    <a:close/>
                    <a:moveTo>
                      <a:pt x="39" y="14"/>
                    </a:moveTo>
                    <a:lnTo>
                      <a:pt x="40" y="14"/>
                    </a:lnTo>
                    <a:lnTo>
                      <a:pt x="39" y="14"/>
                    </a:lnTo>
                    <a:close/>
                    <a:moveTo>
                      <a:pt x="67" y="4"/>
                    </a:moveTo>
                    <a:lnTo>
                      <a:pt x="69" y="4"/>
                    </a:lnTo>
                    <a:lnTo>
                      <a:pt x="67" y="4"/>
                    </a:lnTo>
                    <a:close/>
                    <a:moveTo>
                      <a:pt x="48" y="21"/>
                    </a:moveTo>
                    <a:lnTo>
                      <a:pt x="50" y="21"/>
                    </a:lnTo>
                    <a:lnTo>
                      <a:pt x="48" y="21"/>
                    </a:lnTo>
                    <a:close/>
                    <a:moveTo>
                      <a:pt x="52" y="20"/>
                    </a:moveTo>
                    <a:lnTo>
                      <a:pt x="52" y="21"/>
                    </a:lnTo>
                    <a:lnTo>
                      <a:pt x="52" y="20"/>
                    </a:lnTo>
                    <a:close/>
                    <a:moveTo>
                      <a:pt x="67" y="2"/>
                    </a:moveTo>
                    <a:lnTo>
                      <a:pt x="67" y="4"/>
                    </a:lnTo>
                    <a:lnTo>
                      <a:pt x="67" y="2"/>
                    </a:lnTo>
                    <a:close/>
                    <a:moveTo>
                      <a:pt x="69" y="2"/>
                    </a:moveTo>
                    <a:lnTo>
                      <a:pt x="69" y="4"/>
                    </a:lnTo>
                    <a:lnTo>
                      <a:pt x="69" y="2"/>
                    </a:lnTo>
                    <a:close/>
                    <a:moveTo>
                      <a:pt x="46" y="27"/>
                    </a:moveTo>
                    <a:lnTo>
                      <a:pt x="46" y="29"/>
                    </a:lnTo>
                    <a:lnTo>
                      <a:pt x="46" y="27"/>
                    </a:lnTo>
                    <a:close/>
                    <a:moveTo>
                      <a:pt x="40" y="16"/>
                    </a:moveTo>
                    <a:lnTo>
                      <a:pt x="42" y="16"/>
                    </a:lnTo>
                    <a:lnTo>
                      <a:pt x="40" y="16"/>
                    </a:lnTo>
                    <a:close/>
                    <a:moveTo>
                      <a:pt x="39" y="25"/>
                    </a:moveTo>
                    <a:lnTo>
                      <a:pt x="39" y="27"/>
                    </a:lnTo>
                    <a:lnTo>
                      <a:pt x="39" y="25"/>
                    </a:lnTo>
                    <a:close/>
                    <a:moveTo>
                      <a:pt x="35" y="18"/>
                    </a:moveTo>
                    <a:lnTo>
                      <a:pt x="35" y="20"/>
                    </a:lnTo>
                    <a:lnTo>
                      <a:pt x="35" y="18"/>
                    </a:lnTo>
                    <a:close/>
                    <a:moveTo>
                      <a:pt x="105" y="44"/>
                    </a:moveTo>
                    <a:lnTo>
                      <a:pt x="105" y="46"/>
                    </a:lnTo>
                    <a:lnTo>
                      <a:pt x="105" y="44"/>
                    </a:lnTo>
                    <a:close/>
                    <a:moveTo>
                      <a:pt x="37" y="27"/>
                    </a:moveTo>
                    <a:lnTo>
                      <a:pt x="39" y="27"/>
                    </a:lnTo>
                    <a:lnTo>
                      <a:pt x="37" y="27"/>
                    </a:lnTo>
                    <a:close/>
                    <a:moveTo>
                      <a:pt x="21" y="20"/>
                    </a:moveTo>
                    <a:lnTo>
                      <a:pt x="21" y="21"/>
                    </a:lnTo>
                    <a:lnTo>
                      <a:pt x="21" y="20"/>
                    </a:lnTo>
                    <a:close/>
                    <a:moveTo>
                      <a:pt x="90" y="16"/>
                    </a:moveTo>
                    <a:lnTo>
                      <a:pt x="90" y="18"/>
                    </a:lnTo>
                    <a:lnTo>
                      <a:pt x="90" y="16"/>
                    </a:lnTo>
                    <a:close/>
                    <a:moveTo>
                      <a:pt x="111" y="16"/>
                    </a:moveTo>
                    <a:lnTo>
                      <a:pt x="111" y="18"/>
                    </a:lnTo>
                    <a:lnTo>
                      <a:pt x="111" y="16"/>
                    </a:lnTo>
                    <a:close/>
                    <a:moveTo>
                      <a:pt x="103" y="44"/>
                    </a:moveTo>
                    <a:lnTo>
                      <a:pt x="103" y="46"/>
                    </a:lnTo>
                    <a:lnTo>
                      <a:pt x="103" y="44"/>
                    </a:lnTo>
                    <a:close/>
                    <a:moveTo>
                      <a:pt x="65" y="2"/>
                    </a:moveTo>
                    <a:lnTo>
                      <a:pt x="67" y="2"/>
                    </a:lnTo>
                    <a:lnTo>
                      <a:pt x="65" y="2"/>
                    </a:lnTo>
                    <a:close/>
                    <a:moveTo>
                      <a:pt x="42" y="14"/>
                    </a:moveTo>
                    <a:lnTo>
                      <a:pt x="42" y="16"/>
                    </a:lnTo>
                    <a:lnTo>
                      <a:pt x="42" y="14"/>
                    </a:lnTo>
                    <a:close/>
                    <a:moveTo>
                      <a:pt x="107" y="21"/>
                    </a:moveTo>
                    <a:lnTo>
                      <a:pt x="109" y="21"/>
                    </a:lnTo>
                    <a:lnTo>
                      <a:pt x="107" y="21"/>
                    </a:lnTo>
                    <a:close/>
                    <a:moveTo>
                      <a:pt x="117" y="25"/>
                    </a:moveTo>
                    <a:lnTo>
                      <a:pt x="119" y="25"/>
                    </a:lnTo>
                    <a:lnTo>
                      <a:pt x="117" y="25"/>
                    </a:lnTo>
                    <a:close/>
                    <a:moveTo>
                      <a:pt x="71" y="4"/>
                    </a:moveTo>
                    <a:lnTo>
                      <a:pt x="71" y="6"/>
                    </a:lnTo>
                    <a:lnTo>
                      <a:pt x="71" y="4"/>
                    </a:lnTo>
                    <a:close/>
                    <a:moveTo>
                      <a:pt x="102" y="46"/>
                    </a:moveTo>
                    <a:lnTo>
                      <a:pt x="103" y="46"/>
                    </a:lnTo>
                    <a:lnTo>
                      <a:pt x="102" y="46"/>
                    </a:lnTo>
                    <a:close/>
                    <a:moveTo>
                      <a:pt x="107" y="21"/>
                    </a:moveTo>
                    <a:lnTo>
                      <a:pt x="109" y="21"/>
                    </a:lnTo>
                    <a:lnTo>
                      <a:pt x="107" y="21"/>
                    </a:lnTo>
                    <a:close/>
                    <a:moveTo>
                      <a:pt x="60" y="29"/>
                    </a:moveTo>
                    <a:lnTo>
                      <a:pt x="61" y="29"/>
                    </a:lnTo>
                    <a:lnTo>
                      <a:pt x="60" y="29"/>
                    </a:lnTo>
                    <a:close/>
                    <a:moveTo>
                      <a:pt x="98" y="31"/>
                    </a:moveTo>
                    <a:lnTo>
                      <a:pt x="100" y="31"/>
                    </a:lnTo>
                    <a:lnTo>
                      <a:pt x="98" y="31"/>
                    </a:lnTo>
                    <a:close/>
                    <a:moveTo>
                      <a:pt x="96" y="12"/>
                    </a:moveTo>
                    <a:lnTo>
                      <a:pt x="96" y="14"/>
                    </a:lnTo>
                    <a:lnTo>
                      <a:pt x="96" y="12"/>
                    </a:lnTo>
                    <a:close/>
                    <a:moveTo>
                      <a:pt x="94" y="12"/>
                    </a:moveTo>
                    <a:lnTo>
                      <a:pt x="94" y="14"/>
                    </a:lnTo>
                    <a:lnTo>
                      <a:pt x="94" y="12"/>
                    </a:lnTo>
                    <a:close/>
                    <a:moveTo>
                      <a:pt x="122" y="52"/>
                    </a:moveTo>
                    <a:lnTo>
                      <a:pt x="124" y="52"/>
                    </a:lnTo>
                    <a:lnTo>
                      <a:pt x="122" y="52"/>
                    </a:lnTo>
                    <a:close/>
                    <a:moveTo>
                      <a:pt x="117" y="25"/>
                    </a:moveTo>
                    <a:lnTo>
                      <a:pt x="119" y="25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7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0" name="Freeform 67">
                <a:extLst>
                  <a:ext uri="{FF2B5EF4-FFF2-40B4-BE49-F238E27FC236}">
                    <a16:creationId xmlns:a16="http://schemas.microsoft.com/office/drawing/2014/main" id="{29913AC4-E046-0CF8-018B-DB0A0F5EB68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857086" y="-2381741"/>
                <a:ext cx="40965" cy="67879"/>
              </a:xfrm>
              <a:custGeom>
                <a:avLst/>
                <a:gdLst>
                  <a:gd name="T0" fmla="*/ 15 w 26"/>
                  <a:gd name="T1" fmla="*/ 1 h 43"/>
                  <a:gd name="T2" fmla="*/ 15 w 26"/>
                  <a:gd name="T3" fmla="*/ 1 h 43"/>
                  <a:gd name="T4" fmla="*/ 17 w 26"/>
                  <a:gd name="T5" fmla="*/ 1 h 43"/>
                  <a:gd name="T6" fmla="*/ 17 w 26"/>
                  <a:gd name="T7" fmla="*/ 1 h 43"/>
                  <a:gd name="T8" fmla="*/ 19 w 26"/>
                  <a:gd name="T9" fmla="*/ 1 h 43"/>
                  <a:gd name="T10" fmla="*/ 19 w 26"/>
                  <a:gd name="T11" fmla="*/ 7 h 43"/>
                  <a:gd name="T12" fmla="*/ 17 w 26"/>
                  <a:gd name="T13" fmla="*/ 13 h 43"/>
                  <a:gd name="T14" fmla="*/ 17 w 26"/>
                  <a:gd name="T15" fmla="*/ 17 h 43"/>
                  <a:gd name="T16" fmla="*/ 15 w 26"/>
                  <a:gd name="T17" fmla="*/ 22 h 43"/>
                  <a:gd name="T18" fmla="*/ 17 w 26"/>
                  <a:gd name="T19" fmla="*/ 24 h 43"/>
                  <a:gd name="T20" fmla="*/ 15 w 26"/>
                  <a:gd name="T21" fmla="*/ 26 h 43"/>
                  <a:gd name="T22" fmla="*/ 15 w 26"/>
                  <a:gd name="T23" fmla="*/ 30 h 43"/>
                  <a:gd name="T24" fmla="*/ 15 w 26"/>
                  <a:gd name="T25" fmla="*/ 34 h 43"/>
                  <a:gd name="T26" fmla="*/ 15 w 26"/>
                  <a:gd name="T27" fmla="*/ 32 h 43"/>
                  <a:gd name="T28" fmla="*/ 13 w 26"/>
                  <a:gd name="T29" fmla="*/ 32 h 43"/>
                  <a:gd name="T30" fmla="*/ 13 w 26"/>
                  <a:gd name="T31" fmla="*/ 32 h 43"/>
                  <a:gd name="T32" fmla="*/ 13 w 26"/>
                  <a:gd name="T33" fmla="*/ 36 h 43"/>
                  <a:gd name="T34" fmla="*/ 11 w 26"/>
                  <a:gd name="T35" fmla="*/ 36 h 43"/>
                  <a:gd name="T36" fmla="*/ 9 w 26"/>
                  <a:gd name="T37" fmla="*/ 36 h 43"/>
                  <a:gd name="T38" fmla="*/ 7 w 26"/>
                  <a:gd name="T39" fmla="*/ 38 h 43"/>
                  <a:gd name="T40" fmla="*/ 6 w 26"/>
                  <a:gd name="T41" fmla="*/ 40 h 43"/>
                  <a:gd name="T42" fmla="*/ 6 w 26"/>
                  <a:gd name="T43" fmla="*/ 43 h 43"/>
                  <a:gd name="T44" fmla="*/ 2 w 26"/>
                  <a:gd name="T45" fmla="*/ 43 h 43"/>
                  <a:gd name="T46" fmla="*/ 2 w 26"/>
                  <a:gd name="T47" fmla="*/ 24 h 43"/>
                  <a:gd name="T48" fmla="*/ 2 w 26"/>
                  <a:gd name="T49" fmla="*/ 9 h 43"/>
                  <a:gd name="T50" fmla="*/ 6 w 26"/>
                  <a:gd name="T51" fmla="*/ 9 h 43"/>
                  <a:gd name="T52" fmla="*/ 7 w 26"/>
                  <a:gd name="T53" fmla="*/ 7 h 43"/>
                  <a:gd name="T54" fmla="*/ 9 w 26"/>
                  <a:gd name="T55" fmla="*/ 5 h 43"/>
                  <a:gd name="T56" fmla="*/ 11 w 26"/>
                  <a:gd name="T57" fmla="*/ 1 h 43"/>
                  <a:gd name="T58" fmla="*/ 13 w 26"/>
                  <a:gd name="T59" fmla="*/ 0 h 43"/>
                  <a:gd name="T60" fmla="*/ 23 w 26"/>
                  <a:gd name="T61" fmla="*/ 5 h 43"/>
                  <a:gd name="T62" fmla="*/ 21 w 26"/>
                  <a:gd name="T63" fmla="*/ 9 h 43"/>
                  <a:gd name="T64" fmla="*/ 19 w 26"/>
                  <a:gd name="T65" fmla="*/ 11 h 43"/>
                  <a:gd name="T66" fmla="*/ 21 w 26"/>
                  <a:gd name="T67" fmla="*/ 11 h 43"/>
                  <a:gd name="T68" fmla="*/ 21 w 26"/>
                  <a:gd name="T69" fmla="*/ 7 h 43"/>
                  <a:gd name="T70" fmla="*/ 23 w 26"/>
                  <a:gd name="T71" fmla="*/ 17 h 43"/>
                  <a:gd name="T72" fmla="*/ 23 w 26"/>
                  <a:gd name="T73" fmla="*/ 17 h 43"/>
                  <a:gd name="T74" fmla="*/ 23 w 26"/>
                  <a:gd name="T75" fmla="*/ 17 h 43"/>
                  <a:gd name="T76" fmla="*/ 21 w 26"/>
                  <a:gd name="T77" fmla="*/ 19 h 43"/>
                  <a:gd name="T78" fmla="*/ 21 w 26"/>
                  <a:gd name="T79" fmla="*/ 19 h 43"/>
                  <a:gd name="T80" fmla="*/ 23 w 26"/>
                  <a:gd name="T81" fmla="*/ 15 h 43"/>
                  <a:gd name="T82" fmla="*/ 23 w 26"/>
                  <a:gd name="T83" fmla="*/ 19 h 43"/>
                  <a:gd name="T84" fmla="*/ 23 w 26"/>
                  <a:gd name="T85" fmla="*/ 19 h 43"/>
                  <a:gd name="T86" fmla="*/ 21 w 26"/>
                  <a:gd name="T87" fmla="*/ 22 h 43"/>
                  <a:gd name="T88" fmla="*/ 17 w 26"/>
                  <a:gd name="T89" fmla="*/ 13 h 43"/>
                  <a:gd name="T90" fmla="*/ 19 w 26"/>
                  <a:gd name="T91" fmla="*/ 15 h 43"/>
                  <a:gd name="T92" fmla="*/ 17 w 26"/>
                  <a:gd name="T93" fmla="*/ 13 h 43"/>
                  <a:gd name="T94" fmla="*/ 23 w 26"/>
                  <a:gd name="T95" fmla="*/ 21 h 43"/>
                  <a:gd name="T96" fmla="*/ 21 w 26"/>
                  <a:gd name="T97" fmla="*/ 22 h 43"/>
                  <a:gd name="T98" fmla="*/ 21 w 26"/>
                  <a:gd name="T99" fmla="*/ 5 h 43"/>
                  <a:gd name="T100" fmla="*/ 21 w 26"/>
                  <a:gd name="T101" fmla="*/ 5 h 43"/>
                  <a:gd name="T102" fmla="*/ 19 w 26"/>
                  <a:gd name="T103" fmla="*/ 13 h 43"/>
                  <a:gd name="T104" fmla="*/ 19 w 26"/>
                  <a:gd name="T105" fmla="*/ 22 h 43"/>
                  <a:gd name="T106" fmla="*/ 19 w 26"/>
                  <a:gd name="T107" fmla="*/ 22 h 43"/>
                  <a:gd name="T108" fmla="*/ 26 w 26"/>
                  <a:gd name="T109" fmla="*/ 22 h 43"/>
                  <a:gd name="T110" fmla="*/ 17 w 26"/>
                  <a:gd name="T111" fmla="*/ 15 h 43"/>
                  <a:gd name="T112" fmla="*/ 17 w 26"/>
                  <a:gd name="T113" fmla="*/ 1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" h="43">
                    <a:moveTo>
                      <a:pt x="15" y="0"/>
                    </a:moveTo>
                    <a:lnTo>
                      <a:pt x="15" y="1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5" y="3"/>
                    </a:lnTo>
                    <a:lnTo>
                      <a:pt x="17" y="1"/>
                    </a:lnTo>
                    <a:lnTo>
                      <a:pt x="17" y="3"/>
                    </a:lnTo>
                    <a:lnTo>
                      <a:pt x="17" y="1"/>
                    </a:lnTo>
                    <a:lnTo>
                      <a:pt x="17" y="3"/>
                    </a:lnTo>
                    <a:lnTo>
                      <a:pt x="19" y="1"/>
                    </a:lnTo>
                    <a:lnTo>
                      <a:pt x="19" y="3"/>
                    </a:lnTo>
                    <a:lnTo>
                      <a:pt x="19" y="7"/>
                    </a:lnTo>
                    <a:lnTo>
                      <a:pt x="17" y="9"/>
                    </a:lnTo>
                    <a:lnTo>
                      <a:pt x="17" y="13"/>
                    </a:lnTo>
                    <a:lnTo>
                      <a:pt x="15" y="15"/>
                    </a:lnTo>
                    <a:lnTo>
                      <a:pt x="17" y="17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5" y="24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5" y="28"/>
                    </a:lnTo>
                    <a:lnTo>
                      <a:pt x="15" y="30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3" y="34"/>
                    </a:lnTo>
                    <a:lnTo>
                      <a:pt x="15" y="32"/>
                    </a:lnTo>
                    <a:lnTo>
                      <a:pt x="15" y="30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3" y="32"/>
                    </a:lnTo>
                    <a:lnTo>
                      <a:pt x="13" y="34"/>
                    </a:lnTo>
                    <a:lnTo>
                      <a:pt x="13" y="36"/>
                    </a:lnTo>
                    <a:lnTo>
                      <a:pt x="13" y="34"/>
                    </a:lnTo>
                    <a:lnTo>
                      <a:pt x="11" y="36"/>
                    </a:lnTo>
                    <a:lnTo>
                      <a:pt x="11" y="38"/>
                    </a:lnTo>
                    <a:lnTo>
                      <a:pt x="9" y="36"/>
                    </a:lnTo>
                    <a:lnTo>
                      <a:pt x="9" y="38"/>
                    </a:lnTo>
                    <a:lnTo>
                      <a:pt x="7" y="38"/>
                    </a:lnTo>
                    <a:lnTo>
                      <a:pt x="7" y="40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2" y="24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11" y="3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0"/>
                    </a:lnTo>
                    <a:close/>
                    <a:moveTo>
                      <a:pt x="23" y="5"/>
                    </a:moveTo>
                    <a:lnTo>
                      <a:pt x="23" y="7"/>
                    </a:lnTo>
                    <a:lnTo>
                      <a:pt x="21" y="9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1" y="9"/>
                    </a:lnTo>
                    <a:lnTo>
                      <a:pt x="21" y="7"/>
                    </a:lnTo>
                    <a:lnTo>
                      <a:pt x="23" y="5"/>
                    </a:lnTo>
                    <a:close/>
                    <a:moveTo>
                      <a:pt x="23" y="17"/>
                    </a:moveTo>
                    <a:lnTo>
                      <a:pt x="25" y="17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1" y="19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3" y="17"/>
                    </a:lnTo>
                    <a:close/>
                    <a:moveTo>
                      <a:pt x="23" y="19"/>
                    </a:moveTo>
                    <a:lnTo>
                      <a:pt x="23" y="21"/>
                    </a:lnTo>
                    <a:lnTo>
                      <a:pt x="23" y="19"/>
                    </a:lnTo>
                    <a:close/>
                    <a:moveTo>
                      <a:pt x="21" y="21"/>
                    </a:moveTo>
                    <a:lnTo>
                      <a:pt x="21" y="22"/>
                    </a:lnTo>
                    <a:lnTo>
                      <a:pt x="21" y="21"/>
                    </a:lnTo>
                    <a:close/>
                    <a:moveTo>
                      <a:pt x="17" y="13"/>
                    </a:moveTo>
                    <a:lnTo>
                      <a:pt x="19" y="13"/>
                    </a:lnTo>
                    <a:lnTo>
                      <a:pt x="19" y="15"/>
                    </a:lnTo>
                    <a:lnTo>
                      <a:pt x="17" y="15"/>
                    </a:lnTo>
                    <a:lnTo>
                      <a:pt x="17" y="13"/>
                    </a:lnTo>
                    <a:close/>
                    <a:moveTo>
                      <a:pt x="21" y="21"/>
                    </a:moveTo>
                    <a:lnTo>
                      <a:pt x="23" y="21"/>
                    </a:lnTo>
                    <a:lnTo>
                      <a:pt x="23" y="22"/>
                    </a:lnTo>
                    <a:lnTo>
                      <a:pt x="21" y="22"/>
                    </a:lnTo>
                    <a:lnTo>
                      <a:pt x="21" y="21"/>
                    </a:lnTo>
                    <a:close/>
                    <a:moveTo>
                      <a:pt x="21" y="5"/>
                    </a:moveTo>
                    <a:lnTo>
                      <a:pt x="21" y="7"/>
                    </a:lnTo>
                    <a:lnTo>
                      <a:pt x="21" y="5"/>
                    </a:lnTo>
                    <a:close/>
                    <a:moveTo>
                      <a:pt x="19" y="11"/>
                    </a:moveTo>
                    <a:lnTo>
                      <a:pt x="19" y="13"/>
                    </a:lnTo>
                    <a:lnTo>
                      <a:pt x="19" y="11"/>
                    </a:lnTo>
                    <a:close/>
                    <a:moveTo>
                      <a:pt x="19" y="22"/>
                    </a:moveTo>
                    <a:lnTo>
                      <a:pt x="19" y="24"/>
                    </a:lnTo>
                    <a:lnTo>
                      <a:pt x="19" y="22"/>
                    </a:lnTo>
                    <a:close/>
                    <a:moveTo>
                      <a:pt x="26" y="21"/>
                    </a:moveTo>
                    <a:lnTo>
                      <a:pt x="26" y="22"/>
                    </a:lnTo>
                    <a:lnTo>
                      <a:pt x="26" y="21"/>
                    </a:lnTo>
                    <a:close/>
                    <a:moveTo>
                      <a:pt x="17" y="15"/>
                    </a:moveTo>
                    <a:lnTo>
                      <a:pt x="19" y="15"/>
                    </a:lnTo>
                    <a:lnTo>
                      <a:pt x="17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1" name="Freeform 68">
                <a:extLst>
                  <a:ext uri="{FF2B5EF4-FFF2-40B4-BE49-F238E27FC236}">
                    <a16:creationId xmlns:a16="http://schemas.microsoft.com/office/drawing/2014/main" id="{3D022FEE-0432-1E7C-A202-5875486E31C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052460" y="-2414891"/>
                <a:ext cx="44116" cy="11050"/>
              </a:xfrm>
              <a:custGeom>
                <a:avLst/>
                <a:gdLst>
                  <a:gd name="T0" fmla="*/ 2 w 28"/>
                  <a:gd name="T1" fmla="*/ 5 h 7"/>
                  <a:gd name="T2" fmla="*/ 2 w 28"/>
                  <a:gd name="T3" fmla="*/ 7 h 7"/>
                  <a:gd name="T4" fmla="*/ 4 w 28"/>
                  <a:gd name="T5" fmla="*/ 7 h 7"/>
                  <a:gd name="T6" fmla="*/ 4 w 28"/>
                  <a:gd name="T7" fmla="*/ 5 h 7"/>
                  <a:gd name="T8" fmla="*/ 4 w 28"/>
                  <a:gd name="T9" fmla="*/ 7 h 7"/>
                  <a:gd name="T10" fmla="*/ 5 w 28"/>
                  <a:gd name="T11" fmla="*/ 7 h 7"/>
                  <a:gd name="T12" fmla="*/ 4 w 28"/>
                  <a:gd name="T13" fmla="*/ 7 h 7"/>
                  <a:gd name="T14" fmla="*/ 2 w 28"/>
                  <a:gd name="T15" fmla="*/ 7 h 7"/>
                  <a:gd name="T16" fmla="*/ 0 w 28"/>
                  <a:gd name="T17" fmla="*/ 5 h 7"/>
                  <a:gd name="T18" fmla="*/ 2 w 28"/>
                  <a:gd name="T19" fmla="*/ 5 h 7"/>
                  <a:gd name="T20" fmla="*/ 25 w 28"/>
                  <a:gd name="T21" fmla="*/ 0 h 7"/>
                  <a:gd name="T22" fmla="*/ 28 w 28"/>
                  <a:gd name="T23" fmla="*/ 0 h 7"/>
                  <a:gd name="T24" fmla="*/ 28 w 28"/>
                  <a:gd name="T25" fmla="*/ 1 h 7"/>
                  <a:gd name="T26" fmla="*/ 25 w 28"/>
                  <a:gd name="T27" fmla="*/ 1 h 7"/>
                  <a:gd name="T28" fmla="*/ 25 w 28"/>
                  <a:gd name="T29" fmla="*/ 0 h 7"/>
                  <a:gd name="T30" fmla="*/ 21 w 28"/>
                  <a:gd name="T31" fmla="*/ 0 h 7"/>
                  <a:gd name="T32" fmla="*/ 25 w 28"/>
                  <a:gd name="T33" fmla="*/ 0 h 7"/>
                  <a:gd name="T34" fmla="*/ 25 w 28"/>
                  <a:gd name="T35" fmla="*/ 1 h 7"/>
                  <a:gd name="T36" fmla="*/ 21 w 28"/>
                  <a:gd name="T37" fmla="*/ 1 h 7"/>
                  <a:gd name="T38" fmla="*/ 21 w 28"/>
                  <a:gd name="T3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7">
                    <a:moveTo>
                      <a:pt x="2" y="5"/>
                    </a:moveTo>
                    <a:lnTo>
                      <a:pt x="2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2" y="5"/>
                    </a:lnTo>
                    <a:close/>
                    <a:moveTo>
                      <a:pt x="25" y="0"/>
                    </a:moveTo>
                    <a:lnTo>
                      <a:pt x="28" y="0"/>
                    </a:lnTo>
                    <a:lnTo>
                      <a:pt x="28" y="1"/>
                    </a:lnTo>
                    <a:lnTo>
                      <a:pt x="25" y="1"/>
                    </a:lnTo>
                    <a:lnTo>
                      <a:pt x="25" y="0"/>
                    </a:lnTo>
                    <a:close/>
                    <a:moveTo>
                      <a:pt x="21" y="0"/>
                    </a:moveTo>
                    <a:lnTo>
                      <a:pt x="25" y="0"/>
                    </a:lnTo>
                    <a:lnTo>
                      <a:pt x="25" y="1"/>
                    </a:lnTo>
                    <a:lnTo>
                      <a:pt x="21" y="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2" name="Freeform 69">
                <a:extLst>
                  <a:ext uri="{FF2B5EF4-FFF2-40B4-BE49-F238E27FC236}">
                    <a16:creationId xmlns:a16="http://schemas.microsoft.com/office/drawing/2014/main" id="{167CC74F-DF2B-4BE2-5406-DBC9708EF4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853936" y="-2331226"/>
                <a:ext cx="155983" cy="93135"/>
              </a:xfrm>
              <a:custGeom>
                <a:avLst/>
                <a:gdLst>
                  <a:gd name="T0" fmla="*/ 4 w 99"/>
                  <a:gd name="T1" fmla="*/ 32 h 59"/>
                  <a:gd name="T2" fmla="*/ 6 w 99"/>
                  <a:gd name="T3" fmla="*/ 23 h 59"/>
                  <a:gd name="T4" fmla="*/ 17 w 99"/>
                  <a:gd name="T5" fmla="*/ 13 h 59"/>
                  <a:gd name="T6" fmla="*/ 23 w 99"/>
                  <a:gd name="T7" fmla="*/ 13 h 59"/>
                  <a:gd name="T8" fmla="*/ 28 w 99"/>
                  <a:gd name="T9" fmla="*/ 13 h 59"/>
                  <a:gd name="T10" fmla="*/ 28 w 99"/>
                  <a:gd name="T11" fmla="*/ 11 h 59"/>
                  <a:gd name="T12" fmla="*/ 40 w 99"/>
                  <a:gd name="T13" fmla="*/ 13 h 59"/>
                  <a:gd name="T14" fmla="*/ 49 w 99"/>
                  <a:gd name="T15" fmla="*/ 13 h 59"/>
                  <a:gd name="T16" fmla="*/ 53 w 99"/>
                  <a:gd name="T17" fmla="*/ 10 h 59"/>
                  <a:gd name="T18" fmla="*/ 67 w 99"/>
                  <a:gd name="T19" fmla="*/ 11 h 59"/>
                  <a:gd name="T20" fmla="*/ 70 w 99"/>
                  <a:gd name="T21" fmla="*/ 11 h 59"/>
                  <a:gd name="T22" fmla="*/ 72 w 99"/>
                  <a:gd name="T23" fmla="*/ 11 h 59"/>
                  <a:gd name="T24" fmla="*/ 76 w 99"/>
                  <a:gd name="T25" fmla="*/ 11 h 59"/>
                  <a:gd name="T26" fmla="*/ 78 w 99"/>
                  <a:gd name="T27" fmla="*/ 13 h 59"/>
                  <a:gd name="T28" fmla="*/ 80 w 99"/>
                  <a:gd name="T29" fmla="*/ 13 h 59"/>
                  <a:gd name="T30" fmla="*/ 84 w 99"/>
                  <a:gd name="T31" fmla="*/ 15 h 59"/>
                  <a:gd name="T32" fmla="*/ 88 w 99"/>
                  <a:gd name="T33" fmla="*/ 19 h 59"/>
                  <a:gd name="T34" fmla="*/ 82 w 99"/>
                  <a:gd name="T35" fmla="*/ 17 h 59"/>
                  <a:gd name="T36" fmla="*/ 84 w 99"/>
                  <a:gd name="T37" fmla="*/ 21 h 59"/>
                  <a:gd name="T38" fmla="*/ 88 w 99"/>
                  <a:gd name="T39" fmla="*/ 23 h 59"/>
                  <a:gd name="T40" fmla="*/ 86 w 99"/>
                  <a:gd name="T41" fmla="*/ 19 h 59"/>
                  <a:gd name="T42" fmla="*/ 91 w 99"/>
                  <a:gd name="T43" fmla="*/ 21 h 59"/>
                  <a:gd name="T44" fmla="*/ 93 w 99"/>
                  <a:gd name="T45" fmla="*/ 21 h 59"/>
                  <a:gd name="T46" fmla="*/ 95 w 99"/>
                  <a:gd name="T47" fmla="*/ 21 h 59"/>
                  <a:gd name="T48" fmla="*/ 95 w 99"/>
                  <a:gd name="T49" fmla="*/ 27 h 59"/>
                  <a:gd name="T50" fmla="*/ 91 w 99"/>
                  <a:gd name="T51" fmla="*/ 29 h 59"/>
                  <a:gd name="T52" fmla="*/ 86 w 99"/>
                  <a:gd name="T53" fmla="*/ 30 h 59"/>
                  <a:gd name="T54" fmla="*/ 82 w 99"/>
                  <a:gd name="T55" fmla="*/ 32 h 59"/>
                  <a:gd name="T56" fmla="*/ 78 w 99"/>
                  <a:gd name="T57" fmla="*/ 32 h 59"/>
                  <a:gd name="T58" fmla="*/ 74 w 99"/>
                  <a:gd name="T59" fmla="*/ 30 h 59"/>
                  <a:gd name="T60" fmla="*/ 69 w 99"/>
                  <a:gd name="T61" fmla="*/ 32 h 59"/>
                  <a:gd name="T62" fmla="*/ 65 w 99"/>
                  <a:gd name="T63" fmla="*/ 38 h 59"/>
                  <a:gd name="T64" fmla="*/ 61 w 99"/>
                  <a:gd name="T65" fmla="*/ 42 h 59"/>
                  <a:gd name="T66" fmla="*/ 55 w 99"/>
                  <a:gd name="T67" fmla="*/ 44 h 59"/>
                  <a:gd name="T68" fmla="*/ 49 w 99"/>
                  <a:gd name="T69" fmla="*/ 46 h 59"/>
                  <a:gd name="T70" fmla="*/ 42 w 99"/>
                  <a:gd name="T71" fmla="*/ 48 h 59"/>
                  <a:gd name="T72" fmla="*/ 40 w 99"/>
                  <a:gd name="T73" fmla="*/ 53 h 59"/>
                  <a:gd name="T74" fmla="*/ 40 w 99"/>
                  <a:gd name="T75" fmla="*/ 57 h 59"/>
                  <a:gd name="T76" fmla="*/ 34 w 99"/>
                  <a:gd name="T77" fmla="*/ 59 h 59"/>
                  <a:gd name="T78" fmla="*/ 34 w 99"/>
                  <a:gd name="T79" fmla="*/ 57 h 59"/>
                  <a:gd name="T80" fmla="*/ 34 w 99"/>
                  <a:gd name="T81" fmla="*/ 59 h 59"/>
                  <a:gd name="T82" fmla="*/ 30 w 99"/>
                  <a:gd name="T83" fmla="*/ 57 h 59"/>
                  <a:gd name="T84" fmla="*/ 32 w 99"/>
                  <a:gd name="T85" fmla="*/ 53 h 59"/>
                  <a:gd name="T86" fmla="*/ 30 w 99"/>
                  <a:gd name="T87" fmla="*/ 53 h 59"/>
                  <a:gd name="T88" fmla="*/ 27 w 99"/>
                  <a:gd name="T89" fmla="*/ 51 h 59"/>
                  <a:gd name="T90" fmla="*/ 25 w 99"/>
                  <a:gd name="T91" fmla="*/ 53 h 59"/>
                  <a:gd name="T92" fmla="*/ 27 w 99"/>
                  <a:gd name="T93" fmla="*/ 50 h 59"/>
                  <a:gd name="T94" fmla="*/ 23 w 99"/>
                  <a:gd name="T95" fmla="*/ 44 h 59"/>
                  <a:gd name="T96" fmla="*/ 17 w 99"/>
                  <a:gd name="T97" fmla="*/ 44 h 59"/>
                  <a:gd name="T98" fmla="*/ 11 w 99"/>
                  <a:gd name="T99" fmla="*/ 42 h 59"/>
                  <a:gd name="T100" fmla="*/ 6 w 99"/>
                  <a:gd name="T101" fmla="*/ 38 h 59"/>
                  <a:gd name="T102" fmla="*/ 21 w 99"/>
                  <a:gd name="T103" fmla="*/ 27 h 59"/>
                  <a:gd name="T104" fmla="*/ 49 w 99"/>
                  <a:gd name="T105" fmla="*/ 2 h 59"/>
                  <a:gd name="T106" fmla="*/ 46 w 99"/>
                  <a:gd name="T107" fmla="*/ 4 h 59"/>
                  <a:gd name="T108" fmla="*/ 49 w 99"/>
                  <a:gd name="T109" fmla="*/ 2 h 59"/>
                  <a:gd name="T110" fmla="*/ 55 w 99"/>
                  <a:gd name="T111" fmla="*/ 0 h 59"/>
                  <a:gd name="T112" fmla="*/ 40 w 99"/>
                  <a:gd name="T113" fmla="*/ 8 h 59"/>
                  <a:gd name="T114" fmla="*/ 27 w 99"/>
                  <a:gd name="T115" fmla="*/ 55 h 59"/>
                  <a:gd name="T116" fmla="*/ 84 w 99"/>
                  <a:gd name="T117" fmla="*/ 19 h 59"/>
                  <a:gd name="T118" fmla="*/ 30 w 99"/>
                  <a:gd name="T119" fmla="*/ 53 h 59"/>
                  <a:gd name="T120" fmla="*/ 49 w 99"/>
                  <a:gd name="T121" fmla="*/ 2 h 59"/>
                  <a:gd name="T122" fmla="*/ 30 w 99"/>
                  <a:gd name="T123" fmla="*/ 53 h 59"/>
                  <a:gd name="T124" fmla="*/ 30 w 99"/>
                  <a:gd name="T125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9" h="59">
                    <a:moveTo>
                      <a:pt x="0" y="36"/>
                    </a:moveTo>
                    <a:lnTo>
                      <a:pt x="0" y="34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2" y="29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6" y="23"/>
                    </a:lnTo>
                    <a:lnTo>
                      <a:pt x="9" y="23"/>
                    </a:lnTo>
                    <a:lnTo>
                      <a:pt x="11" y="21"/>
                    </a:lnTo>
                    <a:lnTo>
                      <a:pt x="17" y="15"/>
                    </a:lnTo>
                    <a:lnTo>
                      <a:pt x="19" y="15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21" y="13"/>
                    </a:lnTo>
                    <a:lnTo>
                      <a:pt x="23" y="13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30" y="13"/>
                    </a:lnTo>
                    <a:lnTo>
                      <a:pt x="28" y="13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28" y="11"/>
                    </a:lnTo>
                    <a:lnTo>
                      <a:pt x="30" y="13"/>
                    </a:lnTo>
                    <a:lnTo>
                      <a:pt x="32" y="13"/>
                    </a:lnTo>
                    <a:lnTo>
                      <a:pt x="32" y="11"/>
                    </a:lnTo>
                    <a:lnTo>
                      <a:pt x="34" y="13"/>
                    </a:lnTo>
                    <a:lnTo>
                      <a:pt x="40" y="13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6" y="13"/>
                    </a:lnTo>
                    <a:lnTo>
                      <a:pt x="48" y="13"/>
                    </a:lnTo>
                    <a:lnTo>
                      <a:pt x="49" y="13"/>
                    </a:lnTo>
                    <a:lnTo>
                      <a:pt x="51" y="11"/>
                    </a:lnTo>
                    <a:lnTo>
                      <a:pt x="53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3" y="10"/>
                    </a:lnTo>
                    <a:lnTo>
                      <a:pt x="55" y="10"/>
                    </a:lnTo>
                    <a:lnTo>
                      <a:pt x="59" y="10"/>
                    </a:lnTo>
                    <a:lnTo>
                      <a:pt x="61" y="11"/>
                    </a:lnTo>
                    <a:lnTo>
                      <a:pt x="63" y="11"/>
                    </a:lnTo>
                    <a:lnTo>
                      <a:pt x="67" y="11"/>
                    </a:lnTo>
                    <a:lnTo>
                      <a:pt x="69" y="10"/>
                    </a:lnTo>
                    <a:lnTo>
                      <a:pt x="70" y="10"/>
                    </a:lnTo>
                    <a:lnTo>
                      <a:pt x="70" y="11"/>
                    </a:lnTo>
                    <a:lnTo>
                      <a:pt x="70" y="10"/>
                    </a:lnTo>
                    <a:lnTo>
                      <a:pt x="70" y="11"/>
                    </a:lnTo>
                    <a:lnTo>
                      <a:pt x="70" y="10"/>
                    </a:lnTo>
                    <a:lnTo>
                      <a:pt x="70" y="11"/>
                    </a:lnTo>
                    <a:lnTo>
                      <a:pt x="70" y="10"/>
                    </a:lnTo>
                    <a:lnTo>
                      <a:pt x="70" y="11"/>
                    </a:lnTo>
                    <a:lnTo>
                      <a:pt x="72" y="11"/>
                    </a:lnTo>
                    <a:lnTo>
                      <a:pt x="74" y="11"/>
                    </a:lnTo>
                    <a:lnTo>
                      <a:pt x="70" y="10"/>
                    </a:lnTo>
                    <a:lnTo>
                      <a:pt x="72" y="11"/>
                    </a:lnTo>
                    <a:lnTo>
                      <a:pt x="74" y="11"/>
                    </a:lnTo>
                    <a:lnTo>
                      <a:pt x="76" y="11"/>
                    </a:lnTo>
                    <a:lnTo>
                      <a:pt x="74" y="13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78" y="11"/>
                    </a:lnTo>
                    <a:lnTo>
                      <a:pt x="78" y="13"/>
                    </a:lnTo>
                    <a:lnTo>
                      <a:pt x="76" y="11"/>
                    </a:lnTo>
                    <a:lnTo>
                      <a:pt x="78" y="11"/>
                    </a:lnTo>
                    <a:lnTo>
                      <a:pt x="80" y="13"/>
                    </a:lnTo>
                    <a:lnTo>
                      <a:pt x="84" y="15"/>
                    </a:lnTo>
                    <a:lnTo>
                      <a:pt x="82" y="15"/>
                    </a:lnTo>
                    <a:lnTo>
                      <a:pt x="84" y="15"/>
                    </a:lnTo>
                    <a:lnTo>
                      <a:pt x="84" y="17"/>
                    </a:lnTo>
                    <a:lnTo>
                      <a:pt x="84" y="15"/>
                    </a:lnTo>
                    <a:lnTo>
                      <a:pt x="88" y="19"/>
                    </a:lnTo>
                    <a:lnTo>
                      <a:pt x="90" y="19"/>
                    </a:lnTo>
                    <a:lnTo>
                      <a:pt x="88" y="19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86" y="17"/>
                    </a:lnTo>
                    <a:lnTo>
                      <a:pt x="84" y="17"/>
                    </a:lnTo>
                    <a:lnTo>
                      <a:pt x="84" y="19"/>
                    </a:lnTo>
                    <a:lnTo>
                      <a:pt x="84" y="17"/>
                    </a:lnTo>
                    <a:lnTo>
                      <a:pt x="82" y="17"/>
                    </a:lnTo>
                    <a:lnTo>
                      <a:pt x="82" y="19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6" y="21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88" y="21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90" y="21"/>
                    </a:lnTo>
                    <a:lnTo>
                      <a:pt x="88" y="21"/>
                    </a:lnTo>
                    <a:lnTo>
                      <a:pt x="90" y="21"/>
                    </a:lnTo>
                    <a:lnTo>
                      <a:pt x="90" y="23"/>
                    </a:lnTo>
                    <a:lnTo>
                      <a:pt x="91" y="21"/>
                    </a:lnTo>
                    <a:lnTo>
                      <a:pt x="93" y="21"/>
                    </a:lnTo>
                    <a:lnTo>
                      <a:pt x="93" y="23"/>
                    </a:lnTo>
                    <a:lnTo>
                      <a:pt x="91" y="23"/>
                    </a:lnTo>
                    <a:lnTo>
                      <a:pt x="93" y="23"/>
                    </a:lnTo>
                    <a:lnTo>
                      <a:pt x="93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91" y="21"/>
                    </a:lnTo>
                    <a:lnTo>
                      <a:pt x="95" y="21"/>
                    </a:lnTo>
                    <a:lnTo>
                      <a:pt x="95" y="23"/>
                    </a:lnTo>
                    <a:lnTo>
                      <a:pt x="97" y="25"/>
                    </a:lnTo>
                    <a:lnTo>
                      <a:pt x="99" y="27"/>
                    </a:lnTo>
                    <a:lnTo>
                      <a:pt x="97" y="27"/>
                    </a:lnTo>
                    <a:lnTo>
                      <a:pt x="95" y="27"/>
                    </a:lnTo>
                    <a:lnTo>
                      <a:pt x="95" y="25"/>
                    </a:lnTo>
                    <a:lnTo>
                      <a:pt x="95" y="27"/>
                    </a:lnTo>
                    <a:lnTo>
                      <a:pt x="93" y="27"/>
                    </a:lnTo>
                    <a:lnTo>
                      <a:pt x="91" y="27"/>
                    </a:lnTo>
                    <a:lnTo>
                      <a:pt x="91" y="29"/>
                    </a:lnTo>
                    <a:lnTo>
                      <a:pt x="90" y="29"/>
                    </a:lnTo>
                    <a:lnTo>
                      <a:pt x="88" y="30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86" y="30"/>
                    </a:lnTo>
                    <a:lnTo>
                      <a:pt x="84" y="30"/>
                    </a:lnTo>
                    <a:lnTo>
                      <a:pt x="84" y="29"/>
                    </a:lnTo>
                    <a:lnTo>
                      <a:pt x="84" y="30"/>
                    </a:lnTo>
                    <a:lnTo>
                      <a:pt x="82" y="30"/>
                    </a:lnTo>
                    <a:lnTo>
                      <a:pt x="82" y="32"/>
                    </a:lnTo>
                    <a:lnTo>
                      <a:pt x="80" y="32"/>
                    </a:lnTo>
                    <a:lnTo>
                      <a:pt x="80" y="30"/>
                    </a:lnTo>
                    <a:lnTo>
                      <a:pt x="78" y="32"/>
                    </a:lnTo>
                    <a:lnTo>
                      <a:pt x="76" y="32"/>
                    </a:lnTo>
                    <a:lnTo>
                      <a:pt x="78" y="32"/>
                    </a:lnTo>
                    <a:lnTo>
                      <a:pt x="76" y="32"/>
                    </a:lnTo>
                    <a:lnTo>
                      <a:pt x="76" y="30"/>
                    </a:lnTo>
                    <a:lnTo>
                      <a:pt x="74" y="30"/>
                    </a:lnTo>
                    <a:lnTo>
                      <a:pt x="74" y="32"/>
                    </a:lnTo>
                    <a:lnTo>
                      <a:pt x="74" y="30"/>
                    </a:lnTo>
                    <a:lnTo>
                      <a:pt x="72" y="29"/>
                    </a:lnTo>
                    <a:lnTo>
                      <a:pt x="70" y="29"/>
                    </a:lnTo>
                    <a:lnTo>
                      <a:pt x="70" y="30"/>
                    </a:lnTo>
                    <a:lnTo>
                      <a:pt x="69" y="30"/>
                    </a:lnTo>
                    <a:lnTo>
                      <a:pt x="69" y="32"/>
                    </a:lnTo>
                    <a:lnTo>
                      <a:pt x="67" y="32"/>
                    </a:lnTo>
                    <a:lnTo>
                      <a:pt x="67" y="34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3" y="40"/>
                    </a:lnTo>
                    <a:lnTo>
                      <a:pt x="61" y="42"/>
                    </a:lnTo>
                    <a:lnTo>
                      <a:pt x="61" y="40"/>
                    </a:lnTo>
                    <a:lnTo>
                      <a:pt x="61" y="42"/>
                    </a:lnTo>
                    <a:lnTo>
                      <a:pt x="59" y="42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5" y="44"/>
                    </a:lnTo>
                    <a:lnTo>
                      <a:pt x="53" y="42"/>
                    </a:lnTo>
                    <a:lnTo>
                      <a:pt x="51" y="42"/>
                    </a:lnTo>
                    <a:lnTo>
                      <a:pt x="51" y="44"/>
                    </a:lnTo>
                    <a:lnTo>
                      <a:pt x="49" y="44"/>
                    </a:lnTo>
                    <a:lnTo>
                      <a:pt x="49" y="46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2" y="48"/>
                    </a:lnTo>
                    <a:lnTo>
                      <a:pt x="42" y="50"/>
                    </a:lnTo>
                    <a:lnTo>
                      <a:pt x="42" y="51"/>
                    </a:lnTo>
                    <a:lnTo>
                      <a:pt x="42" y="53"/>
                    </a:lnTo>
                    <a:lnTo>
                      <a:pt x="42" y="55"/>
                    </a:lnTo>
                    <a:lnTo>
                      <a:pt x="40" y="53"/>
                    </a:lnTo>
                    <a:lnTo>
                      <a:pt x="40" y="55"/>
                    </a:lnTo>
                    <a:lnTo>
                      <a:pt x="38" y="55"/>
                    </a:lnTo>
                    <a:lnTo>
                      <a:pt x="40" y="55"/>
                    </a:lnTo>
                    <a:lnTo>
                      <a:pt x="38" y="57"/>
                    </a:lnTo>
                    <a:lnTo>
                      <a:pt x="40" y="57"/>
                    </a:lnTo>
                    <a:lnTo>
                      <a:pt x="38" y="57"/>
                    </a:lnTo>
                    <a:lnTo>
                      <a:pt x="38" y="59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6" y="57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4" y="57"/>
                    </a:lnTo>
                    <a:lnTo>
                      <a:pt x="34" y="59"/>
                    </a:lnTo>
                    <a:lnTo>
                      <a:pt x="32" y="59"/>
                    </a:lnTo>
                    <a:lnTo>
                      <a:pt x="32" y="57"/>
                    </a:lnTo>
                    <a:lnTo>
                      <a:pt x="34" y="57"/>
                    </a:lnTo>
                    <a:lnTo>
                      <a:pt x="32" y="57"/>
                    </a:lnTo>
                    <a:lnTo>
                      <a:pt x="30" y="57"/>
                    </a:lnTo>
                    <a:lnTo>
                      <a:pt x="30" y="55"/>
                    </a:lnTo>
                    <a:lnTo>
                      <a:pt x="30" y="53"/>
                    </a:lnTo>
                    <a:lnTo>
                      <a:pt x="32" y="53"/>
                    </a:lnTo>
                    <a:lnTo>
                      <a:pt x="30" y="53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0" y="51"/>
                    </a:lnTo>
                    <a:lnTo>
                      <a:pt x="30" y="53"/>
                    </a:lnTo>
                    <a:lnTo>
                      <a:pt x="28" y="53"/>
                    </a:lnTo>
                    <a:lnTo>
                      <a:pt x="30" y="53"/>
                    </a:lnTo>
                    <a:lnTo>
                      <a:pt x="28" y="53"/>
                    </a:lnTo>
                    <a:lnTo>
                      <a:pt x="28" y="51"/>
                    </a:lnTo>
                    <a:lnTo>
                      <a:pt x="28" y="53"/>
                    </a:lnTo>
                    <a:lnTo>
                      <a:pt x="28" y="51"/>
                    </a:lnTo>
                    <a:lnTo>
                      <a:pt x="27" y="51"/>
                    </a:lnTo>
                    <a:lnTo>
                      <a:pt x="28" y="51"/>
                    </a:lnTo>
                    <a:lnTo>
                      <a:pt x="27" y="53"/>
                    </a:lnTo>
                    <a:lnTo>
                      <a:pt x="25" y="53"/>
                    </a:lnTo>
                    <a:lnTo>
                      <a:pt x="27" y="51"/>
                    </a:lnTo>
                    <a:lnTo>
                      <a:pt x="25" y="53"/>
                    </a:lnTo>
                    <a:lnTo>
                      <a:pt x="25" y="51"/>
                    </a:lnTo>
                    <a:lnTo>
                      <a:pt x="27" y="51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7" y="48"/>
                    </a:lnTo>
                    <a:lnTo>
                      <a:pt x="27" y="46"/>
                    </a:lnTo>
                    <a:lnTo>
                      <a:pt x="27" y="44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1" y="42"/>
                    </a:lnTo>
                    <a:lnTo>
                      <a:pt x="19" y="42"/>
                    </a:lnTo>
                    <a:lnTo>
                      <a:pt x="19" y="44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5" y="46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0" y="36"/>
                    </a:lnTo>
                    <a:close/>
                    <a:moveTo>
                      <a:pt x="21" y="27"/>
                    </a:moveTo>
                    <a:lnTo>
                      <a:pt x="23" y="27"/>
                    </a:lnTo>
                    <a:lnTo>
                      <a:pt x="23" y="29"/>
                    </a:lnTo>
                    <a:lnTo>
                      <a:pt x="21" y="29"/>
                    </a:lnTo>
                    <a:lnTo>
                      <a:pt x="21" y="27"/>
                    </a:lnTo>
                    <a:close/>
                    <a:moveTo>
                      <a:pt x="49" y="2"/>
                    </a:moveTo>
                    <a:lnTo>
                      <a:pt x="49" y="4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8" y="2"/>
                    </a:lnTo>
                    <a:lnTo>
                      <a:pt x="49" y="2"/>
                    </a:lnTo>
                    <a:close/>
                    <a:moveTo>
                      <a:pt x="55" y="0"/>
                    </a:moveTo>
                    <a:lnTo>
                      <a:pt x="57" y="0"/>
                    </a:lnTo>
                    <a:lnTo>
                      <a:pt x="57" y="2"/>
                    </a:lnTo>
                    <a:lnTo>
                      <a:pt x="55" y="2"/>
                    </a:lnTo>
                    <a:lnTo>
                      <a:pt x="55" y="0"/>
                    </a:lnTo>
                    <a:close/>
                    <a:moveTo>
                      <a:pt x="27" y="53"/>
                    </a:moveTo>
                    <a:lnTo>
                      <a:pt x="28" y="53"/>
                    </a:lnTo>
                    <a:lnTo>
                      <a:pt x="27" y="53"/>
                    </a:lnTo>
                    <a:close/>
                    <a:moveTo>
                      <a:pt x="38" y="8"/>
                    </a:moveTo>
                    <a:lnTo>
                      <a:pt x="40" y="8"/>
                    </a:lnTo>
                    <a:lnTo>
                      <a:pt x="38" y="8"/>
                    </a:lnTo>
                    <a:close/>
                    <a:moveTo>
                      <a:pt x="27" y="53"/>
                    </a:moveTo>
                    <a:lnTo>
                      <a:pt x="28" y="53"/>
                    </a:lnTo>
                    <a:lnTo>
                      <a:pt x="28" y="55"/>
                    </a:lnTo>
                    <a:lnTo>
                      <a:pt x="27" y="55"/>
                    </a:lnTo>
                    <a:lnTo>
                      <a:pt x="27" y="53"/>
                    </a:lnTo>
                    <a:close/>
                    <a:moveTo>
                      <a:pt x="84" y="17"/>
                    </a:moveTo>
                    <a:lnTo>
                      <a:pt x="86" y="17"/>
                    </a:lnTo>
                    <a:lnTo>
                      <a:pt x="86" y="19"/>
                    </a:lnTo>
                    <a:lnTo>
                      <a:pt x="84" y="19"/>
                    </a:lnTo>
                    <a:lnTo>
                      <a:pt x="84" y="17"/>
                    </a:lnTo>
                    <a:close/>
                    <a:moveTo>
                      <a:pt x="30" y="51"/>
                    </a:moveTo>
                    <a:lnTo>
                      <a:pt x="32" y="51"/>
                    </a:lnTo>
                    <a:lnTo>
                      <a:pt x="32" y="53"/>
                    </a:lnTo>
                    <a:lnTo>
                      <a:pt x="30" y="53"/>
                    </a:lnTo>
                    <a:lnTo>
                      <a:pt x="30" y="51"/>
                    </a:lnTo>
                    <a:close/>
                    <a:moveTo>
                      <a:pt x="30" y="51"/>
                    </a:moveTo>
                    <a:lnTo>
                      <a:pt x="30" y="53"/>
                    </a:lnTo>
                    <a:lnTo>
                      <a:pt x="30" y="51"/>
                    </a:lnTo>
                    <a:close/>
                    <a:moveTo>
                      <a:pt x="49" y="2"/>
                    </a:moveTo>
                    <a:lnTo>
                      <a:pt x="51" y="2"/>
                    </a:lnTo>
                    <a:lnTo>
                      <a:pt x="49" y="2"/>
                    </a:lnTo>
                    <a:close/>
                    <a:moveTo>
                      <a:pt x="30" y="53"/>
                    </a:moveTo>
                    <a:lnTo>
                      <a:pt x="32" y="53"/>
                    </a:lnTo>
                    <a:lnTo>
                      <a:pt x="30" y="53"/>
                    </a:lnTo>
                    <a:close/>
                    <a:moveTo>
                      <a:pt x="30" y="51"/>
                    </a:moveTo>
                    <a:lnTo>
                      <a:pt x="32" y="51"/>
                    </a:lnTo>
                    <a:lnTo>
                      <a:pt x="32" y="53"/>
                    </a:lnTo>
                    <a:lnTo>
                      <a:pt x="30" y="53"/>
                    </a:lnTo>
                    <a:lnTo>
                      <a:pt x="30" y="51"/>
                    </a:lnTo>
                    <a:close/>
                    <a:moveTo>
                      <a:pt x="30" y="51"/>
                    </a:moveTo>
                    <a:lnTo>
                      <a:pt x="30" y="53"/>
                    </a:lnTo>
                    <a:lnTo>
                      <a:pt x="30" y="5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3" name="Freeform 70">
                <a:extLst>
                  <a:ext uri="{FF2B5EF4-FFF2-40B4-BE49-F238E27FC236}">
                    <a16:creationId xmlns:a16="http://schemas.microsoft.com/office/drawing/2014/main" id="{57BDF19E-4186-5AEA-B9E6-275B7CDDFBF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896477" y="-2291762"/>
                <a:ext cx="113442" cy="110499"/>
              </a:xfrm>
              <a:custGeom>
                <a:avLst/>
                <a:gdLst>
                  <a:gd name="T0" fmla="*/ 68 w 72"/>
                  <a:gd name="T1" fmla="*/ 4 h 70"/>
                  <a:gd name="T2" fmla="*/ 70 w 72"/>
                  <a:gd name="T3" fmla="*/ 2 h 70"/>
                  <a:gd name="T4" fmla="*/ 68 w 72"/>
                  <a:gd name="T5" fmla="*/ 5 h 70"/>
                  <a:gd name="T6" fmla="*/ 72 w 72"/>
                  <a:gd name="T7" fmla="*/ 11 h 70"/>
                  <a:gd name="T8" fmla="*/ 68 w 72"/>
                  <a:gd name="T9" fmla="*/ 11 h 70"/>
                  <a:gd name="T10" fmla="*/ 70 w 72"/>
                  <a:gd name="T11" fmla="*/ 15 h 70"/>
                  <a:gd name="T12" fmla="*/ 66 w 72"/>
                  <a:gd name="T13" fmla="*/ 19 h 70"/>
                  <a:gd name="T14" fmla="*/ 64 w 72"/>
                  <a:gd name="T15" fmla="*/ 23 h 70"/>
                  <a:gd name="T16" fmla="*/ 64 w 72"/>
                  <a:gd name="T17" fmla="*/ 25 h 70"/>
                  <a:gd name="T18" fmla="*/ 66 w 72"/>
                  <a:gd name="T19" fmla="*/ 32 h 70"/>
                  <a:gd name="T20" fmla="*/ 66 w 72"/>
                  <a:gd name="T21" fmla="*/ 42 h 70"/>
                  <a:gd name="T22" fmla="*/ 64 w 72"/>
                  <a:gd name="T23" fmla="*/ 40 h 70"/>
                  <a:gd name="T24" fmla="*/ 64 w 72"/>
                  <a:gd name="T25" fmla="*/ 36 h 70"/>
                  <a:gd name="T26" fmla="*/ 63 w 72"/>
                  <a:gd name="T27" fmla="*/ 44 h 70"/>
                  <a:gd name="T28" fmla="*/ 64 w 72"/>
                  <a:gd name="T29" fmla="*/ 44 h 70"/>
                  <a:gd name="T30" fmla="*/ 63 w 72"/>
                  <a:gd name="T31" fmla="*/ 49 h 70"/>
                  <a:gd name="T32" fmla="*/ 61 w 72"/>
                  <a:gd name="T33" fmla="*/ 51 h 70"/>
                  <a:gd name="T34" fmla="*/ 64 w 72"/>
                  <a:gd name="T35" fmla="*/ 57 h 70"/>
                  <a:gd name="T36" fmla="*/ 61 w 72"/>
                  <a:gd name="T37" fmla="*/ 61 h 70"/>
                  <a:gd name="T38" fmla="*/ 64 w 72"/>
                  <a:gd name="T39" fmla="*/ 68 h 70"/>
                  <a:gd name="T40" fmla="*/ 59 w 72"/>
                  <a:gd name="T41" fmla="*/ 70 h 70"/>
                  <a:gd name="T42" fmla="*/ 53 w 72"/>
                  <a:gd name="T43" fmla="*/ 68 h 70"/>
                  <a:gd name="T44" fmla="*/ 49 w 72"/>
                  <a:gd name="T45" fmla="*/ 65 h 70"/>
                  <a:gd name="T46" fmla="*/ 40 w 72"/>
                  <a:gd name="T47" fmla="*/ 65 h 70"/>
                  <a:gd name="T48" fmla="*/ 32 w 72"/>
                  <a:gd name="T49" fmla="*/ 65 h 70"/>
                  <a:gd name="T50" fmla="*/ 28 w 72"/>
                  <a:gd name="T51" fmla="*/ 61 h 70"/>
                  <a:gd name="T52" fmla="*/ 21 w 72"/>
                  <a:gd name="T53" fmla="*/ 57 h 70"/>
                  <a:gd name="T54" fmla="*/ 17 w 72"/>
                  <a:gd name="T55" fmla="*/ 49 h 70"/>
                  <a:gd name="T56" fmla="*/ 9 w 72"/>
                  <a:gd name="T57" fmla="*/ 44 h 70"/>
                  <a:gd name="T58" fmla="*/ 5 w 72"/>
                  <a:gd name="T59" fmla="*/ 38 h 70"/>
                  <a:gd name="T60" fmla="*/ 0 w 72"/>
                  <a:gd name="T61" fmla="*/ 36 h 70"/>
                  <a:gd name="T62" fmla="*/ 3 w 72"/>
                  <a:gd name="T63" fmla="*/ 34 h 70"/>
                  <a:gd name="T64" fmla="*/ 9 w 72"/>
                  <a:gd name="T65" fmla="*/ 34 h 70"/>
                  <a:gd name="T66" fmla="*/ 11 w 72"/>
                  <a:gd name="T67" fmla="*/ 32 h 70"/>
                  <a:gd name="T68" fmla="*/ 13 w 72"/>
                  <a:gd name="T69" fmla="*/ 28 h 70"/>
                  <a:gd name="T70" fmla="*/ 15 w 72"/>
                  <a:gd name="T71" fmla="*/ 25 h 70"/>
                  <a:gd name="T72" fmla="*/ 19 w 72"/>
                  <a:gd name="T73" fmla="*/ 21 h 70"/>
                  <a:gd name="T74" fmla="*/ 24 w 72"/>
                  <a:gd name="T75" fmla="*/ 19 h 70"/>
                  <a:gd name="T76" fmla="*/ 30 w 72"/>
                  <a:gd name="T77" fmla="*/ 19 h 70"/>
                  <a:gd name="T78" fmla="*/ 34 w 72"/>
                  <a:gd name="T79" fmla="*/ 17 h 70"/>
                  <a:gd name="T80" fmla="*/ 36 w 72"/>
                  <a:gd name="T81" fmla="*/ 13 h 70"/>
                  <a:gd name="T82" fmla="*/ 40 w 72"/>
                  <a:gd name="T83" fmla="*/ 9 h 70"/>
                  <a:gd name="T84" fmla="*/ 43 w 72"/>
                  <a:gd name="T85" fmla="*/ 5 h 70"/>
                  <a:gd name="T86" fmla="*/ 47 w 72"/>
                  <a:gd name="T87" fmla="*/ 7 h 70"/>
                  <a:gd name="T88" fmla="*/ 51 w 72"/>
                  <a:gd name="T89" fmla="*/ 7 h 70"/>
                  <a:gd name="T90" fmla="*/ 53 w 72"/>
                  <a:gd name="T91" fmla="*/ 7 h 70"/>
                  <a:gd name="T92" fmla="*/ 57 w 72"/>
                  <a:gd name="T93" fmla="*/ 4 h 70"/>
                  <a:gd name="T94" fmla="*/ 59 w 72"/>
                  <a:gd name="T95" fmla="*/ 5 h 70"/>
                  <a:gd name="T96" fmla="*/ 64 w 72"/>
                  <a:gd name="T97" fmla="*/ 2 h 70"/>
                  <a:gd name="T98" fmla="*/ 68 w 72"/>
                  <a:gd name="T99" fmla="*/ 2 h 70"/>
                  <a:gd name="T100" fmla="*/ 63 w 72"/>
                  <a:gd name="T101" fmla="*/ 5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2" h="70">
                    <a:moveTo>
                      <a:pt x="72" y="2"/>
                    </a:moveTo>
                    <a:lnTo>
                      <a:pt x="70" y="2"/>
                    </a:lnTo>
                    <a:lnTo>
                      <a:pt x="70" y="5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2"/>
                    </a:lnTo>
                    <a:lnTo>
                      <a:pt x="68" y="4"/>
                    </a:lnTo>
                    <a:lnTo>
                      <a:pt x="68" y="5"/>
                    </a:lnTo>
                    <a:lnTo>
                      <a:pt x="70" y="5"/>
                    </a:lnTo>
                    <a:lnTo>
                      <a:pt x="68" y="5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0" y="9"/>
                    </a:lnTo>
                    <a:lnTo>
                      <a:pt x="72" y="11"/>
                    </a:lnTo>
                    <a:lnTo>
                      <a:pt x="70" y="15"/>
                    </a:lnTo>
                    <a:lnTo>
                      <a:pt x="70" y="13"/>
                    </a:lnTo>
                    <a:lnTo>
                      <a:pt x="70" y="11"/>
                    </a:lnTo>
                    <a:lnTo>
                      <a:pt x="68" y="11"/>
                    </a:lnTo>
                    <a:lnTo>
                      <a:pt x="70" y="13"/>
                    </a:lnTo>
                    <a:lnTo>
                      <a:pt x="68" y="13"/>
                    </a:lnTo>
                    <a:lnTo>
                      <a:pt x="70" y="13"/>
                    </a:lnTo>
                    <a:lnTo>
                      <a:pt x="70" y="15"/>
                    </a:lnTo>
                    <a:lnTo>
                      <a:pt x="68" y="17"/>
                    </a:lnTo>
                    <a:lnTo>
                      <a:pt x="66" y="19"/>
                    </a:lnTo>
                    <a:lnTo>
                      <a:pt x="66" y="17"/>
                    </a:lnTo>
                    <a:lnTo>
                      <a:pt x="66" y="19"/>
                    </a:lnTo>
                    <a:lnTo>
                      <a:pt x="66" y="21"/>
                    </a:lnTo>
                    <a:lnTo>
                      <a:pt x="66" y="25"/>
                    </a:lnTo>
                    <a:lnTo>
                      <a:pt x="66" y="23"/>
                    </a:lnTo>
                    <a:lnTo>
                      <a:pt x="64" y="23"/>
                    </a:lnTo>
                    <a:lnTo>
                      <a:pt x="66" y="23"/>
                    </a:lnTo>
                    <a:lnTo>
                      <a:pt x="64" y="25"/>
                    </a:lnTo>
                    <a:lnTo>
                      <a:pt x="66" y="25"/>
                    </a:lnTo>
                    <a:lnTo>
                      <a:pt x="64" y="25"/>
                    </a:lnTo>
                    <a:lnTo>
                      <a:pt x="66" y="25"/>
                    </a:lnTo>
                    <a:lnTo>
                      <a:pt x="66" y="26"/>
                    </a:lnTo>
                    <a:lnTo>
                      <a:pt x="66" y="28"/>
                    </a:lnTo>
                    <a:lnTo>
                      <a:pt x="66" y="32"/>
                    </a:lnTo>
                    <a:lnTo>
                      <a:pt x="66" y="36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4" y="44"/>
                    </a:lnTo>
                    <a:lnTo>
                      <a:pt x="64" y="42"/>
                    </a:lnTo>
                    <a:lnTo>
                      <a:pt x="64" y="40"/>
                    </a:lnTo>
                    <a:lnTo>
                      <a:pt x="64" y="42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4" y="36"/>
                    </a:lnTo>
                    <a:lnTo>
                      <a:pt x="64" y="38"/>
                    </a:lnTo>
                    <a:lnTo>
                      <a:pt x="64" y="40"/>
                    </a:lnTo>
                    <a:lnTo>
                      <a:pt x="63" y="42"/>
                    </a:lnTo>
                    <a:lnTo>
                      <a:pt x="63" y="44"/>
                    </a:lnTo>
                    <a:lnTo>
                      <a:pt x="63" y="46"/>
                    </a:lnTo>
                    <a:lnTo>
                      <a:pt x="64" y="44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4" y="46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3" y="47"/>
                    </a:lnTo>
                    <a:lnTo>
                      <a:pt x="63" y="49"/>
                    </a:lnTo>
                    <a:lnTo>
                      <a:pt x="63" y="51"/>
                    </a:lnTo>
                    <a:lnTo>
                      <a:pt x="61" y="51"/>
                    </a:lnTo>
                    <a:lnTo>
                      <a:pt x="63" y="53"/>
                    </a:lnTo>
                    <a:lnTo>
                      <a:pt x="63" y="51"/>
                    </a:lnTo>
                    <a:lnTo>
                      <a:pt x="63" y="53"/>
                    </a:lnTo>
                    <a:lnTo>
                      <a:pt x="64" y="57"/>
                    </a:lnTo>
                    <a:lnTo>
                      <a:pt x="63" y="57"/>
                    </a:lnTo>
                    <a:lnTo>
                      <a:pt x="63" y="59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1" y="63"/>
                    </a:lnTo>
                    <a:lnTo>
                      <a:pt x="61" y="65"/>
                    </a:lnTo>
                    <a:lnTo>
                      <a:pt x="63" y="67"/>
                    </a:lnTo>
                    <a:lnTo>
                      <a:pt x="64" y="68"/>
                    </a:lnTo>
                    <a:lnTo>
                      <a:pt x="64" y="70"/>
                    </a:lnTo>
                    <a:lnTo>
                      <a:pt x="63" y="70"/>
                    </a:lnTo>
                    <a:lnTo>
                      <a:pt x="61" y="70"/>
                    </a:lnTo>
                    <a:lnTo>
                      <a:pt x="59" y="70"/>
                    </a:lnTo>
                    <a:lnTo>
                      <a:pt x="57" y="70"/>
                    </a:lnTo>
                    <a:lnTo>
                      <a:pt x="55" y="70"/>
                    </a:lnTo>
                    <a:lnTo>
                      <a:pt x="55" y="68"/>
                    </a:lnTo>
                    <a:lnTo>
                      <a:pt x="53" y="68"/>
                    </a:lnTo>
                    <a:lnTo>
                      <a:pt x="53" y="67"/>
                    </a:lnTo>
                    <a:lnTo>
                      <a:pt x="51" y="67"/>
                    </a:lnTo>
                    <a:lnTo>
                      <a:pt x="49" y="67"/>
                    </a:lnTo>
                    <a:lnTo>
                      <a:pt x="49" y="65"/>
                    </a:lnTo>
                    <a:lnTo>
                      <a:pt x="49" y="67"/>
                    </a:lnTo>
                    <a:lnTo>
                      <a:pt x="47" y="65"/>
                    </a:lnTo>
                    <a:lnTo>
                      <a:pt x="43" y="67"/>
                    </a:lnTo>
                    <a:lnTo>
                      <a:pt x="40" y="65"/>
                    </a:lnTo>
                    <a:lnTo>
                      <a:pt x="38" y="65"/>
                    </a:lnTo>
                    <a:lnTo>
                      <a:pt x="36" y="65"/>
                    </a:lnTo>
                    <a:lnTo>
                      <a:pt x="34" y="63"/>
                    </a:lnTo>
                    <a:lnTo>
                      <a:pt x="32" y="65"/>
                    </a:lnTo>
                    <a:lnTo>
                      <a:pt x="30" y="65"/>
                    </a:lnTo>
                    <a:lnTo>
                      <a:pt x="30" y="63"/>
                    </a:lnTo>
                    <a:lnTo>
                      <a:pt x="28" y="63"/>
                    </a:lnTo>
                    <a:lnTo>
                      <a:pt x="28" y="61"/>
                    </a:lnTo>
                    <a:lnTo>
                      <a:pt x="26" y="61"/>
                    </a:lnTo>
                    <a:lnTo>
                      <a:pt x="24" y="59"/>
                    </a:lnTo>
                    <a:lnTo>
                      <a:pt x="24" y="57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19" y="53"/>
                    </a:lnTo>
                    <a:lnTo>
                      <a:pt x="17" y="51"/>
                    </a:lnTo>
                    <a:lnTo>
                      <a:pt x="17" y="49"/>
                    </a:lnTo>
                    <a:lnTo>
                      <a:pt x="15" y="47"/>
                    </a:lnTo>
                    <a:lnTo>
                      <a:pt x="7" y="42"/>
                    </a:lnTo>
                    <a:lnTo>
                      <a:pt x="9" y="42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5" y="38"/>
                    </a:lnTo>
                    <a:lnTo>
                      <a:pt x="3" y="38"/>
                    </a:lnTo>
                    <a:lnTo>
                      <a:pt x="3" y="36"/>
                    </a:lnTo>
                    <a:lnTo>
                      <a:pt x="3" y="38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1" y="34"/>
                    </a:lnTo>
                    <a:lnTo>
                      <a:pt x="1" y="32"/>
                    </a:lnTo>
                    <a:lnTo>
                      <a:pt x="3" y="34"/>
                    </a:lnTo>
                    <a:lnTo>
                      <a:pt x="3" y="36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9" y="34"/>
                    </a:lnTo>
                    <a:lnTo>
                      <a:pt x="11" y="34"/>
                    </a:lnTo>
                    <a:lnTo>
                      <a:pt x="11" y="32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13" y="30"/>
                    </a:lnTo>
                    <a:lnTo>
                      <a:pt x="13" y="28"/>
                    </a:lnTo>
                    <a:lnTo>
                      <a:pt x="15" y="30"/>
                    </a:lnTo>
                    <a:lnTo>
                      <a:pt x="15" y="28"/>
                    </a:lnTo>
                    <a:lnTo>
                      <a:pt x="15" y="26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2" y="21"/>
                    </a:lnTo>
                    <a:lnTo>
                      <a:pt x="22" y="19"/>
                    </a:lnTo>
                    <a:lnTo>
                      <a:pt x="24" y="19"/>
                    </a:lnTo>
                    <a:lnTo>
                      <a:pt x="24" y="17"/>
                    </a:lnTo>
                    <a:lnTo>
                      <a:pt x="26" y="17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0" y="21"/>
                    </a:lnTo>
                    <a:lnTo>
                      <a:pt x="30" y="19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4" y="15"/>
                    </a:lnTo>
                    <a:lnTo>
                      <a:pt x="34" y="17"/>
                    </a:lnTo>
                    <a:lnTo>
                      <a:pt x="36" y="15"/>
                    </a:lnTo>
                    <a:lnTo>
                      <a:pt x="36" y="13"/>
                    </a:lnTo>
                    <a:lnTo>
                      <a:pt x="38" y="13"/>
                    </a:lnTo>
                    <a:lnTo>
                      <a:pt x="40" y="13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2" y="5"/>
                    </a:lnTo>
                    <a:lnTo>
                      <a:pt x="43" y="5"/>
                    </a:lnTo>
                    <a:lnTo>
                      <a:pt x="43" y="4"/>
                    </a:lnTo>
                    <a:lnTo>
                      <a:pt x="45" y="4"/>
                    </a:lnTo>
                    <a:lnTo>
                      <a:pt x="47" y="5"/>
                    </a:lnTo>
                    <a:lnTo>
                      <a:pt x="47" y="7"/>
                    </a:lnTo>
                    <a:lnTo>
                      <a:pt x="47" y="5"/>
                    </a:lnTo>
                    <a:lnTo>
                      <a:pt x="49" y="5"/>
                    </a:lnTo>
                    <a:lnTo>
                      <a:pt x="49" y="7"/>
                    </a:lnTo>
                    <a:lnTo>
                      <a:pt x="51" y="7"/>
                    </a:lnTo>
                    <a:lnTo>
                      <a:pt x="49" y="7"/>
                    </a:lnTo>
                    <a:lnTo>
                      <a:pt x="51" y="7"/>
                    </a:lnTo>
                    <a:lnTo>
                      <a:pt x="53" y="5"/>
                    </a:lnTo>
                    <a:lnTo>
                      <a:pt x="53" y="7"/>
                    </a:lnTo>
                    <a:lnTo>
                      <a:pt x="55" y="7"/>
                    </a:lnTo>
                    <a:lnTo>
                      <a:pt x="55" y="5"/>
                    </a:lnTo>
                    <a:lnTo>
                      <a:pt x="57" y="5"/>
                    </a:lnTo>
                    <a:lnTo>
                      <a:pt x="57" y="4"/>
                    </a:lnTo>
                    <a:lnTo>
                      <a:pt x="57" y="5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3" y="4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70" y="2"/>
                    </a:lnTo>
                    <a:lnTo>
                      <a:pt x="72" y="2"/>
                    </a:lnTo>
                    <a:close/>
                    <a:moveTo>
                      <a:pt x="63" y="49"/>
                    </a:moveTo>
                    <a:lnTo>
                      <a:pt x="63" y="51"/>
                    </a:lnTo>
                    <a:lnTo>
                      <a:pt x="63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4" name="Freeform 71">
                <a:extLst>
                  <a:ext uri="{FF2B5EF4-FFF2-40B4-BE49-F238E27FC236}">
                    <a16:creationId xmlns:a16="http://schemas.microsoft.com/office/drawing/2014/main" id="{95A11F24-46F2-E8AC-1BAE-5CE52B11FFC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835030" y="-2277556"/>
                <a:ext cx="61449" cy="33151"/>
              </a:xfrm>
              <a:custGeom>
                <a:avLst/>
                <a:gdLst>
                  <a:gd name="T0" fmla="*/ 14 w 39"/>
                  <a:gd name="T1" fmla="*/ 2 h 21"/>
                  <a:gd name="T2" fmla="*/ 18 w 39"/>
                  <a:gd name="T3" fmla="*/ 2 h 21"/>
                  <a:gd name="T4" fmla="*/ 20 w 39"/>
                  <a:gd name="T5" fmla="*/ 4 h 21"/>
                  <a:gd name="T6" fmla="*/ 21 w 39"/>
                  <a:gd name="T7" fmla="*/ 6 h 21"/>
                  <a:gd name="T8" fmla="*/ 23 w 39"/>
                  <a:gd name="T9" fmla="*/ 8 h 21"/>
                  <a:gd name="T10" fmla="*/ 25 w 39"/>
                  <a:gd name="T11" fmla="*/ 10 h 21"/>
                  <a:gd name="T12" fmla="*/ 27 w 39"/>
                  <a:gd name="T13" fmla="*/ 10 h 21"/>
                  <a:gd name="T14" fmla="*/ 31 w 39"/>
                  <a:gd name="T15" fmla="*/ 10 h 21"/>
                  <a:gd name="T16" fmla="*/ 33 w 39"/>
                  <a:gd name="T17" fmla="*/ 8 h 21"/>
                  <a:gd name="T18" fmla="*/ 35 w 39"/>
                  <a:gd name="T19" fmla="*/ 10 h 21"/>
                  <a:gd name="T20" fmla="*/ 39 w 39"/>
                  <a:gd name="T21" fmla="*/ 10 h 21"/>
                  <a:gd name="T22" fmla="*/ 39 w 39"/>
                  <a:gd name="T23" fmla="*/ 14 h 21"/>
                  <a:gd name="T24" fmla="*/ 37 w 39"/>
                  <a:gd name="T25" fmla="*/ 16 h 21"/>
                  <a:gd name="T26" fmla="*/ 39 w 39"/>
                  <a:gd name="T27" fmla="*/ 17 h 21"/>
                  <a:gd name="T28" fmla="*/ 37 w 39"/>
                  <a:gd name="T29" fmla="*/ 19 h 21"/>
                  <a:gd name="T30" fmla="*/ 35 w 39"/>
                  <a:gd name="T31" fmla="*/ 21 h 21"/>
                  <a:gd name="T32" fmla="*/ 31 w 39"/>
                  <a:gd name="T33" fmla="*/ 21 h 21"/>
                  <a:gd name="T34" fmla="*/ 27 w 39"/>
                  <a:gd name="T35" fmla="*/ 21 h 21"/>
                  <a:gd name="T36" fmla="*/ 25 w 39"/>
                  <a:gd name="T37" fmla="*/ 19 h 21"/>
                  <a:gd name="T38" fmla="*/ 25 w 39"/>
                  <a:gd name="T39" fmla="*/ 19 h 21"/>
                  <a:gd name="T40" fmla="*/ 23 w 39"/>
                  <a:gd name="T41" fmla="*/ 21 h 21"/>
                  <a:gd name="T42" fmla="*/ 23 w 39"/>
                  <a:gd name="T43" fmla="*/ 21 h 21"/>
                  <a:gd name="T44" fmla="*/ 23 w 39"/>
                  <a:gd name="T45" fmla="*/ 21 h 21"/>
                  <a:gd name="T46" fmla="*/ 27 w 39"/>
                  <a:gd name="T47" fmla="*/ 21 h 21"/>
                  <a:gd name="T48" fmla="*/ 20 w 39"/>
                  <a:gd name="T49" fmla="*/ 19 h 21"/>
                  <a:gd name="T50" fmla="*/ 20 w 39"/>
                  <a:gd name="T51" fmla="*/ 19 h 21"/>
                  <a:gd name="T52" fmla="*/ 20 w 39"/>
                  <a:gd name="T53" fmla="*/ 19 h 21"/>
                  <a:gd name="T54" fmla="*/ 20 w 39"/>
                  <a:gd name="T55" fmla="*/ 19 h 21"/>
                  <a:gd name="T56" fmla="*/ 20 w 39"/>
                  <a:gd name="T57" fmla="*/ 19 h 21"/>
                  <a:gd name="T58" fmla="*/ 10 w 39"/>
                  <a:gd name="T59" fmla="*/ 17 h 21"/>
                  <a:gd name="T60" fmla="*/ 6 w 39"/>
                  <a:gd name="T61" fmla="*/ 16 h 21"/>
                  <a:gd name="T62" fmla="*/ 2 w 39"/>
                  <a:gd name="T63" fmla="*/ 14 h 21"/>
                  <a:gd name="T64" fmla="*/ 0 w 39"/>
                  <a:gd name="T65" fmla="*/ 10 h 21"/>
                  <a:gd name="T66" fmla="*/ 2 w 39"/>
                  <a:gd name="T67" fmla="*/ 8 h 21"/>
                  <a:gd name="T68" fmla="*/ 6 w 39"/>
                  <a:gd name="T69" fmla="*/ 8 h 21"/>
                  <a:gd name="T70" fmla="*/ 8 w 39"/>
                  <a:gd name="T71" fmla="*/ 6 h 21"/>
                  <a:gd name="T72" fmla="*/ 10 w 39"/>
                  <a:gd name="T73" fmla="*/ 4 h 21"/>
                  <a:gd name="T74" fmla="*/ 8 w 39"/>
                  <a:gd name="T75" fmla="*/ 2 h 21"/>
                  <a:gd name="T76" fmla="*/ 8 w 39"/>
                  <a:gd name="T77" fmla="*/ 2 h 21"/>
                  <a:gd name="T78" fmla="*/ 12 w 39"/>
                  <a:gd name="T79" fmla="*/ 2 h 21"/>
                  <a:gd name="T80" fmla="*/ 12 w 39"/>
                  <a:gd name="T81" fmla="*/ 2 h 21"/>
                  <a:gd name="T82" fmla="*/ 12 w 39"/>
                  <a:gd name="T83" fmla="*/ 2 h 21"/>
                  <a:gd name="T84" fmla="*/ 29 w 39"/>
                  <a:gd name="T85" fmla="*/ 21 h 21"/>
                  <a:gd name="T86" fmla="*/ 25 w 39"/>
                  <a:gd name="T87" fmla="*/ 21 h 21"/>
                  <a:gd name="T88" fmla="*/ 25 w 39"/>
                  <a:gd name="T89" fmla="*/ 21 h 21"/>
                  <a:gd name="T90" fmla="*/ 39 w 39"/>
                  <a:gd name="T91" fmla="*/ 21 h 21"/>
                  <a:gd name="T92" fmla="*/ 25 w 39"/>
                  <a:gd name="T93" fmla="*/ 21 h 21"/>
                  <a:gd name="T94" fmla="*/ 25 w 39"/>
                  <a:gd name="T95" fmla="*/ 21 h 21"/>
                  <a:gd name="T96" fmla="*/ 27 w 39"/>
                  <a:gd name="T9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9" h="21">
                    <a:moveTo>
                      <a:pt x="12" y="2"/>
                    </a:moveTo>
                    <a:lnTo>
                      <a:pt x="14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10"/>
                    </a:lnTo>
                    <a:lnTo>
                      <a:pt x="27" y="12"/>
                    </a:lnTo>
                    <a:lnTo>
                      <a:pt x="27" y="10"/>
                    </a:lnTo>
                    <a:lnTo>
                      <a:pt x="29" y="10"/>
                    </a:lnTo>
                    <a:lnTo>
                      <a:pt x="31" y="10"/>
                    </a:lnTo>
                    <a:lnTo>
                      <a:pt x="31" y="8"/>
                    </a:lnTo>
                    <a:lnTo>
                      <a:pt x="33" y="8"/>
                    </a:lnTo>
                    <a:lnTo>
                      <a:pt x="33" y="10"/>
                    </a:lnTo>
                    <a:lnTo>
                      <a:pt x="35" y="10"/>
                    </a:lnTo>
                    <a:lnTo>
                      <a:pt x="37" y="10"/>
                    </a:lnTo>
                    <a:lnTo>
                      <a:pt x="39" y="10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7" y="16"/>
                    </a:lnTo>
                    <a:lnTo>
                      <a:pt x="39" y="16"/>
                    </a:lnTo>
                    <a:lnTo>
                      <a:pt x="39" y="17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5" y="21"/>
                    </a:lnTo>
                    <a:lnTo>
                      <a:pt x="33" y="21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1" y="21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0" y="19"/>
                    </a:lnTo>
                    <a:lnTo>
                      <a:pt x="18" y="19"/>
                    </a:lnTo>
                    <a:lnTo>
                      <a:pt x="20" y="19"/>
                    </a:lnTo>
                    <a:lnTo>
                      <a:pt x="14" y="17"/>
                    </a:lnTo>
                    <a:lnTo>
                      <a:pt x="10" y="17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close/>
                    <a:moveTo>
                      <a:pt x="27" y="21"/>
                    </a:moveTo>
                    <a:lnTo>
                      <a:pt x="29" y="21"/>
                    </a:lnTo>
                    <a:lnTo>
                      <a:pt x="27" y="21"/>
                    </a:lnTo>
                    <a:close/>
                    <a:moveTo>
                      <a:pt x="25" y="21"/>
                    </a:moveTo>
                    <a:lnTo>
                      <a:pt x="27" y="21"/>
                    </a:lnTo>
                    <a:lnTo>
                      <a:pt x="25" y="21"/>
                    </a:lnTo>
                    <a:close/>
                    <a:moveTo>
                      <a:pt x="37" y="21"/>
                    </a:moveTo>
                    <a:lnTo>
                      <a:pt x="39" y="21"/>
                    </a:lnTo>
                    <a:lnTo>
                      <a:pt x="37" y="21"/>
                    </a:lnTo>
                    <a:close/>
                    <a:moveTo>
                      <a:pt x="25" y="21"/>
                    </a:moveTo>
                    <a:lnTo>
                      <a:pt x="27" y="21"/>
                    </a:lnTo>
                    <a:lnTo>
                      <a:pt x="25" y="21"/>
                    </a:lnTo>
                    <a:close/>
                    <a:moveTo>
                      <a:pt x="25" y="21"/>
                    </a:moveTo>
                    <a:lnTo>
                      <a:pt x="27" y="21"/>
                    </a:lnTo>
                    <a:lnTo>
                      <a:pt x="25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5" name="Freeform 74">
                <a:extLst>
                  <a:ext uri="{FF2B5EF4-FFF2-40B4-BE49-F238E27FC236}">
                    <a16:creationId xmlns:a16="http://schemas.microsoft.com/office/drawing/2014/main" id="{86F28605-B0A2-6DA4-9FF1-E4EFD311E60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910659" y="-2192314"/>
                <a:ext cx="115018" cy="143649"/>
              </a:xfrm>
              <a:custGeom>
                <a:avLst/>
                <a:gdLst>
                  <a:gd name="T0" fmla="*/ 57 w 73"/>
                  <a:gd name="T1" fmla="*/ 9 h 91"/>
                  <a:gd name="T2" fmla="*/ 65 w 73"/>
                  <a:gd name="T3" fmla="*/ 19 h 91"/>
                  <a:gd name="T4" fmla="*/ 69 w 73"/>
                  <a:gd name="T5" fmla="*/ 25 h 91"/>
                  <a:gd name="T6" fmla="*/ 73 w 73"/>
                  <a:gd name="T7" fmla="*/ 28 h 91"/>
                  <a:gd name="T8" fmla="*/ 71 w 73"/>
                  <a:gd name="T9" fmla="*/ 28 h 91"/>
                  <a:gd name="T10" fmla="*/ 67 w 73"/>
                  <a:gd name="T11" fmla="*/ 26 h 91"/>
                  <a:gd name="T12" fmla="*/ 67 w 73"/>
                  <a:gd name="T13" fmla="*/ 34 h 91"/>
                  <a:gd name="T14" fmla="*/ 69 w 73"/>
                  <a:gd name="T15" fmla="*/ 38 h 91"/>
                  <a:gd name="T16" fmla="*/ 69 w 73"/>
                  <a:gd name="T17" fmla="*/ 42 h 91"/>
                  <a:gd name="T18" fmla="*/ 65 w 73"/>
                  <a:gd name="T19" fmla="*/ 46 h 91"/>
                  <a:gd name="T20" fmla="*/ 67 w 73"/>
                  <a:gd name="T21" fmla="*/ 49 h 91"/>
                  <a:gd name="T22" fmla="*/ 67 w 73"/>
                  <a:gd name="T23" fmla="*/ 47 h 91"/>
                  <a:gd name="T24" fmla="*/ 63 w 73"/>
                  <a:gd name="T25" fmla="*/ 44 h 91"/>
                  <a:gd name="T26" fmla="*/ 61 w 73"/>
                  <a:gd name="T27" fmla="*/ 40 h 91"/>
                  <a:gd name="T28" fmla="*/ 59 w 73"/>
                  <a:gd name="T29" fmla="*/ 42 h 91"/>
                  <a:gd name="T30" fmla="*/ 61 w 73"/>
                  <a:gd name="T31" fmla="*/ 46 h 91"/>
                  <a:gd name="T32" fmla="*/ 57 w 73"/>
                  <a:gd name="T33" fmla="*/ 46 h 91"/>
                  <a:gd name="T34" fmla="*/ 54 w 73"/>
                  <a:gd name="T35" fmla="*/ 40 h 91"/>
                  <a:gd name="T36" fmla="*/ 55 w 73"/>
                  <a:gd name="T37" fmla="*/ 40 h 91"/>
                  <a:gd name="T38" fmla="*/ 55 w 73"/>
                  <a:gd name="T39" fmla="*/ 34 h 91"/>
                  <a:gd name="T40" fmla="*/ 52 w 73"/>
                  <a:gd name="T41" fmla="*/ 32 h 91"/>
                  <a:gd name="T42" fmla="*/ 48 w 73"/>
                  <a:gd name="T43" fmla="*/ 28 h 91"/>
                  <a:gd name="T44" fmla="*/ 46 w 73"/>
                  <a:gd name="T45" fmla="*/ 28 h 91"/>
                  <a:gd name="T46" fmla="*/ 38 w 73"/>
                  <a:gd name="T47" fmla="*/ 25 h 91"/>
                  <a:gd name="T48" fmla="*/ 38 w 73"/>
                  <a:gd name="T49" fmla="*/ 23 h 91"/>
                  <a:gd name="T50" fmla="*/ 36 w 73"/>
                  <a:gd name="T51" fmla="*/ 19 h 91"/>
                  <a:gd name="T52" fmla="*/ 31 w 73"/>
                  <a:gd name="T53" fmla="*/ 17 h 91"/>
                  <a:gd name="T54" fmla="*/ 31 w 73"/>
                  <a:gd name="T55" fmla="*/ 15 h 91"/>
                  <a:gd name="T56" fmla="*/ 33 w 73"/>
                  <a:gd name="T57" fmla="*/ 21 h 91"/>
                  <a:gd name="T58" fmla="*/ 36 w 73"/>
                  <a:gd name="T59" fmla="*/ 23 h 91"/>
                  <a:gd name="T60" fmla="*/ 34 w 73"/>
                  <a:gd name="T61" fmla="*/ 23 h 91"/>
                  <a:gd name="T62" fmla="*/ 34 w 73"/>
                  <a:gd name="T63" fmla="*/ 25 h 91"/>
                  <a:gd name="T64" fmla="*/ 31 w 73"/>
                  <a:gd name="T65" fmla="*/ 26 h 91"/>
                  <a:gd name="T66" fmla="*/ 27 w 73"/>
                  <a:gd name="T67" fmla="*/ 23 h 91"/>
                  <a:gd name="T68" fmla="*/ 25 w 73"/>
                  <a:gd name="T69" fmla="*/ 21 h 91"/>
                  <a:gd name="T70" fmla="*/ 21 w 73"/>
                  <a:gd name="T71" fmla="*/ 15 h 91"/>
                  <a:gd name="T72" fmla="*/ 21 w 73"/>
                  <a:gd name="T73" fmla="*/ 11 h 91"/>
                  <a:gd name="T74" fmla="*/ 23 w 73"/>
                  <a:gd name="T75" fmla="*/ 7 h 91"/>
                  <a:gd name="T76" fmla="*/ 21 w 73"/>
                  <a:gd name="T77" fmla="*/ 5 h 91"/>
                  <a:gd name="T78" fmla="*/ 21 w 73"/>
                  <a:gd name="T79" fmla="*/ 4 h 91"/>
                  <a:gd name="T80" fmla="*/ 23 w 73"/>
                  <a:gd name="T81" fmla="*/ 4 h 91"/>
                  <a:gd name="T82" fmla="*/ 23 w 73"/>
                  <a:gd name="T83" fmla="*/ 4 h 91"/>
                  <a:gd name="T84" fmla="*/ 27 w 73"/>
                  <a:gd name="T85" fmla="*/ 2 h 91"/>
                  <a:gd name="T86" fmla="*/ 34 w 73"/>
                  <a:gd name="T87" fmla="*/ 4 h 91"/>
                  <a:gd name="T88" fmla="*/ 40 w 73"/>
                  <a:gd name="T89" fmla="*/ 2 h 91"/>
                  <a:gd name="T90" fmla="*/ 44 w 73"/>
                  <a:gd name="T91" fmla="*/ 4 h 91"/>
                  <a:gd name="T92" fmla="*/ 46 w 73"/>
                  <a:gd name="T93" fmla="*/ 7 h 91"/>
                  <a:gd name="T94" fmla="*/ 52 w 73"/>
                  <a:gd name="T95" fmla="*/ 7 h 91"/>
                  <a:gd name="T96" fmla="*/ 55 w 73"/>
                  <a:gd name="T97" fmla="*/ 5 h 91"/>
                  <a:gd name="T98" fmla="*/ 33 w 73"/>
                  <a:gd name="T99" fmla="*/ 17 h 91"/>
                  <a:gd name="T100" fmla="*/ 31 w 73"/>
                  <a:gd name="T101" fmla="*/ 17 h 91"/>
                  <a:gd name="T102" fmla="*/ 0 w 73"/>
                  <a:gd name="T103" fmla="*/ 91 h 91"/>
                  <a:gd name="T104" fmla="*/ 55 w 73"/>
                  <a:gd name="T105" fmla="*/ 34 h 91"/>
                  <a:gd name="T106" fmla="*/ 34 w 73"/>
                  <a:gd name="T107" fmla="*/ 21 h 91"/>
                  <a:gd name="T108" fmla="*/ 33 w 73"/>
                  <a:gd name="T109" fmla="*/ 19 h 91"/>
                  <a:gd name="T110" fmla="*/ 34 w 73"/>
                  <a:gd name="T111" fmla="*/ 19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3" h="91">
                    <a:moveTo>
                      <a:pt x="54" y="4"/>
                    </a:moveTo>
                    <a:lnTo>
                      <a:pt x="55" y="5"/>
                    </a:lnTo>
                    <a:lnTo>
                      <a:pt x="57" y="9"/>
                    </a:lnTo>
                    <a:lnTo>
                      <a:pt x="59" y="13"/>
                    </a:lnTo>
                    <a:lnTo>
                      <a:pt x="63" y="19"/>
                    </a:lnTo>
                    <a:lnTo>
                      <a:pt x="65" y="19"/>
                    </a:lnTo>
                    <a:lnTo>
                      <a:pt x="65" y="21"/>
                    </a:lnTo>
                    <a:lnTo>
                      <a:pt x="67" y="23"/>
                    </a:lnTo>
                    <a:lnTo>
                      <a:pt x="69" y="25"/>
                    </a:lnTo>
                    <a:lnTo>
                      <a:pt x="71" y="25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1" y="28"/>
                    </a:lnTo>
                    <a:lnTo>
                      <a:pt x="71" y="26"/>
                    </a:lnTo>
                    <a:lnTo>
                      <a:pt x="71" y="28"/>
                    </a:lnTo>
                    <a:lnTo>
                      <a:pt x="71" y="26"/>
                    </a:lnTo>
                    <a:lnTo>
                      <a:pt x="69" y="26"/>
                    </a:lnTo>
                    <a:lnTo>
                      <a:pt x="67" y="26"/>
                    </a:lnTo>
                    <a:lnTo>
                      <a:pt x="69" y="28"/>
                    </a:lnTo>
                    <a:lnTo>
                      <a:pt x="67" y="28"/>
                    </a:lnTo>
                    <a:lnTo>
                      <a:pt x="67" y="34"/>
                    </a:lnTo>
                    <a:lnTo>
                      <a:pt x="69" y="36"/>
                    </a:lnTo>
                    <a:lnTo>
                      <a:pt x="71" y="36"/>
                    </a:lnTo>
                    <a:lnTo>
                      <a:pt x="69" y="38"/>
                    </a:lnTo>
                    <a:lnTo>
                      <a:pt x="67" y="38"/>
                    </a:lnTo>
                    <a:lnTo>
                      <a:pt x="67" y="40"/>
                    </a:lnTo>
                    <a:lnTo>
                      <a:pt x="69" y="42"/>
                    </a:lnTo>
                    <a:lnTo>
                      <a:pt x="69" y="44"/>
                    </a:lnTo>
                    <a:lnTo>
                      <a:pt x="67" y="46"/>
                    </a:lnTo>
                    <a:lnTo>
                      <a:pt x="65" y="46"/>
                    </a:lnTo>
                    <a:lnTo>
                      <a:pt x="65" y="47"/>
                    </a:lnTo>
                    <a:lnTo>
                      <a:pt x="67" y="47"/>
                    </a:lnTo>
                    <a:lnTo>
                      <a:pt x="67" y="49"/>
                    </a:lnTo>
                    <a:lnTo>
                      <a:pt x="67" y="51"/>
                    </a:lnTo>
                    <a:lnTo>
                      <a:pt x="67" y="49"/>
                    </a:lnTo>
                    <a:lnTo>
                      <a:pt x="67" y="47"/>
                    </a:lnTo>
                    <a:lnTo>
                      <a:pt x="63" y="46"/>
                    </a:lnTo>
                    <a:lnTo>
                      <a:pt x="65" y="44"/>
                    </a:lnTo>
                    <a:lnTo>
                      <a:pt x="63" y="44"/>
                    </a:lnTo>
                    <a:lnTo>
                      <a:pt x="63" y="42"/>
                    </a:lnTo>
                    <a:lnTo>
                      <a:pt x="61" y="42"/>
                    </a:lnTo>
                    <a:lnTo>
                      <a:pt x="61" y="40"/>
                    </a:lnTo>
                    <a:lnTo>
                      <a:pt x="59" y="40"/>
                    </a:lnTo>
                    <a:lnTo>
                      <a:pt x="57" y="40"/>
                    </a:lnTo>
                    <a:lnTo>
                      <a:pt x="59" y="42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5" y="44"/>
                    </a:lnTo>
                    <a:lnTo>
                      <a:pt x="54" y="42"/>
                    </a:lnTo>
                    <a:lnTo>
                      <a:pt x="54" y="40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5" y="36"/>
                    </a:lnTo>
                    <a:lnTo>
                      <a:pt x="55" y="34"/>
                    </a:lnTo>
                    <a:lnTo>
                      <a:pt x="54" y="34"/>
                    </a:lnTo>
                    <a:lnTo>
                      <a:pt x="54" y="32"/>
                    </a:lnTo>
                    <a:lnTo>
                      <a:pt x="52" y="32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2" y="26"/>
                    </a:lnTo>
                    <a:lnTo>
                      <a:pt x="40" y="26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29" y="15"/>
                    </a:lnTo>
                    <a:lnTo>
                      <a:pt x="31" y="15"/>
                    </a:lnTo>
                    <a:lnTo>
                      <a:pt x="31" y="17"/>
                    </a:lnTo>
                    <a:lnTo>
                      <a:pt x="31" y="19"/>
                    </a:lnTo>
                    <a:lnTo>
                      <a:pt x="33" y="21"/>
                    </a:lnTo>
                    <a:lnTo>
                      <a:pt x="34" y="21"/>
                    </a:lnTo>
                    <a:lnTo>
                      <a:pt x="34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4" y="25"/>
                    </a:lnTo>
                    <a:lnTo>
                      <a:pt x="33" y="25"/>
                    </a:lnTo>
                    <a:lnTo>
                      <a:pt x="34" y="25"/>
                    </a:lnTo>
                    <a:lnTo>
                      <a:pt x="33" y="25"/>
                    </a:lnTo>
                    <a:lnTo>
                      <a:pt x="33" y="26"/>
                    </a:lnTo>
                    <a:lnTo>
                      <a:pt x="31" y="26"/>
                    </a:lnTo>
                    <a:lnTo>
                      <a:pt x="31" y="25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19"/>
                    </a:lnTo>
                    <a:lnTo>
                      <a:pt x="21" y="15"/>
                    </a:lnTo>
                    <a:lnTo>
                      <a:pt x="19" y="13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19" y="5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5" y="0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4" y="4"/>
                    </a:lnTo>
                    <a:lnTo>
                      <a:pt x="38" y="2"/>
                    </a:lnTo>
                    <a:lnTo>
                      <a:pt x="40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5" y="7"/>
                    </a:lnTo>
                    <a:lnTo>
                      <a:pt x="55" y="5"/>
                    </a:lnTo>
                    <a:lnTo>
                      <a:pt x="54" y="4"/>
                    </a:lnTo>
                    <a:close/>
                    <a:moveTo>
                      <a:pt x="31" y="17"/>
                    </a:moveTo>
                    <a:lnTo>
                      <a:pt x="33" y="17"/>
                    </a:lnTo>
                    <a:lnTo>
                      <a:pt x="33" y="19"/>
                    </a:lnTo>
                    <a:lnTo>
                      <a:pt x="31" y="19"/>
                    </a:lnTo>
                    <a:lnTo>
                      <a:pt x="31" y="17"/>
                    </a:lnTo>
                    <a:close/>
                    <a:moveTo>
                      <a:pt x="0" y="91"/>
                    </a:moveTo>
                    <a:lnTo>
                      <a:pt x="2" y="91"/>
                    </a:lnTo>
                    <a:lnTo>
                      <a:pt x="0" y="91"/>
                    </a:lnTo>
                    <a:close/>
                    <a:moveTo>
                      <a:pt x="55" y="34"/>
                    </a:moveTo>
                    <a:lnTo>
                      <a:pt x="55" y="36"/>
                    </a:lnTo>
                    <a:lnTo>
                      <a:pt x="55" y="34"/>
                    </a:lnTo>
                    <a:close/>
                    <a:moveTo>
                      <a:pt x="34" y="21"/>
                    </a:moveTo>
                    <a:lnTo>
                      <a:pt x="36" y="21"/>
                    </a:lnTo>
                    <a:lnTo>
                      <a:pt x="34" y="21"/>
                    </a:lnTo>
                    <a:close/>
                    <a:moveTo>
                      <a:pt x="33" y="19"/>
                    </a:moveTo>
                    <a:lnTo>
                      <a:pt x="33" y="21"/>
                    </a:lnTo>
                    <a:lnTo>
                      <a:pt x="33" y="19"/>
                    </a:lnTo>
                    <a:close/>
                    <a:moveTo>
                      <a:pt x="34" y="19"/>
                    </a:moveTo>
                    <a:lnTo>
                      <a:pt x="34" y="21"/>
                    </a:lnTo>
                    <a:lnTo>
                      <a:pt x="34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2" name="Freeform 82">
                <a:extLst>
                  <a:ext uri="{FF2B5EF4-FFF2-40B4-BE49-F238E27FC236}">
                    <a16:creationId xmlns:a16="http://schemas.microsoft.com/office/drawing/2014/main" id="{FAAEE582-D3DC-19DA-C0AE-45285F629B9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73738" y="-2228621"/>
                <a:ext cx="78779" cy="44198"/>
              </a:xfrm>
              <a:custGeom>
                <a:avLst/>
                <a:gdLst>
                  <a:gd name="T0" fmla="*/ 50 w 50"/>
                  <a:gd name="T1" fmla="*/ 6 h 28"/>
                  <a:gd name="T2" fmla="*/ 46 w 50"/>
                  <a:gd name="T3" fmla="*/ 7 h 28"/>
                  <a:gd name="T4" fmla="*/ 44 w 50"/>
                  <a:gd name="T5" fmla="*/ 15 h 28"/>
                  <a:gd name="T6" fmla="*/ 39 w 50"/>
                  <a:gd name="T7" fmla="*/ 15 h 28"/>
                  <a:gd name="T8" fmla="*/ 29 w 50"/>
                  <a:gd name="T9" fmla="*/ 25 h 28"/>
                  <a:gd name="T10" fmla="*/ 27 w 50"/>
                  <a:gd name="T11" fmla="*/ 25 h 28"/>
                  <a:gd name="T12" fmla="*/ 27 w 50"/>
                  <a:gd name="T13" fmla="*/ 25 h 28"/>
                  <a:gd name="T14" fmla="*/ 23 w 50"/>
                  <a:gd name="T15" fmla="*/ 27 h 28"/>
                  <a:gd name="T16" fmla="*/ 23 w 50"/>
                  <a:gd name="T17" fmla="*/ 25 h 28"/>
                  <a:gd name="T18" fmla="*/ 23 w 50"/>
                  <a:gd name="T19" fmla="*/ 21 h 28"/>
                  <a:gd name="T20" fmla="*/ 21 w 50"/>
                  <a:gd name="T21" fmla="*/ 21 h 28"/>
                  <a:gd name="T22" fmla="*/ 21 w 50"/>
                  <a:gd name="T23" fmla="*/ 19 h 28"/>
                  <a:gd name="T24" fmla="*/ 23 w 50"/>
                  <a:gd name="T25" fmla="*/ 17 h 28"/>
                  <a:gd name="T26" fmla="*/ 25 w 50"/>
                  <a:gd name="T27" fmla="*/ 17 h 28"/>
                  <a:gd name="T28" fmla="*/ 27 w 50"/>
                  <a:gd name="T29" fmla="*/ 17 h 28"/>
                  <a:gd name="T30" fmla="*/ 27 w 50"/>
                  <a:gd name="T31" fmla="*/ 15 h 28"/>
                  <a:gd name="T32" fmla="*/ 27 w 50"/>
                  <a:gd name="T33" fmla="*/ 15 h 28"/>
                  <a:gd name="T34" fmla="*/ 25 w 50"/>
                  <a:gd name="T35" fmla="*/ 15 h 28"/>
                  <a:gd name="T36" fmla="*/ 21 w 50"/>
                  <a:gd name="T37" fmla="*/ 15 h 28"/>
                  <a:gd name="T38" fmla="*/ 21 w 50"/>
                  <a:gd name="T39" fmla="*/ 15 h 28"/>
                  <a:gd name="T40" fmla="*/ 21 w 50"/>
                  <a:gd name="T41" fmla="*/ 13 h 28"/>
                  <a:gd name="T42" fmla="*/ 29 w 50"/>
                  <a:gd name="T43" fmla="*/ 11 h 28"/>
                  <a:gd name="T44" fmla="*/ 21 w 50"/>
                  <a:gd name="T45" fmla="*/ 11 h 28"/>
                  <a:gd name="T46" fmla="*/ 14 w 50"/>
                  <a:gd name="T47" fmla="*/ 13 h 28"/>
                  <a:gd name="T48" fmla="*/ 14 w 50"/>
                  <a:gd name="T49" fmla="*/ 13 h 28"/>
                  <a:gd name="T50" fmla="*/ 14 w 50"/>
                  <a:gd name="T51" fmla="*/ 9 h 28"/>
                  <a:gd name="T52" fmla="*/ 8 w 50"/>
                  <a:gd name="T53" fmla="*/ 11 h 28"/>
                  <a:gd name="T54" fmla="*/ 8 w 50"/>
                  <a:gd name="T55" fmla="*/ 6 h 28"/>
                  <a:gd name="T56" fmla="*/ 8 w 50"/>
                  <a:gd name="T57" fmla="*/ 6 h 28"/>
                  <a:gd name="T58" fmla="*/ 2 w 50"/>
                  <a:gd name="T59" fmla="*/ 6 h 28"/>
                  <a:gd name="T60" fmla="*/ 4 w 50"/>
                  <a:gd name="T61" fmla="*/ 4 h 28"/>
                  <a:gd name="T62" fmla="*/ 12 w 50"/>
                  <a:gd name="T63" fmla="*/ 2 h 28"/>
                  <a:gd name="T64" fmla="*/ 25 w 50"/>
                  <a:gd name="T65" fmla="*/ 0 h 28"/>
                  <a:gd name="T66" fmla="*/ 12 w 50"/>
                  <a:gd name="T67" fmla="*/ 25 h 28"/>
                  <a:gd name="T68" fmla="*/ 10 w 50"/>
                  <a:gd name="T69" fmla="*/ 25 h 28"/>
                  <a:gd name="T70" fmla="*/ 12 w 50"/>
                  <a:gd name="T71" fmla="*/ 11 h 28"/>
                  <a:gd name="T72" fmla="*/ 14 w 50"/>
                  <a:gd name="T73" fmla="*/ 19 h 28"/>
                  <a:gd name="T74" fmla="*/ 14 w 50"/>
                  <a:gd name="T75" fmla="*/ 19 h 28"/>
                  <a:gd name="T76" fmla="*/ 6 w 50"/>
                  <a:gd name="T77" fmla="*/ 19 h 28"/>
                  <a:gd name="T78" fmla="*/ 16 w 50"/>
                  <a:gd name="T79" fmla="*/ 23 h 28"/>
                  <a:gd name="T80" fmla="*/ 12 w 50"/>
                  <a:gd name="T81" fmla="*/ 25 h 28"/>
                  <a:gd name="T82" fmla="*/ 6 w 50"/>
                  <a:gd name="T83" fmla="*/ 13 h 28"/>
                  <a:gd name="T84" fmla="*/ 18 w 50"/>
                  <a:gd name="T85" fmla="*/ 19 h 28"/>
                  <a:gd name="T86" fmla="*/ 8 w 50"/>
                  <a:gd name="T87" fmla="*/ 23 h 28"/>
                  <a:gd name="T88" fmla="*/ 8 w 50"/>
                  <a:gd name="T89" fmla="*/ 17 h 28"/>
                  <a:gd name="T90" fmla="*/ 14 w 50"/>
                  <a:gd name="T91" fmla="*/ 21 h 28"/>
                  <a:gd name="T92" fmla="*/ 12 w 50"/>
                  <a:gd name="T93" fmla="*/ 17 h 28"/>
                  <a:gd name="T94" fmla="*/ 10 w 50"/>
                  <a:gd name="T95" fmla="*/ 21 h 28"/>
                  <a:gd name="T96" fmla="*/ 10 w 50"/>
                  <a:gd name="T97" fmla="*/ 19 h 28"/>
                  <a:gd name="T98" fmla="*/ 12 w 50"/>
                  <a:gd name="T99" fmla="*/ 19 h 28"/>
                  <a:gd name="T100" fmla="*/ 21 w 50"/>
                  <a:gd name="T101" fmla="*/ 23 h 28"/>
                  <a:gd name="T102" fmla="*/ 6 w 50"/>
                  <a:gd name="T103" fmla="*/ 23 h 28"/>
                  <a:gd name="T104" fmla="*/ 14 w 50"/>
                  <a:gd name="T105" fmla="*/ 9 h 28"/>
                  <a:gd name="T106" fmla="*/ 12 w 50"/>
                  <a:gd name="T107" fmla="*/ 27 h 28"/>
                  <a:gd name="T108" fmla="*/ 12 w 50"/>
                  <a:gd name="T109" fmla="*/ 17 h 28"/>
                  <a:gd name="T110" fmla="*/ 21 w 50"/>
                  <a:gd name="T111" fmla="*/ 11 h 28"/>
                  <a:gd name="T112" fmla="*/ 16 w 50"/>
                  <a:gd name="T113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0" h="28">
                    <a:moveTo>
                      <a:pt x="48" y="0"/>
                    </a:moveTo>
                    <a:lnTo>
                      <a:pt x="48" y="2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7"/>
                    </a:lnTo>
                    <a:lnTo>
                      <a:pt x="46" y="7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15"/>
                    </a:lnTo>
                    <a:lnTo>
                      <a:pt x="46" y="15"/>
                    </a:lnTo>
                    <a:lnTo>
                      <a:pt x="44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1" y="15"/>
                    </a:lnTo>
                    <a:lnTo>
                      <a:pt x="39" y="15"/>
                    </a:lnTo>
                    <a:lnTo>
                      <a:pt x="39" y="17"/>
                    </a:lnTo>
                    <a:lnTo>
                      <a:pt x="35" y="19"/>
                    </a:lnTo>
                    <a:lnTo>
                      <a:pt x="33" y="19"/>
                    </a:lnTo>
                    <a:lnTo>
                      <a:pt x="31" y="21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7" y="28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3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5" y="25"/>
                    </a:lnTo>
                    <a:lnTo>
                      <a:pt x="23" y="25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21" y="21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1" y="19"/>
                    </a:lnTo>
                    <a:lnTo>
                      <a:pt x="21" y="21"/>
                    </a:lnTo>
                    <a:lnTo>
                      <a:pt x="20" y="21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1" y="17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9" y="17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3" y="15"/>
                    </a:lnTo>
                    <a:lnTo>
                      <a:pt x="25" y="15"/>
                    </a:lnTo>
                    <a:lnTo>
                      <a:pt x="25" y="13"/>
                    </a:lnTo>
                    <a:lnTo>
                      <a:pt x="25" y="15"/>
                    </a:lnTo>
                    <a:lnTo>
                      <a:pt x="23" y="15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3" y="17"/>
                    </a:lnTo>
                    <a:lnTo>
                      <a:pt x="21" y="15"/>
                    </a:lnTo>
                    <a:lnTo>
                      <a:pt x="23" y="17"/>
                    </a:lnTo>
                    <a:lnTo>
                      <a:pt x="21" y="17"/>
                    </a:lnTo>
                    <a:lnTo>
                      <a:pt x="21" y="15"/>
                    </a:lnTo>
                    <a:lnTo>
                      <a:pt x="20" y="15"/>
                    </a:lnTo>
                    <a:lnTo>
                      <a:pt x="21" y="15"/>
                    </a:lnTo>
                    <a:lnTo>
                      <a:pt x="20" y="15"/>
                    </a:lnTo>
                    <a:lnTo>
                      <a:pt x="20" y="13"/>
                    </a:lnTo>
                    <a:lnTo>
                      <a:pt x="20" y="15"/>
                    </a:lnTo>
                    <a:lnTo>
                      <a:pt x="20" y="13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3" y="11"/>
                    </a:lnTo>
                    <a:lnTo>
                      <a:pt x="21" y="11"/>
                    </a:lnTo>
                    <a:lnTo>
                      <a:pt x="20" y="11"/>
                    </a:lnTo>
                    <a:lnTo>
                      <a:pt x="18" y="13"/>
                    </a:lnTo>
                    <a:lnTo>
                      <a:pt x="16" y="13"/>
                    </a:lnTo>
                    <a:lnTo>
                      <a:pt x="16" y="15"/>
                    </a:lnTo>
                    <a:lnTo>
                      <a:pt x="14" y="13"/>
                    </a:lnTo>
                    <a:lnTo>
                      <a:pt x="16" y="13"/>
                    </a:lnTo>
                    <a:lnTo>
                      <a:pt x="14" y="13"/>
                    </a:lnTo>
                    <a:lnTo>
                      <a:pt x="12" y="15"/>
                    </a:lnTo>
                    <a:lnTo>
                      <a:pt x="12" y="13"/>
                    </a:lnTo>
                    <a:lnTo>
                      <a:pt x="14" y="13"/>
                    </a:lnTo>
                    <a:lnTo>
                      <a:pt x="14" y="11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14" y="9"/>
                    </a:lnTo>
                    <a:lnTo>
                      <a:pt x="12" y="9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1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48" y="0"/>
                    </a:lnTo>
                    <a:close/>
                    <a:moveTo>
                      <a:pt x="10" y="23"/>
                    </a:moveTo>
                    <a:lnTo>
                      <a:pt x="12" y="23"/>
                    </a:lnTo>
                    <a:lnTo>
                      <a:pt x="10" y="25"/>
                    </a:lnTo>
                    <a:lnTo>
                      <a:pt x="12" y="25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7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0" y="23"/>
                    </a:lnTo>
                    <a:close/>
                    <a:moveTo>
                      <a:pt x="10" y="11"/>
                    </a:moveTo>
                    <a:lnTo>
                      <a:pt x="12" y="11"/>
                    </a:lnTo>
                    <a:lnTo>
                      <a:pt x="12" y="13"/>
                    </a:lnTo>
                    <a:lnTo>
                      <a:pt x="10" y="13"/>
                    </a:lnTo>
                    <a:lnTo>
                      <a:pt x="10" y="11"/>
                    </a:lnTo>
                    <a:close/>
                    <a:moveTo>
                      <a:pt x="14" y="17"/>
                    </a:moveTo>
                    <a:lnTo>
                      <a:pt x="14" y="19"/>
                    </a:lnTo>
                    <a:lnTo>
                      <a:pt x="12" y="19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2" y="17"/>
                    </a:lnTo>
                    <a:lnTo>
                      <a:pt x="14" y="19"/>
                    </a:lnTo>
                    <a:lnTo>
                      <a:pt x="14" y="17"/>
                    </a:lnTo>
                    <a:close/>
                    <a:moveTo>
                      <a:pt x="6" y="17"/>
                    </a:moveTo>
                    <a:lnTo>
                      <a:pt x="8" y="17"/>
                    </a:lnTo>
                    <a:lnTo>
                      <a:pt x="8" y="19"/>
                    </a:lnTo>
                    <a:lnTo>
                      <a:pt x="6" y="19"/>
                    </a:lnTo>
                    <a:lnTo>
                      <a:pt x="6" y="17"/>
                    </a:lnTo>
                    <a:close/>
                    <a:moveTo>
                      <a:pt x="16" y="21"/>
                    </a:moveTo>
                    <a:lnTo>
                      <a:pt x="18" y="21"/>
                    </a:lnTo>
                    <a:lnTo>
                      <a:pt x="18" y="23"/>
                    </a:lnTo>
                    <a:lnTo>
                      <a:pt x="16" y="23"/>
                    </a:lnTo>
                    <a:lnTo>
                      <a:pt x="16" y="21"/>
                    </a:lnTo>
                    <a:close/>
                    <a:moveTo>
                      <a:pt x="12" y="23"/>
                    </a:moveTo>
                    <a:lnTo>
                      <a:pt x="14" y="23"/>
                    </a:lnTo>
                    <a:lnTo>
                      <a:pt x="14" y="25"/>
                    </a:lnTo>
                    <a:lnTo>
                      <a:pt x="12" y="25"/>
                    </a:lnTo>
                    <a:lnTo>
                      <a:pt x="12" y="23"/>
                    </a:lnTo>
                    <a:close/>
                    <a:moveTo>
                      <a:pt x="6" y="11"/>
                    </a:moveTo>
                    <a:lnTo>
                      <a:pt x="10" y="11"/>
                    </a:lnTo>
                    <a:lnTo>
                      <a:pt x="10" y="13"/>
                    </a:lnTo>
                    <a:lnTo>
                      <a:pt x="6" y="13"/>
                    </a:lnTo>
                    <a:lnTo>
                      <a:pt x="6" y="11"/>
                    </a:lnTo>
                    <a:close/>
                    <a:moveTo>
                      <a:pt x="18" y="15"/>
                    </a:moveTo>
                    <a:lnTo>
                      <a:pt x="21" y="15"/>
                    </a:lnTo>
                    <a:lnTo>
                      <a:pt x="21" y="19"/>
                    </a:lnTo>
                    <a:lnTo>
                      <a:pt x="18" y="19"/>
                    </a:lnTo>
                    <a:lnTo>
                      <a:pt x="18" y="15"/>
                    </a:lnTo>
                    <a:close/>
                    <a:moveTo>
                      <a:pt x="8" y="21"/>
                    </a:moveTo>
                    <a:lnTo>
                      <a:pt x="10" y="21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8" y="21"/>
                    </a:lnTo>
                    <a:close/>
                    <a:moveTo>
                      <a:pt x="12" y="23"/>
                    </a:moveTo>
                    <a:lnTo>
                      <a:pt x="12" y="25"/>
                    </a:lnTo>
                    <a:lnTo>
                      <a:pt x="12" y="23"/>
                    </a:lnTo>
                    <a:close/>
                    <a:moveTo>
                      <a:pt x="8" y="17"/>
                    </a:moveTo>
                    <a:lnTo>
                      <a:pt x="10" y="17"/>
                    </a:lnTo>
                    <a:lnTo>
                      <a:pt x="10" y="19"/>
                    </a:lnTo>
                    <a:lnTo>
                      <a:pt x="8" y="19"/>
                    </a:lnTo>
                    <a:lnTo>
                      <a:pt x="8" y="17"/>
                    </a:lnTo>
                    <a:close/>
                    <a:moveTo>
                      <a:pt x="14" y="21"/>
                    </a:moveTo>
                    <a:lnTo>
                      <a:pt x="16" y="21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4" y="21"/>
                    </a:lnTo>
                    <a:close/>
                    <a:moveTo>
                      <a:pt x="12" y="17"/>
                    </a:moveTo>
                    <a:lnTo>
                      <a:pt x="14" y="17"/>
                    </a:lnTo>
                    <a:lnTo>
                      <a:pt x="12" y="17"/>
                    </a:lnTo>
                    <a:close/>
                    <a:moveTo>
                      <a:pt x="10" y="21"/>
                    </a:moveTo>
                    <a:lnTo>
                      <a:pt x="12" y="21"/>
                    </a:lnTo>
                    <a:lnTo>
                      <a:pt x="10" y="21"/>
                    </a:lnTo>
                    <a:close/>
                    <a:moveTo>
                      <a:pt x="10" y="19"/>
                    </a:moveTo>
                    <a:lnTo>
                      <a:pt x="12" y="19"/>
                    </a:lnTo>
                    <a:lnTo>
                      <a:pt x="12" y="21"/>
                    </a:lnTo>
                    <a:lnTo>
                      <a:pt x="10" y="21"/>
                    </a:lnTo>
                    <a:lnTo>
                      <a:pt x="10" y="19"/>
                    </a:lnTo>
                    <a:close/>
                    <a:moveTo>
                      <a:pt x="16" y="19"/>
                    </a:moveTo>
                    <a:lnTo>
                      <a:pt x="18" y="19"/>
                    </a:lnTo>
                    <a:lnTo>
                      <a:pt x="16" y="19"/>
                    </a:lnTo>
                    <a:close/>
                    <a:moveTo>
                      <a:pt x="12" y="17"/>
                    </a:moveTo>
                    <a:lnTo>
                      <a:pt x="12" y="19"/>
                    </a:lnTo>
                    <a:lnTo>
                      <a:pt x="12" y="17"/>
                    </a:lnTo>
                    <a:close/>
                    <a:moveTo>
                      <a:pt x="14" y="21"/>
                    </a:moveTo>
                    <a:lnTo>
                      <a:pt x="16" y="21"/>
                    </a:lnTo>
                    <a:lnTo>
                      <a:pt x="14" y="21"/>
                    </a:lnTo>
                    <a:close/>
                    <a:moveTo>
                      <a:pt x="21" y="23"/>
                    </a:moveTo>
                    <a:lnTo>
                      <a:pt x="23" y="23"/>
                    </a:lnTo>
                    <a:lnTo>
                      <a:pt x="21" y="23"/>
                    </a:lnTo>
                    <a:close/>
                    <a:moveTo>
                      <a:pt x="4" y="21"/>
                    </a:moveTo>
                    <a:lnTo>
                      <a:pt x="6" y="21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4" y="21"/>
                    </a:lnTo>
                    <a:close/>
                    <a:moveTo>
                      <a:pt x="14" y="9"/>
                    </a:moveTo>
                    <a:lnTo>
                      <a:pt x="14" y="11"/>
                    </a:lnTo>
                    <a:lnTo>
                      <a:pt x="14" y="9"/>
                    </a:lnTo>
                    <a:close/>
                    <a:moveTo>
                      <a:pt x="21" y="11"/>
                    </a:moveTo>
                    <a:lnTo>
                      <a:pt x="21" y="13"/>
                    </a:lnTo>
                    <a:lnTo>
                      <a:pt x="21" y="11"/>
                    </a:lnTo>
                    <a:close/>
                    <a:moveTo>
                      <a:pt x="12" y="25"/>
                    </a:moveTo>
                    <a:lnTo>
                      <a:pt x="12" y="27"/>
                    </a:lnTo>
                    <a:lnTo>
                      <a:pt x="12" y="25"/>
                    </a:lnTo>
                    <a:close/>
                    <a:moveTo>
                      <a:pt x="18" y="25"/>
                    </a:moveTo>
                    <a:lnTo>
                      <a:pt x="18" y="27"/>
                    </a:lnTo>
                    <a:lnTo>
                      <a:pt x="18" y="25"/>
                    </a:lnTo>
                    <a:close/>
                    <a:moveTo>
                      <a:pt x="12" y="17"/>
                    </a:moveTo>
                    <a:lnTo>
                      <a:pt x="14" y="17"/>
                    </a:lnTo>
                    <a:lnTo>
                      <a:pt x="14" y="19"/>
                    </a:lnTo>
                    <a:lnTo>
                      <a:pt x="12" y="19"/>
                    </a:lnTo>
                    <a:lnTo>
                      <a:pt x="12" y="17"/>
                    </a:lnTo>
                    <a:close/>
                    <a:moveTo>
                      <a:pt x="21" y="11"/>
                    </a:moveTo>
                    <a:lnTo>
                      <a:pt x="21" y="13"/>
                    </a:lnTo>
                    <a:lnTo>
                      <a:pt x="21" y="11"/>
                    </a:lnTo>
                    <a:close/>
                    <a:moveTo>
                      <a:pt x="16" y="27"/>
                    </a:moveTo>
                    <a:lnTo>
                      <a:pt x="18" y="27"/>
                    </a:lnTo>
                    <a:lnTo>
                      <a:pt x="16" y="27"/>
                    </a:lnTo>
                    <a:close/>
                    <a:moveTo>
                      <a:pt x="6" y="19"/>
                    </a:moveTo>
                    <a:lnTo>
                      <a:pt x="8" y="19"/>
                    </a:lnTo>
                    <a:lnTo>
                      <a:pt x="6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7" name="Freeform 83">
                <a:extLst>
                  <a:ext uri="{FF2B5EF4-FFF2-40B4-BE49-F238E27FC236}">
                    <a16:creationId xmlns:a16="http://schemas.microsoft.com/office/drawing/2014/main" id="{46F10DA5-D09E-C51A-DA33-11ED2C1523F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53256" y="-2334383"/>
                <a:ext cx="155983" cy="115235"/>
              </a:xfrm>
              <a:custGeom>
                <a:avLst/>
                <a:gdLst>
                  <a:gd name="T0" fmla="*/ 86 w 99"/>
                  <a:gd name="T1" fmla="*/ 38 h 73"/>
                  <a:gd name="T2" fmla="*/ 90 w 99"/>
                  <a:gd name="T3" fmla="*/ 46 h 73"/>
                  <a:gd name="T4" fmla="*/ 92 w 99"/>
                  <a:gd name="T5" fmla="*/ 53 h 73"/>
                  <a:gd name="T6" fmla="*/ 94 w 99"/>
                  <a:gd name="T7" fmla="*/ 55 h 73"/>
                  <a:gd name="T8" fmla="*/ 97 w 99"/>
                  <a:gd name="T9" fmla="*/ 59 h 73"/>
                  <a:gd name="T10" fmla="*/ 99 w 99"/>
                  <a:gd name="T11" fmla="*/ 63 h 73"/>
                  <a:gd name="T12" fmla="*/ 99 w 99"/>
                  <a:gd name="T13" fmla="*/ 65 h 73"/>
                  <a:gd name="T14" fmla="*/ 99 w 99"/>
                  <a:gd name="T15" fmla="*/ 71 h 73"/>
                  <a:gd name="T16" fmla="*/ 90 w 99"/>
                  <a:gd name="T17" fmla="*/ 71 h 73"/>
                  <a:gd name="T18" fmla="*/ 80 w 99"/>
                  <a:gd name="T19" fmla="*/ 71 h 73"/>
                  <a:gd name="T20" fmla="*/ 73 w 99"/>
                  <a:gd name="T21" fmla="*/ 69 h 73"/>
                  <a:gd name="T22" fmla="*/ 67 w 99"/>
                  <a:gd name="T23" fmla="*/ 67 h 73"/>
                  <a:gd name="T24" fmla="*/ 31 w 99"/>
                  <a:gd name="T25" fmla="*/ 71 h 73"/>
                  <a:gd name="T26" fmla="*/ 21 w 99"/>
                  <a:gd name="T27" fmla="*/ 69 h 73"/>
                  <a:gd name="T28" fmla="*/ 12 w 99"/>
                  <a:gd name="T29" fmla="*/ 69 h 73"/>
                  <a:gd name="T30" fmla="*/ 15 w 99"/>
                  <a:gd name="T31" fmla="*/ 69 h 73"/>
                  <a:gd name="T32" fmla="*/ 19 w 99"/>
                  <a:gd name="T33" fmla="*/ 67 h 73"/>
                  <a:gd name="T34" fmla="*/ 17 w 99"/>
                  <a:gd name="T35" fmla="*/ 67 h 73"/>
                  <a:gd name="T36" fmla="*/ 15 w 99"/>
                  <a:gd name="T37" fmla="*/ 63 h 73"/>
                  <a:gd name="T38" fmla="*/ 12 w 99"/>
                  <a:gd name="T39" fmla="*/ 65 h 73"/>
                  <a:gd name="T40" fmla="*/ 13 w 99"/>
                  <a:gd name="T41" fmla="*/ 65 h 73"/>
                  <a:gd name="T42" fmla="*/ 29 w 99"/>
                  <a:gd name="T43" fmla="*/ 57 h 73"/>
                  <a:gd name="T44" fmla="*/ 34 w 99"/>
                  <a:gd name="T45" fmla="*/ 55 h 73"/>
                  <a:gd name="T46" fmla="*/ 42 w 99"/>
                  <a:gd name="T47" fmla="*/ 53 h 73"/>
                  <a:gd name="T48" fmla="*/ 50 w 99"/>
                  <a:gd name="T49" fmla="*/ 57 h 73"/>
                  <a:gd name="T50" fmla="*/ 57 w 99"/>
                  <a:gd name="T51" fmla="*/ 55 h 73"/>
                  <a:gd name="T52" fmla="*/ 55 w 99"/>
                  <a:gd name="T53" fmla="*/ 52 h 73"/>
                  <a:gd name="T54" fmla="*/ 48 w 99"/>
                  <a:gd name="T55" fmla="*/ 50 h 73"/>
                  <a:gd name="T56" fmla="*/ 40 w 99"/>
                  <a:gd name="T57" fmla="*/ 48 h 73"/>
                  <a:gd name="T58" fmla="*/ 33 w 99"/>
                  <a:gd name="T59" fmla="*/ 52 h 73"/>
                  <a:gd name="T60" fmla="*/ 15 w 99"/>
                  <a:gd name="T61" fmla="*/ 50 h 73"/>
                  <a:gd name="T62" fmla="*/ 15 w 99"/>
                  <a:gd name="T63" fmla="*/ 44 h 73"/>
                  <a:gd name="T64" fmla="*/ 13 w 99"/>
                  <a:gd name="T65" fmla="*/ 42 h 73"/>
                  <a:gd name="T66" fmla="*/ 10 w 99"/>
                  <a:gd name="T67" fmla="*/ 36 h 73"/>
                  <a:gd name="T68" fmla="*/ 2 w 99"/>
                  <a:gd name="T69" fmla="*/ 32 h 73"/>
                  <a:gd name="T70" fmla="*/ 10 w 99"/>
                  <a:gd name="T71" fmla="*/ 25 h 73"/>
                  <a:gd name="T72" fmla="*/ 19 w 99"/>
                  <a:gd name="T73" fmla="*/ 8 h 73"/>
                  <a:gd name="T74" fmla="*/ 21 w 99"/>
                  <a:gd name="T75" fmla="*/ 4 h 73"/>
                  <a:gd name="T76" fmla="*/ 29 w 99"/>
                  <a:gd name="T77" fmla="*/ 4 h 73"/>
                  <a:gd name="T78" fmla="*/ 34 w 99"/>
                  <a:gd name="T79" fmla="*/ 2 h 73"/>
                  <a:gd name="T80" fmla="*/ 40 w 99"/>
                  <a:gd name="T81" fmla="*/ 0 h 73"/>
                  <a:gd name="T82" fmla="*/ 42 w 99"/>
                  <a:gd name="T83" fmla="*/ 0 h 73"/>
                  <a:gd name="T84" fmla="*/ 46 w 99"/>
                  <a:gd name="T85" fmla="*/ 0 h 73"/>
                  <a:gd name="T86" fmla="*/ 50 w 99"/>
                  <a:gd name="T87" fmla="*/ 0 h 73"/>
                  <a:gd name="T88" fmla="*/ 54 w 99"/>
                  <a:gd name="T89" fmla="*/ 4 h 73"/>
                  <a:gd name="T90" fmla="*/ 59 w 99"/>
                  <a:gd name="T91" fmla="*/ 8 h 73"/>
                  <a:gd name="T92" fmla="*/ 63 w 99"/>
                  <a:gd name="T93" fmla="*/ 10 h 73"/>
                  <a:gd name="T94" fmla="*/ 69 w 99"/>
                  <a:gd name="T95" fmla="*/ 13 h 73"/>
                  <a:gd name="T96" fmla="*/ 73 w 99"/>
                  <a:gd name="T97" fmla="*/ 21 h 73"/>
                  <a:gd name="T98" fmla="*/ 75 w 99"/>
                  <a:gd name="T99" fmla="*/ 25 h 73"/>
                  <a:gd name="T100" fmla="*/ 82 w 99"/>
                  <a:gd name="T101" fmla="*/ 31 h 73"/>
                  <a:gd name="T102" fmla="*/ 17 w 99"/>
                  <a:gd name="T103" fmla="*/ 46 h 73"/>
                  <a:gd name="T104" fmla="*/ 13 w 99"/>
                  <a:gd name="T105" fmla="*/ 44 h 73"/>
                  <a:gd name="T106" fmla="*/ 15 w 99"/>
                  <a:gd name="T107" fmla="*/ 48 h 73"/>
                  <a:gd name="T108" fmla="*/ 13 w 99"/>
                  <a:gd name="T109" fmla="*/ 69 h 73"/>
                  <a:gd name="T110" fmla="*/ 13 w 99"/>
                  <a:gd name="T111" fmla="*/ 46 h 73"/>
                  <a:gd name="T112" fmla="*/ 15 w 99"/>
                  <a:gd name="T113" fmla="*/ 65 h 73"/>
                  <a:gd name="T114" fmla="*/ 17 w 99"/>
                  <a:gd name="T115" fmla="*/ 46 h 73"/>
                  <a:gd name="T116" fmla="*/ 15 w 99"/>
                  <a:gd name="T117" fmla="*/ 65 h 73"/>
                  <a:gd name="T118" fmla="*/ 13 w 99"/>
                  <a:gd name="T119" fmla="*/ 69 h 73"/>
                  <a:gd name="T120" fmla="*/ 13 w 99"/>
                  <a:gd name="T121" fmla="*/ 46 h 73"/>
                  <a:gd name="T122" fmla="*/ 13 w 99"/>
                  <a:gd name="T123" fmla="*/ 7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9" h="73">
                    <a:moveTo>
                      <a:pt x="84" y="32"/>
                    </a:moveTo>
                    <a:lnTo>
                      <a:pt x="86" y="32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8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90" y="42"/>
                    </a:lnTo>
                    <a:lnTo>
                      <a:pt x="88" y="44"/>
                    </a:lnTo>
                    <a:lnTo>
                      <a:pt x="90" y="46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90" y="52"/>
                    </a:lnTo>
                    <a:lnTo>
                      <a:pt x="92" y="53"/>
                    </a:lnTo>
                    <a:lnTo>
                      <a:pt x="90" y="53"/>
                    </a:lnTo>
                    <a:lnTo>
                      <a:pt x="92" y="55"/>
                    </a:lnTo>
                    <a:lnTo>
                      <a:pt x="94" y="53"/>
                    </a:lnTo>
                    <a:lnTo>
                      <a:pt x="95" y="53"/>
                    </a:lnTo>
                    <a:lnTo>
                      <a:pt x="94" y="55"/>
                    </a:lnTo>
                    <a:lnTo>
                      <a:pt x="95" y="55"/>
                    </a:lnTo>
                    <a:lnTo>
                      <a:pt x="95" y="57"/>
                    </a:lnTo>
                    <a:lnTo>
                      <a:pt x="97" y="57"/>
                    </a:lnTo>
                    <a:lnTo>
                      <a:pt x="95" y="59"/>
                    </a:lnTo>
                    <a:lnTo>
                      <a:pt x="97" y="59"/>
                    </a:lnTo>
                    <a:lnTo>
                      <a:pt x="97" y="61"/>
                    </a:lnTo>
                    <a:lnTo>
                      <a:pt x="99" y="61"/>
                    </a:lnTo>
                    <a:lnTo>
                      <a:pt x="97" y="61"/>
                    </a:lnTo>
                    <a:lnTo>
                      <a:pt x="97" y="63"/>
                    </a:lnTo>
                    <a:lnTo>
                      <a:pt x="99" y="63"/>
                    </a:lnTo>
                    <a:lnTo>
                      <a:pt x="97" y="63"/>
                    </a:lnTo>
                    <a:lnTo>
                      <a:pt x="99" y="63"/>
                    </a:lnTo>
                    <a:lnTo>
                      <a:pt x="99" y="65"/>
                    </a:lnTo>
                    <a:lnTo>
                      <a:pt x="97" y="65"/>
                    </a:lnTo>
                    <a:lnTo>
                      <a:pt x="99" y="65"/>
                    </a:lnTo>
                    <a:lnTo>
                      <a:pt x="97" y="65"/>
                    </a:lnTo>
                    <a:lnTo>
                      <a:pt x="97" y="67"/>
                    </a:lnTo>
                    <a:lnTo>
                      <a:pt x="97" y="69"/>
                    </a:lnTo>
                    <a:lnTo>
                      <a:pt x="99" y="69"/>
                    </a:lnTo>
                    <a:lnTo>
                      <a:pt x="99" y="71"/>
                    </a:lnTo>
                    <a:lnTo>
                      <a:pt x="97" y="71"/>
                    </a:lnTo>
                    <a:lnTo>
                      <a:pt x="95" y="71"/>
                    </a:lnTo>
                    <a:lnTo>
                      <a:pt x="94" y="71"/>
                    </a:lnTo>
                    <a:lnTo>
                      <a:pt x="92" y="71"/>
                    </a:lnTo>
                    <a:lnTo>
                      <a:pt x="90" y="71"/>
                    </a:lnTo>
                    <a:lnTo>
                      <a:pt x="88" y="71"/>
                    </a:lnTo>
                    <a:lnTo>
                      <a:pt x="86" y="71"/>
                    </a:lnTo>
                    <a:lnTo>
                      <a:pt x="84" y="73"/>
                    </a:lnTo>
                    <a:lnTo>
                      <a:pt x="82" y="71"/>
                    </a:lnTo>
                    <a:lnTo>
                      <a:pt x="80" y="71"/>
                    </a:lnTo>
                    <a:lnTo>
                      <a:pt x="78" y="71"/>
                    </a:lnTo>
                    <a:lnTo>
                      <a:pt x="76" y="71"/>
                    </a:lnTo>
                    <a:lnTo>
                      <a:pt x="76" y="69"/>
                    </a:lnTo>
                    <a:lnTo>
                      <a:pt x="75" y="69"/>
                    </a:lnTo>
                    <a:lnTo>
                      <a:pt x="73" y="69"/>
                    </a:lnTo>
                    <a:lnTo>
                      <a:pt x="71" y="69"/>
                    </a:lnTo>
                    <a:lnTo>
                      <a:pt x="73" y="67"/>
                    </a:lnTo>
                    <a:lnTo>
                      <a:pt x="71" y="67"/>
                    </a:lnTo>
                    <a:lnTo>
                      <a:pt x="69" y="67"/>
                    </a:lnTo>
                    <a:lnTo>
                      <a:pt x="67" y="67"/>
                    </a:lnTo>
                    <a:lnTo>
                      <a:pt x="61" y="67"/>
                    </a:lnTo>
                    <a:lnTo>
                      <a:pt x="38" y="67"/>
                    </a:lnTo>
                    <a:lnTo>
                      <a:pt x="36" y="67"/>
                    </a:lnTo>
                    <a:lnTo>
                      <a:pt x="34" y="69"/>
                    </a:lnTo>
                    <a:lnTo>
                      <a:pt x="31" y="71"/>
                    </a:lnTo>
                    <a:lnTo>
                      <a:pt x="27" y="71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69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3" y="71"/>
                    </a:lnTo>
                    <a:lnTo>
                      <a:pt x="12" y="69"/>
                    </a:lnTo>
                    <a:lnTo>
                      <a:pt x="13" y="69"/>
                    </a:lnTo>
                    <a:lnTo>
                      <a:pt x="13" y="71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3" y="65"/>
                    </a:lnTo>
                    <a:lnTo>
                      <a:pt x="12" y="65"/>
                    </a:lnTo>
                    <a:lnTo>
                      <a:pt x="13" y="65"/>
                    </a:lnTo>
                    <a:lnTo>
                      <a:pt x="12" y="65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2" y="65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31" y="55"/>
                    </a:lnTo>
                    <a:lnTo>
                      <a:pt x="33" y="55"/>
                    </a:lnTo>
                    <a:lnTo>
                      <a:pt x="33" y="53"/>
                    </a:lnTo>
                    <a:lnTo>
                      <a:pt x="34" y="55"/>
                    </a:lnTo>
                    <a:lnTo>
                      <a:pt x="36" y="55"/>
                    </a:lnTo>
                    <a:lnTo>
                      <a:pt x="38" y="53"/>
                    </a:lnTo>
                    <a:lnTo>
                      <a:pt x="38" y="52"/>
                    </a:lnTo>
                    <a:lnTo>
                      <a:pt x="40" y="52"/>
                    </a:lnTo>
                    <a:lnTo>
                      <a:pt x="42" y="53"/>
                    </a:lnTo>
                    <a:lnTo>
                      <a:pt x="44" y="53"/>
                    </a:lnTo>
                    <a:lnTo>
                      <a:pt x="46" y="55"/>
                    </a:lnTo>
                    <a:lnTo>
                      <a:pt x="48" y="55"/>
                    </a:lnTo>
                    <a:lnTo>
                      <a:pt x="50" y="55"/>
                    </a:lnTo>
                    <a:lnTo>
                      <a:pt x="50" y="57"/>
                    </a:lnTo>
                    <a:lnTo>
                      <a:pt x="52" y="57"/>
                    </a:lnTo>
                    <a:lnTo>
                      <a:pt x="54" y="57"/>
                    </a:lnTo>
                    <a:lnTo>
                      <a:pt x="55" y="57"/>
                    </a:lnTo>
                    <a:lnTo>
                      <a:pt x="55" y="55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3"/>
                    </a:lnTo>
                    <a:lnTo>
                      <a:pt x="59" y="52"/>
                    </a:lnTo>
                    <a:lnTo>
                      <a:pt x="57" y="52"/>
                    </a:lnTo>
                    <a:lnTo>
                      <a:pt x="55" y="52"/>
                    </a:lnTo>
                    <a:lnTo>
                      <a:pt x="54" y="52"/>
                    </a:lnTo>
                    <a:lnTo>
                      <a:pt x="54" y="53"/>
                    </a:lnTo>
                    <a:lnTo>
                      <a:pt x="52" y="53"/>
                    </a:lnTo>
                    <a:lnTo>
                      <a:pt x="50" y="52"/>
                    </a:lnTo>
                    <a:lnTo>
                      <a:pt x="48" y="50"/>
                    </a:lnTo>
                    <a:lnTo>
                      <a:pt x="46" y="52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2" y="48"/>
                    </a:lnTo>
                    <a:lnTo>
                      <a:pt x="40" y="48"/>
                    </a:lnTo>
                    <a:lnTo>
                      <a:pt x="38" y="48"/>
                    </a:lnTo>
                    <a:lnTo>
                      <a:pt x="36" y="48"/>
                    </a:lnTo>
                    <a:lnTo>
                      <a:pt x="34" y="48"/>
                    </a:lnTo>
                    <a:lnTo>
                      <a:pt x="34" y="50"/>
                    </a:lnTo>
                    <a:lnTo>
                      <a:pt x="33" y="52"/>
                    </a:lnTo>
                    <a:lnTo>
                      <a:pt x="17" y="52"/>
                    </a:lnTo>
                    <a:lnTo>
                      <a:pt x="15" y="50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7" y="50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3" y="46"/>
                    </a:lnTo>
                    <a:lnTo>
                      <a:pt x="13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4" y="31"/>
                    </a:lnTo>
                    <a:lnTo>
                      <a:pt x="8" y="29"/>
                    </a:lnTo>
                    <a:lnTo>
                      <a:pt x="10" y="25"/>
                    </a:lnTo>
                    <a:lnTo>
                      <a:pt x="15" y="17"/>
                    </a:lnTo>
                    <a:lnTo>
                      <a:pt x="17" y="13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19" y="6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25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2"/>
                    </a:lnTo>
                    <a:lnTo>
                      <a:pt x="34" y="2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0" y="2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4" y="0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0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2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5" y="6"/>
                    </a:lnTo>
                    <a:lnTo>
                      <a:pt x="57" y="6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59" y="10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7" y="10"/>
                    </a:lnTo>
                    <a:lnTo>
                      <a:pt x="67" y="12"/>
                    </a:lnTo>
                    <a:lnTo>
                      <a:pt x="67" y="13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69" y="17"/>
                    </a:lnTo>
                    <a:lnTo>
                      <a:pt x="71" y="17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6" y="25"/>
                    </a:lnTo>
                    <a:lnTo>
                      <a:pt x="78" y="27"/>
                    </a:lnTo>
                    <a:lnTo>
                      <a:pt x="80" y="27"/>
                    </a:lnTo>
                    <a:lnTo>
                      <a:pt x="82" y="29"/>
                    </a:lnTo>
                    <a:lnTo>
                      <a:pt x="82" y="31"/>
                    </a:lnTo>
                    <a:lnTo>
                      <a:pt x="84" y="31"/>
                    </a:lnTo>
                    <a:lnTo>
                      <a:pt x="84" y="32"/>
                    </a:lnTo>
                    <a:close/>
                    <a:moveTo>
                      <a:pt x="15" y="44"/>
                    </a:moveTo>
                    <a:lnTo>
                      <a:pt x="17" y="44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5" y="44"/>
                    </a:lnTo>
                    <a:close/>
                    <a:moveTo>
                      <a:pt x="17" y="48"/>
                    </a:moveTo>
                    <a:lnTo>
                      <a:pt x="17" y="50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7" y="48"/>
                    </a:lnTo>
                    <a:close/>
                    <a:moveTo>
                      <a:pt x="13" y="65"/>
                    </a:moveTo>
                    <a:lnTo>
                      <a:pt x="15" y="65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3" y="65"/>
                    </a:lnTo>
                    <a:close/>
                    <a:moveTo>
                      <a:pt x="15" y="61"/>
                    </a:moveTo>
                    <a:lnTo>
                      <a:pt x="15" y="65"/>
                    </a:lnTo>
                    <a:lnTo>
                      <a:pt x="15" y="61"/>
                    </a:lnTo>
                    <a:close/>
                    <a:moveTo>
                      <a:pt x="13" y="46"/>
                    </a:moveTo>
                    <a:lnTo>
                      <a:pt x="13" y="48"/>
                    </a:lnTo>
                    <a:lnTo>
                      <a:pt x="13" y="46"/>
                    </a:lnTo>
                    <a:close/>
                    <a:moveTo>
                      <a:pt x="15" y="65"/>
                    </a:moveTo>
                    <a:lnTo>
                      <a:pt x="15" y="67"/>
                    </a:lnTo>
                    <a:lnTo>
                      <a:pt x="15" y="65"/>
                    </a:lnTo>
                    <a:close/>
                    <a:moveTo>
                      <a:pt x="13" y="65"/>
                    </a:moveTo>
                    <a:lnTo>
                      <a:pt x="15" y="65"/>
                    </a:lnTo>
                    <a:lnTo>
                      <a:pt x="13" y="65"/>
                    </a:lnTo>
                    <a:close/>
                    <a:moveTo>
                      <a:pt x="17" y="44"/>
                    </a:moveTo>
                    <a:lnTo>
                      <a:pt x="17" y="46"/>
                    </a:lnTo>
                    <a:lnTo>
                      <a:pt x="17" y="44"/>
                    </a:lnTo>
                    <a:close/>
                    <a:moveTo>
                      <a:pt x="15" y="46"/>
                    </a:moveTo>
                    <a:lnTo>
                      <a:pt x="17" y="46"/>
                    </a:lnTo>
                    <a:lnTo>
                      <a:pt x="15" y="46"/>
                    </a:lnTo>
                    <a:close/>
                    <a:moveTo>
                      <a:pt x="15" y="65"/>
                    </a:moveTo>
                    <a:lnTo>
                      <a:pt x="17" y="65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5" y="65"/>
                    </a:lnTo>
                    <a:close/>
                    <a:moveTo>
                      <a:pt x="13" y="69"/>
                    </a:moveTo>
                    <a:lnTo>
                      <a:pt x="13" y="71"/>
                    </a:lnTo>
                    <a:lnTo>
                      <a:pt x="13" y="69"/>
                    </a:lnTo>
                    <a:close/>
                    <a:moveTo>
                      <a:pt x="13" y="46"/>
                    </a:moveTo>
                    <a:lnTo>
                      <a:pt x="13" y="48"/>
                    </a:lnTo>
                    <a:lnTo>
                      <a:pt x="13" y="46"/>
                    </a:lnTo>
                    <a:close/>
                    <a:moveTo>
                      <a:pt x="13" y="48"/>
                    </a:moveTo>
                    <a:lnTo>
                      <a:pt x="15" y="48"/>
                    </a:lnTo>
                    <a:lnTo>
                      <a:pt x="13" y="48"/>
                    </a:lnTo>
                    <a:close/>
                    <a:moveTo>
                      <a:pt x="13" y="69"/>
                    </a:moveTo>
                    <a:lnTo>
                      <a:pt x="13" y="71"/>
                    </a:lnTo>
                    <a:lnTo>
                      <a:pt x="13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5" name="Freeform 85">
                <a:extLst>
                  <a:ext uri="{FF2B5EF4-FFF2-40B4-BE49-F238E27FC236}">
                    <a16:creationId xmlns:a16="http://schemas.microsoft.com/office/drawing/2014/main" id="{CC5AADA4-E316-152B-895C-9069B9D7179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716279" y="-2228621"/>
                <a:ext cx="185919" cy="138912"/>
              </a:xfrm>
              <a:custGeom>
                <a:avLst/>
                <a:gdLst>
                  <a:gd name="T0" fmla="*/ 61 w 118"/>
                  <a:gd name="T1" fmla="*/ 9 h 88"/>
                  <a:gd name="T2" fmla="*/ 69 w 118"/>
                  <a:gd name="T3" fmla="*/ 9 h 88"/>
                  <a:gd name="T4" fmla="*/ 73 w 118"/>
                  <a:gd name="T5" fmla="*/ 7 h 88"/>
                  <a:gd name="T6" fmla="*/ 82 w 118"/>
                  <a:gd name="T7" fmla="*/ 7 h 88"/>
                  <a:gd name="T8" fmla="*/ 90 w 118"/>
                  <a:gd name="T9" fmla="*/ 6 h 88"/>
                  <a:gd name="T10" fmla="*/ 96 w 118"/>
                  <a:gd name="T11" fmla="*/ 4 h 88"/>
                  <a:gd name="T12" fmla="*/ 99 w 118"/>
                  <a:gd name="T13" fmla="*/ 13 h 88"/>
                  <a:gd name="T14" fmla="*/ 103 w 118"/>
                  <a:gd name="T15" fmla="*/ 19 h 88"/>
                  <a:gd name="T16" fmla="*/ 105 w 118"/>
                  <a:gd name="T17" fmla="*/ 23 h 88"/>
                  <a:gd name="T18" fmla="*/ 107 w 118"/>
                  <a:gd name="T19" fmla="*/ 27 h 88"/>
                  <a:gd name="T20" fmla="*/ 109 w 118"/>
                  <a:gd name="T21" fmla="*/ 36 h 88"/>
                  <a:gd name="T22" fmla="*/ 111 w 118"/>
                  <a:gd name="T23" fmla="*/ 44 h 88"/>
                  <a:gd name="T24" fmla="*/ 111 w 118"/>
                  <a:gd name="T25" fmla="*/ 49 h 88"/>
                  <a:gd name="T26" fmla="*/ 116 w 118"/>
                  <a:gd name="T27" fmla="*/ 57 h 88"/>
                  <a:gd name="T28" fmla="*/ 116 w 118"/>
                  <a:gd name="T29" fmla="*/ 63 h 88"/>
                  <a:gd name="T30" fmla="*/ 116 w 118"/>
                  <a:gd name="T31" fmla="*/ 67 h 88"/>
                  <a:gd name="T32" fmla="*/ 115 w 118"/>
                  <a:gd name="T33" fmla="*/ 67 h 88"/>
                  <a:gd name="T34" fmla="*/ 113 w 118"/>
                  <a:gd name="T35" fmla="*/ 72 h 88"/>
                  <a:gd name="T36" fmla="*/ 107 w 118"/>
                  <a:gd name="T37" fmla="*/ 82 h 88"/>
                  <a:gd name="T38" fmla="*/ 101 w 118"/>
                  <a:gd name="T39" fmla="*/ 80 h 88"/>
                  <a:gd name="T40" fmla="*/ 96 w 118"/>
                  <a:gd name="T41" fmla="*/ 88 h 88"/>
                  <a:gd name="T42" fmla="*/ 90 w 118"/>
                  <a:gd name="T43" fmla="*/ 84 h 88"/>
                  <a:gd name="T44" fmla="*/ 90 w 118"/>
                  <a:gd name="T45" fmla="*/ 72 h 88"/>
                  <a:gd name="T46" fmla="*/ 84 w 118"/>
                  <a:gd name="T47" fmla="*/ 67 h 88"/>
                  <a:gd name="T48" fmla="*/ 75 w 118"/>
                  <a:gd name="T49" fmla="*/ 67 h 88"/>
                  <a:gd name="T50" fmla="*/ 71 w 118"/>
                  <a:gd name="T51" fmla="*/ 67 h 88"/>
                  <a:gd name="T52" fmla="*/ 69 w 118"/>
                  <a:gd name="T53" fmla="*/ 57 h 88"/>
                  <a:gd name="T54" fmla="*/ 67 w 118"/>
                  <a:gd name="T55" fmla="*/ 53 h 88"/>
                  <a:gd name="T56" fmla="*/ 61 w 118"/>
                  <a:gd name="T57" fmla="*/ 42 h 88"/>
                  <a:gd name="T58" fmla="*/ 40 w 118"/>
                  <a:gd name="T59" fmla="*/ 49 h 88"/>
                  <a:gd name="T60" fmla="*/ 35 w 118"/>
                  <a:gd name="T61" fmla="*/ 55 h 88"/>
                  <a:gd name="T62" fmla="*/ 27 w 118"/>
                  <a:gd name="T63" fmla="*/ 57 h 88"/>
                  <a:gd name="T64" fmla="*/ 27 w 118"/>
                  <a:gd name="T65" fmla="*/ 55 h 88"/>
                  <a:gd name="T66" fmla="*/ 25 w 118"/>
                  <a:gd name="T67" fmla="*/ 48 h 88"/>
                  <a:gd name="T68" fmla="*/ 21 w 118"/>
                  <a:gd name="T69" fmla="*/ 51 h 88"/>
                  <a:gd name="T70" fmla="*/ 25 w 118"/>
                  <a:gd name="T71" fmla="*/ 46 h 88"/>
                  <a:gd name="T72" fmla="*/ 19 w 118"/>
                  <a:gd name="T73" fmla="*/ 46 h 88"/>
                  <a:gd name="T74" fmla="*/ 15 w 118"/>
                  <a:gd name="T75" fmla="*/ 40 h 88"/>
                  <a:gd name="T76" fmla="*/ 12 w 118"/>
                  <a:gd name="T77" fmla="*/ 38 h 88"/>
                  <a:gd name="T78" fmla="*/ 8 w 118"/>
                  <a:gd name="T79" fmla="*/ 34 h 88"/>
                  <a:gd name="T80" fmla="*/ 8 w 118"/>
                  <a:gd name="T81" fmla="*/ 30 h 88"/>
                  <a:gd name="T82" fmla="*/ 4 w 118"/>
                  <a:gd name="T83" fmla="*/ 28 h 88"/>
                  <a:gd name="T84" fmla="*/ 2 w 118"/>
                  <a:gd name="T85" fmla="*/ 27 h 88"/>
                  <a:gd name="T86" fmla="*/ 14 w 118"/>
                  <a:gd name="T87" fmla="*/ 15 h 88"/>
                  <a:gd name="T88" fmla="*/ 21 w 118"/>
                  <a:gd name="T89" fmla="*/ 9 h 88"/>
                  <a:gd name="T90" fmla="*/ 23 w 118"/>
                  <a:gd name="T91" fmla="*/ 6 h 88"/>
                  <a:gd name="T92" fmla="*/ 31 w 118"/>
                  <a:gd name="T93" fmla="*/ 0 h 88"/>
                  <a:gd name="T94" fmla="*/ 38 w 118"/>
                  <a:gd name="T95" fmla="*/ 4 h 88"/>
                  <a:gd name="T96" fmla="*/ 52 w 118"/>
                  <a:gd name="T97" fmla="*/ 4 h 88"/>
                  <a:gd name="T98" fmla="*/ 0 w 118"/>
                  <a:gd name="T99" fmla="*/ 28 h 88"/>
                  <a:gd name="T100" fmla="*/ 8 w 118"/>
                  <a:gd name="T101" fmla="*/ 30 h 88"/>
                  <a:gd name="T102" fmla="*/ 14 w 118"/>
                  <a:gd name="T103" fmla="*/ 42 h 88"/>
                  <a:gd name="T104" fmla="*/ 15 w 118"/>
                  <a:gd name="T105" fmla="*/ 42 h 88"/>
                  <a:gd name="T106" fmla="*/ 19 w 118"/>
                  <a:gd name="T107" fmla="*/ 44 h 88"/>
                  <a:gd name="T108" fmla="*/ 19 w 118"/>
                  <a:gd name="T109" fmla="*/ 5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88">
                    <a:moveTo>
                      <a:pt x="59" y="4"/>
                    </a:moveTo>
                    <a:lnTo>
                      <a:pt x="57" y="4"/>
                    </a:lnTo>
                    <a:lnTo>
                      <a:pt x="57" y="6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59" y="9"/>
                    </a:lnTo>
                    <a:lnTo>
                      <a:pt x="61" y="9"/>
                    </a:lnTo>
                    <a:lnTo>
                      <a:pt x="63" y="9"/>
                    </a:lnTo>
                    <a:lnTo>
                      <a:pt x="63" y="7"/>
                    </a:lnTo>
                    <a:lnTo>
                      <a:pt x="63" y="6"/>
                    </a:lnTo>
                    <a:lnTo>
                      <a:pt x="65" y="7"/>
                    </a:lnTo>
                    <a:lnTo>
                      <a:pt x="65" y="6"/>
                    </a:lnTo>
                    <a:lnTo>
                      <a:pt x="67" y="7"/>
                    </a:lnTo>
                    <a:lnTo>
                      <a:pt x="69" y="9"/>
                    </a:lnTo>
                    <a:lnTo>
                      <a:pt x="67" y="9"/>
                    </a:lnTo>
                    <a:lnTo>
                      <a:pt x="69" y="9"/>
                    </a:lnTo>
                    <a:lnTo>
                      <a:pt x="69" y="11"/>
                    </a:lnTo>
                    <a:lnTo>
                      <a:pt x="71" y="11"/>
                    </a:lnTo>
                    <a:lnTo>
                      <a:pt x="71" y="9"/>
                    </a:lnTo>
                    <a:lnTo>
                      <a:pt x="73" y="9"/>
                    </a:lnTo>
                    <a:lnTo>
                      <a:pt x="73" y="7"/>
                    </a:lnTo>
                    <a:lnTo>
                      <a:pt x="75" y="7"/>
                    </a:lnTo>
                    <a:lnTo>
                      <a:pt x="75" y="6"/>
                    </a:lnTo>
                    <a:lnTo>
                      <a:pt x="76" y="6"/>
                    </a:lnTo>
                    <a:lnTo>
                      <a:pt x="76" y="7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82" y="7"/>
                    </a:lnTo>
                    <a:lnTo>
                      <a:pt x="82" y="9"/>
                    </a:lnTo>
                    <a:lnTo>
                      <a:pt x="84" y="9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4" y="2"/>
                    </a:lnTo>
                    <a:lnTo>
                      <a:pt x="96" y="4"/>
                    </a:lnTo>
                    <a:lnTo>
                      <a:pt x="97" y="4"/>
                    </a:lnTo>
                    <a:lnTo>
                      <a:pt x="97" y="6"/>
                    </a:lnTo>
                    <a:lnTo>
                      <a:pt x="97" y="7"/>
                    </a:lnTo>
                    <a:lnTo>
                      <a:pt x="97" y="9"/>
                    </a:lnTo>
                    <a:lnTo>
                      <a:pt x="99" y="9"/>
                    </a:lnTo>
                    <a:lnTo>
                      <a:pt x="99" y="11"/>
                    </a:lnTo>
                    <a:lnTo>
                      <a:pt x="99" y="13"/>
                    </a:lnTo>
                    <a:lnTo>
                      <a:pt x="99" y="15"/>
                    </a:lnTo>
                    <a:lnTo>
                      <a:pt x="99" y="17"/>
                    </a:lnTo>
                    <a:lnTo>
                      <a:pt x="99" y="15"/>
                    </a:lnTo>
                    <a:lnTo>
                      <a:pt x="101" y="17"/>
                    </a:lnTo>
                    <a:lnTo>
                      <a:pt x="101" y="15"/>
                    </a:lnTo>
                    <a:lnTo>
                      <a:pt x="101" y="17"/>
                    </a:lnTo>
                    <a:lnTo>
                      <a:pt x="103" y="19"/>
                    </a:lnTo>
                    <a:lnTo>
                      <a:pt x="105" y="19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5" y="23"/>
                    </a:lnTo>
                    <a:lnTo>
                      <a:pt x="105" y="21"/>
                    </a:lnTo>
                    <a:lnTo>
                      <a:pt x="105" y="23"/>
                    </a:lnTo>
                    <a:lnTo>
                      <a:pt x="103" y="23"/>
                    </a:lnTo>
                    <a:lnTo>
                      <a:pt x="103" y="25"/>
                    </a:lnTo>
                    <a:lnTo>
                      <a:pt x="101" y="27"/>
                    </a:lnTo>
                    <a:lnTo>
                      <a:pt x="103" y="27"/>
                    </a:lnTo>
                    <a:lnTo>
                      <a:pt x="105" y="25"/>
                    </a:lnTo>
                    <a:lnTo>
                      <a:pt x="107" y="25"/>
                    </a:lnTo>
                    <a:lnTo>
                      <a:pt x="107" y="27"/>
                    </a:lnTo>
                    <a:lnTo>
                      <a:pt x="109" y="28"/>
                    </a:lnTo>
                    <a:lnTo>
                      <a:pt x="107" y="28"/>
                    </a:lnTo>
                    <a:lnTo>
                      <a:pt x="107" y="30"/>
                    </a:lnTo>
                    <a:lnTo>
                      <a:pt x="107" y="32"/>
                    </a:lnTo>
                    <a:lnTo>
                      <a:pt x="109" y="32"/>
                    </a:lnTo>
                    <a:lnTo>
                      <a:pt x="107" y="34"/>
                    </a:lnTo>
                    <a:lnTo>
                      <a:pt x="109" y="36"/>
                    </a:lnTo>
                    <a:lnTo>
                      <a:pt x="111" y="36"/>
                    </a:lnTo>
                    <a:lnTo>
                      <a:pt x="113" y="36"/>
                    </a:lnTo>
                    <a:lnTo>
                      <a:pt x="113" y="38"/>
                    </a:lnTo>
                    <a:lnTo>
                      <a:pt x="113" y="40"/>
                    </a:lnTo>
                    <a:lnTo>
                      <a:pt x="113" y="42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09" y="44"/>
                    </a:lnTo>
                    <a:lnTo>
                      <a:pt x="111" y="44"/>
                    </a:lnTo>
                    <a:lnTo>
                      <a:pt x="109" y="44"/>
                    </a:lnTo>
                    <a:lnTo>
                      <a:pt x="111" y="44"/>
                    </a:lnTo>
                    <a:lnTo>
                      <a:pt x="111" y="46"/>
                    </a:lnTo>
                    <a:lnTo>
                      <a:pt x="111" y="48"/>
                    </a:lnTo>
                    <a:lnTo>
                      <a:pt x="111" y="49"/>
                    </a:lnTo>
                    <a:lnTo>
                      <a:pt x="111" y="51"/>
                    </a:lnTo>
                    <a:lnTo>
                      <a:pt x="113" y="51"/>
                    </a:lnTo>
                    <a:lnTo>
                      <a:pt x="115" y="51"/>
                    </a:lnTo>
                    <a:lnTo>
                      <a:pt x="115" y="53"/>
                    </a:lnTo>
                    <a:lnTo>
                      <a:pt x="113" y="55"/>
                    </a:lnTo>
                    <a:lnTo>
                      <a:pt x="115" y="55"/>
                    </a:lnTo>
                    <a:lnTo>
                      <a:pt x="116" y="57"/>
                    </a:lnTo>
                    <a:lnTo>
                      <a:pt x="115" y="57"/>
                    </a:lnTo>
                    <a:lnTo>
                      <a:pt x="115" y="59"/>
                    </a:lnTo>
                    <a:lnTo>
                      <a:pt x="113" y="59"/>
                    </a:lnTo>
                    <a:lnTo>
                      <a:pt x="113" y="61"/>
                    </a:lnTo>
                    <a:lnTo>
                      <a:pt x="113" y="63"/>
                    </a:lnTo>
                    <a:lnTo>
                      <a:pt x="115" y="63"/>
                    </a:lnTo>
                    <a:lnTo>
                      <a:pt x="116" y="63"/>
                    </a:lnTo>
                    <a:lnTo>
                      <a:pt x="116" y="65"/>
                    </a:lnTo>
                    <a:lnTo>
                      <a:pt x="116" y="67"/>
                    </a:lnTo>
                    <a:lnTo>
                      <a:pt x="118" y="67"/>
                    </a:lnTo>
                    <a:lnTo>
                      <a:pt x="116" y="67"/>
                    </a:lnTo>
                    <a:lnTo>
                      <a:pt x="118" y="69"/>
                    </a:lnTo>
                    <a:lnTo>
                      <a:pt x="116" y="69"/>
                    </a:lnTo>
                    <a:lnTo>
                      <a:pt x="116" y="67"/>
                    </a:lnTo>
                    <a:lnTo>
                      <a:pt x="115" y="67"/>
                    </a:lnTo>
                    <a:lnTo>
                      <a:pt x="115" y="69"/>
                    </a:lnTo>
                    <a:lnTo>
                      <a:pt x="115" y="67"/>
                    </a:lnTo>
                    <a:lnTo>
                      <a:pt x="113" y="67"/>
                    </a:lnTo>
                    <a:lnTo>
                      <a:pt x="115" y="67"/>
                    </a:lnTo>
                    <a:lnTo>
                      <a:pt x="113" y="67"/>
                    </a:lnTo>
                    <a:lnTo>
                      <a:pt x="115" y="67"/>
                    </a:lnTo>
                    <a:lnTo>
                      <a:pt x="113" y="67"/>
                    </a:lnTo>
                    <a:lnTo>
                      <a:pt x="111" y="67"/>
                    </a:lnTo>
                    <a:lnTo>
                      <a:pt x="109" y="67"/>
                    </a:lnTo>
                    <a:lnTo>
                      <a:pt x="109" y="70"/>
                    </a:lnTo>
                    <a:lnTo>
                      <a:pt x="109" y="72"/>
                    </a:lnTo>
                    <a:lnTo>
                      <a:pt x="111" y="72"/>
                    </a:lnTo>
                    <a:lnTo>
                      <a:pt x="113" y="72"/>
                    </a:lnTo>
                    <a:lnTo>
                      <a:pt x="113" y="74"/>
                    </a:lnTo>
                    <a:lnTo>
                      <a:pt x="111" y="74"/>
                    </a:lnTo>
                    <a:lnTo>
                      <a:pt x="111" y="76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2"/>
                    </a:lnTo>
                    <a:lnTo>
                      <a:pt x="107" y="82"/>
                    </a:lnTo>
                    <a:lnTo>
                      <a:pt x="105" y="80"/>
                    </a:lnTo>
                    <a:lnTo>
                      <a:pt x="105" y="82"/>
                    </a:lnTo>
                    <a:lnTo>
                      <a:pt x="105" y="84"/>
                    </a:lnTo>
                    <a:lnTo>
                      <a:pt x="103" y="82"/>
                    </a:lnTo>
                    <a:lnTo>
                      <a:pt x="105" y="82"/>
                    </a:lnTo>
                    <a:lnTo>
                      <a:pt x="103" y="80"/>
                    </a:lnTo>
                    <a:lnTo>
                      <a:pt x="101" y="80"/>
                    </a:lnTo>
                    <a:lnTo>
                      <a:pt x="101" y="82"/>
                    </a:lnTo>
                    <a:lnTo>
                      <a:pt x="99" y="84"/>
                    </a:lnTo>
                    <a:lnTo>
                      <a:pt x="99" y="86"/>
                    </a:lnTo>
                    <a:lnTo>
                      <a:pt x="97" y="88"/>
                    </a:lnTo>
                    <a:lnTo>
                      <a:pt x="97" y="86"/>
                    </a:lnTo>
                    <a:lnTo>
                      <a:pt x="97" y="88"/>
                    </a:lnTo>
                    <a:lnTo>
                      <a:pt x="96" y="88"/>
                    </a:lnTo>
                    <a:lnTo>
                      <a:pt x="94" y="88"/>
                    </a:lnTo>
                    <a:lnTo>
                      <a:pt x="94" y="86"/>
                    </a:lnTo>
                    <a:lnTo>
                      <a:pt x="94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0" y="84"/>
                    </a:lnTo>
                    <a:lnTo>
                      <a:pt x="88" y="86"/>
                    </a:lnTo>
                    <a:lnTo>
                      <a:pt x="90" y="84"/>
                    </a:lnTo>
                    <a:lnTo>
                      <a:pt x="90" y="80"/>
                    </a:lnTo>
                    <a:lnTo>
                      <a:pt x="92" y="78"/>
                    </a:lnTo>
                    <a:lnTo>
                      <a:pt x="90" y="76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8" y="72"/>
                    </a:lnTo>
                    <a:lnTo>
                      <a:pt x="88" y="70"/>
                    </a:lnTo>
                    <a:lnTo>
                      <a:pt x="88" y="69"/>
                    </a:lnTo>
                    <a:lnTo>
                      <a:pt x="86" y="69"/>
                    </a:lnTo>
                    <a:lnTo>
                      <a:pt x="86" y="67"/>
                    </a:lnTo>
                    <a:lnTo>
                      <a:pt x="84" y="69"/>
                    </a:lnTo>
                    <a:lnTo>
                      <a:pt x="84" y="67"/>
                    </a:lnTo>
                    <a:lnTo>
                      <a:pt x="82" y="67"/>
                    </a:lnTo>
                    <a:lnTo>
                      <a:pt x="80" y="67"/>
                    </a:lnTo>
                    <a:lnTo>
                      <a:pt x="80" y="69"/>
                    </a:lnTo>
                    <a:lnTo>
                      <a:pt x="80" y="67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5" y="67"/>
                    </a:lnTo>
                    <a:lnTo>
                      <a:pt x="73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69" y="70"/>
                    </a:lnTo>
                    <a:lnTo>
                      <a:pt x="69" y="69"/>
                    </a:lnTo>
                    <a:lnTo>
                      <a:pt x="71" y="69"/>
                    </a:lnTo>
                    <a:lnTo>
                      <a:pt x="71" y="67"/>
                    </a:lnTo>
                    <a:lnTo>
                      <a:pt x="71" y="65"/>
                    </a:lnTo>
                    <a:lnTo>
                      <a:pt x="73" y="65"/>
                    </a:lnTo>
                    <a:lnTo>
                      <a:pt x="73" y="63"/>
                    </a:lnTo>
                    <a:lnTo>
                      <a:pt x="71" y="61"/>
                    </a:lnTo>
                    <a:lnTo>
                      <a:pt x="71" y="59"/>
                    </a:lnTo>
                    <a:lnTo>
                      <a:pt x="71" y="57"/>
                    </a:lnTo>
                    <a:lnTo>
                      <a:pt x="69" y="57"/>
                    </a:lnTo>
                    <a:lnTo>
                      <a:pt x="69" y="55"/>
                    </a:lnTo>
                    <a:lnTo>
                      <a:pt x="71" y="55"/>
                    </a:lnTo>
                    <a:lnTo>
                      <a:pt x="69" y="55"/>
                    </a:lnTo>
                    <a:lnTo>
                      <a:pt x="71" y="53"/>
                    </a:lnTo>
                    <a:lnTo>
                      <a:pt x="69" y="53"/>
                    </a:lnTo>
                    <a:lnTo>
                      <a:pt x="69" y="51"/>
                    </a:lnTo>
                    <a:lnTo>
                      <a:pt x="67" y="53"/>
                    </a:lnTo>
                    <a:lnTo>
                      <a:pt x="67" y="51"/>
                    </a:lnTo>
                    <a:lnTo>
                      <a:pt x="67" y="49"/>
                    </a:lnTo>
                    <a:lnTo>
                      <a:pt x="65" y="48"/>
                    </a:lnTo>
                    <a:lnTo>
                      <a:pt x="65" y="46"/>
                    </a:lnTo>
                    <a:lnTo>
                      <a:pt x="63" y="46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46" y="44"/>
                    </a:lnTo>
                    <a:lnTo>
                      <a:pt x="42" y="44"/>
                    </a:lnTo>
                    <a:lnTo>
                      <a:pt x="40" y="46"/>
                    </a:lnTo>
                    <a:lnTo>
                      <a:pt x="40" y="48"/>
                    </a:lnTo>
                    <a:lnTo>
                      <a:pt x="40" y="49"/>
                    </a:lnTo>
                    <a:lnTo>
                      <a:pt x="38" y="49"/>
                    </a:lnTo>
                    <a:lnTo>
                      <a:pt x="38" y="51"/>
                    </a:lnTo>
                    <a:lnTo>
                      <a:pt x="38" y="53"/>
                    </a:lnTo>
                    <a:lnTo>
                      <a:pt x="36" y="51"/>
                    </a:lnTo>
                    <a:lnTo>
                      <a:pt x="36" y="53"/>
                    </a:lnTo>
                    <a:lnTo>
                      <a:pt x="35" y="53"/>
                    </a:lnTo>
                    <a:lnTo>
                      <a:pt x="35" y="55"/>
                    </a:lnTo>
                    <a:lnTo>
                      <a:pt x="35" y="53"/>
                    </a:lnTo>
                    <a:lnTo>
                      <a:pt x="33" y="53"/>
                    </a:lnTo>
                    <a:lnTo>
                      <a:pt x="33" y="55"/>
                    </a:lnTo>
                    <a:lnTo>
                      <a:pt x="35" y="55"/>
                    </a:lnTo>
                    <a:lnTo>
                      <a:pt x="31" y="57"/>
                    </a:lnTo>
                    <a:lnTo>
                      <a:pt x="29" y="57"/>
                    </a:lnTo>
                    <a:lnTo>
                      <a:pt x="27" y="57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31" y="55"/>
                    </a:lnTo>
                    <a:lnTo>
                      <a:pt x="29" y="55"/>
                    </a:lnTo>
                    <a:lnTo>
                      <a:pt x="27" y="55"/>
                    </a:lnTo>
                    <a:lnTo>
                      <a:pt x="29" y="55"/>
                    </a:lnTo>
                    <a:lnTo>
                      <a:pt x="27" y="55"/>
                    </a:lnTo>
                    <a:lnTo>
                      <a:pt x="27" y="53"/>
                    </a:lnTo>
                    <a:lnTo>
                      <a:pt x="29" y="53"/>
                    </a:lnTo>
                    <a:lnTo>
                      <a:pt x="27" y="53"/>
                    </a:lnTo>
                    <a:lnTo>
                      <a:pt x="27" y="51"/>
                    </a:lnTo>
                    <a:lnTo>
                      <a:pt x="25" y="51"/>
                    </a:lnTo>
                    <a:lnTo>
                      <a:pt x="25" y="49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51"/>
                    </a:lnTo>
                    <a:lnTo>
                      <a:pt x="23" y="51"/>
                    </a:lnTo>
                    <a:lnTo>
                      <a:pt x="23" y="49"/>
                    </a:lnTo>
                    <a:lnTo>
                      <a:pt x="25" y="49"/>
                    </a:lnTo>
                    <a:lnTo>
                      <a:pt x="23" y="49"/>
                    </a:lnTo>
                    <a:lnTo>
                      <a:pt x="21" y="51"/>
                    </a:lnTo>
                    <a:lnTo>
                      <a:pt x="21" y="49"/>
                    </a:lnTo>
                    <a:lnTo>
                      <a:pt x="23" y="49"/>
                    </a:lnTo>
                    <a:lnTo>
                      <a:pt x="23" y="48"/>
                    </a:lnTo>
                    <a:lnTo>
                      <a:pt x="23" y="46"/>
                    </a:lnTo>
                    <a:lnTo>
                      <a:pt x="23" y="48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23" y="46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1" y="46"/>
                    </a:lnTo>
                    <a:lnTo>
                      <a:pt x="21" y="44"/>
                    </a:lnTo>
                    <a:lnTo>
                      <a:pt x="19" y="46"/>
                    </a:lnTo>
                    <a:lnTo>
                      <a:pt x="17" y="44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1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12" y="17"/>
                    </a:lnTo>
                    <a:lnTo>
                      <a:pt x="12" y="15"/>
                    </a:lnTo>
                    <a:lnTo>
                      <a:pt x="14" y="15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7" y="15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6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7" y="4"/>
                    </a:lnTo>
                    <a:lnTo>
                      <a:pt x="59" y="4"/>
                    </a:lnTo>
                    <a:close/>
                    <a:moveTo>
                      <a:pt x="2" y="27"/>
                    </a:moveTo>
                    <a:lnTo>
                      <a:pt x="2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2" y="27"/>
                    </a:lnTo>
                    <a:close/>
                    <a:moveTo>
                      <a:pt x="6" y="30"/>
                    </a:moveTo>
                    <a:lnTo>
                      <a:pt x="8" y="30"/>
                    </a:lnTo>
                    <a:lnTo>
                      <a:pt x="8" y="32"/>
                    </a:lnTo>
                    <a:lnTo>
                      <a:pt x="6" y="32"/>
                    </a:lnTo>
                    <a:lnTo>
                      <a:pt x="6" y="30"/>
                    </a:lnTo>
                    <a:close/>
                    <a:moveTo>
                      <a:pt x="14" y="40"/>
                    </a:moveTo>
                    <a:lnTo>
                      <a:pt x="15" y="40"/>
                    </a:lnTo>
                    <a:lnTo>
                      <a:pt x="15" y="42"/>
                    </a:lnTo>
                    <a:lnTo>
                      <a:pt x="14" y="42"/>
                    </a:lnTo>
                    <a:lnTo>
                      <a:pt x="14" y="40"/>
                    </a:lnTo>
                    <a:close/>
                    <a:moveTo>
                      <a:pt x="21" y="46"/>
                    </a:moveTo>
                    <a:lnTo>
                      <a:pt x="23" y="46"/>
                    </a:lnTo>
                    <a:lnTo>
                      <a:pt x="23" y="48"/>
                    </a:lnTo>
                    <a:lnTo>
                      <a:pt x="21" y="48"/>
                    </a:lnTo>
                    <a:lnTo>
                      <a:pt x="21" y="46"/>
                    </a:lnTo>
                    <a:close/>
                    <a:moveTo>
                      <a:pt x="15" y="42"/>
                    </a:moveTo>
                    <a:lnTo>
                      <a:pt x="17" y="42"/>
                    </a:lnTo>
                    <a:lnTo>
                      <a:pt x="15" y="42"/>
                    </a:lnTo>
                    <a:close/>
                    <a:moveTo>
                      <a:pt x="19" y="44"/>
                    </a:moveTo>
                    <a:lnTo>
                      <a:pt x="21" y="44"/>
                    </a:lnTo>
                    <a:lnTo>
                      <a:pt x="21" y="46"/>
                    </a:lnTo>
                    <a:lnTo>
                      <a:pt x="19" y="46"/>
                    </a:lnTo>
                    <a:lnTo>
                      <a:pt x="19" y="44"/>
                    </a:lnTo>
                    <a:close/>
                    <a:moveTo>
                      <a:pt x="2" y="27"/>
                    </a:moveTo>
                    <a:lnTo>
                      <a:pt x="4" y="27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27"/>
                    </a:lnTo>
                    <a:close/>
                    <a:moveTo>
                      <a:pt x="19" y="49"/>
                    </a:moveTo>
                    <a:lnTo>
                      <a:pt x="19" y="51"/>
                    </a:lnTo>
                    <a:lnTo>
                      <a:pt x="19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6" name="Freeform 86">
                <a:extLst>
                  <a:ext uri="{FF2B5EF4-FFF2-40B4-BE49-F238E27FC236}">
                    <a16:creationId xmlns:a16="http://schemas.microsoft.com/office/drawing/2014/main" id="{33553B97-8BF2-86F0-E824-58135303C1A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761969" y="-2162323"/>
                <a:ext cx="74052" cy="77350"/>
              </a:xfrm>
              <a:custGeom>
                <a:avLst/>
                <a:gdLst>
                  <a:gd name="T0" fmla="*/ 47 w 47"/>
                  <a:gd name="T1" fmla="*/ 28 h 49"/>
                  <a:gd name="T2" fmla="*/ 47 w 47"/>
                  <a:gd name="T3" fmla="*/ 30 h 49"/>
                  <a:gd name="T4" fmla="*/ 42 w 47"/>
                  <a:gd name="T5" fmla="*/ 32 h 49"/>
                  <a:gd name="T6" fmla="*/ 40 w 47"/>
                  <a:gd name="T7" fmla="*/ 38 h 49"/>
                  <a:gd name="T8" fmla="*/ 36 w 47"/>
                  <a:gd name="T9" fmla="*/ 40 h 49"/>
                  <a:gd name="T10" fmla="*/ 32 w 47"/>
                  <a:gd name="T11" fmla="*/ 44 h 49"/>
                  <a:gd name="T12" fmla="*/ 30 w 47"/>
                  <a:gd name="T13" fmla="*/ 48 h 49"/>
                  <a:gd name="T14" fmla="*/ 25 w 47"/>
                  <a:gd name="T15" fmla="*/ 48 h 49"/>
                  <a:gd name="T16" fmla="*/ 11 w 47"/>
                  <a:gd name="T17" fmla="*/ 42 h 49"/>
                  <a:gd name="T18" fmla="*/ 13 w 47"/>
                  <a:gd name="T19" fmla="*/ 40 h 49"/>
                  <a:gd name="T20" fmla="*/ 11 w 47"/>
                  <a:gd name="T21" fmla="*/ 38 h 49"/>
                  <a:gd name="T22" fmla="*/ 9 w 47"/>
                  <a:gd name="T23" fmla="*/ 38 h 49"/>
                  <a:gd name="T24" fmla="*/ 6 w 47"/>
                  <a:gd name="T25" fmla="*/ 36 h 49"/>
                  <a:gd name="T26" fmla="*/ 6 w 47"/>
                  <a:gd name="T27" fmla="*/ 34 h 49"/>
                  <a:gd name="T28" fmla="*/ 4 w 47"/>
                  <a:gd name="T29" fmla="*/ 28 h 49"/>
                  <a:gd name="T30" fmla="*/ 2 w 47"/>
                  <a:gd name="T31" fmla="*/ 28 h 49"/>
                  <a:gd name="T32" fmla="*/ 2 w 47"/>
                  <a:gd name="T33" fmla="*/ 27 h 49"/>
                  <a:gd name="T34" fmla="*/ 4 w 47"/>
                  <a:gd name="T35" fmla="*/ 27 h 49"/>
                  <a:gd name="T36" fmla="*/ 4 w 47"/>
                  <a:gd name="T37" fmla="*/ 25 h 49"/>
                  <a:gd name="T38" fmla="*/ 4 w 47"/>
                  <a:gd name="T39" fmla="*/ 23 h 49"/>
                  <a:gd name="T40" fmla="*/ 6 w 47"/>
                  <a:gd name="T41" fmla="*/ 23 h 49"/>
                  <a:gd name="T42" fmla="*/ 6 w 47"/>
                  <a:gd name="T43" fmla="*/ 25 h 49"/>
                  <a:gd name="T44" fmla="*/ 4 w 47"/>
                  <a:gd name="T45" fmla="*/ 23 h 49"/>
                  <a:gd name="T46" fmla="*/ 4 w 47"/>
                  <a:gd name="T47" fmla="*/ 21 h 49"/>
                  <a:gd name="T48" fmla="*/ 2 w 47"/>
                  <a:gd name="T49" fmla="*/ 25 h 49"/>
                  <a:gd name="T50" fmla="*/ 2 w 47"/>
                  <a:gd name="T51" fmla="*/ 19 h 49"/>
                  <a:gd name="T52" fmla="*/ 0 w 47"/>
                  <a:gd name="T53" fmla="*/ 19 h 49"/>
                  <a:gd name="T54" fmla="*/ 2 w 47"/>
                  <a:gd name="T55" fmla="*/ 15 h 49"/>
                  <a:gd name="T56" fmla="*/ 4 w 47"/>
                  <a:gd name="T57" fmla="*/ 11 h 49"/>
                  <a:gd name="T58" fmla="*/ 6 w 47"/>
                  <a:gd name="T59" fmla="*/ 11 h 49"/>
                  <a:gd name="T60" fmla="*/ 9 w 47"/>
                  <a:gd name="T61" fmla="*/ 11 h 49"/>
                  <a:gd name="T62" fmla="*/ 11 w 47"/>
                  <a:gd name="T63" fmla="*/ 7 h 49"/>
                  <a:gd name="T64" fmla="*/ 13 w 47"/>
                  <a:gd name="T65" fmla="*/ 2 h 49"/>
                  <a:gd name="T66" fmla="*/ 21 w 47"/>
                  <a:gd name="T67" fmla="*/ 0 h 49"/>
                  <a:gd name="T68" fmla="*/ 34 w 47"/>
                  <a:gd name="T69" fmla="*/ 4 h 49"/>
                  <a:gd name="T70" fmla="*/ 38 w 47"/>
                  <a:gd name="T71" fmla="*/ 7 h 49"/>
                  <a:gd name="T72" fmla="*/ 40 w 47"/>
                  <a:gd name="T73" fmla="*/ 9 h 49"/>
                  <a:gd name="T74" fmla="*/ 40 w 47"/>
                  <a:gd name="T75" fmla="*/ 13 h 49"/>
                  <a:gd name="T76" fmla="*/ 40 w 47"/>
                  <a:gd name="T77" fmla="*/ 15 h 49"/>
                  <a:gd name="T78" fmla="*/ 42 w 47"/>
                  <a:gd name="T79" fmla="*/ 19 h 49"/>
                  <a:gd name="T80" fmla="*/ 42 w 47"/>
                  <a:gd name="T81" fmla="*/ 23 h 49"/>
                  <a:gd name="T82" fmla="*/ 40 w 47"/>
                  <a:gd name="T83" fmla="*/ 27 h 49"/>
                  <a:gd name="T84" fmla="*/ 42 w 47"/>
                  <a:gd name="T85" fmla="*/ 28 h 49"/>
                  <a:gd name="T86" fmla="*/ 47 w 47"/>
                  <a:gd name="T87" fmla="*/ 25 h 49"/>
                  <a:gd name="T88" fmla="*/ 9 w 47"/>
                  <a:gd name="T89" fmla="*/ 40 h 49"/>
                  <a:gd name="T90" fmla="*/ 9 w 47"/>
                  <a:gd name="T91" fmla="*/ 42 h 49"/>
                  <a:gd name="T92" fmla="*/ 6 w 47"/>
                  <a:gd name="T93" fmla="*/ 38 h 49"/>
                  <a:gd name="T94" fmla="*/ 7 w 47"/>
                  <a:gd name="T95" fmla="*/ 38 h 49"/>
                  <a:gd name="T96" fmla="*/ 11 w 47"/>
                  <a:gd name="T97" fmla="*/ 38 h 49"/>
                  <a:gd name="T98" fmla="*/ 9 w 47"/>
                  <a:gd name="T99" fmla="*/ 38 h 49"/>
                  <a:gd name="T100" fmla="*/ 4 w 47"/>
                  <a:gd name="T101" fmla="*/ 25 h 49"/>
                  <a:gd name="T102" fmla="*/ 4 w 47"/>
                  <a:gd name="T103" fmla="*/ 25 h 49"/>
                  <a:gd name="T104" fmla="*/ 0 w 47"/>
                  <a:gd name="T105" fmla="*/ 30 h 49"/>
                  <a:gd name="T106" fmla="*/ 2 w 47"/>
                  <a:gd name="T107" fmla="*/ 17 h 49"/>
                  <a:gd name="T108" fmla="*/ 11 w 47"/>
                  <a:gd name="T109" fmla="*/ 3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7" h="49">
                    <a:moveTo>
                      <a:pt x="47" y="25"/>
                    </a:moveTo>
                    <a:lnTo>
                      <a:pt x="47" y="27"/>
                    </a:lnTo>
                    <a:lnTo>
                      <a:pt x="47" y="28"/>
                    </a:lnTo>
                    <a:lnTo>
                      <a:pt x="46" y="28"/>
                    </a:lnTo>
                    <a:lnTo>
                      <a:pt x="47" y="28"/>
                    </a:lnTo>
                    <a:lnTo>
                      <a:pt x="47" y="30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6" y="40"/>
                    </a:lnTo>
                    <a:lnTo>
                      <a:pt x="34" y="42"/>
                    </a:lnTo>
                    <a:lnTo>
                      <a:pt x="34" y="44"/>
                    </a:lnTo>
                    <a:lnTo>
                      <a:pt x="32" y="44"/>
                    </a:lnTo>
                    <a:lnTo>
                      <a:pt x="32" y="46"/>
                    </a:lnTo>
                    <a:lnTo>
                      <a:pt x="30" y="46"/>
                    </a:lnTo>
                    <a:lnTo>
                      <a:pt x="30" y="48"/>
                    </a:lnTo>
                    <a:lnTo>
                      <a:pt x="28" y="49"/>
                    </a:lnTo>
                    <a:lnTo>
                      <a:pt x="26" y="49"/>
                    </a:lnTo>
                    <a:lnTo>
                      <a:pt x="25" y="48"/>
                    </a:lnTo>
                    <a:lnTo>
                      <a:pt x="21" y="46"/>
                    </a:lnTo>
                    <a:lnTo>
                      <a:pt x="15" y="44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3" y="40"/>
                    </a:lnTo>
                    <a:lnTo>
                      <a:pt x="15" y="40"/>
                    </a:lnTo>
                    <a:lnTo>
                      <a:pt x="13" y="40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1" y="38"/>
                    </a:lnTo>
                    <a:lnTo>
                      <a:pt x="9" y="38"/>
                    </a:lnTo>
                    <a:lnTo>
                      <a:pt x="7" y="38"/>
                    </a:lnTo>
                    <a:lnTo>
                      <a:pt x="7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11" y="4"/>
                    </a:lnTo>
                    <a:lnTo>
                      <a:pt x="13" y="2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32" y="0"/>
                    </a:lnTo>
                    <a:lnTo>
                      <a:pt x="32" y="2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7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0" y="13"/>
                    </a:lnTo>
                    <a:lnTo>
                      <a:pt x="42" y="13"/>
                    </a:lnTo>
                    <a:lnTo>
                      <a:pt x="40" y="13"/>
                    </a:lnTo>
                    <a:lnTo>
                      <a:pt x="40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2" y="19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2" y="23"/>
                    </a:lnTo>
                    <a:lnTo>
                      <a:pt x="42" y="25"/>
                    </a:lnTo>
                    <a:lnTo>
                      <a:pt x="42" y="27"/>
                    </a:lnTo>
                    <a:lnTo>
                      <a:pt x="40" y="27"/>
                    </a:lnTo>
                    <a:lnTo>
                      <a:pt x="40" y="28"/>
                    </a:lnTo>
                    <a:lnTo>
                      <a:pt x="42" y="27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6" y="25"/>
                    </a:lnTo>
                    <a:lnTo>
                      <a:pt x="47" y="25"/>
                    </a:lnTo>
                    <a:close/>
                    <a:moveTo>
                      <a:pt x="9" y="38"/>
                    </a:moveTo>
                    <a:lnTo>
                      <a:pt x="11" y="38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7" y="38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9" y="38"/>
                    </a:lnTo>
                    <a:close/>
                    <a:moveTo>
                      <a:pt x="9" y="38"/>
                    </a:moveTo>
                    <a:lnTo>
                      <a:pt x="11" y="38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9" y="38"/>
                    </a:lnTo>
                    <a:close/>
                    <a:moveTo>
                      <a:pt x="4" y="25"/>
                    </a:moveTo>
                    <a:lnTo>
                      <a:pt x="6" y="25"/>
                    </a:lnTo>
                    <a:lnTo>
                      <a:pt x="4" y="25"/>
                    </a:lnTo>
                    <a:close/>
                    <a:moveTo>
                      <a:pt x="2" y="23"/>
                    </a:moveTo>
                    <a:lnTo>
                      <a:pt x="4" y="23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2" y="23"/>
                    </a:lnTo>
                    <a:close/>
                    <a:moveTo>
                      <a:pt x="0" y="30"/>
                    </a:moveTo>
                    <a:lnTo>
                      <a:pt x="2" y="30"/>
                    </a:lnTo>
                    <a:lnTo>
                      <a:pt x="0" y="30"/>
                    </a:lnTo>
                    <a:close/>
                    <a:moveTo>
                      <a:pt x="2" y="17"/>
                    </a:moveTo>
                    <a:lnTo>
                      <a:pt x="2" y="19"/>
                    </a:lnTo>
                    <a:lnTo>
                      <a:pt x="2" y="17"/>
                    </a:lnTo>
                    <a:close/>
                    <a:moveTo>
                      <a:pt x="11" y="38"/>
                    </a:moveTo>
                    <a:lnTo>
                      <a:pt x="11" y="40"/>
                    </a:lnTo>
                    <a:lnTo>
                      <a:pt x="11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7" name="Freeform 87">
                <a:extLst>
                  <a:ext uri="{FF2B5EF4-FFF2-40B4-BE49-F238E27FC236}">
                    <a16:creationId xmlns:a16="http://schemas.microsoft.com/office/drawing/2014/main" id="{1436F11B-E470-C01E-DD54-70E4CEF53ED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5129" y="-1952376"/>
                <a:ext cx="26787" cy="42623"/>
              </a:xfrm>
              <a:custGeom>
                <a:avLst/>
                <a:gdLst>
                  <a:gd name="T0" fmla="*/ 3 w 17"/>
                  <a:gd name="T1" fmla="*/ 21 h 27"/>
                  <a:gd name="T2" fmla="*/ 5 w 17"/>
                  <a:gd name="T3" fmla="*/ 21 h 27"/>
                  <a:gd name="T4" fmla="*/ 5 w 17"/>
                  <a:gd name="T5" fmla="*/ 23 h 27"/>
                  <a:gd name="T6" fmla="*/ 3 w 17"/>
                  <a:gd name="T7" fmla="*/ 25 h 27"/>
                  <a:gd name="T8" fmla="*/ 3 w 17"/>
                  <a:gd name="T9" fmla="*/ 27 h 27"/>
                  <a:gd name="T10" fmla="*/ 1 w 17"/>
                  <a:gd name="T11" fmla="*/ 25 h 27"/>
                  <a:gd name="T12" fmla="*/ 1 w 17"/>
                  <a:gd name="T13" fmla="*/ 27 h 27"/>
                  <a:gd name="T14" fmla="*/ 1 w 17"/>
                  <a:gd name="T15" fmla="*/ 25 h 27"/>
                  <a:gd name="T16" fmla="*/ 0 w 17"/>
                  <a:gd name="T17" fmla="*/ 25 h 27"/>
                  <a:gd name="T18" fmla="*/ 0 w 17"/>
                  <a:gd name="T19" fmla="*/ 23 h 27"/>
                  <a:gd name="T20" fmla="*/ 1 w 17"/>
                  <a:gd name="T21" fmla="*/ 23 h 27"/>
                  <a:gd name="T22" fmla="*/ 1 w 17"/>
                  <a:gd name="T23" fmla="*/ 21 h 27"/>
                  <a:gd name="T24" fmla="*/ 3 w 17"/>
                  <a:gd name="T25" fmla="*/ 21 h 27"/>
                  <a:gd name="T26" fmla="*/ 15 w 17"/>
                  <a:gd name="T27" fmla="*/ 0 h 27"/>
                  <a:gd name="T28" fmla="*/ 17 w 17"/>
                  <a:gd name="T29" fmla="*/ 0 h 27"/>
                  <a:gd name="T30" fmla="*/ 17 w 17"/>
                  <a:gd name="T31" fmla="*/ 2 h 27"/>
                  <a:gd name="T32" fmla="*/ 15 w 17"/>
                  <a:gd name="T33" fmla="*/ 2 h 27"/>
                  <a:gd name="T34" fmla="*/ 15 w 17"/>
                  <a:gd name="T3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" h="27">
                    <a:moveTo>
                      <a:pt x="3" y="21"/>
                    </a:moveTo>
                    <a:lnTo>
                      <a:pt x="5" y="21"/>
                    </a:lnTo>
                    <a:lnTo>
                      <a:pt x="5" y="23"/>
                    </a:lnTo>
                    <a:lnTo>
                      <a:pt x="3" y="25"/>
                    </a:lnTo>
                    <a:lnTo>
                      <a:pt x="3" y="27"/>
                    </a:lnTo>
                    <a:lnTo>
                      <a:pt x="1" y="25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1" y="23"/>
                    </a:lnTo>
                    <a:lnTo>
                      <a:pt x="1" y="21"/>
                    </a:lnTo>
                    <a:lnTo>
                      <a:pt x="3" y="21"/>
                    </a:lnTo>
                    <a:close/>
                    <a:moveTo>
                      <a:pt x="15" y="0"/>
                    </a:moveTo>
                    <a:lnTo>
                      <a:pt x="17" y="0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8" name="Freeform 88">
                <a:extLst>
                  <a:ext uri="{FF2B5EF4-FFF2-40B4-BE49-F238E27FC236}">
                    <a16:creationId xmlns:a16="http://schemas.microsoft.com/office/drawing/2014/main" id="{7571E2E0-BA39-32AA-2FA6-15783703D7F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3070" y="-2002889"/>
                <a:ext cx="144954" cy="129440"/>
              </a:xfrm>
              <a:custGeom>
                <a:avLst/>
                <a:gdLst>
                  <a:gd name="T0" fmla="*/ 67 w 92"/>
                  <a:gd name="T1" fmla="*/ 23 h 82"/>
                  <a:gd name="T2" fmla="*/ 69 w 92"/>
                  <a:gd name="T3" fmla="*/ 23 h 82"/>
                  <a:gd name="T4" fmla="*/ 69 w 92"/>
                  <a:gd name="T5" fmla="*/ 25 h 82"/>
                  <a:gd name="T6" fmla="*/ 71 w 92"/>
                  <a:gd name="T7" fmla="*/ 25 h 82"/>
                  <a:gd name="T8" fmla="*/ 73 w 92"/>
                  <a:gd name="T9" fmla="*/ 25 h 82"/>
                  <a:gd name="T10" fmla="*/ 92 w 92"/>
                  <a:gd name="T11" fmla="*/ 25 h 82"/>
                  <a:gd name="T12" fmla="*/ 92 w 92"/>
                  <a:gd name="T13" fmla="*/ 27 h 82"/>
                  <a:gd name="T14" fmla="*/ 92 w 92"/>
                  <a:gd name="T15" fmla="*/ 44 h 82"/>
                  <a:gd name="T16" fmla="*/ 71 w 92"/>
                  <a:gd name="T17" fmla="*/ 44 h 82"/>
                  <a:gd name="T18" fmla="*/ 69 w 92"/>
                  <a:gd name="T19" fmla="*/ 46 h 82"/>
                  <a:gd name="T20" fmla="*/ 69 w 92"/>
                  <a:gd name="T21" fmla="*/ 44 h 82"/>
                  <a:gd name="T22" fmla="*/ 67 w 92"/>
                  <a:gd name="T23" fmla="*/ 44 h 82"/>
                  <a:gd name="T24" fmla="*/ 67 w 92"/>
                  <a:gd name="T25" fmla="*/ 42 h 82"/>
                  <a:gd name="T26" fmla="*/ 69 w 92"/>
                  <a:gd name="T27" fmla="*/ 42 h 82"/>
                  <a:gd name="T28" fmla="*/ 67 w 92"/>
                  <a:gd name="T29" fmla="*/ 42 h 82"/>
                  <a:gd name="T30" fmla="*/ 65 w 92"/>
                  <a:gd name="T31" fmla="*/ 42 h 82"/>
                  <a:gd name="T32" fmla="*/ 67 w 92"/>
                  <a:gd name="T33" fmla="*/ 42 h 82"/>
                  <a:gd name="T34" fmla="*/ 65 w 92"/>
                  <a:gd name="T35" fmla="*/ 42 h 82"/>
                  <a:gd name="T36" fmla="*/ 63 w 92"/>
                  <a:gd name="T37" fmla="*/ 44 h 82"/>
                  <a:gd name="T38" fmla="*/ 63 w 92"/>
                  <a:gd name="T39" fmla="*/ 42 h 82"/>
                  <a:gd name="T40" fmla="*/ 61 w 92"/>
                  <a:gd name="T41" fmla="*/ 42 h 82"/>
                  <a:gd name="T42" fmla="*/ 59 w 92"/>
                  <a:gd name="T43" fmla="*/ 40 h 82"/>
                  <a:gd name="T44" fmla="*/ 61 w 92"/>
                  <a:gd name="T45" fmla="*/ 40 h 82"/>
                  <a:gd name="T46" fmla="*/ 61 w 92"/>
                  <a:gd name="T47" fmla="*/ 38 h 82"/>
                  <a:gd name="T48" fmla="*/ 63 w 92"/>
                  <a:gd name="T49" fmla="*/ 36 h 82"/>
                  <a:gd name="T50" fmla="*/ 65 w 92"/>
                  <a:gd name="T51" fmla="*/ 34 h 82"/>
                  <a:gd name="T52" fmla="*/ 65 w 92"/>
                  <a:gd name="T53" fmla="*/ 32 h 82"/>
                  <a:gd name="T54" fmla="*/ 67 w 92"/>
                  <a:gd name="T55" fmla="*/ 30 h 82"/>
                  <a:gd name="T56" fmla="*/ 67 w 92"/>
                  <a:gd name="T57" fmla="*/ 29 h 82"/>
                  <a:gd name="T58" fmla="*/ 67 w 92"/>
                  <a:gd name="T59" fmla="*/ 27 h 82"/>
                  <a:gd name="T60" fmla="*/ 67 w 92"/>
                  <a:gd name="T61" fmla="*/ 25 h 82"/>
                  <a:gd name="T62" fmla="*/ 67 w 92"/>
                  <a:gd name="T63" fmla="*/ 23 h 82"/>
                  <a:gd name="T64" fmla="*/ 50 w 92"/>
                  <a:gd name="T65" fmla="*/ 0 h 82"/>
                  <a:gd name="T66" fmla="*/ 52 w 92"/>
                  <a:gd name="T67" fmla="*/ 0 h 82"/>
                  <a:gd name="T68" fmla="*/ 54 w 92"/>
                  <a:gd name="T69" fmla="*/ 0 h 82"/>
                  <a:gd name="T70" fmla="*/ 54 w 92"/>
                  <a:gd name="T71" fmla="*/ 2 h 82"/>
                  <a:gd name="T72" fmla="*/ 52 w 92"/>
                  <a:gd name="T73" fmla="*/ 4 h 82"/>
                  <a:gd name="T74" fmla="*/ 52 w 92"/>
                  <a:gd name="T75" fmla="*/ 6 h 82"/>
                  <a:gd name="T76" fmla="*/ 50 w 92"/>
                  <a:gd name="T77" fmla="*/ 8 h 82"/>
                  <a:gd name="T78" fmla="*/ 48 w 92"/>
                  <a:gd name="T79" fmla="*/ 8 h 82"/>
                  <a:gd name="T80" fmla="*/ 46 w 92"/>
                  <a:gd name="T81" fmla="*/ 8 h 82"/>
                  <a:gd name="T82" fmla="*/ 46 w 92"/>
                  <a:gd name="T83" fmla="*/ 6 h 82"/>
                  <a:gd name="T84" fmla="*/ 46 w 92"/>
                  <a:gd name="T85" fmla="*/ 4 h 82"/>
                  <a:gd name="T86" fmla="*/ 48 w 92"/>
                  <a:gd name="T87" fmla="*/ 4 h 82"/>
                  <a:gd name="T88" fmla="*/ 48 w 92"/>
                  <a:gd name="T89" fmla="*/ 2 h 82"/>
                  <a:gd name="T90" fmla="*/ 50 w 92"/>
                  <a:gd name="T91" fmla="*/ 0 h 82"/>
                  <a:gd name="T92" fmla="*/ 0 w 92"/>
                  <a:gd name="T93" fmla="*/ 82 h 82"/>
                  <a:gd name="T94" fmla="*/ 2 w 92"/>
                  <a:gd name="T95" fmla="*/ 82 h 82"/>
                  <a:gd name="T96" fmla="*/ 0 w 92"/>
                  <a:gd name="T97" fmla="*/ 82 h 82"/>
                  <a:gd name="T98" fmla="*/ 59 w 92"/>
                  <a:gd name="T99" fmla="*/ 44 h 82"/>
                  <a:gd name="T100" fmla="*/ 59 w 92"/>
                  <a:gd name="T101" fmla="*/ 46 h 82"/>
                  <a:gd name="T102" fmla="*/ 59 w 92"/>
                  <a:gd name="T103" fmla="*/ 4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82">
                    <a:moveTo>
                      <a:pt x="67" y="23"/>
                    </a:moveTo>
                    <a:lnTo>
                      <a:pt x="69" y="23"/>
                    </a:lnTo>
                    <a:lnTo>
                      <a:pt x="69" y="25"/>
                    </a:lnTo>
                    <a:lnTo>
                      <a:pt x="71" y="25"/>
                    </a:lnTo>
                    <a:lnTo>
                      <a:pt x="73" y="25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2" y="44"/>
                    </a:lnTo>
                    <a:lnTo>
                      <a:pt x="71" y="44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67" y="44"/>
                    </a:lnTo>
                    <a:lnTo>
                      <a:pt x="67" y="42"/>
                    </a:lnTo>
                    <a:lnTo>
                      <a:pt x="69" y="42"/>
                    </a:lnTo>
                    <a:lnTo>
                      <a:pt x="67" y="42"/>
                    </a:lnTo>
                    <a:lnTo>
                      <a:pt x="65" y="42"/>
                    </a:lnTo>
                    <a:lnTo>
                      <a:pt x="67" y="42"/>
                    </a:lnTo>
                    <a:lnTo>
                      <a:pt x="65" y="42"/>
                    </a:lnTo>
                    <a:lnTo>
                      <a:pt x="63" y="44"/>
                    </a:lnTo>
                    <a:lnTo>
                      <a:pt x="63" y="42"/>
                    </a:lnTo>
                    <a:lnTo>
                      <a:pt x="61" y="42"/>
                    </a:lnTo>
                    <a:lnTo>
                      <a:pt x="59" y="40"/>
                    </a:lnTo>
                    <a:lnTo>
                      <a:pt x="61" y="40"/>
                    </a:lnTo>
                    <a:lnTo>
                      <a:pt x="61" y="38"/>
                    </a:lnTo>
                    <a:lnTo>
                      <a:pt x="63" y="36"/>
                    </a:lnTo>
                    <a:lnTo>
                      <a:pt x="65" y="34"/>
                    </a:lnTo>
                    <a:lnTo>
                      <a:pt x="65" y="32"/>
                    </a:lnTo>
                    <a:lnTo>
                      <a:pt x="67" y="30"/>
                    </a:lnTo>
                    <a:lnTo>
                      <a:pt x="67" y="29"/>
                    </a:lnTo>
                    <a:lnTo>
                      <a:pt x="67" y="27"/>
                    </a:lnTo>
                    <a:lnTo>
                      <a:pt x="67" y="25"/>
                    </a:lnTo>
                    <a:lnTo>
                      <a:pt x="67" y="23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4" y="0"/>
                    </a:lnTo>
                    <a:lnTo>
                      <a:pt x="54" y="2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50" y="0"/>
                    </a:lnTo>
                    <a:close/>
                    <a:moveTo>
                      <a:pt x="0" y="82"/>
                    </a:moveTo>
                    <a:lnTo>
                      <a:pt x="2" y="82"/>
                    </a:lnTo>
                    <a:lnTo>
                      <a:pt x="0" y="82"/>
                    </a:lnTo>
                    <a:close/>
                    <a:moveTo>
                      <a:pt x="59" y="44"/>
                    </a:moveTo>
                    <a:lnTo>
                      <a:pt x="59" y="46"/>
                    </a:lnTo>
                    <a:lnTo>
                      <a:pt x="59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9" name="Freeform 89">
                <a:extLst>
                  <a:ext uri="{FF2B5EF4-FFF2-40B4-BE49-F238E27FC236}">
                    <a16:creationId xmlns:a16="http://schemas.microsoft.com/office/drawing/2014/main" id="{CF2BCEE5-18A1-BC25-A65E-9EEA951467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3326" y="-2222306"/>
                <a:ext cx="77204" cy="156276"/>
              </a:xfrm>
              <a:custGeom>
                <a:avLst/>
                <a:gdLst>
                  <a:gd name="T0" fmla="*/ 44 w 49"/>
                  <a:gd name="T1" fmla="*/ 17 h 99"/>
                  <a:gd name="T2" fmla="*/ 48 w 49"/>
                  <a:gd name="T3" fmla="*/ 21 h 99"/>
                  <a:gd name="T4" fmla="*/ 48 w 49"/>
                  <a:gd name="T5" fmla="*/ 26 h 99"/>
                  <a:gd name="T6" fmla="*/ 48 w 49"/>
                  <a:gd name="T7" fmla="*/ 30 h 99"/>
                  <a:gd name="T8" fmla="*/ 46 w 49"/>
                  <a:gd name="T9" fmla="*/ 32 h 99"/>
                  <a:gd name="T10" fmla="*/ 46 w 49"/>
                  <a:gd name="T11" fmla="*/ 36 h 99"/>
                  <a:gd name="T12" fmla="*/ 44 w 49"/>
                  <a:gd name="T13" fmla="*/ 42 h 99"/>
                  <a:gd name="T14" fmla="*/ 40 w 49"/>
                  <a:gd name="T15" fmla="*/ 44 h 99"/>
                  <a:gd name="T16" fmla="*/ 38 w 49"/>
                  <a:gd name="T17" fmla="*/ 51 h 99"/>
                  <a:gd name="T18" fmla="*/ 32 w 49"/>
                  <a:gd name="T19" fmla="*/ 53 h 99"/>
                  <a:gd name="T20" fmla="*/ 32 w 49"/>
                  <a:gd name="T21" fmla="*/ 57 h 99"/>
                  <a:gd name="T22" fmla="*/ 30 w 49"/>
                  <a:gd name="T23" fmla="*/ 57 h 99"/>
                  <a:gd name="T24" fmla="*/ 30 w 49"/>
                  <a:gd name="T25" fmla="*/ 61 h 99"/>
                  <a:gd name="T26" fmla="*/ 32 w 49"/>
                  <a:gd name="T27" fmla="*/ 63 h 99"/>
                  <a:gd name="T28" fmla="*/ 30 w 49"/>
                  <a:gd name="T29" fmla="*/ 63 h 99"/>
                  <a:gd name="T30" fmla="*/ 30 w 49"/>
                  <a:gd name="T31" fmla="*/ 68 h 99"/>
                  <a:gd name="T32" fmla="*/ 30 w 49"/>
                  <a:gd name="T33" fmla="*/ 74 h 99"/>
                  <a:gd name="T34" fmla="*/ 30 w 49"/>
                  <a:gd name="T35" fmla="*/ 80 h 99"/>
                  <a:gd name="T36" fmla="*/ 30 w 49"/>
                  <a:gd name="T37" fmla="*/ 84 h 99"/>
                  <a:gd name="T38" fmla="*/ 30 w 49"/>
                  <a:gd name="T39" fmla="*/ 86 h 99"/>
                  <a:gd name="T40" fmla="*/ 30 w 49"/>
                  <a:gd name="T41" fmla="*/ 89 h 99"/>
                  <a:gd name="T42" fmla="*/ 30 w 49"/>
                  <a:gd name="T43" fmla="*/ 95 h 99"/>
                  <a:gd name="T44" fmla="*/ 25 w 49"/>
                  <a:gd name="T45" fmla="*/ 97 h 99"/>
                  <a:gd name="T46" fmla="*/ 13 w 49"/>
                  <a:gd name="T47" fmla="*/ 99 h 99"/>
                  <a:gd name="T48" fmla="*/ 15 w 49"/>
                  <a:gd name="T49" fmla="*/ 95 h 99"/>
                  <a:gd name="T50" fmla="*/ 13 w 49"/>
                  <a:gd name="T51" fmla="*/ 91 h 99"/>
                  <a:gd name="T52" fmla="*/ 13 w 49"/>
                  <a:gd name="T53" fmla="*/ 80 h 99"/>
                  <a:gd name="T54" fmla="*/ 13 w 49"/>
                  <a:gd name="T55" fmla="*/ 68 h 99"/>
                  <a:gd name="T56" fmla="*/ 13 w 49"/>
                  <a:gd name="T57" fmla="*/ 61 h 99"/>
                  <a:gd name="T58" fmla="*/ 11 w 49"/>
                  <a:gd name="T59" fmla="*/ 51 h 99"/>
                  <a:gd name="T60" fmla="*/ 9 w 49"/>
                  <a:gd name="T61" fmla="*/ 45 h 99"/>
                  <a:gd name="T62" fmla="*/ 4 w 49"/>
                  <a:gd name="T63" fmla="*/ 36 h 99"/>
                  <a:gd name="T64" fmla="*/ 0 w 49"/>
                  <a:gd name="T65" fmla="*/ 28 h 99"/>
                  <a:gd name="T66" fmla="*/ 2 w 49"/>
                  <a:gd name="T67" fmla="*/ 23 h 99"/>
                  <a:gd name="T68" fmla="*/ 6 w 49"/>
                  <a:gd name="T69" fmla="*/ 21 h 99"/>
                  <a:gd name="T70" fmla="*/ 6 w 49"/>
                  <a:gd name="T71" fmla="*/ 19 h 99"/>
                  <a:gd name="T72" fmla="*/ 8 w 49"/>
                  <a:gd name="T73" fmla="*/ 19 h 99"/>
                  <a:gd name="T74" fmla="*/ 9 w 49"/>
                  <a:gd name="T75" fmla="*/ 15 h 99"/>
                  <a:gd name="T76" fmla="*/ 13 w 49"/>
                  <a:gd name="T77" fmla="*/ 17 h 99"/>
                  <a:gd name="T78" fmla="*/ 17 w 49"/>
                  <a:gd name="T79" fmla="*/ 15 h 99"/>
                  <a:gd name="T80" fmla="*/ 25 w 49"/>
                  <a:gd name="T81" fmla="*/ 11 h 99"/>
                  <a:gd name="T82" fmla="*/ 25 w 49"/>
                  <a:gd name="T83" fmla="*/ 7 h 99"/>
                  <a:gd name="T84" fmla="*/ 27 w 49"/>
                  <a:gd name="T85" fmla="*/ 7 h 99"/>
                  <a:gd name="T86" fmla="*/ 27 w 49"/>
                  <a:gd name="T87" fmla="*/ 2 h 99"/>
                  <a:gd name="T88" fmla="*/ 30 w 49"/>
                  <a:gd name="T89" fmla="*/ 0 h 99"/>
                  <a:gd name="T90" fmla="*/ 36 w 49"/>
                  <a:gd name="T91" fmla="*/ 2 h 99"/>
                  <a:gd name="T92" fmla="*/ 40 w 49"/>
                  <a:gd name="T93" fmla="*/ 5 h 99"/>
                  <a:gd name="T94" fmla="*/ 44 w 49"/>
                  <a:gd name="T95" fmla="*/ 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9" h="99">
                    <a:moveTo>
                      <a:pt x="46" y="11"/>
                    </a:moveTo>
                    <a:lnTo>
                      <a:pt x="44" y="13"/>
                    </a:lnTo>
                    <a:lnTo>
                      <a:pt x="44" y="17"/>
                    </a:lnTo>
                    <a:lnTo>
                      <a:pt x="44" y="19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6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6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0" y="42"/>
                    </a:lnTo>
                    <a:lnTo>
                      <a:pt x="40" y="44"/>
                    </a:lnTo>
                    <a:lnTo>
                      <a:pt x="38" y="47"/>
                    </a:lnTo>
                    <a:lnTo>
                      <a:pt x="38" y="49"/>
                    </a:lnTo>
                    <a:lnTo>
                      <a:pt x="38" y="51"/>
                    </a:lnTo>
                    <a:lnTo>
                      <a:pt x="36" y="53"/>
                    </a:lnTo>
                    <a:lnTo>
                      <a:pt x="34" y="53"/>
                    </a:lnTo>
                    <a:lnTo>
                      <a:pt x="32" y="53"/>
                    </a:lnTo>
                    <a:lnTo>
                      <a:pt x="32" y="55"/>
                    </a:lnTo>
                    <a:lnTo>
                      <a:pt x="30" y="57"/>
                    </a:lnTo>
                    <a:lnTo>
                      <a:pt x="32" y="57"/>
                    </a:lnTo>
                    <a:lnTo>
                      <a:pt x="30" y="57"/>
                    </a:lnTo>
                    <a:lnTo>
                      <a:pt x="32" y="57"/>
                    </a:lnTo>
                    <a:lnTo>
                      <a:pt x="30" y="57"/>
                    </a:lnTo>
                    <a:lnTo>
                      <a:pt x="30" y="59"/>
                    </a:lnTo>
                    <a:lnTo>
                      <a:pt x="32" y="59"/>
                    </a:lnTo>
                    <a:lnTo>
                      <a:pt x="30" y="61"/>
                    </a:lnTo>
                    <a:lnTo>
                      <a:pt x="32" y="61"/>
                    </a:lnTo>
                    <a:lnTo>
                      <a:pt x="30" y="63"/>
                    </a:lnTo>
                    <a:lnTo>
                      <a:pt x="32" y="63"/>
                    </a:lnTo>
                    <a:lnTo>
                      <a:pt x="30" y="63"/>
                    </a:lnTo>
                    <a:lnTo>
                      <a:pt x="32" y="63"/>
                    </a:lnTo>
                    <a:lnTo>
                      <a:pt x="30" y="63"/>
                    </a:lnTo>
                    <a:lnTo>
                      <a:pt x="30" y="65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30" y="70"/>
                    </a:lnTo>
                    <a:lnTo>
                      <a:pt x="30" y="72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2" y="80"/>
                    </a:lnTo>
                    <a:lnTo>
                      <a:pt x="30" y="80"/>
                    </a:lnTo>
                    <a:lnTo>
                      <a:pt x="30" y="82"/>
                    </a:lnTo>
                    <a:lnTo>
                      <a:pt x="32" y="84"/>
                    </a:lnTo>
                    <a:lnTo>
                      <a:pt x="30" y="84"/>
                    </a:lnTo>
                    <a:lnTo>
                      <a:pt x="30" y="86"/>
                    </a:lnTo>
                    <a:lnTo>
                      <a:pt x="32" y="86"/>
                    </a:lnTo>
                    <a:lnTo>
                      <a:pt x="30" y="86"/>
                    </a:lnTo>
                    <a:lnTo>
                      <a:pt x="32" y="86"/>
                    </a:lnTo>
                    <a:lnTo>
                      <a:pt x="30" y="87"/>
                    </a:lnTo>
                    <a:lnTo>
                      <a:pt x="30" y="89"/>
                    </a:lnTo>
                    <a:lnTo>
                      <a:pt x="32" y="91"/>
                    </a:lnTo>
                    <a:lnTo>
                      <a:pt x="30" y="93"/>
                    </a:lnTo>
                    <a:lnTo>
                      <a:pt x="30" y="95"/>
                    </a:lnTo>
                    <a:lnTo>
                      <a:pt x="30" y="97"/>
                    </a:lnTo>
                    <a:lnTo>
                      <a:pt x="27" y="97"/>
                    </a:lnTo>
                    <a:lnTo>
                      <a:pt x="25" y="97"/>
                    </a:lnTo>
                    <a:lnTo>
                      <a:pt x="21" y="97"/>
                    </a:lnTo>
                    <a:lnTo>
                      <a:pt x="19" y="99"/>
                    </a:lnTo>
                    <a:lnTo>
                      <a:pt x="13" y="99"/>
                    </a:lnTo>
                    <a:lnTo>
                      <a:pt x="17" y="99"/>
                    </a:lnTo>
                    <a:lnTo>
                      <a:pt x="15" y="97"/>
                    </a:lnTo>
                    <a:lnTo>
                      <a:pt x="15" y="95"/>
                    </a:lnTo>
                    <a:lnTo>
                      <a:pt x="15" y="93"/>
                    </a:lnTo>
                    <a:lnTo>
                      <a:pt x="13" y="93"/>
                    </a:lnTo>
                    <a:lnTo>
                      <a:pt x="13" y="91"/>
                    </a:lnTo>
                    <a:lnTo>
                      <a:pt x="13" y="89"/>
                    </a:lnTo>
                    <a:lnTo>
                      <a:pt x="13" y="87"/>
                    </a:lnTo>
                    <a:lnTo>
                      <a:pt x="13" y="80"/>
                    </a:lnTo>
                    <a:lnTo>
                      <a:pt x="13" y="78"/>
                    </a:lnTo>
                    <a:lnTo>
                      <a:pt x="13" y="76"/>
                    </a:lnTo>
                    <a:lnTo>
                      <a:pt x="13" y="68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1"/>
                    </a:lnTo>
                    <a:lnTo>
                      <a:pt x="13" y="53"/>
                    </a:lnTo>
                    <a:lnTo>
                      <a:pt x="13" y="51"/>
                    </a:lnTo>
                    <a:lnTo>
                      <a:pt x="11" y="51"/>
                    </a:lnTo>
                    <a:lnTo>
                      <a:pt x="9" y="49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9" y="44"/>
                    </a:lnTo>
                    <a:lnTo>
                      <a:pt x="9" y="38"/>
                    </a:lnTo>
                    <a:lnTo>
                      <a:pt x="4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2" y="24"/>
                    </a:lnTo>
                    <a:lnTo>
                      <a:pt x="2" y="23"/>
                    </a:lnTo>
                    <a:lnTo>
                      <a:pt x="4" y="21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6" y="21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3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7" y="15"/>
                    </a:lnTo>
                    <a:lnTo>
                      <a:pt x="19" y="15"/>
                    </a:lnTo>
                    <a:lnTo>
                      <a:pt x="23" y="13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7" y="7"/>
                    </a:lnTo>
                    <a:lnTo>
                      <a:pt x="25" y="7"/>
                    </a:lnTo>
                    <a:lnTo>
                      <a:pt x="27" y="7"/>
                    </a:lnTo>
                    <a:lnTo>
                      <a:pt x="27" y="5"/>
                    </a:lnTo>
                    <a:lnTo>
                      <a:pt x="27" y="7"/>
                    </a:lnTo>
                    <a:lnTo>
                      <a:pt x="25" y="3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4" y="2"/>
                    </a:lnTo>
                    <a:lnTo>
                      <a:pt x="36" y="2"/>
                    </a:lnTo>
                    <a:lnTo>
                      <a:pt x="36" y="3"/>
                    </a:lnTo>
                    <a:lnTo>
                      <a:pt x="38" y="3"/>
                    </a:lnTo>
                    <a:lnTo>
                      <a:pt x="40" y="5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9"/>
                    </a:lnTo>
                    <a:lnTo>
                      <a:pt x="44" y="11"/>
                    </a:lnTo>
                    <a:lnTo>
                      <a:pt x="46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0" name="Freeform 90">
                <a:extLst>
                  <a:ext uri="{FF2B5EF4-FFF2-40B4-BE49-F238E27FC236}">
                    <a16:creationId xmlns:a16="http://schemas.microsoft.com/office/drawing/2014/main" id="{DE3A0A59-49C6-9721-E49E-DE8FC37433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9571" y="-2476454"/>
                <a:ext cx="420681" cy="347279"/>
              </a:xfrm>
              <a:custGeom>
                <a:avLst/>
                <a:gdLst>
                  <a:gd name="T0" fmla="*/ 244 w 267"/>
                  <a:gd name="T1" fmla="*/ 14 h 220"/>
                  <a:gd name="T2" fmla="*/ 246 w 267"/>
                  <a:gd name="T3" fmla="*/ 16 h 220"/>
                  <a:gd name="T4" fmla="*/ 244 w 267"/>
                  <a:gd name="T5" fmla="*/ 16 h 220"/>
                  <a:gd name="T6" fmla="*/ 246 w 267"/>
                  <a:gd name="T7" fmla="*/ 31 h 220"/>
                  <a:gd name="T8" fmla="*/ 246 w 267"/>
                  <a:gd name="T9" fmla="*/ 39 h 220"/>
                  <a:gd name="T10" fmla="*/ 247 w 267"/>
                  <a:gd name="T11" fmla="*/ 50 h 220"/>
                  <a:gd name="T12" fmla="*/ 253 w 267"/>
                  <a:gd name="T13" fmla="*/ 56 h 220"/>
                  <a:gd name="T14" fmla="*/ 259 w 267"/>
                  <a:gd name="T15" fmla="*/ 63 h 220"/>
                  <a:gd name="T16" fmla="*/ 263 w 267"/>
                  <a:gd name="T17" fmla="*/ 65 h 220"/>
                  <a:gd name="T18" fmla="*/ 265 w 267"/>
                  <a:gd name="T19" fmla="*/ 67 h 220"/>
                  <a:gd name="T20" fmla="*/ 261 w 267"/>
                  <a:gd name="T21" fmla="*/ 75 h 220"/>
                  <a:gd name="T22" fmla="*/ 255 w 267"/>
                  <a:gd name="T23" fmla="*/ 77 h 220"/>
                  <a:gd name="T24" fmla="*/ 246 w 267"/>
                  <a:gd name="T25" fmla="*/ 82 h 220"/>
                  <a:gd name="T26" fmla="*/ 242 w 267"/>
                  <a:gd name="T27" fmla="*/ 90 h 220"/>
                  <a:gd name="T28" fmla="*/ 242 w 267"/>
                  <a:gd name="T29" fmla="*/ 98 h 220"/>
                  <a:gd name="T30" fmla="*/ 234 w 267"/>
                  <a:gd name="T31" fmla="*/ 115 h 220"/>
                  <a:gd name="T32" fmla="*/ 232 w 267"/>
                  <a:gd name="T33" fmla="*/ 140 h 220"/>
                  <a:gd name="T34" fmla="*/ 228 w 267"/>
                  <a:gd name="T35" fmla="*/ 157 h 220"/>
                  <a:gd name="T36" fmla="*/ 217 w 267"/>
                  <a:gd name="T37" fmla="*/ 164 h 220"/>
                  <a:gd name="T38" fmla="*/ 211 w 267"/>
                  <a:gd name="T39" fmla="*/ 174 h 220"/>
                  <a:gd name="T40" fmla="*/ 209 w 267"/>
                  <a:gd name="T41" fmla="*/ 185 h 220"/>
                  <a:gd name="T42" fmla="*/ 204 w 267"/>
                  <a:gd name="T43" fmla="*/ 185 h 220"/>
                  <a:gd name="T44" fmla="*/ 200 w 267"/>
                  <a:gd name="T45" fmla="*/ 197 h 220"/>
                  <a:gd name="T46" fmla="*/ 192 w 267"/>
                  <a:gd name="T47" fmla="*/ 206 h 220"/>
                  <a:gd name="T48" fmla="*/ 192 w 267"/>
                  <a:gd name="T49" fmla="*/ 197 h 220"/>
                  <a:gd name="T50" fmla="*/ 181 w 267"/>
                  <a:gd name="T51" fmla="*/ 174 h 220"/>
                  <a:gd name="T52" fmla="*/ 175 w 267"/>
                  <a:gd name="T53" fmla="*/ 168 h 220"/>
                  <a:gd name="T54" fmla="*/ 165 w 267"/>
                  <a:gd name="T55" fmla="*/ 187 h 220"/>
                  <a:gd name="T56" fmla="*/ 145 w 267"/>
                  <a:gd name="T57" fmla="*/ 205 h 220"/>
                  <a:gd name="T58" fmla="*/ 116 w 267"/>
                  <a:gd name="T59" fmla="*/ 205 h 220"/>
                  <a:gd name="T60" fmla="*/ 99 w 267"/>
                  <a:gd name="T61" fmla="*/ 210 h 220"/>
                  <a:gd name="T62" fmla="*/ 74 w 267"/>
                  <a:gd name="T63" fmla="*/ 206 h 220"/>
                  <a:gd name="T64" fmla="*/ 66 w 267"/>
                  <a:gd name="T65" fmla="*/ 197 h 220"/>
                  <a:gd name="T66" fmla="*/ 57 w 267"/>
                  <a:gd name="T67" fmla="*/ 193 h 220"/>
                  <a:gd name="T68" fmla="*/ 55 w 267"/>
                  <a:gd name="T69" fmla="*/ 195 h 220"/>
                  <a:gd name="T70" fmla="*/ 51 w 267"/>
                  <a:gd name="T71" fmla="*/ 199 h 220"/>
                  <a:gd name="T72" fmla="*/ 47 w 267"/>
                  <a:gd name="T73" fmla="*/ 208 h 220"/>
                  <a:gd name="T74" fmla="*/ 43 w 267"/>
                  <a:gd name="T75" fmla="*/ 218 h 220"/>
                  <a:gd name="T76" fmla="*/ 32 w 267"/>
                  <a:gd name="T77" fmla="*/ 220 h 220"/>
                  <a:gd name="T78" fmla="*/ 26 w 267"/>
                  <a:gd name="T79" fmla="*/ 214 h 220"/>
                  <a:gd name="T80" fmla="*/ 30 w 267"/>
                  <a:gd name="T81" fmla="*/ 206 h 220"/>
                  <a:gd name="T82" fmla="*/ 21 w 267"/>
                  <a:gd name="T83" fmla="*/ 187 h 220"/>
                  <a:gd name="T84" fmla="*/ 19 w 267"/>
                  <a:gd name="T85" fmla="*/ 176 h 220"/>
                  <a:gd name="T86" fmla="*/ 11 w 267"/>
                  <a:gd name="T87" fmla="*/ 166 h 220"/>
                  <a:gd name="T88" fmla="*/ 11 w 267"/>
                  <a:gd name="T89" fmla="*/ 157 h 220"/>
                  <a:gd name="T90" fmla="*/ 2 w 267"/>
                  <a:gd name="T91" fmla="*/ 157 h 220"/>
                  <a:gd name="T92" fmla="*/ 3 w 267"/>
                  <a:gd name="T93" fmla="*/ 149 h 220"/>
                  <a:gd name="T94" fmla="*/ 5 w 267"/>
                  <a:gd name="T95" fmla="*/ 140 h 220"/>
                  <a:gd name="T96" fmla="*/ 13 w 267"/>
                  <a:gd name="T97" fmla="*/ 132 h 220"/>
                  <a:gd name="T98" fmla="*/ 9 w 267"/>
                  <a:gd name="T99" fmla="*/ 124 h 220"/>
                  <a:gd name="T100" fmla="*/ 19 w 267"/>
                  <a:gd name="T101" fmla="*/ 117 h 220"/>
                  <a:gd name="T102" fmla="*/ 21 w 267"/>
                  <a:gd name="T103" fmla="*/ 105 h 220"/>
                  <a:gd name="T104" fmla="*/ 30 w 267"/>
                  <a:gd name="T105" fmla="*/ 105 h 220"/>
                  <a:gd name="T106" fmla="*/ 36 w 267"/>
                  <a:gd name="T107" fmla="*/ 35 h 220"/>
                  <a:gd name="T108" fmla="*/ 169 w 267"/>
                  <a:gd name="T109" fmla="*/ 0 h 220"/>
                  <a:gd name="T110" fmla="*/ 246 w 267"/>
                  <a:gd name="T111" fmla="*/ 21 h 220"/>
                  <a:gd name="T112" fmla="*/ 265 w 267"/>
                  <a:gd name="T113" fmla="*/ 63 h 220"/>
                  <a:gd name="T114" fmla="*/ 265 w 267"/>
                  <a:gd name="T115" fmla="*/ 6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7" h="220">
                    <a:moveTo>
                      <a:pt x="240" y="0"/>
                    </a:moveTo>
                    <a:lnTo>
                      <a:pt x="240" y="2"/>
                    </a:lnTo>
                    <a:lnTo>
                      <a:pt x="240" y="4"/>
                    </a:lnTo>
                    <a:lnTo>
                      <a:pt x="240" y="8"/>
                    </a:lnTo>
                    <a:lnTo>
                      <a:pt x="244" y="12"/>
                    </a:lnTo>
                    <a:lnTo>
                      <a:pt x="244" y="14"/>
                    </a:lnTo>
                    <a:lnTo>
                      <a:pt x="246" y="14"/>
                    </a:lnTo>
                    <a:lnTo>
                      <a:pt x="246" y="16"/>
                    </a:lnTo>
                    <a:lnTo>
                      <a:pt x="247" y="16"/>
                    </a:lnTo>
                    <a:lnTo>
                      <a:pt x="247" y="18"/>
                    </a:lnTo>
                    <a:lnTo>
                      <a:pt x="246" y="18"/>
                    </a:lnTo>
                    <a:lnTo>
                      <a:pt x="246" y="16"/>
                    </a:lnTo>
                    <a:lnTo>
                      <a:pt x="246" y="18"/>
                    </a:lnTo>
                    <a:lnTo>
                      <a:pt x="246" y="16"/>
                    </a:lnTo>
                    <a:lnTo>
                      <a:pt x="244" y="16"/>
                    </a:lnTo>
                    <a:lnTo>
                      <a:pt x="246" y="14"/>
                    </a:lnTo>
                    <a:lnTo>
                      <a:pt x="244" y="14"/>
                    </a:lnTo>
                    <a:lnTo>
                      <a:pt x="244" y="16"/>
                    </a:lnTo>
                    <a:lnTo>
                      <a:pt x="244" y="19"/>
                    </a:lnTo>
                    <a:lnTo>
                      <a:pt x="246" y="23"/>
                    </a:lnTo>
                    <a:lnTo>
                      <a:pt x="246" y="25"/>
                    </a:lnTo>
                    <a:lnTo>
                      <a:pt x="246" y="27"/>
                    </a:lnTo>
                    <a:lnTo>
                      <a:pt x="246" y="29"/>
                    </a:lnTo>
                    <a:lnTo>
                      <a:pt x="246" y="31"/>
                    </a:lnTo>
                    <a:lnTo>
                      <a:pt x="246" y="33"/>
                    </a:lnTo>
                    <a:lnTo>
                      <a:pt x="246" y="35"/>
                    </a:lnTo>
                    <a:lnTo>
                      <a:pt x="246" y="33"/>
                    </a:lnTo>
                    <a:lnTo>
                      <a:pt x="246" y="35"/>
                    </a:lnTo>
                    <a:lnTo>
                      <a:pt x="246" y="37"/>
                    </a:lnTo>
                    <a:lnTo>
                      <a:pt x="246" y="39"/>
                    </a:lnTo>
                    <a:lnTo>
                      <a:pt x="246" y="40"/>
                    </a:lnTo>
                    <a:lnTo>
                      <a:pt x="246" y="42"/>
                    </a:lnTo>
                    <a:lnTo>
                      <a:pt x="247" y="42"/>
                    </a:lnTo>
                    <a:lnTo>
                      <a:pt x="246" y="44"/>
                    </a:lnTo>
                    <a:lnTo>
                      <a:pt x="247" y="46"/>
                    </a:lnTo>
                    <a:lnTo>
                      <a:pt x="247" y="50"/>
                    </a:lnTo>
                    <a:lnTo>
                      <a:pt x="247" y="52"/>
                    </a:lnTo>
                    <a:lnTo>
                      <a:pt x="249" y="52"/>
                    </a:lnTo>
                    <a:lnTo>
                      <a:pt x="249" y="54"/>
                    </a:lnTo>
                    <a:lnTo>
                      <a:pt x="249" y="56"/>
                    </a:lnTo>
                    <a:lnTo>
                      <a:pt x="251" y="56"/>
                    </a:lnTo>
                    <a:lnTo>
                      <a:pt x="253" y="56"/>
                    </a:lnTo>
                    <a:lnTo>
                      <a:pt x="253" y="58"/>
                    </a:lnTo>
                    <a:lnTo>
                      <a:pt x="255" y="58"/>
                    </a:lnTo>
                    <a:lnTo>
                      <a:pt x="257" y="60"/>
                    </a:lnTo>
                    <a:lnTo>
                      <a:pt x="259" y="60"/>
                    </a:lnTo>
                    <a:lnTo>
                      <a:pt x="259" y="61"/>
                    </a:lnTo>
                    <a:lnTo>
                      <a:pt x="259" y="63"/>
                    </a:lnTo>
                    <a:lnTo>
                      <a:pt x="261" y="63"/>
                    </a:lnTo>
                    <a:lnTo>
                      <a:pt x="261" y="65"/>
                    </a:lnTo>
                    <a:lnTo>
                      <a:pt x="263" y="63"/>
                    </a:lnTo>
                    <a:lnTo>
                      <a:pt x="263" y="65"/>
                    </a:lnTo>
                    <a:lnTo>
                      <a:pt x="265" y="65"/>
                    </a:lnTo>
                    <a:lnTo>
                      <a:pt x="263" y="65"/>
                    </a:lnTo>
                    <a:lnTo>
                      <a:pt x="265" y="65"/>
                    </a:lnTo>
                    <a:lnTo>
                      <a:pt x="265" y="67"/>
                    </a:lnTo>
                    <a:lnTo>
                      <a:pt x="265" y="65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7" y="69"/>
                    </a:lnTo>
                    <a:lnTo>
                      <a:pt x="265" y="69"/>
                    </a:lnTo>
                    <a:lnTo>
                      <a:pt x="263" y="73"/>
                    </a:lnTo>
                    <a:lnTo>
                      <a:pt x="263" y="75"/>
                    </a:lnTo>
                    <a:lnTo>
                      <a:pt x="261" y="75"/>
                    </a:lnTo>
                    <a:lnTo>
                      <a:pt x="259" y="75"/>
                    </a:lnTo>
                    <a:lnTo>
                      <a:pt x="259" y="77"/>
                    </a:lnTo>
                    <a:lnTo>
                      <a:pt x="259" y="75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5" y="77"/>
                    </a:lnTo>
                    <a:lnTo>
                      <a:pt x="253" y="79"/>
                    </a:lnTo>
                    <a:lnTo>
                      <a:pt x="251" y="79"/>
                    </a:lnTo>
                    <a:lnTo>
                      <a:pt x="249" y="81"/>
                    </a:lnTo>
                    <a:lnTo>
                      <a:pt x="249" y="82"/>
                    </a:lnTo>
                    <a:lnTo>
                      <a:pt x="247" y="84"/>
                    </a:lnTo>
                    <a:lnTo>
                      <a:pt x="246" y="82"/>
                    </a:lnTo>
                    <a:lnTo>
                      <a:pt x="244" y="84"/>
                    </a:lnTo>
                    <a:lnTo>
                      <a:pt x="242" y="82"/>
                    </a:lnTo>
                    <a:lnTo>
                      <a:pt x="242" y="84"/>
                    </a:lnTo>
                    <a:lnTo>
                      <a:pt x="242" y="86"/>
                    </a:lnTo>
                    <a:lnTo>
                      <a:pt x="242" y="88"/>
                    </a:lnTo>
                    <a:lnTo>
                      <a:pt x="242" y="90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2" y="94"/>
                    </a:lnTo>
                    <a:lnTo>
                      <a:pt x="240" y="96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8" y="103"/>
                    </a:lnTo>
                    <a:lnTo>
                      <a:pt x="238" y="105"/>
                    </a:lnTo>
                    <a:lnTo>
                      <a:pt x="236" y="109"/>
                    </a:lnTo>
                    <a:lnTo>
                      <a:pt x="236" y="111"/>
                    </a:lnTo>
                    <a:lnTo>
                      <a:pt x="234" y="115"/>
                    </a:lnTo>
                    <a:lnTo>
                      <a:pt x="232" y="115"/>
                    </a:lnTo>
                    <a:lnTo>
                      <a:pt x="234" y="128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4" y="138"/>
                    </a:lnTo>
                    <a:lnTo>
                      <a:pt x="232" y="140"/>
                    </a:lnTo>
                    <a:lnTo>
                      <a:pt x="232" y="142"/>
                    </a:lnTo>
                    <a:lnTo>
                      <a:pt x="230" y="145"/>
                    </a:lnTo>
                    <a:lnTo>
                      <a:pt x="228" y="151"/>
                    </a:lnTo>
                    <a:lnTo>
                      <a:pt x="228" y="153"/>
                    </a:lnTo>
                    <a:lnTo>
                      <a:pt x="228" y="155"/>
                    </a:lnTo>
                    <a:lnTo>
                      <a:pt x="228" y="157"/>
                    </a:lnTo>
                    <a:lnTo>
                      <a:pt x="228" y="155"/>
                    </a:lnTo>
                    <a:lnTo>
                      <a:pt x="227" y="155"/>
                    </a:lnTo>
                    <a:lnTo>
                      <a:pt x="223" y="157"/>
                    </a:lnTo>
                    <a:lnTo>
                      <a:pt x="221" y="157"/>
                    </a:lnTo>
                    <a:lnTo>
                      <a:pt x="217" y="163"/>
                    </a:lnTo>
                    <a:lnTo>
                      <a:pt x="217" y="164"/>
                    </a:lnTo>
                    <a:lnTo>
                      <a:pt x="215" y="164"/>
                    </a:lnTo>
                    <a:lnTo>
                      <a:pt x="215" y="166"/>
                    </a:lnTo>
                    <a:lnTo>
                      <a:pt x="215" y="168"/>
                    </a:lnTo>
                    <a:lnTo>
                      <a:pt x="211" y="170"/>
                    </a:lnTo>
                    <a:lnTo>
                      <a:pt x="211" y="172"/>
                    </a:lnTo>
                    <a:lnTo>
                      <a:pt x="211" y="174"/>
                    </a:lnTo>
                    <a:lnTo>
                      <a:pt x="211" y="176"/>
                    </a:lnTo>
                    <a:lnTo>
                      <a:pt x="209" y="178"/>
                    </a:lnTo>
                    <a:lnTo>
                      <a:pt x="209" y="180"/>
                    </a:lnTo>
                    <a:lnTo>
                      <a:pt x="209" y="182"/>
                    </a:lnTo>
                    <a:lnTo>
                      <a:pt x="209" y="184"/>
                    </a:lnTo>
                    <a:lnTo>
                      <a:pt x="209" y="185"/>
                    </a:lnTo>
                    <a:lnTo>
                      <a:pt x="207" y="187"/>
                    </a:lnTo>
                    <a:lnTo>
                      <a:pt x="206" y="187"/>
                    </a:lnTo>
                    <a:lnTo>
                      <a:pt x="207" y="187"/>
                    </a:lnTo>
                    <a:lnTo>
                      <a:pt x="206" y="187"/>
                    </a:lnTo>
                    <a:lnTo>
                      <a:pt x="206" y="185"/>
                    </a:lnTo>
                    <a:lnTo>
                      <a:pt x="204" y="185"/>
                    </a:lnTo>
                    <a:lnTo>
                      <a:pt x="202" y="185"/>
                    </a:lnTo>
                    <a:lnTo>
                      <a:pt x="200" y="189"/>
                    </a:lnTo>
                    <a:lnTo>
                      <a:pt x="198" y="191"/>
                    </a:lnTo>
                    <a:lnTo>
                      <a:pt x="200" y="191"/>
                    </a:lnTo>
                    <a:lnTo>
                      <a:pt x="200" y="193"/>
                    </a:lnTo>
                    <a:lnTo>
                      <a:pt x="200" y="197"/>
                    </a:lnTo>
                    <a:lnTo>
                      <a:pt x="198" y="199"/>
                    </a:lnTo>
                    <a:lnTo>
                      <a:pt x="198" y="201"/>
                    </a:lnTo>
                    <a:lnTo>
                      <a:pt x="196" y="206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6"/>
                    </a:lnTo>
                    <a:lnTo>
                      <a:pt x="192" y="205"/>
                    </a:lnTo>
                    <a:lnTo>
                      <a:pt x="194" y="203"/>
                    </a:lnTo>
                    <a:lnTo>
                      <a:pt x="194" y="201"/>
                    </a:lnTo>
                    <a:lnTo>
                      <a:pt x="194" y="199"/>
                    </a:lnTo>
                    <a:lnTo>
                      <a:pt x="194" y="197"/>
                    </a:lnTo>
                    <a:lnTo>
                      <a:pt x="192" y="197"/>
                    </a:lnTo>
                    <a:lnTo>
                      <a:pt x="190" y="195"/>
                    </a:lnTo>
                    <a:lnTo>
                      <a:pt x="188" y="193"/>
                    </a:lnTo>
                    <a:lnTo>
                      <a:pt x="186" y="189"/>
                    </a:lnTo>
                    <a:lnTo>
                      <a:pt x="183" y="187"/>
                    </a:lnTo>
                    <a:lnTo>
                      <a:pt x="183" y="185"/>
                    </a:lnTo>
                    <a:lnTo>
                      <a:pt x="181" y="174"/>
                    </a:lnTo>
                    <a:lnTo>
                      <a:pt x="181" y="172"/>
                    </a:lnTo>
                    <a:lnTo>
                      <a:pt x="183" y="164"/>
                    </a:lnTo>
                    <a:lnTo>
                      <a:pt x="173" y="163"/>
                    </a:lnTo>
                    <a:lnTo>
                      <a:pt x="175" y="164"/>
                    </a:lnTo>
                    <a:lnTo>
                      <a:pt x="175" y="166"/>
                    </a:lnTo>
                    <a:lnTo>
                      <a:pt x="175" y="168"/>
                    </a:lnTo>
                    <a:lnTo>
                      <a:pt x="164" y="168"/>
                    </a:lnTo>
                    <a:lnTo>
                      <a:pt x="165" y="168"/>
                    </a:lnTo>
                    <a:lnTo>
                      <a:pt x="169" y="172"/>
                    </a:lnTo>
                    <a:lnTo>
                      <a:pt x="169" y="180"/>
                    </a:lnTo>
                    <a:lnTo>
                      <a:pt x="169" y="184"/>
                    </a:lnTo>
                    <a:lnTo>
                      <a:pt x="165" y="187"/>
                    </a:lnTo>
                    <a:lnTo>
                      <a:pt x="162" y="189"/>
                    </a:lnTo>
                    <a:lnTo>
                      <a:pt x="160" y="195"/>
                    </a:lnTo>
                    <a:lnTo>
                      <a:pt x="154" y="201"/>
                    </a:lnTo>
                    <a:lnTo>
                      <a:pt x="152" y="203"/>
                    </a:lnTo>
                    <a:lnTo>
                      <a:pt x="150" y="205"/>
                    </a:lnTo>
                    <a:lnTo>
                      <a:pt x="145" y="205"/>
                    </a:lnTo>
                    <a:lnTo>
                      <a:pt x="139" y="201"/>
                    </a:lnTo>
                    <a:lnTo>
                      <a:pt x="131" y="195"/>
                    </a:lnTo>
                    <a:lnTo>
                      <a:pt x="129" y="195"/>
                    </a:lnTo>
                    <a:lnTo>
                      <a:pt x="124" y="199"/>
                    </a:lnTo>
                    <a:lnTo>
                      <a:pt x="124" y="205"/>
                    </a:lnTo>
                    <a:lnTo>
                      <a:pt x="116" y="205"/>
                    </a:lnTo>
                    <a:lnTo>
                      <a:pt x="114" y="206"/>
                    </a:lnTo>
                    <a:lnTo>
                      <a:pt x="112" y="208"/>
                    </a:lnTo>
                    <a:lnTo>
                      <a:pt x="112" y="210"/>
                    </a:lnTo>
                    <a:lnTo>
                      <a:pt x="110" y="210"/>
                    </a:lnTo>
                    <a:lnTo>
                      <a:pt x="108" y="210"/>
                    </a:lnTo>
                    <a:lnTo>
                      <a:pt x="99" y="210"/>
                    </a:lnTo>
                    <a:lnTo>
                      <a:pt x="97" y="206"/>
                    </a:lnTo>
                    <a:lnTo>
                      <a:pt x="89" y="206"/>
                    </a:lnTo>
                    <a:lnTo>
                      <a:pt x="85" y="206"/>
                    </a:lnTo>
                    <a:lnTo>
                      <a:pt x="84" y="206"/>
                    </a:lnTo>
                    <a:lnTo>
                      <a:pt x="78" y="208"/>
                    </a:lnTo>
                    <a:lnTo>
                      <a:pt x="74" y="206"/>
                    </a:lnTo>
                    <a:lnTo>
                      <a:pt x="72" y="206"/>
                    </a:lnTo>
                    <a:lnTo>
                      <a:pt x="72" y="203"/>
                    </a:lnTo>
                    <a:lnTo>
                      <a:pt x="70" y="201"/>
                    </a:lnTo>
                    <a:lnTo>
                      <a:pt x="68" y="199"/>
                    </a:lnTo>
                    <a:lnTo>
                      <a:pt x="68" y="197"/>
                    </a:lnTo>
                    <a:lnTo>
                      <a:pt x="66" y="197"/>
                    </a:lnTo>
                    <a:lnTo>
                      <a:pt x="66" y="193"/>
                    </a:lnTo>
                    <a:lnTo>
                      <a:pt x="64" y="193"/>
                    </a:lnTo>
                    <a:lnTo>
                      <a:pt x="63" y="193"/>
                    </a:lnTo>
                    <a:lnTo>
                      <a:pt x="61" y="193"/>
                    </a:lnTo>
                    <a:lnTo>
                      <a:pt x="59" y="193"/>
                    </a:lnTo>
                    <a:lnTo>
                      <a:pt x="57" y="193"/>
                    </a:lnTo>
                    <a:lnTo>
                      <a:pt x="55" y="193"/>
                    </a:lnTo>
                    <a:lnTo>
                      <a:pt x="55" y="195"/>
                    </a:lnTo>
                    <a:lnTo>
                      <a:pt x="55" y="193"/>
                    </a:lnTo>
                    <a:lnTo>
                      <a:pt x="55" y="195"/>
                    </a:lnTo>
                    <a:lnTo>
                      <a:pt x="53" y="195"/>
                    </a:lnTo>
                    <a:lnTo>
                      <a:pt x="55" y="195"/>
                    </a:lnTo>
                    <a:lnTo>
                      <a:pt x="53" y="195"/>
                    </a:lnTo>
                    <a:lnTo>
                      <a:pt x="51" y="195"/>
                    </a:lnTo>
                    <a:lnTo>
                      <a:pt x="51" y="197"/>
                    </a:lnTo>
                    <a:lnTo>
                      <a:pt x="53" y="197"/>
                    </a:lnTo>
                    <a:lnTo>
                      <a:pt x="53" y="199"/>
                    </a:lnTo>
                    <a:lnTo>
                      <a:pt x="51" y="199"/>
                    </a:lnTo>
                    <a:lnTo>
                      <a:pt x="51" y="201"/>
                    </a:lnTo>
                    <a:lnTo>
                      <a:pt x="49" y="203"/>
                    </a:lnTo>
                    <a:lnTo>
                      <a:pt x="47" y="203"/>
                    </a:lnTo>
                    <a:lnTo>
                      <a:pt x="47" y="205"/>
                    </a:lnTo>
                    <a:lnTo>
                      <a:pt x="47" y="206"/>
                    </a:lnTo>
                    <a:lnTo>
                      <a:pt x="47" y="208"/>
                    </a:lnTo>
                    <a:lnTo>
                      <a:pt x="45" y="210"/>
                    </a:lnTo>
                    <a:lnTo>
                      <a:pt x="45" y="212"/>
                    </a:lnTo>
                    <a:lnTo>
                      <a:pt x="43" y="214"/>
                    </a:lnTo>
                    <a:lnTo>
                      <a:pt x="45" y="216"/>
                    </a:lnTo>
                    <a:lnTo>
                      <a:pt x="45" y="218"/>
                    </a:lnTo>
                    <a:lnTo>
                      <a:pt x="43" y="218"/>
                    </a:lnTo>
                    <a:lnTo>
                      <a:pt x="42" y="220"/>
                    </a:lnTo>
                    <a:lnTo>
                      <a:pt x="40" y="220"/>
                    </a:lnTo>
                    <a:lnTo>
                      <a:pt x="38" y="220"/>
                    </a:lnTo>
                    <a:lnTo>
                      <a:pt x="36" y="220"/>
                    </a:lnTo>
                    <a:lnTo>
                      <a:pt x="34" y="220"/>
                    </a:lnTo>
                    <a:lnTo>
                      <a:pt x="32" y="220"/>
                    </a:lnTo>
                    <a:lnTo>
                      <a:pt x="30" y="220"/>
                    </a:lnTo>
                    <a:lnTo>
                      <a:pt x="28" y="220"/>
                    </a:lnTo>
                    <a:lnTo>
                      <a:pt x="28" y="218"/>
                    </a:lnTo>
                    <a:lnTo>
                      <a:pt x="28" y="216"/>
                    </a:lnTo>
                    <a:lnTo>
                      <a:pt x="26" y="216"/>
                    </a:lnTo>
                    <a:lnTo>
                      <a:pt x="26" y="214"/>
                    </a:lnTo>
                    <a:lnTo>
                      <a:pt x="26" y="212"/>
                    </a:lnTo>
                    <a:lnTo>
                      <a:pt x="28" y="212"/>
                    </a:lnTo>
                    <a:lnTo>
                      <a:pt x="30" y="212"/>
                    </a:lnTo>
                    <a:lnTo>
                      <a:pt x="30" y="210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0" y="205"/>
                    </a:lnTo>
                    <a:lnTo>
                      <a:pt x="30" y="201"/>
                    </a:lnTo>
                    <a:lnTo>
                      <a:pt x="24" y="191"/>
                    </a:lnTo>
                    <a:lnTo>
                      <a:pt x="22" y="189"/>
                    </a:lnTo>
                    <a:lnTo>
                      <a:pt x="21" y="189"/>
                    </a:lnTo>
                    <a:lnTo>
                      <a:pt x="21" y="187"/>
                    </a:lnTo>
                    <a:lnTo>
                      <a:pt x="19" y="185"/>
                    </a:lnTo>
                    <a:lnTo>
                      <a:pt x="17" y="184"/>
                    </a:lnTo>
                    <a:lnTo>
                      <a:pt x="19" y="182"/>
                    </a:lnTo>
                    <a:lnTo>
                      <a:pt x="19" y="180"/>
                    </a:lnTo>
                    <a:lnTo>
                      <a:pt x="19" y="178"/>
                    </a:lnTo>
                    <a:lnTo>
                      <a:pt x="19" y="176"/>
                    </a:lnTo>
                    <a:lnTo>
                      <a:pt x="17" y="176"/>
                    </a:lnTo>
                    <a:lnTo>
                      <a:pt x="15" y="176"/>
                    </a:lnTo>
                    <a:lnTo>
                      <a:pt x="13" y="174"/>
                    </a:lnTo>
                    <a:lnTo>
                      <a:pt x="13" y="172"/>
                    </a:lnTo>
                    <a:lnTo>
                      <a:pt x="13" y="166"/>
                    </a:lnTo>
                    <a:lnTo>
                      <a:pt x="11" y="166"/>
                    </a:lnTo>
                    <a:lnTo>
                      <a:pt x="11" y="164"/>
                    </a:lnTo>
                    <a:lnTo>
                      <a:pt x="11" y="163"/>
                    </a:lnTo>
                    <a:lnTo>
                      <a:pt x="11" y="161"/>
                    </a:lnTo>
                    <a:lnTo>
                      <a:pt x="9" y="161"/>
                    </a:lnTo>
                    <a:lnTo>
                      <a:pt x="11" y="159"/>
                    </a:lnTo>
                    <a:lnTo>
                      <a:pt x="11" y="157"/>
                    </a:lnTo>
                    <a:lnTo>
                      <a:pt x="9" y="157"/>
                    </a:lnTo>
                    <a:lnTo>
                      <a:pt x="7" y="155"/>
                    </a:lnTo>
                    <a:lnTo>
                      <a:pt x="5" y="155"/>
                    </a:lnTo>
                    <a:lnTo>
                      <a:pt x="5" y="157"/>
                    </a:lnTo>
                    <a:lnTo>
                      <a:pt x="3" y="157"/>
                    </a:lnTo>
                    <a:lnTo>
                      <a:pt x="2" y="157"/>
                    </a:lnTo>
                    <a:lnTo>
                      <a:pt x="2" y="155"/>
                    </a:lnTo>
                    <a:lnTo>
                      <a:pt x="0" y="153"/>
                    </a:lnTo>
                    <a:lnTo>
                      <a:pt x="2" y="153"/>
                    </a:lnTo>
                    <a:lnTo>
                      <a:pt x="2" y="151"/>
                    </a:lnTo>
                    <a:lnTo>
                      <a:pt x="2" y="149"/>
                    </a:lnTo>
                    <a:lnTo>
                      <a:pt x="3" y="149"/>
                    </a:lnTo>
                    <a:lnTo>
                      <a:pt x="5" y="149"/>
                    </a:lnTo>
                    <a:lnTo>
                      <a:pt x="5" y="147"/>
                    </a:lnTo>
                    <a:lnTo>
                      <a:pt x="7" y="145"/>
                    </a:lnTo>
                    <a:lnTo>
                      <a:pt x="7" y="143"/>
                    </a:lnTo>
                    <a:lnTo>
                      <a:pt x="7" y="142"/>
                    </a:lnTo>
                    <a:lnTo>
                      <a:pt x="5" y="140"/>
                    </a:lnTo>
                    <a:lnTo>
                      <a:pt x="5" y="138"/>
                    </a:lnTo>
                    <a:lnTo>
                      <a:pt x="7" y="136"/>
                    </a:lnTo>
                    <a:lnTo>
                      <a:pt x="9" y="134"/>
                    </a:lnTo>
                    <a:lnTo>
                      <a:pt x="11" y="134"/>
                    </a:lnTo>
                    <a:lnTo>
                      <a:pt x="11" y="132"/>
                    </a:lnTo>
                    <a:lnTo>
                      <a:pt x="13" y="132"/>
                    </a:lnTo>
                    <a:lnTo>
                      <a:pt x="13" y="130"/>
                    </a:lnTo>
                    <a:lnTo>
                      <a:pt x="11" y="130"/>
                    </a:lnTo>
                    <a:lnTo>
                      <a:pt x="11" y="128"/>
                    </a:lnTo>
                    <a:lnTo>
                      <a:pt x="11" y="126"/>
                    </a:lnTo>
                    <a:lnTo>
                      <a:pt x="9" y="126"/>
                    </a:lnTo>
                    <a:lnTo>
                      <a:pt x="9" y="124"/>
                    </a:lnTo>
                    <a:lnTo>
                      <a:pt x="11" y="124"/>
                    </a:lnTo>
                    <a:lnTo>
                      <a:pt x="15" y="122"/>
                    </a:lnTo>
                    <a:lnTo>
                      <a:pt x="15" y="121"/>
                    </a:lnTo>
                    <a:lnTo>
                      <a:pt x="15" y="119"/>
                    </a:lnTo>
                    <a:lnTo>
                      <a:pt x="17" y="117"/>
                    </a:lnTo>
                    <a:lnTo>
                      <a:pt x="19" y="117"/>
                    </a:lnTo>
                    <a:lnTo>
                      <a:pt x="19" y="115"/>
                    </a:lnTo>
                    <a:lnTo>
                      <a:pt x="19" y="113"/>
                    </a:lnTo>
                    <a:lnTo>
                      <a:pt x="19" y="111"/>
                    </a:lnTo>
                    <a:lnTo>
                      <a:pt x="19" y="109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4" y="107"/>
                    </a:lnTo>
                    <a:lnTo>
                      <a:pt x="26" y="107"/>
                    </a:lnTo>
                    <a:lnTo>
                      <a:pt x="28" y="105"/>
                    </a:lnTo>
                    <a:lnTo>
                      <a:pt x="30" y="105"/>
                    </a:lnTo>
                    <a:lnTo>
                      <a:pt x="36" y="107"/>
                    </a:lnTo>
                    <a:lnTo>
                      <a:pt x="36" y="94"/>
                    </a:lnTo>
                    <a:lnTo>
                      <a:pt x="36" y="71"/>
                    </a:lnTo>
                    <a:lnTo>
                      <a:pt x="36" y="60"/>
                    </a:lnTo>
                    <a:lnTo>
                      <a:pt x="36" y="42"/>
                    </a:lnTo>
                    <a:lnTo>
                      <a:pt x="36" y="35"/>
                    </a:lnTo>
                    <a:lnTo>
                      <a:pt x="51" y="35"/>
                    </a:lnTo>
                    <a:lnTo>
                      <a:pt x="51" y="16"/>
                    </a:lnTo>
                    <a:lnTo>
                      <a:pt x="51" y="0"/>
                    </a:lnTo>
                    <a:lnTo>
                      <a:pt x="129" y="0"/>
                    </a:lnTo>
                    <a:lnTo>
                      <a:pt x="152" y="0"/>
                    </a:lnTo>
                    <a:lnTo>
                      <a:pt x="169" y="0"/>
                    </a:lnTo>
                    <a:lnTo>
                      <a:pt x="181" y="0"/>
                    </a:lnTo>
                    <a:lnTo>
                      <a:pt x="204" y="0"/>
                    </a:lnTo>
                    <a:lnTo>
                      <a:pt x="238" y="0"/>
                    </a:lnTo>
                    <a:lnTo>
                      <a:pt x="240" y="0"/>
                    </a:lnTo>
                    <a:close/>
                    <a:moveTo>
                      <a:pt x="246" y="19"/>
                    </a:moveTo>
                    <a:lnTo>
                      <a:pt x="246" y="21"/>
                    </a:lnTo>
                    <a:lnTo>
                      <a:pt x="246" y="19"/>
                    </a:lnTo>
                    <a:close/>
                    <a:moveTo>
                      <a:pt x="257" y="56"/>
                    </a:moveTo>
                    <a:lnTo>
                      <a:pt x="259" y="56"/>
                    </a:lnTo>
                    <a:lnTo>
                      <a:pt x="257" y="56"/>
                    </a:lnTo>
                    <a:close/>
                    <a:moveTo>
                      <a:pt x="263" y="63"/>
                    </a:moveTo>
                    <a:lnTo>
                      <a:pt x="265" y="63"/>
                    </a:lnTo>
                    <a:lnTo>
                      <a:pt x="265" y="65"/>
                    </a:lnTo>
                    <a:lnTo>
                      <a:pt x="263" y="65"/>
                    </a:lnTo>
                    <a:lnTo>
                      <a:pt x="263" y="63"/>
                    </a:lnTo>
                    <a:close/>
                    <a:moveTo>
                      <a:pt x="263" y="63"/>
                    </a:moveTo>
                    <a:lnTo>
                      <a:pt x="265" y="63"/>
                    </a:lnTo>
                    <a:lnTo>
                      <a:pt x="265" y="65"/>
                    </a:lnTo>
                    <a:lnTo>
                      <a:pt x="263" y="65"/>
                    </a:lnTo>
                    <a:lnTo>
                      <a:pt x="263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1" name="Freeform 93">
                <a:extLst>
                  <a:ext uri="{FF2B5EF4-FFF2-40B4-BE49-F238E27FC236}">
                    <a16:creationId xmlns:a16="http://schemas.microsoft.com/office/drawing/2014/main" id="{412DC7D7-409E-B730-BD4C-72D6109309C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05546" y="-2241250"/>
                <a:ext cx="195371" cy="288874"/>
              </a:xfrm>
              <a:custGeom>
                <a:avLst/>
                <a:gdLst>
                  <a:gd name="T0" fmla="*/ 105 w 124"/>
                  <a:gd name="T1" fmla="*/ 103 h 183"/>
                  <a:gd name="T2" fmla="*/ 95 w 124"/>
                  <a:gd name="T3" fmla="*/ 117 h 183"/>
                  <a:gd name="T4" fmla="*/ 99 w 124"/>
                  <a:gd name="T5" fmla="*/ 130 h 183"/>
                  <a:gd name="T6" fmla="*/ 105 w 124"/>
                  <a:gd name="T7" fmla="*/ 141 h 183"/>
                  <a:gd name="T8" fmla="*/ 118 w 124"/>
                  <a:gd name="T9" fmla="*/ 160 h 183"/>
                  <a:gd name="T10" fmla="*/ 122 w 124"/>
                  <a:gd name="T11" fmla="*/ 170 h 183"/>
                  <a:gd name="T12" fmla="*/ 120 w 124"/>
                  <a:gd name="T13" fmla="*/ 178 h 183"/>
                  <a:gd name="T14" fmla="*/ 120 w 124"/>
                  <a:gd name="T15" fmla="*/ 181 h 183"/>
                  <a:gd name="T16" fmla="*/ 107 w 124"/>
                  <a:gd name="T17" fmla="*/ 178 h 183"/>
                  <a:gd name="T18" fmla="*/ 99 w 124"/>
                  <a:gd name="T19" fmla="*/ 176 h 183"/>
                  <a:gd name="T20" fmla="*/ 76 w 124"/>
                  <a:gd name="T21" fmla="*/ 174 h 183"/>
                  <a:gd name="T22" fmla="*/ 69 w 124"/>
                  <a:gd name="T23" fmla="*/ 174 h 183"/>
                  <a:gd name="T24" fmla="*/ 59 w 124"/>
                  <a:gd name="T25" fmla="*/ 174 h 183"/>
                  <a:gd name="T26" fmla="*/ 27 w 124"/>
                  <a:gd name="T27" fmla="*/ 176 h 183"/>
                  <a:gd name="T28" fmla="*/ 23 w 124"/>
                  <a:gd name="T29" fmla="*/ 162 h 183"/>
                  <a:gd name="T30" fmla="*/ 19 w 124"/>
                  <a:gd name="T31" fmla="*/ 153 h 183"/>
                  <a:gd name="T32" fmla="*/ 21 w 124"/>
                  <a:gd name="T33" fmla="*/ 151 h 183"/>
                  <a:gd name="T34" fmla="*/ 23 w 124"/>
                  <a:gd name="T35" fmla="*/ 147 h 183"/>
                  <a:gd name="T36" fmla="*/ 17 w 124"/>
                  <a:gd name="T37" fmla="*/ 147 h 183"/>
                  <a:gd name="T38" fmla="*/ 11 w 124"/>
                  <a:gd name="T39" fmla="*/ 147 h 183"/>
                  <a:gd name="T40" fmla="*/ 8 w 124"/>
                  <a:gd name="T41" fmla="*/ 138 h 183"/>
                  <a:gd name="T42" fmla="*/ 4 w 124"/>
                  <a:gd name="T43" fmla="*/ 136 h 183"/>
                  <a:gd name="T44" fmla="*/ 4 w 124"/>
                  <a:gd name="T45" fmla="*/ 134 h 183"/>
                  <a:gd name="T46" fmla="*/ 6 w 124"/>
                  <a:gd name="T47" fmla="*/ 124 h 183"/>
                  <a:gd name="T48" fmla="*/ 11 w 124"/>
                  <a:gd name="T49" fmla="*/ 113 h 183"/>
                  <a:gd name="T50" fmla="*/ 21 w 124"/>
                  <a:gd name="T51" fmla="*/ 103 h 183"/>
                  <a:gd name="T52" fmla="*/ 32 w 124"/>
                  <a:gd name="T53" fmla="*/ 101 h 183"/>
                  <a:gd name="T54" fmla="*/ 38 w 124"/>
                  <a:gd name="T55" fmla="*/ 103 h 183"/>
                  <a:gd name="T56" fmla="*/ 48 w 124"/>
                  <a:gd name="T57" fmla="*/ 105 h 183"/>
                  <a:gd name="T58" fmla="*/ 53 w 124"/>
                  <a:gd name="T59" fmla="*/ 96 h 183"/>
                  <a:gd name="T60" fmla="*/ 59 w 124"/>
                  <a:gd name="T61" fmla="*/ 80 h 183"/>
                  <a:gd name="T62" fmla="*/ 67 w 124"/>
                  <a:gd name="T63" fmla="*/ 73 h 183"/>
                  <a:gd name="T64" fmla="*/ 72 w 124"/>
                  <a:gd name="T65" fmla="*/ 59 h 183"/>
                  <a:gd name="T66" fmla="*/ 80 w 124"/>
                  <a:gd name="T67" fmla="*/ 48 h 183"/>
                  <a:gd name="T68" fmla="*/ 82 w 124"/>
                  <a:gd name="T69" fmla="*/ 36 h 183"/>
                  <a:gd name="T70" fmla="*/ 93 w 124"/>
                  <a:gd name="T71" fmla="*/ 29 h 183"/>
                  <a:gd name="T72" fmla="*/ 97 w 124"/>
                  <a:gd name="T73" fmla="*/ 19 h 183"/>
                  <a:gd name="T74" fmla="*/ 95 w 124"/>
                  <a:gd name="T75" fmla="*/ 12 h 183"/>
                  <a:gd name="T76" fmla="*/ 97 w 124"/>
                  <a:gd name="T77" fmla="*/ 6 h 183"/>
                  <a:gd name="T78" fmla="*/ 103 w 124"/>
                  <a:gd name="T79" fmla="*/ 15 h 183"/>
                  <a:gd name="T80" fmla="*/ 105 w 124"/>
                  <a:gd name="T81" fmla="*/ 23 h 183"/>
                  <a:gd name="T82" fmla="*/ 107 w 124"/>
                  <a:gd name="T83" fmla="*/ 33 h 183"/>
                  <a:gd name="T84" fmla="*/ 109 w 124"/>
                  <a:gd name="T85" fmla="*/ 44 h 183"/>
                  <a:gd name="T86" fmla="*/ 107 w 124"/>
                  <a:gd name="T87" fmla="*/ 52 h 183"/>
                  <a:gd name="T88" fmla="*/ 91 w 124"/>
                  <a:gd name="T89" fmla="*/ 52 h 183"/>
                  <a:gd name="T90" fmla="*/ 95 w 124"/>
                  <a:gd name="T91" fmla="*/ 65 h 183"/>
                  <a:gd name="T92" fmla="*/ 107 w 124"/>
                  <a:gd name="T93" fmla="*/ 73 h 183"/>
                  <a:gd name="T94" fmla="*/ 15 w 124"/>
                  <a:gd name="T95" fmla="*/ 149 h 183"/>
                  <a:gd name="T96" fmla="*/ 19 w 124"/>
                  <a:gd name="T97" fmla="*/ 149 h 183"/>
                  <a:gd name="T98" fmla="*/ 6 w 124"/>
                  <a:gd name="T99" fmla="*/ 136 h 183"/>
                  <a:gd name="T100" fmla="*/ 13 w 124"/>
                  <a:gd name="T101" fmla="*/ 145 h 183"/>
                  <a:gd name="T102" fmla="*/ 2 w 124"/>
                  <a:gd name="T103" fmla="*/ 138 h 183"/>
                  <a:gd name="T104" fmla="*/ 4 w 124"/>
                  <a:gd name="T105" fmla="*/ 136 h 183"/>
                  <a:gd name="T106" fmla="*/ 0 w 124"/>
                  <a:gd name="T107" fmla="*/ 136 h 183"/>
                  <a:gd name="T108" fmla="*/ 19 w 124"/>
                  <a:gd name="T109" fmla="*/ 153 h 183"/>
                  <a:gd name="T110" fmla="*/ 15 w 124"/>
                  <a:gd name="T111" fmla="*/ 147 h 183"/>
                  <a:gd name="T112" fmla="*/ 15 w 124"/>
                  <a:gd name="T113" fmla="*/ 147 h 183"/>
                  <a:gd name="T114" fmla="*/ 2 w 124"/>
                  <a:gd name="T115" fmla="*/ 13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4" h="183">
                    <a:moveTo>
                      <a:pt x="112" y="90"/>
                    </a:moveTo>
                    <a:lnTo>
                      <a:pt x="111" y="92"/>
                    </a:lnTo>
                    <a:lnTo>
                      <a:pt x="107" y="96"/>
                    </a:lnTo>
                    <a:lnTo>
                      <a:pt x="109" y="96"/>
                    </a:lnTo>
                    <a:lnTo>
                      <a:pt x="107" y="96"/>
                    </a:lnTo>
                    <a:lnTo>
                      <a:pt x="107" y="98"/>
                    </a:lnTo>
                    <a:lnTo>
                      <a:pt x="107" y="99"/>
                    </a:lnTo>
                    <a:lnTo>
                      <a:pt x="105" y="103"/>
                    </a:lnTo>
                    <a:lnTo>
                      <a:pt x="103" y="103"/>
                    </a:lnTo>
                    <a:lnTo>
                      <a:pt x="101" y="109"/>
                    </a:lnTo>
                    <a:lnTo>
                      <a:pt x="101" y="111"/>
                    </a:lnTo>
                    <a:lnTo>
                      <a:pt x="99" y="111"/>
                    </a:lnTo>
                    <a:lnTo>
                      <a:pt x="97" y="111"/>
                    </a:lnTo>
                    <a:lnTo>
                      <a:pt x="95" y="113"/>
                    </a:lnTo>
                    <a:lnTo>
                      <a:pt x="95" y="115"/>
                    </a:lnTo>
                    <a:lnTo>
                      <a:pt x="95" y="117"/>
                    </a:lnTo>
                    <a:lnTo>
                      <a:pt x="97" y="117"/>
                    </a:lnTo>
                    <a:lnTo>
                      <a:pt x="97" y="119"/>
                    </a:lnTo>
                    <a:lnTo>
                      <a:pt x="97" y="122"/>
                    </a:lnTo>
                    <a:lnTo>
                      <a:pt x="99" y="122"/>
                    </a:lnTo>
                    <a:lnTo>
                      <a:pt x="97" y="124"/>
                    </a:lnTo>
                    <a:lnTo>
                      <a:pt x="97" y="126"/>
                    </a:lnTo>
                    <a:lnTo>
                      <a:pt x="99" y="128"/>
                    </a:lnTo>
                    <a:lnTo>
                      <a:pt x="99" y="130"/>
                    </a:lnTo>
                    <a:lnTo>
                      <a:pt x="99" y="132"/>
                    </a:lnTo>
                    <a:lnTo>
                      <a:pt x="99" y="134"/>
                    </a:lnTo>
                    <a:lnTo>
                      <a:pt x="99" y="136"/>
                    </a:lnTo>
                    <a:lnTo>
                      <a:pt x="99" y="138"/>
                    </a:lnTo>
                    <a:lnTo>
                      <a:pt x="101" y="138"/>
                    </a:lnTo>
                    <a:lnTo>
                      <a:pt x="103" y="139"/>
                    </a:lnTo>
                    <a:lnTo>
                      <a:pt x="105" y="139"/>
                    </a:lnTo>
                    <a:lnTo>
                      <a:pt x="105" y="141"/>
                    </a:lnTo>
                    <a:lnTo>
                      <a:pt x="105" y="143"/>
                    </a:lnTo>
                    <a:lnTo>
                      <a:pt x="105" y="145"/>
                    </a:lnTo>
                    <a:lnTo>
                      <a:pt x="107" y="145"/>
                    </a:lnTo>
                    <a:lnTo>
                      <a:pt x="105" y="147"/>
                    </a:lnTo>
                    <a:lnTo>
                      <a:pt x="109" y="151"/>
                    </a:lnTo>
                    <a:lnTo>
                      <a:pt x="112" y="155"/>
                    </a:lnTo>
                    <a:lnTo>
                      <a:pt x="116" y="160"/>
                    </a:lnTo>
                    <a:lnTo>
                      <a:pt x="118" y="160"/>
                    </a:lnTo>
                    <a:lnTo>
                      <a:pt x="120" y="162"/>
                    </a:lnTo>
                    <a:lnTo>
                      <a:pt x="122" y="164"/>
                    </a:lnTo>
                    <a:lnTo>
                      <a:pt x="122" y="166"/>
                    </a:lnTo>
                    <a:lnTo>
                      <a:pt x="120" y="166"/>
                    </a:lnTo>
                    <a:lnTo>
                      <a:pt x="120" y="168"/>
                    </a:lnTo>
                    <a:lnTo>
                      <a:pt x="122" y="168"/>
                    </a:lnTo>
                    <a:lnTo>
                      <a:pt x="120" y="168"/>
                    </a:lnTo>
                    <a:lnTo>
                      <a:pt x="122" y="170"/>
                    </a:lnTo>
                    <a:lnTo>
                      <a:pt x="120" y="170"/>
                    </a:lnTo>
                    <a:lnTo>
                      <a:pt x="122" y="170"/>
                    </a:lnTo>
                    <a:lnTo>
                      <a:pt x="122" y="172"/>
                    </a:lnTo>
                    <a:lnTo>
                      <a:pt x="122" y="174"/>
                    </a:lnTo>
                    <a:lnTo>
                      <a:pt x="124" y="176"/>
                    </a:lnTo>
                    <a:lnTo>
                      <a:pt x="122" y="176"/>
                    </a:lnTo>
                    <a:lnTo>
                      <a:pt x="122" y="178"/>
                    </a:lnTo>
                    <a:lnTo>
                      <a:pt x="120" y="178"/>
                    </a:lnTo>
                    <a:lnTo>
                      <a:pt x="122" y="178"/>
                    </a:lnTo>
                    <a:lnTo>
                      <a:pt x="120" y="178"/>
                    </a:lnTo>
                    <a:lnTo>
                      <a:pt x="120" y="180"/>
                    </a:lnTo>
                    <a:lnTo>
                      <a:pt x="122" y="180"/>
                    </a:lnTo>
                    <a:lnTo>
                      <a:pt x="122" y="181"/>
                    </a:lnTo>
                    <a:lnTo>
                      <a:pt x="122" y="183"/>
                    </a:lnTo>
                    <a:lnTo>
                      <a:pt x="120" y="183"/>
                    </a:lnTo>
                    <a:lnTo>
                      <a:pt x="120" y="181"/>
                    </a:lnTo>
                    <a:lnTo>
                      <a:pt x="118" y="181"/>
                    </a:lnTo>
                    <a:lnTo>
                      <a:pt x="116" y="181"/>
                    </a:lnTo>
                    <a:lnTo>
                      <a:pt x="116" y="180"/>
                    </a:lnTo>
                    <a:lnTo>
                      <a:pt x="114" y="180"/>
                    </a:lnTo>
                    <a:lnTo>
                      <a:pt x="112" y="180"/>
                    </a:lnTo>
                    <a:lnTo>
                      <a:pt x="109" y="180"/>
                    </a:lnTo>
                    <a:lnTo>
                      <a:pt x="109" y="178"/>
                    </a:lnTo>
                    <a:lnTo>
                      <a:pt x="107" y="178"/>
                    </a:lnTo>
                    <a:lnTo>
                      <a:pt x="105" y="180"/>
                    </a:lnTo>
                    <a:lnTo>
                      <a:pt x="105" y="178"/>
                    </a:lnTo>
                    <a:lnTo>
                      <a:pt x="105" y="180"/>
                    </a:lnTo>
                    <a:lnTo>
                      <a:pt x="103" y="178"/>
                    </a:lnTo>
                    <a:lnTo>
                      <a:pt x="101" y="178"/>
                    </a:lnTo>
                    <a:lnTo>
                      <a:pt x="99" y="178"/>
                    </a:lnTo>
                    <a:lnTo>
                      <a:pt x="101" y="178"/>
                    </a:lnTo>
                    <a:lnTo>
                      <a:pt x="99" y="176"/>
                    </a:lnTo>
                    <a:lnTo>
                      <a:pt x="99" y="178"/>
                    </a:lnTo>
                    <a:lnTo>
                      <a:pt x="99" y="176"/>
                    </a:lnTo>
                    <a:lnTo>
                      <a:pt x="97" y="176"/>
                    </a:lnTo>
                    <a:lnTo>
                      <a:pt x="95" y="176"/>
                    </a:lnTo>
                    <a:lnTo>
                      <a:pt x="93" y="176"/>
                    </a:lnTo>
                    <a:lnTo>
                      <a:pt x="91" y="176"/>
                    </a:lnTo>
                    <a:lnTo>
                      <a:pt x="76" y="176"/>
                    </a:lnTo>
                    <a:lnTo>
                      <a:pt x="76" y="174"/>
                    </a:lnTo>
                    <a:lnTo>
                      <a:pt x="74" y="174"/>
                    </a:lnTo>
                    <a:lnTo>
                      <a:pt x="72" y="176"/>
                    </a:lnTo>
                    <a:lnTo>
                      <a:pt x="72" y="174"/>
                    </a:lnTo>
                    <a:lnTo>
                      <a:pt x="70" y="174"/>
                    </a:lnTo>
                    <a:lnTo>
                      <a:pt x="70" y="176"/>
                    </a:lnTo>
                    <a:lnTo>
                      <a:pt x="70" y="174"/>
                    </a:lnTo>
                    <a:lnTo>
                      <a:pt x="70" y="176"/>
                    </a:lnTo>
                    <a:lnTo>
                      <a:pt x="69" y="174"/>
                    </a:lnTo>
                    <a:lnTo>
                      <a:pt x="69" y="176"/>
                    </a:lnTo>
                    <a:lnTo>
                      <a:pt x="67" y="174"/>
                    </a:lnTo>
                    <a:lnTo>
                      <a:pt x="67" y="176"/>
                    </a:lnTo>
                    <a:lnTo>
                      <a:pt x="67" y="174"/>
                    </a:lnTo>
                    <a:lnTo>
                      <a:pt x="65" y="174"/>
                    </a:lnTo>
                    <a:lnTo>
                      <a:pt x="63" y="174"/>
                    </a:lnTo>
                    <a:lnTo>
                      <a:pt x="61" y="174"/>
                    </a:lnTo>
                    <a:lnTo>
                      <a:pt x="59" y="174"/>
                    </a:lnTo>
                    <a:lnTo>
                      <a:pt x="57" y="174"/>
                    </a:lnTo>
                    <a:lnTo>
                      <a:pt x="55" y="174"/>
                    </a:lnTo>
                    <a:lnTo>
                      <a:pt x="53" y="174"/>
                    </a:lnTo>
                    <a:lnTo>
                      <a:pt x="51" y="174"/>
                    </a:lnTo>
                    <a:lnTo>
                      <a:pt x="50" y="174"/>
                    </a:lnTo>
                    <a:lnTo>
                      <a:pt x="46" y="174"/>
                    </a:lnTo>
                    <a:lnTo>
                      <a:pt x="46" y="176"/>
                    </a:lnTo>
                    <a:lnTo>
                      <a:pt x="27" y="176"/>
                    </a:lnTo>
                    <a:lnTo>
                      <a:pt x="25" y="176"/>
                    </a:lnTo>
                    <a:lnTo>
                      <a:pt x="23" y="176"/>
                    </a:lnTo>
                    <a:lnTo>
                      <a:pt x="23" y="174"/>
                    </a:lnTo>
                    <a:lnTo>
                      <a:pt x="21" y="174"/>
                    </a:lnTo>
                    <a:lnTo>
                      <a:pt x="21" y="170"/>
                    </a:lnTo>
                    <a:lnTo>
                      <a:pt x="23" y="166"/>
                    </a:lnTo>
                    <a:lnTo>
                      <a:pt x="23" y="164"/>
                    </a:lnTo>
                    <a:lnTo>
                      <a:pt x="23" y="162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3" y="157"/>
                    </a:lnTo>
                    <a:lnTo>
                      <a:pt x="21" y="155"/>
                    </a:lnTo>
                    <a:lnTo>
                      <a:pt x="19" y="155"/>
                    </a:lnTo>
                    <a:lnTo>
                      <a:pt x="19" y="153"/>
                    </a:lnTo>
                    <a:lnTo>
                      <a:pt x="21" y="153"/>
                    </a:lnTo>
                    <a:lnTo>
                      <a:pt x="19" y="153"/>
                    </a:lnTo>
                    <a:lnTo>
                      <a:pt x="17" y="149"/>
                    </a:lnTo>
                    <a:lnTo>
                      <a:pt x="17" y="151"/>
                    </a:lnTo>
                    <a:lnTo>
                      <a:pt x="19" y="151"/>
                    </a:lnTo>
                    <a:lnTo>
                      <a:pt x="19" y="153"/>
                    </a:lnTo>
                    <a:lnTo>
                      <a:pt x="19" y="151"/>
                    </a:lnTo>
                    <a:lnTo>
                      <a:pt x="21" y="151"/>
                    </a:lnTo>
                    <a:lnTo>
                      <a:pt x="19" y="151"/>
                    </a:lnTo>
                    <a:lnTo>
                      <a:pt x="21" y="151"/>
                    </a:lnTo>
                    <a:lnTo>
                      <a:pt x="19" y="151"/>
                    </a:lnTo>
                    <a:lnTo>
                      <a:pt x="19" y="149"/>
                    </a:lnTo>
                    <a:lnTo>
                      <a:pt x="21" y="149"/>
                    </a:lnTo>
                    <a:lnTo>
                      <a:pt x="21" y="151"/>
                    </a:lnTo>
                    <a:lnTo>
                      <a:pt x="21" y="149"/>
                    </a:lnTo>
                    <a:lnTo>
                      <a:pt x="19" y="147"/>
                    </a:lnTo>
                    <a:lnTo>
                      <a:pt x="21" y="147"/>
                    </a:lnTo>
                    <a:lnTo>
                      <a:pt x="23" y="147"/>
                    </a:lnTo>
                    <a:lnTo>
                      <a:pt x="21" y="147"/>
                    </a:lnTo>
                    <a:lnTo>
                      <a:pt x="19" y="147"/>
                    </a:lnTo>
                    <a:lnTo>
                      <a:pt x="21" y="147"/>
                    </a:lnTo>
                    <a:lnTo>
                      <a:pt x="19" y="147"/>
                    </a:lnTo>
                    <a:lnTo>
                      <a:pt x="21" y="145"/>
                    </a:lnTo>
                    <a:lnTo>
                      <a:pt x="19" y="145"/>
                    </a:lnTo>
                    <a:lnTo>
                      <a:pt x="19" y="147"/>
                    </a:lnTo>
                    <a:lnTo>
                      <a:pt x="17" y="147"/>
                    </a:lnTo>
                    <a:lnTo>
                      <a:pt x="17" y="145"/>
                    </a:lnTo>
                    <a:lnTo>
                      <a:pt x="17" y="147"/>
                    </a:lnTo>
                    <a:lnTo>
                      <a:pt x="17" y="145"/>
                    </a:lnTo>
                    <a:lnTo>
                      <a:pt x="17" y="147"/>
                    </a:lnTo>
                    <a:lnTo>
                      <a:pt x="17" y="145"/>
                    </a:lnTo>
                    <a:lnTo>
                      <a:pt x="15" y="145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9" y="143"/>
                    </a:lnTo>
                    <a:lnTo>
                      <a:pt x="8" y="141"/>
                    </a:lnTo>
                    <a:lnTo>
                      <a:pt x="8" y="139"/>
                    </a:lnTo>
                    <a:lnTo>
                      <a:pt x="8" y="138"/>
                    </a:lnTo>
                    <a:lnTo>
                      <a:pt x="8" y="139"/>
                    </a:lnTo>
                    <a:lnTo>
                      <a:pt x="8" y="138"/>
                    </a:lnTo>
                    <a:lnTo>
                      <a:pt x="6" y="136"/>
                    </a:lnTo>
                    <a:lnTo>
                      <a:pt x="6" y="134"/>
                    </a:lnTo>
                    <a:lnTo>
                      <a:pt x="6" y="136"/>
                    </a:lnTo>
                    <a:lnTo>
                      <a:pt x="4" y="136"/>
                    </a:lnTo>
                    <a:lnTo>
                      <a:pt x="6" y="136"/>
                    </a:lnTo>
                    <a:lnTo>
                      <a:pt x="6" y="134"/>
                    </a:lnTo>
                    <a:lnTo>
                      <a:pt x="6" y="136"/>
                    </a:lnTo>
                    <a:lnTo>
                      <a:pt x="4" y="136"/>
                    </a:lnTo>
                    <a:lnTo>
                      <a:pt x="6" y="136"/>
                    </a:lnTo>
                    <a:lnTo>
                      <a:pt x="6" y="138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4" y="136"/>
                    </a:lnTo>
                    <a:lnTo>
                      <a:pt x="2" y="136"/>
                    </a:lnTo>
                    <a:lnTo>
                      <a:pt x="4" y="134"/>
                    </a:lnTo>
                    <a:lnTo>
                      <a:pt x="2" y="136"/>
                    </a:lnTo>
                    <a:lnTo>
                      <a:pt x="2" y="134"/>
                    </a:lnTo>
                    <a:lnTo>
                      <a:pt x="2" y="132"/>
                    </a:lnTo>
                    <a:lnTo>
                      <a:pt x="4" y="132"/>
                    </a:lnTo>
                    <a:lnTo>
                      <a:pt x="4" y="130"/>
                    </a:lnTo>
                    <a:lnTo>
                      <a:pt x="6" y="128"/>
                    </a:lnTo>
                    <a:lnTo>
                      <a:pt x="6" y="126"/>
                    </a:lnTo>
                    <a:lnTo>
                      <a:pt x="6" y="124"/>
                    </a:lnTo>
                    <a:lnTo>
                      <a:pt x="8" y="122"/>
                    </a:lnTo>
                    <a:lnTo>
                      <a:pt x="8" y="120"/>
                    </a:lnTo>
                    <a:lnTo>
                      <a:pt x="6" y="120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8" y="117"/>
                    </a:lnTo>
                    <a:lnTo>
                      <a:pt x="11" y="115"/>
                    </a:lnTo>
                    <a:lnTo>
                      <a:pt x="11" y="113"/>
                    </a:lnTo>
                    <a:lnTo>
                      <a:pt x="13" y="111"/>
                    </a:lnTo>
                    <a:lnTo>
                      <a:pt x="13" y="109"/>
                    </a:lnTo>
                    <a:lnTo>
                      <a:pt x="15" y="109"/>
                    </a:lnTo>
                    <a:lnTo>
                      <a:pt x="15" y="107"/>
                    </a:lnTo>
                    <a:lnTo>
                      <a:pt x="17" y="107"/>
                    </a:lnTo>
                    <a:lnTo>
                      <a:pt x="19" y="107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1"/>
                    </a:lnTo>
                    <a:lnTo>
                      <a:pt x="23" y="103"/>
                    </a:lnTo>
                    <a:lnTo>
                      <a:pt x="25" y="101"/>
                    </a:lnTo>
                    <a:lnTo>
                      <a:pt x="27" y="98"/>
                    </a:lnTo>
                    <a:lnTo>
                      <a:pt x="27" y="99"/>
                    </a:lnTo>
                    <a:lnTo>
                      <a:pt x="29" y="101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32" y="99"/>
                    </a:lnTo>
                    <a:lnTo>
                      <a:pt x="34" y="96"/>
                    </a:lnTo>
                    <a:lnTo>
                      <a:pt x="34" y="98"/>
                    </a:lnTo>
                    <a:lnTo>
                      <a:pt x="36" y="98"/>
                    </a:lnTo>
                    <a:lnTo>
                      <a:pt x="36" y="99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8" y="103"/>
                    </a:lnTo>
                    <a:lnTo>
                      <a:pt x="40" y="103"/>
                    </a:lnTo>
                    <a:lnTo>
                      <a:pt x="42" y="103"/>
                    </a:lnTo>
                    <a:lnTo>
                      <a:pt x="42" y="107"/>
                    </a:lnTo>
                    <a:lnTo>
                      <a:pt x="44" y="105"/>
                    </a:lnTo>
                    <a:lnTo>
                      <a:pt x="44" y="107"/>
                    </a:lnTo>
                    <a:lnTo>
                      <a:pt x="46" y="107"/>
                    </a:lnTo>
                    <a:lnTo>
                      <a:pt x="48" y="107"/>
                    </a:lnTo>
                    <a:lnTo>
                      <a:pt x="48" y="105"/>
                    </a:lnTo>
                    <a:lnTo>
                      <a:pt x="50" y="105"/>
                    </a:lnTo>
                    <a:lnTo>
                      <a:pt x="50" y="103"/>
                    </a:lnTo>
                    <a:lnTo>
                      <a:pt x="50" y="101"/>
                    </a:lnTo>
                    <a:lnTo>
                      <a:pt x="50" y="99"/>
                    </a:lnTo>
                    <a:lnTo>
                      <a:pt x="51" y="99"/>
                    </a:lnTo>
                    <a:lnTo>
                      <a:pt x="51" y="98"/>
                    </a:lnTo>
                    <a:lnTo>
                      <a:pt x="53" y="98"/>
                    </a:lnTo>
                    <a:lnTo>
                      <a:pt x="53" y="96"/>
                    </a:lnTo>
                    <a:lnTo>
                      <a:pt x="53" y="94"/>
                    </a:lnTo>
                    <a:lnTo>
                      <a:pt x="55" y="92"/>
                    </a:lnTo>
                    <a:lnTo>
                      <a:pt x="57" y="90"/>
                    </a:lnTo>
                    <a:lnTo>
                      <a:pt x="57" y="88"/>
                    </a:lnTo>
                    <a:lnTo>
                      <a:pt x="57" y="86"/>
                    </a:lnTo>
                    <a:lnTo>
                      <a:pt x="59" y="84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61" y="80"/>
                    </a:lnTo>
                    <a:lnTo>
                      <a:pt x="61" y="78"/>
                    </a:lnTo>
                    <a:lnTo>
                      <a:pt x="59" y="77"/>
                    </a:lnTo>
                    <a:lnTo>
                      <a:pt x="61" y="77"/>
                    </a:lnTo>
                    <a:lnTo>
                      <a:pt x="63" y="75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7" y="73"/>
                    </a:lnTo>
                    <a:lnTo>
                      <a:pt x="69" y="71"/>
                    </a:lnTo>
                    <a:lnTo>
                      <a:pt x="69" y="67"/>
                    </a:lnTo>
                    <a:lnTo>
                      <a:pt x="70" y="67"/>
                    </a:lnTo>
                    <a:lnTo>
                      <a:pt x="70" y="65"/>
                    </a:lnTo>
                    <a:lnTo>
                      <a:pt x="70" y="63"/>
                    </a:lnTo>
                    <a:lnTo>
                      <a:pt x="70" y="61"/>
                    </a:lnTo>
                    <a:lnTo>
                      <a:pt x="70" y="59"/>
                    </a:lnTo>
                    <a:lnTo>
                      <a:pt x="72" y="59"/>
                    </a:lnTo>
                    <a:lnTo>
                      <a:pt x="74" y="57"/>
                    </a:lnTo>
                    <a:lnTo>
                      <a:pt x="76" y="57"/>
                    </a:lnTo>
                    <a:lnTo>
                      <a:pt x="76" y="56"/>
                    </a:lnTo>
                    <a:lnTo>
                      <a:pt x="76" y="54"/>
                    </a:lnTo>
                    <a:lnTo>
                      <a:pt x="76" y="52"/>
                    </a:lnTo>
                    <a:lnTo>
                      <a:pt x="76" y="50"/>
                    </a:lnTo>
                    <a:lnTo>
                      <a:pt x="78" y="48"/>
                    </a:lnTo>
                    <a:lnTo>
                      <a:pt x="80" y="48"/>
                    </a:lnTo>
                    <a:lnTo>
                      <a:pt x="80" y="46"/>
                    </a:lnTo>
                    <a:lnTo>
                      <a:pt x="80" y="42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80" y="40"/>
                    </a:lnTo>
                    <a:lnTo>
                      <a:pt x="82" y="40"/>
                    </a:lnTo>
                    <a:lnTo>
                      <a:pt x="82" y="38"/>
                    </a:lnTo>
                    <a:lnTo>
                      <a:pt x="82" y="36"/>
                    </a:lnTo>
                    <a:lnTo>
                      <a:pt x="84" y="35"/>
                    </a:lnTo>
                    <a:lnTo>
                      <a:pt x="86" y="35"/>
                    </a:lnTo>
                    <a:lnTo>
                      <a:pt x="86" y="33"/>
                    </a:lnTo>
                    <a:lnTo>
                      <a:pt x="86" y="31"/>
                    </a:lnTo>
                    <a:lnTo>
                      <a:pt x="88" y="29"/>
                    </a:lnTo>
                    <a:lnTo>
                      <a:pt x="90" y="31"/>
                    </a:lnTo>
                    <a:lnTo>
                      <a:pt x="91" y="31"/>
                    </a:lnTo>
                    <a:lnTo>
                      <a:pt x="93" y="29"/>
                    </a:lnTo>
                    <a:lnTo>
                      <a:pt x="95" y="27"/>
                    </a:lnTo>
                    <a:lnTo>
                      <a:pt x="99" y="25"/>
                    </a:lnTo>
                    <a:lnTo>
                      <a:pt x="97" y="25"/>
                    </a:lnTo>
                    <a:lnTo>
                      <a:pt x="99" y="25"/>
                    </a:lnTo>
                    <a:lnTo>
                      <a:pt x="99" y="23"/>
                    </a:lnTo>
                    <a:lnTo>
                      <a:pt x="97" y="23"/>
                    </a:lnTo>
                    <a:lnTo>
                      <a:pt x="97" y="21"/>
                    </a:lnTo>
                    <a:lnTo>
                      <a:pt x="97" y="19"/>
                    </a:lnTo>
                    <a:lnTo>
                      <a:pt x="99" y="19"/>
                    </a:lnTo>
                    <a:lnTo>
                      <a:pt x="97" y="17"/>
                    </a:lnTo>
                    <a:lnTo>
                      <a:pt x="99" y="17"/>
                    </a:lnTo>
                    <a:lnTo>
                      <a:pt x="99" y="15"/>
                    </a:lnTo>
                    <a:lnTo>
                      <a:pt x="97" y="15"/>
                    </a:lnTo>
                    <a:lnTo>
                      <a:pt x="97" y="14"/>
                    </a:lnTo>
                    <a:lnTo>
                      <a:pt x="95" y="14"/>
                    </a:lnTo>
                    <a:lnTo>
                      <a:pt x="95" y="12"/>
                    </a:lnTo>
                    <a:lnTo>
                      <a:pt x="91" y="12"/>
                    </a:lnTo>
                    <a:lnTo>
                      <a:pt x="91" y="10"/>
                    </a:lnTo>
                    <a:lnTo>
                      <a:pt x="91" y="6"/>
                    </a:lnTo>
                    <a:lnTo>
                      <a:pt x="90" y="0"/>
                    </a:lnTo>
                    <a:lnTo>
                      <a:pt x="95" y="0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7" y="6"/>
                    </a:lnTo>
                    <a:lnTo>
                      <a:pt x="99" y="6"/>
                    </a:lnTo>
                    <a:lnTo>
                      <a:pt x="99" y="8"/>
                    </a:lnTo>
                    <a:lnTo>
                      <a:pt x="101" y="6"/>
                    </a:lnTo>
                    <a:lnTo>
                      <a:pt x="101" y="8"/>
                    </a:lnTo>
                    <a:lnTo>
                      <a:pt x="101" y="10"/>
                    </a:lnTo>
                    <a:lnTo>
                      <a:pt x="103" y="10"/>
                    </a:lnTo>
                    <a:lnTo>
                      <a:pt x="103" y="12"/>
                    </a:lnTo>
                    <a:lnTo>
                      <a:pt x="103" y="15"/>
                    </a:lnTo>
                    <a:lnTo>
                      <a:pt x="103" y="17"/>
                    </a:lnTo>
                    <a:lnTo>
                      <a:pt x="105" y="15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7" y="25"/>
                    </a:lnTo>
                    <a:lnTo>
                      <a:pt x="107" y="27"/>
                    </a:lnTo>
                    <a:lnTo>
                      <a:pt x="105" y="27"/>
                    </a:lnTo>
                    <a:lnTo>
                      <a:pt x="105" y="29"/>
                    </a:lnTo>
                    <a:lnTo>
                      <a:pt x="105" y="31"/>
                    </a:lnTo>
                    <a:lnTo>
                      <a:pt x="105" y="33"/>
                    </a:lnTo>
                    <a:lnTo>
                      <a:pt x="107" y="33"/>
                    </a:lnTo>
                    <a:lnTo>
                      <a:pt x="105" y="35"/>
                    </a:lnTo>
                    <a:lnTo>
                      <a:pt x="105" y="36"/>
                    </a:lnTo>
                    <a:lnTo>
                      <a:pt x="105" y="38"/>
                    </a:lnTo>
                    <a:lnTo>
                      <a:pt x="107" y="38"/>
                    </a:lnTo>
                    <a:lnTo>
                      <a:pt x="107" y="40"/>
                    </a:lnTo>
                    <a:lnTo>
                      <a:pt x="107" y="42"/>
                    </a:lnTo>
                    <a:lnTo>
                      <a:pt x="109" y="42"/>
                    </a:lnTo>
                    <a:lnTo>
                      <a:pt x="109" y="44"/>
                    </a:lnTo>
                    <a:lnTo>
                      <a:pt x="109" y="46"/>
                    </a:lnTo>
                    <a:lnTo>
                      <a:pt x="111" y="46"/>
                    </a:lnTo>
                    <a:lnTo>
                      <a:pt x="112" y="48"/>
                    </a:lnTo>
                    <a:lnTo>
                      <a:pt x="114" y="50"/>
                    </a:lnTo>
                    <a:lnTo>
                      <a:pt x="112" y="52"/>
                    </a:lnTo>
                    <a:lnTo>
                      <a:pt x="111" y="52"/>
                    </a:lnTo>
                    <a:lnTo>
                      <a:pt x="109" y="50"/>
                    </a:lnTo>
                    <a:lnTo>
                      <a:pt x="107" y="52"/>
                    </a:lnTo>
                    <a:lnTo>
                      <a:pt x="107" y="50"/>
                    </a:lnTo>
                    <a:lnTo>
                      <a:pt x="105" y="52"/>
                    </a:lnTo>
                    <a:lnTo>
                      <a:pt x="103" y="50"/>
                    </a:lnTo>
                    <a:lnTo>
                      <a:pt x="101" y="52"/>
                    </a:lnTo>
                    <a:lnTo>
                      <a:pt x="99" y="52"/>
                    </a:lnTo>
                    <a:lnTo>
                      <a:pt x="97" y="50"/>
                    </a:lnTo>
                    <a:lnTo>
                      <a:pt x="91" y="50"/>
                    </a:lnTo>
                    <a:lnTo>
                      <a:pt x="91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8" y="56"/>
                    </a:lnTo>
                    <a:lnTo>
                      <a:pt x="90" y="57"/>
                    </a:lnTo>
                    <a:lnTo>
                      <a:pt x="91" y="59"/>
                    </a:lnTo>
                    <a:lnTo>
                      <a:pt x="93" y="61"/>
                    </a:lnTo>
                    <a:lnTo>
                      <a:pt x="93" y="63"/>
                    </a:lnTo>
                    <a:lnTo>
                      <a:pt x="95" y="65"/>
                    </a:lnTo>
                    <a:lnTo>
                      <a:pt x="97" y="67"/>
                    </a:lnTo>
                    <a:lnTo>
                      <a:pt x="99" y="67"/>
                    </a:lnTo>
                    <a:lnTo>
                      <a:pt x="99" y="69"/>
                    </a:lnTo>
                    <a:lnTo>
                      <a:pt x="101" y="69"/>
                    </a:lnTo>
                    <a:lnTo>
                      <a:pt x="103" y="69"/>
                    </a:lnTo>
                    <a:lnTo>
                      <a:pt x="103" y="71"/>
                    </a:lnTo>
                    <a:lnTo>
                      <a:pt x="105" y="73"/>
                    </a:lnTo>
                    <a:lnTo>
                      <a:pt x="107" y="73"/>
                    </a:lnTo>
                    <a:lnTo>
                      <a:pt x="109" y="78"/>
                    </a:lnTo>
                    <a:lnTo>
                      <a:pt x="111" y="82"/>
                    </a:lnTo>
                    <a:lnTo>
                      <a:pt x="111" y="84"/>
                    </a:lnTo>
                    <a:lnTo>
                      <a:pt x="112" y="86"/>
                    </a:lnTo>
                    <a:lnTo>
                      <a:pt x="114" y="88"/>
                    </a:lnTo>
                    <a:lnTo>
                      <a:pt x="112" y="90"/>
                    </a:lnTo>
                    <a:close/>
                    <a:moveTo>
                      <a:pt x="15" y="147"/>
                    </a:moveTo>
                    <a:lnTo>
                      <a:pt x="15" y="149"/>
                    </a:lnTo>
                    <a:lnTo>
                      <a:pt x="15" y="147"/>
                    </a:lnTo>
                    <a:lnTo>
                      <a:pt x="15" y="149"/>
                    </a:lnTo>
                    <a:lnTo>
                      <a:pt x="15" y="147"/>
                    </a:lnTo>
                    <a:lnTo>
                      <a:pt x="17" y="149"/>
                    </a:lnTo>
                    <a:lnTo>
                      <a:pt x="15" y="149"/>
                    </a:lnTo>
                    <a:lnTo>
                      <a:pt x="13" y="147"/>
                    </a:lnTo>
                    <a:lnTo>
                      <a:pt x="15" y="147"/>
                    </a:lnTo>
                    <a:close/>
                    <a:moveTo>
                      <a:pt x="19" y="149"/>
                    </a:moveTo>
                    <a:lnTo>
                      <a:pt x="19" y="151"/>
                    </a:lnTo>
                    <a:lnTo>
                      <a:pt x="19" y="149"/>
                    </a:lnTo>
                    <a:close/>
                    <a:moveTo>
                      <a:pt x="2" y="136"/>
                    </a:moveTo>
                    <a:lnTo>
                      <a:pt x="4" y="136"/>
                    </a:lnTo>
                    <a:lnTo>
                      <a:pt x="4" y="139"/>
                    </a:lnTo>
                    <a:lnTo>
                      <a:pt x="2" y="139"/>
                    </a:lnTo>
                    <a:lnTo>
                      <a:pt x="2" y="136"/>
                    </a:lnTo>
                    <a:close/>
                    <a:moveTo>
                      <a:pt x="6" y="136"/>
                    </a:moveTo>
                    <a:lnTo>
                      <a:pt x="6" y="138"/>
                    </a:lnTo>
                    <a:lnTo>
                      <a:pt x="6" y="136"/>
                    </a:lnTo>
                    <a:close/>
                    <a:moveTo>
                      <a:pt x="2" y="138"/>
                    </a:moveTo>
                    <a:lnTo>
                      <a:pt x="4" y="138"/>
                    </a:lnTo>
                    <a:lnTo>
                      <a:pt x="4" y="139"/>
                    </a:lnTo>
                    <a:lnTo>
                      <a:pt x="2" y="139"/>
                    </a:lnTo>
                    <a:lnTo>
                      <a:pt x="2" y="138"/>
                    </a:lnTo>
                    <a:close/>
                    <a:moveTo>
                      <a:pt x="13" y="145"/>
                    </a:moveTo>
                    <a:lnTo>
                      <a:pt x="15" y="145"/>
                    </a:lnTo>
                    <a:lnTo>
                      <a:pt x="15" y="147"/>
                    </a:lnTo>
                    <a:lnTo>
                      <a:pt x="13" y="147"/>
                    </a:lnTo>
                    <a:lnTo>
                      <a:pt x="13" y="145"/>
                    </a:lnTo>
                    <a:close/>
                    <a:moveTo>
                      <a:pt x="2" y="136"/>
                    </a:moveTo>
                    <a:lnTo>
                      <a:pt x="4" y="136"/>
                    </a:lnTo>
                    <a:lnTo>
                      <a:pt x="4" y="138"/>
                    </a:lnTo>
                    <a:lnTo>
                      <a:pt x="2" y="138"/>
                    </a:lnTo>
                    <a:lnTo>
                      <a:pt x="2" y="136"/>
                    </a:lnTo>
                    <a:close/>
                    <a:moveTo>
                      <a:pt x="0" y="138"/>
                    </a:moveTo>
                    <a:lnTo>
                      <a:pt x="2" y="138"/>
                    </a:lnTo>
                    <a:lnTo>
                      <a:pt x="2" y="139"/>
                    </a:lnTo>
                    <a:lnTo>
                      <a:pt x="0" y="139"/>
                    </a:lnTo>
                    <a:lnTo>
                      <a:pt x="0" y="138"/>
                    </a:lnTo>
                    <a:close/>
                    <a:moveTo>
                      <a:pt x="2" y="136"/>
                    </a:moveTo>
                    <a:lnTo>
                      <a:pt x="4" y="136"/>
                    </a:lnTo>
                    <a:lnTo>
                      <a:pt x="4" y="138"/>
                    </a:lnTo>
                    <a:lnTo>
                      <a:pt x="2" y="138"/>
                    </a:lnTo>
                    <a:lnTo>
                      <a:pt x="2" y="136"/>
                    </a:lnTo>
                    <a:close/>
                    <a:moveTo>
                      <a:pt x="0" y="136"/>
                    </a:moveTo>
                    <a:lnTo>
                      <a:pt x="2" y="136"/>
                    </a:lnTo>
                    <a:lnTo>
                      <a:pt x="2" y="138"/>
                    </a:lnTo>
                    <a:lnTo>
                      <a:pt x="0" y="138"/>
                    </a:lnTo>
                    <a:lnTo>
                      <a:pt x="0" y="136"/>
                    </a:lnTo>
                    <a:close/>
                    <a:moveTo>
                      <a:pt x="2" y="136"/>
                    </a:moveTo>
                    <a:lnTo>
                      <a:pt x="2" y="138"/>
                    </a:lnTo>
                    <a:lnTo>
                      <a:pt x="2" y="136"/>
                    </a:lnTo>
                    <a:close/>
                    <a:moveTo>
                      <a:pt x="19" y="153"/>
                    </a:moveTo>
                    <a:lnTo>
                      <a:pt x="21" y="153"/>
                    </a:lnTo>
                    <a:lnTo>
                      <a:pt x="21" y="155"/>
                    </a:lnTo>
                    <a:lnTo>
                      <a:pt x="19" y="155"/>
                    </a:lnTo>
                    <a:lnTo>
                      <a:pt x="19" y="153"/>
                    </a:lnTo>
                    <a:close/>
                    <a:moveTo>
                      <a:pt x="15" y="147"/>
                    </a:moveTo>
                    <a:lnTo>
                      <a:pt x="17" y="147"/>
                    </a:lnTo>
                    <a:lnTo>
                      <a:pt x="15" y="147"/>
                    </a:lnTo>
                    <a:close/>
                    <a:moveTo>
                      <a:pt x="2" y="136"/>
                    </a:moveTo>
                    <a:lnTo>
                      <a:pt x="4" y="136"/>
                    </a:lnTo>
                    <a:lnTo>
                      <a:pt x="2" y="136"/>
                    </a:lnTo>
                    <a:close/>
                    <a:moveTo>
                      <a:pt x="15" y="145"/>
                    </a:moveTo>
                    <a:lnTo>
                      <a:pt x="15" y="147"/>
                    </a:lnTo>
                    <a:lnTo>
                      <a:pt x="15" y="145"/>
                    </a:lnTo>
                    <a:close/>
                    <a:moveTo>
                      <a:pt x="15" y="145"/>
                    </a:moveTo>
                    <a:lnTo>
                      <a:pt x="17" y="145"/>
                    </a:lnTo>
                    <a:lnTo>
                      <a:pt x="17" y="147"/>
                    </a:lnTo>
                    <a:lnTo>
                      <a:pt x="15" y="147"/>
                    </a:lnTo>
                    <a:lnTo>
                      <a:pt x="15" y="145"/>
                    </a:lnTo>
                    <a:close/>
                    <a:moveTo>
                      <a:pt x="15" y="145"/>
                    </a:moveTo>
                    <a:lnTo>
                      <a:pt x="15" y="147"/>
                    </a:lnTo>
                    <a:lnTo>
                      <a:pt x="15" y="145"/>
                    </a:lnTo>
                    <a:close/>
                    <a:moveTo>
                      <a:pt x="13" y="147"/>
                    </a:moveTo>
                    <a:lnTo>
                      <a:pt x="15" y="147"/>
                    </a:lnTo>
                    <a:lnTo>
                      <a:pt x="13" y="147"/>
                    </a:lnTo>
                    <a:close/>
                    <a:moveTo>
                      <a:pt x="15" y="145"/>
                    </a:moveTo>
                    <a:lnTo>
                      <a:pt x="15" y="147"/>
                    </a:lnTo>
                    <a:lnTo>
                      <a:pt x="15" y="145"/>
                    </a:lnTo>
                    <a:close/>
                    <a:moveTo>
                      <a:pt x="2" y="134"/>
                    </a:moveTo>
                    <a:lnTo>
                      <a:pt x="2" y="136"/>
                    </a:lnTo>
                    <a:lnTo>
                      <a:pt x="2" y="1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2" name="Freeform 94">
                <a:extLst>
                  <a:ext uri="{FF2B5EF4-FFF2-40B4-BE49-F238E27FC236}">
                    <a16:creationId xmlns:a16="http://schemas.microsoft.com/office/drawing/2014/main" id="{DD84CCAA-9FD5-8D1C-19AE-7BE7A4DB6BC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60592" y="-2261770"/>
                <a:ext cx="300939" cy="246253"/>
              </a:xfrm>
              <a:custGeom>
                <a:avLst/>
                <a:gdLst>
                  <a:gd name="T0" fmla="*/ 189 w 191"/>
                  <a:gd name="T1" fmla="*/ 27 h 156"/>
                  <a:gd name="T2" fmla="*/ 189 w 191"/>
                  <a:gd name="T3" fmla="*/ 36 h 156"/>
                  <a:gd name="T4" fmla="*/ 182 w 191"/>
                  <a:gd name="T5" fmla="*/ 44 h 156"/>
                  <a:gd name="T6" fmla="*/ 174 w 191"/>
                  <a:gd name="T7" fmla="*/ 53 h 156"/>
                  <a:gd name="T8" fmla="*/ 168 w 191"/>
                  <a:gd name="T9" fmla="*/ 63 h 156"/>
                  <a:gd name="T10" fmla="*/ 162 w 191"/>
                  <a:gd name="T11" fmla="*/ 74 h 156"/>
                  <a:gd name="T12" fmla="*/ 155 w 191"/>
                  <a:gd name="T13" fmla="*/ 86 h 156"/>
                  <a:gd name="T14" fmla="*/ 151 w 191"/>
                  <a:gd name="T15" fmla="*/ 97 h 156"/>
                  <a:gd name="T16" fmla="*/ 143 w 191"/>
                  <a:gd name="T17" fmla="*/ 111 h 156"/>
                  <a:gd name="T18" fmla="*/ 138 w 191"/>
                  <a:gd name="T19" fmla="*/ 120 h 156"/>
                  <a:gd name="T20" fmla="*/ 130 w 191"/>
                  <a:gd name="T21" fmla="*/ 112 h 156"/>
                  <a:gd name="T22" fmla="*/ 121 w 191"/>
                  <a:gd name="T23" fmla="*/ 114 h 156"/>
                  <a:gd name="T24" fmla="*/ 111 w 191"/>
                  <a:gd name="T25" fmla="*/ 120 h 156"/>
                  <a:gd name="T26" fmla="*/ 100 w 191"/>
                  <a:gd name="T27" fmla="*/ 130 h 156"/>
                  <a:gd name="T28" fmla="*/ 98 w 191"/>
                  <a:gd name="T29" fmla="*/ 141 h 156"/>
                  <a:gd name="T30" fmla="*/ 92 w 191"/>
                  <a:gd name="T31" fmla="*/ 149 h 156"/>
                  <a:gd name="T32" fmla="*/ 86 w 191"/>
                  <a:gd name="T33" fmla="*/ 141 h 156"/>
                  <a:gd name="T34" fmla="*/ 84 w 191"/>
                  <a:gd name="T35" fmla="*/ 151 h 156"/>
                  <a:gd name="T36" fmla="*/ 73 w 191"/>
                  <a:gd name="T37" fmla="*/ 152 h 156"/>
                  <a:gd name="T38" fmla="*/ 67 w 191"/>
                  <a:gd name="T39" fmla="*/ 151 h 156"/>
                  <a:gd name="T40" fmla="*/ 65 w 191"/>
                  <a:gd name="T41" fmla="*/ 152 h 156"/>
                  <a:gd name="T42" fmla="*/ 63 w 191"/>
                  <a:gd name="T43" fmla="*/ 152 h 156"/>
                  <a:gd name="T44" fmla="*/ 58 w 191"/>
                  <a:gd name="T45" fmla="*/ 152 h 156"/>
                  <a:gd name="T46" fmla="*/ 56 w 191"/>
                  <a:gd name="T47" fmla="*/ 154 h 156"/>
                  <a:gd name="T48" fmla="*/ 48 w 191"/>
                  <a:gd name="T49" fmla="*/ 152 h 156"/>
                  <a:gd name="T50" fmla="*/ 42 w 191"/>
                  <a:gd name="T51" fmla="*/ 139 h 156"/>
                  <a:gd name="T52" fmla="*/ 46 w 191"/>
                  <a:gd name="T53" fmla="*/ 135 h 156"/>
                  <a:gd name="T54" fmla="*/ 44 w 191"/>
                  <a:gd name="T55" fmla="*/ 133 h 156"/>
                  <a:gd name="T56" fmla="*/ 27 w 191"/>
                  <a:gd name="T57" fmla="*/ 122 h 156"/>
                  <a:gd name="T58" fmla="*/ 0 w 191"/>
                  <a:gd name="T59" fmla="*/ 114 h 156"/>
                  <a:gd name="T60" fmla="*/ 0 w 191"/>
                  <a:gd name="T61" fmla="*/ 107 h 156"/>
                  <a:gd name="T62" fmla="*/ 0 w 191"/>
                  <a:gd name="T63" fmla="*/ 91 h 156"/>
                  <a:gd name="T64" fmla="*/ 0 w 191"/>
                  <a:gd name="T65" fmla="*/ 86 h 156"/>
                  <a:gd name="T66" fmla="*/ 2 w 191"/>
                  <a:gd name="T67" fmla="*/ 80 h 156"/>
                  <a:gd name="T68" fmla="*/ 10 w 191"/>
                  <a:gd name="T69" fmla="*/ 67 h 156"/>
                  <a:gd name="T70" fmla="*/ 16 w 191"/>
                  <a:gd name="T71" fmla="*/ 57 h 156"/>
                  <a:gd name="T72" fmla="*/ 18 w 191"/>
                  <a:gd name="T73" fmla="*/ 48 h 156"/>
                  <a:gd name="T74" fmla="*/ 16 w 191"/>
                  <a:gd name="T75" fmla="*/ 32 h 156"/>
                  <a:gd name="T76" fmla="*/ 25 w 191"/>
                  <a:gd name="T77" fmla="*/ 7 h 156"/>
                  <a:gd name="T78" fmla="*/ 46 w 191"/>
                  <a:gd name="T79" fmla="*/ 0 h 156"/>
                  <a:gd name="T80" fmla="*/ 65 w 191"/>
                  <a:gd name="T81" fmla="*/ 13 h 156"/>
                  <a:gd name="T82" fmla="*/ 86 w 191"/>
                  <a:gd name="T83" fmla="*/ 9 h 156"/>
                  <a:gd name="T84" fmla="*/ 117 w 191"/>
                  <a:gd name="T85" fmla="*/ 11 h 156"/>
                  <a:gd name="T86" fmla="*/ 147 w 191"/>
                  <a:gd name="T87" fmla="*/ 11 h 156"/>
                  <a:gd name="T88" fmla="*/ 161 w 191"/>
                  <a:gd name="T89" fmla="*/ 9 h 156"/>
                  <a:gd name="T90" fmla="*/ 166 w 191"/>
                  <a:gd name="T91" fmla="*/ 6 h 156"/>
                  <a:gd name="T92" fmla="*/ 69 w 191"/>
                  <a:gd name="T93" fmla="*/ 154 h 156"/>
                  <a:gd name="T94" fmla="*/ 71 w 191"/>
                  <a:gd name="T95" fmla="*/ 154 h 156"/>
                  <a:gd name="T96" fmla="*/ 58 w 191"/>
                  <a:gd name="T97" fmla="*/ 152 h 156"/>
                  <a:gd name="T98" fmla="*/ 71 w 191"/>
                  <a:gd name="T99" fmla="*/ 149 h 156"/>
                  <a:gd name="T100" fmla="*/ 69 w 191"/>
                  <a:gd name="T101" fmla="*/ 151 h 156"/>
                  <a:gd name="T102" fmla="*/ 71 w 191"/>
                  <a:gd name="T103" fmla="*/ 151 h 156"/>
                  <a:gd name="T104" fmla="*/ 75 w 191"/>
                  <a:gd name="T105" fmla="*/ 151 h 156"/>
                  <a:gd name="T106" fmla="*/ 69 w 191"/>
                  <a:gd name="T107" fmla="*/ 152 h 156"/>
                  <a:gd name="T108" fmla="*/ 86 w 191"/>
                  <a:gd name="T109" fmla="*/ 145 h 156"/>
                  <a:gd name="T110" fmla="*/ 54 w 191"/>
                  <a:gd name="T111" fmla="*/ 154 h 156"/>
                  <a:gd name="T112" fmla="*/ 75 w 191"/>
                  <a:gd name="T113" fmla="*/ 152 h 156"/>
                  <a:gd name="T114" fmla="*/ 90 w 191"/>
                  <a:gd name="T115" fmla="*/ 149 h 156"/>
                  <a:gd name="T116" fmla="*/ 77 w 191"/>
                  <a:gd name="T117" fmla="*/ 152 h 156"/>
                  <a:gd name="T118" fmla="*/ 75 w 191"/>
                  <a:gd name="T119" fmla="*/ 151 h 156"/>
                  <a:gd name="T120" fmla="*/ 69 w 191"/>
                  <a:gd name="T121" fmla="*/ 147 h 156"/>
                  <a:gd name="T122" fmla="*/ 44 w 191"/>
                  <a:gd name="T123" fmla="*/ 137 h 156"/>
                  <a:gd name="T124" fmla="*/ 71 w 191"/>
                  <a:gd name="T125" fmla="*/ 149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1" h="156">
                    <a:moveTo>
                      <a:pt x="174" y="4"/>
                    </a:moveTo>
                    <a:lnTo>
                      <a:pt x="182" y="13"/>
                    </a:lnTo>
                    <a:lnTo>
                      <a:pt x="183" y="19"/>
                    </a:lnTo>
                    <a:lnTo>
                      <a:pt x="183" y="23"/>
                    </a:lnTo>
                    <a:lnTo>
                      <a:pt x="183" y="25"/>
                    </a:lnTo>
                    <a:lnTo>
                      <a:pt x="187" y="25"/>
                    </a:lnTo>
                    <a:lnTo>
                      <a:pt x="187" y="27"/>
                    </a:lnTo>
                    <a:lnTo>
                      <a:pt x="189" y="27"/>
                    </a:lnTo>
                    <a:lnTo>
                      <a:pt x="189" y="28"/>
                    </a:lnTo>
                    <a:lnTo>
                      <a:pt x="191" y="28"/>
                    </a:lnTo>
                    <a:lnTo>
                      <a:pt x="191" y="30"/>
                    </a:lnTo>
                    <a:lnTo>
                      <a:pt x="189" y="30"/>
                    </a:lnTo>
                    <a:lnTo>
                      <a:pt x="191" y="32"/>
                    </a:lnTo>
                    <a:lnTo>
                      <a:pt x="189" y="32"/>
                    </a:lnTo>
                    <a:lnTo>
                      <a:pt x="189" y="34"/>
                    </a:lnTo>
                    <a:lnTo>
                      <a:pt x="189" y="36"/>
                    </a:lnTo>
                    <a:lnTo>
                      <a:pt x="191" y="36"/>
                    </a:lnTo>
                    <a:lnTo>
                      <a:pt x="191" y="38"/>
                    </a:lnTo>
                    <a:lnTo>
                      <a:pt x="189" y="38"/>
                    </a:lnTo>
                    <a:lnTo>
                      <a:pt x="191" y="38"/>
                    </a:lnTo>
                    <a:lnTo>
                      <a:pt x="187" y="40"/>
                    </a:lnTo>
                    <a:lnTo>
                      <a:pt x="185" y="42"/>
                    </a:lnTo>
                    <a:lnTo>
                      <a:pt x="183" y="44"/>
                    </a:lnTo>
                    <a:lnTo>
                      <a:pt x="182" y="44"/>
                    </a:lnTo>
                    <a:lnTo>
                      <a:pt x="180" y="42"/>
                    </a:lnTo>
                    <a:lnTo>
                      <a:pt x="178" y="44"/>
                    </a:lnTo>
                    <a:lnTo>
                      <a:pt x="178" y="46"/>
                    </a:lnTo>
                    <a:lnTo>
                      <a:pt x="178" y="48"/>
                    </a:lnTo>
                    <a:lnTo>
                      <a:pt x="176" y="48"/>
                    </a:lnTo>
                    <a:lnTo>
                      <a:pt x="174" y="49"/>
                    </a:lnTo>
                    <a:lnTo>
                      <a:pt x="174" y="51"/>
                    </a:lnTo>
                    <a:lnTo>
                      <a:pt x="174" y="53"/>
                    </a:lnTo>
                    <a:lnTo>
                      <a:pt x="172" y="53"/>
                    </a:lnTo>
                    <a:lnTo>
                      <a:pt x="172" y="55"/>
                    </a:lnTo>
                    <a:lnTo>
                      <a:pt x="174" y="55"/>
                    </a:lnTo>
                    <a:lnTo>
                      <a:pt x="172" y="55"/>
                    </a:lnTo>
                    <a:lnTo>
                      <a:pt x="172" y="59"/>
                    </a:lnTo>
                    <a:lnTo>
                      <a:pt x="172" y="61"/>
                    </a:lnTo>
                    <a:lnTo>
                      <a:pt x="170" y="61"/>
                    </a:lnTo>
                    <a:lnTo>
                      <a:pt x="168" y="63"/>
                    </a:lnTo>
                    <a:lnTo>
                      <a:pt x="168" y="65"/>
                    </a:lnTo>
                    <a:lnTo>
                      <a:pt x="168" y="67"/>
                    </a:lnTo>
                    <a:lnTo>
                      <a:pt x="168" y="69"/>
                    </a:lnTo>
                    <a:lnTo>
                      <a:pt x="168" y="70"/>
                    </a:lnTo>
                    <a:lnTo>
                      <a:pt x="166" y="70"/>
                    </a:lnTo>
                    <a:lnTo>
                      <a:pt x="164" y="72"/>
                    </a:lnTo>
                    <a:lnTo>
                      <a:pt x="162" y="72"/>
                    </a:lnTo>
                    <a:lnTo>
                      <a:pt x="162" y="74"/>
                    </a:lnTo>
                    <a:lnTo>
                      <a:pt x="162" y="76"/>
                    </a:lnTo>
                    <a:lnTo>
                      <a:pt x="162" y="78"/>
                    </a:lnTo>
                    <a:lnTo>
                      <a:pt x="162" y="80"/>
                    </a:lnTo>
                    <a:lnTo>
                      <a:pt x="161" y="80"/>
                    </a:lnTo>
                    <a:lnTo>
                      <a:pt x="161" y="84"/>
                    </a:lnTo>
                    <a:lnTo>
                      <a:pt x="159" y="86"/>
                    </a:lnTo>
                    <a:lnTo>
                      <a:pt x="157" y="86"/>
                    </a:lnTo>
                    <a:lnTo>
                      <a:pt x="155" y="86"/>
                    </a:lnTo>
                    <a:lnTo>
                      <a:pt x="155" y="88"/>
                    </a:lnTo>
                    <a:lnTo>
                      <a:pt x="153" y="90"/>
                    </a:lnTo>
                    <a:lnTo>
                      <a:pt x="151" y="90"/>
                    </a:lnTo>
                    <a:lnTo>
                      <a:pt x="153" y="91"/>
                    </a:lnTo>
                    <a:lnTo>
                      <a:pt x="153" y="93"/>
                    </a:lnTo>
                    <a:lnTo>
                      <a:pt x="151" y="93"/>
                    </a:lnTo>
                    <a:lnTo>
                      <a:pt x="151" y="95"/>
                    </a:lnTo>
                    <a:lnTo>
                      <a:pt x="151" y="97"/>
                    </a:lnTo>
                    <a:lnTo>
                      <a:pt x="149" y="99"/>
                    </a:lnTo>
                    <a:lnTo>
                      <a:pt x="149" y="101"/>
                    </a:lnTo>
                    <a:lnTo>
                      <a:pt x="149" y="103"/>
                    </a:lnTo>
                    <a:lnTo>
                      <a:pt x="147" y="105"/>
                    </a:lnTo>
                    <a:lnTo>
                      <a:pt x="145" y="107"/>
                    </a:lnTo>
                    <a:lnTo>
                      <a:pt x="145" y="109"/>
                    </a:lnTo>
                    <a:lnTo>
                      <a:pt x="145" y="111"/>
                    </a:lnTo>
                    <a:lnTo>
                      <a:pt x="143" y="111"/>
                    </a:lnTo>
                    <a:lnTo>
                      <a:pt x="143" y="112"/>
                    </a:lnTo>
                    <a:lnTo>
                      <a:pt x="142" y="112"/>
                    </a:lnTo>
                    <a:lnTo>
                      <a:pt x="142" y="114"/>
                    </a:lnTo>
                    <a:lnTo>
                      <a:pt x="142" y="116"/>
                    </a:lnTo>
                    <a:lnTo>
                      <a:pt x="142" y="118"/>
                    </a:lnTo>
                    <a:lnTo>
                      <a:pt x="140" y="118"/>
                    </a:lnTo>
                    <a:lnTo>
                      <a:pt x="140" y="120"/>
                    </a:lnTo>
                    <a:lnTo>
                      <a:pt x="138" y="120"/>
                    </a:lnTo>
                    <a:lnTo>
                      <a:pt x="136" y="120"/>
                    </a:lnTo>
                    <a:lnTo>
                      <a:pt x="136" y="118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2" y="116"/>
                    </a:lnTo>
                    <a:lnTo>
                      <a:pt x="130" y="116"/>
                    </a:lnTo>
                    <a:lnTo>
                      <a:pt x="130" y="114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8" y="111"/>
                    </a:lnTo>
                    <a:lnTo>
                      <a:pt x="126" y="111"/>
                    </a:lnTo>
                    <a:lnTo>
                      <a:pt x="126" y="109"/>
                    </a:lnTo>
                    <a:lnTo>
                      <a:pt x="124" y="112"/>
                    </a:lnTo>
                    <a:lnTo>
                      <a:pt x="124" y="114"/>
                    </a:lnTo>
                    <a:lnTo>
                      <a:pt x="124" y="112"/>
                    </a:lnTo>
                    <a:lnTo>
                      <a:pt x="121" y="114"/>
                    </a:lnTo>
                    <a:lnTo>
                      <a:pt x="119" y="112"/>
                    </a:lnTo>
                    <a:lnTo>
                      <a:pt x="119" y="111"/>
                    </a:lnTo>
                    <a:lnTo>
                      <a:pt x="117" y="114"/>
                    </a:lnTo>
                    <a:lnTo>
                      <a:pt x="115" y="116"/>
                    </a:lnTo>
                    <a:lnTo>
                      <a:pt x="113" y="114"/>
                    </a:lnTo>
                    <a:lnTo>
                      <a:pt x="113" y="116"/>
                    </a:lnTo>
                    <a:lnTo>
                      <a:pt x="113" y="118"/>
                    </a:lnTo>
                    <a:lnTo>
                      <a:pt x="111" y="120"/>
                    </a:lnTo>
                    <a:lnTo>
                      <a:pt x="109" y="120"/>
                    </a:lnTo>
                    <a:lnTo>
                      <a:pt x="107" y="120"/>
                    </a:lnTo>
                    <a:lnTo>
                      <a:pt x="107" y="122"/>
                    </a:lnTo>
                    <a:lnTo>
                      <a:pt x="105" y="122"/>
                    </a:lnTo>
                    <a:lnTo>
                      <a:pt x="105" y="124"/>
                    </a:lnTo>
                    <a:lnTo>
                      <a:pt x="103" y="126"/>
                    </a:lnTo>
                    <a:lnTo>
                      <a:pt x="103" y="128"/>
                    </a:lnTo>
                    <a:lnTo>
                      <a:pt x="100" y="130"/>
                    </a:lnTo>
                    <a:lnTo>
                      <a:pt x="98" y="132"/>
                    </a:lnTo>
                    <a:lnTo>
                      <a:pt x="100" y="132"/>
                    </a:lnTo>
                    <a:lnTo>
                      <a:pt x="98" y="133"/>
                    </a:lnTo>
                    <a:lnTo>
                      <a:pt x="100" y="133"/>
                    </a:lnTo>
                    <a:lnTo>
                      <a:pt x="100" y="135"/>
                    </a:lnTo>
                    <a:lnTo>
                      <a:pt x="98" y="137"/>
                    </a:lnTo>
                    <a:lnTo>
                      <a:pt x="98" y="139"/>
                    </a:lnTo>
                    <a:lnTo>
                      <a:pt x="98" y="141"/>
                    </a:lnTo>
                    <a:lnTo>
                      <a:pt x="96" y="143"/>
                    </a:lnTo>
                    <a:lnTo>
                      <a:pt x="96" y="145"/>
                    </a:lnTo>
                    <a:lnTo>
                      <a:pt x="94" y="145"/>
                    </a:lnTo>
                    <a:lnTo>
                      <a:pt x="94" y="147"/>
                    </a:lnTo>
                    <a:lnTo>
                      <a:pt x="94" y="149"/>
                    </a:lnTo>
                    <a:lnTo>
                      <a:pt x="92" y="149"/>
                    </a:lnTo>
                    <a:lnTo>
                      <a:pt x="92" y="147"/>
                    </a:lnTo>
                    <a:lnTo>
                      <a:pt x="92" y="149"/>
                    </a:lnTo>
                    <a:lnTo>
                      <a:pt x="90" y="149"/>
                    </a:lnTo>
                    <a:lnTo>
                      <a:pt x="92" y="147"/>
                    </a:lnTo>
                    <a:lnTo>
                      <a:pt x="90" y="147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8" y="143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6" y="145"/>
                    </a:lnTo>
                    <a:lnTo>
                      <a:pt x="88" y="145"/>
                    </a:lnTo>
                    <a:lnTo>
                      <a:pt x="88" y="147"/>
                    </a:lnTo>
                    <a:lnTo>
                      <a:pt x="90" y="149"/>
                    </a:lnTo>
                    <a:lnTo>
                      <a:pt x="90" y="151"/>
                    </a:lnTo>
                    <a:lnTo>
                      <a:pt x="86" y="151"/>
                    </a:lnTo>
                    <a:lnTo>
                      <a:pt x="84" y="151"/>
                    </a:lnTo>
                    <a:lnTo>
                      <a:pt x="80" y="152"/>
                    </a:lnTo>
                    <a:lnTo>
                      <a:pt x="79" y="152"/>
                    </a:lnTo>
                    <a:lnTo>
                      <a:pt x="77" y="151"/>
                    </a:lnTo>
                    <a:lnTo>
                      <a:pt x="75" y="151"/>
                    </a:lnTo>
                    <a:lnTo>
                      <a:pt x="73" y="151"/>
                    </a:lnTo>
                    <a:lnTo>
                      <a:pt x="75" y="151"/>
                    </a:lnTo>
                    <a:lnTo>
                      <a:pt x="75" y="152"/>
                    </a:lnTo>
                    <a:lnTo>
                      <a:pt x="73" y="152"/>
                    </a:lnTo>
                    <a:lnTo>
                      <a:pt x="73" y="151"/>
                    </a:lnTo>
                    <a:lnTo>
                      <a:pt x="71" y="151"/>
                    </a:lnTo>
                    <a:lnTo>
                      <a:pt x="71" y="149"/>
                    </a:lnTo>
                    <a:lnTo>
                      <a:pt x="71" y="147"/>
                    </a:lnTo>
                    <a:lnTo>
                      <a:pt x="69" y="147"/>
                    </a:lnTo>
                    <a:lnTo>
                      <a:pt x="69" y="149"/>
                    </a:lnTo>
                    <a:lnTo>
                      <a:pt x="69" y="151"/>
                    </a:lnTo>
                    <a:lnTo>
                      <a:pt x="67" y="151"/>
                    </a:lnTo>
                    <a:lnTo>
                      <a:pt x="67" y="149"/>
                    </a:lnTo>
                    <a:lnTo>
                      <a:pt x="67" y="151"/>
                    </a:lnTo>
                    <a:lnTo>
                      <a:pt x="65" y="151"/>
                    </a:lnTo>
                    <a:lnTo>
                      <a:pt x="65" y="149"/>
                    </a:lnTo>
                    <a:lnTo>
                      <a:pt x="65" y="147"/>
                    </a:lnTo>
                    <a:lnTo>
                      <a:pt x="65" y="149"/>
                    </a:lnTo>
                    <a:lnTo>
                      <a:pt x="65" y="151"/>
                    </a:lnTo>
                    <a:lnTo>
                      <a:pt x="65" y="152"/>
                    </a:lnTo>
                    <a:lnTo>
                      <a:pt x="67" y="154"/>
                    </a:lnTo>
                    <a:lnTo>
                      <a:pt x="65" y="154"/>
                    </a:lnTo>
                    <a:lnTo>
                      <a:pt x="63" y="154"/>
                    </a:lnTo>
                    <a:lnTo>
                      <a:pt x="63" y="152"/>
                    </a:lnTo>
                    <a:lnTo>
                      <a:pt x="65" y="151"/>
                    </a:lnTo>
                    <a:lnTo>
                      <a:pt x="63" y="152"/>
                    </a:lnTo>
                    <a:lnTo>
                      <a:pt x="63" y="154"/>
                    </a:lnTo>
                    <a:lnTo>
                      <a:pt x="63" y="152"/>
                    </a:lnTo>
                    <a:lnTo>
                      <a:pt x="61" y="152"/>
                    </a:lnTo>
                    <a:lnTo>
                      <a:pt x="61" y="151"/>
                    </a:lnTo>
                    <a:lnTo>
                      <a:pt x="61" y="152"/>
                    </a:lnTo>
                    <a:lnTo>
                      <a:pt x="63" y="152"/>
                    </a:lnTo>
                    <a:lnTo>
                      <a:pt x="61" y="154"/>
                    </a:lnTo>
                    <a:lnTo>
                      <a:pt x="60" y="154"/>
                    </a:lnTo>
                    <a:lnTo>
                      <a:pt x="58" y="154"/>
                    </a:lnTo>
                    <a:lnTo>
                      <a:pt x="58" y="152"/>
                    </a:lnTo>
                    <a:lnTo>
                      <a:pt x="58" y="154"/>
                    </a:lnTo>
                    <a:lnTo>
                      <a:pt x="58" y="152"/>
                    </a:lnTo>
                    <a:lnTo>
                      <a:pt x="56" y="152"/>
                    </a:lnTo>
                    <a:lnTo>
                      <a:pt x="58" y="152"/>
                    </a:lnTo>
                    <a:lnTo>
                      <a:pt x="56" y="154"/>
                    </a:lnTo>
                    <a:lnTo>
                      <a:pt x="54" y="156"/>
                    </a:lnTo>
                    <a:lnTo>
                      <a:pt x="54" y="154"/>
                    </a:lnTo>
                    <a:lnTo>
                      <a:pt x="56" y="154"/>
                    </a:lnTo>
                    <a:lnTo>
                      <a:pt x="56" y="152"/>
                    </a:lnTo>
                    <a:lnTo>
                      <a:pt x="54" y="152"/>
                    </a:lnTo>
                    <a:lnTo>
                      <a:pt x="54" y="154"/>
                    </a:lnTo>
                    <a:lnTo>
                      <a:pt x="52" y="154"/>
                    </a:lnTo>
                    <a:lnTo>
                      <a:pt x="50" y="152"/>
                    </a:lnTo>
                    <a:lnTo>
                      <a:pt x="52" y="152"/>
                    </a:lnTo>
                    <a:lnTo>
                      <a:pt x="50" y="152"/>
                    </a:lnTo>
                    <a:lnTo>
                      <a:pt x="48" y="152"/>
                    </a:lnTo>
                    <a:lnTo>
                      <a:pt x="48" y="151"/>
                    </a:lnTo>
                    <a:lnTo>
                      <a:pt x="46" y="147"/>
                    </a:lnTo>
                    <a:lnTo>
                      <a:pt x="44" y="145"/>
                    </a:lnTo>
                    <a:lnTo>
                      <a:pt x="42" y="141"/>
                    </a:lnTo>
                    <a:lnTo>
                      <a:pt x="44" y="141"/>
                    </a:lnTo>
                    <a:lnTo>
                      <a:pt x="42" y="141"/>
                    </a:lnTo>
                    <a:lnTo>
                      <a:pt x="42" y="137"/>
                    </a:lnTo>
                    <a:lnTo>
                      <a:pt x="42" y="139"/>
                    </a:lnTo>
                    <a:lnTo>
                      <a:pt x="42" y="137"/>
                    </a:lnTo>
                    <a:lnTo>
                      <a:pt x="44" y="137"/>
                    </a:lnTo>
                    <a:lnTo>
                      <a:pt x="44" y="139"/>
                    </a:lnTo>
                    <a:lnTo>
                      <a:pt x="46" y="137"/>
                    </a:lnTo>
                    <a:lnTo>
                      <a:pt x="44" y="137"/>
                    </a:lnTo>
                    <a:lnTo>
                      <a:pt x="46" y="135"/>
                    </a:lnTo>
                    <a:lnTo>
                      <a:pt x="48" y="135"/>
                    </a:lnTo>
                    <a:lnTo>
                      <a:pt x="46" y="135"/>
                    </a:lnTo>
                    <a:lnTo>
                      <a:pt x="44" y="135"/>
                    </a:lnTo>
                    <a:lnTo>
                      <a:pt x="44" y="137"/>
                    </a:lnTo>
                    <a:lnTo>
                      <a:pt x="42" y="137"/>
                    </a:lnTo>
                    <a:lnTo>
                      <a:pt x="40" y="137"/>
                    </a:lnTo>
                    <a:lnTo>
                      <a:pt x="40" y="135"/>
                    </a:lnTo>
                    <a:lnTo>
                      <a:pt x="40" y="133"/>
                    </a:lnTo>
                    <a:lnTo>
                      <a:pt x="42" y="135"/>
                    </a:lnTo>
                    <a:lnTo>
                      <a:pt x="44" y="133"/>
                    </a:lnTo>
                    <a:lnTo>
                      <a:pt x="42" y="133"/>
                    </a:lnTo>
                    <a:lnTo>
                      <a:pt x="40" y="133"/>
                    </a:lnTo>
                    <a:lnTo>
                      <a:pt x="39" y="132"/>
                    </a:lnTo>
                    <a:lnTo>
                      <a:pt x="37" y="130"/>
                    </a:lnTo>
                    <a:lnTo>
                      <a:pt x="33" y="126"/>
                    </a:lnTo>
                    <a:lnTo>
                      <a:pt x="29" y="124"/>
                    </a:lnTo>
                    <a:lnTo>
                      <a:pt x="29" y="122"/>
                    </a:lnTo>
                    <a:lnTo>
                      <a:pt x="27" y="122"/>
                    </a:lnTo>
                    <a:lnTo>
                      <a:pt x="19" y="120"/>
                    </a:lnTo>
                    <a:lnTo>
                      <a:pt x="12" y="122"/>
                    </a:lnTo>
                    <a:lnTo>
                      <a:pt x="8" y="122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8"/>
                    </a:lnTo>
                    <a:lnTo>
                      <a:pt x="2" y="116"/>
                    </a:lnTo>
                    <a:lnTo>
                      <a:pt x="0" y="114"/>
                    </a:lnTo>
                    <a:lnTo>
                      <a:pt x="0" y="112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0" y="109"/>
                    </a:lnTo>
                    <a:lnTo>
                      <a:pt x="2" y="109"/>
                    </a:lnTo>
                    <a:lnTo>
                      <a:pt x="0" y="107"/>
                    </a:lnTo>
                    <a:lnTo>
                      <a:pt x="0" y="105"/>
                    </a:lnTo>
                    <a:lnTo>
                      <a:pt x="2" y="105"/>
                    </a:lnTo>
                    <a:lnTo>
                      <a:pt x="0" y="103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0" y="95"/>
                    </a:lnTo>
                    <a:lnTo>
                      <a:pt x="0" y="93"/>
                    </a:lnTo>
                    <a:lnTo>
                      <a:pt x="0" y="91"/>
                    </a:lnTo>
                    <a:lnTo>
                      <a:pt x="0" y="90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0" y="88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2" y="84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2" y="80"/>
                    </a:lnTo>
                    <a:lnTo>
                      <a:pt x="2" y="78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8" y="76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10" y="69"/>
                    </a:lnTo>
                    <a:lnTo>
                      <a:pt x="10" y="67"/>
                    </a:lnTo>
                    <a:lnTo>
                      <a:pt x="12" y="67"/>
                    </a:lnTo>
                    <a:lnTo>
                      <a:pt x="14" y="67"/>
                    </a:lnTo>
                    <a:lnTo>
                      <a:pt x="16" y="65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59"/>
                    </a:lnTo>
                    <a:lnTo>
                      <a:pt x="14" y="59"/>
                    </a:lnTo>
                    <a:lnTo>
                      <a:pt x="16" y="57"/>
                    </a:lnTo>
                    <a:lnTo>
                      <a:pt x="16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19" y="53"/>
                    </a:lnTo>
                    <a:lnTo>
                      <a:pt x="19" y="51"/>
                    </a:lnTo>
                    <a:lnTo>
                      <a:pt x="18" y="51"/>
                    </a:lnTo>
                    <a:lnTo>
                      <a:pt x="18" y="49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16" y="46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6" y="27"/>
                    </a:lnTo>
                    <a:lnTo>
                      <a:pt x="16" y="23"/>
                    </a:lnTo>
                    <a:lnTo>
                      <a:pt x="19" y="19"/>
                    </a:lnTo>
                    <a:lnTo>
                      <a:pt x="23" y="15"/>
                    </a:lnTo>
                    <a:lnTo>
                      <a:pt x="23" y="13"/>
                    </a:lnTo>
                    <a:lnTo>
                      <a:pt x="23" y="7"/>
                    </a:lnTo>
                    <a:lnTo>
                      <a:pt x="25" y="7"/>
                    </a:lnTo>
                    <a:lnTo>
                      <a:pt x="29" y="4"/>
                    </a:lnTo>
                    <a:lnTo>
                      <a:pt x="35" y="2"/>
                    </a:lnTo>
                    <a:lnTo>
                      <a:pt x="37" y="2"/>
                    </a:lnTo>
                    <a:lnTo>
                      <a:pt x="39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60" y="6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5" y="9"/>
                    </a:lnTo>
                    <a:lnTo>
                      <a:pt x="65" y="11"/>
                    </a:lnTo>
                    <a:lnTo>
                      <a:pt x="65" y="13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71" y="15"/>
                    </a:lnTo>
                    <a:lnTo>
                      <a:pt x="73" y="13"/>
                    </a:lnTo>
                    <a:lnTo>
                      <a:pt x="75" y="13"/>
                    </a:lnTo>
                    <a:lnTo>
                      <a:pt x="80" y="9"/>
                    </a:lnTo>
                    <a:lnTo>
                      <a:pt x="82" y="9"/>
                    </a:lnTo>
                    <a:lnTo>
                      <a:pt x="86" y="9"/>
                    </a:lnTo>
                    <a:lnTo>
                      <a:pt x="88" y="11"/>
                    </a:lnTo>
                    <a:lnTo>
                      <a:pt x="92" y="13"/>
                    </a:lnTo>
                    <a:lnTo>
                      <a:pt x="94" y="15"/>
                    </a:lnTo>
                    <a:lnTo>
                      <a:pt x="96" y="15"/>
                    </a:lnTo>
                    <a:lnTo>
                      <a:pt x="100" y="17"/>
                    </a:lnTo>
                    <a:lnTo>
                      <a:pt x="111" y="17"/>
                    </a:lnTo>
                    <a:lnTo>
                      <a:pt x="117" y="13"/>
                    </a:lnTo>
                    <a:lnTo>
                      <a:pt x="117" y="11"/>
                    </a:lnTo>
                    <a:lnTo>
                      <a:pt x="121" y="11"/>
                    </a:lnTo>
                    <a:lnTo>
                      <a:pt x="124" y="9"/>
                    </a:lnTo>
                    <a:lnTo>
                      <a:pt x="126" y="9"/>
                    </a:lnTo>
                    <a:lnTo>
                      <a:pt x="128" y="9"/>
                    </a:lnTo>
                    <a:lnTo>
                      <a:pt x="136" y="9"/>
                    </a:lnTo>
                    <a:lnTo>
                      <a:pt x="142" y="9"/>
                    </a:lnTo>
                    <a:lnTo>
                      <a:pt x="143" y="9"/>
                    </a:lnTo>
                    <a:lnTo>
                      <a:pt x="147" y="11"/>
                    </a:lnTo>
                    <a:lnTo>
                      <a:pt x="149" y="11"/>
                    </a:lnTo>
                    <a:lnTo>
                      <a:pt x="149" y="13"/>
                    </a:lnTo>
                    <a:lnTo>
                      <a:pt x="151" y="13"/>
                    </a:lnTo>
                    <a:lnTo>
                      <a:pt x="153" y="13"/>
                    </a:lnTo>
                    <a:lnTo>
                      <a:pt x="157" y="13"/>
                    </a:lnTo>
                    <a:lnTo>
                      <a:pt x="157" y="11"/>
                    </a:lnTo>
                    <a:lnTo>
                      <a:pt x="159" y="9"/>
                    </a:lnTo>
                    <a:lnTo>
                      <a:pt x="161" y="9"/>
                    </a:lnTo>
                    <a:lnTo>
                      <a:pt x="161" y="7"/>
                    </a:lnTo>
                    <a:lnTo>
                      <a:pt x="162" y="7"/>
                    </a:lnTo>
                    <a:lnTo>
                      <a:pt x="162" y="6"/>
                    </a:lnTo>
                    <a:lnTo>
                      <a:pt x="164" y="7"/>
                    </a:lnTo>
                    <a:lnTo>
                      <a:pt x="164" y="6"/>
                    </a:lnTo>
                    <a:lnTo>
                      <a:pt x="166" y="6"/>
                    </a:lnTo>
                    <a:lnTo>
                      <a:pt x="164" y="6"/>
                    </a:lnTo>
                    <a:lnTo>
                      <a:pt x="166" y="6"/>
                    </a:lnTo>
                    <a:lnTo>
                      <a:pt x="168" y="6"/>
                    </a:lnTo>
                    <a:lnTo>
                      <a:pt x="168" y="4"/>
                    </a:lnTo>
                    <a:lnTo>
                      <a:pt x="170" y="4"/>
                    </a:lnTo>
                    <a:lnTo>
                      <a:pt x="174" y="4"/>
                    </a:lnTo>
                    <a:close/>
                    <a:moveTo>
                      <a:pt x="67" y="151"/>
                    </a:moveTo>
                    <a:lnTo>
                      <a:pt x="69" y="151"/>
                    </a:lnTo>
                    <a:lnTo>
                      <a:pt x="69" y="152"/>
                    </a:lnTo>
                    <a:lnTo>
                      <a:pt x="69" y="154"/>
                    </a:lnTo>
                    <a:lnTo>
                      <a:pt x="69" y="152"/>
                    </a:lnTo>
                    <a:lnTo>
                      <a:pt x="67" y="152"/>
                    </a:lnTo>
                    <a:lnTo>
                      <a:pt x="65" y="151"/>
                    </a:lnTo>
                    <a:lnTo>
                      <a:pt x="67" y="151"/>
                    </a:lnTo>
                    <a:close/>
                    <a:moveTo>
                      <a:pt x="73" y="152"/>
                    </a:moveTo>
                    <a:lnTo>
                      <a:pt x="75" y="152"/>
                    </a:lnTo>
                    <a:lnTo>
                      <a:pt x="73" y="154"/>
                    </a:lnTo>
                    <a:lnTo>
                      <a:pt x="71" y="154"/>
                    </a:lnTo>
                    <a:lnTo>
                      <a:pt x="71" y="152"/>
                    </a:lnTo>
                    <a:lnTo>
                      <a:pt x="73" y="151"/>
                    </a:lnTo>
                    <a:lnTo>
                      <a:pt x="73" y="152"/>
                    </a:lnTo>
                    <a:close/>
                    <a:moveTo>
                      <a:pt x="58" y="152"/>
                    </a:moveTo>
                    <a:lnTo>
                      <a:pt x="60" y="152"/>
                    </a:lnTo>
                    <a:lnTo>
                      <a:pt x="60" y="154"/>
                    </a:lnTo>
                    <a:lnTo>
                      <a:pt x="58" y="154"/>
                    </a:lnTo>
                    <a:lnTo>
                      <a:pt x="58" y="152"/>
                    </a:lnTo>
                    <a:close/>
                    <a:moveTo>
                      <a:pt x="75" y="152"/>
                    </a:moveTo>
                    <a:lnTo>
                      <a:pt x="77" y="152"/>
                    </a:lnTo>
                    <a:lnTo>
                      <a:pt x="79" y="152"/>
                    </a:lnTo>
                    <a:lnTo>
                      <a:pt x="75" y="152"/>
                    </a:lnTo>
                    <a:lnTo>
                      <a:pt x="75" y="151"/>
                    </a:lnTo>
                    <a:lnTo>
                      <a:pt x="75" y="152"/>
                    </a:lnTo>
                    <a:close/>
                    <a:moveTo>
                      <a:pt x="69" y="149"/>
                    </a:moveTo>
                    <a:lnTo>
                      <a:pt x="71" y="149"/>
                    </a:lnTo>
                    <a:lnTo>
                      <a:pt x="71" y="151"/>
                    </a:lnTo>
                    <a:lnTo>
                      <a:pt x="69" y="151"/>
                    </a:lnTo>
                    <a:lnTo>
                      <a:pt x="69" y="149"/>
                    </a:lnTo>
                    <a:close/>
                    <a:moveTo>
                      <a:pt x="69" y="151"/>
                    </a:moveTo>
                    <a:lnTo>
                      <a:pt x="71" y="151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69" y="151"/>
                    </a:lnTo>
                    <a:close/>
                    <a:moveTo>
                      <a:pt x="88" y="145"/>
                    </a:moveTo>
                    <a:lnTo>
                      <a:pt x="88" y="147"/>
                    </a:lnTo>
                    <a:lnTo>
                      <a:pt x="88" y="145"/>
                    </a:lnTo>
                    <a:lnTo>
                      <a:pt x="86" y="145"/>
                    </a:lnTo>
                    <a:lnTo>
                      <a:pt x="86" y="143"/>
                    </a:lnTo>
                    <a:lnTo>
                      <a:pt x="88" y="143"/>
                    </a:lnTo>
                    <a:lnTo>
                      <a:pt x="88" y="145"/>
                    </a:lnTo>
                    <a:close/>
                    <a:moveTo>
                      <a:pt x="71" y="151"/>
                    </a:moveTo>
                    <a:lnTo>
                      <a:pt x="71" y="152"/>
                    </a:lnTo>
                    <a:lnTo>
                      <a:pt x="71" y="151"/>
                    </a:lnTo>
                    <a:close/>
                    <a:moveTo>
                      <a:pt x="67" y="152"/>
                    </a:moveTo>
                    <a:lnTo>
                      <a:pt x="69" y="152"/>
                    </a:lnTo>
                    <a:lnTo>
                      <a:pt x="69" y="154"/>
                    </a:lnTo>
                    <a:lnTo>
                      <a:pt x="67" y="154"/>
                    </a:lnTo>
                    <a:lnTo>
                      <a:pt x="67" y="152"/>
                    </a:lnTo>
                    <a:close/>
                    <a:moveTo>
                      <a:pt x="75" y="151"/>
                    </a:moveTo>
                    <a:lnTo>
                      <a:pt x="77" y="151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5" y="151"/>
                    </a:lnTo>
                    <a:close/>
                    <a:moveTo>
                      <a:pt x="69" y="151"/>
                    </a:moveTo>
                    <a:lnTo>
                      <a:pt x="71" y="151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69" y="151"/>
                    </a:lnTo>
                    <a:close/>
                    <a:moveTo>
                      <a:pt x="71" y="149"/>
                    </a:moveTo>
                    <a:lnTo>
                      <a:pt x="71" y="151"/>
                    </a:lnTo>
                    <a:lnTo>
                      <a:pt x="71" y="149"/>
                    </a:lnTo>
                    <a:close/>
                    <a:moveTo>
                      <a:pt x="86" y="143"/>
                    </a:moveTo>
                    <a:lnTo>
                      <a:pt x="88" y="143"/>
                    </a:lnTo>
                    <a:lnTo>
                      <a:pt x="88" y="145"/>
                    </a:lnTo>
                    <a:lnTo>
                      <a:pt x="86" y="145"/>
                    </a:lnTo>
                    <a:lnTo>
                      <a:pt x="86" y="143"/>
                    </a:lnTo>
                    <a:close/>
                    <a:moveTo>
                      <a:pt x="69" y="149"/>
                    </a:moveTo>
                    <a:lnTo>
                      <a:pt x="69" y="151"/>
                    </a:lnTo>
                    <a:lnTo>
                      <a:pt x="69" y="149"/>
                    </a:lnTo>
                    <a:close/>
                    <a:moveTo>
                      <a:pt x="54" y="152"/>
                    </a:moveTo>
                    <a:lnTo>
                      <a:pt x="56" y="152"/>
                    </a:lnTo>
                    <a:lnTo>
                      <a:pt x="56" y="154"/>
                    </a:lnTo>
                    <a:lnTo>
                      <a:pt x="54" y="154"/>
                    </a:lnTo>
                    <a:lnTo>
                      <a:pt x="54" y="152"/>
                    </a:lnTo>
                    <a:close/>
                    <a:moveTo>
                      <a:pt x="67" y="151"/>
                    </a:moveTo>
                    <a:lnTo>
                      <a:pt x="69" y="151"/>
                    </a:lnTo>
                    <a:lnTo>
                      <a:pt x="69" y="152"/>
                    </a:lnTo>
                    <a:lnTo>
                      <a:pt x="67" y="152"/>
                    </a:lnTo>
                    <a:lnTo>
                      <a:pt x="67" y="151"/>
                    </a:lnTo>
                    <a:close/>
                    <a:moveTo>
                      <a:pt x="75" y="151"/>
                    </a:moveTo>
                    <a:lnTo>
                      <a:pt x="75" y="152"/>
                    </a:lnTo>
                    <a:lnTo>
                      <a:pt x="75" y="151"/>
                    </a:lnTo>
                    <a:close/>
                    <a:moveTo>
                      <a:pt x="86" y="141"/>
                    </a:moveTo>
                    <a:lnTo>
                      <a:pt x="86" y="143"/>
                    </a:lnTo>
                    <a:lnTo>
                      <a:pt x="86" y="141"/>
                    </a:lnTo>
                    <a:close/>
                    <a:moveTo>
                      <a:pt x="88" y="145"/>
                    </a:moveTo>
                    <a:lnTo>
                      <a:pt x="88" y="147"/>
                    </a:lnTo>
                    <a:lnTo>
                      <a:pt x="88" y="145"/>
                    </a:lnTo>
                    <a:close/>
                    <a:moveTo>
                      <a:pt x="90" y="149"/>
                    </a:moveTo>
                    <a:lnTo>
                      <a:pt x="90" y="151"/>
                    </a:lnTo>
                    <a:lnTo>
                      <a:pt x="90" y="149"/>
                    </a:lnTo>
                    <a:close/>
                    <a:moveTo>
                      <a:pt x="75" y="151"/>
                    </a:moveTo>
                    <a:lnTo>
                      <a:pt x="75" y="152"/>
                    </a:lnTo>
                    <a:lnTo>
                      <a:pt x="75" y="151"/>
                    </a:lnTo>
                    <a:close/>
                    <a:moveTo>
                      <a:pt x="77" y="152"/>
                    </a:moveTo>
                    <a:lnTo>
                      <a:pt x="79" y="152"/>
                    </a:lnTo>
                    <a:lnTo>
                      <a:pt x="77" y="152"/>
                    </a:lnTo>
                    <a:close/>
                    <a:moveTo>
                      <a:pt x="69" y="149"/>
                    </a:moveTo>
                    <a:lnTo>
                      <a:pt x="71" y="149"/>
                    </a:lnTo>
                    <a:lnTo>
                      <a:pt x="69" y="149"/>
                    </a:lnTo>
                    <a:close/>
                    <a:moveTo>
                      <a:pt x="69" y="149"/>
                    </a:moveTo>
                    <a:lnTo>
                      <a:pt x="69" y="151"/>
                    </a:lnTo>
                    <a:lnTo>
                      <a:pt x="69" y="149"/>
                    </a:lnTo>
                    <a:close/>
                    <a:moveTo>
                      <a:pt x="73" y="151"/>
                    </a:moveTo>
                    <a:lnTo>
                      <a:pt x="75" y="151"/>
                    </a:lnTo>
                    <a:lnTo>
                      <a:pt x="73" y="151"/>
                    </a:lnTo>
                    <a:close/>
                    <a:moveTo>
                      <a:pt x="71" y="151"/>
                    </a:moveTo>
                    <a:lnTo>
                      <a:pt x="71" y="152"/>
                    </a:lnTo>
                    <a:lnTo>
                      <a:pt x="71" y="151"/>
                    </a:lnTo>
                    <a:close/>
                    <a:moveTo>
                      <a:pt x="44" y="137"/>
                    </a:moveTo>
                    <a:lnTo>
                      <a:pt x="46" y="137"/>
                    </a:lnTo>
                    <a:lnTo>
                      <a:pt x="44" y="137"/>
                    </a:lnTo>
                    <a:close/>
                    <a:moveTo>
                      <a:pt x="69" y="147"/>
                    </a:moveTo>
                    <a:lnTo>
                      <a:pt x="71" y="147"/>
                    </a:lnTo>
                    <a:lnTo>
                      <a:pt x="71" y="149"/>
                    </a:lnTo>
                    <a:lnTo>
                      <a:pt x="69" y="149"/>
                    </a:lnTo>
                    <a:lnTo>
                      <a:pt x="69" y="147"/>
                    </a:lnTo>
                    <a:close/>
                    <a:moveTo>
                      <a:pt x="75" y="151"/>
                    </a:moveTo>
                    <a:lnTo>
                      <a:pt x="75" y="152"/>
                    </a:lnTo>
                    <a:lnTo>
                      <a:pt x="75" y="151"/>
                    </a:lnTo>
                    <a:close/>
                    <a:moveTo>
                      <a:pt x="44" y="137"/>
                    </a:moveTo>
                    <a:lnTo>
                      <a:pt x="46" y="137"/>
                    </a:lnTo>
                    <a:lnTo>
                      <a:pt x="44" y="137"/>
                    </a:lnTo>
                    <a:close/>
                    <a:moveTo>
                      <a:pt x="48" y="151"/>
                    </a:moveTo>
                    <a:lnTo>
                      <a:pt x="48" y="152"/>
                    </a:lnTo>
                    <a:lnTo>
                      <a:pt x="48" y="151"/>
                    </a:lnTo>
                    <a:close/>
                    <a:moveTo>
                      <a:pt x="71" y="149"/>
                    </a:moveTo>
                    <a:lnTo>
                      <a:pt x="71" y="151"/>
                    </a:lnTo>
                    <a:lnTo>
                      <a:pt x="71" y="14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3" name="Freeform 96">
                <a:extLst>
                  <a:ext uri="{FF2B5EF4-FFF2-40B4-BE49-F238E27FC236}">
                    <a16:creationId xmlns:a16="http://schemas.microsoft.com/office/drawing/2014/main" id="{03663415-5D48-BBB5-1E1E-C9EDA4D08CC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42085" y="-2048666"/>
                <a:ext cx="201676" cy="257301"/>
              </a:xfrm>
              <a:custGeom>
                <a:avLst/>
                <a:gdLst>
                  <a:gd name="T0" fmla="*/ 113 w 128"/>
                  <a:gd name="T1" fmla="*/ 58 h 163"/>
                  <a:gd name="T2" fmla="*/ 122 w 128"/>
                  <a:gd name="T3" fmla="*/ 113 h 163"/>
                  <a:gd name="T4" fmla="*/ 118 w 128"/>
                  <a:gd name="T5" fmla="*/ 121 h 163"/>
                  <a:gd name="T6" fmla="*/ 115 w 128"/>
                  <a:gd name="T7" fmla="*/ 121 h 163"/>
                  <a:gd name="T8" fmla="*/ 113 w 128"/>
                  <a:gd name="T9" fmla="*/ 119 h 163"/>
                  <a:gd name="T10" fmla="*/ 111 w 128"/>
                  <a:gd name="T11" fmla="*/ 121 h 163"/>
                  <a:gd name="T12" fmla="*/ 113 w 128"/>
                  <a:gd name="T13" fmla="*/ 124 h 163"/>
                  <a:gd name="T14" fmla="*/ 111 w 128"/>
                  <a:gd name="T15" fmla="*/ 126 h 163"/>
                  <a:gd name="T16" fmla="*/ 107 w 128"/>
                  <a:gd name="T17" fmla="*/ 130 h 163"/>
                  <a:gd name="T18" fmla="*/ 101 w 128"/>
                  <a:gd name="T19" fmla="*/ 132 h 163"/>
                  <a:gd name="T20" fmla="*/ 99 w 128"/>
                  <a:gd name="T21" fmla="*/ 138 h 163"/>
                  <a:gd name="T22" fmla="*/ 96 w 128"/>
                  <a:gd name="T23" fmla="*/ 147 h 163"/>
                  <a:gd name="T24" fmla="*/ 92 w 128"/>
                  <a:gd name="T25" fmla="*/ 153 h 163"/>
                  <a:gd name="T26" fmla="*/ 90 w 128"/>
                  <a:gd name="T27" fmla="*/ 159 h 163"/>
                  <a:gd name="T28" fmla="*/ 88 w 128"/>
                  <a:gd name="T29" fmla="*/ 163 h 163"/>
                  <a:gd name="T30" fmla="*/ 61 w 128"/>
                  <a:gd name="T31" fmla="*/ 143 h 163"/>
                  <a:gd name="T32" fmla="*/ 61 w 128"/>
                  <a:gd name="T33" fmla="*/ 138 h 163"/>
                  <a:gd name="T34" fmla="*/ 8 w 128"/>
                  <a:gd name="T35" fmla="*/ 107 h 163"/>
                  <a:gd name="T36" fmla="*/ 2 w 128"/>
                  <a:gd name="T37" fmla="*/ 96 h 163"/>
                  <a:gd name="T38" fmla="*/ 2 w 128"/>
                  <a:gd name="T39" fmla="*/ 84 h 163"/>
                  <a:gd name="T40" fmla="*/ 6 w 128"/>
                  <a:gd name="T41" fmla="*/ 79 h 163"/>
                  <a:gd name="T42" fmla="*/ 10 w 128"/>
                  <a:gd name="T43" fmla="*/ 75 h 163"/>
                  <a:gd name="T44" fmla="*/ 12 w 128"/>
                  <a:gd name="T45" fmla="*/ 69 h 163"/>
                  <a:gd name="T46" fmla="*/ 15 w 128"/>
                  <a:gd name="T47" fmla="*/ 65 h 163"/>
                  <a:gd name="T48" fmla="*/ 17 w 128"/>
                  <a:gd name="T49" fmla="*/ 59 h 163"/>
                  <a:gd name="T50" fmla="*/ 17 w 128"/>
                  <a:gd name="T51" fmla="*/ 48 h 163"/>
                  <a:gd name="T52" fmla="*/ 14 w 128"/>
                  <a:gd name="T53" fmla="*/ 44 h 163"/>
                  <a:gd name="T54" fmla="*/ 10 w 128"/>
                  <a:gd name="T55" fmla="*/ 38 h 163"/>
                  <a:gd name="T56" fmla="*/ 10 w 128"/>
                  <a:gd name="T57" fmla="*/ 33 h 163"/>
                  <a:gd name="T58" fmla="*/ 4 w 128"/>
                  <a:gd name="T59" fmla="*/ 29 h 163"/>
                  <a:gd name="T60" fmla="*/ 4 w 128"/>
                  <a:gd name="T61" fmla="*/ 27 h 163"/>
                  <a:gd name="T62" fmla="*/ 2 w 128"/>
                  <a:gd name="T63" fmla="*/ 23 h 163"/>
                  <a:gd name="T64" fmla="*/ 12 w 128"/>
                  <a:gd name="T65" fmla="*/ 12 h 163"/>
                  <a:gd name="T66" fmla="*/ 23 w 128"/>
                  <a:gd name="T67" fmla="*/ 2 h 163"/>
                  <a:gd name="T68" fmla="*/ 29 w 128"/>
                  <a:gd name="T69" fmla="*/ 2 h 163"/>
                  <a:gd name="T70" fmla="*/ 33 w 128"/>
                  <a:gd name="T71" fmla="*/ 6 h 163"/>
                  <a:gd name="T72" fmla="*/ 33 w 128"/>
                  <a:gd name="T73" fmla="*/ 14 h 163"/>
                  <a:gd name="T74" fmla="*/ 44 w 128"/>
                  <a:gd name="T75" fmla="*/ 17 h 163"/>
                  <a:gd name="T76" fmla="*/ 57 w 128"/>
                  <a:gd name="T77" fmla="*/ 23 h 163"/>
                  <a:gd name="T78" fmla="*/ 75 w 128"/>
                  <a:gd name="T79" fmla="*/ 31 h 163"/>
                  <a:gd name="T80" fmla="*/ 84 w 128"/>
                  <a:gd name="T81" fmla="*/ 33 h 163"/>
                  <a:gd name="T82" fmla="*/ 90 w 128"/>
                  <a:gd name="T83" fmla="*/ 35 h 163"/>
                  <a:gd name="T84" fmla="*/ 99 w 128"/>
                  <a:gd name="T85" fmla="*/ 25 h 163"/>
                  <a:gd name="T86" fmla="*/ 117 w 128"/>
                  <a:gd name="T87" fmla="*/ 25 h 163"/>
                  <a:gd name="T88" fmla="*/ 124 w 128"/>
                  <a:gd name="T89" fmla="*/ 25 h 163"/>
                  <a:gd name="T90" fmla="*/ 117 w 128"/>
                  <a:gd name="T91" fmla="*/ 122 h 163"/>
                  <a:gd name="T92" fmla="*/ 113 w 128"/>
                  <a:gd name="T93" fmla="*/ 124 h 163"/>
                  <a:gd name="T94" fmla="*/ 118 w 128"/>
                  <a:gd name="T95" fmla="*/ 12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8" h="163">
                    <a:moveTo>
                      <a:pt x="128" y="25"/>
                    </a:moveTo>
                    <a:lnTo>
                      <a:pt x="118" y="38"/>
                    </a:lnTo>
                    <a:lnTo>
                      <a:pt x="113" y="44"/>
                    </a:lnTo>
                    <a:lnTo>
                      <a:pt x="113" y="58"/>
                    </a:lnTo>
                    <a:lnTo>
                      <a:pt x="113" y="69"/>
                    </a:lnTo>
                    <a:lnTo>
                      <a:pt x="113" y="92"/>
                    </a:lnTo>
                    <a:lnTo>
                      <a:pt x="113" y="101"/>
                    </a:lnTo>
                    <a:lnTo>
                      <a:pt x="122" y="113"/>
                    </a:lnTo>
                    <a:lnTo>
                      <a:pt x="122" y="115"/>
                    </a:lnTo>
                    <a:lnTo>
                      <a:pt x="120" y="117"/>
                    </a:lnTo>
                    <a:lnTo>
                      <a:pt x="120" y="119"/>
                    </a:lnTo>
                    <a:lnTo>
                      <a:pt x="118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7" y="121"/>
                    </a:lnTo>
                    <a:lnTo>
                      <a:pt x="115" y="121"/>
                    </a:lnTo>
                    <a:lnTo>
                      <a:pt x="113" y="121"/>
                    </a:lnTo>
                    <a:lnTo>
                      <a:pt x="113" y="119"/>
                    </a:lnTo>
                    <a:lnTo>
                      <a:pt x="115" y="119"/>
                    </a:lnTo>
                    <a:lnTo>
                      <a:pt x="113" y="119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3" y="121"/>
                    </a:lnTo>
                    <a:lnTo>
                      <a:pt x="111" y="121"/>
                    </a:lnTo>
                    <a:lnTo>
                      <a:pt x="113" y="121"/>
                    </a:lnTo>
                    <a:lnTo>
                      <a:pt x="113" y="124"/>
                    </a:lnTo>
                    <a:lnTo>
                      <a:pt x="113" y="126"/>
                    </a:lnTo>
                    <a:lnTo>
                      <a:pt x="113" y="124"/>
                    </a:lnTo>
                    <a:lnTo>
                      <a:pt x="111" y="124"/>
                    </a:lnTo>
                    <a:lnTo>
                      <a:pt x="111" y="126"/>
                    </a:lnTo>
                    <a:lnTo>
                      <a:pt x="111" y="124"/>
                    </a:lnTo>
                    <a:lnTo>
                      <a:pt x="111" y="126"/>
                    </a:lnTo>
                    <a:lnTo>
                      <a:pt x="111" y="128"/>
                    </a:lnTo>
                    <a:lnTo>
                      <a:pt x="109" y="128"/>
                    </a:lnTo>
                    <a:lnTo>
                      <a:pt x="107" y="128"/>
                    </a:lnTo>
                    <a:lnTo>
                      <a:pt x="107" y="130"/>
                    </a:lnTo>
                    <a:lnTo>
                      <a:pt x="107" y="128"/>
                    </a:lnTo>
                    <a:lnTo>
                      <a:pt x="105" y="128"/>
                    </a:lnTo>
                    <a:lnTo>
                      <a:pt x="103" y="130"/>
                    </a:lnTo>
                    <a:lnTo>
                      <a:pt x="101" y="132"/>
                    </a:lnTo>
                    <a:lnTo>
                      <a:pt x="99" y="136"/>
                    </a:lnTo>
                    <a:lnTo>
                      <a:pt x="101" y="136"/>
                    </a:lnTo>
                    <a:lnTo>
                      <a:pt x="101" y="138"/>
                    </a:lnTo>
                    <a:lnTo>
                      <a:pt x="99" y="138"/>
                    </a:lnTo>
                    <a:lnTo>
                      <a:pt x="99" y="140"/>
                    </a:lnTo>
                    <a:lnTo>
                      <a:pt x="99" y="142"/>
                    </a:lnTo>
                    <a:lnTo>
                      <a:pt x="97" y="142"/>
                    </a:lnTo>
                    <a:lnTo>
                      <a:pt x="96" y="147"/>
                    </a:lnTo>
                    <a:lnTo>
                      <a:pt x="96" y="149"/>
                    </a:lnTo>
                    <a:lnTo>
                      <a:pt x="94" y="151"/>
                    </a:lnTo>
                    <a:lnTo>
                      <a:pt x="94" y="153"/>
                    </a:lnTo>
                    <a:lnTo>
                      <a:pt x="92" y="153"/>
                    </a:lnTo>
                    <a:lnTo>
                      <a:pt x="90" y="153"/>
                    </a:lnTo>
                    <a:lnTo>
                      <a:pt x="92" y="153"/>
                    </a:lnTo>
                    <a:lnTo>
                      <a:pt x="92" y="155"/>
                    </a:lnTo>
                    <a:lnTo>
                      <a:pt x="90" y="159"/>
                    </a:lnTo>
                    <a:lnTo>
                      <a:pt x="90" y="161"/>
                    </a:lnTo>
                    <a:lnTo>
                      <a:pt x="88" y="163"/>
                    </a:lnTo>
                    <a:lnTo>
                      <a:pt x="88" y="161"/>
                    </a:lnTo>
                    <a:lnTo>
                      <a:pt x="88" y="163"/>
                    </a:lnTo>
                    <a:lnTo>
                      <a:pt x="86" y="163"/>
                    </a:lnTo>
                    <a:lnTo>
                      <a:pt x="63" y="147"/>
                    </a:lnTo>
                    <a:lnTo>
                      <a:pt x="61" y="145"/>
                    </a:lnTo>
                    <a:lnTo>
                      <a:pt x="61" y="143"/>
                    </a:lnTo>
                    <a:lnTo>
                      <a:pt x="59" y="145"/>
                    </a:lnTo>
                    <a:lnTo>
                      <a:pt x="59" y="143"/>
                    </a:lnTo>
                    <a:lnTo>
                      <a:pt x="61" y="142"/>
                    </a:lnTo>
                    <a:lnTo>
                      <a:pt x="61" y="138"/>
                    </a:lnTo>
                    <a:lnTo>
                      <a:pt x="55" y="134"/>
                    </a:lnTo>
                    <a:lnTo>
                      <a:pt x="35" y="122"/>
                    </a:lnTo>
                    <a:lnTo>
                      <a:pt x="23" y="115"/>
                    </a:lnTo>
                    <a:lnTo>
                      <a:pt x="8" y="107"/>
                    </a:lnTo>
                    <a:lnTo>
                      <a:pt x="6" y="107"/>
                    </a:lnTo>
                    <a:lnTo>
                      <a:pt x="4" y="105"/>
                    </a:lnTo>
                    <a:lnTo>
                      <a:pt x="2" y="105"/>
                    </a:lnTo>
                    <a:lnTo>
                      <a:pt x="2" y="96"/>
                    </a:lnTo>
                    <a:lnTo>
                      <a:pt x="2" y="92"/>
                    </a:lnTo>
                    <a:lnTo>
                      <a:pt x="2" y="90"/>
                    </a:lnTo>
                    <a:lnTo>
                      <a:pt x="0" y="86"/>
                    </a:lnTo>
                    <a:lnTo>
                      <a:pt x="2" y="84"/>
                    </a:lnTo>
                    <a:lnTo>
                      <a:pt x="4" y="82"/>
                    </a:lnTo>
                    <a:lnTo>
                      <a:pt x="4" y="80"/>
                    </a:lnTo>
                    <a:lnTo>
                      <a:pt x="4" y="79"/>
                    </a:lnTo>
                    <a:lnTo>
                      <a:pt x="6" y="79"/>
                    </a:lnTo>
                    <a:lnTo>
                      <a:pt x="8" y="77"/>
                    </a:lnTo>
                    <a:lnTo>
                      <a:pt x="10" y="75"/>
                    </a:lnTo>
                    <a:lnTo>
                      <a:pt x="8" y="75"/>
                    </a:lnTo>
                    <a:lnTo>
                      <a:pt x="10" y="75"/>
                    </a:lnTo>
                    <a:lnTo>
                      <a:pt x="10" y="73"/>
                    </a:lnTo>
                    <a:lnTo>
                      <a:pt x="10" y="71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4" y="69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7" y="63"/>
                    </a:lnTo>
                    <a:lnTo>
                      <a:pt x="17" y="61"/>
                    </a:lnTo>
                    <a:lnTo>
                      <a:pt x="17" y="59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7" y="50"/>
                    </a:lnTo>
                    <a:lnTo>
                      <a:pt x="17" y="48"/>
                    </a:lnTo>
                    <a:lnTo>
                      <a:pt x="15" y="48"/>
                    </a:lnTo>
                    <a:lnTo>
                      <a:pt x="14" y="46"/>
                    </a:lnTo>
                    <a:lnTo>
                      <a:pt x="15" y="44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0" y="38"/>
                    </a:lnTo>
                    <a:lnTo>
                      <a:pt x="10" y="37"/>
                    </a:lnTo>
                    <a:lnTo>
                      <a:pt x="8" y="35"/>
                    </a:lnTo>
                    <a:lnTo>
                      <a:pt x="8" y="33"/>
                    </a:lnTo>
                    <a:lnTo>
                      <a:pt x="10" y="33"/>
                    </a:lnTo>
                    <a:lnTo>
                      <a:pt x="10" y="31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4" y="27"/>
                    </a:lnTo>
                    <a:lnTo>
                      <a:pt x="6" y="27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2" y="21"/>
                    </a:lnTo>
                    <a:lnTo>
                      <a:pt x="4" y="19"/>
                    </a:lnTo>
                    <a:lnTo>
                      <a:pt x="12" y="12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33" y="6"/>
                    </a:lnTo>
                    <a:lnTo>
                      <a:pt x="31" y="8"/>
                    </a:lnTo>
                    <a:lnTo>
                      <a:pt x="31" y="10"/>
                    </a:lnTo>
                    <a:lnTo>
                      <a:pt x="31" y="12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3" y="17"/>
                    </a:lnTo>
                    <a:lnTo>
                      <a:pt x="42" y="17"/>
                    </a:lnTo>
                    <a:lnTo>
                      <a:pt x="44" y="17"/>
                    </a:lnTo>
                    <a:lnTo>
                      <a:pt x="48" y="17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7" y="23"/>
                    </a:lnTo>
                    <a:lnTo>
                      <a:pt x="65" y="29"/>
                    </a:lnTo>
                    <a:lnTo>
                      <a:pt x="69" y="31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6" y="31"/>
                    </a:lnTo>
                    <a:lnTo>
                      <a:pt x="80" y="33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6" y="33"/>
                    </a:lnTo>
                    <a:lnTo>
                      <a:pt x="88" y="33"/>
                    </a:lnTo>
                    <a:lnTo>
                      <a:pt x="90" y="33"/>
                    </a:lnTo>
                    <a:lnTo>
                      <a:pt x="90" y="35"/>
                    </a:lnTo>
                    <a:lnTo>
                      <a:pt x="92" y="33"/>
                    </a:lnTo>
                    <a:lnTo>
                      <a:pt x="94" y="31"/>
                    </a:lnTo>
                    <a:lnTo>
                      <a:pt x="96" y="27"/>
                    </a:lnTo>
                    <a:lnTo>
                      <a:pt x="99" y="25"/>
                    </a:lnTo>
                    <a:lnTo>
                      <a:pt x="111" y="21"/>
                    </a:lnTo>
                    <a:lnTo>
                      <a:pt x="113" y="21"/>
                    </a:lnTo>
                    <a:lnTo>
                      <a:pt x="113" y="23"/>
                    </a:lnTo>
                    <a:lnTo>
                      <a:pt x="117" y="25"/>
                    </a:lnTo>
                    <a:lnTo>
                      <a:pt x="118" y="25"/>
                    </a:lnTo>
                    <a:lnTo>
                      <a:pt x="120" y="25"/>
                    </a:lnTo>
                    <a:lnTo>
                      <a:pt x="122" y="25"/>
                    </a:lnTo>
                    <a:lnTo>
                      <a:pt x="124" y="25"/>
                    </a:lnTo>
                    <a:lnTo>
                      <a:pt x="126" y="25"/>
                    </a:lnTo>
                    <a:lnTo>
                      <a:pt x="128" y="25"/>
                    </a:lnTo>
                    <a:close/>
                    <a:moveTo>
                      <a:pt x="115" y="121"/>
                    </a:moveTo>
                    <a:lnTo>
                      <a:pt x="117" y="122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5" y="124"/>
                    </a:lnTo>
                    <a:lnTo>
                      <a:pt x="113" y="124"/>
                    </a:lnTo>
                    <a:lnTo>
                      <a:pt x="113" y="122"/>
                    </a:lnTo>
                    <a:lnTo>
                      <a:pt x="115" y="121"/>
                    </a:lnTo>
                    <a:close/>
                    <a:moveTo>
                      <a:pt x="117" y="121"/>
                    </a:moveTo>
                    <a:lnTo>
                      <a:pt x="118" y="121"/>
                    </a:lnTo>
                    <a:lnTo>
                      <a:pt x="117" y="1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4" name="Freeform 97">
                <a:extLst>
                  <a:ext uri="{FF2B5EF4-FFF2-40B4-BE49-F238E27FC236}">
                    <a16:creationId xmlns:a16="http://schemas.microsoft.com/office/drawing/2014/main" id="{599BAF98-7903-D41B-BF27-DBA3D17C3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20124" y="-2214417"/>
                <a:ext cx="261546" cy="347279"/>
              </a:xfrm>
              <a:custGeom>
                <a:avLst/>
                <a:gdLst>
                  <a:gd name="T0" fmla="*/ 0 w 166"/>
                  <a:gd name="T1" fmla="*/ 197 h 220"/>
                  <a:gd name="T2" fmla="*/ 5 w 166"/>
                  <a:gd name="T3" fmla="*/ 143 h 220"/>
                  <a:gd name="T4" fmla="*/ 17 w 166"/>
                  <a:gd name="T5" fmla="*/ 126 h 220"/>
                  <a:gd name="T6" fmla="*/ 24 w 166"/>
                  <a:gd name="T7" fmla="*/ 126 h 220"/>
                  <a:gd name="T8" fmla="*/ 32 w 166"/>
                  <a:gd name="T9" fmla="*/ 122 h 220"/>
                  <a:gd name="T10" fmla="*/ 44 w 166"/>
                  <a:gd name="T11" fmla="*/ 117 h 220"/>
                  <a:gd name="T12" fmla="*/ 80 w 166"/>
                  <a:gd name="T13" fmla="*/ 100 h 220"/>
                  <a:gd name="T14" fmla="*/ 95 w 166"/>
                  <a:gd name="T15" fmla="*/ 65 h 220"/>
                  <a:gd name="T16" fmla="*/ 47 w 166"/>
                  <a:gd name="T17" fmla="*/ 50 h 220"/>
                  <a:gd name="T18" fmla="*/ 38 w 166"/>
                  <a:gd name="T19" fmla="*/ 40 h 220"/>
                  <a:gd name="T20" fmla="*/ 30 w 166"/>
                  <a:gd name="T21" fmla="*/ 29 h 220"/>
                  <a:gd name="T22" fmla="*/ 32 w 166"/>
                  <a:gd name="T23" fmla="*/ 18 h 220"/>
                  <a:gd name="T24" fmla="*/ 40 w 166"/>
                  <a:gd name="T25" fmla="*/ 14 h 220"/>
                  <a:gd name="T26" fmla="*/ 53 w 166"/>
                  <a:gd name="T27" fmla="*/ 27 h 220"/>
                  <a:gd name="T28" fmla="*/ 63 w 166"/>
                  <a:gd name="T29" fmla="*/ 27 h 220"/>
                  <a:gd name="T30" fmla="*/ 68 w 166"/>
                  <a:gd name="T31" fmla="*/ 25 h 220"/>
                  <a:gd name="T32" fmla="*/ 76 w 166"/>
                  <a:gd name="T33" fmla="*/ 19 h 220"/>
                  <a:gd name="T34" fmla="*/ 84 w 166"/>
                  <a:gd name="T35" fmla="*/ 21 h 220"/>
                  <a:gd name="T36" fmla="*/ 93 w 166"/>
                  <a:gd name="T37" fmla="*/ 19 h 220"/>
                  <a:gd name="T38" fmla="*/ 99 w 166"/>
                  <a:gd name="T39" fmla="*/ 16 h 220"/>
                  <a:gd name="T40" fmla="*/ 108 w 166"/>
                  <a:gd name="T41" fmla="*/ 16 h 220"/>
                  <a:gd name="T42" fmla="*/ 118 w 166"/>
                  <a:gd name="T43" fmla="*/ 14 h 220"/>
                  <a:gd name="T44" fmla="*/ 127 w 166"/>
                  <a:gd name="T45" fmla="*/ 14 h 220"/>
                  <a:gd name="T46" fmla="*/ 137 w 166"/>
                  <a:gd name="T47" fmla="*/ 10 h 220"/>
                  <a:gd name="T48" fmla="*/ 145 w 166"/>
                  <a:gd name="T49" fmla="*/ 10 h 220"/>
                  <a:gd name="T50" fmla="*/ 152 w 166"/>
                  <a:gd name="T51" fmla="*/ 4 h 220"/>
                  <a:gd name="T52" fmla="*/ 158 w 166"/>
                  <a:gd name="T53" fmla="*/ 2 h 220"/>
                  <a:gd name="T54" fmla="*/ 164 w 166"/>
                  <a:gd name="T55" fmla="*/ 6 h 220"/>
                  <a:gd name="T56" fmla="*/ 162 w 166"/>
                  <a:gd name="T57" fmla="*/ 14 h 220"/>
                  <a:gd name="T58" fmla="*/ 162 w 166"/>
                  <a:gd name="T59" fmla="*/ 25 h 220"/>
                  <a:gd name="T60" fmla="*/ 162 w 166"/>
                  <a:gd name="T61" fmla="*/ 25 h 220"/>
                  <a:gd name="T62" fmla="*/ 164 w 166"/>
                  <a:gd name="T63" fmla="*/ 27 h 220"/>
                  <a:gd name="T64" fmla="*/ 158 w 166"/>
                  <a:gd name="T65" fmla="*/ 31 h 220"/>
                  <a:gd name="T66" fmla="*/ 156 w 166"/>
                  <a:gd name="T67" fmla="*/ 39 h 220"/>
                  <a:gd name="T68" fmla="*/ 156 w 166"/>
                  <a:gd name="T69" fmla="*/ 44 h 220"/>
                  <a:gd name="T70" fmla="*/ 150 w 166"/>
                  <a:gd name="T71" fmla="*/ 52 h 220"/>
                  <a:gd name="T72" fmla="*/ 147 w 166"/>
                  <a:gd name="T73" fmla="*/ 60 h 220"/>
                  <a:gd name="T74" fmla="*/ 143 w 166"/>
                  <a:gd name="T75" fmla="*/ 65 h 220"/>
                  <a:gd name="T76" fmla="*/ 139 w 166"/>
                  <a:gd name="T77" fmla="*/ 71 h 220"/>
                  <a:gd name="T78" fmla="*/ 129 w 166"/>
                  <a:gd name="T79" fmla="*/ 90 h 220"/>
                  <a:gd name="T80" fmla="*/ 116 w 166"/>
                  <a:gd name="T81" fmla="*/ 115 h 220"/>
                  <a:gd name="T82" fmla="*/ 103 w 166"/>
                  <a:gd name="T83" fmla="*/ 130 h 220"/>
                  <a:gd name="T84" fmla="*/ 86 w 166"/>
                  <a:gd name="T85" fmla="*/ 151 h 220"/>
                  <a:gd name="T86" fmla="*/ 70 w 166"/>
                  <a:gd name="T87" fmla="*/ 161 h 220"/>
                  <a:gd name="T88" fmla="*/ 57 w 166"/>
                  <a:gd name="T89" fmla="*/ 168 h 220"/>
                  <a:gd name="T90" fmla="*/ 47 w 166"/>
                  <a:gd name="T91" fmla="*/ 176 h 220"/>
                  <a:gd name="T92" fmla="*/ 30 w 166"/>
                  <a:gd name="T93" fmla="*/ 193 h 220"/>
                  <a:gd name="T94" fmla="*/ 23 w 166"/>
                  <a:gd name="T95" fmla="*/ 201 h 220"/>
                  <a:gd name="T96" fmla="*/ 17 w 166"/>
                  <a:gd name="T97" fmla="*/ 208 h 220"/>
                  <a:gd name="T98" fmla="*/ 17 w 166"/>
                  <a:gd name="T99" fmla="*/ 208 h 220"/>
                  <a:gd name="T100" fmla="*/ 17 w 166"/>
                  <a:gd name="T101" fmla="*/ 210 h 220"/>
                  <a:gd name="T102" fmla="*/ 13 w 166"/>
                  <a:gd name="T103" fmla="*/ 212 h 220"/>
                  <a:gd name="T104" fmla="*/ 13 w 166"/>
                  <a:gd name="T105" fmla="*/ 212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6" h="220">
                    <a:moveTo>
                      <a:pt x="9" y="220"/>
                    </a:moveTo>
                    <a:lnTo>
                      <a:pt x="9" y="218"/>
                    </a:lnTo>
                    <a:lnTo>
                      <a:pt x="0" y="206"/>
                    </a:lnTo>
                    <a:lnTo>
                      <a:pt x="0" y="197"/>
                    </a:lnTo>
                    <a:lnTo>
                      <a:pt x="0" y="174"/>
                    </a:lnTo>
                    <a:lnTo>
                      <a:pt x="0" y="163"/>
                    </a:lnTo>
                    <a:lnTo>
                      <a:pt x="0" y="149"/>
                    </a:lnTo>
                    <a:lnTo>
                      <a:pt x="5" y="143"/>
                    </a:lnTo>
                    <a:lnTo>
                      <a:pt x="15" y="130"/>
                    </a:lnTo>
                    <a:lnTo>
                      <a:pt x="15" y="128"/>
                    </a:lnTo>
                    <a:lnTo>
                      <a:pt x="17" y="128"/>
                    </a:lnTo>
                    <a:lnTo>
                      <a:pt x="17" y="126"/>
                    </a:lnTo>
                    <a:lnTo>
                      <a:pt x="19" y="126"/>
                    </a:lnTo>
                    <a:lnTo>
                      <a:pt x="19" y="128"/>
                    </a:lnTo>
                    <a:lnTo>
                      <a:pt x="19" y="126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30" y="126"/>
                    </a:lnTo>
                    <a:lnTo>
                      <a:pt x="32" y="124"/>
                    </a:lnTo>
                    <a:lnTo>
                      <a:pt x="32" y="122"/>
                    </a:lnTo>
                    <a:lnTo>
                      <a:pt x="32" y="121"/>
                    </a:lnTo>
                    <a:lnTo>
                      <a:pt x="34" y="121"/>
                    </a:lnTo>
                    <a:lnTo>
                      <a:pt x="40" y="117"/>
                    </a:lnTo>
                    <a:lnTo>
                      <a:pt x="44" y="117"/>
                    </a:lnTo>
                    <a:lnTo>
                      <a:pt x="49" y="115"/>
                    </a:lnTo>
                    <a:lnTo>
                      <a:pt x="65" y="115"/>
                    </a:lnTo>
                    <a:lnTo>
                      <a:pt x="74" y="103"/>
                    </a:lnTo>
                    <a:lnTo>
                      <a:pt x="80" y="100"/>
                    </a:lnTo>
                    <a:lnTo>
                      <a:pt x="82" y="96"/>
                    </a:lnTo>
                    <a:lnTo>
                      <a:pt x="103" y="77"/>
                    </a:lnTo>
                    <a:lnTo>
                      <a:pt x="112" y="65"/>
                    </a:lnTo>
                    <a:lnTo>
                      <a:pt x="95" y="65"/>
                    </a:lnTo>
                    <a:lnTo>
                      <a:pt x="84" y="61"/>
                    </a:lnTo>
                    <a:lnTo>
                      <a:pt x="72" y="58"/>
                    </a:lnTo>
                    <a:lnTo>
                      <a:pt x="49" y="50"/>
                    </a:lnTo>
                    <a:lnTo>
                      <a:pt x="47" y="50"/>
                    </a:lnTo>
                    <a:lnTo>
                      <a:pt x="42" y="44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38" y="40"/>
                    </a:lnTo>
                    <a:lnTo>
                      <a:pt x="36" y="37"/>
                    </a:lnTo>
                    <a:lnTo>
                      <a:pt x="34" y="35"/>
                    </a:lnTo>
                    <a:lnTo>
                      <a:pt x="32" y="33"/>
                    </a:lnTo>
                    <a:lnTo>
                      <a:pt x="30" y="29"/>
                    </a:lnTo>
                    <a:lnTo>
                      <a:pt x="28" y="25"/>
                    </a:lnTo>
                    <a:lnTo>
                      <a:pt x="26" y="23"/>
                    </a:lnTo>
                    <a:lnTo>
                      <a:pt x="28" y="23"/>
                    </a:lnTo>
                    <a:lnTo>
                      <a:pt x="32" y="18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0" y="14"/>
                    </a:lnTo>
                    <a:lnTo>
                      <a:pt x="42" y="14"/>
                    </a:lnTo>
                    <a:lnTo>
                      <a:pt x="44" y="18"/>
                    </a:lnTo>
                    <a:lnTo>
                      <a:pt x="47" y="21"/>
                    </a:lnTo>
                    <a:lnTo>
                      <a:pt x="53" y="27"/>
                    </a:lnTo>
                    <a:lnTo>
                      <a:pt x="55" y="27"/>
                    </a:lnTo>
                    <a:lnTo>
                      <a:pt x="57" y="27"/>
                    </a:lnTo>
                    <a:lnTo>
                      <a:pt x="61" y="27"/>
                    </a:lnTo>
                    <a:lnTo>
                      <a:pt x="63" y="27"/>
                    </a:lnTo>
                    <a:lnTo>
                      <a:pt x="65" y="27"/>
                    </a:lnTo>
                    <a:lnTo>
                      <a:pt x="65" y="25"/>
                    </a:lnTo>
                    <a:lnTo>
                      <a:pt x="66" y="25"/>
                    </a:lnTo>
                    <a:lnTo>
                      <a:pt x="68" y="25"/>
                    </a:lnTo>
                    <a:lnTo>
                      <a:pt x="70" y="23"/>
                    </a:lnTo>
                    <a:lnTo>
                      <a:pt x="72" y="23"/>
                    </a:lnTo>
                    <a:lnTo>
                      <a:pt x="74" y="21"/>
                    </a:lnTo>
                    <a:lnTo>
                      <a:pt x="76" y="19"/>
                    </a:lnTo>
                    <a:lnTo>
                      <a:pt x="78" y="19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4" y="21"/>
                    </a:lnTo>
                    <a:lnTo>
                      <a:pt x="86" y="21"/>
                    </a:lnTo>
                    <a:lnTo>
                      <a:pt x="87" y="23"/>
                    </a:lnTo>
                    <a:lnTo>
                      <a:pt x="91" y="21"/>
                    </a:lnTo>
                    <a:lnTo>
                      <a:pt x="93" y="19"/>
                    </a:lnTo>
                    <a:lnTo>
                      <a:pt x="95" y="19"/>
                    </a:lnTo>
                    <a:lnTo>
                      <a:pt x="95" y="18"/>
                    </a:lnTo>
                    <a:lnTo>
                      <a:pt x="97" y="18"/>
                    </a:lnTo>
                    <a:lnTo>
                      <a:pt x="99" y="16"/>
                    </a:lnTo>
                    <a:lnTo>
                      <a:pt x="103" y="14"/>
                    </a:lnTo>
                    <a:lnTo>
                      <a:pt x="105" y="14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6" y="14"/>
                    </a:lnTo>
                    <a:lnTo>
                      <a:pt x="118" y="14"/>
                    </a:lnTo>
                    <a:lnTo>
                      <a:pt x="120" y="12"/>
                    </a:lnTo>
                    <a:lnTo>
                      <a:pt x="122" y="12"/>
                    </a:lnTo>
                    <a:lnTo>
                      <a:pt x="126" y="14"/>
                    </a:lnTo>
                    <a:lnTo>
                      <a:pt x="127" y="14"/>
                    </a:lnTo>
                    <a:lnTo>
                      <a:pt x="131" y="12"/>
                    </a:lnTo>
                    <a:lnTo>
                      <a:pt x="133" y="12"/>
                    </a:lnTo>
                    <a:lnTo>
                      <a:pt x="135" y="12"/>
                    </a:lnTo>
                    <a:lnTo>
                      <a:pt x="137" y="10"/>
                    </a:lnTo>
                    <a:lnTo>
                      <a:pt x="139" y="10"/>
                    </a:lnTo>
                    <a:lnTo>
                      <a:pt x="141" y="10"/>
                    </a:lnTo>
                    <a:lnTo>
                      <a:pt x="143" y="8"/>
                    </a:lnTo>
                    <a:lnTo>
                      <a:pt x="145" y="10"/>
                    </a:lnTo>
                    <a:lnTo>
                      <a:pt x="147" y="8"/>
                    </a:lnTo>
                    <a:lnTo>
                      <a:pt x="148" y="8"/>
                    </a:lnTo>
                    <a:lnTo>
                      <a:pt x="150" y="6"/>
                    </a:lnTo>
                    <a:lnTo>
                      <a:pt x="152" y="4"/>
                    </a:lnTo>
                    <a:lnTo>
                      <a:pt x="152" y="2"/>
                    </a:lnTo>
                    <a:lnTo>
                      <a:pt x="154" y="2"/>
                    </a:lnTo>
                    <a:lnTo>
                      <a:pt x="156" y="0"/>
                    </a:lnTo>
                    <a:lnTo>
                      <a:pt x="158" y="2"/>
                    </a:lnTo>
                    <a:lnTo>
                      <a:pt x="160" y="2"/>
                    </a:lnTo>
                    <a:lnTo>
                      <a:pt x="162" y="2"/>
                    </a:lnTo>
                    <a:lnTo>
                      <a:pt x="164" y="4"/>
                    </a:lnTo>
                    <a:lnTo>
                      <a:pt x="164" y="6"/>
                    </a:lnTo>
                    <a:lnTo>
                      <a:pt x="162" y="10"/>
                    </a:lnTo>
                    <a:lnTo>
                      <a:pt x="162" y="12"/>
                    </a:lnTo>
                    <a:lnTo>
                      <a:pt x="160" y="14"/>
                    </a:lnTo>
                    <a:lnTo>
                      <a:pt x="162" y="14"/>
                    </a:lnTo>
                    <a:lnTo>
                      <a:pt x="162" y="16"/>
                    </a:lnTo>
                    <a:lnTo>
                      <a:pt x="162" y="18"/>
                    </a:lnTo>
                    <a:lnTo>
                      <a:pt x="162" y="23"/>
                    </a:lnTo>
                    <a:lnTo>
                      <a:pt x="162" y="25"/>
                    </a:lnTo>
                    <a:lnTo>
                      <a:pt x="160" y="27"/>
                    </a:lnTo>
                    <a:lnTo>
                      <a:pt x="162" y="27"/>
                    </a:lnTo>
                    <a:lnTo>
                      <a:pt x="164" y="27"/>
                    </a:lnTo>
                    <a:lnTo>
                      <a:pt x="162" y="25"/>
                    </a:lnTo>
                    <a:lnTo>
                      <a:pt x="164" y="25"/>
                    </a:lnTo>
                    <a:lnTo>
                      <a:pt x="166" y="25"/>
                    </a:lnTo>
                    <a:lnTo>
                      <a:pt x="166" y="27"/>
                    </a:lnTo>
                    <a:lnTo>
                      <a:pt x="164" y="27"/>
                    </a:lnTo>
                    <a:lnTo>
                      <a:pt x="162" y="27"/>
                    </a:lnTo>
                    <a:lnTo>
                      <a:pt x="160" y="27"/>
                    </a:lnTo>
                    <a:lnTo>
                      <a:pt x="158" y="29"/>
                    </a:lnTo>
                    <a:lnTo>
                      <a:pt x="158" y="31"/>
                    </a:lnTo>
                    <a:lnTo>
                      <a:pt x="158" y="33"/>
                    </a:lnTo>
                    <a:lnTo>
                      <a:pt x="158" y="35"/>
                    </a:lnTo>
                    <a:lnTo>
                      <a:pt x="158" y="37"/>
                    </a:lnTo>
                    <a:lnTo>
                      <a:pt x="156" y="39"/>
                    </a:lnTo>
                    <a:lnTo>
                      <a:pt x="156" y="40"/>
                    </a:lnTo>
                    <a:lnTo>
                      <a:pt x="158" y="42"/>
                    </a:lnTo>
                    <a:lnTo>
                      <a:pt x="156" y="42"/>
                    </a:lnTo>
                    <a:lnTo>
                      <a:pt x="156" y="44"/>
                    </a:lnTo>
                    <a:lnTo>
                      <a:pt x="154" y="44"/>
                    </a:lnTo>
                    <a:lnTo>
                      <a:pt x="154" y="46"/>
                    </a:lnTo>
                    <a:lnTo>
                      <a:pt x="154" y="48"/>
                    </a:lnTo>
                    <a:lnTo>
                      <a:pt x="150" y="52"/>
                    </a:lnTo>
                    <a:lnTo>
                      <a:pt x="150" y="54"/>
                    </a:lnTo>
                    <a:lnTo>
                      <a:pt x="148" y="56"/>
                    </a:lnTo>
                    <a:lnTo>
                      <a:pt x="148" y="58"/>
                    </a:lnTo>
                    <a:lnTo>
                      <a:pt x="147" y="60"/>
                    </a:lnTo>
                    <a:lnTo>
                      <a:pt x="147" y="61"/>
                    </a:lnTo>
                    <a:lnTo>
                      <a:pt x="147" y="63"/>
                    </a:lnTo>
                    <a:lnTo>
                      <a:pt x="145" y="63"/>
                    </a:lnTo>
                    <a:lnTo>
                      <a:pt x="143" y="65"/>
                    </a:lnTo>
                    <a:lnTo>
                      <a:pt x="141" y="67"/>
                    </a:lnTo>
                    <a:lnTo>
                      <a:pt x="141" y="69"/>
                    </a:lnTo>
                    <a:lnTo>
                      <a:pt x="141" y="71"/>
                    </a:lnTo>
                    <a:lnTo>
                      <a:pt x="139" y="71"/>
                    </a:lnTo>
                    <a:lnTo>
                      <a:pt x="139" y="75"/>
                    </a:lnTo>
                    <a:lnTo>
                      <a:pt x="133" y="81"/>
                    </a:lnTo>
                    <a:lnTo>
                      <a:pt x="131" y="86"/>
                    </a:lnTo>
                    <a:lnTo>
                      <a:pt x="129" y="90"/>
                    </a:lnTo>
                    <a:lnTo>
                      <a:pt x="129" y="94"/>
                    </a:lnTo>
                    <a:lnTo>
                      <a:pt x="127" y="98"/>
                    </a:lnTo>
                    <a:lnTo>
                      <a:pt x="122" y="105"/>
                    </a:lnTo>
                    <a:lnTo>
                      <a:pt x="116" y="115"/>
                    </a:lnTo>
                    <a:lnTo>
                      <a:pt x="112" y="119"/>
                    </a:lnTo>
                    <a:lnTo>
                      <a:pt x="110" y="122"/>
                    </a:lnTo>
                    <a:lnTo>
                      <a:pt x="106" y="128"/>
                    </a:lnTo>
                    <a:lnTo>
                      <a:pt x="103" y="130"/>
                    </a:lnTo>
                    <a:lnTo>
                      <a:pt x="99" y="136"/>
                    </a:lnTo>
                    <a:lnTo>
                      <a:pt x="91" y="145"/>
                    </a:lnTo>
                    <a:lnTo>
                      <a:pt x="86" y="149"/>
                    </a:lnTo>
                    <a:lnTo>
                      <a:pt x="86" y="151"/>
                    </a:lnTo>
                    <a:lnTo>
                      <a:pt x="84" y="151"/>
                    </a:lnTo>
                    <a:lnTo>
                      <a:pt x="82" y="153"/>
                    </a:lnTo>
                    <a:lnTo>
                      <a:pt x="80" y="155"/>
                    </a:lnTo>
                    <a:lnTo>
                      <a:pt x="70" y="161"/>
                    </a:lnTo>
                    <a:lnTo>
                      <a:pt x="65" y="163"/>
                    </a:lnTo>
                    <a:lnTo>
                      <a:pt x="61" y="166"/>
                    </a:lnTo>
                    <a:lnTo>
                      <a:pt x="59" y="168"/>
                    </a:lnTo>
                    <a:lnTo>
                      <a:pt x="57" y="168"/>
                    </a:lnTo>
                    <a:lnTo>
                      <a:pt x="53" y="172"/>
                    </a:lnTo>
                    <a:lnTo>
                      <a:pt x="51" y="174"/>
                    </a:lnTo>
                    <a:lnTo>
                      <a:pt x="49" y="176"/>
                    </a:lnTo>
                    <a:lnTo>
                      <a:pt x="47" y="176"/>
                    </a:lnTo>
                    <a:lnTo>
                      <a:pt x="47" y="178"/>
                    </a:lnTo>
                    <a:lnTo>
                      <a:pt x="45" y="180"/>
                    </a:lnTo>
                    <a:lnTo>
                      <a:pt x="40" y="184"/>
                    </a:lnTo>
                    <a:lnTo>
                      <a:pt x="30" y="193"/>
                    </a:lnTo>
                    <a:lnTo>
                      <a:pt x="26" y="197"/>
                    </a:lnTo>
                    <a:lnTo>
                      <a:pt x="24" y="199"/>
                    </a:lnTo>
                    <a:lnTo>
                      <a:pt x="24" y="201"/>
                    </a:lnTo>
                    <a:lnTo>
                      <a:pt x="23" y="201"/>
                    </a:lnTo>
                    <a:lnTo>
                      <a:pt x="19" y="206"/>
                    </a:lnTo>
                    <a:lnTo>
                      <a:pt x="17" y="206"/>
                    </a:lnTo>
                    <a:lnTo>
                      <a:pt x="19" y="206"/>
                    </a:lnTo>
                    <a:lnTo>
                      <a:pt x="17" y="208"/>
                    </a:lnTo>
                    <a:lnTo>
                      <a:pt x="17" y="210"/>
                    </a:lnTo>
                    <a:lnTo>
                      <a:pt x="17" y="208"/>
                    </a:lnTo>
                    <a:lnTo>
                      <a:pt x="15" y="208"/>
                    </a:lnTo>
                    <a:lnTo>
                      <a:pt x="17" y="208"/>
                    </a:lnTo>
                    <a:lnTo>
                      <a:pt x="15" y="208"/>
                    </a:lnTo>
                    <a:lnTo>
                      <a:pt x="17" y="208"/>
                    </a:lnTo>
                    <a:lnTo>
                      <a:pt x="15" y="208"/>
                    </a:lnTo>
                    <a:lnTo>
                      <a:pt x="17" y="210"/>
                    </a:lnTo>
                    <a:lnTo>
                      <a:pt x="15" y="210"/>
                    </a:lnTo>
                    <a:lnTo>
                      <a:pt x="17" y="210"/>
                    </a:lnTo>
                    <a:lnTo>
                      <a:pt x="15" y="212"/>
                    </a:lnTo>
                    <a:lnTo>
                      <a:pt x="13" y="212"/>
                    </a:lnTo>
                    <a:lnTo>
                      <a:pt x="13" y="210"/>
                    </a:lnTo>
                    <a:lnTo>
                      <a:pt x="13" y="212"/>
                    </a:lnTo>
                    <a:lnTo>
                      <a:pt x="11" y="212"/>
                    </a:lnTo>
                    <a:lnTo>
                      <a:pt x="13" y="212"/>
                    </a:lnTo>
                    <a:lnTo>
                      <a:pt x="13" y="214"/>
                    </a:lnTo>
                    <a:lnTo>
                      <a:pt x="9" y="22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6" name="Freeform 98">
                <a:extLst>
                  <a:ext uri="{FF2B5EF4-FFF2-40B4-BE49-F238E27FC236}">
                    <a16:creationId xmlns:a16="http://schemas.microsoft.com/office/drawing/2014/main" id="{772C7D3A-DF68-DB70-C013-1E467DAC665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18945" y="-2086553"/>
                <a:ext cx="17332" cy="195740"/>
              </a:xfrm>
              <a:custGeom>
                <a:avLst/>
                <a:gdLst>
                  <a:gd name="T0" fmla="*/ 4 w 11"/>
                  <a:gd name="T1" fmla="*/ 122 h 124"/>
                  <a:gd name="T2" fmla="*/ 6 w 11"/>
                  <a:gd name="T3" fmla="*/ 122 h 124"/>
                  <a:gd name="T4" fmla="*/ 6 w 11"/>
                  <a:gd name="T5" fmla="*/ 124 h 124"/>
                  <a:gd name="T6" fmla="*/ 4 w 11"/>
                  <a:gd name="T7" fmla="*/ 124 h 124"/>
                  <a:gd name="T8" fmla="*/ 4 w 11"/>
                  <a:gd name="T9" fmla="*/ 122 h 124"/>
                  <a:gd name="T10" fmla="*/ 11 w 11"/>
                  <a:gd name="T11" fmla="*/ 82 h 124"/>
                  <a:gd name="T12" fmla="*/ 11 w 11"/>
                  <a:gd name="T13" fmla="*/ 83 h 124"/>
                  <a:gd name="T14" fmla="*/ 11 w 11"/>
                  <a:gd name="T15" fmla="*/ 82 h 124"/>
                  <a:gd name="T16" fmla="*/ 9 w 11"/>
                  <a:gd name="T17" fmla="*/ 116 h 124"/>
                  <a:gd name="T18" fmla="*/ 9 w 11"/>
                  <a:gd name="T19" fmla="*/ 118 h 124"/>
                  <a:gd name="T20" fmla="*/ 9 w 11"/>
                  <a:gd name="T21" fmla="*/ 116 h 124"/>
                  <a:gd name="T22" fmla="*/ 6 w 11"/>
                  <a:gd name="T23" fmla="*/ 122 h 124"/>
                  <a:gd name="T24" fmla="*/ 6 w 11"/>
                  <a:gd name="T25" fmla="*/ 124 h 124"/>
                  <a:gd name="T26" fmla="*/ 6 w 11"/>
                  <a:gd name="T27" fmla="*/ 122 h 124"/>
                  <a:gd name="T28" fmla="*/ 11 w 11"/>
                  <a:gd name="T29" fmla="*/ 78 h 124"/>
                  <a:gd name="T30" fmla="*/ 11 w 11"/>
                  <a:gd name="T31" fmla="*/ 80 h 124"/>
                  <a:gd name="T32" fmla="*/ 11 w 11"/>
                  <a:gd name="T33" fmla="*/ 78 h 124"/>
                  <a:gd name="T34" fmla="*/ 6 w 11"/>
                  <a:gd name="T35" fmla="*/ 1 h 124"/>
                  <a:gd name="T36" fmla="*/ 6 w 11"/>
                  <a:gd name="T37" fmla="*/ 3 h 124"/>
                  <a:gd name="T38" fmla="*/ 6 w 11"/>
                  <a:gd name="T39" fmla="*/ 1 h 124"/>
                  <a:gd name="T40" fmla="*/ 4 w 11"/>
                  <a:gd name="T41" fmla="*/ 5 h 124"/>
                  <a:gd name="T42" fmla="*/ 4 w 11"/>
                  <a:gd name="T43" fmla="*/ 7 h 124"/>
                  <a:gd name="T44" fmla="*/ 4 w 11"/>
                  <a:gd name="T45" fmla="*/ 5 h 124"/>
                  <a:gd name="T46" fmla="*/ 9 w 11"/>
                  <a:gd name="T47" fmla="*/ 17 h 124"/>
                  <a:gd name="T48" fmla="*/ 9 w 11"/>
                  <a:gd name="T49" fmla="*/ 19 h 124"/>
                  <a:gd name="T50" fmla="*/ 9 w 11"/>
                  <a:gd name="T51" fmla="*/ 17 h 124"/>
                  <a:gd name="T52" fmla="*/ 9 w 11"/>
                  <a:gd name="T53" fmla="*/ 83 h 124"/>
                  <a:gd name="T54" fmla="*/ 11 w 11"/>
                  <a:gd name="T55" fmla="*/ 83 h 124"/>
                  <a:gd name="T56" fmla="*/ 9 w 11"/>
                  <a:gd name="T57" fmla="*/ 83 h 124"/>
                  <a:gd name="T58" fmla="*/ 2 w 11"/>
                  <a:gd name="T59" fmla="*/ 34 h 124"/>
                  <a:gd name="T60" fmla="*/ 2 w 11"/>
                  <a:gd name="T61" fmla="*/ 36 h 124"/>
                  <a:gd name="T62" fmla="*/ 2 w 11"/>
                  <a:gd name="T63" fmla="*/ 34 h 124"/>
                  <a:gd name="T64" fmla="*/ 9 w 11"/>
                  <a:gd name="T65" fmla="*/ 19 h 124"/>
                  <a:gd name="T66" fmla="*/ 9 w 11"/>
                  <a:gd name="T67" fmla="*/ 21 h 124"/>
                  <a:gd name="T68" fmla="*/ 9 w 11"/>
                  <a:gd name="T69" fmla="*/ 19 h 124"/>
                  <a:gd name="T70" fmla="*/ 2 w 11"/>
                  <a:gd name="T71" fmla="*/ 0 h 124"/>
                  <a:gd name="T72" fmla="*/ 2 w 11"/>
                  <a:gd name="T73" fmla="*/ 1 h 124"/>
                  <a:gd name="T74" fmla="*/ 2 w 11"/>
                  <a:gd name="T75" fmla="*/ 0 h 124"/>
                  <a:gd name="T76" fmla="*/ 0 w 11"/>
                  <a:gd name="T77" fmla="*/ 5 h 124"/>
                  <a:gd name="T78" fmla="*/ 2 w 11"/>
                  <a:gd name="T79" fmla="*/ 5 h 124"/>
                  <a:gd name="T80" fmla="*/ 0 w 11"/>
                  <a:gd name="T81" fmla="*/ 5 h 124"/>
                  <a:gd name="T82" fmla="*/ 0 w 11"/>
                  <a:gd name="T83" fmla="*/ 7 h 124"/>
                  <a:gd name="T84" fmla="*/ 2 w 11"/>
                  <a:gd name="T85" fmla="*/ 7 h 124"/>
                  <a:gd name="T86" fmla="*/ 2 w 11"/>
                  <a:gd name="T87" fmla="*/ 9 h 124"/>
                  <a:gd name="T88" fmla="*/ 0 w 11"/>
                  <a:gd name="T89" fmla="*/ 9 h 124"/>
                  <a:gd name="T90" fmla="*/ 0 w 11"/>
                  <a:gd name="T91" fmla="*/ 7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" h="124">
                    <a:moveTo>
                      <a:pt x="4" y="122"/>
                    </a:moveTo>
                    <a:lnTo>
                      <a:pt x="6" y="122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4" y="122"/>
                    </a:lnTo>
                    <a:close/>
                    <a:moveTo>
                      <a:pt x="11" y="82"/>
                    </a:moveTo>
                    <a:lnTo>
                      <a:pt x="11" y="83"/>
                    </a:lnTo>
                    <a:lnTo>
                      <a:pt x="11" y="82"/>
                    </a:lnTo>
                    <a:close/>
                    <a:moveTo>
                      <a:pt x="9" y="116"/>
                    </a:moveTo>
                    <a:lnTo>
                      <a:pt x="9" y="118"/>
                    </a:lnTo>
                    <a:lnTo>
                      <a:pt x="9" y="116"/>
                    </a:lnTo>
                    <a:close/>
                    <a:moveTo>
                      <a:pt x="6" y="122"/>
                    </a:moveTo>
                    <a:lnTo>
                      <a:pt x="6" y="124"/>
                    </a:lnTo>
                    <a:lnTo>
                      <a:pt x="6" y="122"/>
                    </a:lnTo>
                    <a:close/>
                    <a:moveTo>
                      <a:pt x="11" y="78"/>
                    </a:moveTo>
                    <a:lnTo>
                      <a:pt x="11" y="80"/>
                    </a:lnTo>
                    <a:lnTo>
                      <a:pt x="11" y="78"/>
                    </a:lnTo>
                    <a:close/>
                    <a:moveTo>
                      <a:pt x="6" y="1"/>
                    </a:moveTo>
                    <a:lnTo>
                      <a:pt x="6" y="3"/>
                    </a:lnTo>
                    <a:lnTo>
                      <a:pt x="6" y="1"/>
                    </a:lnTo>
                    <a:close/>
                    <a:moveTo>
                      <a:pt x="4" y="5"/>
                    </a:moveTo>
                    <a:lnTo>
                      <a:pt x="4" y="7"/>
                    </a:lnTo>
                    <a:lnTo>
                      <a:pt x="4" y="5"/>
                    </a:lnTo>
                    <a:close/>
                    <a:moveTo>
                      <a:pt x="9" y="17"/>
                    </a:moveTo>
                    <a:lnTo>
                      <a:pt x="9" y="19"/>
                    </a:lnTo>
                    <a:lnTo>
                      <a:pt x="9" y="17"/>
                    </a:lnTo>
                    <a:close/>
                    <a:moveTo>
                      <a:pt x="9" y="83"/>
                    </a:moveTo>
                    <a:lnTo>
                      <a:pt x="11" y="83"/>
                    </a:lnTo>
                    <a:lnTo>
                      <a:pt x="9" y="83"/>
                    </a:lnTo>
                    <a:close/>
                    <a:moveTo>
                      <a:pt x="2" y="34"/>
                    </a:moveTo>
                    <a:lnTo>
                      <a:pt x="2" y="36"/>
                    </a:lnTo>
                    <a:lnTo>
                      <a:pt x="2" y="34"/>
                    </a:lnTo>
                    <a:close/>
                    <a:moveTo>
                      <a:pt x="9" y="19"/>
                    </a:moveTo>
                    <a:lnTo>
                      <a:pt x="9" y="21"/>
                    </a:lnTo>
                    <a:lnTo>
                      <a:pt x="9" y="19"/>
                    </a:lnTo>
                    <a:close/>
                    <a:moveTo>
                      <a:pt x="2" y="0"/>
                    </a:moveTo>
                    <a:lnTo>
                      <a:pt x="2" y="1"/>
                    </a:lnTo>
                    <a:lnTo>
                      <a:pt x="2" y="0"/>
                    </a:lnTo>
                    <a:close/>
                    <a:moveTo>
                      <a:pt x="0" y="5"/>
                    </a:moveTo>
                    <a:lnTo>
                      <a:pt x="2" y="5"/>
                    </a:lnTo>
                    <a:lnTo>
                      <a:pt x="0" y="5"/>
                    </a:lnTo>
                    <a:close/>
                    <a:moveTo>
                      <a:pt x="0" y="7"/>
                    </a:moveTo>
                    <a:lnTo>
                      <a:pt x="2" y="7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2" name="Freeform 101">
                <a:extLst>
                  <a:ext uri="{FF2B5EF4-FFF2-40B4-BE49-F238E27FC236}">
                    <a16:creationId xmlns:a16="http://schemas.microsoft.com/office/drawing/2014/main" id="{02DD408B-5B73-9EF3-0876-B1BE57A4423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090686" y="-2156009"/>
                <a:ext cx="53570" cy="99451"/>
              </a:xfrm>
              <a:custGeom>
                <a:avLst/>
                <a:gdLst>
                  <a:gd name="T0" fmla="*/ 17 w 34"/>
                  <a:gd name="T1" fmla="*/ 7 h 63"/>
                  <a:gd name="T2" fmla="*/ 19 w 34"/>
                  <a:gd name="T3" fmla="*/ 9 h 63"/>
                  <a:gd name="T4" fmla="*/ 19 w 34"/>
                  <a:gd name="T5" fmla="*/ 13 h 63"/>
                  <a:gd name="T6" fmla="*/ 21 w 34"/>
                  <a:gd name="T7" fmla="*/ 15 h 63"/>
                  <a:gd name="T8" fmla="*/ 23 w 34"/>
                  <a:gd name="T9" fmla="*/ 17 h 63"/>
                  <a:gd name="T10" fmla="*/ 24 w 34"/>
                  <a:gd name="T11" fmla="*/ 21 h 63"/>
                  <a:gd name="T12" fmla="*/ 24 w 34"/>
                  <a:gd name="T13" fmla="*/ 21 h 63"/>
                  <a:gd name="T14" fmla="*/ 26 w 34"/>
                  <a:gd name="T15" fmla="*/ 26 h 63"/>
                  <a:gd name="T16" fmla="*/ 28 w 34"/>
                  <a:gd name="T17" fmla="*/ 28 h 63"/>
                  <a:gd name="T18" fmla="*/ 30 w 34"/>
                  <a:gd name="T19" fmla="*/ 32 h 63"/>
                  <a:gd name="T20" fmla="*/ 30 w 34"/>
                  <a:gd name="T21" fmla="*/ 30 h 63"/>
                  <a:gd name="T22" fmla="*/ 32 w 34"/>
                  <a:gd name="T23" fmla="*/ 32 h 63"/>
                  <a:gd name="T24" fmla="*/ 30 w 34"/>
                  <a:gd name="T25" fmla="*/ 34 h 63"/>
                  <a:gd name="T26" fmla="*/ 32 w 34"/>
                  <a:gd name="T27" fmla="*/ 36 h 63"/>
                  <a:gd name="T28" fmla="*/ 34 w 34"/>
                  <a:gd name="T29" fmla="*/ 38 h 63"/>
                  <a:gd name="T30" fmla="*/ 34 w 34"/>
                  <a:gd name="T31" fmla="*/ 38 h 63"/>
                  <a:gd name="T32" fmla="*/ 34 w 34"/>
                  <a:gd name="T33" fmla="*/ 36 h 63"/>
                  <a:gd name="T34" fmla="*/ 34 w 34"/>
                  <a:gd name="T35" fmla="*/ 38 h 63"/>
                  <a:gd name="T36" fmla="*/ 34 w 34"/>
                  <a:gd name="T37" fmla="*/ 49 h 63"/>
                  <a:gd name="T38" fmla="*/ 30 w 34"/>
                  <a:gd name="T39" fmla="*/ 55 h 63"/>
                  <a:gd name="T40" fmla="*/ 24 w 34"/>
                  <a:gd name="T41" fmla="*/ 59 h 63"/>
                  <a:gd name="T42" fmla="*/ 23 w 34"/>
                  <a:gd name="T43" fmla="*/ 59 h 63"/>
                  <a:gd name="T44" fmla="*/ 15 w 34"/>
                  <a:gd name="T45" fmla="*/ 61 h 63"/>
                  <a:gd name="T46" fmla="*/ 11 w 34"/>
                  <a:gd name="T47" fmla="*/ 63 h 63"/>
                  <a:gd name="T48" fmla="*/ 7 w 34"/>
                  <a:gd name="T49" fmla="*/ 59 h 63"/>
                  <a:gd name="T50" fmla="*/ 5 w 34"/>
                  <a:gd name="T51" fmla="*/ 53 h 63"/>
                  <a:gd name="T52" fmla="*/ 3 w 34"/>
                  <a:gd name="T53" fmla="*/ 47 h 63"/>
                  <a:gd name="T54" fmla="*/ 2 w 34"/>
                  <a:gd name="T55" fmla="*/ 42 h 63"/>
                  <a:gd name="T56" fmla="*/ 2 w 34"/>
                  <a:gd name="T57" fmla="*/ 42 h 63"/>
                  <a:gd name="T58" fmla="*/ 0 w 34"/>
                  <a:gd name="T59" fmla="*/ 28 h 63"/>
                  <a:gd name="T60" fmla="*/ 0 w 34"/>
                  <a:gd name="T61" fmla="*/ 24 h 63"/>
                  <a:gd name="T62" fmla="*/ 0 w 34"/>
                  <a:gd name="T63" fmla="*/ 28 h 63"/>
                  <a:gd name="T64" fmla="*/ 2 w 34"/>
                  <a:gd name="T65" fmla="*/ 30 h 63"/>
                  <a:gd name="T66" fmla="*/ 2 w 34"/>
                  <a:gd name="T67" fmla="*/ 23 h 63"/>
                  <a:gd name="T68" fmla="*/ 3 w 34"/>
                  <a:gd name="T69" fmla="*/ 15 h 63"/>
                  <a:gd name="T70" fmla="*/ 5 w 34"/>
                  <a:gd name="T71" fmla="*/ 13 h 63"/>
                  <a:gd name="T72" fmla="*/ 5 w 34"/>
                  <a:gd name="T73" fmla="*/ 7 h 63"/>
                  <a:gd name="T74" fmla="*/ 7 w 34"/>
                  <a:gd name="T75" fmla="*/ 3 h 63"/>
                  <a:gd name="T76" fmla="*/ 11 w 34"/>
                  <a:gd name="T77" fmla="*/ 3 h 63"/>
                  <a:gd name="T78" fmla="*/ 9 w 34"/>
                  <a:gd name="T79" fmla="*/ 3 h 63"/>
                  <a:gd name="T80" fmla="*/ 7 w 34"/>
                  <a:gd name="T81" fmla="*/ 2 h 63"/>
                  <a:gd name="T82" fmla="*/ 7 w 34"/>
                  <a:gd name="T83" fmla="*/ 2 h 63"/>
                  <a:gd name="T84" fmla="*/ 3 w 34"/>
                  <a:gd name="T85" fmla="*/ 2 h 63"/>
                  <a:gd name="T86" fmla="*/ 9 w 34"/>
                  <a:gd name="T87" fmla="*/ 0 h 63"/>
                  <a:gd name="T88" fmla="*/ 2 w 34"/>
                  <a:gd name="T89" fmla="*/ 11 h 63"/>
                  <a:gd name="T90" fmla="*/ 5 w 34"/>
                  <a:gd name="T91" fmla="*/ 2 h 63"/>
                  <a:gd name="T92" fmla="*/ 0 w 34"/>
                  <a:gd name="T93" fmla="*/ 3 h 63"/>
                  <a:gd name="T94" fmla="*/ 3 w 34"/>
                  <a:gd name="T95" fmla="*/ 3 h 63"/>
                  <a:gd name="T96" fmla="*/ 3 w 34"/>
                  <a:gd name="T97" fmla="*/ 2 h 63"/>
                  <a:gd name="T98" fmla="*/ 5 w 34"/>
                  <a:gd name="T99" fmla="*/ 2 h 63"/>
                  <a:gd name="T100" fmla="*/ 3 w 34"/>
                  <a:gd name="T101" fmla="*/ 7 h 63"/>
                  <a:gd name="T102" fmla="*/ 3 w 34"/>
                  <a:gd name="T103" fmla="*/ 7 h 63"/>
                  <a:gd name="T104" fmla="*/ 2 w 34"/>
                  <a:gd name="T105" fmla="*/ 3 h 63"/>
                  <a:gd name="T106" fmla="*/ 2 w 34"/>
                  <a:gd name="T107" fmla="*/ 2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4" h="63">
                    <a:moveTo>
                      <a:pt x="9" y="0"/>
                    </a:moveTo>
                    <a:lnTo>
                      <a:pt x="11" y="2"/>
                    </a:lnTo>
                    <a:lnTo>
                      <a:pt x="15" y="5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21" y="13"/>
                    </a:lnTo>
                    <a:lnTo>
                      <a:pt x="19" y="11"/>
                    </a:lnTo>
                    <a:lnTo>
                      <a:pt x="19" y="13"/>
                    </a:lnTo>
                    <a:lnTo>
                      <a:pt x="21" y="13"/>
                    </a:lnTo>
                    <a:lnTo>
                      <a:pt x="21" y="15"/>
                    </a:lnTo>
                    <a:lnTo>
                      <a:pt x="23" y="15"/>
                    </a:lnTo>
                    <a:lnTo>
                      <a:pt x="21" y="15"/>
                    </a:lnTo>
                    <a:lnTo>
                      <a:pt x="23" y="15"/>
                    </a:lnTo>
                    <a:lnTo>
                      <a:pt x="23" y="17"/>
                    </a:lnTo>
                    <a:lnTo>
                      <a:pt x="24" y="19"/>
                    </a:lnTo>
                    <a:lnTo>
                      <a:pt x="23" y="17"/>
                    </a:lnTo>
                    <a:lnTo>
                      <a:pt x="24" y="19"/>
                    </a:lnTo>
                    <a:lnTo>
                      <a:pt x="24" y="21"/>
                    </a:lnTo>
                    <a:lnTo>
                      <a:pt x="24" y="19"/>
                    </a:lnTo>
                    <a:lnTo>
                      <a:pt x="24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3"/>
                    </a:lnTo>
                    <a:lnTo>
                      <a:pt x="24" y="21"/>
                    </a:lnTo>
                    <a:lnTo>
                      <a:pt x="26" y="21"/>
                    </a:lnTo>
                    <a:lnTo>
                      <a:pt x="26" y="23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8" y="26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0" y="32"/>
                    </a:lnTo>
                    <a:lnTo>
                      <a:pt x="32" y="32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0" y="32"/>
                    </a:lnTo>
                    <a:lnTo>
                      <a:pt x="30" y="34"/>
                    </a:lnTo>
                    <a:lnTo>
                      <a:pt x="30" y="32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7"/>
                    </a:lnTo>
                    <a:lnTo>
                      <a:pt x="34" y="49"/>
                    </a:lnTo>
                    <a:lnTo>
                      <a:pt x="32" y="49"/>
                    </a:lnTo>
                    <a:lnTo>
                      <a:pt x="32" y="51"/>
                    </a:lnTo>
                    <a:lnTo>
                      <a:pt x="32" y="53"/>
                    </a:lnTo>
                    <a:lnTo>
                      <a:pt x="30" y="55"/>
                    </a:lnTo>
                    <a:lnTo>
                      <a:pt x="28" y="55"/>
                    </a:lnTo>
                    <a:lnTo>
                      <a:pt x="28" y="57"/>
                    </a:lnTo>
                    <a:lnTo>
                      <a:pt x="26" y="57"/>
                    </a:lnTo>
                    <a:lnTo>
                      <a:pt x="24" y="59"/>
                    </a:lnTo>
                    <a:lnTo>
                      <a:pt x="24" y="57"/>
                    </a:lnTo>
                    <a:lnTo>
                      <a:pt x="23" y="59"/>
                    </a:lnTo>
                    <a:lnTo>
                      <a:pt x="24" y="59"/>
                    </a:lnTo>
                    <a:lnTo>
                      <a:pt x="23" y="59"/>
                    </a:lnTo>
                    <a:lnTo>
                      <a:pt x="21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3" y="61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7" y="59"/>
                    </a:lnTo>
                    <a:lnTo>
                      <a:pt x="7" y="61"/>
                    </a:lnTo>
                    <a:lnTo>
                      <a:pt x="7" y="59"/>
                    </a:lnTo>
                    <a:lnTo>
                      <a:pt x="5" y="57"/>
                    </a:lnTo>
                    <a:lnTo>
                      <a:pt x="5" y="53"/>
                    </a:lnTo>
                    <a:lnTo>
                      <a:pt x="5" y="55"/>
                    </a:lnTo>
                    <a:lnTo>
                      <a:pt x="5" y="53"/>
                    </a:lnTo>
                    <a:lnTo>
                      <a:pt x="3" y="49"/>
                    </a:lnTo>
                    <a:lnTo>
                      <a:pt x="3" y="47"/>
                    </a:lnTo>
                    <a:lnTo>
                      <a:pt x="3" y="49"/>
                    </a:lnTo>
                    <a:lnTo>
                      <a:pt x="2" y="45"/>
                    </a:lnTo>
                    <a:lnTo>
                      <a:pt x="3" y="45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3" y="44"/>
                    </a:lnTo>
                    <a:lnTo>
                      <a:pt x="3" y="42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2" y="23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3"/>
                    </a:lnTo>
                    <a:lnTo>
                      <a:pt x="3" y="21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5" y="13"/>
                    </a:lnTo>
                    <a:lnTo>
                      <a:pt x="5" y="11"/>
                    </a:lnTo>
                    <a:lnTo>
                      <a:pt x="7" y="9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7" y="3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9" y="0"/>
                    </a:lnTo>
                    <a:close/>
                    <a:moveTo>
                      <a:pt x="2" y="11"/>
                    </a:moveTo>
                    <a:lnTo>
                      <a:pt x="3" y="11"/>
                    </a:lnTo>
                    <a:lnTo>
                      <a:pt x="3" y="13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2" y="11"/>
                    </a:lnTo>
                    <a:close/>
                    <a:moveTo>
                      <a:pt x="2" y="2"/>
                    </a:moveTo>
                    <a:lnTo>
                      <a:pt x="5" y="2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2"/>
                    </a:lnTo>
                    <a:close/>
                    <a:moveTo>
                      <a:pt x="0" y="3"/>
                    </a:moveTo>
                    <a:lnTo>
                      <a:pt x="0" y="5"/>
                    </a:lnTo>
                    <a:lnTo>
                      <a:pt x="0" y="3"/>
                    </a:lnTo>
                    <a:close/>
                    <a:moveTo>
                      <a:pt x="2" y="3"/>
                    </a:moveTo>
                    <a:lnTo>
                      <a:pt x="3" y="3"/>
                    </a:lnTo>
                    <a:lnTo>
                      <a:pt x="2" y="3"/>
                    </a:lnTo>
                    <a:close/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  <a:moveTo>
                      <a:pt x="3" y="2"/>
                    </a:moveTo>
                    <a:lnTo>
                      <a:pt x="5" y="2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3" y="2"/>
                    </a:lnTo>
                    <a:close/>
                    <a:moveTo>
                      <a:pt x="3" y="7"/>
                    </a:moveTo>
                    <a:lnTo>
                      <a:pt x="5" y="7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3" y="7"/>
                    </a:lnTo>
                    <a:close/>
                    <a:moveTo>
                      <a:pt x="2" y="2"/>
                    </a:moveTo>
                    <a:lnTo>
                      <a:pt x="3" y="2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2"/>
                    </a:lnTo>
                    <a:close/>
                    <a:moveTo>
                      <a:pt x="2" y="23"/>
                    </a:moveTo>
                    <a:lnTo>
                      <a:pt x="2" y="24"/>
                    </a:lnTo>
                    <a:lnTo>
                      <a:pt x="2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3" name="Freeform 112">
                <a:extLst>
                  <a:ext uri="{FF2B5EF4-FFF2-40B4-BE49-F238E27FC236}">
                    <a16:creationId xmlns:a16="http://schemas.microsoft.com/office/drawing/2014/main" id="{BF8276FE-77F5-97C2-05D4-9CD6354945D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408458" y="-3099976"/>
                <a:ext cx="357658" cy="247832"/>
              </a:xfrm>
              <a:custGeom>
                <a:avLst/>
                <a:gdLst>
                  <a:gd name="T0" fmla="*/ 211 w 227"/>
                  <a:gd name="T1" fmla="*/ 109 h 157"/>
                  <a:gd name="T2" fmla="*/ 200 w 227"/>
                  <a:gd name="T3" fmla="*/ 115 h 157"/>
                  <a:gd name="T4" fmla="*/ 189 w 227"/>
                  <a:gd name="T5" fmla="*/ 136 h 157"/>
                  <a:gd name="T6" fmla="*/ 175 w 227"/>
                  <a:gd name="T7" fmla="*/ 142 h 157"/>
                  <a:gd name="T8" fmla="*/ 169 w 227"/>
                  <a:gd name="T9" fmla="*/ 151 h 157"/>
                  <a:gd name="T10" fmla="*/ 160 w 227"/>
                  <a:gd name="T11" fmla="*/ 155 h 157"/>
                  <a:gd name="T12" fmla="*/ 150 w 227"/>
                  <a:gd name="T13" fmla="*/ 151 h 157"/>
                  <a:gd name="T14" fmla="*/ 139 w 227"/>
                  <a:gd name="T15" fmla="*/ 144 h 157"/>
                  <a:gd name="T16" fmla="*/ 137 w 227"/>
                  <a:gd name="T17" fmla="*/ 132 h 157"/>
                  <a:gd name="T18" fmla="*/ 124 w 227"/>
                  <a:gd name="T19" fmla="*/ 124 h 157"/>
                  <a:gd name="T20" fmla="*/ 112 w 227"/>
                  <a:gd name="T21" fmla="*/ 117 h 157"/>
                  <a:gd name="T22" fmla="*/ 107 w 227"/>
                  <a:gd name="T23" fmla="*/ 109 h 157"/>
                  <a:gd name="T24" fmla="*/ 95 w 227"/>
                  <a:gd name="T25" fmla="*/ 107 h 157"/>
                  <a:gd name="T26" fmla="*/ 86 w 227"/>
                  <a:gd name="T27" fmla="*/ 103 h 157"/>
                  <a:gd name="T28" fmla="*/ 76 w 227"/>
                  <a:gd name="T29" fmla="*/ 94 h 157"/>
                  <a:gd name="T30" fmla="*/ 65 w 227"/>
                  <a:gd name="T31" fmla="*/ 94 h 157"/>
                  <a:gd name="T32" fmla="*/ 53 w 227"/>
                  <a:gd name="T33" fmla="*/ 98 h 157"/>
                  <a:gd name="T34" fmla="*/ 38 w 227"/>
                  <a:gd name="T35" fmla="*/ 105 h 157"/>
                  <a:gd name="T36" fmla="*/ 25 w 227"/>
                  <a:gd name="T37" fmla="*/ 113 h 157"/>
                  <a:gd name="T38" fmla="*/ 23 w 227"/>
                  <a:gd name="T39" fmla="*/ 86 h 157"/>
                  <a:gd name="T40" fmla="*/ 21 w 227"/>
                  <a:gd name="T41" fmla="*/ 77 h 157"/>
                  <a:gd name="T42" fmla="*/ 19 w 227"/>
                  <a:gd name="T43" fmla="*/ 77 h 157"/>
                  <a:gd name="T44" fmla="*/ 15 w 227"/>
                  <a:gd name="T45" fmla="*/ 71 h 157"/>
                  <a:gd name="T46" fmla="*/ 11 w 227"/>
                  <a:gd name="T47" fmla="*/ 75 h 157"/>
                  <a:gd name="T48" fmla="*/ 15 w 227"/>
                  <a:gd name="T49" fmla="*/ 67 h 157"/>
                  <a:gd name="T50" fmla="*/ 21 w 227"/>
                  <a:gd name="T51" fmla="*/ 69 h 157"/>
                  <a:gd name="T52" fmla="*/ 19 w 227"/>
                  <a:gd name="T53" fmla="*/ 67 h 157"/>
                  <a:gd name="T54" fmla="*/ 15 w 227"/>
                  <a:gd name="T55" fmla="*/ 63 h 157"/>
                  <a:gd name="T56" fmla="*/ 19 w 227"/>
                  <a:gd name="T57" fmla="*/ 60 h 157"/>
                  <a:gd name="T58" fmla="*/ 7 w 227"/>
                  <a:gd name="T59" fmla="*/ 61 h 157"/>
                  <a:gd name="T60" fmla="*/ 4 w 227"/>
                  <a:gd name="T61" fmla="*/ 58 h 157"/>
                  <a:gd name="T62" fmla="*/ 5 w 227"/>
                  <a:gd name="T63" fmla="*/ 44 h 157"/>
                  <a:gd name="T64" fmla="*/ 4 w 227"/>
                  <a:gd name="T65" fmla="*/ 29 h 157"/>
                  <a:gd name="T66" fmla="*/ 28 w 227"/>
                  <a:gd name="T67" fmla="*/ 8 h 157"/>
                  <a:gd name="T68" fmla="*/ 46 w 227"/>
                  <a:gd name="T69" fmla="*/ 31 h 157"/>
                  <a:gd name="T70" fmla="*/ 51 w 227"/>
                  <a:gd name="T71" fmla="*/ 33 h 157"/>
                  <a:gd name="T72" fmla="*/ 72 w 227"/>
                  <a:gd name="T73" fmla="*/ 31 h 157"/>
                  <a:gd name="T74" fmla="*/ 72 w 227"/>
                  <a:gd name="T75" fmla="*/ 19 h 157"/>
                  <a:gd name="T76" fmla="*/ 86 w 227"/>
                  <a:gd name="T77" fmla="*/ 14 h 157"/>
                  <a:gd name="T78" fmla="*/ 91 w 227"/>
                  <a:gd name="T79" fmla="*/ 6 h 157"/>
                  <a:gd name="T80" fmla="*/ 89 w 227"/>
                  <a:gd name="T81" fmla="*/ 2 h 157"/>
                  <a:gd name="T82" fmla="*/ 105 w 227"/>
                  <a:gd name="T83" fmla="*/ 6 h 157"/>
                  <a:gd name="T84" fmla="*/ 118 w 227"/>
                  <a:gd name="T85" fmla="*/ 10 h 157"/>
                  <a:gd name="T86" fmla="*/ 120 w 227"/>
                  <a:gd name="T87" fmla="*/ 18 h 157"/>
                  <a:gd name="T88" fmla="*/ 122 w 227"/>
                  <a:gd name="T89" fmla="*/ 21 h 157"/>
                  <a:gd name="T90" fmla="*/ 126 w 227"/>
                  <a:gd name="T91" fmla="*/ 31 h 157"/>
                  <a:gd name="T92" fmla="*/ 139 w 227"/>
                  <a:gd name="T93" fmla="*/ 35 h 157"/>
                  <a:gd name="T94" fmla="*/ 149 w 227"/>
                  <a:gd name="T95" fmla="*/ 35 h 157"/>
                  <a:gd name="T96" fmla="*/ 150 w 227"/>
                  <a:gd name="T97" fmla="*/ 42 h 157"/>
                  <a:gd name="T98" fmla="*/ 158 w 227"/>
                  <a:gd name="T99" fmla="*/ 50 h 157"/>
                  <a:gd name="T100" fmla="*/ 160 w 227"/>
                  <a:gd name="T101" fmla="*/ 60 h 157"/>
                  <a:gd name="T102" fmla="*/ 200 w 227"/>
                  <a:gd name="T103" fmla="*/ 88 h 157"/>
                  <a:gd name="T104" fmla="*/ 217 w 227"/>
                  <a:gd name="T105" fmla="*/ 96 h 157"/>
                  <a:gd name="T106" fmla="*/ 227 w 227"/>
                  <a:gd name="T107" fmla="*/ 102 h 157"/>
                  <a:gd name="T108" fmla="*/ 223 w 227"/>
                  <a:gd name="T109" fmla="*/ 113 h 157"/>
                  <a:gd name="T110" fmla="*/ 19 w 227"/>
                  <a:gd name="T111" fmla="*/ 67 h 157"/>
                  <a:gd name="T112" fmla="*/ 15 w 227"/>
                  <a:gd name="T113" fmla="*/ 6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7" h="157">
                    <a:moveTo>
                      <a:pt x="223" y="113"/>
                    </a:moveTo>
                    <a:lnTo>
                      <a:pt x="221" y="113"/>
                    </a:lnTo>
                    <a:lnTo>
                      <a:pt x="219" y="113"/>
                    </a:lnTo>
                    <a:lnTo>
                      <a:pt x="217" y="113"/>
                    </a:lnTo>
                    <a:lnTo>
                      <a:pt x="217" y="111"/>
                    </a:lnTo>
                    <a:lnTo>
                      <a:pt x="215" y="111"/>
                    </a:lnTo>
                    <a:lnTo>
                      <a:pt x="211" y="109"/>
                    </a:lnTo>
                    <a:lnTo>
                      <a:pt x="210" y="109"/>
                    </a:lnTo>
                    <a:lnTo>
                      <a:pt x="210" y="111"/>
                    </a:lnTo>
                    <a:lnTo>
                      <a:pt x="210" y="113"/>
                    </a:lnTo>
                    <a:lnTo>
                      <a:pt x="208" y="115"/>
                    </a:lnTo>
                    <a:lnTo>
                      <a:pt x="204" y="115"/>
                    </a:lnTo>
                    <a:lnTo>
                      <a:pt x="202" y="115"/>
                    </a:lnTo>
                    <a:lnTo>
                      <a:pt x="200" y="115"/>
                    </a:lnTo>
                    <a:lnTo>
                      <a:pt x="196" y="117"/>
                    </a:lnTo>
                    <a:lnTo>
                      <a:pt x="196" y="121"/>
                    </a:lnTo>
                    <a:lnTo>
                      <a:pt x="192" y="126"/>
                    </a:lnTo>
                    <a:lnTo>
                      <a:pt x="194" y="130"/>
                    </a:lnTo>
                    <a:lnTo>
                      <a:pt x="192" y="134"/>
                    </a:lnTo>
                    <a:lnTo>
                      <a:pt x="190" y="134"/>
                    </a:lnTo>
                    <a:lnTo>
                      <a:pt x="189" y="136"/>
                    </a:lnTo>
                    <a:lnTo>
                      <a:pt x="187" y="136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3" y="140"/>
                    </a:lnTo>
                    <a:lnTo>
                      <a:pt x="179" y="140"/>
                    </a:lnTo>
                    <a:lnTo>
                      <a:pt x="177" y="140"/>
                    </a:lnTo>
                    <a:lnTo>
                      <a:pt x="175" y="142"/>
                    </a:lnTo>
                    <a:lnTo>
                      <a:pt x="171" y="142"/>
                    </a:lnTo>
                    <a:lnTo>
                      <a:pt x="169" y="142"/>
                    </a:lnTo>
                    <a:lnTo>
                      <a:pt x="169" y="144"/>
                    </a:lnTo>
                    <a:lnTo>
                      <a:pt x="171" y="145"/>
                    </a:lnTo>
                    <a:lnTo>
                      <a:pt x="169" y="147"/>
                    </a:lnTo>
                    <a:lnTo>
                      <a:pt x="169" y="149"/>
                    </a:lnTo>
                    <a:lnTo>
                      <a:pt x="169" y="151"/>
                    </a:lnTo>
                    <a:lnTo>
                      <a:pt x="168" y="151"/>
                    </a:lnTo>
                    <a:lnTo>
                      <a:pt x="166" y="151"/>
                    </a:lnTo>
                    <a:lnTo>
                      <a:pt x="166" y="153"/>
                    </a:lnTo>
                    <a:lnTo>
                      <a:pt x="164" y="153"/>
                    </a:lnTo>
                    <a:lnTo>
                      <a:pt x="164" y="155"/>
                    </a:lnTo>
                    <a:lnTo>
                      <a:pt x="162" y="155"/>
                    </a:lnTo>
                    <a:lnTo>
                      <a:pt x="160" y="155"/>
                    </a:lnTo>
                    <a:lnTo>
                      <a:pt x="160" y="153"/>
                    </a:lnTo>
                    <a:lnTo>
                      <a:pt x="156" y="157"/>
                    </a:lnTo>
                    <a:lnTo>
                      <a:pt x="156" y="155"/>
                    </a:lnTo>
                    <a:lnTo>
                      <a:pt x="156" y="153"/>
                    </a:lnTo>
                    <a:lnTo>
                      <a:pt x="154" y="153"/>
                    </a:lnTo>
                    <a:lnTo>
                      <a:pt x="152" y="151"/>
                    </a:lnTo>
                    <a:lnTo>
                      <a:pt x="150" y="151"/>
                    </a:lnTo>
                    <a:lnTo>
                      <a:pt x="149" y="151"/>
                    </a:lnTo>
                    <a:lnTo>
                      <a:pt x="145" y="151"/>
                    </a:lnTo>
                    <a:lnTo>
                      <a:pt x="141" y="147"/>
                    </a:lnTo>
                    <a:lnTo>
                      <a:pt x="143" y="147"/>
                    </a:lnTo>
                    <a:lnTo>
                      <a:pt x="141" y="147"/>
                    </a:lnTo>
                    <a:lnTo>
                      <a:pt x="139" y="145"/>
                    </a:lnTo>
                    <a:lnTo>
                      <a:pt x="139" y="144"/>
                    </a:lnTo>
                    <a:lnTo>
                      <a:pt x="139" y="142"/>
                    </a:lnTo>
                    <a:lnTo>
                      <a:pt x="137" y="140"/>
                    </a:lnTo>
                    <a:lnTo>
                      <a:pt x="139" y="140"/>
                    </a:lnTo>
                    <a:lnTo>
                      <a:pt x="139" y="138"/>
                    </a:lnTo>
                    <a:lnTo>
                      <a:pt x="139" y="136"/>
                    </a:lnTo>
                    <a:lnTo>
                      <a:pt x="139" y="134"/>
                    </a:lnTo>
                    <a:lnTo>
                      <a:pt x="137" y="132"/>
                    </a:lnTo>
                    <a:lnTo>
                      <a:pt x="139" y="132"/>
                    </a:lnTo>
                    <a:lnTo>
                      <a:pt x="139" y="130"/>
                    </a:lnTo>
                    <a:lnTo>
                      <a:pt x="139" y="128"/>
                    </a:lnTo>
                    <a:lnTo>
                      <a:pt x="137" y="126"/>
                    </a:lnTo>
                    <a:lnTo>
                      <a:pt x="131" y="128"/>
                    </a:lnTo>
                    <a:lnTo>
                      <a:pt x="126" y="126"/>
                    </a:lnTo>
                    <a:lnTo>
                      <a:pt x="124" y="124"/>
                    </a:lnTo>
                    <a:lnTo>
                      <a:pt x="124" y="123"/>
                    </a:lnTo>
                    <a:lnTo>
                      <a:pt x="122" y="123"/>
                    </a:lnTo>
                    <a:lnTo>
                      <a:pt x="120" y="119"/>
                    </a:lnTo>
                    <a:lnTo>
                      <a:pt x="118" y="119"/>
                    </a:lnTo>
                    <a:lnTo>
                      <a:pt x="116" y="117"/>
                    </a:lnTo>
                    <a:lnTo>
                      <a:pt x="114" y="117"/>
                    </a:lnTo>
                    <a:lnTo>
                      <a:pt x="112" y="117"/>
                    </a:lnTo>
                    <a:lnTo>
                      <a:pt x="112" y="115"/>
                    </a:lnTo>
                    <a:lnTo>
                      <a:pt x="110" y="115"/>
                    </a:lnTo>
                    <a:lnTo>
                      <a:pt x="110" y="113"/>
                    </a:lnTo>
                    <a:lnTo>
                      <a:pt x="110" y="111"/>
                    </a:lnTo>
                    <a:lnTo>
                      <a:pt x="110" y="109"/>
                    </a:lnTo>
                    <a:lnTo>
                      <a:pt x="108" y="109"/>
                    </a:lnTo>
                    <a:lnTo>
                      <a:pt x="107" y="109"/>
                    </a:lnTo>
                    <a:lnTo>
                      <a:pt x="105" y="107"/>
                    </a:lnTo>
                    <a:lnTo>
                      <a:pt x="103" y="107"/>
                    </a:lnTo>
                    <a:lnTo>
                      <a:pt x="101" y="105"/>
                    </a:lnTo>
                    <a:lnTo>
                      <a:pt x="101" y="107"/>
                    </a:lnTo>
                    <a:lnTo>
                      <a:pt x="99" y="107"/>
                    </a:lnTo>
                    <a:lnTo>
                      <a:pt x="97" y="105"/>
                    </a:lnTo>
                    <a:lnTo>
                      <a:pt x="95" y="107"/>
                    </a:lnTo>
                    <a:lnTo>
                      <a:pt x="93" y="107"/>
                    </a:lnTo>
                    <a:lnTo>
                      <a:pt x="91" y="105"/>
                    </a:lnTo>
                    <a:lnTo>
                      <a:pt x="91" y="103"/>
                    </a:lnTo>
                    <a:lnTo>
                      <a:pt x="89" y="103"/>
                    </a:lnTo>
                    <a:lnTo>
                      <a:pt x="87" y="103"/>
                    </a:lnTo>
                    <a:lnTo>
                      <a:pt x="86" y="102"/>
                    </a:lnTo>
                    <a:lnTo>
                      <a:pt x="86" y="103"/>
                    </a:lnTo>
                    <a:lnTo>
                      <a:pt x="84" y="102"/>
                    </a:lnTo>
                    <a:lnTo>
                      <a:pt x="82" y="102"/>
                    </a:lnTo>
                    <a:lnTo>
                      <a:pt x="80" y="102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76" y="96"/>
                    </a:lnTo>
                    <a:lnTo>
                      <a:pt x="76" y="94"/>
                    </a:lnTo>
                    <a:lnTo>
                      <a:pt x="74" y="94"/>
                    </a:lnTo>
                    <a:lnTo>
                      <a:pt x="72" y="96"/>
                    </a:lnTo>
                    <a:lnTo>
                      <a:pt x="70" y="96"/>
                    </a:lnTo>
                    <a:lnTo>
                      <a:pt x="68" y="94"/>
                    </a:lnTo>
                    <a:lnTo>
                      <a:pt x="67" y="94"/>
                    </a:lnTo>
                    <a:lnTo>
                      <a:pt x="67" y="96"/>
                    </a:lnTo>
                    <a:lnTo>
                      <a:pt x="65" y="94"/>
                    </a:lnTo>
                    <a:lnTo>
                      <a:pt x="63" y="94"/>
                    </a:lnTo>
                    <a:lnTo>
                      <a:pt x="61" y="96"/>
                    </a:lnTo>
                    <a:lnTo>
                      <a:pt x="61" y="98"/>
                    </a:lnTo>
                    <a:lnTo>
                      <a:pt x="59" y="98"/>
                    </a:lnTo>
                    <a:lnTo>
                      <a:pt x="57" y="98"/>
                    </a:lnTo>
                    <a:lnTo>
                      <a:pt x="55" y="98"/>
                    </a:lnTo>
                    <a:lnTo>
                      <a:pt x="53" y="98"/>
                    </a:lnTo>
                    <a:lnTo>
                      <a:pt x="47" y="98"/>
                    </a:lnTo>
                    <a:lnTo>
                      <a:pt x="47" y="100"/>
                    </a:lnTo>
                    <a:lnTo>
                      <a:pt x="44" y="100"/>
                    </a:lnTo>
                    <a:lnTo>
                      <a:pt x="44" y="102"/>
                    </a:lnTo>
                    <a:lnTo>
                      <a:pt x="42" y="102"/>
                    </a:lnTo>
                    <a:lnTo>
                      <a:pt x="40" y="103"/>
                    </a:lnTo>
                    <a:lnTo>
                      <a:pt x="38" y="105"/>
                    </a:lnTo>
                    <a:lnTo>
                      <a:pt x="36" y="107"/>
                    </a:lnTo>
                    <a:lnTo>
                      <a:pt x="38" y="107"/>
                    </a:lnTo>
                    <a:lnTo>
                      <a:pt x="38" y="109"/>
                    </a:lnTo>
                    <a:lnTo>
                      <a:pt x="34" y="111"/>
                    </a:lnTo>
                    <a:lnTo>
                      <a:pt x="30" y="113"/>
                    </a:lnTo>
                    <a:lnTo>
                      <a:pt x="28" y="113"/>
                    </a:lnTo>
                    <a:lnTo>
                      <a:pt x="25" y="113"/>
                    </a:lnTo>
                    <a:lnTo>
                      <a:pt x="23" y="113"/>
                    </a:lnTo>
                    <a:lnTo>
                      <a:pt x="23" y="105"/>
                    </a:lnTo>
                    <a:lnTo>
                      <a:pt x="21" y="102"/>
                    </a:lnTo>
                    <a:lnTo>
                      <a:pt x="23" y="96"/>
                    </a:lnTo>
                    <a:lnTo>
                      <a:pt x="23" y="92"/>
                    </a:lnTo>
                    <a:lnTo>
                      <a:pt x="21" y="88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5" y="81"/>
                    </a:lnTo>
                    <a:lnTo>
                      <a:pt x="23" y="81"/>
                    </a:lnTo>
                    <a:lnTo>
                      <a:pt x="23" y="79"/>
                    </a:lnTo>
                    <a:lnTo>
                      <a:pt x="21" y="79"/>
                    </a:lnTo>
                    <a:lnTo>
                      <a:pt x="21" y="77"/>
                    </a:lnTo>
                    <a:lnTo>
                      <a:pt x="19" y="79"/>
                    </a:lnTo>
                    <a:lnTo>
                      <a:pt x="19" y="77"/>
                    </a:lnTo>
                    <a:lnTo>
                      <a:pt x="21" y="77"/>
                    </a:lnTo>
                    <a:lnTo>
                      <a:pt x="21" y="75"/>
                    </a:lnTo>
                    <a:lnTo>
                      <a:pt x="19" y="77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9" y="73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3" y="73"/>
                    </a:lnTo>
                    <a:lnTo>
                      <a:pt x="13" y="71"/>
                    </a:lnTo>
                    <a:lnTo>
                      <a:pt x="11" y="71"/>
                    </a:lnTo>
                    <a:lnTo>
                      <a:pt x="11" y="73"/>
                    </a:lnTo>
                    <a:lnTo>
                      <a:pt x="11" y="75"/>
                    </a:lnTo>
                    <a:lnTo>
                      <a:pt x="11" y="73"/>
                    </a:lnTo>
                    <a:lnTo>
                      <a:pt x="9" y="71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1" y="67"/>
                    </a:lnTo>
                    <a:lnTo>
                      <a:pt x="11" y="69"/>
                    </a:lnTo>
                    <a:lnTo>
                      <a:pt x="15" y="67"/>
                    </a:lnTo>
                    <a:lnTo>
                      <a:pt x="17" y="69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21" y="67"/>
                    </a:lnTo>
                    <a:lnTo>
                      <a:pt x="21" y="65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9" y="67"/>
                    </a:lnTo>
                    <a:lnTo>
                      <a:pt x="17" y="65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7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7" y="60"/>
                    </a:lnTo>
                    <a:lnTo>
                      <a:pt x="19" y="60"/>
                    </a:lnTo>
                    <a:lnTo>
                      <a:pt x="17" y="60"/>
                    </a:lnTo>
                    <a:lnTo>
                      <a:pt x="15" y="58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9" y="60"/>
                    </a:lnTo>
                    <a:lnTo>
                      <a:pt x="7" y="60"/>
                    </a:lnTo>
                    <a:lnTo>
                      <a:pt x="7" y="61"/>
                    </a:lnTo>
                    <a:lnTo>
                      <a:pt x="7" y="63"/>
                    </a:lnTo>
                    <a:lnTo>
                      <a:pt x="9" y="63"/>
                    </a:lnTo>
                    <a:lnTo>
                      <a:pt x="7" y="61"/>
                    </a:lnTo>
                    <a:lnTo>
                      <a:pt x="7" y="60"/>
                    </a:lnTo>
                    <a:lnTo>
                      <a:pt x="5" y="60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5" y="56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5" y="44"/>
                    </a:lnTo>
                    <a:lnTo>
                      <a:pt x="5" y="42"/>
                    </a:lnTo>
                    <a:lnTo>
                      <a:pt x="7" y="39"/>
                    </a:lnTo>
                    <a:lnTo>
                      <a:pt x="7" y="37"/>
                    </a:lnTo>
                    <a:lnTo>
                      <a:pt x="5" y="37"/>
                    </a:lnTo>
                    <a:lnTo>
                      <a:pt x="5" y="35"/>
                    </a:lnTo>
                    <a:lnTo>
                      <a:pt x="5" y="29"/>
                    </a:lnTo>
                    <a:lnTo>
                      <a:pt x="4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9" y="14"/>
                    </a:lnTo>
                    <a:lnTo>
                      <a:pt x="17" y="10"/>
                    </a:lnTo>
                    <a:lnTo>
                      <a:pt x="28" y="8"/>
                    </a:lnTo>
                    <a:lnTo>
                      <a:pt x="36" y="16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42" y="25"/>
                    </a:lnTo>
                    <a:lnTo>
                      <a:pt x="44" y="29"/>
                    </a:lnTo>
                    <a:lnTo>
                      <a:pt x="47" y="31"/>
                    </a:lnTo>
                    <a:lnTo>
                      <a:pt x="46" y="31"/>
                    </a:lnTo>
                    <a:lnTo>
                      <a:pt x="47" y="33"/>
                    </a:lnTo>
                    <a:lnTo>
                      <a:pt x="47" y="31"/>
                    </a:lnTo>
                    <a:lnTo>
                      <a:pt x="47" y="33"/>
                    </a:lnTo>
                    <a:lnTo>
                      <a:pt x="49" y="33"/>
                    </a:lnTo>
                    <a:lnTo>
                      <a:pt x="49" y="31"/>
                    </a:lnTo>
                    <a:lnTo>
                      <a:pt x="49" y="33"/>
                    </a:lnTo>
                    <a:lnTo>
                      <a:pt x="51" y="33"/>
                    </a:lnTo>
                    <a:lnTo>
                      <a:pt x="51" y="31"/>
                    </a:lnTo>
                    <a:lnTo>
                      <a:pt x="53" y="33"/>
                    </a:lnTo>
                    <a:lnTo>
                      <a:pt x="53" y="31"/>
                    </a:lnTo>
                    <a:lnTo>
                      <a:pt x="57" y="31"/>
                    </a:lnTo>
                    <a:lnTo>
                      <a:pt x="68" y="33"/>
                    </a:lnTo>
                    <a:lnTo>
                      <a:pt x="72" y="33"/>
                    </a:lnTo>
                    <a:lnTo>
                      <a:pt x="72" y="31"/>
                    </a:lnTo>
                    <a:lnTo>
                      <a:pt x="74" y="31"/>
                    </a:lnTo>
                    <a:lnTo>
                      <a:pt x="74" y="29"/>
                    </a:lnTo>
                    <a:lnTo>
                      <a:pt x="74" y="31"/>
                    </a:lnTo>
                    <a:lnTo>
                      <a:pt x="72" y="29"/>
                    </a:lnTo>
                    <a:lnTo>
                      <a:pt x="72" y="25"/>
                    </a:lnTo>
                    <a:lnTo>
                      <a:pt x="72" y="23"/>
                    </a:lnTo>
                    <a:lnTo>
                      <a:pt x="72" y="19"/>
                    </a:lnTo>
                    <a:lnTo>
                      <a:pt x="74" y="18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82" y="14"/>
                    </a:lnTo>
                    <a:lnTo>
                      <a:pt x="84" y="14"/>
                    </a:lnTo>
                    <a:lnTo>
                      <a:pt x="86" y="14"/>
                    </a:lnTo>
                    <a:lnTo>
                      <a:pt x="86" y="12"/>
                    </a:lnTo>
                    <a:lnTo>
                      <a:pt x="87" y="10"/>
                    </a:lnTo>
                    <a:lnTo>
                      <a:pt x="86" y="8"/>
                    </a:lnTo>
                    <a:lnTo>
                      <a:pt x="87" y="8"/>
                    </a:lnTo>
                    <a:lnTo>
                      <a:pt x="87" y="6"/>
                    </a:lnTo>
                    <a:lnTo>
                      <a:pt x="89" y="6"/>
                    </a:lnTo>
                    <a:lnTo>
                      <a:pt x="91" y="6"/>
                    </a:lnTo>
                    <a:lnTo>
                      <a:pt x="93" y="6"/>
                    </a:lnTo>
                    <a:lnTo>
                      <a:pt x="93" y="8"/>
                    </a:lnTo>
                    <a:lnTo>
                      <a:pt x="95" y="10"/>
                    </a:lnTo>
                    <a:lnTo>
                      <a:pt x="95" y="8"/>
                    </a:lnTo>
                    <a:lnTo>
                      <a:pt x="93" y="4"/>
                    </a:lnTo>
                    <a:lnTo>
                      <a:pt x="91" y="4"/>
                    </a:lnTo>
                    <a:lnTo>
                      <a:pt x="89" y="2"/>
                    </a:lnTo>
                    <a:lnTo>
                      <a:pt x="91" y="2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7" y="0"/>
                    </a:lnTo>
                    <a:lnTo>
                      <a:pt x="99" y="0"/>
                    </a:lnTo>
                    <a:lnTo>
                      <a:pt x="97" y="0"/>
                    </a:lnTo>
                    <a:lnTo>
                      <a:pt x="105" y="6"/>
                    </a:lnTo>
                    <a:lnTo>
                      <a:pt x="107" y="6"/>
                    </a:lnTo>
                    <a:lnTo>
                      <a:pt x="108" y="8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4" y="10"/>
                    </a:lnTo>
                    <a:lnTo>
                      <a:pt x="116" y="10"/>
                    </a:lnTo>
                    <a:lnTo>
                      <a:pt x="118" y="10"/>
                    </a:lnTo>
                    <a:lnTo>
                      <a:pt x="120" y="12"/>
                    </a:lnTo>
                    <a:lnTo>
                      <a:pt x="120" y="14"/>
                    </a:lnTo>
                    <a:lnTo>
                      <a:pt x="120" y="16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2" y="19"/>
                    </a:lnTo>
                    <a:lnTo>
                      <a:pt x="124" y="21"/>
                    </a:lnTo>
                    <a:lnTo>
                      <a:pt x="126" y="21"/>
                    </a:lnTo>
                    <a:lnTo>
                      <a:pt x="124" y="21"/>
                    </a:lnTo>
                    <a:lnTo>
                      <a:pt x="124" y="23"/>
                    </a:lnTo>
                    <a:lnTo>
                      <a:pt x="124" y="21"/>
                    </a:lnTo>
                    <a:lnTo>
                      <a:pt x="122" y="21"/>
                    </a:lnTo>
                    <a:lnTo>
                      <a:pt x="120" y="21"/>
                    </a:lnTo>
                    <a:lnTo>
                      <a:pt x="122" y="23"/>
                    </a:lnTo>
                    <a:lnTo>
                      <a:pt x="122" y="25"/>
                    </a:lnTo>
                    <a:lnTo>
                      <a:pt x="122" y="27"/>
                    </a:lnTo>
                    <a:lnTo>
                      <a:pt x="122" y="29"/>
                    </a:lnTo>
                    <a:lnTo>
                      <a:pt x="124" y="31"/>
                    </a:lnTo>
                    <a:lnTo>
                      <a:pt x="126" y="31"/>
                    </a:lnTo>
                    <a:lnTo>
                      <a:pt x="128" y="33"/>
                    </a:lnTo>
                    <a:lnTo>
                      <a:pt x="129" y="33"/>
                    </a:lnTo>
                    <a:lnTo>
                      <a:pt x="131" y="33"/>
                    </a:lnTo>
                    <a:lnTo>
                      <a:pt x="135" y="33"/>
                    </a:lnTo>
                    <a:lnTo>
                      <a:pt x="137" y="33"/>
                    </a:lnTo>
                    <a:lnTo>
                      <a:pt x="137" y="35"/>
                    </a:lnTo>
                    <a:lnTo>
                      <a:pt x="139" y="35"/>
                    </a:lnTo>
                    <a:lnTo>
                      <a:pt x="141" y="35"/>
                    </a:lnTo>
                    <a:lnTo>
                      <a:pt x="143" y="33"/>
                    </a:lnTo>
                    <a:lnTo>
                      <a:pt x="143" y="31"/>
                    </a:lnTo>
                    <a:lnTo>
                      <a:pt x="145" y="33"/>
                    </a:lnTo>
                    <a:lnTo>
                      <a:pt x="147" y="33"/>
                    </a:lnTo>
                    <a:lnTo>
                      <a:pt x="147" y="35"/>
                    </a:lnTo>
                    <a:lnTo>
                      <a:pt x="149" y="35"/>
                    </a:lnTo>
                    <a:lnTo>
                      <a:pt x="150" y="35"/>
                    </a:lnTo>
                    <a:lnTo>
                      <a:pt x="150" y="37"/>
                    </a:lnTo>
                    <a:lnTo>
                      <a:pt x="150" y="39"/>
                    </a:lnTo>
                    <a:lnTo>
                      <a:pt x="152" y="39"/>
                    </a:lnTo>
                    <a:lnTo>
                      <a:pt x="150" y="39"/>
                    </a:lnTo>
                    <a:lnTo>
                      <a:pt x="152" y="40"/>
                    </a:lnTo>
                    <a:lnTo>
                      <a:pt x="150" y="42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6"/>
                    </a:lnTo>
                    <a:lnTo>
                      <a:pt x="154" y="48"/>
                    </a:lnTo>
                    <a:lnTo>
                      <a:pt x="156" y="48"/>
                    </a:lnTo>
                    <a:lnTo>
                      <a:pt x="156" y="50"/>
                    </a:lnTo>
                    <a:lnTo>
                      <a:pt x="158" y="50"/>
                    </a:lnTo>
                    <a:lnTo>
                      <a:pt x="156" y="52"/>
                    </a:lnTo>
                    <a:lnTo>
                      <a:pt x="158" y="52"/>
                    </a:lnTo>
                    <a:lnTo>
                      <a:pt x="158" y="54"/>
                    </a:lnTo>
                    <a:lnTo>
                      <a:pt x="158" y="56"/>
                    </a:lnTo>
                    <a:lnTo>
                      <a:pt x="158" y="58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77" y="73"/>
                    </a:lnTo>
                    <a:lnTo>
                      <a:pt x="179" y="75"/>
                    </a:lnTo>
                    <a:lnTo>
                      <a:pt x="187" y="81"/>
                    </a:lnTo>
                    <a:lnTo>
                      <a:pt x="189" y="81"/>
                    </a:lnTo>
                    <a:lnTo>
                      <a:pt x="192" y="82"/>
                    </a:lnTo>
                    <a:lnTo>
                      <a:pt x="196" y="86"/>
                    </a:lnTo>
                    <a:lnTo>
                      <a:pt x="200" y="88"/>
                    </a:lnTo>
                    <a:lnTo>
                      <a:pt x="204" y="90"/>
                    </a:lnTo>
                    <a:lnTo>
                      <a:pt x="206" y="94"/>
                    </a:lnTo>
                    <a:lnTo>
                      <a:pt x="210" y="94"/>
                    </a:lnTo>
                    <a:lnTo>
                      <a:pt x="211" y="96"/>
                    </a:lnTo>
                    <a:lnTo>
                      <a:pt x="213" y="94"/>
                    </a:lnTo>
                    <a:lnTo>
                      <a:pt x="215" y="96"/>
                    </a:lnTo>
                    <a:lnTo>
                      <a:pt x="217" y="96"/>
                    </a:lnTo>
                    <a:lnTo>
                      <a:pt x="219" y="96"/>
                    </a:lnTo>
                    <a:lnTo>
                      <a:pt x="219" y="98"/>
                    </a:lnTo>
                    <a:lnTo>
                      <a:pt x="221" y="100"/>
                    </a:lnTo>
                    <a:lnTo>
                      <a:pt x="223" y="100"/>
                    </a:lnTo>
                    <a:lnTo>
                      <a:pt x="225" y="100"/>
                    </a:lnTo>
                    <a:lnTo>
                      <a:pt x="227" y="100"/>
                    </a:lnTo>
                    <a:lnTo>
                      <a:pt x="227" y="102"/>
                    </a:lnTo>
                    <a:lnTo>
                      <a:pt x="225" y="102"/>
                    </a:lnTo>
                    <a:lnTo>
                      <a:pt x="223" y="103"/>
                    </a:lnTo>
                    <a:lnTo>
                      <a:pt x="225" y="105"/>
                    </a:lnTo>
                    <a:lnTo>
                      <a:pt x="223" y="109"/>
                    </a:lnTo>
                    <a:lnTo>
                      <a:pt x="225" y="111"/>
                    </a:lnTo>
                    <a:lnTo>
                      <a:pt x="223" y="111"/>
                    </a:lnTo>
                    <a:lnTo>
                      <a:pt x="223" y="113"/>
                    </a:lnTo>
                    <a:close/>
                    <a:moveTo>
                      <a:pt x="15" y="67"/>
                    </a:moveTo>
                    <a:lnTo>
                      <a:pt x="17" y="67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5" y="67"/>
                    </a:lnTo>
                    <a:close/>
                    <a:moveTo>
                      <a:pt x="17" y="67"/>
                    </a:moveTo>
                    <a:lnTo>
                      <a:pt x="19" y="67"/>
                    </a:lnTo>
                    <a:lnTo>
                      <a:pt x="17" y="67"/>
                    </a:lnTo>
                    <a:close/>
                    <a:moveTo>
                      <a:pt x="17" y="67"/>
                    </a:moveTo>
                    <a:lnTo>
                      <a:pt x="19" y="67"/>
                    </a:lnTo>
                    <a:lnTo>
                      <a:pt x="19" y="69"/>
                    </a:lnTo>
                    <a:lnTo>
                      <a:pt x="17" y="69"/>
                    </a:lnTo>
                    <a:lnTo>
                      <a:pt x="17" y="67"/>
                    </a:lnTo>
                    <a:close/>
                    <a:moveTo>
                      <a:pt x="15" y="60"/>
                    </a:moveTo>
                    <a:lnTo>
                      <a:pt x="17" y="60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4" name="Freeform 114">
                <a:extLst>
                  <a:ext uri="{FF2B5EF4-FFF2-40B4-BE49-F238E27FC236}">
                    <a16:creationId xmlns:a16="http://schemas.microsoft.com/office/drawing/2014/main" id="{FC542F6D-A434-0B50-50E5-9BF929AD043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94914" y="-3129967"/>
                <a:ext cx="168588" cy="88398"/>
              </a:xfrm>
              <a:custGeom>
                <a:avLst/>
                <a:gdLst>
                  <a:gd name="T0" fmla="*/ 100 w 107"/>
                  <a:gd name="T1" fmla="*/ 40 h 56"/>
                  <a:gd name="T2" fmla="*/ 102 w 107"/>
                  <a:gd name="T3" fmla="*/ 46 h 56"/>
                  <a:gd name="T4" fmla="*/ 103 w 107"/>
                  <a:gd name="T5" fmla="*/ 48 h 56"/>
                  <a:gd name="T6" fmla="*/ 107 w 107"/>
                  <a:gd name="T7" fmla="*/ 50 h 56"/>
                  <a:gd name="T8" fmla="*/ 105 w 107"/>
                  <a:gd name="T9" fmla="*/ 56 h 56"/>
                  <a:gd name="T10" fmla="*/ 100 w 107"/>
                  <a:gd name="T11" fmla="*/ 54 h 56"/>
                  <a:gd name="T12" fmla="*/ 94 w 107"/>
                  <a:gd name="T13" fmla="*/ 52 h 56"/>
                  <a:gd name="T14" fmla="*/ 88 w 107"/>
                  <a:gd name="T15" fmla="*/ 48 h 56"/>
                  <a:gd name="T16" fmla="*/ 82 w 107"/>
                  <a:gd name="T17" fmla="*/ 50 h 56"/>
                  <a:gd name="T18" fmla="*/ 77 w 107"/>
                  <a:gd name="T19" fmla="*/ 52 h 56"/>
                  <a:gd name="T20" fmla="*/ 73 w 107"/>
                  <a:gd name="T21" fmla="*/ 54 h 56"/>
                  <a:gd name="T22" fmla="*/ 69 w 107"/>
                  <a:gd name="T23" fmla="*/ 52 h 56"/>
                  <a:gd name="T24" fmla="*/ 65 w 107"/>
                  <a:gd name="T25" fmla="*/ 52 h 56"/>
                  <a:gd name="T26" fmla="*/ 58 w 107"/>
                  <a:gd name="T27" fmla="*/ 54 h 56"/>
                  <a:gd name="T28" fmla="*/ 52 w 107"/>
                  <a:gd name="T29" fmla="*/ 52 h 56"/>
                  <a:gd name="T30" fmla="*/ 48 w 107"/>
                  <a:gd name="T31" fmla="*/ 50 h 56"/>
                  <a:gd name="T32" fmla="*/ 46 w 107"/>
                  <a:gd name="T33" fmla="*/ 44 h 56"/>
                  <a:gd name="T34" fmla="*/ 40 w 107"/>
                  <a:gd name="T35" fmla="*/ 46 h 56"/>
                  <a:gd name="T36" fmla="*/ 35 w 107"/>
                  <a:gd name="T37" fmla="*/ 46 h 56"/>
                  <a:gd name="T38" fmla="*/ 27 w 107"/>
                  <a:gd name="T39" fmla="*/ 46 h 56"/>
                  <a:gd name="T40" fmla="*/ 29 w 107"/>
                  <a:gd name="T41" fmla="*/ 40 h 56"/>
                  <a:gd name="T42" fmla="*/ 29 w 107"/>
                  <a:gd name="T43" fmla="*/ 35 h 56"/>
                  <a:gd name="T44" fmla="*/ 27 w 107"/>
                  <a:gd name="T45" fmla="*/ 31 h 56"/>
                  <a:gd name="T46" fmla="*/ 23 w 107"/>
                  <a:gd name="T47" fmla="*/ 19 h 56"/>
                  <a:gd name="T48" fmla="*/ 18 w 107"/>
                  <a:gd name="T49" fmla="*/ 14 h 56"/>
                  <a:gd name="T50" fmla="*/ 8 w 107"/>
                  <a:gd name="T51" fmla="*/ 12 h 56"/>
                  <a:gd name="T52" fmla="*/ 4 w 107"/>
                  <a:gd name="T53" fmla="*/ 8 h 56"/>
                  <a:gd name="T54" fmla="*/ 2 w 107"/>
                  <a:gd name="T55" fmla="*/ 2 h 56"/>
                  <a:gd name="T56" fmla="*/ 12 w 107"/>
                  <a:gd name="T57" fmla="*/ 2 h 56"/>
                  <a:gd name="T58" fmla="*/ 21 w 107"/>
                  <a:gd name="T59" fmla="*/ 6 h 56"/>
                  <a:gd name="T60" fmla="*/ 27 w 107"/>
                  <a:gd name="T61" fmla="*/ 10 h 56"/>
                  <a:gd name="T62" fmla="*/ 31 w 107"/>
                  <a:gd name="T63" fmla="*/ 10 h 56"/>
                  <a:gd name="T64" fmla="*/ 39 w 107"/>
                  <a:gd name="T65" fmla="*/ 10 h 56"/>
                  <a:gd name="T66" fmla="*/ 42 w 107"/>
                  <a:gd name="T67" fmla="*/ 10 h 56"/>
                  <a:gd name="T68" fmla="*/ 48 w 107"/>
                  <a:gd name="T69" fmla="*/ 14 h 56"/>
                  <a:gd name="T70" fmla="*/ 60 w 107"/>
                  <a:gd name="T71" fmla="*/ 19 h 56"/>
                  <a:gd name="T72" fmla="*/ 61 w 107"/>
                  <a:gd name="T73" fmla="*/ 23 h 56"/>
                  <a:gd name="T74" fmla="*/ 67 w 107"/>
                  <a:gd name="T75" fmla="*/ 21 h 56"/>
                  <a:gd name="T76" fmla="*/ 71 w 107"/>
                  <a:gd name="T77" fmla="*/ 19 h 56"/>
                  <a:gd name="T78" fmla="*/ 77 w 107"/>
                  <a:gd name="T79" fmla="*/ 19 h 56"/>
                  <a:gd name="T80" fmla="*/ 79 w 107"/>
                  <a:gd name="T81" fmla="*/ 21 h 56"/>
                  <a:gd name="T82" fmla="*/ 82 w 107"/>
                  <a:gd name="T83" fmla="*/ 21 h 56"/>
                  <a:gd name="T84" fmla="*/ 86 w 107"/>
                  <a:gd name="T85" fmla="*/ 23 h 56"/>
                  <a:gd name="T86" fmla="*/ 92 w 107"/>
                  <a:gd name="T87" fmla="*/ 25 h 56"/>
                  <a:gd name="T88" fmla="*/ 90 w 107"/>
                  <a:gd name="T89" fmla="*/ 31 h 56"/>
                  <a:gd name="T90" fmla="*/ 96 w 107"/>
                  <a:gd name="T91" fmla="*/ 35 h 56"/>
                  <a:gd name="T92" fmla="*/ 98 w 107"/>
                  <a:gd name="T93" fmla="*/ 37 h 56"/>
                  <a:gd name="T94" fmla="*/ 103 w 107"/>
                  <a:gd name="T9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7" h="56">
                    <a:moveTo>
                      <a:pt x="103" y="38"/>
                    </a:moveTo>
                    <a:lnTo>
                      <a:pt x="102" y="38"/>
                    </a:lnTo>
                    <a:lnTo>
                      <a:pt x="102" y="40"/>
                    </a:lnTo>
                    <a:lnTo>
                      <a:pt x="100" y="40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3" y="46"/>
                    </a:lnTo>
                    <a:lnTo>
                      <a:pt x="102" y="46"/>
                    </a:lnTo>
                    <a:lnTo>
                      <a:pt x="103" y="46"/>
                    </a:lnTo>
                    <a:lnTo>
                      <a:pt x="103" y="48"/>
                    </a:lnTo>
                    <a:lnTo>
                      <a:pt x="105" y="48"/>
                    </a:lnTo>
                    <a:lnTo>
                      <a:pt x="107" y="50"/>
                    </a:lnTo>
                    <a:lnTo>
                      <a:pt x="105" y="50"/>
                    </a:lnTo>
                    <a:lnTo>
                      <a:pt x="107" y="50"/>
                    </a:lnTo>
                    <a:lnTo>
                      <a:pt x="107" y="52"/>
                    </a:lnTo>
                    <a:lnTo>
                      <a:pt x="107" y="54"/>
                    </a:lnTo>
                    <a:lnTo>
                      <a:pt x="105" y="54"/>
                    </a:lnTo>
                    <a:lnTo>
                      <a:pt x="105" y="56"/>
                    </a:lnTo>
                    <a:lnTo>
                      <a:pt x="105" y="54"/>
                    </a:lnTo>
                    <a:lnTo>
                      <a:pt x="103" y="56"/>
                    </a:lnTo>
                    <a:lnTo>
                      <a:pt x="102" y="56"/>
                    </a:lnTo>
                    <a:lnTo>
                      <a:pt x="100" y="54"/>
                    </a:lnTo>
                    <a:lnTo>
                      <a:pt x="98" y="52"/>
                    </a:lnTo>
                    <a:lnTo>
                      <a:pt x="98" y="54"/>
                    </a:lnTo>
                    <a:lnTo>
                      <a:pt x="96" y="54"/>
                    </a:lnTo>
                    <a:lnTo>
                      <a:pt x="94" y="52"/>
                    </a:lnTo>
                    <a:lnTo>
                      <a:pt x="92" y="52"/>
                    </a:lnTo>
                    <a:lnTo>
                      <a:pt x="92" y="50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4" y="46"/>
                    </a:lnTo>
                    <a:lnTo>
                      <a:pt x="82" y="48"/>
                    </a:lnTo>
                    <a:lnTo>
                      <a:pt x="82" y="50"/>
                    </a:lnTo>
                    <a:lnTo>
                      <a:pt x="81" y="50"/>
                    </a:lnTo>
                    <a:lnTo>
                      <a:pt x="79" y="52"/>
                    </a:lnTo>
                    <a:lnTo>
                      <a:pt x="77" y="50"/>
                    </a:lnTo>
                    <a:lnTo>
                      <a:pt x="77" y="52"/>
                    </a:lnTo>
                    <a:lnTo>
                      <a:pt x="79" y="52"/>
                    </a:lnTo>
                    <a:lnTo>
                      <a:pt x="77" y="52"/>
                    </a:lnTo>
                    <a:lnTo>
                      <a:pt x="75" y="52"/>
                    </a:lnTo>
                    <a:lnTo>
                      <a:pt x="73" y="54"/>
                    </a:lnTo>
                    <a:lnTo>
                      <a:pt x="73" y="52"/>
                    </a:lnTo>
                    <a:lnTo>
                      <a:pt x="73" y="54"/>
                    </a:lnTo>
                    <a:lnTo>
                      <a:pt x="71" y="54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7" y="54"/>
                    </a:lnTo>
                    <a:lnTo>
                      <a:pt x="65" y="54"/>
                    </a:lnTo>
                    <a:lnTo>
                      <a:pt x="65" y="52"/>
                    </a:lnTo>
                    <a:lnTo>
                      <a:pt x="63" y="54"/>
                    </a:lnTo>
                    <a:lnTo>
                      <a:pt x="61" y="54"/>
                    </a:lnTo>
                    <a:lnTo>
                      <a:pt x="60" y="54"/>
                    </a:lnTo>
                    <a:lnTo>
                      <a:pt x="58" y="54"/>
                    </a:lnTo>
                    <a:lnTo>
                      <a:pt x="56" y="54"/>
                    </a:lnTo>
                    <a:lnTo>
                      <a:pt x="54" y="52"/>
                    </a:lnTo>
                    <a:lnTo>
                      <a:pt x="52" y="54"/>
                    </a:lnTo>
                    <a:lnTo>
                      <a:pt x="52" y="52"/>
                    </a:lnTo>
                    <a:lnTo>
                      <a:pt x="50" y="52"/>
                    </a:lnTo>
                    <a:lnTo>
                      <a:pt x="52" y="50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8" y="48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2" y="46"/>
                    </a:lnTo>
                    <a:lnTo>
                      <a:pt x="40" y="46"/>
                    </a:lnTo>
                    <a:lnTo>
                      <a:pt x="40" y="48"/>
                    </a:lnTo>
                    <a:lnTo>
                      <a:pt x="39" y="46"/>
                    </a:lnTo>
                    <a:lnTo>
                      <a:pt x="37" y="46"/>
                    </a:lnTo>
                    <a:lnTo>
                      <a:pt x="35" y="46"/>
                    </a:lnTo>
                    <a:lnTo>
                      <a:pt x="33" y="46"/>
                    </a:lnTo>
                    <a:lnTo>
                      <a:pt x="31" y="46"/>
                    </a:lnTo>
                    <a:lnTo>
                      <a:pt x="29" y="48"/>
                    </a:lnTo>
                    <a:lnTo>
                      <a:pt x="27" y="46"/>
                    </a:lnTo>
                    <a:lnTo>
                      <a:pt x="25" y="46"/>
                    </a:lnTo>
                    <a:lnTo>
                      <a:pt x="25" y="44"/>
                    </a:lnTo>
                    <a:lnTo>
                      <a:pt x="27" y="42"/>
                    </a:lnTo>
                    <a:lnTo>
                      <a:pt x="29" y="40"/>
                    </a:lnTo>
                    <a:lnTo>
                      <a:pt x="29" y="38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9" y="35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29"/>
                    </a:lnTo>
                    <a:lnTo>
                      <a:pt x="25" y="27"/>
                    </a:lnTo>
                    <a:lnTo>
                      <a:pt x="25" y="23"/>
                    </a:lnTo>
                    <a:lnTo>
                      <a:pt x="23" y="19"/>
                    </a:lnTo>
                    <a:lnTo>
                      <a:pt x="20" y="18"/>
                    </a:lnTo>
                    <a:lnTo>
                      <a:pt x="20" y="19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6" y="14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6" y="4"/>
                    </a:lnTo>
                    <a:lnTo>
                      <a:pt x="18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7" y="10"/>
                    </a:lnTo>
                    <a:lnTo>
                      <a:pt x="29" y="8"/>
                    </a:lnTo>
                    <a:lnTo>
                      <a:pt x="29" y="10"/>
                    </a:lnTo>
                    <a:lnTo>
                      <a:pt x="31" y="8"/>
                    </a:lnTo>
                    <a:lnTo>
                      <a:pt x="31" y="10"/>
                    </a:lnTo>
                    <a:lnTo>
                      <a:pt x="33" y="10"/>
                    </a:lnTo>
                    <a:lnTo>
                      <a:pt x="35" y="10"/>
                    </a:lnTo>
                    <a:lnTo>
                      <a:pt x="37" y="10"/>
                    </a:lnTo>
                    <a:lnTo>
                      <a:pt x="39" y="10"/>
                    </a:lnTo>
                    <a:lnTo>
                      <a:pt x="39" y="8"/>
                    </a:lnTo>
                    <a:lnTo>
                      <a:pt x="40" y="10"/>
                    </a:lnTo>
                    <a:lnTo>
                      <a:pt x="42" y="12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8" y="18"/>
                    </a:lnTo>
                    <a:lnTo>
                      <a:pt x="60" y="19"/>
                    </a:lnTo>
                    <a:lnTo>
                      <a:pt x="61" y="19"/>
                    </a:lnTo>
                    <a:lnTo>
                      <a:pt x="60" y="21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7" y="21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71" y="21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7" y="21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82" y="21"/>
                    </a:lnTo>
                    <a:lnTo>
                      <a:pt x="84" y="23"/>
                    </a:lnTo>
                    <a:lnTo>
                      <a:pt x="86" y="23"/>
                    </a:lnTo>
                    <a:lnTo>
                      <a:pt x="86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90" y="31"/>
                    </a:lnTo>
                    <a:lnTo>
                      <a:pt x="92" y="33"/>
                    </a:lnTo>
                    <a:lnTo>
                      <a:pt x="94" y="33"/>
                    </a:lnTo>
                    <a:lnTo>
                      <a:pt x="94" y="35"/>
                    </a:lnTo>
                    <a:lnTo>
                      <a:pt x="96" y="35"/>
                    </a:lnTo>
                    <a:lnTo>
                      <a:pt x="98" y="35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98" y="37"/>
                    </a:lnTo>
                    <a:lnTo>
                      <a:pt x="100" y="35"/>
                    </a:lnTo>
                    <a:lnTo>
                      <a:pt x="100" y="37"/>
                    </a:lnTo>
                    <a:lnTo>
                      <a:pt x="102" y="37"/>
                    </a:lnTo>
                    <a:lnTo>
                      <a:pt x="103" y="38"/>
                    </a:lnTo>
                    <a:close/>
                    <a:moveTo>
                      <a:pt x="27" y="33"/>
                    </a:moveTo>
                    <a:lnTo>
                      <a:pt x="27" y="35"/>
                    </a:lnTo>
                    <a:lnTo>
                      <a:pt x="27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5" name="Freeform 141">
                <a:extLst>
                  <a:ext uri="{FF2B5EF4-FFF2-40B4-BE49-F238E27FC236}">
                    <a16:creationId xmlns:a16="http://schemas.microsoft.com/office/drawing/2014/main" id="{73361CD5-B8D4-48F3-8191-DF15B47144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18266" y="-2255458"/>
                <a:ext cx="6302" cy="11050"/>
              </a:xfrm>
              <a:custGeom>
                <a:avLst/>
                <a:gdLst>
                  <a:gd name="T0" fmla="*/ 4 w 4"/>
                  <a:gd name="T1" fmla="*/ 2 h 7"/>
                  <a:gd name="T2" fmla="*/ 2 w 4"/>
                  <a:gd name="T3" fmla="*/ 3 h 7"/>
                  <a:gd name="T4" fmla="*/ 2 w 4"/>
                  <a:gd name="T5" fmla="*/ 5 h 7"/>
                  <a:gd name="T6" fmla="*/ 2 w 4"/>
                  <a:gd name="T7" fmla="*/ 7 h 7"/>
                  <a:gd name="T8" fmla="*/ 0 w 4"/>
                  <a:gd name="T9" fmla="*/ 7 h 7"/>
                  <a:gd name="T10" fmla="*/ 0 w 4"/>
                  <a:gd name="T11" fmla="*/ 5 h 7"/>
                  <a:gd name="T12" fmla="*/ 0 w 4"/>
                  <a:gd name="T13" fmla="*/ 3 h 7"/>
                  <a:gd name="T14" fmla="*/ 2 w 4"/>
                  <a:gd name="T15" fmla="*/ 3 h 7"/>
                  <a:gd name="T16" fmla="*/ 2 w 4"/>
                  <a:gd name="T17" fmla="*/ 2 h 7"/>
                  <a:gd name="T18" fmla="*/ 2 w 4"/>
                  <a:gd name="T19" fmla="*/ 0 h 7"/>
                  <a:gd name="T20" fmla="*/ 4 w 4"/>
                  <a:gd name="T21" fmla="*/ 0 h 7"/>
                  <a:gd name="T22" fmla="*/ 4 w 4"/>
                  <a:gd name="T23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" h="7">
                    <a:moveTo>
                      <a:pt x="4" y="2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6" name="Freeform 143">
                <a:extLst>
                  <a:ext uri="{FF2B5EF4-FFF2-40B4-BE49-F238E27FC236}">
                    <a16:creationId xmlns:a16="http://schemas.microsoft.com/office/drawing/2014/main" id="{FCD04F9F-13D9-E27A-3239-6E44B46D55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81460" y="-2364377"/>
                <a:ext cx="102413" cy="105763"/>
              </a:xfrm>
              <a:custGeom>
                <a:avLst/>
                <a:gdLst>
                  <a:gd name="T0" fmla="*/ 50 w 65"/>
                  <a:gd name="T1" fmla="*/ 13 h 67"/>
                  <a:gd name="T2" fmla="*/ 50 w 65"/>
                  <a:gd name="T3" fmla="*/ 32 h 67"/>
                  <a:gd name="T4" fmla="*/ 54 w 65"/>
                  <a:gd name="T5" fmla="*/ 32 h 67"/>
                  <a:gd name="T6" fmla="*/ 55 w 65"/>
                  <a:gd name="T7" fmla="*/ 34 h 67"/>
                  <a:gd name="T8" fmla="*/ 57 w 65"/>
                  <a:gd name="T9" fmla="*/ 36 h 67"/>
                  <a:gd name="T10" fmla="*/ 59 w 65"/>
                  <a:gd name="T11" fmla="*/ 32 h 67"/>
                  <a:gd name="T12" fmla="*/ 57 w 65"/>
                  <a:gd name="T13" fmla="*/ 31 h 67"/>
                  <a:gd name="T14" fmla="*/ 65 w 65"/>
                  <a:gd name="T15" fmla="*/ 34 h 67"/>
                  <a:gd name="T16" fmla="*/ 65 w 65"/>
                  <a:gd name="T17" fmla="*/ 36 h 67"/>
                  <a:gd name="T18" fmla="*/ 57 w 65"/>
                  <a:gd name="T19" fmla="*/ 42 h 67"/>
                  <a:gd name="T20" fmla="*/ 52 w 65"/>
                  <a:gd name="T21" fmla="*/ 44 h 67"/>
                  <a:gd name="T22" fmla="*/ 50 w 65"/>
                  <a:gd name="T23" fmla="*/ 48 h 67"/>
                  <a:gd name="T24" fmla="*/ 50 w 65"/>
                  <a:gd name="T25" fmla="*/ 51 h 67"/>
                  <a:gd name="T26" fmla="*/ 48 w 65"/>
                  <a:gd name="T27" fmla="*/ 53 h 67"/>
                  <a:gd name="T28" fmla="*/ 46 w 65"/>
                  <a:gd name="T29" fmla="*/ 55 h 67"/>
                  <a:gd name="T30" fmla="*/ 46 w 65"/>
                  <a:gd name="T31" fmla="*/ 55 h 67"/>
                  <a:gd name="T32" fmla="*/ 46 w 65"/>
                  <a:gd name="T33" fmla="*/ 55 h 67"/>
                  <a:gd name="T34" fmla="*/ 44 w 65"/>
                  <a:gd name="T35" fmla="*/ 57 h 67"/>
                  <a:gd name="T36" fmla="*/ 44 w 65"/>
                  <a:gd name="T37" fmla="*/ 57 h 67"/>
                  <a:gd name="T38" fmla="*/ 42 w 65"/>
                  <a:gd name="T39" fmla="*/ 59 h 67"/>
                  <a:gd name="T40" fmla="*/ 42 w 65"/>
                  <a:gd name="T41" fmla="*/ 59 h 67"/>
                  <a:gd name="T42" fmla="*/ 40 w 65"/>
                  <a:gd name="T43" fmla="*/ 61 h 67"/>
                  <a:gd name="T44" fmla="*/ 38 w 65"/>
                  <a:gd name="T45" fmla="*/ 63 h 67"/>
                  <a:gd name="T46" fmla="*/ 36 w 65"/>
                  <a:gd name="T47" fmla="*/ 65 h 67"/>
                  <a:gd name="T48" fmla="*/ 34 w 65"/>
                  <a:gd name="T49" fmla="*/ 67 h 67"/>
                  <a:gd name="T50" fmla="*/ 27 w 65"/>
                  <a:gd name="T51" fmla="*/ 65 h 67"/>
                  <a:gd name="T52" fmla="*/ 23 w 65"/>
                  <a:gd name="T53" fmla="*/ 65 h 67"/>
                  <a:gd name="T54" fmla="*/ 19 w 65"/>
                  <a:gd name="T55" fmla="*/ 65 h 67"/>
                  <a:gd name="T56" fmla="*/ 12 w 65"/>
                  <a:gd name="T57" fmla="*/ 63 h 67"/>
                  <a:gd name="T58" fmla="*/ 0 w 65"/>
                  <a:gd name="T59" fmla="*/ 55 h 67"/>
                  <a:gd name="T60" fmla="*/ 2 w 65"/>
                  <a:gd name="T61" fmla="*/ 53 h 67"/>
                  <a:gd name="T62" fmla="*/ 2 w 65"/>
                  <a:gd name="T63" fmla="*/ 50 h 67"/>
                  <a:gd name="T64" fmla="*/ 4 w 65"/>
                  <a:gd name="T65" fmla="*/ 46 h 67"/>
                  <a:gd name="T66" fmla="*/ 8 w 65"/>
                  <a:gd name="T67" fmla="*/ 29 h 67"/>
                  <a:gd name="T68" fmla="*/ 29 w 65"/>
                  <a:gd name="T69" fmla="*/ 27 h 67"/>
                  <a:gd name="T70" fmla="*/ 31 w 65"/>
                  <a:gd name="T71" fmla="*/ 25 h 67"/>
                  <a:gd name="T72" fmla="*/ 31 w 65"/>
                  <a:gd name="T73" fmla="*/ 25 h 67"/>
                  <a:gd name="T74" fmla="*/ 29 w 65"/>
                  <a:gd name="T75" fmla="*/ 23 h 67"/>
                  <a:gd name="T76" fmla="*/ 27 w 65"/>
                  <a:gd name="T77" fmla="*/ 21 h 67"/>
                  <a:gd name="T78" fmla="*/ 25 w 65"/>
                  <a:gd name="T79" fmla="*/ 19 h 67"/>
                  <a:gd name="T80" fmla="*/ 21 w 65"/>
                  <a:gd name="T81" fmla="*/ 17 h 67"/>
                  <a:gd name="T82" fmla="*/ 19 w 65"/>
                  <a:gd name="T83" fmla="*/ 15 h 67"/>
                  <a:gd name="T84" fmla="*/ 17 w 65"/>
                  <a:gd name="T85" fmla="*/ 13 h 67"/>
                  <a:gd name="T86" fmla="*/ 15 w 65"/>
                  <a:gd name="T87" fmla="*/ 11 h 67"/>
                  <a:gd name="T88" fmla="*/ 21 w 65"/>
                  <a:gd name="T89" fmla="*/ 10 h 67"/>
                  <a:gd name="T90" fmla="*/ 50 w 65"/>
                  <a:gd name="T9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5" h="67">
                    <a:moveTo>
                      <a:pt x="50" y="0"/>
                    </a:moveTo>
                    <a:lnTo>
                      <a:pt x="50" y="13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4" y="32"/>
                    </a:lnTo>
                    <a:lnTo>
                      <a:pt x="55" y="32"/>
                    </a:lnTo>
                    <a:lnTo>
                      <a:pt x="55" y="34"/>
                    </a:lnTo>
                    <a:lnTo>
                      <a:pt x="57" y="34"/>
                    </a:lnTo>
                    <a:lnTo>
                      <a:pt x="57" y="36"/>
                    </a:lnTo>
                    <a:lnTo>
                      <a:pt x="59" y="34"/>
                    </a:lnTo>
                    <a:lnTo>
                      <a:pt x="59" y="32"/>
                    </a:lnTo>
                    <a:lnTo>
                      <a:pt x="57" y="32"/>
                    </a:lnTo>
                    <a:lnTo>
                      <a:pt x="57" y="31"/>
                    </a:lnTo>
                    <a:lnTo>
                      <a:pt x="59" y="31"/>
                    </a:lnTo>
                    <a:lnTo>
                      <a:pt x="65" y="34"/>
                    </a:lnTo>
                    <a:lnTo>
                      <a:pt x="63" y="34"/>
                    </a:lnTo>
                    <a:lnTo>
                      <a:pt x="65" y="36"/>
                    </a:lnTo>
                    <a:lnTo>
                      <a:pt x="63" y="36"/>
                    </a:lnTo>
                    <a:lnTo>
                      <a:pt x="57" y="42"/>
                    </a:lnTo>
                    <a:lnTo>
                      <a:pt x="55" y="44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50"/>
                    </a:lnTo>
                    <a:lnTo>
                      <a:pt x="50" y="51"/>
                    </a:lnTo>
                    <a:lnTo>
                      <a:pt x="50" y="53"/>
                    </a:lnTo>
                    <a:lnTo>
                      <a:pt x="48" y="53"/>
                    </a:lnTo>
                    <a:lnTo>
                      <a:pt x="48" y="55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4" y="57"/>
                    </a:lnTo>
                    <a:lnTo>
                      <a:pt x="42" y="57"/>
                    </a:lnTo>
                    <a:lnTo>
                      <a:pt x="44" y="57"/>
                    </a:lnTo>
                    <a:lnTo>
                      <a:pt x="42" y="57"/>
                    </a:lnTo>
                    <a:lnTo>
                      <a:pt x="42" y="59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2" y="61"/>
                    </a:lnTo>
                    <a:lnTo>
                      <a:pt x="40" y="61"/>
                    </a:lnTo>
                    <a:lnTo>
                      <a:pt x="40" y="63"/>
                    </a:lnTo>
                    <a:lnTo>
                      <a:pt x="38" y="63"/>
                    </a:lnTo>
                    <a:lnTo>
                      <a:pt x="36" y="63"/>
                    </a:lnTo>
                    <a:lnTo>
                      <a:pt x="36" y="65"/>
                    </a:lnTo>
                    <a:lnTo>
                      <a:pt x="34" y="65"/>
                    </a:lnTo>
                    <a:lnTo>
                      <a:pt x="34" y="67"/>
                    </a:lnTo>
                    <a:lnTo>
                      <a:pt x="29" y="65"/>
                    </a:lnTo>
                    <a:lnTo>
                      <a:pt x="27" y="65"/>
                    </a:lnTo>
                    <a:lnTo>
                      <a:pt x="25" y="65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19" y="65"/>
                    </a:lnTo>
                    <a:lnTo>
                      <a:pt x="15" y="65"/>
                    </a:lnTo>
                    <a:lnTo>
                      <a:pt x="12" y="63"/>
                    </a:lnTo>
                    <a:lnTo>
                      <a:pt x="8" y="61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2" y="51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8" y="29"/>
                    </a:lnTo>
                    <a:lnTo>
                      <a:pt x="29" y="29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3" y="17"/>
                    </a:lnTo>
                    <a:lnTo>
                      <a:pt x="21" y="17"/>
                    </a:lnTo>
                    <a:lnTo>
                      <a:pt x="21" y="15"/>
                    </a:lnTo>
                    <a:lnTo>
                      <a:pt x="19" y="15"/>
                    </a:lnTo>
                    <a:lnTo>
                      <a:pt x="19" y="13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3" y="10"/>
                    </a:lnTo>
                    <a:lnTo>
                      <a:pt x="21" y="10"/>
                    </a:lnTo>
                    <a:lnTo>
                      <a:pt x="21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7" name="Freeform 148">
                <a:extLst>
                  <a:ext uri="{FF2B5EF4-FFF2-40B4-BE49-F238E27FC236}">
                    <a16:creationId xmlns:a16="http://schemas.microsoft.com/office/drawing/2014/main" id="{AF47A06B-D64E-747C-AD39-B930E3AD81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57200" y="-3590900"/>
                <a:ext cx="1025707" cy="563539"/>
              </a:xfrm>
              <a:custGeom>
                <a:avLst/>
                <a:gdLst>
                  <a:gd name="T0" fmla="*/ 624 w 651"/>
                  <a:gd name="T1" fmla="*/ 208 h 357"/>
                  <a:gd name="T2" fmla="*/ 584 w 651"/>
                  <a:gd name="T3" fmla="*/ 210 h 357"/>
                  <a:gd name="T4" fmla="*/ 572 w 651"/>
                  <a:gd name="T5" fmla="*/ 258 h 357"/>
                  <a:gd name="T6" fmla="*/ 536 w 651"/>
                  <a:gd name="T7" fmla="*/ 260 h 357"/>
                  <a:gd name="T8" fmla="*/ 546 w 651"/>
                  <a:gd name="T9" fmla="*/ 302 h 357"/>
                  <a:gd name="T10" fmla="*/ 525 w 651"/>
                  <a:gd name="T11" fmla="*/ 317 h 357"/>
                  <a:gd name="T12" fmla="*/ 489 w 651"/>
                  <a:gd name="T13" fmla="*/ 308 h 357"/>
                  <a:gd name="T14" fmla="*/ 447 w 651"/>
                  <a:gd name="T15" fmla="*/ 304 h 357"/>
                  <a:gd name="T16" fmla="*/ 420 w 651"/>
                  <a:gd name="T17" fmla="*/ 315 h 357"/>
                  <a:gd name="T18" fmla="*/ 388 w 651"/>
                  <a:gd name="T19" fmla="*/ 323 h 357"/>
                  <a:gd name="T20" fmla="*/ 367 w 651"/>
                  <a:gd name="T21" fmla="*/ 340 h 357"/>
                  <a:gd name="T22" fmla="*/ 346 w 651"/>
                  <a:gd name="T23" fmla="*/ 355 h 357"/>
                  <a:gd name="T24" fmla="*/ 296 w 651"/>
                  <a:gd name="T25" fmla="*/ 290 h 357"/>
                  <a:gd name="T26" fmla="*/ 143 w 651"/>
                  <a:gd name="T27" fmla="*/ 342 h 357"/>
                  <a:gd name="T28" fmla="*/ 100 w 651"/>
                  <a:gd name="T29" fmla="*/ 313 h 357"/>
                  <a:gd name="T30" fmla="*/ 73 w 651"/>
                  <a:gd name="T31" fmla="*/ 289 h 357"/>
                  <a:gd name="T32" fmla="*/ 79 w 651"/>
                  <a:gd name="T33" fmla="*/ 273 h 357"/>
                  <a:gd name="T34" fmla="*/ 100 w 651"/>
                  <a:gd name="T35" fmla="*/ 254 h 357"/>
                  <a:gd name="T36" fmla="*/ 111 w 651"/>
                  <a:gd name="T37" fmla="*/ 273 h 357"/>
                  <a:gd name="T38" fmla="*/ 130 w 651"/>
                  <a:gd name="T39" fmla="*/ 256 h 357"/>
                  <a:gd name="T40" fmla="*/ 119 w 651"/>
                  <a:gd name="T41" fmla="*/ 248 h 357"/>
                  <a:gd name="T42" fmla="*/ 105 w 651"/>
                  <a:gd name="T43" fmla="*/ 245 h 357"/>
                  <a:gd name="T44" fmla="*/ 107 w 651"/>
                  <a:gd name="T45" fmla="*/ 227 h 357"/>
                  <a:gd name="T46" fmla="*/ 94 w 651"/>
                  <a:gd name="T47" fmla="*/ 220 h 357"/>
                  <a:gd name="T48" fmla="*/ 82 w 651"/>
                  <a:gd name="T49" fmla="*/ 218 h 357"/>
                  <a:gd name="T50" fmla="*/ 82 w 651"/>
                  <a:gd name="T51" fmla="*/ 214 h 357"/>
                  <a:gd name="T52" fmla="*/ 60 w 651"/>
                  <a:gd name="T53" fmla="*/ 222 h 357"/>
                  <a:gd name="T54" fmla="*/ 46 w 651"/>
                  <a:gd name="T55" fmla="*/ 233 h 357"/>
                  <a:gd name="T56" fmla="*/ 37 w 651"/>
                  <a:gd name="T57" fmla="*/ 222 h 357"/>
                  <a:gd name="T58" fmla="*/ 8 w 651"/>
                  <a:gd name="T59" fmla="*/ 168 h 357"/>
                  <a:gd name="T60" fmla="*/ 33 w 651"/>
                  <a:gd name="T61" fmla="*/ 147 h 357"/>
                  <a:gd name="T62" fmla="*/ 61 w 651"/>
                  <a:gd name="T63" fmla="*/ 109 h 357"/>
                  <a:gd name="T64" fmla="*/ 82 w 651"/>
                  <a:gd name="T65" fmla="*/ 105 h 357"/>
                  <a:gd name="T66" fmla="*/ 105 w 651"/>
                  <a:gd name="T67" fmla="*/ 107 h 357"/>
                  <a:gd name="T68" fmla="*/ 124 w 651"/>
                  <a:gd name="T69" fmla="*/ 119 h 357"/>
                  <a:gd name="T70" fmla="*/ 143 w 651"/>
                  <a:gd name="T71" fmla="*/ 126 h 357"/>
                  <a:gd name="T72" fmla="*/ 176 w 651"/>
                  <a:gd name="T73" fmla="*/ 123 h 357"/>
                  <a:gd name="T74" fmla="*/ 208 w 651"/>
                  <a:gd name="T75" fmla="*/ 130 h 357"/>
                  <a:gd name="T76" fmla="*/ 231 w 651"/>
                  <a:gd name="T77" fmla="*/ 103 h 357"/>
                  <a:gd name="T78" fmla="*/ 227 w 651"/>
                  <a:gd name="T79" fmla="*/ 73 h 357"/>
                  <a:gd name="T80" fmla="*/ 235 w 651"/>
                  <a:gd name="T81" fmla="*/ 60 h 357"/>
                  <a:gd name="T82" fmla="*/ 235 w 651"/>
                  <a:gd name="T83" fmla="*/ 40 h 357"/>
                  <a:gd name="T84" fmla="*/ 265 w 651"/>
                  <a:gd name="T85" fmla="*/ 39 h 357"/>
                  <a:gd name="T86" fmla="*/ 302 w 651"/>
                  <a:gd name="T87" fmla="*/ 23 h 357"/>
                  <a:gd name="T88" fmla="*/ 346 w 651"/>
                  <a:gd name="T89" fmla="*/ 10 h 357"/>
                  <a:gd name="T90" fmla="*/ 382 w 651"/>
                  <a:gd name="T91" fmla="*/ 8 h 357"/>
                  <a:gd name="T92" fmla="*/ 393 w 651"/>
                  <a:gd name="T93" fmla="*/ 31 h 357"/>
                  <a:gd name="T94" fmla="*/ 408 w 651"/>
                  <a:gd name="T95" fmla="*/ 35 h 357"/>
                  <a:gd name="T96" fmla="*/ 429 w 651"/>
                  <a:gd name="T97" fmla="*/ 42 h 357"/>
                  <a:gd name="T98" fmla="*/ 441 w 651"/>
                  <a:gd name="T99" fmla="*/ 52 h 357"/>
                  <a:gd name="T100" fmla="*/ 485 w 651"/>
                  <a:gd name="T101" fmla="*/ 27 h 357"/>
                  <a:gd name="T102" fmla="*/ 544 w 651"/>
                  <a:gd name="T103" fmla="*/ 113 h 357"/>
                  <a:gd name="T104" fmla="*/ 580 w 651"/>
                  <a:gd name="T105" fmla="*/ 121 h 357"/>
                  <a:gd name="T106" fmla="*/ 611 w 651"/>
                  <a:gd name="T107" fmla="*/ 142 h 357"/>
                  <a:gd name="T108" fmla="*/ 639 w 651"/>
                  <a:gd name="T109" fmla="*/ 153 h 357"/>
                  <a:gd name="T110" fmla="*/ 75 w 651"/>
                  <a:gd name="T111" fmla="*/ 264 h 357"/>
                  <a:gd name="T112" fmla="*/ 58 w 651"/>
                  <a:gd name="T113" fmla="*/ 260 h 357"/>
                  <a:gd name="T114" fmla="*/ 100 w 651"/>
                  <a:gd name="T115" fmla="*/ 252 h 357"/>
                  <a:gd name="T116" fmla="*/ 100 w 651"/>
                  <a:gd name="T117" fmla="*/ 218 h 357"/>
                  <a:gd name="T118" fmla="*/ 63 w 651"/>
                  <a:gd name="T119" fmla="*/ 266 h 357"/>
                  <a:gd name="T120" fmla="*/ 63 w 651"/>
                  <a:gd name="T121" fmla="*/ 222 h 357"/>
                  <a:gd name="T122" fmla="*/ 101 w 651"/>
                  <a:gd name="T123" fmla="*/ 24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51" h="357">
                    <a:moveTo>
                      <a:pt x="649" y="166"/>
                    </a:moveTo>
                    <a:lnTo>
                      <a:pt x="649" y="164"/>
                    </a:lnTo>
                    <a:lnTo>
                      <a:pt x="647" y="164"/>
                    </a:lnTo>
                    <a:lnTo>
                      <a:pt x="645" y="164"/>
                    </a:lnTo>
                    <a:lnTo>
                      <a:pt x="643" y="164"/>
                    </a:lnTo>
                    <a:lnTo>
                      <a:pt x="643" y="166"/>
                    </a:lnTo>
                    <a:lnTo>
                      <a:pt x="641" y="168"/>
                    </a:lnTo>
                    <a:lnTo>
                      <a:pt x="641" y="170"/>
                    </a:lnTo>
                    <a:lnTo>
                      <a:pt x="643" y="172"/>
                    </a:lnTo>
                    <a:lnTo>
                      <a:pt x="641" y="174"/>
                    </a:lnTo>
                    <a:lnTo>
                      <a:pt x="641" y="176"/>
                    </a:lnTo>
                    <a:lnTo>
                      <a:pt x="639" y="178"/>
                    </a:lnTo>
                    <a:lnTo>
                      <a:pt x="639" y="180"/>
                    </a:lnTo>
                    <a:lnTo>
                      <a:pt x="635" y="182"/>
                    </a:lnTo>
                    <a:lnTo>
                      <a:pt x="635" y="180"/>
                    </a:lnTo>
                    <a:lnTo>
                      <a:pt x="634" y="182"/>
                    </a:lnTo>
                    <a:lnTo>
                      <a:pt x="628" y="182"/>
                    </a:lnTo>
                    <a:lnTo>
                      <a:pt x="626" y="182"/>
                    </a:lnTo>
                    <a:lnTo>
                      <a:pt x="624" y="184"/>
                    </a:lnTo>
                    <a:lnTo>
                      <a:pt x="624" y="185"/>
                    </a:lnTo>
                    <a:lnTo>
                      <a:pt x="622" y="189"/>
                    </a:lnTo>
                    <a:lnTo>
                      <a:pt x="622" y="191"/>
                    </a:lnTo>
                    <a:lnTo>
                      <a:pt x="622" y="205"/>
                    </a:lnTo>
                    <a:lnTo>
                      <a:pt x="624" y="206"/>
                    </a:lnTo>
                    <a:lnTo>
                      <a:pt x="624" y="208"/>
                    </a:lnTo>
                    <a:lnTo>
                      <a:pt x="624" y="210"/>
                    </a:lnTo>
                    <a:lnTo>
                      <a:pt x="622" y="214"/>
                    </a:lnTo>
                    <a:lnTo>
                      <a:pt x="620" y="214"/>
                    </a:lnTo>
                    <a:lnTo>
                      <a:pt x="618" y="214"/>
                    </a:lnTo>
                    <a:lnTo>
                      <a:pt x="616" y="214"/>
                    </a:lnTo>
                    <a:lnTo>
                      <a:pt x="616" y="216"/>
                    </a:lnTo>
                    <a:lnTo>
                      <a:pt x="614" y="218"/>
                    </a:lnTo>
                    <a:lnTo>
                      <a:pt x="613" y="218"/>
                    </a:lnTo>
                    <a:lnTo>
                      <a:pt x="613" y="220"/>
                    </a:lnTo>
                    <a:lnTo>
                      <a:pt x="611" y="218"/>
                    </a:lnTo>
                    <a:lnTo>
                      <a:pt x="611" y="216"/>
                    </a:lnTo>
                    <a:lnTo>
                      <a:pt x="609" y="216"/>
                    </a:lnTo>
                    <a:lnTo>
                      <a:pt x="607" y="216"/>
                    </a:lnTo>
                    <a:lnTo>
                      <a:pt x="605" y="216"/>
                    </a:lnTo>
                    <a:lnTo>
                      <a:pt x="601" y="216"/>
                    </a:lnTo>
                    <a:lnTo>
                      <a:pt x="599" y="216"/>
                    </a:lnTo>
                    <a:lnTo>
                      <a:pt x="597" y="216"/>
                    </a:lnTo>
                    <a:lnTo>
                      <a:pt x="595" y="216"/>
                    </a:lnTo>
                    <a:lnTo>
                      <a:pt x="593" y="216"/>
                    </a:lnTo>
                    <a:lnTo>
                      <a:pt x="590" y="214"/>
                    </a:lnTo>
                    <a:lnTo>
                      <a:pt x="590" y="212"/>
                    </a:lnTo>
                    <a:lnTo>
                      <a:pt x="588" y="214"/>
                    </a:lnTo>
                    <a:lnTo>
                      <a:pt x="588" y="212"/>
                    </a:lnTo>
                    <a:lnTo>
                      <a:pt x="586" y="212"/>
                    </a:lnTo>
                    <a:lnTo>
                      <a:pt x="584" y="210"/>
                    </a:lnTo>
                    <a:lnTo>
                      <a:pt x="582" y="210"/>
                    </a:lnTo>
                    <a:lnTo>
                      <a:pt x="582" y="212"/>
                    </a:lnTo>
                    <a:lnTo>
                      <a:pt x="582" y="214"/>
                    </a:lnTo>
                    <a:lnTo>
                      <a:pt x="580" y="216"/>
                    </a:lnTo>
                    <a:lnTo>
                      <a:pt x="580" y="218"/>
                    </a:lnTo>
                    <a:lnTo>
                      <a:pt x="578" y="220"/>
                    </a:lnTo>
                    <a:lnTo>
                      <a:pt x="578" y="222"/>
                    </a:lnTo>
                    <a:lnTo>
                      <a:pt x="576" y="227"/>
                    </a:lnTo>
                    <a:lnTo>
                      <a:pt x="574" y="231"/>
                    </a:lnTo>
                    <a:lnTo>
                      <a:pt x="574" y="233"/>
                    </a:lnTo>
                    <a:lnTo>
                      <a:pt x="572" y="235"/>
                    </a:lnTo>
                    <a:lnTo>
                      <a:pt x="574" y="235"/>
                    </a:lnTo>
                    <a:lnTo>
                      <a:pt x="572" y="235"/>
                    </a:lnTo>
                    <a:lnTo>
                      <a:pt x="572" y="237"/>
                    </a:lnTo>
                    <a:lnTo>
                      <a:pt x="572" y="239"/>
                    </a:lnTo>
                    <a:lnTo>
                      <a:pt x="571" y="241"/>
                    </a:lnTo>
                    <a:lnTo>
                      <a:pt x="571" y="243"/>
                    </a:lnTo>
                    <a:lnTo>
                      <a:pt x="571" y="245"/>
                    </a:lnTo>
                    <a:lnTo>
                      <a:pt x="569" y="247"/>
                    </a:lnTo>
                    <a:lnTo>
                      <a:pt x="571" y="250"/>
                    </a:lnTo>
                    <a:lnTo>
                      <a:pt x="574" y="252"/>
                    </a:lnTo>
                    <a:lnTo>
                      <a:pt x="574" y="254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2" y="258"/>
                    </a:lnTo>
                    <a:lnTo>
                      <a:pt x="571" y="258"/>
                    </a:lnTo>
                    <a:lnTo>
                      <a:pt x="571" y="256"/>
                    </a:lnTo>
                    <a:lnTo>
                      <a:pt x="567" y="258"/>
                    </a:lnTo>
                    <a:lnTo>
                      <a:pt x="567" y="256"/>
                    </a:lnTo>
                    <a:lnTo>
                      <a:pt x="565" y="256"/>
                    </a:lnTo>
                    <a:lnTo>
                      <a:pt x="561" y="252"/>
                    </a:lnTo>
                    <a:lnTo>
                      <a:pt x="561" y="254"/>
                    </a:lnTo>
                    <a:lnTo>
                      <a:pt x="559" y="254"/>
                    </a:lnTo>
                    <a:lnTo>
                      <a:pt x="557" y="254"/>
                    </a:lnTo>
                    <a:lnTo>
                      <a:pt x="557" y="256"/>
                    </a:lnTo>
                    <a:lnTo>
                      <a:pt x="555" y="256"/>
                    </a:lnTo>
                    <a:lnTo>
                      <a:pt x="553" y="256"/>
                    </a:lnTo>
                    <a:lnTo>
                      <a:pt x="552" y="256"/>
                    </a:lnTo>
                    <a:lnTo>
                      <a:pt x="552" y="258"/>
                    </a:lnTo>
                    <a:lnTo>
                      <a:pt x="552" y="256"/>
                    </a:lnTo>
                    <a:lnTo>
                      <a:pt x="552" y="258"/>
                    </a:lnTo>
                    <a:lnTo>
                      <a:pt x="550" y="258"/>
                    </a:lnTo>
                    <a:lnTo>
                      <a:pt x="548" y="260"/>
                    </a:lnTo>
                    <a:lnTo>
                      <a:pt x="546" y="258"/>
                    </a:lnTo>
                    <a:lnTo>
                      <a:pt x="544" y="260"/>
                    </a:lnTo>
                    <a:lnTo>
                      <a:pt x="542" y="260"/>
                    </a:lnTo>
                    <a:lnTo>
                      <a:pt x="540" y="262"/>
                    </a:lnTo>
                    <a:lnTo>
                      <a:pt x="538" y="260"/>
                    </a:lnTo>
                    <a:lnTo>
                      <a:pt x="538" y="262"/>
                    </a:lnTo>
                    <a:lnTo>
                      <a:pt x="536" y="260"/>
                    </a:lnTo>
                    <a:lnTo>
                      <a:pt x="536" y="262"/>
                    </a:lnTo>
                    <a:lnTo>
                      <a:pt x="534" y="260"/>
                    </a:lnTo>
                    <a:lnTo>
                      <a:pt x="534" y="262"/>
                    </a:lnTo>
                    <a:lnTo>
                      <a:pt x="532" y="264"/>
                    </a:lnTo>
                    <a:lnTo>
                      <a:pt x="532" y="266"/>
                    </a:lnTo>
                    <a:lnTo>
                      <a:pt x="534" y="266"/>
                    </a:lnTo>
                    <a:lnTo>
                      <a:pt x="534" y="268"/>
                    </a:lnTo>
                    <a:lnTo>
                      <a:pt x="536" y="266"/>
                    </a:lnTo>
                    <a:lnTo>
                      <a:pt x="536" y="268"/>
                    </a:lnTo>
                    <a:lnTo>
                      <a:pt x="538" y="268"/>
                    </a:lnTo>
                    <a:lnTo>
                      <a:pt x="538" y="269"/>
                    </a:lnTo>
                    <a:lnTo>
                      <a:pt x="540" y="271"/>
                    </a:lnTo>
                    <a:lnTo>
                      <a:pt x="540" y="273"/>
                    </a:lnTo>
                    <a:lnTo>
                      <a:pt x="540" y="277"/>
                    </a:lnTo>
                    <a:lnTo>
                      <a:pt x="540" y="281"/>
                    </a:lnTo>
                    <a:lnTo>
                      <a:pt x="540" y="283"/>
                    </a:lnTo>
                    <a:lnTo>
                      <a:pt x="540" y="285"/>
                    </a:lnTo>
                    <a:lnTo>
                      <a:pt x="542" y="285"/>
                    </a:lnTo>
                    <a:lnTo>
                      <a:pt x="542" y="287"/>
                    </a:lnTo>
                    <a:lnTo>
                      <a:pt x="542" y="289"/>
                    </a:lnTo>
                    <a:lnTo>
                      <a:pt x="546" y="296"/>
                    </a:lnTo>
                    <a:lnTo>
                      <a:pt x="546" y="298"/>
                    </a:lnTo>
                    <a:lnTo>
                      <a:pt x="544" y="298"/>
                    </a:lnTo>
                    <a:lnTo>
                      <a:pt x="546" y="300"/>
                    </a:lnTo>
                    <a:lnTo>
                      <a:pt x="546" y="302"/>
                    </a:lnTo>
                    <a:lnTo>
                      <a:pt x="546" y="304"/>
                    </a:lnTo>
                    <a:lnTo>
                      <a:pt x="544" y="304"/>
                    </a:lnTo>
                    <a:lnTo>
                      <a:pt x="542" y="304"/>
                    </a:lnTo>
                    <a:lnTo>
                      <a:pt x="540" y="306"/>
                    </a:lnTo>
                    <a:lnTo>
                      <a:pt x="540" y="308"/>
                    </a:lnTo>
                    <a:lnTo>
                      <a:pt x="544" y="308"/>
                    </a:lnTo>
                    <a:lnTo>
                      <a:pt x="542" y="310"/>
                    </a:lnTo>
                    <a:lnTo>
                      <a:pt x="540" y="310"/>
                    </a:lnTo>
                    <a:lnTo>
                      <a:pt x="538" y="310"/>
                    </a:lnTo>
                    <a:lnTo>
                      <a:pt x="538" y="313"/>
                    </a:lnTo>
                    <a:lnTo>
                      <a:pt x="536" y="313"/>
                    </a:lnTo>
                    <a:lnTo>
                      <a:pt x="538" y="317"/>
                    </a:lnTo>
                    <a:lnTo>
                      <a:pt x="536" y="317"/>
                    </a:lnTo>
                    <a:lnTo>
                      <a:pt x="536" y="319"/>
                    </a:lnTo>
                    <a:lnTo>
                      <a:pt x="538" y="319"/>
                    </a:lnTo>
                    <a:lnTo>
                      <a:pt x="538" y="321"/>
                    </a:lnTo>
                    <a:lnTo>
                      <a:pt x="538" y="323"/>
                    </a:lnTo>
                    <a:lnTo>
                      <a:pt x="536" y="323"/>
                    </a:lnTo>
                    <a:lnTo>
                      <a:pt x="536" y="321"/>
                    </a:lnTo>
                    <a:lnTo>
                      <a:pt x="534" y="321"/>
                    </a:lnTo>
                    <a:lnTo>
                      <a:pt x="532" y="319"/>
                    </a:lnTo>
                    <a:lnTo>
                      <a:pt x="531" y="317"/>
                    </a:lnTo>
                    <a:lnTo>
                      <a:pt x="529" y="317"/>
                    </a:lnTo>
                    <a:lnTo>
                      <a:pt x="527" y="317"/>
                    </a:lnTo>
                    <a:lnTo>
                      <a:pt x="525" y="317"/>
                    </a:lnTo>
                    <a:lnTo>
                      <a:pt x="525" y="315"/>
                    </a:lnTo>
                    <a:lnTo>
                      <a:pt x="523" y="315"/>
                    </a:lnTo>
                    <a:lnTo>
                      <a:pt x="523" y="313"/>
                    </a:lnTo>
                    <a:lnTo>
                      <a:pt x="521" y="313"/>
                    </a:lnTo>
                    <a:lnTo>
                      <a:pt x="521" y="311"/>
                    </a:lnTo>
                    <a:lnTo>
                      <a:pt x="521" y="310"/>
                    </a:lnTo>
                    <a:lnTo>
                      <a:pt x="519" y="311"/>
                    </a:lnTo>
                    <a:lnTo>
                      <a:pt x="517" y="311"/>
                    </a:lnTo>
                    <a:lnTo>
                      <a:pt x="515" y="310"/>
                    </a:lnTo>
                    <a:lnTo>
                      <a:pt x="513" y="310"/>
                    </a:lnTo>
                    <a:lnTo>
                      <a:pt x="511" y="310"/>
                    </a:lnTo>
                    <a:lnTo>
                      <a:pt x="510" y="308"/>
                    </a:lnTo>
                    <a:lnTo>
                      <a:pt x="508" y="310"/>
                    </a:lnTo>
                    <a:lnTo>
                      <a:pt x="508" y="308"/>
                    </a:lnTo>
                    <a:lnTo>
                      <a:pt x="508" y="310"/>
                    </a:lnTo>
                    <a:lnTo>
                      <a:pt x="506" y="310"/>
                    </a:lnTo>
                    <a:lnTo>
                      <a:pt x="504" y="310"/>
                    </a:lnTo>
                    <a:lnTo>
                      <a:pt x="502" y="310"/>
                    </a:lnTo>
                    <a:lnTo>
                      <a:pt x="500" y="310"/>
                    </a:lnTo>
                    <a:lnTo>
                      <a:pt x="498" y="308"/>
                    </a:lnTo>
                    <a:lnTo>
                      <a:pt x="496" y="308"/>
                    </a:lnTo>
                    <a:lnTo>
                      <a:pt x="494" y="308"/>
                    </a:lnTo>
                    <a:lnTo>
                      <a:pt x="492" y="308"/>
                    </a:lnTo>
                    <a:lnTo>
                      <a:pt x="490" y="308"/>
                    </a:lnTo>
                    <a:lnTo>
                      <a:pt x="489" y="308"/>
                    </a:lnTo>
                    <a:lnTo>
                      <a:pt x="487" y="306"/>
                    </a:lnTo>
                    <a:lnTo>
                      <a:pt x="487" y="308"/>
                    </a:lnTo>
                    <a:lnTo>
                      <a:pt x="487" y="306"/>
                    </a:lnTo>
                    <a:lnTo>
                      <a:pt x="485" y="308"/>
                    </a:lnTo>
                    <a:lnTo>
                      <a:pt x="483" y="306"/>
                    </a:lnTo>
                    <a:lnTo>
                      <a:pt x="483" y="308"/>
                    </a:lnTo>
                    <a:lnTo>
                      <a:pt x="481" y="308"/>
                    </a:lnTo>
                    <a:lnTo>
                      <a:pt x="479" y="308"/>
                    </a:lnTo>
                    <a:lnTo>
                      <a:pt x="477" y="310"/>
                    </a:lnTo>
                    <a:lnTo>
                      <a:pt x="475" y="310"/>
                    </a:lnTo>
                    <a:lnTo>
                      <a:pt x="475" y="308"/>
                    </a:lnTo>
                    <a:lnTo>
                      <a:pt x="473" y="308"/>
                    </a:lnTo>
                    <a:lnTo>
                      <a:pt x="471" y="308"/>
                    </a:lnTo>
                    <a:lnTo>
                      <a:pt x="470" y="308"/>
                    </a:lnTo>
                    <a:lnTo>
                      <a:pt x="468" y="308"/>
                    </a:lnTo>
                    <a:lnTo>
                      <a:pt x="466" y="310"/>
                    </a:lnTo>
                    <a:lnTo>
                      <a:pt x="466" y="311"/>
                    </a:lnTo>
                    <a:lnTo>
                      <a:pt x="460" y="310"/>
                    </a:lnTo>
                    <a:lnTo>
                      <a:pt x="458" y="310"/>
                    </a:lnTo>
                    <a:lnTo>
                      <a:pt x="456" y="308"/>
                    </a:lnTo>
                    <a:lnTo>
                      <a:pt x="454" y="308"/>
                    </a:lnTo>
                    <a:lnTo>
                      <a:pt x="452" y="306"/>
                    </a:lnTo>
                    <a:lnTo>
                      <a:pt x="450" y="306"/>
                    </a:lnTo>
                    <a:lnTo>
                      <a:pt x="449" y="306"/>
                    </a:lnTo>
                    <a:lnTo>
                      <a:pt x="447" y="304"/>
                    </a:lnTo>
                    <a:lnTo>
                      <a:pt x="447" y="302"/>
                    </a:lnTo>
                    <a:lnTo>
                      <a:pt x="447" y="304"/>
                    </a:lnTo>
                    <a:lnTo>
                      <a:pt x="445" y="302"/>
                    </a:lnTo>
                    <a:lnTo>
                      <a:pt x="443" y="302"/>
                    </a:lnTo>
                    <a:lnTo>
                      <a:pt x="443" y="300"/>
                    </a:lnTo>
                    <a:lnTo>
                      <a:pt x="441" y="300"/>
                    </a:lnTo>
                    <a:lnTo>
                      <a:pt x="441" y="302"/>
                    </a:lnTo>
                    <a:lnTo>
                      <a:pt x="439" y="302"/>
                    </a:lnTo>
                    <a:lnTo>
                      <a:pt x="437" y="302"/>
                    </a:lnTo>
                    <a:lnTo>
                      <a:pt x="437" y="304"/>
                    </a:lnTo>
                    <a:lnTo>
                      <a:pt x="435" y="304"/>
                    </a:lnTo>
                    <a:lnTo>
                      <a:pt x="431" y="306"/>
                    </a:lnTo>
                    <a:lnTo>
                      <a:pt x="431" y="308"/>
                    </a:lnTo>
                    <a:lnTo>
                      <a:pt x="429" y="308"/>
                    </a:lnTo>
                    <a:lnTo>
                      <a:pt x="431" y="311"/>
                    </a:lnTo>
                    <a:lnTo>
                      <a:pt x="429" y="313"/>
                    </a:lnTo>
                    <a:lnTo>
                      <a:pt x="429" y="315"/>
                    </a:lnTo>
                    <a:lnTo>
                      <a:pt x="429" y="317"/>
                    </a:lnTo>
                    <a:lnTo>
                      <a:pt x="431" y="319"/>
                    </a:lnTo>
                    <a:lnTo>
                      <a:pt x="429" y="319"/>
                    </a:lnTo>
                    <a:lnTo>
                      <a:pt x="428" y="319"/>
                    </a:lnTo>
                    <a:lnTo>
                      <a:pt x="428" y="317"/>
                    </a:lnTo>
                    <a:lnTo>
                      <a:pt x="424" y="315"/>
                    </a:lnTo>
                    <a:lnTo>
                      <a:pt x="422" y="315"/>
                    </a:lnTo>
                    <a:lnTo>
                      <a:pt x="420" y="315"/>
                    </a:lnTo>
                    <a:lnTo>
                      <a:pt x="418" y="313"/>
                    </a:lnTo>
                    <a:lnTo>
                      <a:pt x="416" y="313"/>
                    </a:lnTo>
                    <a:lnTo>
                      <a:pt x="414" y="313"/>
                    </a:lnTo>
                    <a:lnTo>
                      <a:pt x="412" y="311"/>
                    </a:lnTo>
                    <a:lnTo>
                      <a:pt x="410" y="311"/>
                    </a:lnTo>
                    <a:lnTo>
                      <a:pt x="408" y="311"/>
                    </a:lnTo>
                    <a:lnTo>
                      <a:pt x="407" y="311"/>
                    </a:lnTo>
                    <a:lnTo>
                      <a:pt x="405" y="310"/>
                    </a:lnTo>
                    <a:lnTo>
                      <a:pt x="403" y="310"/>
                    </a:lnTo>
                    <a:lnTo>
                      <a:pt x="401" y="310"/>
                    </a:lnTo>
                    <a:lnTo>
                      <a:pt x="401" y="311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9" y="311"/>
                    </a:lnTo>
                    <a:lnTo>
                      <a:pt x="397" y="311"/>
                    </a:lnTo>
                    <a:lnTo>
                      <a:pt x="395" y="311"/>
                    </a:lnTo>
                    <a:lnTo>
                      <a:pt x="393" y="313"/>
                    </a:lnTo>
                    <a:lnTo>
                      <a:pt x="393" y="315"/>
                    </a:lnTo>
                    <a:lnTo>
                      <a:pt x="391" y="315"/>
                    </a:lnTo>
                    <a:lnTo>
                      <a:pt x="391" y="317"/>
                    </a:lnTo>
                    <a:lnTo>
                      <a:pt x="389" y="317"/>
                    </a:lnTo>
                    <a:lnTo>
                      <a:pt x="389" y="319"/>
                    </a:lnTo>
                    <a:lnTo>
                      <a:pt x="389" y="321"/>
                    </a:lnTo>
                    <a:lnTo>
                      <a:pt x="389" y="323"/>
                    </a:lnTo>
                    <a:lnTo>
                      <a:pt x="388" y="323"/>
                    </a:lnTo>
                    <a:lnTo>
                      <a:pt x="386" y="323"/>
                    </a:lnTo>
                    <a:lnTo>
                      <a:pt x="388" y="325"/>
                    </a:lnTo>
                    <a:lnTo>
                      <a:pt x="386" y="325"/>
                    </a:lnTo>
                    <a:lnTo>
                      <a:pt x="386" y="327"/>
                    </a:lnTo>
                    <a:lnTo>
                      <a:pt x="384" y="327"/>
                    </a:lnTo>
                    <a:lnTo>
                      <a:pt x="382" y="325"/>
                    </a:lnTo>
                    <a:lnTo>
                      <a:pt x="382" y="327"/>
                    </a:lnTo>
                    <a:lnTo>
                      <a:pt x="382" y="325"/>
                    </a:lnTo>
                    <a:lnTo>
                      <a:pt x="380" y="327"/>
                    </a:lnTo>
                    <a:lnTo>
                      <a:pt x="380" y="329"/>
                    </a:lnTo>
                    <a:lnTo>
                      <a:pt x="378" y="329"/>
                    </a:lnTo>
                    <a:lnTo>
                      <a:pt x="378" y="330"/>
                    </a:lnTo>
                    <a:lnTo>
                      <a:pt x="376" y="330"/>
                    </a:lnTo>
                    <a:lnTo>
                      <a:pt x="376" y="332"/>
                    </a:lnTo>
                    <a:lnTo>
                      <a:pt x="374" y="332"/>
                    </a:lnTo>
                    <a:lnTo>
                      <a:pt x="374" y="334"/>
                    </a:lnTo>
                    <a:lnTo>
                      <a:pt x="372" y="334"/>
                    </a:lnTo>
                    <a:lnTo>
                      <a:pt x="370" y="334"/>
                    </a:lnTo>
                    <a:lnTo>
                      <a:pt x="368" y="334"/>
                    </a:lnTo>
                    <a:lnTo>
                      <a:pt x="368" y="336"/>
                    </a:lnTo>
                    <a:lnTo>
                      <a:pt x="367" y="336"/>
                    </a:lnTo>
                    <a:lnTo>
                      <a:pt x="367" y="338"/>
                    </a:lnTo>
                    <a:lnTo>
                      <a:pt x="365" y="338"/>
                    </a:lnTo>
                    <a:lnTo>
                      <a:pt x="367" y="338"/>
                    </a:lnTo>
                    <a:lnTo>
                      <a:pt x="367" y="340"/>
                    </a:lnTo>
                    <a:lnTo>
                      <a:pt x="365" y="340"/>
                    </a:lnTo>
                    <a:lnTo>
                      <a:pt x="363" y="340"/>
                    </a:lnTo>
                    <a:lnTo>
                      <a:pt x="361" y="340"/>
                    </a:lnTo>
                    <a:lnTo>
                      <a:pt x="361" y="342"/>
                    </a:lnTo>
                    <a:lnTo>
                      <a:pt x="359" y="342"/>
                    </a:lnTo>
                    <a:lnTo>
                      <a:pt x="359" y="344"/>
                    </a:lnTo>
                    <a:lnTo>
                      <a:pt x="355" y="348"/>
                    </a:lnTo>
                    <a:lnTo>
                      <a:pt x="355" y="350"/>
                    </a:lnTo>
                    <a:lnTo>
                      <a:pt x="353" y="350"/>
                    </a:lnTo>
                    <a:lnTo>
                      <a:pt x="353" y="348"/>
                    </a:lnTo>
                    <a:lnTo>
                      <a:pt x="351" y="350"/>
                    </a:lnTo>
                    <a:lnTo>
                      <a:pt x="351" y="348"/>
                    </a:lnTo>
                    <a:lnTo>
                      <a:pt x="349" y="350"/>
                    </a:lnTo>
                    <a:lnTo>
                      <a:pt x="351" y="350"/>
                    </a:lnTo>
                    <a:lnTo>
                      <a:pt x="351" y="351"/>
                    </a:lnTo>
                    <a:lnTo>
                      <a:pt x="353" y="351"/>
                    </a:lnTo>
                    <a:lnTo>
                      <a:pt x="351" y="351"/>
                    </a:lnTo>
                    <a:lnTo>
                      <a:pt x="351" y="353"/>
                    </a:lnTo>
                    <a:lnTo>
                      <a:pt x="353" y="353"/>
                    </a:lnTo>
                    <a:lnTo>
                      <a:pt x="351" y="355"/>
                    </a:lnTo>
                    <a:lnTo>
                      <a:pt x="353" y="355"/>
                    </a:lnTo>
                    <a:lnTo>
                      <a:pt x="353" y="357"/>
                    </a:lnTo>
                    <a:lnTo>
                      <a:pt x="351" y="357"/>
                    </a:lnTo>
                    <a:lnTo>
                      <a:pt x="349" y="357"/>
                    </a:lnTo>
                    <a:lnTo>
                      <a:pt x="346" y="355"/>
                    </a:lnTo>
                    <a:lnTo>
                      <a:pt x="344" y="353"/>
                    </a:lnTo>
                    <a:lnTo>
                      <a:pt x="342" y="353"/>
                    </a:lnTo>
                    <a:lnTo>
                      <a:pt x="342" y="351"/>
                    </a:lnTo>
                    <a:lnTo>
                      <a:pt x="344" y="351"/>
                    </a:lnTo>
                    <a:lnTo>
                      <a:pt x="344" y="350"/>
                    </a:lnTo>
                    <a:lnTo>
                      <a:pt x="344" y="348"/>
                    </a:lnTo>
                    <a:lnTo>
                      <a:pt x="346" y="348"/>
                    </a:lnTo>
                    <a:lnTo>
                      <a:pt x="344" y="348"/>
                    </a:lnTo>
                    <a:lnTo>
                      <a:pt x="342" y="348"/>
                    </a:lnTo>
                    <a:lnTo>
                      <a:pt x="344" y="348"/>
                    </a:lnTo>
                    <a:lnTo>
                      <a:pt x="342" y="346"/>
                    </a:lnTo>
                    <a:lnTo>
                      <a:pt x="338" y="346"/>
                    </a:lnTo>
                    <a:lnTo>
                      <a:pt x="336" y="346"/>
                    </a:lnTo>
                    <a:lnTo>
                      <a:pt x="332" y="346"/>
                    </a:lnTo>
                    <a:lnTo>
                      <a:pt x="323" y="346"/>
                    </a:lnTo>
                    <a:lnTo>
                      <a:pt x="321" y="346"/>
                    </a:lnTo>
                    <a:lnTo>
                      <a:pt x="321" y="330"/>
                    </a:lnTo>
                    <a:lnTo>
                      <a:pt x="311" y="329"/>
                    </a:lnTo>
                    <a:lnTo>
                      <a:pt x="311" y="319"/>
                    </a:lnTo>
                    <a:lnTo>
                      <a:pt x="313" y="319"/>
                    </a:lnTo>
                    <a:lnTo>
                      <a:pt x="311" y="308"/>
                    </a:lnTo>
                    <a:lnTo>
                      <a:pt x="309" y="310"/>
                    </a:lnTo>
                    <a:lnTo>
                      <a:pt x="304" y="298"/>
                    </a:lnTo>
                    <a:lnTo>
                      <a:pt x="298" y="296"/>
                    </a:lnTo>
                    <a:lnTo>
                      <a:pt x="296" y="290"/>
                    </a:lnTo>
                    <a:lnTo>
                      <a:pt x="292" y="290"/>
                    </a:lnTo>
                    <a:lnTo>
                      <a:pt x="286" y="294"/>
                    </a:lnTo>
                    <a:lnTo>
                      <a:pt x="277" y="294"/>
                    </a:lnTo>
                    <a:lnTo>
                      <a:pt x="267" y="292"/>
                    </a:lnTo>
                    <a:lnTo>
                      <a:pt x="256" y="296"/>
                    </a:lnTo>
                    <a:lnTo>
                      <a:pt x="248" y="294"/>
                    </a:lnTo>
                    <a:lnTo>
                      <a:pt x="235" y="281"/>
                    </a:lnTo>
                    <a:lnTo>
                      <a:pt x="233" y="279"/>
                    </a:lnTo>
                    <a:lnTo>
                      <a:pt x="233" y="275"/>
                    </a:lnTo>
                    <a:lnTo>
                      <a:pt x="216" y="262"/>
                    </a:lnTo>
                    <a:lnTo>
                      <a:pt x="193" y="248"/>
                    </a:lnTo>
                    <a:lnTo>
                      <a:pt x="164" y="258"/>
                    </a:lnTo>
                    <a:lnTo>
                      <a:pt x="151" y="262"/>
                    </a:lnTo>
                    <a:lnTo>
                      <a:pt x="151" y="290"/>
                    </a:lnTo>
                    <a:lnTo>
                      <a:pt x="151" y="304"/>
                    </a:lnTo>
                    <a:lnTo>
                      <a:pt x="153" y="342"/>
                    </a:lnTo>
                    <a:lnTo>
                      <a:pt x="149" y="342"/>
                    </a:lnTo>
                    <a:lnTo>
                      <a:pt x="149" y="344"/>
                    </a:lnTo>
                    <a:lnTo>
                      <a:pt x="147" y="342"/>
                    </a:lnTo>
                    <a:lnTo>
                      <a:pt x="147" y="344"/>
                    </a:lnTo>
                    <a:lnTo>
                      <a:pt x="145" y="344"/>
                    </a:lnTo>
                    <a:lnTo>
                      <a:pt x="145" y="342"/>
                    </a:lnTo>
                    <a:lnTo>
                      <a:pt x="145" y="344"/>
                    </a:lnTo>
                    <a:lnTo>
                      <a:pt x="143" y="344"/>
                    </a:lnTo>
                    <a:lnTo>
                      <a:pt x="143" y="342"/>
                    </a:lnTo>
                    <a:lnTo>
                      <a:pt x="143" y="344"/>
                    </a:lnTo>
                    <a:lnTo>
                      <a:pt x="142" y="342"/>
                    </a:lnTo>
                    <a:lnTo>
                      <a:pt x="143" y="342"/>
                    </a:lnTo>
                    <a:lnTo>
                      <a:pt x="140" y="340"/>
                    </a:lnTo>
                    <a:lnTo>
                      <a:pt x="138" y="336"/>
                    </a:lnTo>
                    <a:lnTo>
                      <a:pt x="136" y="332"/>
                    </a:lnTo>
                    <a:lnTo>
                      <a:pt x="136" y="330"/>
                    </a:lnTo>
                    <a:lnTo>
                      <a:pt x="132" y="327"/>
                    </a:lnTo>
                    <a:lnTo>
                      <a:pt x="124" y="319"/>
                    </a:lnTo>
                    <a:lnTo>
                      <a:pt x="113" y="321"/>
                    </a:lnTo>
                    <a:lnTo>
                      <a:pt x="105" y="325"/>
                    </a:lnTo>
                    <a:lnTo>
                      <a:pt x="96" y="332"/>
                    </a:lnTo>
                    <a:lnTo>
                      <a:pt x="96" y="330"/>
                    </a:lnTo>
                    <a:lnTo>
                      <a:pt x="96" y="329"/>
                    </a:lnTo>
                    <a:lnTo>
                      <a:pt x="96" y="327"/>
                    </a:lnTo>
                    <a:lnTo>
                      <a:pt x="96" y="325"/>
                    </a:lnTo>
                    <a:lnTo>
                      <a:pt x="98" y="321"/>
                    </a:lnTo>
                    <a:lnTo>
                      <a:pt x="100" y="319"/>
                    </a:lnTo>
                    <a:lnTo>
                      <a:pt x="100" y="315"/>
                    </a:lnTo>
                    <a:lnTo>
                      <a:pt x="100" y="313"/>
                    </a:lnTo>
                    <a:lnTo>
                      <a:pt x="98" y="311"/>
                    </a:lnTo>
                    <a:lnTo>
                      <a:pt x="98" y="313"/>
                    </a:lnTo>
                    <a:lnTo>
                      <a:pt x="100" y="313"/>
                    </a:lnTo>
                    <a:lnTo>
                      <a:pt x="100" y="315"/>
                    </a:lnTo>
                    <a:lnTo>
                      <a:pt x="100" y="313"/>
                    </a:lnTo>
                    <a:lnTo>
                      <a:pt x="100" y="311"/>
                    </a:lnTo>
                    <a:lnTo>
                      <a:pt x="98" y="311"/>
                    </a:lnTo>
                    <a:lnTo>
                      <a:pt x="98" y="310"/>
                    </a:lnTo>
                    <a:lnTo>
                      <a:pt x="96" y="310"/>
                    </a:lnTo>
                    <a:lnTo>
                      <a:pt x="94" y="310"/>
                    </a:lnTo>
                    <a:lnTo>
                      <a:pt x="94" y="311"/>
                    </a:lnTo>
                    <a:lnTo>
                      <a:pt x="92" y="310"/>
                    </a:lnTo>
                    <a:lnTo>
                      <a:pt x="90" y="310"/>
                    </a:lnTo>
                    <a:lnTo>
                      <a:pt x="86" y="310"/>
                    </a:lnTo>
                    <a:lnTo>
                      <a:pt x="84" y="306"/>
                    </a:lnTo>
                    <a:lnTo>
                      <a:pt x="82" y="304"/>
                    </a:lnTo>
                    <a:lnTo>
                      <a:pt x="82" y="302"/>
                    </a:lnTo>
                    <a:lnTo>
                      <a:pt x="77" y="304"/>
                    </a:lnTo>
                    <a:lnTo>
                      <a:pt x="77" y="298"/>
                    </a:lnTo>
                    <a:lnTo>
                      <a:pt x="77" y="296"/>
                    </a:lnTo>
                    <a:lnTo>
                      <a:pt x="79" y="296"/>
                    </a:lnTo>
                    <a:lnTo>
                      <a:pt x="77" y="294"/>
                    </a:lnTo>
                    <a:lnTo>
                      <a:pt x="77" y="292"/>
                    </a:lnTo>
                    <a:lnTo>
                      <a:pt x="77" y="296"/>
                    </a:lnTo>
                    <a:lnTo>
                      <a:pt x="79" y="296"/>
                    </a:lnTo>
                    <a:lnTo>
                      <a:pt x="77" y="296"/>
                    </a:lnTo>
                    <a:lnTo>
                      <a:pt x="77" y="294"/>
                    </a:lnTo>
                    <a:lnTo>
                      <a:pt x="77" y="292"/>
                    </a:lnTo>
                    <a:lnTo>
                      <a:pt x="75" y="292"/>
                    </a:lnTo>
                    <a:lnTo>
                      <a:pt x="73" y="289"/>
                    </a:lnTo>
                    <a:lnTo>
                      <a:pt x="73" y="285"/>
                    </a:lnTo>
                    <a:lnTo>
                      <a:pt x="71" y="285"/>
                    </a:lnTo>
                    <a:lnTo>
                      <a:pt x="71" y="283"/>
                    </a:lnTo>
                    <a:lnTo>
                      <a:pt x="71" y="281"/>
                    </a:lnTo>
                    <a:lnTo>
                      <a:pt x="69" y="279"/>
                    </a:lnTo>
                    <a:lnTo>
                      <a:pt x="67" y="279"/>
                    </a:lnTo>
                    <a:lnTo>
                      <a:pt x="63" y="277"/>
                    </a:lnTo>
                    <a:lnTo>
                      <a:pt x="61" y="277"/>
                    </a:lnTo>
                    <a:lnTo>
                      <a:pt x="61" y="275"/>
                    </a:lnTo>
                    <a:lnTo>
                      <a:pt x="60" y="271"/>
                    </a:lnTo>
                    <a:lnTo>
                      <a:pt x="61" y="271"/>
                    </a:lnTo>
                    <a:lnTo>
                      <a:pt x="61" y="269"/>
                    </a:lnTo>
                    <a:lnTo>
                      <a:pt x="63" y="269"/>
                    </a:lnTo>
                    <a:lnTo>
                      <a:pt x="65" y="269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9" y="269"/>
                    </a:lnTo>
                    <a:lnTo>
                      <a:pt x="71" y="271"/>
                    </a:lnTo>
                    <a:lnTo>
                      <a:pt x="73" y="271"/>
                    </a:lnTo>
                    <a:lnTo>
                      <a:pt x="73" y="273"/>
                    </a:lnTo>
                    <a:lnTo>
                      <a:pt x="75" y="273"/>
                    </a:lnTo>
                    <a:lnTo>
                      <a:pt x="77" y="273"/>
                    </a:lnTo>
                    <a:lnTo>
                      <a:pt x="77" y="271"/>
                    </a:lnTo>
                    <a:lnTo>
                      <a:pt x="79" y="271"/>
                    </a:lnTo>
                    <a:lnTo>
                      <a:pt x="79" y="273"/>
                    </a:lnTo>
                    <a:lnTo>
                      <a:pt x="81" y="273"/>
                    </a:lnTo>
                    <a:lnTo>
                      <a:pt x="82" y="273"/>
                    </a:lnTo>
                    <a:lnTo>
                      <a:pt x="82" y="271"/>
                    </a:lnTo>
                    <a:lnTo>
                      <a:pt x="81" y="271"/>
                    </a:lnTo>
                    <a:lnTo>
                      <a:pt x="77" y="271"/>
                    </a:lnTo>
                    <a:lnTo>
                      <a:pt x="79" y="271"/>
                    </a:lnTo>
                    <a:lnTo>
                      <a:pt x="79" y="269"/>
                    </a:lnTo>
                    <a:lnTo>
                      <a:pt x="77" y="268"/>
                    </a:lnTo>
                    <a:lnTo>
                      <a:pt x="75" y="266"/>
                    </a:lnTo>
                    <a:lnTo>
                      <a:pt x="77" y="264"/>
                    </a:lnTo>
                    <a:lnTo>
                      <a:pt x="77" y="262"/>
                    </a:lnTo>
                    <a:lnTo>
                      <a:pt x="77" y="260"/>
                    </a:lnTo>
                    <a:lnTo>
                      <a:pt x="77" y="258"/>
                    </a:lnTo>
                    <a:lnTo>
                      <a:pt x="77" y="260"/>
                    </a:lnTo>
                    <a:lnTo>
                      <a:pt x="77" y="258"/>
                    </a:lnTo>
                    <a:lnTo>
                      <a:pt x="77" y="256"/>
                    </a:lnTo>
                    <a:lnTo>
                      <a:pt x="79" y="254"/>
                    </a:lnTo>
                    <a:lnTo>
                      <a:pt x="82" y="254"/>
                    </a:lnTo>
                    <a:lnTo>
                      <a:pt x="84" y="252"/>
                    </a:lnTo>
                    <a:lnTo>
                      <a:pt x="86" y="252"/>
                    </a:lnTo>
                    <a:lnTo>
                      <a:pt x="88" y="252"/>
                    </a:lnTo>
                    <a:lnTo>
                      <a:pt x="90" y="254"/>
                    </a:lnTo>
                    <a:lnTo>
                      <a:pt x="92" y="252"/>
                    </a:lnTo>
                    <a:lnTo>
                      <a:pt x="96" y="252"/>
                    </a:lnTo>
                    <a:lnTo>
                      <a:pt x="100" y="254"/>
                    </a:lnTo>
                    <a:lnTo>
                      <a:pt x="101" y="254"/>
                    </a:lnTo>
                    <a:lnTo>
                      <a:pt x="103" y="256"/>
                    </a:lnTo>
                    <a:lnTo>
                      <a:pt x="105" y="256"/>
                    </a:lnTo>
                    <a:lnTo>
                      <a:pt x="107" y="256"/>
                    </a:lnTo>
                    <a:lnTo>
                      <a:pt x="107" y="254"/>
                    </a:lnTo>
                    <a:lnTo>
                      <a:pt x="109" y="256"/>
                    </a:lnTo>
                    <a:lnTo>
                      <a:pt x="107" y="254"/>
                    </a:lnTo>
                    <a:lnTo>
                      <a:pt x="109" y="256"/>
                    </a:lnTo>
                    <a:lnTo>
                      <a:pt x="111" y="254"/>
                    </a:lnTo>
                    <a:lnTo>
                      <a:pt x="111" y="256"/>
                    </a:lnTo>
                    <a:lnTo>
                      <a:pt x="113" y="254"/>
                    </a:lnTo>
                    <a:lnTo>
                      <a:pt x="115" y="254"/>
                    </a:lnTo>
                    <a:lnTo>
                      <a:pt x="115" y="256"/>
                    </a:lnTo>
                    <a:lnTo>
                      <a:pt x="117" y="256"/>
                    </a:lnTo>
                    <a:lnTo>
                      <a:pt x="119" y="256"/>
                    </a:lnTo>
                    <a:lnTo>
                      <a:pt x="121" y="256"/>
                    </a:lnTo>
                    <a:lnTo>
                      <a:pt x="122" y="256"/>
                    </a:lnTo>
                    <a:lnTo>
                      <a:pt x="122" y="258"/>
                    </a:lnTo>
                    <a:lnTo>
                      <a:pt x="121" y="260"/>
                    </a:lnTo>
                    <a:lnTo>
                      <a:pt x="117" y="260"/>
                    </a:lnTo>
                    <a:lnTo>
                      <a:pt x="115" y="262"/>
                    </a:lnTo>
                    <a:lnTo>
                      <a:pt x="111" y="268"/>
                    </a:lnTo>
                    <a:lnTo>
                      <a:pt x="107" y="275"/>
                    </a:lnTo>
                    <a:lnTo>
                      <a:pt x="109" y="275"/>
                    </a:lnTo>
                    <a:lnTo>
                      <a:pt x="111" y="273"/>
                    </a:lnTo>
                    <a:lnTo>
                      <a:pt x="111" y="271"/>
                    </a:lnTo>
                    <a:lnTo>
                      <a:pt x="113" y="269"/>
                    </a:lnTo>
                    <a:lnTo>
                      <a:pt x="113" y="266"/>
                    </a:lnTo>
                    <a:lnTo>
                      <a:pt x="115" y="266"/>
                    </a:lnTo>
                    <a:lnTo>
                      <a:pt x="117" y="264"/>
                    </a:lnTo>
                    <a:lnTo>
                      <a:pt x="119" y="264"/>
                    </a:lnTo>
                    <a:lnTo>
                      <a:pt x="121" y="262"/>
                    </a:lnTo>
                    <a:lnTo>
                      <a:pt x="122" y="262"/>
                    </a:lnTo>
                    <a:lnTo>
                      <a:pt x="122" y="260"/>
                    </a:lnTo>
                    <a:lnTo>
                      <a:pt x="124" y="260"/>
                    </a:lnTo>
                    <a:lnTo>
                      <a:pt x="124" y="262"/>
                    </a:lnTo>
                    <a:lnTo>
                      <a:pt x="126" y="262"/>
                    </a:lnTo>
                    <a:lnTo>
                      <a:pt x="128" y="262"/>
                    </a:lnTo>
                    <a:lnTo>
                      <a:pt x="130" y="260"/>
                    </a:lnTo>
                    <a:lnTo>
                      <a:pt x="128" y="262"/>
                    </a:lnTo>
                    <a:lnTo>
                      <a:pt x="130" y="262"/>
                    </a:lnTo>
                    <a:lnTo>
                      <a:pt x="132" y="260"/>
                    </a:lnTo>
                    <a:lnTo>
                      <a:pt x="132" y="258"/>
                    </a:lnTo>
                    <a:lnTo>
                      <a:pt x="134" y="258"/>
                    </a:lnTo>
                    <a:lnTo>
                      <a:pt x="136" y="256"/>
                    </a:lnTo>
                    <a:lnTo>
                      <a:pt x="134" y="256"/>
                    </a:lnTo>
                    <a:lnTo>
                      <a:pt x="136" y="256"/>
                    </a:lnTo>
                    <a:lnTo>
                      <a:pt x="134" y="256"/>
                    </a:lnTo>
                    <a:lnTo>
                      <a:pt x="132" y="256"/>
                    </a:lnTo>
                    <a:lnTo>
                      <a:pt x="130" y="256"/>
                    </a:lnTo>
                    <a:lnTo>
                      <a:pt x="132" y="256"/>
                    </a:lnTo>
                    <a:lnTo>
                      <a:pt x="132" y="258"/>
                    </a:lnTo>
                    <a:lnTo>
                      <a:pt x="130" y="258"/>
                    </a:lnTo>
                    <a:lnTo>
                      <a:pt x="130" y="256"/>
                    </a:lnTo>
                    <a:lnTo>
                      <a:pt x="130" y="258"/>
                    </a:lnTo>
                    <a:lnTo>
                      <a:pt x="128" y="258"/>
                    </a:lnTo>
                    <a:lnTo>
                      <a:pt x="128" y="256"/>
                    </a:lnTo>
                    <a:lnTo>
                      <a:pt x="126" y="256"/>
                    </a:lnTo>
                    <a:lnTo>
                      <a:pt x="126" y="254"/>
                    </a:lnTo>
                    <a:lnTo>
                      <a:pt x="124" y="254"/>
                    </a:lnTo>
                    <a:lnTo>
                      <a:pt x="124" y="252"/>
                    </a:lnTo>
                    <a:lnTo>
                      <a:pt x="124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8" y="252"/>
                    </a:lnTo>
                    <a:lnTo>
                      <a:pt x="126" y="252"/>
                    </a:lnTo>
                    <a:lnTo>
                      <a:pt x="128" y="252"/>
                    </a:lnTo>
                    <a:lnTo>
                      <a:pt x="126" y="252"/>
                    </a:lnTo>
                    <a:lnTo>
                      <a:pt x="128" y="252"/>
                    </a:lnTo>
                    <a:lnTo>
                      <a:pt x="126" y="250"/>
                    </a:lnTo>
                    <a:lnTo>
                      <a:pt x="126" y="248"/>
                    </a:lnTo>
                    <a:lnTo>
                      <a:pt x="124" y="248"/>
                    </a:lnTo>
                    <a:lnTo>
                      <a:pt x="122" y="248"/>
                    </a:lnTo>
                    <a:lnTo>
                      <a:pt x="121" y="248"/>
                    </a:lnTo>
                    <a:lnTo>
                      <a:pt x="119" y="248"/>
                    </a:lnTo>
                    <a:lnTo>
                      <a:pt x="117" y="250"/>
                    </a:lnTo>
                    <a:lnTo>
                      <a:pt x="115" y="250"/>
                    </a:lnTo>
                    <a:lnTo>
                      <a:pt x="113" y="250"/>
                    </a:lnTo>
                    <a:lnTo>
                      <a:pt x="115" y="252"/>
                    </a:lnTo>
                    <a:lnTo>
                      <a:pt x="117" y="252"/>
                    </a:lnTo>
                    <a:lnTo>
                      <a:pt x="115" y="252"/>
                    </a:lnTo>
                    <a:lnTo>
                      <a:pt x="117" y="254"/>
                    </a:lnTo>
                    <a:lnTo>
                      <a:pt x="115" y="254"/>
                    </a:lnTo>
                    <a:lnTo>
                      <a:pt x="117" y="254"/>
                    </a:lnTo>
                    <a:lnTo>
                      <a:pt x="115" y="254"/>
                    </a:lnTo>
                    <a:lnTo>
                      <a:pt x="117" y="254"/>
                    </a:lnTo>
                    <a:lnTo>
                      <a:pt x="113" y="254"/>
                    </a:lnTo>
                    <a:lnTo>
                      <a:pt x="111" y="254"/>
                    </a:lnTo>
                    <a:lnTo>
                      <a:pt x="109" y="254"/>
                    </a:lnTo>
                    <a:lnTo>
                      <a:pt x="107" y="254"/>
                    </a:lnTo>
                    <a:lnTo>
                      <a:pt x="109" y="252"/>
                    </a:lnTo>
                    <a:lnTo>
                      <a:pt x="105" y="252"/>
                    </a:lnTo>
                    <a:lnTo>
                      <a:pt x="105" y="250"/>
                    </a:lnTo>
                    <a:lnTo>
                      <a:pt x="105" y="248"/>
                    </a:lnTo>
                    <a:lnTo>
                      <a:pt x="105" y="247"/>
                    </a:lnTo>
                    <a:lnTo>
                      <a:pt x="107" y="247"/>
                    </a:lnTo>
                    <a:lnTo>
                      <a:pt x="107" y="248"/>
                    </a:lnTo>
                    <a:lnTo>
                      <a:pt x="107" y="247"/>
                    </a:lnTo>
                    <a:lnTo>
                      <a:pt x="105" y="247"/>
                    </a:lnTo>
                    <a:lnTo>
                      <a:pt x="105" y="245"/>
                    </a:lnTo>
                    <a:lnTo>
                      <a:pt x="107" y="247"/>
                    </a:lnTo>
                    <a:lnTo>
                      <a:pt x="105" y="245"/>
                    </a:lnTo>
                    <a:lnTo>
                      <a:pt x="105" y="243"/>
                    </a:lnTo>
                    <a:lnTo>
                      <a:pt x="107" y="241"/>
                    </a:lnTo>
                    <a:lnTo>
                      <a:pt x="105" y="241"/>
                    </a:lnTo>
                    <a:lnTo>
                      <a:pt x="107" y="241"/>
                    </a:lnTo>
                    <a:lnTo>
                      <a:pt x="105" y="241"/>
                    </a:lnTo>
                    <a:lnTo>
                      <a:pt x="107" y="241"/>
                    </a:lnTo>
                    <a:lnTo>
                      <a:pt x="109" y="241"/>
                    </a:lnTo>
                    <a:lnTo>
                      <a:pt x="107" y="241"/>
                    </a:lnTo>
                    <a:lnTo>
                      <a:pt x="107" y="239"/>
                    </a:lnTo>
                    <a:lnTo>
                      <a:pt x="109" y="239"/>
                    </a:lnTo>
                    <a:lnTo>
                      <a:pt x="107" y="237"/>
                    </a:lnTo>
                    <a:lnTo>
                      <a:pt x="107" y="239"/>
                    </a:lnTo>
                    <a:lnTo>
                      <a:pt x="109" y="235"/>
                    </a:lnTo>
                    <a:lnTo>
                      <a:pt x="109" y="233"/>
                    </a:lnTo>
                    <a:lnTo>
                      <a:pt x="109" y="231"/>
                    </a:lnTo>
                    <a:lnTo>
                      <a:pt x="109" y="229"/>
                    </a:lnTo>
                    <a:lnTo>
                      <a:pt x="107" y="229"/>
                    </a:lnTo>
                    <a:lnTo>
                      <a:pt x="109" y="229"/>
                    </a:lnTo>
                    <a:lnTo>
                      <a:pt x="107" y="229"/>
                    </a:lnTo>
                    <a:lnTo>
                      <a:pt x="109" y="227"/>
                    </a:lnTo>
                    <a:lnTo>
                      <a:pt x="107" y="227"/>
                    </a:lnTo>
                    <a:lnTo>
                      <a:pt x="109" y="227"/>
                    </a:lnTo>
                    <a:lnTo>
                      <a:pt x="107" y="227"/>
                    </a:lnTo>
                    <a:lnTo>
                      <a:pt x="109" y="226"/>
                    </a:lnTo>
                    <a:lnTo>
                      <a:pt x="107" y="226"/>
                    </a:lnTo>
                    <a:lnTo>
                      <a:pt x="109" y="226"/>
                    </a:lnTo>
                    <a:lnTo>
                      <a:pt x="107" y="224"/>
                    </a:lnTo>
                    <a:lnTo>
                      <a:pt x="109" y="224"/>
                    </a:lnTo>
                    <a:lnTo>
                      <a:pt x="107" y="224"/>
                    </a:lnTo>
                    <a:lnTo>
                      <a:pt x="107" y="222"/>
                    </a:lnTo>
                    <a:lnTo>
                      <a:pt x="107" y="220"/>
                    </a:lnTo>
                    <a:lnTo>
                      <a:pt x="105" y="218"/>
                    </a:lnTo>
                    <a:lnTo>
                      <a:pt x="103" y="218"/>
                    </a:lnTo>
                    <a:lnTo>
                      <a:pt x="101" y="216"/>
                    </a:lnTo>
                    <a:lnTo>
                      <a:pt x="101" y="218"/>
                    </a:lnTo>
                    <a:lnTo>
                      <a:pt x="100" y="216"/>
                    </a:lnTo>
                    <a:lnTo>
                      <a:pt x="101" y="218"/>
                    </a:lnTo>
                    <a:lnTo>
                      <a:pt x="101" y="216"/>
                    </a:lnTo>
                    <a:lnTo>
                      <a:pt x="103" y="218"/>
                    </a:lnTo>
                    <a:lnTo>
                      <a:pt x="101" y="218"/>
                    </a:lnTo>
                    <a:lnTo>
                      <a:pt x="100" y="218"/>
                    </a:lnTo>
                    <a:lnTo>
                      <a:pt x="101" y="218"/>
                    </a:lnTo>
                    <a:lnTo>
                      <a:pt x="98" y="216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6" y="216"/>
                    </a:lnTo>
                    <a:lnTo>
                      <a:pt x="96" y="218"/>
                    </a:lnTo>
                    <a:lnTo>
                      <a:pt x="94" y="220"/>
                    </a:lnTo>
                    <a:lnTo>
                      <a:pt x="94" y="222"/>
                    </a:lnTo>
                    <a:lnTo>
                      <a:pt x="94" y="220"/>
                    </a:lnTo>
                    <a:lnTo>
                      <a:pt x="92" y="220"/>
                    </a:lnTo>
                    <a:lnTo>
                      <a:pt x="94" y="222"/>
                    </a:lnTo>
                    <a:lnTo>
                      <a:pt x="92" y="220"/>
                    </a:lnTo>
                    <a:lnTo>
                      <a:pt x="92" y="222"/>
                    </a:lnTo>
                    <a:lnTo>
                      <a:pt x="92" y="220"/>
                    </a:lnTo>
                    <a:lnTo>
                      <a:pt x="90" y="220"/>
                    </a:lnTo>
                    <a:lnTo>
                      <a:pt x="88" y="218"/>
                    </a:lnTo>
                    <a:lnTo>
                      <a:pt x="88" y="220"/>
                    </a:lnTo>
                    <a:lnTo>
                      <a:pt x="86" y="218"/>
                    </a:lnTo>
                    <a:lnTo>
                      <a:pt x="84" y="218"/>
                    </a:lnTo>
                    <a:lnTo>
                      <a:pt x="86" y="220"/>
                    </a:lnTo>
                    <a:lnTo>
                      <a:pt x="88" y="220"/>
                    </a:lnTo>
                    <a:lnTo>
                      <a:pt x="90" y="220"/>
                    </a:lnTo>
                    <a:lnTo>
                      <a:pt x="92" y="222"/>
                    </a:lnTo>
                    <a:lnTo>
                      <a:pt x="90" y="222"/>
                    </a:lnTo>
                    <a:lnTo>
                      <a:pt x="88" y="220"/>
                    </a:lnTo>
                    <a:lnTo>
                      <a:pt x="86" y="220"/>
                    </a:lnTo>
                    <a:lnTo>
                      <a:pt x="84" y="220"/>
                    </a:lnTo>
                    <a:lnTo>
                      <a:pt x="84" y="222"/>
                    </a:lnTo>
                    <a:lnTo>
                      <a:pt x="84" y="220"/>
                    </a:lnTo>
                    <a:lnTo>
                      <a:pt x="82" y="218"/>
                    </a:lnTo>
                    <a:lnTo>
                      <a:pt x="82" y="220"/>
                    </a:lnTo>
                    <a:lnTo>
                      <a:pt x="82" y="218"/>
                    </a:lnTo>
                    <a:lnTo>
                      <a:pt x="82" y="220"/>
                    </a:lnTo>
                    <a:lnTo>
                      <a:pt x="81" y="220"/>
                    </a:lnTo>
                    <a:lnTo>
                      <a:pt x="82" y="220"/>
                    </a:lnTo>
                    <a:lnTo>
                      <a:pt x="82" y="218"/>
                    </a:lnTo>
                    <a:lnTo>
                      <a:pt x="82" y="220"/>
                    </a:lnTo>
                    <a:lnTo>
                      <a:pt x="82" y="218"/>
                    </a:lnTo>
                    <a:lnTo>
                      <a:pt x="81" y="216"/>
                    </a:lnTo>
                    <a:lnTo>
                      <a:pt x="79" y="216"/>
                    </a:lnTo>
                    <a:lnTo>
                      <a:pt x="77" y="216"/>
                    </a:lnTo>
                    <a:lnTo>
                      <a:pt x="75" y="216"/>
                    </a:lnTo>
                    <a:lnTo>
                      <a:pt x="73" y="218"/>
                    </a:lnTo>
                    <a:lnTo>
                      <a:pt x="71" y="218"/>
                    </a:lnTo>
                    <a:lnTo>
                      <a:pt x="69" y="218"/>
                    </a:lnTo>
                    <a:lnTo>
                      <a:pt x="71" y="216"/>
                    </a:lnTo>
                    <a:lnTo>
                      <a:pt x="73" y="218"/>
                    </a:lnTo>
                    <a:lnTo>
                      <a:pt x="73" y="216"/>
                    </a:lnTo>
                    <a:lnTo>
                      <a:pt x="71" y="216"/>
                    </a:lnTo>
                    <a:lnTo>
                      <a:pt x="73" y="216"/>
                    </a:lnTo>
                    <a:lnTo>
                      <a:pt x="73" y="218"/>
                    </a:lnTo>
                    <a:lnTo>
                      <a:pt x="75" y="216"/>
                    </a:lnTo>
                    <a:lnTo>
                      <a:pt x="77" y="216"/>
                    </a:lnTo>
                    <a:lnTo>
                      <a:pt x="79" y="216"/>
                    </a:lnTo>
                    <a:lnTo>
                      <a:pt x="81" y="216"/>
                    </a:lnTo>
                    <a:lnTo>
                      <a:pt x="82" y="216"/>
                    </a:lnTo>
                    <a:lnTo>
                      <a:pt x="82" y="214"/>
                    </a:lnTo>
                    <a:lnTo>
                      <a:pt x="81" y="214"/>
                    </a:lnTo>
                    <a:lnTo>
                      <a:pt x="79" y="214"/>
                    </a:lnTo>
                    <a:lnTo>
                      <a:pt x="79" y="212"/>
                    </a:lnTo>
                    <a:lnTo>
                      <a:pt x="79" y="214"/>
                    </a:lnTo>
                    <a:lnTo>
                      <a:pt x="77" y="214"/>
                    </a:lnTo>
                    <a:lnTo>
                      <a:pt x="77" y="212"/>
                    </a:lnTo>
                    <a:lnTo>
                      <a:pt x="75" y="214"/>
                    </a:lnTo>
                    <a:lnTo>
                      <a:pt x="71" y="214"/>
                    </a:lnTo>
                    <a:lnTo>
                      <a:pt x="69" y="216"/>
                    </a:lnTo>
                    <a:lnTo>
                      <a:pt x="67" y="216"/>
                    </a:lnTo>
                    <a:lnTo>
                      <a:pt x="69" y="218"/>
                    </a:lnTo>
                    <a:lnTo>
                      <a:pt x="67" y="218"/>
                    </a:lnTo>
                    <a:lnTo>
                      <a:pt x="67" y="216"/>
                    </a:lnTo>
                    <a:lnTo>
                      <a:pt x="67" y="218"/>
                    </a:lnTo>
                    <a:lnTo>
                      <a:pt x="67" y="216"/>
                    </a:lnTo>
                    <a:lnTo>
                      <a:pt x="65" y="218"/>
                    </a:lnTo>
                    <a:lnTo>
                      <a:pt x="65" y="220"/>
                    </a:lnTo>
                    <a:lnTo>
                      <a:pt x="65" y="218"/>
                    </a:lnTo>
                    <a:lnTo>
                      <a:pt x="63" y="218"/>
                    </a:lnTo>
                    <a:lnTo>
                      <a:pt x="63" y="220"/>
                    </a:lnTo>
                    <a:lnTo>
                      <a:pt x="61" y="220"/>
                    </a:lnTo>
                    <a:lnTo>
                      <a:pt x="60" y="222"/>
                    </a:lnTo>
                    <a:lnTo>
                      <a:pt x="60" y="224"/>
                    </a:lnTo>
                    <a:lnTo>
                      <a:pt x="61" y="222"/>
                    </a:lnTo>
                    <a:lnTo>
                      <a:pt x="60" y="222"/>
                    </a:lnTo>
                    <a:lnTo>
                      <a:pt x="58" y="226"/>
                    </a:lnTo>
                    <a:lnTo>
                      <a:pt x="58" y="224"/>
                    </a:lnTo>
                    <a:lnTo>
                      <a:pt x="56" y="226"/>
                    </a:lnTo>
                    <a:lnTo>
                      <a:pt x="58" y="226"/>
                    </a:lnTo>
                    <a:lnTo>
                      <a:pt x="58" y="224"/>
                    </a:lnTo>
                    <a:lnTo>
                      <a:pt x="58" y="226"/>
                    </a:lnTo>
                    <a:lnTo>
                      <a:pt x="56" y="226"/>
                    </a:lnTo>
                    <a:lnTo>
                      <a:pt x="56" y="227"/>
                    </a:lnTo>
                    <a:lnTo>
                      <a:pt x="54" y="227"/>
                    </a:lnTo>
                    <a:lnTo>
                      <a:pt x="56" y="227"/>
                    </a:lnTo>
                    <a:lnTo>
                      <a:pt x="56" y="229"/>
                    </a:lnTo>
                    <a:lnTo>
                      <a:pt x="54" y="229"/>
                    </a:lnTo>
                    <a:lnTo>
                      <a:pt x="54" y="231"/>
                    </a:lnTo>
                    <a:lnTo>
                      <a:pt x="52" y="229"/>
                    </a:lnTo>
                    <a:lnTo>
                      <a:pt x="50" y="231"/>
                    </a:lnTo>
                    <a:lnTo>
                      <a:pt x="52" y="231"/>
                    </a:lnTo>
                    <a:lnTo>
                      <a:pt x="52" y="233"/>
                    </a:lnTo>
                    <a:lnTo>
                      <a:pt x="50" y="233"/>
                    </a:lnTo>
                    <a:lnTo>
                      <a:pt x="50" y="231"/>
                    </a:lnTo>
                    <a:lnTo>
                      <a:pt x="50" y="233"/>
                    </a:lnTo>
                    <a:lnTo>
                      <a:pt x="48" y="231"/>
                    </a:lnTo>
                    <a:lnTo>
                      <a:pt x="50" y="233"/>
                    </a:lnTo>
                    <a:lnTo>
                      <a:pt x="50" y="235"/>
                    </a:lnTo>
                    <a:lnTo>
                      <a:pt x="48" y="233"/>
                    </a:lnTo>
                    <a:lnTo>
                      <a:pt x="46" y="233"/>
                    </a:lnTo>
                    <a:lnTo>
                      <a:pt x="46" y="231"/>
                    </a:lnTo>
                    <a:lnTo>
                      <a:pt x="44" y="229"/>
                    </a:lnTo>
                    <a:lnTo>
                      <a:pt x="44" y="231"/>
                    </a:lnTo>
                    <a:lnTo>
                      <a:pt x="44" y="229"/>
                    </a:lnTo>
                    <a:lnTo>
                      <a:pt x="44" y="231"/>
                    </a:lnTo>
                    <a:lnTo>
                      <a:pt x="46" y="233"/>
                    </a:lnTo>
                    <a:lnTo>
                      <a:pt x="44" y="231"/>
                    </a:lnTo>
                    <a:lnTo>
                      <a:pt x="46" y="231"/>
                    </a:lnTo>
                    <a:lnTo>
                      <a:pt x="46" y="233"/>
                    </a:lnTo>
                    <a:lnTo>
                      <a:pt x="44" y="231"/>
                    </a:lnTo>
                    <a:lnTo>
                      <a:pt x="44" y="233"/>
                    </a:lnTo>
                    <a:lnTo>
                      <a:pt x="46" y="235"/>
                    </a:lnTo>
                    <a:lnTo>
                      <a:pt x="44" y="235"/>
                    </a:lnTo>
                    <a:lnTo>
                      <a:pt x="42" y="233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39" y="227"/>
                    </a:lnTo>
                    <a:lnTo>
                      <a:pt x="37" y="227"/>
                    </a:lnTo>
                    <a:lnTo>
                      <a:pt x="33" y="226"/>
                    </a:lnTo>
                    <a:lnTo>
                      <a:pt x="35" y="226"/>
                    </a:lnTo>
                    <a:lnTo>
                      <a:pt x="33" y="226"/>
                    </a:lnTo>
                    <a:lnTo>
                      <a:pt x="33" y="224"/>
                    </a:lnTo>
                    <a:lnTo>
                      <a:pt x="33" y="222"/>
                    </a:lnTo>
                    <a:lnTo>
                      <a:pt x="35" y="222"/>
                    </a:lnTo>
                    <a:lnTo>
                      <a:pt x="37" y="222"/>
                    </a:lnTo>
                    <a:lnTo>
                      <a:pt x="37" y="224"/>
                    </a:lnTo>
                    <a:lnTo>
                      <a:pt x="39" y="224"/>
                    </a:lnTo>
                    <a:lnTo>
                      <a:pt x="40" y="222"/>
                    </a:lnTo>
                    <a:lnTo>
                      <a:pt x="40" y="220"/>
                    </a:lnTo>
                    <a:lnTo>
                      <a:pt x="37" y="214"/>
                    </a:lnTo>
                    <a:lnTo>
                      <a:pt x="33" y="206"/>
                    </a:lnTo>
                    <a:lnTo>
                      <a:pt x="29" y="199"/>
                    </a:lnTo>
                    <a:lnTo>
                      <a:pt x="25" y="199"/>
                    </a:lnTo>
                    <a:lnTo>
                      <a:pt x="19" y="199"/>
                    </a:lnTo>
                    <a:lnTo>
                      <a:pt x="18" y="197"/>
                    </a:lnTo>
                    <a:lnTo>
                      <a:pt x="16" y="197"/>
                    </a:lnTo>
                    <a:lnTo>
                      <a:pt x="16" y="199"/>
                    </a:lnTo>
                    <a:lnTo>
                      <a:pt x="14" y="199"/>
                    </a:lnTo>
                    <a:lnTo>
                      <a:pt x="12" y="197"/>
                    </a:lnTo>
                    <a:lnTo>
                      <a:pt x="12" y="195"/>
                    </a:lnTo>
                    <a:lnTo>
                      <a:pt x="10" y="195"/>
                    </a:lnTo>
                    <a:lnTo>
                      <a:pt x="10" y="193"/>
                    </a:lnTo>
                    <a:lnTo>
                      <a:pt x="12" y="191"/>
                    </a:lnTo>
                    <a:lnTo>
                      <a:pt x="10" y="189"/>
                    </a:lnTo>
                    <a:lnTo>
                      <a:pt x="12" y="189"/>
                    </a:lnTo>
                    <a:lnTo>
                      <a:pt x="10" y="187"/>
                    </a:lnTo>
                    <a:lnTo>
                      <a:pt x="12" y="185"/>
                    </a:lnTo>
                    <a:lnTo>
                      <a:pt x="0" y="182"/>
                    </a:lnTo>
                    <a:lnTo>
                      <a:pt x="6" y="170"/>
                    </a:lnTo>
                    <a:lnTo>
                      <a:pt x="8" y="168"/>
                    </a:lnTo>
                    <a:lnTo>
                      <a:pt x="10" y="166"/>
                    </a:lnTo>
                    <a:lnTo>
                      <a:pt x="10" y="164"/>
                    </a:lnTo>
                    <a:lnTo>
                      <a:pt x="10" y="163"/>
                    </a:lnTo>
                    <a:lnTo>
                      <a:pt x="6" y="161"/>
                    </a:lnTo>
                    <a:lnTo>
                      <a:pt x="8" y="147"/>
                    </a:lnTo>
                    <a:lnTo>
                      <a:pt x="12" y="145"/>
                    </a:lnTo>
                    <a:lnTo>
                      <a:pt x="14" y="142"/>
                    </a:lnTo>
                    <a:lnTo>
                      <a:pt x="14" y="140"/>
                    </a:lnTo>
                    <a:lnTo>
                      <a:pt x="14" y="138"/>
                    </a:lnTo>
                    <a:lnTo>
                      <a:pt x="14" y="136"/>
                    </a:lnTo>
                    <a:lnTo>
                      <a:pt x="16" y="136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19" y="132"/>
                    </a:lnTo>
                    <a:lnTo>
                      <a:pt x="19" y="134"/>
                    </a:lnTo>
                    <a:lnTo>
                      <a:pt x="21" y="134"/>
                    </a:lnTo>
                    <a:lnTo>
                      <a:pt x="21" y="136"/>
                    </a:lnTo>
                    <a:lnTo>
                      <a:pt x="23" y="138"/>
                    </a:lnTo>
                    <a:lnTo>
                      <a:pt x="25" y="140"/>
                    </a:lnTo>
                    <a:lnTo>
                      <a:pt x="27" y="142"/>
                    </a:lnTo>
                    <a:lnTo>
                      <a:pt x="27" y="144"/>
                    </a:lnTo>
                    <a:lnTo>
                      <a:pt x="29" y="147"/>
                    </a:lnTo>
                    <a:lnTo>
                      <a:pt x="31" y="147"/>
                    </a:lnTo>
                    <a:lnTo>
                      <a:pt x="31" y="149"/>
                    </a:lnTo>
                    <a:lnTo>
                      <a:pt x="33" y="147"/>
                    </a:lnTo>
                    <a:lnTo>
                      <a:pt x="37" y="145"/>
                    </a:lnTo>
                    <a:lnTo>
                      <a:pt x="39" y="144"/>
                    </a:lnTo>
                    <a:lnTo>
                      <a:pt x="39" y="142"/>
                    </a:lnTo>
                    <a:lnTo>
                      <a:pt x="37" y="142"/>
                    </a:lnTo>
                    <a:lnTo>
                      <a:pt x="39" y="140"/>
                    </a:lnTo>
                    <a:lnTo>
                      <a:pt x="37" y="138"/>
                    </a:lnTo>
                    <a:lnTo>
                      <a:pt x="35" y="130"/>
                    </a:lnTo>
                    <a:lnTo>
                      <a:pt x="35" y="128"/>
                    </a:lnTo>
                    <a:lnTo>
                      <a:pt x="37" y="128"/>
                    </a:lnTo>
                    <a:lnTo>
                      <a:pt x="39" y="128"/>
                    </a:lnTo>
                    <a:lnTo>
                      <a:pt x="40" y="128"/>
                    </a:lnTo>
                    <a:lnTo>
                      <a:pt x="42" y="124"/>
                    </a:lnTo>
                    <a:lnTo>
                      <a:pt x="48" y="123"/>
                    </a:lnTo>
                    <a:lnTo>
                      <a:pt x="48" y="121"/>
                    </a:lnTo>
                    <a:lnTo>
                      <a:pt x="46" y="119"/>
                    </a:lnTo>
                    <a:lnTo>
                      <a:pt x="46" y="117"/>
                    </a:lnTo>
                    <a:lnTo>
                      <a:pt x="48" y="117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4" y="117"/>
                    </a:lnTo>
                    <a:lnTo>
                      <a:pt x="56" y="113"/>
                    </a:lnTo>
                    <a:lnTo>
                      <a:pt x="58" y="113"/>
                    </a:lnTo>
                    <a:lnTo>
                      <a:pt x="60" y="111"/>
                    </a:lnTo>
                    <a:lnTo>
                      <a:pt x="63" y="111"/>
                    </a:lnTo>
                    <a:lnTo>
                      <a:pt x="61" y="109"/>
                    </a:lnTo>
                    <a:lnTo>
                      <a:pt x="63" y="109"/>
                    </a:lnTo>
                    <a:lnTo>
                      <a:pt x="63" y="107"/>
                    </a:lnTo>
                    <a:lnTo>
                      <a:pt x="65" y="107"/>
                    </a:lnTo>
                    <a:lnTo>
                      <a:pt x="65" y="105"/>
                    </a:lnTo>
                    <a:lnTo>
                      <a:pt x="65" y="103"/>
                    </a:lnTo>
                    <a:lnTo>
                      <a:pt x="67" y="103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9" y="103"/>
                    </a:lnTo>
                    <a:lnTo>
                      <a:pt x="69" y="102"/>
                    </a:lnTo>
                    <a:lnTo>
                      <a:pt x="69" y="100"/>
                    </a:lnTo>
                    <a:lnTo>
                      <a:pt x="71" y="100"/>
                    </a:lnTo>
                    <a:lnTo>
                      <a:pt x="71" y="102"/>
                    </a:lnTo>
                    <a:lnTo>
                      <a:pt x="73" y="102"/>
                    </a:lnTo>
                    <a:lnTo>
                      <a:pt x="75" y="102"/>
                    </a:lnTo>
                    <a:lnTo>
                      <a:pt x="77" y="102"/>
                    </a:lnTo>
                    <a:lnTo>
                      <a:pt x="77" y="103"/>
                    </a:lnTo>
                    <a:lnTo>
                      <a:pt x="79" y="103"/>
                    </a:lnTo>
                    <a:lnTo>
                      <a:pt x="79" y="105"/>
                    </a:lnTo>
                    <a:lnTo>
                      <a:pt x="77" y="105"/>
                    </a:lnTo>
                    <a:lnTo>
                      <a:pt x="77" y="107"/>
                    </a:lnTo>
                    <a:lnTo>
                      <a:pt x="79" y="107"/>
                    </a:lnTo>
                    <a:lnTo>
                      <a:pt x="82" y="105"/>
                    </a:lnTo>
                    <a:lnTo>
                      <a:pt x="81" y="105"/>
                    </a:lnTo>
                    <a:lnTo>
                      <a:pt x="82" y="105"/>
                    </a:lnTo>
                    <a:lnTo>
                      <a:pt x="82" y="107"/>
                    </a:lnTo>
                    <a:lnTo>
                      <a:pt x="84" y="107"/>
                    </a:lnTo>
                    <a:lnTo>
                      <a:pt x="86" y="107"/>
                    </a:lnTo>
                    <a:lnTo>
                      <a:pt x="84" y="103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2"/>
                    </a:lnTo>
                    <a:lnTo>
                      <a:pt x="92" y="102"/>
                    </a:lnTo>
                    <a:lnTo>
                      <a:pt x="92" y="100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6" y="105"/>
                    </a:lnTo>
                    <a:lnTo>
                      <a:pt x="98" y="107"/>
                    </a:lnTo>
                    <a:lnTo>
                      <a:pt x="100" y="107"/>
                    </a:lnTo>
                    <a:lnTo>
                      <a:pt x="100" y="105"/>
                    </a:lnTo>
                    <a:lnTo>
                      <a:pt x="101" y="107"/>
                    </a:lnTo>
                    <a:lnTo>
                      <a:pt x="101" y="105"/>
                    </a:lnTo>
                    <a:lnTo>
                      <a:pt x="101" y="107"/>
                    </a:lnTo>
                    <a:lnTo>
                      <a:pt x="101" y="105"/>
                    </a:lnTo>
                    <a:lnTo>
                      <a:pt x="101" y="107"/>
                    </a:lnTo>
                    <a:lnTo>
                      <a:pt x="101" y="105"/>
                    </a:lnTo>
                    <a:lnTo>
                      <a:pt x="101" y="107"/>
                    </a:lnTo>
                    <a:lnTo>
                      <a:pt x="103" y="105"/>
                    </a:lnTo>
                    <a:lnTo>
                      <a:pt x="103" y="107"/>
                    </a:lnTo>
                    <a:lnTo>
                      <a:pt x="105" y="107"/>
                    </a:lnTo>
                    <a:lnTo>
                      <a:pt x="105" y="105"/>
                    </a:lnTo>
                    <a:lnTo>
                      <a:pt x="105" y="107"/>
                    </a:lnTo>
                    <a:lnTo>
                      <a:pt x="107" y="107"/>
                    </a:lnTo>
                    <a:lnTo>
                      <a:pt x="107" y="105"/>
                    </a:lnTo>
                    <a:lnTo>
                      <a:pt x="109" y="105"/>
                    </a:lnTo>
                    <a:lnTo>
                      <a:pt x="109" y="107"/>
                    </a:lnTo>
                    <a:lnTo>
                      <a:pt x="109" y="105"/>
                    </a:lnTo>
                    <a:lnTo>
                      <a:pt x="111" y="107"/>
                    </a:lnTo>
                    <a:lnTo>
                      <a:pt x="113" y="107"/>
                    </a:lnTo>
                    <a:lnTo>
                      <a:pt x="113" y="109"/>
                    </a:lnTo>
                    <a:lnTo>
                      <a:pt x="115" y="109"/>
                    </a:lnTo>
                    <a:lnTo>
                      <a:pt x="113" y="109"/>
                    </a:lnTo>
                    <a:lnTo>
                      <a:pt x="115" y="111"/>
                    </a:lnTo>
                    <a:lnTo>
                      <a:pt x="113" y="111"/>
                    </a:lnTo>
                    <a:lnTo>
                      <a:pt x="115" y="113"/>
                    </a:lnTo>
                    <a:lnTo>
                      <a:pt x="115" y="111"/>
                    </a:lnTo>
                    <a:lnTo>
                      <a:pt x="115" y="113"/>
                    </a:lnTo>
                    <a:lnTo>
                      <a:pt x="117" y="113"/>
                    </a:lnTo>
                    <a:lnTo>
                      <a:pt x="117" y="115"/>
                    </a:lnTo>
                    <a:lnTo>
                      <a:pt x="119" y="115"/>
                    </a:lnTo>
                    <a:lnTo>
                      <a:pt x="119" y="113"/>
                    </a:lnTo>
                    <a:lnTo>
                      <a:pt x="121" y="115"/>
                    </a:lnTo>
                    <a:lnTo>
                      <a:pt x="122" y="117"/>
                    </a:lnTo>
                    <a:lnTo>
                      <a:pt x="122" y="119"/>
                    </a:lnTo>
                    <a:lnTo>
                      <a:pt x="124" y="119"/>
                    </a:lnTo>
                    <a:lnTo>
                      <a:pt x="122" y="121"/>
                    </a:lnTo>
                    <a:lnTo>
                      <a:pt x="124" y="121"/>
                    </a:lnTo>
                    <a:lnTo>
                      <a:pt x="128" y="123"/>
                    </a:lnTo>
                    <a:lnTo>
                      <a:pt x="128" y="124"/>
                    </a:lnTo>
                    <a:lnTo>
                      <a:pt x="128" y="126"/>
                    </a:lnTo>
                    <a:lnTo>
                      <a:pt x="126" y="128"/>
                    </a:lnTo>
                    <a:lnTo>
                      <a:pt x="128" y="130"/>
                    </a:lnTo>
                    <a:lnTo>
                      <a:pt x="130" y="130"/>
                    </a:lnTo>
                    <a:lnTo>
                      <a:pt x="132" y="128"/>
                    </a:lnTo>
                    <a:lnTo>
                      <a:pt x="130" y="124"/>
                    </a:lnTo>
                    <a:lnTo>
                      <a:pt x="132" y="123"/>
                    </a:lnTo>
                    <a:lnTo>
                      <a:pt x="130" y="121"/>
                    </a:lnTo>
                    <a:lnTo>
                      <a:pt x="128" y="121"/>
                    </a:lnTo>
                    <a:lnTo>
                      <a:pt x="130" y="121"/>
                    </a:lnTo>
                    <a:lnTo>
                      <a:pt x="128" y="119"/>
                    </a:lnTo>
                    <a:lnTo>
                      <a:pt x="130" y="119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1"/>
                    </a:lnTo>
                    <a:lnTo>
                      <a:pt x="138" y="121"/>
                    </a:lnTo>
                    <a:lnTo>
                      <a:pt x="138" y="123"/>
                    </a:lnTo>
                    <a:lnTo>
                      <a:pt x="138" y="124"/>
                    </a:lnTo>
                    <a:lnTo>
                      <a:pt x="142" y="126"/>
                    </a:lnTo>
                    <a:lnTo>
                      <a:pt x="142" y="128"/>
                    </a:lnTo>
                    <a:lnTo>
                      <a:pt x="143" y="126"/>
                    </a:lnTo>
                    <a:lnTo>
                      <a:pt x="143" y="128"/>
                    </a:lnTo>
                    <a:lnTo>
                      <a:pt x="143" y="126"/>
                    </a:lnTo>
                    <a:lnTo>
                      <a:pt x="145" y="128"/>
                    </a:lnTo>
                    <a:lnTo>
                      <a:pt x="147" y="130"/>
                    </a:lnTo>
                    <a:lnTo>
                      <a:pt x="149" y="128"/>
                    </a:lnTo>
                    <a:lnTo>
                      <a:pt x="151" y="128"/>
                    </a:lnTo>
                    <a:lnTo>
                      <a:pt x="153" y="126"/>
                    </a:lnTo>
                    <a:lnTo>
                      <a:pt x="155" y="124"/>
                    </a:lnTo>
                    <a:lnTo>
                      <a:pt x="155" y="121"/>
                    </a:lnTo>
                    <a:lnTo>
                      <a:pt x="157" y="121"/>
                    </a:lnTo>
                    <a:lnTo>
                      <a:pt x="159" y="121"/>
                    </a:lnTo>
                    <a:lnTo>
                      <a:pt x="159" y="117"/>
                    </a:lnTo>
                    <a:lnTo>
                      <a:pt x="161" y="117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3" y="117"/>
                    </a:lnTo>
                    <a:lnTo>
                      <a:pt x="164" y="117"/>
                    </a:lnTo>
                    <a:lnTo>
                      <a:pt x="166" y="117"/>
                    </a:lnTo>
                    <a:lnTo>
                      <a:pt x="168" y="117"/>
                    </a:lnTo>
                    <a:lnTo>
                      <a:pt x="170" y="117"/>
                    </a:lnTo>
                    <a:lnTo>
                      <a:pt x="172" y="117"/>
                    </a:lnTo>
                    <a:lnTo>
                      <a:pt x="172" y="119"/>
                    </a:lnTo>
                    <a:lnTo>
                      <a:pt x="174" y="121"/>
                    </a:lnTo>
                    <a:lnTo>
                      <a:pt x="174" y="123"/>
                    </a:lnTo>
                    <a:lnTo>
                      <a:pt x="176" y="123"/>
                    </a:lnTo>
                    <a:lnTo>
                      <a:pt x="176" y="121"/>
                    </a:lnTo>
                    <a:lnTo>
                      <a:pt x="178" y="121"/>
                    </a:lnTo>
                    <a:lnTo>
                      <a:pt x="180" y="121"/>
                    </a:lnTo>
                    <a:lnTo>
                      <a:pt x="180" y="117"/>
                    </a:lnTo>
                    <a:lnTo>
                      <a:pt x="180" y="115"/>
                    </a:lnTo>
                    <a:lnTo>
                      <a:pt x="182" y="115"/>
                    </a:lnTo>
                    <a:lnTo>
                      <a:pt x="182" y="117"/>
                    </a:lnTo>
                    <a:lnTo>
                      <a:pt x="183" y="117"/>
                    </a:lnTo>
                    <a:lnTo>
                      <a:pt x="185" y="117"/>
                    </a:lnTo>
                    <a:lnTo>
                      <a:pt x="187" y="117"/>
                    </a:lnTo>
                    <a:lnTo>
                      <a:pt x="187" y="115"/>
                    </a:lnTo>
                    <a:lnTo>
                      <a:pt x="189" y="115"/>
                    </a:lnTo>
                    <a:lnTo>
                      <a:pt x="189" y="117"/>
                    </a:lnTo>
                    <a:lnTo>
                      <a:pt x="193" y="117"/>
                    </a:lnTo>
                    <a:lnTo>
                      <a:pt x="195" y="119"/>
                    </a:lnTo>
                    <a:lnTo>
                      <a:pt x="193" y="119"/>
                    </a:lnTo>
                    <a:lnTo>
                      <a:pt x="193" y="123"/>
                    </a:lnTo>
                    <a:lnTo>
                      <a:pt x="195" y="123"/>
                    </a:lnTo>
                    <a:lnTo>
                      <a:pt x="195" y="124"/>
                    </a:lnTo>
                    <a:lnTo>
                      <a:pt x="197" y="124"/>
                    </a:lnTo>
                    <a:lnTo>
                      <a:pt x="199" y="126"/>
                    </a:lnTo>
                    <a:lnTo>
                      <a:pt x="203" y="126"/>
                    </a:lnTo>
                    <a:lnTo>
                      <a:pt x="204" y="128"/>
                    </a:lnTo>
                    <a:lnTo>
                      <a:pt x="208" y="128"/>
                    </a:lnTo>
                    <a:lnTo>
                      <a:pt x="208" y="130"/>
                    </a:lnTo>
                    <a:lnTo>
                      <a:pt x="206" y="130"/>
                    </a:lnTo>
                    <a:lnTo>
                      <a:pt x="208" y="130"/>
                    </a:lnTo>
                    <a:lnTo>
                      <a:pt x="208" y="132"/>
                    </a:lnTo>
                    <a:lnTo>
                      <a:pt x="210" y="130"/>
                    </a:lnTo>
                    <a:lnTo>
                      <a:pt x="212" y="130"/>
                    </a:lnTo>
                    <a:lnTo>
                      <a:pt x="214" y="128"/>
                    </a:lnTo>
                    <a:lnTo>
                      <a:pt x="216" y="126"/>
                    </a:lnTo>
                    <a:lnTo>
                      <a:pt x="216" y="124"/>
                    </a:lnTo>
                    <a:lnTo>
                      <a:pt x="216" y="123"/>
                    </a:lnTo>
                    <a:lnTo>
                      <a:pt x="218" y="123"/>
                    </a:lnTo>
                    <a:lnTo>
                      <a:pt x="218" y="124"/>
                    </a:lnTo>
                    <a:lnTo>
                      <a:pt x="222" y="126"/>
                    </a:lnTo>
                    <a:lnTo>
                      <a:pt x="229" y="128"/>
                    </a:lnTo>
                    <a:lnTo>
                      <a:pt x="239" y="124"/>
                    </a:lnTo>
                    <a:lnTo>
                      <a:pt x="241" y="113"/>
                    </a:lnTo>
                    <a:lnTo>
                      <a:pt x="243" y="113"/>
                    </a:lnTo>
                    <a:lnTo>
                      <a:pt x="241" y="111"/>
                    </a:lnTo>
                    <a:lnTo>
                      <a:pt x="239" y="109"/>
                    </a:lnTo>
                    <a:lnTo>
                      <a:pt x="237" y="109"/>
                    </a:lnTo>
                    <a:lnTo>
                      <a:pt x="237" y="107"/>
                    </a:lnTo>
                    <a:lnTo>
                      <a:pt x="235" y="107"/>
                    </a:lnTo>
                    <a:lnTo>
                      <a:pt x="233" y="107"/>
                    </a:lnTo>
                    <a:lnTo>
                      <a:pt x="231" y="107"/>
                    </a:lnTo>
                    <a:lnTo>
                      <a:pt x="231" y="105"/>
                    </a:lnTo>
                    <a:lnTo>
                      <a:pt x="231" y="103"/>
                    </a:lnTo>
                    <a:lnTo>
                      <a:pt x="224" y="103"/>
                    </a:lnTo>
                    <a:lnTo>
                      <a:pt x="222" y="102"/>
                    </a:lnTo>
                    <a:lnTo>
                      <a:pt x="224" y="100"/>
                    </a:lnTo>
                    <a:lnTo>
                      <a:pt x="224" y="98"/>
                    </a:lnTo>
                    <a:lnTo>
                      <a:pt x="222" y="98"/>
                    </a:lnTo>
                    <a:lnTo>
                      <a:pt x="218" y="96"/>
                    </a:lnTo>
                    <a:lnTo>
                      <a:pt x="218" y="98"/>
                    </a:lnTo>
                    <a:lnTo>
                      <a:pt x="218" y="96"/>
                    </a:lnTo>
                    <a:lnTo>
                      <a:pt x="216" y="94"/>
                    </a:lnTo>
                    <a:lnTo>
                      <a:pt x="218" y="94"/>
                    </a:lnTo>
                    <a:lnTo>
                      <a:pt x="220" y="94"/>
                    </a:lnTo>
                    <a:lnTo>
                      <a:pt x="224" y="90"/>
                    </a:lnTo>
                    <a:lnTo>
                      <a:pt x="227" y="90"/>
                    </a:lnTo>
                    <a:lnTo>
                      <a:pt x="227" y="88"/>
                    </a:lnTo>
                    <a:lnTo>
                      <a:pt x="229" y="88"/>
                    </a:lnTo>
                    <a:lnTo>
                      <a:pt x="231" y="86"/>
                    </a:lnTo>
                    <a:lnTo>
                      <a:pt x="231" y="84"/>
                    </a:lnTo>
                    <a:lnTo>
                      <a:pt x="233" y="84"/>
                    </a:lnTo>
                    <a:lnTo>
                      <a:pt x="231" y="82"/>
                    </a:lnTo>
                    <a:lnTo>
                      <a:pt x="231" y="81"/>
                    </a:lnTo>
                    <a:lnTo>
                      <a:pt x="229" y="81"/>
                    </a:lnTo>
                    <a:lnTo>
                      <a:pt x="229" y="77"/>
                    </a:lnTo>
                    <a:lnTo>
                      <a:pt x="227" y="77"/>
                    </a:lnTo>
                    <a:lnTo>
                      <a:pt x="227" y="75"/>
                    </a:lnTo>
                    <a:lnTo>
                      <a:pt x="227" y="73"/>
                    </a:lnTo>
                    <a:lnTo>
                      <a:pt x="229" y="73"/>
                    </a:lnTo>
                    <a:lnTo>
                      <a:pt x="229" y="71"/>
                    </a:lnTo>
                    <a:lnTo>
                      <a:pt x="233" y="69"/>
                    </a:lnTo>
                    <a:lnTo>
                      <a:pt x="231" y="67"/>
                    </a:lnTo>
                    <a:lnTo>
                      <a:pt x="233" y="67"/>
                    </a:lnTo>
                    <a:lnTo>
                      <a:pt x="235" y="67"/>
                    </a:lnTo>
                    <a:lnTo>
                      <a:pt x="237" y="67"/>
                    </a:lnTo>
                    <a:lnTo>
                      <a:pt x="239" y="67"/>
                    </a:lnTo>
                    <a:lnTo>
                      <a:pt x="241" y="67"/>
                    </a:lnTo>
                    <a:lnTo>
                      <a:pt x="243" y="69"/>
                    </a:lnTo>
                    <a:lnTo>
                      <a:pt x="243" y="67"/>
                    </a:lnTo>
                    <a:lnTo>
                      <a:pt x="245" y="67"/>
                    </a:lnTo>
                    <a:lnTo>
                      <a:pt x="246" y="69"/>
                    </a:lnTo>
                    <a:lnTo>
                      <a:pt x="248" y="69"/>
                    </a:lnTo>
                    <a:lnTo>
                      <a:pt x="250" y="67"/>
                    </a:lnTo>
                    <a:lnTo>
                      <a:pt x="250" y="65"/>
                    </a:lnTo>
                    <a:lnTo>
                      <a:pt x="250" y="63"/>
                    </a:lnTo>
                    <a:lnTo>
                      <a:pt x="248" y="63"/>
                    </a:lnTo>
                    <a:lnTo>
                      <a:pt x="246" y="63"/>
                    </a:lnTo>
                    <a:lnTo>
                      <a:pt x="245" y="63"/>
                    </a:lnTo>
                    <a:lnTo>
                      <a:pt x="243" y="60"/>
                    </a:lnTo>
                    <a:lnTo>
                      <a:pt x="243" y="61"/>
                    </a:lnTo>
                    <a:lnTo>
                      <a:pt x="241" y="61"/>
                    </a:lnTo>
                    <a:lnTo>
                      <a:pt x="239" y="60"/>
                    </a:lnTo>
                    <a:lnTo>
                      <a:pt x="235" y="60"/>
                    </a:lnTo>
                    <a:lnTo>
                      <a:pt x="235" y="58"/>
                    </a:lnTo>
                    <a:lnTo>
                      <a:pt x="235" y="56"/>
                    </a:lnTo>
                    <a:lnTo>
                      <a:pt x="235" y="54"/>
                    </a:lnTo>
                    <a:lnTo>
                      <a:pt x="237" y="54"/>
                    </a:lnTo>
                    <a:lnTo>
                      <a:pt x="239" y="56"/>
                    </a:lnTo>
                    <a:lnTo>
                      <a:pt x="239" y="54"/>
                    </a:lnTo>
                    <a:lnTo>
                      <a:pt x="241" y="54"/>
                    </a:lnTo>
                    <a:lnTo>
                      <a:pt x="241" y="52"/>
                    </a:lnTo>
                    <a:lnTo>
                      <a:pt x="239" y="52"/>
                    </a:lnTo>
                    <a:lnTo>
                      <a:pt x="237" y="52"/>
                    </a:lnTo>
                    <a:lnTo>
                      <a:pt x="235" y="52"/>
                    </a:lnTo>
                    <a:lnTo>
                      <a:pt x="233" y="52"/>
                    </a:lnTo>
                    <a:lnTo>
                      <a:pt x="233" y="50"/>
                    </a:lnTo>
                    <a:lnTo>
                      <a:pt x="229" y="50"/>
                    </a:lnTo>
                    <a:lnTo>
                      <a:pt x="231" y="50"/>
                    </a:lnTo>
                    <a:lnTo>
                      <a:pt x="233" y="50"/>
                    </a:lnTo>
                    <a:lnTo>
                      <a:pt x="233" y="48"/>
                    </a:lnTo>
                    <a:lnTo>
                      <a:pt x="235" y="46"/>
                    </a:lnTo>
                    <a:lnTo>
                      <a:pt x="235" y="44"/>
                    </a:lnTo>
                    <a:lnTo>
                      <a:pt x="233" y="42"/>
                    </a:lnTo>
                    <a:lnTo>
                      <a:pt x="233" y="44"/>
                    </a:lnTo>
                    <a:lnTo>
                      <a:pt x="233" y="42"/>
                    </a:lnTo>
                    <a:lnTo>
                      <a:pt x="231" y="42"/>
                    </a:lnTo>
                    <a:lnTo>
                      <a:pt x="233" y="40"/>
                    </a:lnTo>
                    <a:lnTo>
                      <a:pt x="235" y="40"/>
                    </a:lnTo>
                    <a:lnTo>
                      <a:pt x="235" y="42"/>
                    </a:lnTo>
                    <a:lnTo>
                      <a:pt x="237" y="42"/>
                    </a:lnTo>
                    <a:lnTo>
                      <a:pt x="235" y="39"/>
                    </a:lnTo>
                    <a:lnTo>
                      <a:pt x="237" y="39"/>
                    </a:lnTo>
                    <a:lnTo>
                      <a:pt x="239" y="39"/>
                    </a:lnTo>
                    <a:lnTo>
                      <a:pt x="239" y="40"/>
                    </a:lnTo>
                    <a:lnTo>
                      <a:pt x="241" y="40"/>
                    </a:lnTo>
                    <a:lnTo>
                      <a:pt x="243" y="40"/>
                    </a:lnTo>
                    <a:lnTo>
                      <a:pt x="245" y="40"/>
                    </a:lnTo>
                    <a:lnTo>
                      <a:pt x="246" y="40"/>
                    </a:lnTo>
                    <a:lnTo>
                      <a:pt x="245" y="42"/>
                    </a:lnTo>
                    <a:lnTo>
                      <a:pt x="246" y="42"/>
                    </a:lnTo>
                    <a:lnTo>
                      <a:pt x="248" y="42"/>
                    </a:lnTo>
                    <a:lnTo>
                      <a:pt x="248" y="39"/>
                    </a:lnTo>
                    <a:lnTo>
                      <a:pt x="250" y="40"/>
                    </a:lnTo>
                    <a:lnTo>
                      <a:pt x="254" y="39"/>
                    </a:lnTo>
                    <a:lnTo>
                      <a:pt x="256" y="40"/>
                    </a:lnTo>
                    <a:lnTo>
                      <a:pt x="254" y="40"/>
                    </a:lnTo>
                    <a:lnTo>
                      <a:pt x="254" y="42"/>
                    </a:lnTo>
                    <a:lnTo>
                      <a:pt x="256" y="42"/>
                    </a:lnTo>
                    <a:lnTo>
                      <a:pt x="258" y="40"/>
                    </a:lnTo>
                    <a:lnTo>
                      <a:pt x="256" y="39"/>
                    </a:lnTo>
                    <a:lnTo>
                      <a:pt x="258" y="39"/>
                    </a:lnTo>
                    <a:lnTo>
                      <a:pt x="262" y="37"/>
                    </a:lnTo>
                    <a:lnTo>
                      <a:pt x="265" y="39"/>
                    </a:lnTo>
                    <a:lnTo>
                      <a:pt x="265" y="37"/>
                    </a:lnTo>
                    <a:lnTo>
                      <a:pt x="265" y="35"/>
                    </a:lnTo>
                    <a:lnTo>
                      <a:pt x="271" y="35"/>
                    </a:lnTo>
                    <a:lnTo>
                      <a:pt x="277" y="33"/>
                    </a:lnTo>
                    <a:lnTo>
                      <a:pt x="279" y="35"/>
                    </a:lnTo>
                    <a:lnTo>
                      <a:pt x="279" y="33"/>
                    </a:lnTo>
                    <a:lnTo>
                      <a:pt x="281" y="33"/>
                    </a:lnTo>
                    <a:lnTo>
                      <a:pt x="281" y="31"/>
                    </a:lnTo>
                    <a:lnTo>
                      <a:pt x="283" y="33"/>
                    </a:lnTo>
                    <a:lnTo>
                      <a:pt x="283" y="31"/>
                    </a:lnTo>
                    <a:lnTo>
                      <a:pt x="285" y="31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8" y="29"/>
                    </a:lnTo>
                    <a:lnTo>
                      <a:pt x="290" y="31"/>
                    </a:lnTo>
                    <a:lnTo>
                      <a:pt x="294" y="29"/>
                    </a:lnTo>
                    <a:lnTo>
                      <a:pt x="296" y="31"/>
                    </a:lnTo>
                    <a:lnTo>
                      <a:pt x="298" y="31"/>
                    </a:lnTo>
                    <a:lnTo>
                      <a:pt x="300" y="31"/>
                    </a:lnTo>
                    <a:lnTo>
                      <a:pt x="298" y="29"/>
                    </a:lnTo>
                    <a:lnTo>
                      <a:pt x="298" y="27"/>
                    </a:lnTo>
                    <a:lnTo>
                      <a:pt x="298" y="25"/>
                    </a:lnTo>
                    <a:lnTo>
                      <a:pt x="302" y="25"/>
                    </a:lnTo>
                    <a:lnTo>
                      <a:pt x="304" y="25"/>
                    </a:lnTo>
                    <a:lnTo>
                      <a:pt x="302" y="23"/>
                    </a:lnTo>
                    <a:lnTo>
                      <a:pt x="304" y="23"/>
                    </a:lnTo>
                    <a:lnTo>
                      <a:pt x="306" y="23"/>
                    </a:lnTo>
                    <a:lnTo>
                      <a:pt x="307" y="23"/>
                    </a:lnTo>
                    <a:lnTo>
                      <a:pt x="309" y="21"/>
                    </a:lnTo>
                    <a:lnTo>
                      <a:pt x="311" y="21"/>
                    </a:lnTo>
                    <a:lnTo>
                      <a:pt x="311" y="23"/>
                    </a:lnTo>
                    <a:lnTo>
                      <a:pt x="319" y="21"/>
                    </a:lnTo>
                    <a:lnTo>
                      <a:pt x="321" y="19"/>
                    </a:lnTo>
                    <a:lnTo>
                      <a:pt x="323" y="19"/>
                    </a:lnTo>
                    <a:lnTo>
                      <a:pt x="327" y="19"/>
                    </a:lnTo>
                    <a:lnTo>
                      <a:pt x="328" y="19"/>
                    </a:lnTo>
                    <a:lnTo>
                      <a:pt x="332" y="18"/>
                    </a:lnTo>
                    <a:lnTo>
                      <a:pt x="332" y="16"/>
                    </a:lnTo>
                    <a:lnTo>
                      <a:pt x="334" y="18"/>
                    </a:lnTo>
                    <a:lnTo>
                      <a:pt x="336" y="18"/>
                    </a:lnTo>
                    <a:lnTo>
                      <a:pt x="338" y="18"/>
                    </a:lnTo>
                    <a:lnTo>
                      <a:pt x="340" y="16"/>
                    </a:lnTo>
                    <a:lnTo>
                      <a:pt x="340" y="14"/>
                    </a:lnTo>
                    <a:lnTo>
                      <a:pt x="342" y="14"/>
                    </a:lnTo>
                    <a:lnTo>
                      <a:pt x="344" y="14"/>
                    </a:lnTo>
                    <a:lnTo>
                      <a:pt x="347" y="14"/>
                    </a:lnTo>
                    <a:lnTo>
                      <a:pt x="346" y="14"/>
                    </a:lnTo>
                    <a:lnTo>
                      <a:pt x="347" y="12"/>
                    </a:lnTo>
                    <a:lnTo>
                      <a:pt x="347" y="10"/>
                    </a:lnTo>
                    <a:lnTo>
                      <a:pt x="346" y="10"/>
                    </a:lnTo>
                    <a:lnTo>
                      <a:pt x="346" y="8"/>
                    </a:lnTo>
                    <a:lnTo>
                      <a:pt x="347" y="8"/>
                    </a:lnTo>
                    <a:lnTo>
                      <a:pt x="349" y="8"/>
                    </a:lnTo>
                    <a:lnTo>
                      <a:pt x="353" y="8"/>
                    </a:lnTo>
                    <a:lnTo>
                      <a:pt x="353" y="6"/>
                    </a:lnTo>
                    <a:lnTo>
                      <a:pt x="353" y="4"/>
                    </a:lnTo>
                    <a:lnTo>
                      <a:pt x="355" y="4"/>
                    </a:lnTo>
                    <a:lnTo>
                      <a:pt x="355" y="2"/>
                    </a:lnTo>
                    <a:lnTo>
                      <a:pt x="359" y="4"/>
                    </a:lnTo>
                    <a:lnTo>
                      <a:pt x="359" y="2"/>
                    </a:lnTo>
                    <a:lnTo>
                      <a:pt x="357" y="2"/>
                    </a:lnTo>
                    <a:lnTo>
                      <a:pt x="357" y="0"/>
                    </a:lnTo>
                    <a:lnTo>
                      <a:pt x="359" y="0"/>
                    </a:lnTo>
                    <a:lnTo>
                      <a:pt x="361" y="2"/>
                    </a:lnTo>
                    <a:lnTo>
                      <a:pt x="363" y="4"/>
                    </a:lnTo>
                    <a:lnTo>
                      <a:pt x="365" y="4"/>
                    </a:lnTo>
                    <a:lnTo>
                      <a:pt x="365" y="2"/>
                    </a:lnTo>
                    <a:lnTo>
                      <a:pt x="367" y="4"/>
                    </a:lnTo>
                    <a:lnTo>
                      <a:pt x="370" y="4"/>
                    </a:lnTo>
                    <a:lnTo>
                      <a:pt x="372" y="4"/>
                    </a:lnTo>
                    <a:lnTo>
                      <a:pt x="374" y="8"/>
                    </a:lnTo>
                    <a:lnTo>
                      <a:pt x="376" y="8"/>
                    </a:lnTo>
                    <a:lnTo>
                      <a:pt x="378" y="10"/>
                    </a:lnTo>
                    <a:lnTo>
                      <a:pt x="380" y="8"/>
                    </a:lnTo>
                    <a:lnTo>
                      <a:pt x="382" y="8"/>
                    </a:lnTo>
                    <a:lnTo>
                      <a:pt x="382" y="6"/>
                    </a:lnTo>
                    <a:lnTo>
                      <a:pt x="386" y="6"/>
                    </a:lnTo>
                    <a:lnTo>
                      <a:pt x="386" y="4"/>
                    </a:lnTo>
                    <a:lnTo>
                      <a:pt x="388" y="4"/>
                    </a:lnTo>
                    <a:lnTo>
                      <a:pt x="388" y="6"/>
                    </a:lnTo>
                    <a:lnTo>
                      <a:pt x="389" y="8"/>
                    </a:lnTo>
                    <a:lnTo>
                      <a:pt x="389" y="10"/>
                    </a:lnTo>
                    <a:lnTo>
                      <a:pt x="391" y="10"/>
                    </a:lnTo>
                    <a:lnTo>
                      <a:pt x="391" y="12"/>
                    </a:lnTo>
                    <a:lnTo>
                      <a:pt x="389" y="14"/>
                    </a:lnTo>
                    <a:lnTo>
                      <a:pt x="391" y="14"/>
                    </a:lnTo>
                    <a:lnTo>
                      <a:pt x="389" y="16"/>
                    </a:lnTo>
                    <a:lnTo>
                      <a:pt x="391" y="18"/>
                    </a:lnTo>
                    <a:lnTo>
                      <a:pt x="391" y="19"/>
                    </a:lnTo>
                    <a:lnTo>
                      <a:pt x="391" y="21"/>
                    </a:lnTo>
                    <a:lnTo>
                      <a:pt x="393" y="21"/>
                    </a:lnTo>
                    <a:lnTo>
                      <a:pt x="395" y="21"/>
                    </a:lnTo>
                    <a:lnTo>
                      <a:pt x="395" y="23"/>
                    </a:lnTo>
                    <a:lnTo>
                      <a:pt x="393" y="23"/>
                    </a:lnTo>
                    <a:lnTo>
                      <a:pt x="393" y="25"/>
                    </a:lnTo>
                    <a:lnTo>
                      <a:pt x="393" y="27"/>
                    </a:lnTo>
                    <a:lnTo>
                      <a:pt x="393" y="29"/>
                    </a:lnTo>
                    <a:lnTo>
                      <a:pt x="395" y="29"/>
                    </a:lnTo>
                    <a:lnTo>
                      <a:pt x="395" y="31"/>
                    </a:lnTo>
                    <a:lnTo>
                      <a:pt x="393" y="31"/>
                    </a:lnTo>
                    <a:lnTo>
                      <a:pt x="393" y="33"/>
                    </a:lnTo>
                    <a:lnTo>
                      <a:pt x="393" y="31"/>
                    </a:lnTo>
                    <a:lnTo>
                      <a:pt x="391" y="31"/>
                    </a:lnTo>
                    <a:lnTo>
                      <a:pt x="391" y="33"/>
                    </a:lnTo>
                    <a:lnTo>
                      <a:pt x="391" y="35"/>
                    </a:lnTo>
                    <a:lnTo>
                      <a:pt x="393" y="35"/>
                    </a:lnTo>
                    <a:lnTo>
                      <a:pt x="391" y="37"/>
                    </a:lnTo>
                    <a:lnTo>
                      <a:pt x="393" y="37"/>
                    </a:lnTo>
                    <a:lnTo>
                      <a:pt x="393" y="39"/>
                    </a:lnTo>
                    <a:lnTo>
                      <a:pt x="395" y="37"/>
                    </a:lnTo>
                    <a:lnTo>
                      <a:pt x="395" y="35"/>
                    </a:lnTo>
                    <a:lnTo>
                      <a:pt x="399" y="37"/>
                    </a:lnTo>
                    <a:lnTo>
                      <a:pt x="399" y="39"/>
                    </a:lnTo>
                    <a:lnTo>
                      <a:pt x="401" y="37"/>
                    </a:lnTo>
                    <a:lnTo>
                      <a:pt x="401" y="39"/>
                    </a:lnTo>
                    <a:lnTo>
                      <a:pt x="403" y="37"/>
                    </a:lnTo>
                    <a:lnTo>
                      <a:pt x="403" y="35"/>
                    </a:lnTo>
                    <a:lnTo>
                      <a:pt x="403" y="33"/>
                    </a:lnTo>
                    <a:lnTo>
                      <a:pt x="405" y="35"/>
                    </a:lnTo>
                    <a:lnTo>
                      <a:pt x="407" y="35"/>
                    </a:lnTo>
                    <a:lnTo>
                      <a:pt x="408" y="35"/>
                    </a:lnTo>
                    <a:lnTo>
                      <a:pt x="408" y="37"/>
                    </a:lnTo>
                    <a:lnTo>
                      <a:pt x="410" y="37"/>
                    </a:lnTo>
                    <a:lnTo>
                      <a:pt x="410" y="35"/>
                    </a:lnTo>
                    <a:lnTo>
                      <a:pt x="408" y="35"/>
                    </a:lnTo>
                    <a:lnTo>
                      <a:pt x="408" y="33"/>
                    </a:lnTo>
                    <a:lnTo>
                      <a:pt x="407" y="31"/>
                    </a:lnTo>
                    <a:lnTo>
                      <a:pt x="410" y="31"/>
                    </a:lnTo>
                    <a:lnTo>
                      <a:pt x="410" y="33"/>
                    </a:lnTo>
                    <a:lnTo>
                      <a:pt x="412" y="35"/>
                    </a:lnTo>
                    <a:lnTo>
                      <a:pt x="410" y="35"/>
                    </a:lnTo>
                    <a:lnTo>
                      <a:pt x="414" y="37"/>
                    </a:lnTo>
                    <a:lnTo>
                      <a:pt x="414" y="39"/>
                    </a:lnTo>
                    <a:lnTo>
                      <a:pt x="412" y="37"/>
                    </a:lnTo>
                    <a:lnTo>
                      <a:pt x="412" y="39"/>
                    </a:lnTo>
                    <a:lnTo>
                      <a:pt x="414" y="39"/>
                    </a:lnTo>
                    <a:lnTo>
                      <a:pt x="412" y="42"/>
                    </a:lnTo>
                    <a:lnTo>
                      <a:pt x="414" y="42"/>
                    </a:lnTo>
                    <a:lnTo>
                      <a:pt x="416" y="40"/>
                    </a:lnTo>
                    <a:lnTo>
                      <a:pt x="418" y="42"/>
                    </a:lnTo>
                    <a:lnTo>
                      <a:pt x="418" y="40"/>
                    </a:lnTo>
                    <a:lnTo>
                      <a:pt x="418" y="39"/>
                    </a:lnTo>
                    <a:lnTo>
                      <a:pt x="414" y="39"/>
                    </a:lnTo>
                    <a:lnTo>
                      <a:pt x="416" y="37"/>
                    </a:lnTo>
                    <a:lnTo>
                      <a:pt x="420" y="37"/>
                    </a:lnTo>
                    <a:lnTo>
                      <a:pt x="420" y="39"/>
                    </a:lnTo>
                    <a:lnTo>
                      <a:pt x="422" y="39"/>
                    </a:lnTo>
                    <a:lnTo>
                      <a:pt x="424" y="40"/>
                    </a:lnTo>
                    <a:lnTo>
                      <a:pt x="428" y="42"/>
                    </a:lnTo>
                    <a:lnTo>
                      <a:pt x="429" y="42"/>
                    </a:lnTo>
                    <a:lnTo>
                      <a:pt x="429" y="40"/>
                    </a:lnTo>
                    <a:lnTo>
                      <a:pt x="431" y="42"/>
                    </a:lnTo>
                    <a:lnTo>
                      <a:pt x="431" y="40"/>
                    </a:lnTo>
                    <a:lnTo>
                      <a:pt x="433" y="39"/>
                    </a:lnTo>
                    <a:lnTo>
                      <a:pt x="435" y="39"/>
                    </a:lnTo>
                    <a:lnTo>
                      <a:pt x="433" y="44"/>
                    </a:lnTo>
                    <a:lnTo>
                      <a:pt x="429" y="44"/>
                    </a:lnTo>
                    <a:lnTo>
                      <a:pt x="429" y="46"/>
                    </a:lnTo>
                    <a:lnTo>
                      <a:pt x="428" y="46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8" y="50"/>
                    </a:lnTo>
                    <a:lnTo>
                      <a:pt x="426" y="52"/>
                    </a:lnTo>
                    <a:lnTo>
                      <a:pt x="429" y="54"/>
                    </a:lnTo>
                    <a:lnTo>
                      <a:pt x="428" y="56"/>
                    </a:lnTo>
                    <a:lnTo>
                      <a:pt x="429" y="56"/>
                    </a:lnTo>
                    <a:lnTo>
                      <a:pt x="431" y="54"/>
                    </a:lnTo>
                    <a:lnTo>
                      <a:pt x="431" y="52"/>
                    </a:lnTo>
                    <a:lnTo>
                      <a:pt x="433" y="52"/>
                    </a:lnTo>
                    <a:lnTo>
                      <a:pt x="433" y="50"/>
                    </a:lnTo>
                    <a:lnTo>
                      <a:pt x="435" y="52"/>
                    </a:lnTo>
                    <a:lnTo>
                      <a:pt x="437" y="50"/>
                    </a:lnTo>
                    <a:lnTo>
                      <a:pt x="439" y="50"/>
                    </a:lnTo>
                    <a:lnTo>
                      <a:pt x="439" y="52"/>
                    </a:lnTo>
                    <a:lnTo>
                      <a:pt x="441" y="52"/>
                    </a:lnTo>
                    <a:lnTo>
                      <a:pt x="443" y="52"/>
                    </a:lnTo>
                    <a:lnTo>
                      <a:pt x="443" y="54"/>
                    </a:lnTo>
                    <a:lnTo>
                      <a:pt x="445" y="56"/>
                    </a:lnTo>
                    <a:lnTo>
                      <a:pt x="447" y="52"/>
                    </a:lnTo>
                    <a:lnTo>
                      <a:pt x="445" y="52"/>
                    </a:lnTo>
                    <a:lnTo>
                      <a:pt x="445" y="48"/>
                    </a:lnTo>
                    <a:lnTo>
                      <a:pt x="449" y="50"/>
                    </a:lnTo>
                    <a:lnTo>
                      <a:pt x="449" y="46"/>
                    </a:lnTo>
                    <a:lnTo>
                      <a:pt x="450" y="48"/>
                    </a:lnTo>
                    <a:lnTo>
                      <a:pt x="450" y="44"/>
                    </a:lnTo>
                    <a:lnTo>
                      <a:pt x="454" y="46"/>
                    </a:lnTo>
                    <a:lnTo>
                      <a:pt x="456" y="46"/>
                    </a:lnTo>
                    <a:lnTo>
                      <a:pt x="460" y="42"/>
                    </a:lnTo>
                    <a:lnTo>
                      <a:pt x="462" y="40"/>
                    </a:lnTo>
                    <a:lnTo>
                      <a:pt x="460" y="39"/>
                    </a:lnTo>
                    <a:lnTo>
                      <a:pt x="462" y="37"/>
                    </a:lnTo>
                    <a:lnTo>
                      <a:pt x="464" y="39"/>
                    </a:lnTo>
                    <a:lnTo>
                      <a:pt x="473" y="33"/>
                    </a:lnTo>
                    <a:lnTo>
                      <a:pt x="475" y="31"/>
                    </a:lnTo>
                    <a:lnTo>
                      <a:pt x="477" y="31"/>
                    </a:lnTo>
                    <a:lnTo>
                      <a:pt x="479" y="31"/>
                    </a:lnTo>
                    <a:lnTo>
                      <a:pt x="481" y="31"/>
                    </a:lnTo>
                    <a:lnTo>
                      <a:pt x="481" y="29"/>
                    </a:lnTo>
                    <a:lnTo>
                      <a:pt x="483" y="29"/>
                    </a:lnTo>
                    <a:lnTo>
                      <a:pt x="485" y="27"/>
                    </a:lnTo>
                    <a:lnTo>
                      <a:pt x="485" y="29"/>
                    </a:lnTo>
                    <a:lnTo>
                      <a:pt x="483" y="31"/>
                    </a:lnTo>
                    <a:lnTo>
                      <a:pt x="485" y="31"/>
                    </a:lnTo>
                    <a:lnTo>
                      <a:pt x="485" y="33"/>
                    </a:lnTo>
                    <a:lnTo>
                      <a:pt x="483" y="33"/>
                    </a:lnTo>
                    <a:lnTo>
                      <a:pt x="483" y="35"/>
                    </a:lnTo>
                    <a:lnTo>
                      <a:pt x="483" y="37"/>
                    </a:lnTo>
                    <a:lnTo>
                      <a:pt x="481" y="37"/>
                    </a:lnTo>
                    <a:lnTo>
                      <a:pt x="479" y="37"/>
                    </a:lnTo>
                    <a:lnTo>
                      <a:pt x="477" y="37"/>
                    </a:lnTo>
                    <a:lnTo>
                      <a:pt x="477" y="39"/>
                    </a:lnTo>
                    <a:lnTo>
                      <a:pt x="479" y="40"/>
                    </a:lnTo>
                    <a:lnTo>
                      <a:pt x="500" y="60"/>
                    </a:lnTo>
                    <a:lnTo>
                      <a:pt x="519" y="94"/>
                    </a:lnTo>
                    <a:lnTo>
                      <a:pt x="534" y="126"/>
                    </a:lnTo>
                    <a:lnTo>
                      <a:pt x="534" y="123"/>
                    </a:lnTo>
                    <a:lnTo>
                      <a:pt x="536" y="123"/>
                    </a:lnTo>
                    <a:lnTo>
                      <a:pt x="536" y="121"/>
                    </a:lnTo>
                    <a:lnTo>
                      <a:pt x="538" y="121"/>
                    </a:lnTo>
                    <a:lnTo>
                      <a:pt x="540" y="121"/>
                    </a:lnTo>
                    <a:lnTo>
                      <a:pt x="542" y="121"/>
                    </a:lnTo>
                    <a:lnTo>
                      <a:pt x="542" y="117"/>
                    </a:lnTo>
                    <a:lnTo>
                      <a:pt x="540" y="117"/>
                    </a:lnTo>
                    <a:lnTo>
                      <a:pt x="540" y="113"/>
                    </a:lnTo>
                    <a:lnTo>
                      <a:pt x="544" y="113"/>
                    </a:lnTo>
                    <a:lnTo>
                      <a:pt x="544" y="111"/>
                    </a:lnTo>
                    <a:lnTo>
                      <a:pt x="548" y="113"/>
                    </a:lnTo>
                    <a:lnTo>
                      <a:pt x="550" y="113"/>
                    </a:lnTo>
                    <a:lnTo>
                      <a:pt x="548" y="113"/>
                    </a:lnTo>
                    <a:lnTo>
                      <a:pt x="550" y="115"/>
                    </a:lnTo>
                    <a:lnTo>
                      <a:pt x="552" y="115"/>
                    </a:lnTo>
                    <a:lnTo>
                      <a:pt x="552" y="113"/>
                    </a:lnTo>
                    <a:lnTo>
                      <a:pt x="552" y="115"/>
                    </a:lnTo>
                    <a:lnTo>
                      <a:pt x="552" y="117"/>
                    </a:lnTo>
                    <a:lnTo>
                      <a:pt x="552" y="121"/>
                    </a:lnTo>
                    <a:lnTo>
                      <a:pt x="553" y="121"/>
                    </a:lnTo>
                    <a:lnTo>
                      <a:pt x="555" y="119"/>
                    </a:lnTo>
                    <a:lnTo>
                      <a:pt x="557" y="119"/>
                    </a:lnTo>
                    <a:lnTo>
                      <a:pt x="557" y="123"/>
                    </a:lnTo>
                    <a:lnTo>
                      <a:pt x="557" y="124"/>
                    </a:lnTo>
                    <a:lnTo>
                      <a:pt x="559" y="126"/>
                    </a:lnTo>
                    <a:lnTo>
                      <a:pt x="561" y="124"/>
                    </a:lnTo>
                    <a:lnTo>
                      <a:pt x="563" y="124"/>
                    </a:lnTo>
                    <a:lnTo>
                      <a:pt x="569" y="126"/>
                    </a:lnTo>
                    <a:lnTo>
                      <a:pt x="571" y="124"/>
                    </a:lnTo>
                    <a:lnTo>
                      <a:pt x="572" y="126"/>
                    </a:lnTo>
                    <a:lnTo>
                      <a:pt x="574" y="124"/>
                    </a:lnTo>
                    <a:lnTo>
                      <a:pt x="576" y="124"/>
                    </a:lnTo>
                    <a:lnTo>
                      <a:pt x="576" y="121"/>
                    </a:lnTo>
                    <a:lnTo>
                      <a:pt x="580" y="121"/>
                    </a:lnTo>
                    <a:lnTo>
                      <a:pt x="580" y="123"/>
                    </a:lnTo>
                    <a:lnTo>
                      <a:pt x="582" y="121"/>
                    </a:lnTo>
                    <a:lnTo>
                      <a:pt x="584" y="121"/>
                    </a:lnTo>
                    <a:lnTo>
                      <a:pt x="584" y="119"/>
                    </a:lnTo>
                    <a:lnTo>
                      <a:pt x="586" y="119"/>
                    </a:lnTo>
                    <a:lnTo>
                      <a:pt x="588" y="119"/>
                    </a:lnTo>
                    <a:lnTo>
                      <a:pt x="590" y="121"/>
                    </a:lnTo>
                    <a:lnTo>
                      <a:pt x="592" y="121"/>
                    </a:lnTo>
                    <a:lnTo>
                      <a:pt x="593" y="121"/>
                    </a:lnTo>
                    <a:lnTo>
                      <a:pt x="595" y="123"/>
                    </a:lnTo>
                    <a:lnTo>
                      <a:pt x="595" y="124"/>
                    </a:lnTo>
                    <a:lnTo>
                      <a:pt x="597" y="124"/>
                    </a:lnTo>
                    <a:lnTo>
                      <a:pt x="597" y="126"/>
                    </a:lnTo>
                    <a:lnTo>
                      <a:pt x="599" y="128"/>
                    </a:lnTo>
                    <a:lnTo>
                      <a:pt x="599" y="130"/>
                    </a:lnTo>
                    <a:lnTo>
                      <a:pt x="601" y="130"/>
                    </a:lnTo>
                    <a:lnTo>
                      <a:pt x="601" y="132"/>
                    </a:lnTo>
                    <a:lnTo>
                      <a:pt x="601" y="136"/>
                    </a:lnTo>
                    <a:lnTo>
                      <a:pt x="603" y="140"/>
                    </a:lnTo>
                    <a:lnTo>
                      <a:pt x="605" y="138"/>
                    </a:lnTo>
                    <a:lnTo>
                      <a:pt x="605" y="140"/>
                    </a:lnTo>
                    <a:lnTo>
                      <a:pt x="607" y="140"/>
                    </a:lnTo>
                    <a:lnTo>
                      <a:pt x="609" y="140"/>
                    </a:lnTo>
                    <a:lnTo>
                      <a:pt x="611" y="140"/>
                    </a:lnTo>
                    <a:lnTo>
                      <a:pt x="611" y="142"/>
                    </a:lnTo>
                    <a:lnTo>
                      <a:pt x="613" y="142"/>
                    </a:lnTo>
                    <a:lnTo>
                      <a:pt x="614" y="144"/>
                    </a:lnTo>
                    <a:lnTo>
                      <a:pt x="613" y="145"/>
                    </a:lnTo>
                    <a:lnTo>
                      <a:pt x="614" y="147"/>
                    </a:lnTo>
                    <a:lnTo>
                      <a:pt x="616" y="149"/>
                    </a:lnTo>
                    <a:lnTo>
                      <a:pt x="616" y="151"/>
                    </a:lnTo>
                    <a:lnTo>
                      <a:pt x="616" y="153"/>
                    </a:lnTo>
                    <a:lnTo>
                      <a:pt x="618" y="153"/>
                    </a:lnTo>
                    <a:lnTo>
                      <a:pt x="620" y="153"/>
                    </a:lnTo>
                    <a:lnTo>
                      <a:pt x="622" y="153"/>
                    </a:lnTo>
                    <a:lnTo>
                      <a:pt x="624" y="155"/>
                    </a:lnTo>
                    <a:lnTo>
                      <a:pt x="626" y="155"/>
                    </a:lnTo>
                    <a:lnTo>
                      <a:pt x="628" y="155"/>
                    </a:lnTo>
                    <a:lnTo>
                      <a:pt x="628" y="157"/>
                    </a:lnTo>
                    <a:lnTo>
                      <a:pt x="630" y="155"/>
                    </a:lnTo>
                    <a:lnTo>
                      <a:pt x="632" y="155"/>
                    </a:lnTo>
                    <a:lnTo>
                      <a:pt x="632" y="157"/>
                    </a:lnTo>
                    <a:lnTo>
                      <a:pt x="634" y="155"/>
                    </a:lnTo>
                    <a:lnTo>
                      <a:pt x="635" y="153"/>
                    </a:lnTo>
                    <a:lnTo>
                      <a:pt x="637" y="151"/>
                    </a:lnTo>
                    <a:lnTo>
                      <a:pt x="639" y="151"/>
                    </a:lnTo>
                    <a:lnTo>
                      <a:pt x="639" y="149"/>
                    </a:lnTo>
                    <a:lnTo>
                      <a:pt x="641" y="149"/>
                    </a:lnTo>
                    <a:lnTo>
                      <a:pt x="641" y="151"/>
                    </a:lnTo>
                    <a:lnTo>
                      <a:pt x="639" y="153"/>
                    </a:lnTo>
                    <a:lnTo>
                      <a:pt x="639" y="155"/>
                    </a:lnTo>
                    <a:lnTo>
                      <a:pt x="641" y="155"/>
                    </a:lnTo>
                    <a:lnTo>
                      <a:pt x="643" y="155"/>
                    </a:lnTo>
                    <a:lnTo>
                      <a:pt x="643" y="157"/>
                    </a:lnTo>
                    <a:lnTo>
                      <a:pt x="643" y="159"/>
                    </a:lnTo>
                    <a:lnTo>
                      <a:pt x="645" y="159"/>
                    </a:lnTo>
                    <a:lnTo>
                      <a:pt x="643" y="159"/>
                    </a:lnTo>
                    <a:lnTo>
                      <a:pt x="645" y="161"/>
                    </a:lnTo>
                    <a:lnTo>
                      <a:pt x="645" y="163"/>
                    </a:lnTo>
                    <a:lnTo>
                      <a:pt x="649" y="163"/>
                    </a:lnTo>
                    <a:lnTo>
                      <a:pt x="651" y="163"/>
                    </a:lnTo>
                    <a:lnTo>
                      <a:pt x="649" y="163"/>
                    </a:lnTo>
                    <a:lnTo>
                      <a:pt x="651" y="164"/>
                    </a:lnTo>
                    <a:lnTo>
                      <a:pt x="649" y="166"/>
                    </a:lnTo>
                    <a:close/>
                    <a:moveTo>
                      <a:pt x="52" y="231"/>
                    </a:moveTo>
                    <a:lnTo>
                      <a:pt x="54" y="231"/>
                    </a:lnTo>
                    <a:lnTo>
                      <a:pt x="54" y="233"/>
                    </a:lnTo>
                    <a:lnTo>
                      <a:pt x="54" y="235"/>
                    </a:lnTo>
                    <a:lnTo>
                      <a:pt x="54" y="233"/>
                    </a:lnTo>
                    <a:lnTo>
                      <a:pt x="52" y="231"/>
                    </a:lnTo>
                    <a:close/>
                    <a:moveTo>
                      <a:pt x="77" y="262"/>
                    </a:moveTo>
                    <a:lnTo>
                      <a:pt x="75" y="262"/>
                    </a:lnTo>
                    <a:lnTo>
                      <a:pt x="75" y="264"/>
                    </a:lnTo>
                    <a:lnTo>
                      <a:pt x="75" y="266"/>
                    </a:lnTo>
                    <a:lnTo>
                      <a:pt x="75" y="264"/>
                    </a:lnTo>
                    <a:lnTo>
                      <a:pt x="73" y="264"/>
                    </a:lnTo>
                    <a:lnTo>
                      <a:pt x="73" y="262"/>
                    </a:lnTo>
                    <a:lnTo>
                      <a:pt x="75" y="262"/>
                    </a:lnTo>
                    <a:lnTo>
                      <a:pt x="77" y="262"/>
                    </a:lnTo>
                    <a:close/>
                    <a:moveTo>
                      <a:pt x="61" y="260"/>
                    </a:moveTo>
                    <a:lnTo>
                      <a:pt x="61" y="262"/>
                    </a:lnTo>
                    <a:lnTo>
                      <a:pt x="61" y="264"/>
                    </a:lnTo>
                    <a:lnTo>
                      <a:pt x="61" y="266"/>
                    </a:lnTo>
                    <a:lnTo>
                      <a:pt x="61" y="264"/>
                    </a:lnTo>
                    <a:lnTo>
                      <a:pt x="61" y="262"/>
                    </a:lnTo>
                    <a:lnTo>
                      <a:pt x="60" y="262"/>
                    </a:lnTo>
                    <a:lnTo>
                      <a:pt x="61" y="262"/>
                    </a:lnTo>
                    <a:lnTo>
                      <a:pt x="60" y="262"/>
                    </a:lnTo>
                    <a:lnTo>
                      <a:pt x="61" y="260"/>
                    </a:lnTo>
                    <a:lnTo>
                      <a:pt x="61" y="262"/>
                    </a:lnTo>
                    <a:lnTo>
                      <a:pt x="61" y="260"/>
                    </a:lnTo>
                    <a:close/>
                    <a:moveTo>
                      <a:pt x="58" y="260"/>
                    </a:moveTo>
                    <a:lnTo>
                      <a:pt x="58" y="262"/>
                    </a:lnTo>
                    <a:lnTo>
                      <a:pt x="58" y="264"/>
                    </a:lnTo>
                    <a:lnTo>
                      <a:pt x="58" y="266"/>
                    </a:lnTo>
                    <a:lnTo>
                      <a:pt x="60" y="266"/>
                    </a:lnTo>
                    <a:lnTo>
                      <a:pt x="58" y="266"/>
                    </a:lnTo>
                    <a:lnTo>
                      <a:pt x="58" y="264"/>
                    </a:lnTo>
                    <a:lnTo>
                      <a:pt x="58" y="262"/>
                    </a:lnTo>
                    <a:lnTo>
                      <a:pt x="58" y="260"/>
                    </a:lnTo>
                    <a:close/>
                    <a:moveTo>
                      <a:pt x="100" y="220"/>
                    </a:moveTo>
                    <a:lnTo>
                      <a:pt x="98" y="220"/>
                    </a:lnTo>
                    <a:lnTo>
                      <a:pt x="100" y="220"/>
                    </a:lnTo>
                    <a:lnTo>
                      <a:pt x="100" y="222"/>
                    </a:lnTo>
                    <a:lnTo>
                      <a:pt x="101" y="222"/>
                    </a:lnTo>
                    <a:lnTo>
                      <a:pt x="101" y="224"/>
                    </a:lnTo>
                    <a:lnTo>
                      <a:pt x="100" y="222"/>
                    </a:lnTo>
                    <a:lnTo>
                      <a:pt x="101" y="222"/>
                    </a:lnTo>
                    <a:lnTo>
                      <a:pt x="100" y="222"/>
                    </a:lnTo>
                    <a:lnTo>
                      <a:pt x="100" y="220"/>
                    </a:lnTo>
                    <a:lnTo>
                      <a:pt x="98" y="220"/>
                    </a:lnTo>
                    <a:lnTo>
                      <a:pt x="100" y="220"/>
                    </a:lnTo>
                    <a:close/>
                    <a:moveTo>
                      <a:pt x="94" y="218"/>
                    </a:moveTo>
                    <a:lnTo>
                      <a:pt x="96" y="218"/>
                    </a:lnTo>
                    <a:lnTo>
                      <a:pt x="96" y="222"/>
                    </a:lnTo>
                    <a:lnTo>
                      <a:pt x="94" y="222"/>
                    </a:lnTo>
                    <a:lnTo>
                      <a:pt x="94" y="218"/>
                    </a:lnTo>
                    <a:close/>
                    <a:moveTo>
                      <a:pt x="100" y="218"/>
                    </a:moveTo>
                    <a:lnTo>
                      <a:pt x="101" y="218"/>
                    </a:lnTo>
                    <a:lnTo>
                      <a:pt x="101" y="220"/>
                    </a:lnTo>
                    <a:lnTo>
                      <a:pt x="100" y="220"/>
                    </a:lnTo>
                    <a:lnTo>
                      <a:pt x="100" y="218"/>
                    </a:lnTo>
                    <a:close/>
                    <a:moveTo>
                      <a:pt x="98" y="250"/>
                    </a:moveTo>
                    <a:lnTo>
                      <a:pt x="100" y="250"/>
                    </a:lnTo>
                    <a:lnTo>
                      <a:pt x="100" y="252"/>
                    </a:lnTo>
                    <a:lnTo>
                      <a:pt x="98" y="252"/>
                    </a:lnTo>
                    <a:lnTo>
                      <a:pt x="98" y="250"/>
                    </a:lnTo>
                    <a:close/>
                    <a:moveTo>
                      <a:pt x="65" y="220"/>
                    </a:moveTo>
                    <a:lnTo>
                      <a:pt x="65" y="222"/>
                    </a:lnTo>
                    <a:lnTo>
                      <a:pt x="65" y="220"/>
                    </a:lnTo>
                    <a:close/>
                    <a:moveTo>
                      <a:pt x="98" y="220"/>
                    </a:moveTo>
                    <a:lnTo>
                      <a:pt x="98" y="222"/>
                    </a:lnTo>
                    <a:lnTo>
                      <a:pt x="98" y="220"/>
                    </a:lnTo>
                    <a:close/>
                    <a:moveTo>
                      <a:pt x="65" y="266"/>
                    </a:moveTo>
                    <a:lnTo>
                      <a:pt x="67" y="266"/>
                    </a:lnTo>
                    <a:lnTo>
                      <a:pt x="67" y="268"/>
                    </a:lnTo>
                    <a:lnTo>
                      <a:pt x="65" y="268"/>
                    </a:lnTo>
                    <a:lnTo>
                      <a:pt x="65" y="266"/>
                    </a:lnTo>
                    <a:close/>
                    <a:moveTo>
                      <a:pt x="79" y="214"/>
                    </a:moveTo>
                    <a:lnTo>
                      <a:pt x="81" y="214"/>
                    </a:lnTo>
                    <a:lnTo>
                      <a:pt x="81" y="216"/>
                    </a:lnTo>
                    <a:lnTo>
                      <a:pt x="79" y="216"/>
                    </a:lnTo>
                    <a:lnTo>
                      <a:pt x="79" y="214"/>
                    </a:lnTo>
                    <a:close/>
                    <a:moveTo>
                      <a:pt x="101" y="235"/>
                    </a:moveTo>
                    <a:lnTo>
                      <a:pt x="103" y="235"/>
                    </a:lnTo>
                    <a:lnTo>
                      <a:pt x="103" y="237"/>
                    </a:lnTo>
                    <a:lnTo>
                      <a:pt x="101" y="237"/>
                    </a:lnTo>
                    <a:lnTo>
                      <a:pt x="101" y="235"/>
                    </a:lnTo>
                    <a:close/>
                    <a:moveTo>
                      <a:pt x="98" y="218"/>
                    </a:moveTo>
                    <a:lnTo>
                      <a:pt x="100" y="218"/>
                    </a:lnTo>
                    <a:lnTo>
                      <a:pt x="100" y="220"/>
                    </a:lnTo>
                    <a:lnTo>
                      <a:pt x="98" y="220"/>
                    </a:lnTo>
                    <a:lnTo>
                      <a:pt x="98" y="218"/>
                    </a:lnTo>
                    <a:close/>
                    <a:moveTo>
                      <a:pt x="101" y="237"/>
                    </a:moveTo>
                    <a:lnTo>
                      <a:pt x="103" y="237"/>
                    </a:lnTo>
                    <a:lnTo>
                      <a:pt x="101" y="237"/>
                    </a:lnTo>
                    <a:close/>
                    <a:moveTo>
                      <a:pt x="67" y="218"/>
                    </a:moveTo>
                    <a:lnTo>
                      <a:pt x="67" y="220"/>
                    </a:lnTo>
                    <a:lnTo>
                      <a:pt x="67" y="218"/>
                    </a:lnTo>
                    <a:close/>
                    <a:moveTo>
                      <a:pt x="103" y="229"/>
                    </a:moveTo>
                    <a:lnTo>
                      <a:pt x="105" y="229"/>
                    </a:lnTo>
                    <a:lnTo>
                      <a:pt x="105" y="231"/>
                    </a:lnTo>
                    <a:lnTo>
                      <a:pt x="103" y="231"/>
                    </a:lnTo>
                    <a:lnTo>
                      <a:pt x="103" y="229"/>
                    </a:lnTo>
                    <a:close/>
                    <a:moveTo>
                      <a:pt x="107" y="227"/>
                    </a:moveTo>
                    <a:lnTo>
                      <a:pt x="107" y="229"/>
                    </a:lnTo>
                    <a:lnTo>
                      <a:pt x="107" y="227"/>
                    </a:lnTo>
                    <a:close/>
                    <a:moveTo>
                      <a:pt x="44" y="233"/>
                    </a:moveTo>
                    <a:lnTo>
                      <a:pt x="46" y="233"/>
                    </a:lnTo>
                    <a:lnTo>
                      <a:pt x="44" y="233"/>
                    </a:lnTo>
                    <a:close/>
                    <a:moveTo>
                      <a:pt x="67" y="264"/>
                    </a:moveTo>
                    <a:lnTo>
                      <a:pt x="69" y="264"/>
                    </a:lnTo>
                    <a:lnTo>
                      <a:pt x="67" y="264"/>
                    </a:lnTo>
                    <a:close/>
                    <a:moveTo>
                      <a:pt x="61" y="266"/>
                    </a:moveTo>
                    <a:lnTo>
                      <a:pt x="63" y="266"/>
                    </a:lnTo>
                    <a:lnTo>
                      <a:pt x="63" y="268"/>
                    </a:lnTo>
                    <a:lnTo>
                      <a:pt x="61" y="268"/>
                    </a:lnTo>
                    <a:lnTo>
                      <a:pt x="61" y="266"/>
                    </a:lnTo>
                    <a:close/>
                    <a:moveTo>
                      <a:pt x="103" y="250"/>
                    </a:moveTo>
                    <a:lnTo>
                      <a:pt x="105" y="250"/>
                    </a:lnTo>
                    <a:lnTo>
                      <a:pt x="103" y="250"/>
                    </a:lnTo>
                    <a:close/>
                    <a:moveTo>
                      <a:pt x="101" y="237"/>
                    </a:moveTo>
                    <a:lnTo>
                      <a:pt x="101" y="239"/>
                    </a:lnTo>
                    <a:lnTo>
                      <a:pt x="101" y="237"/>
                    </a:lnTo>
                    <a:close/>
                    <a:moveTo>
                      <a:pt x="73" y="264"/>
                    </a:moveTo>
                    <a:lnTo>
                      <a:pt x="75" y="264"/>
                    </a:lnTo>
                    <a:lnTo>
                      <a:pt x="75" y="266"/>
                    </a:lnTo>
                    <a:lnTo>
                      <a:pt x="73" y="266"/>
                    </a:lnTo>
                    <a:lnTo>
                      <a:pt x="73" y="264"/>
                    </a:lnTo>
                    <a:close/>
                    <a:moveTo>
                      <a:pt x="92" y="222"/>
                    </a:moveTo>
                    <a:lnTo>
                      <a:pt x="94" y="222"/>
                    </a:lnTo>
                    <a:lnTo>
                      <a:pt x="92" y="222"/>
                    </a:lnTo>
                    <a:close/>
                    <a:moveTo>
                      <a:pt x="103" y="248"/>
                    </a:moveTo>
                    <a:lnTo>
                      <a:pt x="103" y="250"/>
                    </a:lnTo>
                    <a:lnTo>
                      <a:pt x="103" y="248"/>
                    </a:lnTo>
                    <a:close/>
                    <a:moveTo>
                      <a:pt x="105" y="227"/>
                    </a:moveTo>
                    <a:lnTo>
                      <a:pt x="105" y="229"/>
                    </a:lnTo>
                    <a:lnTo>
                      <a:pt x="105" y="227"/>
                    </a:lnTo>
                    <a:close/>
                    <a:moveTo>
                      <a:pt x="63" y="220"/>
                    </a:moveTo>
                    <a:lnTo>
                      <a:pt x="63" y="222"/>
                    </a:lnTo>
                    <a:lnTo>
                      <a:pt x="63" y="220"/>
                    </a:lnTo>
                    <a:close/>
                    <a:moveTo>
                      <a:pt x="60" y="222"/>
                    </a:moveTo>
                    <a:lnTo>
                      <a:pt x="61" y="222"/>
                    </a:lnTo>
                    <a:lnTo>
                      <a:pt x="61" y="224"/>
                    </a:lnTo>
                    <a:lnTo>
                      <a:pt x="60" y="224"/>
                    </a:lnTo>
                    <a:lnTo>
                      <a:pt x="60" y="222"/>
                    </a:lnTo>
                    <a:close/>
                    <a:moveTo>
                      <a:pt x="107" y="224"/>
                    </a:moveTo>
                    <a:lnTo>
                      <a:pt x="107" y="226"/>
                    </a:lnTo>
                    <a:lnTo>
                      <a:pt x="107" y="224"/>
                    </a:lnTo>
                    <a:close/>
                    <a:moveTo>
                      <a:pt x="98" y="250"/>
                    </a:moveTo>
                    <a:lnTo>
                      <a:pt x="100" y="250"/>
                    </a:lnTo>
                    <a:lnTo>
                      <a:pt x="98" y="250"/>
                    </a:lnTo>
                    <a:close/>
                    <a:moveTo>
                      <a:pt x="61" y="220"/>
                    </a:moveTo>
                    <a:lnTo>
                      <a:pt x="61" y="222"/>
                    </a:lnTo>
                    <a:lnTo>
                      <a:pt x="61" y="220"/>
                    </a:lnTo>
                    <a:close/>
                    <a:moveTo>
                      <a:pt x="73" y="264"/>
                    </a:moveTo>
                    <a:lnTo>
                      <a:pt x="73" y="266"/>
                    </a:lnTo>
                    <a:lnTo>
                      <a:pt x="73" y="264"/>
                    </a:lnTo>
                    <a:close/>
                    <a:moveTo>
                      <a:pt x="103" y="233"/>
                    </a:moveTo>
                    <a:lnTo>
                      <a:pt x="105" y="233"/>
                    </a:lnTo>
                    <a:lnTo>
                      <a:pt x="105" y="235"/>
                    </a:lnTo>
                    <a:lnTo>
                      <a:pt x="103" y="235"/>
                    </a:lnTo>
                    <a:lnTo>
                      <a:pt x="103" y="233"/>
                    </a:lnTo>
                    <a:close/>
                    <a:moveTo>
                      <a:pt x="100" y="247"/>
                    </a:moveTo>
                    <a:lnTo>
                      <a:pt x="101" y="247"/>
                    </a:lnTo>
                    <a:lnTo>
                      <a:pt x="101" y="248"/>
                    </a:lnTo>
                    <a:lnTo>
                      <a:pt x="100" y="248"/>
                    </a:lnTo>
                    <a:lnTo>
                      <a:pt x="100" y="247"/>
                    </a:lnTo>
                    <a:close/>
                    <a:moveTo>
                      <a:pt x="61" y="222"/>
                    </a:moveTo>
                    <a:lnTo>
                      <a:pt x="61" y="224"/>
                    </a:lnTo>
                    <a:lnTo>
                      <a:pt x="61" y="222"/>
                    </a:lnTo>
                    <a:close/>
                    <a:moveTo>
                      <a:pt x="100" y="248"/>
                    </a:moveTo>
                    <a:lnTo>
                      <a:pt x="101" y="248"/>
                    </a:lnTo>
                    <a:lnTo>
                      <a:pt x="100" y="248"/>
                    </a:lnTo>
                    <a:close/>
                    <a:moveTo>
                      <a:pt x="103" y="250"/>
                    </a:moveTo>
                    <a:lnTo>
                      <a:pt x="105" y="250"/>
                    </a:lnTo>
                    <a:lnTo>
                      <a:pt x="103" y="25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8" name="Freeform 149">
                <a:extLst>
                  <a:ext uri="{FF2B5EF4-FFF2-40B4-BE49-F238E27FC236}">
                    <a16:creationId xmlns:a16="http://schemas.microsoft.com/office/drawing/2014/main" id="{496DB526-AD77-0D6F-F2C3-94EFF52B6A3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82755" y="-5713002"/>
                <a:ext cx="4279292" cy="2669314"/>
              </a:xfrm>
              <a:custGeom>
                <a:avLst/>
                <a:gdLst>
                  <a:gd name="T0" fmla="*/ 1749 w 2716"/>
                  <a:gd name="T1" fmla="*/ 1508 h 1691"/>
                  <a:gd name="T2" fmla="*/ 1589 w 2716"/>
                  <a:gd name="T3" fmla="*/ 1469 h 1691"/>
                  <a:gd name="T4" fmla="*/ 1301 w 2716"/>
                  <a:gd name="T5" fmla="*/ 1452 h 1691"/>
                  <a:gd name="T6" fmla="*/ 1097 w 2716"/>
                  <a:gd name="T7" fmla="*/ 1502 h 1691"/>
                  <a:gd name="T8" fmla="*/ 851 w 2716"/>
                  <a:gd name="T9" fmla="*/ 1385 h 1691"/>
                  <a:gd name="T10" fmla="*/ 662 w 2716"/>
                  <a:gd name="T11" fmla="*/ 1389 h 1691"/>
                  <a:gd name="T12" fmla="*/ 542 w 2716"/>
                  <a:gd name="T13" fmla="*/ 1458 h 1691"/>
                  <a:gd name="T14" fmla="*/ 456 w 2716"/>
                  <a:gd name="T15" fmla="*/ 1590 h 1691"/>
                  <a:gd name="T16" fmla="*/ 357 w 2716"/>
                  <a:gd name="T17" fmla="*/ 1647 h 1691"/>
                  <a:gd name="T18" fmla="*/ 323 w 2716"/>
                  <a:gd name="T19" fmla="*/ 1517 h 1691"/>
                  <a:gd name="T20" fmla="*/ 187 w 2716"/>
                  <a:gd name="T21" fmla="*/ 1412 h 1691"/>
                  <a:gd name="T22" fmla="*/ 136 w 2716"/>
                  <a:gd name="T23" fmla="*/ 1275 h 1691"/>
                  <a:gd name="T24" fmla="*/ 166 w 2716"/>
                  <a:gd name="T25" fmla="*/ 1053 h 1691"/>
                  <a:gd name="T26" fmla="*/ 216 w 2716"/>
                  <a:gd name="T27" fmla="*/ 872 h 1691"/>
                  <a:gd name="T28" fmla="*/ 223 w 2716"/>
                  <a:gd name="T29" fmla="*/ 968 h 1691"/>
                  <a:gd name="T30" fmla="*/ 292 w 2716"/>
                  <a:gd name="T31" fmla="*/ 1076 h 1691"/>
                  <a:gd name="T32" fmla="*/ 420 w 2716"/>
                  <a:gd name="T33" fmla="*/ 966 h 1691"/>
                  <a:gd name="T34" fmla="*/ 654 w 2716"/>
                  <a:gd name="T35" fmla="*/ 836 h 1691"/>
                  <a:gd name="T36" fmla="*/ 763 w 2716"/>
                  <a:gd name="T37" fmla="*/ 760 h 1691"/>
                  <a:gd name="T38" fmla="*/ 801 w 2716"/>
                  <a:gd name="T39" fmla="*/ 964 h 1691"/>
                  <a:gd name="T40" fmla="*/ 864 w 2716"/>
                  <a:gd name="T41" fmla="*/ 783 h 1691"/>
                  <a:gd name="T42" fmla="*/ 990 w 2716"/>
                  <a:gd name="T43" fmla="*/ 714 h 1691"/>
                  <a:gd name="T44" fmla="*/ 1068 w 2716"/>
                  <a:gd name="T45" fmla="*/ 584 h 1691"/>
                  <a:gd name="T46" fmla="*/ 1232 w 2716"/>
                  <a:gd name="T47" fmla="*/ 485 h 1691"/>
                  <a:gd name="T48" fmla="*/ 1396 w 2716"/>
                  <a:gd name="T49" fmla="*/ 430 h 1691"/>
                  <a:gd name="T50" fmla="*/ 1446 w 2716"/>
                  <a:gd name="T51" fmla="*/ 594 h 1691"/>
                  <a:gd name="T52" fmla="*/ 1562 w 2716"/>
                  <a:gd name="T53" fmla="*/ 645 h 1691"/>
                  <a:gd name="T54" fmla="*/ 1692 w 2716"/>
                  <a:gd name="T55" fmla="*/ 653 h 1691"/>
                  <a:gd name="T56" fmla="*/ 1787 w 2716"/>
                  <a:gd name="T57" fmla="*/ 767 h 1691"/>
                  <a:gd name="T58" fmla="*/ 2088 w 2716"/>
                  <a:gd name="T59" fmla="*/ 760 h 1691"/>
                  <a:gd name="T60" fmla="*/ 2460 w 2716"/>
                  <a:gd name="T61" fmla="*/ 834 h 1691"/>
                  <a:gd name="T62" fmla="*/ 2424 w 2716"/>
                  <a:gd name="T63" fmla="*/ 1181 h 1691"/>
                  <a:gd name="T64" fmla="*/ 2283 w 2716"/>
                  <a:gd name="T65" fmla="*/ 1286 h 1691"/>
                  <a:gd name="T66" fmla="*/ 2186 w 2716"/>
                  <a:gd name="T67" fmla="*/ 1275 h 1691"/>
                  <a:gd name="T68" fmla="*/ 2252 w 2716"/>
                  <a:gd name="T69" fmla="*/ 1177 h 1691"/>
                  <a:gd name="T70" fmla="*/ 2132 w 2716"/>
                  <a:gd name="T71" fmla="*/ 1235 h 1691"/>
                  <a:gd name="T72" fmla="*/ 1890 w 2716"/>
                  <a:gd name="T73" fmla="*/ 1305 h 1691"/>
                  <a:gd name="T74" fmla="*/ 1930 w 2716"/>
                  <a:gd name="T75" fmla="*/ 1410 h 1691"/>
                  <a:gd name="T76" fmla="*/ 1819 w 2716"/>
                  <a:gd name="T77" fmla="*/ 1653 h 1691"/>
                  <a:gd name="T78" fmla="*/ 652 w 2716"/>
                  <a:gd name="T79" fmla="*/ 555 h 1691"/>
                  <a:gd name="T80" fmla="*/ 597 w 2716"/>
                  <a:gd name="T81" fmla="*/ 804 h 1691"/>
                  <a:gd name="T82" fmla="*/ 532 w 2716"/>
                  <a:gd name="T83" fmla="*/ 784 h 1691"/>
                  <a:gd name="T84" fmla="*/ 578 w 2716"/>
                  <a:gd name="T85" fmla="*/ 617 h 1691"/>
                  <a:gd name="T86" fmla="*/ 713 w 2716"/>
                  <a:gd name="T87" fmla="*/ 473 h 1691"/>
                  <a:gd name="T88" fmla="*/ 2674 w 2716"/>
                  <a:gd name="T89" fmla="*/ 1015 h 1691"/>
                  <a:gd name="T90" fmla="*/ 2563 w 2716"/>
                  <a:gd name="T91" fmla="*/ 1017 h 1691"/>
                  <a:gd name="T92" fmla="*/ 1949 w 2716"/>
                  <a:gd name="T93" fmla="*/ 1536 h 1691"/>
                  <a:gd name="T94" fmla="*/ 1913 w 2716"/>
                  <a:gd name="T95" fmla="*/ 567 h 1691"/>
                  <a:gd name="T96" fmla="*/ 1190 w 2716"/>
                  <a:gd name="T97" fmla="*/ 254 h 1691"/>
                  <a:gd name="T98" fmla="*/ 1247 w 2716"/>
                  <a:gd name="T99" fmla="*/ 119 h 1691"/>
                  <a:gd name="T100" fmla="*/ 2054 w 2716"/>
                  <a:gd name="T101" fmla="*/ 578 h 1691"/>
                  <a:gd name="T102" fmla="*/ 2577 w 2716"/>
                  <a:gd name="T103" fmla="*/ 756 h 1691"/>
                  <a:gd name="T104" fmla="*/ 670 w 2716"/>
                  <a:gd name="T105" fmla="*/ 145 h 1691"/>
                  <a:gd name="T106" fmla="*/ 2548 w 2716"/>
                  <a:gd name="T107" fmla="*/ 758 h 1691"/>
                  <a:gd name="T108" fmla="*/ 2023 w 2716"/>
                  <a:gd name="T109" fmla="*/ 1620 h 1691"/>
                  <a:gd name="T110" fmla="*/ 2172 w 2716"/>
                  <a:gd name="T111" fmla="*/ 1473 h 1691"/>
                  <a:gd name="T112" fmla="*/ 569 w 2716"/>
                  <a:gd name="T113" fmla="*/ 109 h 1691"/>
                  <a:gd name="T114" fmla="*/ 1205 w 2716"/>
                  <a:gd name="T115" fmla="*/ 430 h 1691"/>
                  <a:gd name="T116" fmla="*/ 1861 w 2716"/>
                  <a:gd name="T117" fmla="*/ 1361 h 1691"/>
                  <a:gd name="T118" fmla="*/ 1102 w 2716"/>
                  <a:gd name="T119" fmla="*/ 424 h 1691"/>
                  <a:gd name="T120" fmla="*/ 1491 w 2716"/>
                  <a:gd name="T121" fmla="*/ 473 h 1691"/>
                  <a:gd name="T122" fmla="*/ 1055 w 2716"/>
                  <a:gd name="T123" fmla="*/ 569 h 1691"/>
                  <a:gd name="T124" fmla="*/ 130 w 2716"/>
                  <a:gd name="T125" fmla="*/ 1210 h 1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16" h="1691">
                    <a:moveTo>
                      <a:pt x="1768" y="1666"/>
                    </a:moveTo>
                    <a:lnTo>
                      <a:pt x="1766" y="1666"/>
                    </a:lnTo>
                    <a:lnTo>
                      <a:pt x="1766" y="1664"/>
                    </a:lnTo>
                    <a:lnTo>
                      <a:pt x="1766" y="1662"/>
                    </a:lnTo>
                    <a:lnTo>
                      <a:pt x="1764" y="1662"/>
                    </a:lnTo>
                    <a:lnTo>
                      <a:pt x="1764" y="1660"/>
                    </a:lnTo>
                    <a:lnTo>
                      <a:pt x="1766" y="1660"/>
                    </a:lnTo>
                    <a:lnTo>
                      <a:pt x="1766" y="1658"/>
                    </a:lnTo>
                    <a:lnTo>
                      <a:pt x="1764" y="1658"/>
                    </a:lnTo>
                    <a:lnTo>
                      <a:pt x="1762" y="1658"/>
                    </a:lnTo>
                    <a:lnTo>
                      <a:pt x="1762" y="1656"/>
                    </a:lnTo>
                    <a:lnTo>
                      <a:pt x="1764" y="1656"/>
                    </a:lnTo>
                    <a:lnTo>
                      <a:pt x="1766" y="1655"/>
                    </a:lnTo>
                    <a:lnTo>
                      <a:pt x="1768" y="1655"/>
                    </a:lnTo>
                    <a:lnTo>
                      <a:pt x="1770" y="1655"/>
                    </a:lnTo>
                    <a:lnTo>
                      <a:pt x="1772" y="1655"/>
                    </a:lnTo>
                    <a:lnTo>
                      <a:pt x="1772" y="1653"/>
                    </a:lnTo>
                    <a:lnTo>
                      <a:pt x="1774" y="1653"/>
                    </a:lnTo>
                    <a:lnTo>
                      <a:pt x="1774" y="1651"/>
                    </a:lnTo>
                    <a:lnTo>
                      <a:pt x="1774" y="1649"/>
                    </a:lnTo>
                    <a:lnTo>
                      <a:pt x="1776" y="1649"/>
                    </a:lnTo>
                    <a:lnTo>
                      <a:pt x="1776" y="1647"/>
                    </a:lnTo>
                    <a:lnTo>
                      <a:pt x="1776" y="1645"/>
                    </a:lnTo>
                    <a:lnTo>
                      <a:pt x="1776" y="1643"/>
                    </a:lnTo>
                    <a:lnTo>
                      <a:pt x="1778" y="1643"/>
                    </a:lnTo>
                    <a:lnTo>
                      <a:pt x="1776" y="1641"/>
                    </a:lnTo>
                    <a:lnTo>
                      <a:pt x="1778" y="1641"/>
                    </a:lnTo>
                    <a:lnTo>
                      <a:pt x="1776" y="1639"/>
                    </a:lnTo>
                    <a:lnTo>
                      <a:pt x="1776" y="1637"/>
                    </a:lnTo>
                    <a:lnTo>
                      <a:pt x="1776" y="1639"/>
                    </a:lnTo>
                    <a:lnTo>
                      <a:pt x="1776" y="1637"/>
                    </a:lnTo>
                    <a:lnTo>
                      <a:pt x="1776" y="1635"/>
                    </a:lnTo>
                    <a:lnTo>
                      <a:pt x="1776" y="1634"/>
                    </a:lnTo>
                    <a:lnTo>
                      <a:pt x="1776" y="1632"/>
                    </a:lnTo>
                    <a:lnTo>
                      <a:pt x="1776" y="1630"/>
                    </a:lnTo>
                    <a:lnTo>
                      <a:pt x="1776" y="1628"/>
                    </a:lnTo>
                    <a:lnTo>
                      <a:pt x="1778" y="1628"/>
                    </a:lnTo>
                    <a:lnTo>
                      <a:pt x="1774" y="1613"/>
                    </a:lnTo>
                    <a:lnTo>
                      <a:pt x="1772" y="1613"/>
                    </a:lnTo>
                    <a:lnTo>
                      <a:pt x="1772" y="1611"/>
                    </a:lnTo>
                    <a:lnTo>
                      <a:pt x="1774" y="1609"/>
                    </a:lnTo>
                    <a:lnTo>
                      <a:pt x="1776" y="1609"/>
                    </a:lnTo>
                    <a:lnTo>
                      <a:pt x="1778" y="1607"/>
                    </a:lnTo>
                    <a:lnTo>
                      <a:pt x="1779" y="1607"/>
                    </a:lnTo>
                    <a:lnTo>
                      <a:pt x="1783" y="1605"/>
                    </a:lnTo>
                    <a:lnTo>
                      <a:pt x="1783" y="1603"/>
                    </a:lnTo>
                    <a:lnTo>
                      <a:pt x="1781" y="1603"/>
                    </a:lnTo>
                    <a:lnTo>
                      <a:pt x="1783" y="1601"/>
                    </a:lnTo>
                    <a:lnTo>
                      <a:pt x="1785" y="1603"/>
                    </a:lnTo>
                    <a:lnTo>
                      <a:pt x="1785" y="1601"/>
                    </a:lnTo>
                    <a:lnTo>
                      <a:pt x="1785" y="1599"/>
                    </a:lnTo>
                    <a:lnTo>
                      <a:pt x="1787" y="1599"/>
                    </a:lnTo>
                    <a:lnTo>
                      <a:pt x="1787" y="1601"/>
                    </a:lnTo>
                    <a:lnTo>
                      <a:pt x="1802" y="1605"/>
                    </a:lnTo>
                    <a:lnTo>
                      <a:pt x="1802" y="1607"/>
                    </a:lnTo>
                    <a:lnTo>
                      <a:pt x="1804" y="1605"/>
                    </a:lnTo>
                    <a:lnTo>
                      <a:pt x="1806" y="1605"/>
                    </a:lnTo>
                    <a:lnTo>
                      <a:pt x="1806" y="1601"/>
                    </a:lnTo>
                    <a:lnTo>
                      <a:pt x="1804" y="1601"/>
                    </a:lnTo>
                    <a:lnTo>
                      <a:pt x="1806" y="1599"/>
                    </a:lnTo>
                    <a:lnTo>
                      <a:pt x="1806" y="1597"/>
                    </a:lnTo>
                    <a:lnTo>
                      <a:pt x="1806" y="1595"/>
                    </a:lnTo>
                    <a:lnTo>
                      <a:pt x="1808" y="1595"/>
                    </a:lnTo>
                    <a:lnTo>
                      <a:pt x="1810" y="1593"/>
                    </a:lnTo>
                    <a:lnTo>
                      <a:pt x="1812" y="1593"/>
                    </a:lnTo>
                    <a:lnTo>
                      <a:pt x="1810" y="1592"/>
                    </a:lnTo>
                    <a:lnTo>
                      <a:pt x="1812" y="1592"/>
                    </a:lnTo>
                    <a:lnTo>
                      <a:pt x="1810" y="1592"/>
                    </a:lnTo>
                    <a:lnTo>
                      <a:pt x="1810" y="1590"/>
                    </a:lnTo>
                    <a:lnTo>
                      <a:pt x="1812" y="1590"/>
                    </a:lnTo>
                    <a:lnTo>
                      <a:pt x="1812" y="1588"/>
                    </a:lnTo>
                    <a:lnTo>
                      <a:pt x="1812" y="1586"/>
                    </a:lnTo>
                    <a:lnTo>
                      <a:pt x="1814" y="1588"/>
                    </a:lnTo>
                    <a:lnTo>
                      <a:pt x="1814" y="1586"/>
                    </a:lnTo>
                    <a:lnTo>
                      <a:pt x="1814" y="1584"/>
                    </a:lnTo>
                    <a:lnTo>
                      <a:pt x="1816" y="1582"/>
                    </a:lnTo>
                    <a:lnTo>
                      <a:pt x="1814" y="1582"/>
                    </a:lnTo>
                    <a:lnTo>
                      <a:pt x="1814" y="1580"/>
                    </a:lnTo>
                    <a:lnTo>
                      <a:pt x="1816" y="1580"/>
                    </a:lnTo>
                    <a:lnTo>
                      <a:pt x="1816" y="1578"/>
                    </a:lnTo>
                    <a:lnTo>
                      <a:pt x="1818" y="1580"/>
                    </a:lnTo>
                    <a:lnTo>
                      <a:pt x="1818" y="1578"/>
                    </a:lnTo>
                    <a:lnTo>
                      <a:pt x="1818" y="1576"/>
                    </a:lnTo>
                    <a:lnTo>
                      <a:pt x="1819" y="1574"/>
                    </a:lnTo>
                    <a:lnTo>
                      <a:pt x="1818" y="1574"/>
                    </a:lnTo>
                    <a:lnTo>
                      <a:pt x="1818" y="1572"/>
                    </a:lnTo>
                    <a:lnTo>
                      <a:pt x="1818" y="1571"/>
                    </a:lnTo>
                    <a:lnTo>
                      <a:pt x="1819" y="1569"/>
                    </a:lnTo>
                    <a:lnTo>
                      <a:pt x="1819" y="1567"/>
                    </a:lnTo>
                    <a:lnTo>
                      <a:pt x="1819" y="1565"/>
                    </a:lnTo>
                    <a:lnTo>
                      <a:pt x="1821" y="1563"/>
                    </a:lnTo>
                    <a:lnTo>
                      <a:pt x="1821" y="1561"/>
                    </a:lnTo>
                    <a:lnTo>
                      <a:pt x="1821" y="1559"/>
                    </a:lnTo>
                    <a:lnTo>
                      <a:pt x="1823" y="1559"/>
                    </a:lnTo>
                    <a:lnTo>
                      <a:pt x="1823" y="1557"/>
                    </a:lnTo>
                    <a:lnTo>
                      <a:pt x="1821" y="1555"/>
                    </a:lnTo>
                    <a:lnTo>
                      <a:pt x="1821" y="1553"/>
                    </a:lnTo>
                    <a:lnTo>
                      <a:pt x="1823" y="1553"/>
                    </a:lnTo>
                    <a:lnTo>
                      <a:pt x="1825" y="1551"/>
                    </a:lnTo>
                    <a:lnTo>
                      <a:pt x="1827" y="1551"/>
                    </a:lnTo>
                    <a:lnTo>
                      <a:pt x="1829" y="1550"/>
                    </a:lnTo>
                    <a:lnTo>
                      <a:pt x="1831" y="1548"/>
                    </a:lnTo>
                    <a:lnTo>
                      <a:pt x="1831" y="1546"/>
                    </a:lnTo>
                    <a:lnTo>
                      <a:pt x="1831" y="1544"/>
                    </a:lnTo>
                    <a:lnTo>
                      <a:pt x="1831" y="1542"/>
                    </a:lnTo>
                    <a:lnTo>
                      <a:pt x="1831" y="1540"/>
                    </a:lnTo>
                    <a:lnTo>
                      <a:pt x="1829" y="1540"/>
                    </a:lnTo>
                    <a:lnTo>
                      <a:pt x="1829" y="1538"/>
                    </a:lnTo>
                    <a:lnTo>
                      <a:pt x="1829" y="1536"/>
                    </a:lnTo>
                    <a:lnTo>
                      <a:pt x="1831" y="1534"/>
                    </a:lnTo>
                    <a:lnTo>
                      <a:pt x="1831" y="1532"/>
                    </a:lnTo>
                    <a:lnTo>
                      <a:pt x="1831" y="1530"/>
                    </a:lnTo>
                    <a:lnTo>
                      <a:pt x="1831" y="1529"/>
                    </a:lnTo>
                    <a:lnTo>
                      <a:pt x="1827" y="1527"/>
                    </a:lnTo>
                    <a:lnTo>
                      <a:pt x="1821" y="1529"/>
                    </a:lnTo>
                    <a:lnTo>
                      <a:pt x="1819" y="1529"/>
                    </a:lnTo>
                    <a:lnTo>
                      <a:pt x="1819" y="1530"/>
                    </a:lnTo>
                    <a:lnTo>
                      <a:pt x="1818" y="1530"/>
                    </a:lnTo>
                    <a:lnTo>
                      <a:pt x="1818" y="1532"/>
                    </a:lnTo>
                    <a:lnTo>
                      <a:pt x="1816" y="1532"/>
                    </a:lnTo>
                    <a:lnTo>
                      <a:pt x="1816" y="1534"/>
                    </a:lnTo>
                    <a:lnTo>
                      <a:pt x="1814" y="1534"/>
                    </a:lnTo>
                    <a:lnTo>
                      <a:pt x="1814" y="1532"/>
                    </a:lnTo>
                    <a:lnTo>
                      <a:pt x="1812" y="1534"/>
                    </a:lnTo>
                    <a:lnTo>
                      <a:pt x="1810" y="1534"/>
                    </a:lnTo>
                    <a:lnTo>
                      <a:pt x="1808" y="1536"/>
                    </a:lnTo>
                    <a:lnTo>
                      <a:pt x="1806" y="1534"/>
                    </a:lnTo>
                    <a:lnTo>
                      <a:pt x="1804" y="1536"/>
                    </a:lnTo>
                    <a:lnTo>
                      <a:pt x="1802" y="1538"/>
                    </a:lnTo>
                    <a:lnTo>
                      <a:pt x="1800" y="1538"/>
                    </a:lnTo>
                    <a:lnTo>
                      <a:pt x="1800" y="1540"/>
                    </a:lnTo>
                    <a:lnTo>
                      <a:pt x="1798" y="1538"/>
                    </a:lnTo>
                    <a:lnTo>
                      <a:pt x="1798" y="1540"/>
                    </a:lnTo>
                    <a:lnTo>
                      <a:pt x="1797" y="1542"/>
                    </a:lnTo>
                    <a:lnTo>
                      <a:pt x="1797" y="1544"/>
                    </a:lnTo>
                    <a:lnTo>
                      <a:pt x="1793" y="1544"/>
                    </a:lnTo>
                    <a:lnTo>
                      <a:pt x="1791" y="1544"/>
                    </a:lnTo>
                    <a:lnTo>
                      <a:pt x="1789" y="1544"/>
                    </a:lnTo>
                    <a:lnTo>
                      <a:pt x="1787" y="1544"/>
                    </a:lnTo>
                    <a:lnTo>
                      <a:pt x="1787" y="1546"/>
                    </a:lnTo>
                    <a:lnTo>
                      <a:pt x="1785" y="1546"/>
                    </a:lnTo>
                    <a:lnTo>
                      <a:pt x="1783" y="1544"/>
                    </a:lnTo>
                    <a:lnTo>
                      <a:pt x="1781" y="1546"/>
                    </a:lnTo>
                    <a:lnTo>
                      <a:pt x="1781" y="1544"/>
                    </a:lnTo>
                    <a:lnTo>
                      <a:pt x="1779" y="1544"/>
                    </a:lnTo>
                    <a:lnTo>
                      <a:pt x="1778" y="1544"/>
                    </a:lnTo>
                    <a:lnTo>
                      <a:pt x="1776" y="1544"/>
                    </a:lnTo>
                    <a:lnTo>
                      <a:pt x="1774" y="1546"/>
                    </a:lnTo>
                    <a:lnTo>
                      <a:pt x="1772" y="1546"/>
                    </a:lnTo>
                    <a:lnTo>
                      <a:pt x="1772" y="1544"/>
                    </a:lnTo>
                    <a:lnTo>
                      <a:pt x="1772" y="1542"/>
                    </a:lnTo>
                    <a:lnTo>
                      <a:pt x="1770" y="1540"/>
                    </a:lnTo>
                    <a:lnTo>
                      <a:pt x="1770" y="1538"/>
                    </a:lnTo>
                    <a:lnTo>
                      <a:pt x="1766" y="1536"/>
                    </a:lnTo>
                    <a:lnTo>
                      <a:pt x="1766" y="1534"/>
                    </a:lnTo>
                    <a:lnTo>
                      <a:pt x="1768" y="1532"/>
                    </a:lnTo>
                    <a:lnTo>
                      <a:pt x="1768" y="1530"/>
                    </a:lnTo>
                    <a:lnTo>
                      <a:pt x="1770" y="1530"/>
                    </a:lnTo>
                    <a:lnTo>
                      <a:pt x="1768" y="1529"/>
                    </a:lnTo>
                    <a:lnTo>
                      <a:pt x="1768" y="1527"/>
                    </a:lnTo>
                    <a:lnTo>
                      <a:pt x="1768" y="1525"/>
                    </a:lnTo>
                    <a:lnTo>
                      <a:pt x="1766" y="1527"/>
                    </a:lnTo>
                    <a:lnTo>
                      <a:pt x="1766" y="1523"/>
                    </a:lnTo>
                    <a:lnTo>
                      <a:pt x="1764" y="1523"/>
                    </a:lnTo>
                    <a:lnTo>
                      <a:pt x="1766" y="1519"/>
                    </a:lnTo>
                    <a:lnTo>
                      <a:pt x="1766" y="1517"/>
                    </a:lnTo>
                    <a:lnTo>
                      <a:pt x="1764" y="1517"/>
                    </a:lnTo>
                    <a:lnTo>
                      <a:pt x="1764" y="1515"/>
                    </a:lnTo>
                    <a:lnTo>
                      <a:pt x="1762" y="1515"/>
                    </a:lnTo>
                    <a:lnTo>
                      <a:pt x="1760" y="1517"/>
                    </a:lnTo>
                    <a:lnTo>
                      <a:pt x="1758" y="1515"/>
                    </a:lnTo>
                    <a:lnTo>
                      <a:pt x="1757" y="1513"/>
                    </a:lnTo>
                    <a:lnTo>
                      <a:pt x="1755" y="1513"/>
                    </a:lnTo>
                    <a:lnTo>
                      <a:pt x="1755" y="1511"/>
                    </a:lnTo>
                    <a:lnTo>
                      <a:pt x="1753" y="1511"/>
                    </a:lnTo>
                    <a:lnTo>
                      <a:pt x="1753" y="1509"/>
                    </a:lnTo>
                    <a:lnTo>
                      <a:pt x="1753" y="1508"/>
                    </a:lnTo>
                    <a:lnTo>
                      <a:pt x="1751" y="1506"/>
                    </a:lnTo>
                    <a:lnTo>
                      <a:pt x="1749" y="1508"/>
                    </a:lnTo>
                    <a:lnTo>
                      <a:pt x="1749" y="1506"/>
                    </a:lnTo>
                    <a:lnTo>
                      <a:pt x="1749" y="1504"/>
                    </a:lnTo>
                    <a:lnTo>
                      <a:pt x="1747" y="1504"/>
                    </a:lnTo>
                    <a:lnTo>
                      <a:pt x="1747" y="1502"/>
                    </a:lnTo>
                    <a:lnTo>
                      <a:pt x="1747" y="1504"/>
                    </a:lnTo>
                    <a:lnTo>
                      <a:pt x="1745" y="1504"/>
                    </a:lnTo>
                    <a:lnTo>
                      <a:pt x="1745" y="1506"/>
                    </a:lnTo>
                    <a:lnTo>
                      <a:pt x="1745" y="1504"/>
                    </a:lnTo>
                    <a:lnTo>
                      <a:pt x="1743" y="1504"/>
                    </a:lnTo>
                    <a:lnTo>
                      <a:pt x="1741" y="1506"/>
                    </a:lnTo>
                    <a:lnTo>
                      <a:pt x="1741" y="1504"/>
                    </a:lnTo>
                    <a:lnTo>
                      <a:pt x="1739" y="1502"/>
                    </a:lnTo>
                    <a:lnTo>
                      <a:pt x="1737" y="1502"/>
                    </a:lnTo>
                    <a:lnTo>
                      <a:pt x="1736" y="1502"/>
                    </a:lnTo>
                    <a:lnTo>
                      <a:pt x="1737" y="1500"/>
                    </a:lnTo>
                    <a:lnTo>
                      <a:pt x="1736" y="1498"/>
                    </a:lnTo>
                    <a:lnTo>
                      <a:pt x="1736" y="1500"/>
                    </a:lnTo>
                    <a:lnTo>
                      <a:pt x="1734" y="1498"/>
                    </a:lnTo>
                    <a:lnTo>
                      <a:pt x="1730" y="1500"/>
                    </a:lnTo>
                    <a:lnTo>
                      <a:pt x="1728" y="1500"/>
                    </a:lnTo>
                    <a:lnTo>
                      <a:pt x="1726" y="1500"/>
                    </a:lnTo>
                    <a:lnTo>
                      <a:pt x="1724" y="1500"/>
                    </a:lnTo>
                    <a:lnTo>
                      <a:pt x="1724" y="1498"/>
                    </a:lnTo>
                    <a:lnTo>
                      <a:pt x="1722" y="1500"/>
                    </a:lnTo>
                    <a:lnTo>
                      <a:pt x="1720" y="1500"/>
                    </a:lnTo>
                    <a:lnTo>
                      <a:pt x="1720" y="1498"/>
                    </a:lnTo>
                    <a:lnTo>
                      <a:pt x="1718" y="1498"/>
                    </a:lnTo>
                    <a:lnTo>
                      <a:pt x="1718" y="1494"/>
                    </a:lnTo>
                    <a:lnTo>
                      <a:pt x="1716" y="1494"/>
                    </a:lnTo>
                    <a:lnTo>
                      <a:pt x="1716" y="1492"/>
                    </a:lnTo>
                    <a:lnTo>
                      <a:pt x="1716" y="1490"/>
                    </a:lnTo>
                    <a:lnTo>
                      <a:pt x="1716" y="1489"/>
                    </a:lnTo>
                    <a:lnTo>
                      <a:pt x="1718" y="1485"/>
                    </a:lnTo>
                    <a:lnTo>
                      <a:pt x="1718" y="1483"/>
                    </a:lnTo>
                    <a:lnTo>
                      <a:pt x="1715" y="1481"/>
                    </a:lnTo>
                    <a:lnTo>
                      <a:pt x="1713" y="1481"/>
                    </a:lnTo>
                    <a:lnTo>
                      <a:pt x="1715" y="1479"/>
                    </a:lnTo>
                    <a:lnTo>
                      <a:pt x="1713" y="1477"/>
                    </a:lnTo>
                    <a:lnTo>
                      <a:pt x="1715" y="1475"/>
                    </a:lnTo>
                    <a:lnTo>
                      <a:pt x="1713" y="1473"/>
                    </a:lnTo>
                    <a:lnTo>
                      <a:pt x="1713" y="1471"/>
                    </a:lnTo>
                    <a:lnTo>
                      <a:pt x="1713" y="1469"/>
                    </a:lnTo>
                    <a:lnTo>
                      <a:pt x="1711" y="1466"/>
                    </a:lnTo>
                    <a:lnTo>
                      <a:pt x="1709" y="1466"/>
                    </a:lnTo>
                    <a:lnTo>
                      <a:pt x="1707" y="1464"/>
                    </a:lnTo>
                    <a:lnTo>
                      <a:pt x="1707" y="1462"/>
                    </a:lnTo>
                    <a:lnTo>
                      <a:pt x="1707" y="1460"/>
                    </a:lnTo>
                    <a:lnTo>
                      <a:pt x="1707" y="1456"/>
                    </a:lnTo>
                    <a:lnTo>
                      <a:pt x="1707" y="1458"/>
                    </a:lnTo>
                    <a:lnTo>
                      <a:pt x="1705" y="1458"/>
                    </a:lnTo>
                    <a:lnTo>
                      <a:pt x="1705" y="1456"/>
                    </a:lnTo>
                    <a:lnTo>
                      <a:pt x="1707" y="1456"/>
                    </a:lnTo>
                    <a:lnTo>
                      <a:pt x="1707" y="1454"/>
                    </a:lnTo>
                    <a:lnTo>
                      <a:pt x="1705" y="1454"/>
                    </a:lnTo>
                    <a:lnTo>
                      <a:pt x="1705" y="1452"/>
                    </a:lnTo>
                    <a:lnTo>
                      <a:pt x="1705" y="1450"/>
                    </a:lnTo>
                    <a:lnTo>
                      <a:pt x="1703" y="1448"/>
                    </a:lnTo>
                    <a:lnTo>
                      <a:pt x="1703" y="1447"/>
                    </a:lnTo>
                    <a:lnTo>
                      <a:pt x="1703" y="1445"/>
                    </a:lnTo>
                    <a:lnTo>
                      <a:pt x="1701" y="1445"/>
                    </a:lnTo>
                    <a:lnTo>
                      <a:pt x="1701" y="1441"/>
                    </a:lnTo>
                    <a:lnTo>
                      <a:pt x="1699" y="1439"/>
                    </a:lnTo>
                    <a:lnTo>
                      <a:pt x="1699" y="1437"/>
                    </a:lnTo>
                    <a:lnTo>
                      <a:pt x="1701" y="1437"/>
                    </a:lnTo>
                    <a:lnTo>
                      <a:pt x="1701" y="1435"/>
                    </a:lnTo>
                    <a:lnTo>
                      <a:pt x="1697" y="1433"/>
                    </a:lnTo>
                    <a:lnTo>
                      <a:pt x="1697" y="1431"/>
                    </a:lnTo>
                    <a:lnTo>
                      <a:pt x="1699" y="1431"/>
                    </a:lnTo>
                    <a:lnTo>
                      <a:pt x="1697" y="1431"/>
                    </a:lnTo>
                    <a:lnTo>
                      <a:pt x="1697" y="1429"/>
                    </a:lnTo>
                    <a:lnTo>
                      <a:pt x="1697" y="1426"/>
                    </a:lnTo>
                    <a:lnTo>
                      <a:pt x="1696" y="1426"/>
                    </a:lnTo>
                    <a:lnTo>
                      <a:pt x="1696" y="1424"/>
                    </a:lnTo>
                    <a:lnTo>
                      <a:pt x="1694" y="1424"/>
                    </a:lnTo>
                    <a:lnTo>
                      <a:pt x="1692" y="1422"/>
                    </a:lnTo>
                    <a:lnTo>
                      <a:pt x="1694" y="1420"/>
                    </a:lnTo>
                    <a:lnTo>
                      <a:pt x="1694" y="1418"/>
                    </a:lnTo>
                    <a:lnTo>
                      <a:pt x="1692" y="1418"/>
                    </a:lnTo>
                    <a:lnTo>
                      <a:pt x="1690" y="1414"/>
                    </a:lnTo>
                    <a:lnTo>
                      <a:pt x="1688" y="1416"/>
                    </a:lnTo>
                    <a:lnTo>
                      <a:pt x="1686" y="1414"/>
                    </a:lnTo>
                    <a:lnTo>
                      <a:pt x="1688" y="1414"/>
                    </a:lnTo>
                    <a:lnTo>
                      <a:pt x="1688" y="1412"/>
                    </a:lnTo>
                    <a:lnTo>
                      <a:pt x="1686" y="1410"/>
                    </a:lnTo>
                    <a:lnTo>
                      <a:pt x="1684" y="1410"/>
                    </a:lnTo>
                    <a:lnTo>
                      <a:pt x="1678" y="1406"/>
                    </a:lnTo>
                    <a:lnTo>
                      <a:pt x="1676" y="1406"/>
                    </a:lnTo>
                    <a:lnTo>
                      <a:pt x="1675" y="1408"/>
                    </a:lnTo>
                    <a:lnTo>
                      <a:pt x="1675" y="1410"/>
                    </a:lnTo>
                    <a:lnTo>
                      <a:pt x="1675" y="1408"/>
                    </a:lnTo>
                    <a:lnTo>
                      <a:pt x="1673" y="1408"/>
                    </a:lnTo>
                    <a:lnTo>
                      <a:pt x="1673" y="1406"/>
                    </a:lnTo>
                    <a:lnTo>
                      <a:pt x="1671" y="1406"/>
                    </a:lnTo>
                    <a:lnTo>
                      <a:pt x="1669" y="1406"/>
                    </a:lnTo>
                    <a:lnTo>
                      <a:pt x="1667" y="1406"/>
                    </a:lnTo>
                    <a:lnTo>
                      <a:pt x="1667" y="1405"/>
                    </a:lnTo>
                    <a:lnTo>
                      <a:pt x="1665" y="1403"/>
                    </a:lnTo>
                    <a:lnTo>
                      <a:pt x="1663" y="1403"/>
                    </a:lnTo>
                    <a:lnTo>
                      <a:pt x="1661" y="1403"/>
                    </a:lnTo>
                    <a:lnTo>
                      <a:pt x="1661" y="1401"/>
                    </a:lnTo>
                    <a:lnTo>
                      <a:pt x="1659" y="1399"/>
                    </a:lnTo>
                    <a:lnTo>
                      <a:pt x="1655" y="1399"/>
                    </a:lnTo>
                    <a:lnTo>
                      <a:pt x="1654" y="1397"/>
                    </a:lnTo>
                    <a:lnTo>
                      <a:pt x="1654" y="1399"/>
                    </a:lnTo>
                    <a:lnTo>
                      <a:pt x="1654" y="1397"/>
                    </a:lnTo>
                    <a:lnTo>
                      <a:pt x="1652" y="1399"/>
                    </a:lnTo>
                    <a:lnTo>
                      <a:pt x="1650" y="1397"/>
                    </a:lnTo>
                    <a:lnTo>
                      <a:pt x="1648" y="1397"/>
                    </a:lnTo>
                    <a:lnTo>
                      <a:pt x="1648" y="1399"/>
                    </a:lnTo>
                    <a:lnTo>
                      <a:pt x="1646" y="1399"/>
                    </a:lnTo>
                    <a:lnTo>
                      <a:pt x="1642" y="1401"/>
                    </a:lnTo>
                    <a:lnTo>
                      <a:pt x="1638" y="1401"/>
                    </a:lnTo>
                    <a:lnTo>
                      <a:pt x="1636" y="1401"/>
                    </a:lnTo>
                    <a:lnTo>
                      <a:pt x="1634" y="1399"/>
                    </a:lnTo>
                    <a:lnTo>
                      <a:pt x="1633" y="1401"/>
                    </a:lnTo>
                    <a:lnTo>
                      <a:pt x="1631" y="1399"/>
                    </a:lnTo>
                    <a:lnTo>
                      <a:pt x="1631" y="1401"/>
                    </a:lnTo>
                    <a:lnTo>
                      <a:pt x="1627" y="1401"/>
                    </a:lnTo>
                    <a:lnTo>
                      <a:pt x="1619" y="1405"/>
                    </a:lnTo>
                    <a:lnTo>
                      <a:pt x="1617" y="1405"/>
                    </a:lnTo>
                    <a:lnTo>
                      <a:pt x="1615" y="1405"/>
                    </a:lnTo>
                    <a:lnTo>
                      <a:pt x="1614" y="1405"/>
                    </a:lnTo>
                    <a:lnTo>
                      <a:pt x="1612" y="1405"/>
                    </a:lnTo>
                    <a:lnTo>
                      <a:pt x="1610" y="1405"/>
                    </a:lnTo>
                    <a:lnTo>
                      <a:pt x="1610" y="1406"/>
                    </a:lnTo>
                    <a:lnTo>
                      <a:pt x="1608" y="1408"/>
                    </a:lnTo>
                    <a:lnTo>
                      <a:pt x="1608" y="1410"/>
                    </a:lnTo>
                    <a:lnTo>
                      <a:pt x="1606" y="1410"/>
                    </a:lnTo>
                    <a:lnTo>
                      <a:pt x="1604" y="1412"/>
                    </a:lnTo>
                    <a:lnTo>
                      <a:pt x="1604" y="1414"/>
                    </a:lnTo>
                    <a:lnTo>
                      <a:pt x="1602" y="1414"/>
                    </a:lnTo>
                    <a:lnTo>
                      <a:pt x="1602" y="1416"/>
                    </a:lnTo>
                    <a:lnTo>
                      <a:pt x="1600" y="1416"/>
                    </a:lnTo>
                    <a:lnTo>
                      <a:pt x="1600" y="1418"/>
                    </a:lnTo>
                    <a:lnTo>
                      <a:pt x="1598" y="1418"/>
                    </a:lnTo>
                    <a:lnTo>
                      <a:pt x="1598" y="1420"/>
                    </a:lnTo>
                    <a:lnTo>
                      <a:pt x="1598" y="1422"/>
                    </a:lnTo>
                    <a:lnTo>
                      <a:pt x="1598" y="1424"/>
                    </a:lnTo>
                    <a:lnTo>
                      <a:pt x="1600" y="1424"/>
                    </a:lnTo>
                    <a:lnTo>
                      <a:pt x="1602" y="1422"/>
                    </a:lnTo>
                    <a:lnTo>
                      <a:pt x="1604" y="1422"/>
                    </a:lnTo>
                    <a:lnTo>
                      <a:pt x="1608" y="1424"/>
                    </a:lnTo>
                    <a:lnTo>
                      <a:pt x="1608" y="1426"/>
                    </a:lnTo>
                    <a:lnTo>
                      <a:pt x="1608" y="1427"/>
                    </a:lnTo>
                    <a:lnTo>
                      <a:pt x="1608" y="1429"/>
                    </a:lnTo>
                    <a:lnTo>
                      <a:pt x="1606" y="1429"/>
                    </a:lnTo>
                    <a:lnTo>
                      <a:pt x="1608" y="1429"/>
                    </a:lnTo>
                    <a:lnTo>
                      <a:pt x="1608" y="1431"/>
                    </a:lnTo>
                    <a:lnTo>
                      <a:pt x="1610" y="1431"/>
                    </a:lnTo>
                    <a:lnTo>
                      <a:pt x="1608" y="1433"/>
                    </a:lnTo>
                    <a:lnTo>
                      <a:pt x="1610" y="1435"/>
                    </a:lnTo>
                    <a:lnTo>
                      <a:pt x="1610" y="1437"/>
                    </a:lnTo>
                    <a:lnTo>
                      <a:pt x="1608" y="1437"/>
                    </a:lnTo>
                    <a:lnTo>
                      <a:pt x="1608" y="1439"/>
                    </a:lnTo>
                    <a:lnTo>
                      <a:pt x="1608" y="1441"/>
                    </a:lnTo>
                    <a:lnTo>
                      <a:pt x="1606" y="1441"/>
                    </a:lnTo>
                    <a:lnTo>
                      <a:pt x="1604" y="1441"/>
                    </a:lnTo>
                    <a:lnTo>
                      <a:pt x="1604" y="1443"/>
                    </a:lnTo>
                    <a:lnTo>
                      <a:pt x="1602" y="1445"/>
                    </a:lnTo>
                    <a:lnTo>
                      <a:pt x="1600" y="1445"/>
                    </a:lnTo>
                    <a:lnTo>
                      <a:pt x="1600" y="1447"/>
                    </a:lnTo>
                    <a:lnTo>
                      <a:pt x="1598" y="1447"/>
                    </a:lnTo>
                    <a:lnTo>
                      <a:pt x="1598" y="1448"/>
                    </a:lnTo>
                    <a:lnTo>
                      <a:pt x="1598" y="1450"/>
                    </a:lnTo>
                    <a:lnTo>
                      <a:pt x="1596" y="1450"/>
                    </a:lnTo>
                    <a:lnTo>
                      <a:pt x="1596" y="1452"/>
                    </a:lnTo>
                    <a:lnTo>
                      <a:pt x="1596" y="1454"/>
                    </a:lnTo>
                    <a:lnTo>
                      <a:pt x="1594" y="1454"/>
                    </a:lnTo>
                    <a:lnTo>
                      <a:pt x="1596" y="1454"/>
                    </a:lnTo>
                    <a:lnTo>
                      <a:pt x="1594" y="1456"/>
                    </a:lnTo>
                    <a:lnTo>
                      <a:pt x="1594" y="1458"/>
                    </a:lnTo>
                    <a:lnTo>
                      <a:pt x="1593" y="1458"/>
                    </a:lnTo>
                    <a:lnTo>
                      <a:pt x="1593" y="1460"/>
                    </a:lnTo>
                    <a:lnTo>
                      <a:pt x="1593" y="1462"/>
                    </a:lnTo>
                    <a:lnTo>
                      <a:pt x="1593" y="1464"/>
                    </a:lnTo>
                    <a:lnTo>
                      <a:pt x="1591" y="1464"/>
                    </a:lnTo>
                    <a:lnTo>
                      <a:pt x="1591" y="1466"/>
                    </a:lnTo>
                    <a:lnTo>
                      <a:pt x="1589" y="1468"/>
                    </a:lnTo>
                    <a:lnTo>
                      <a:pt x="1589" y="1469"/>
                    </a:lnTo>
                    <a:lnTo>
                      <a:pt x="1589" y="1471"/>
                    </a:lnTo>
                    <a:lnTo>
                      <a:pt x="1587" y="1471"/>
                    </a:lnTo>
                    <a:lnTo>
                      <a:pt x="1587" y="1473"/>
                    </a:lnTo>
                    <a:lnTo>
                      <a:pt x="1585" y="1473"/>
                    </a:lnTo>
                    <a:lnTo>
                      <a:pt x="1585" y="1475"/>
                    </a:lnTo>
                    <a:lnTo>
                      <a:pt x="1585" y="1477"/>
                    </a:lnTo>
                    <a:lnTo>
                      <a:pt x="1585" y="1479"/>
                    </a:lnTo>
                    <a:lnTo>
                      <a:pt x="1583" y="1479"/>
                    </a:lnTo>
                    <a:lnTo>
                      <a:pt x="1583" y="1481"/>
                    </a:lnTo>
                    <a:lnTo>
                      <a:pt x="1585" y="1481"/>
                    </a:lnTo>
                    <a:lnTo>
                      <a:pt x="1587" y="1481"/>
                    </a:lnTo>
                    <a:lnTo>
                      <a:pt x="1587" y="1483"/>
                    </a:lnTo>
                    <a:lnTo>
                      <a:pt x="1587" y="1485"/>
                    </a:lnTo>
                    <a:lnTo>
                      <a:pt x="1585" y="1485"/>
                    </a:lnTo>
                    <a:lnTo>
                      <a:pt x="1585" y="1487"/>
                    </a:lnTo>
                    <a:lnTo>
                      <a:pt x="1583" y="1487"/>
                    </a:lnTo>
                    <a:lnTo>
                      <a:pt x="1583" y="1489"/>
                    </a:lnTo>
                    <a:lnTo>
                      <a:pt x="1581" y="1490"/>
                    </a:lnTo>
                    <a:lnTo>
                      <a:pt x="1577" y="1490"/>
                    </a:lnTo>
                    <a:lnTo>
                      <a:pt x="1575" y="1490"/>
                    </a:lnTo>
                    <a:lnTo>
                      <a:pt x="1573" y="1490"/>
                    </a:lnTo>
                    <a:lnTo>
                      <a:pt x="1573" y="1492"/>
                    </a:lnTo>
                    <a:lnTo>
                      <a:pt x="1572" y="1494"/>
                    </a:lnTo>
                    <a:lnTo>
                      <a:pt x="1572" y="1492"/>
                    </a:lnTo>
                    <a:lnTo>
                      <a:pt x="1572" y="1494"/>
                    </a:lnTo>
                    <a:lnTo>
                      <a:pt x="1570" y="1496"/>
                    </a:lnTo>
                    <a:lnTo>
                      <a:pt x="1568" y="1498"/>
                    </a:lnTo>
                    <a:lnTo>
                      <a:pt x="1566" y="1498"/>
                    </a:lnTo>
                    <a:lnTo>
                      <a:pt x="1564" y="1498"/>
                    </a:lnTo>
                    <a:lnTo>
                      <a:pt x="1562" y="1500"/>
                    </a:lnTo>
                    <a:lnTo>
                      <a:pt x="1556" y="1498"/>
                    </a:lnTo>
                    <a:lnTo>
                      <a:pt x="1554" y="1498"/>
                    </a:lnTo>
                    <a:lnTo>
                      <a:pt x="1551" y="1496"/>
                    </a:lnTo>
                    <a:lnTo>
                      <a:pt x="1545" y="1492"/>
                    </a:lnTo>
                    <a:lnTo>
                      <a:pt x="1543" y="1490"/>
                    </a:lnTo>
                    <a:lnTo>
                      <a:pt x="1537" y="1489"/>
                    </a:lnTo>
                    <a:lnTo>
                      <a:pt x="1535" y="1489"/>
                    </a:lnTo>
                    <a:lnTo>
                      <a:pt x="1530" y="1492"/>
                    </a:lnTo>
                    <a:lnTo>
                      <a:pt x="1528" y="1492"/>
                    </a:lnTo>
                    <a:lnTo>
                      <a:pt x="1526" y="1490"/>
                    </a:lnTo>
                    <a:lnTo>
                      <a:pt x="1524" y="1490"/>
                    </a:lnTo>
                    <a:lnTo>
                      <a:pt x="1522" y="1489"/>
                    </a:lnTo>
                    <a:lnTo>
                      <a:pt x="1518" y="1487"/>
                    </a:lnTo>
                    <a:lnTo>
                      <a:pt x="1518" y="1485"/>
                    </a:lnTo>
                    <a:lnTo>
                      <a:pt x="1514" y="1483"/>
                    </a:lnTo>
                    <a:lnTo>
                      <a:pt x="1512" y="1483"/>
                    </a:lnTo>
                    <a:lnTo>
                      <a:pt x="1511" y="1483"/>
                    </a:lnTo>
                    <a:lnTo>
                      <a:pt x="1507" y="1483"/>
                    </a:lnTo>
                    <a:lnTo>
                      <a:pt x="1505" y="1483"/>
                    </a:lnTo>
                    <a:lnTo>
                      <a:pt x="1499" y="1487"/>
                    </a:lnTo>
                    <a:lnTo>
                      <a:pt x="1497" y="1487"/>
                    </a:lnTo>
                    <a:lnTo>
                      <a:pt x="1495" y="1489"/>
                    </a:lnTo>
                    <a:lnTo>
                      <a:pt x="1493" y="1490"/>
                    </a:lnTo>
                    <a:lnTo>
                      <a:pt x="1490" y="1492"/>
                    </a:lnTo>
                    <a:lnTo>
                      <a:pt x="1486" y="1498"/>
                    </a:lnTo>
                    <a:lnTo>
                      <a:pt x="1484" y="1500"/>
                    </a:lnTo>
                    <a:lnTo>
                      <a:pt x="1482" y="1502"/>
                    </a:lnTo>
                    <a:lnTo>
                      <a:pt x="1482" y="1500"/>
                    </a:lnTo>
                    <a:lnTo>
                      <a:pt x="1480" y="1502"/>
                    </a:lnTo>
                    <a:lnTo>
                      <a:pt x="1480" y="1500"/>
                    </a:lnTo>
                    <a:lnTo>
                      <a:pt x="1480" y="1502"/>
                    </a:lnTo>
                    <a:lnTo>
                      <a:pt x="1478" y="1500"/>
                    </a:lnTo>
                    <a:lnTo>
                      <a:pt x="1474" y="1502"/>
                    </a:lnTo>
                    <a:lnTo>
                      <a:pt x="1472" y="1502"/>
                    </a:lnTo>
                    <a:lnTo>
                      <a:pt x="1469" y="1504"/>
                    </a:lnTo>
                    <a:lnTo>
                      <a:pt x="1467" y="1504"/>
                    </a:lnTo>
                    <a:lnTo>
                      <a:pt x="1465" y="1504"/>
                    </a:lnTo>
                    <a:lnTo>
                      <a:pt x="1463" y="1506"/>
                    </a:lnTo>
                    <a:lnTo>
                      <a:pt x="1459" y="1506"/>
                    </a:lnTo>
                    <a:lnTo>
                      <a:pt x="1451" y="1509"/>
                    </a:lnTo>
                    <a:lnTo>
                      <a:pt x="1450" y="1509"/>
                    </a:lnTo>
                    <a:lnTo>
                      <a:pt x="1446" y="1509"/>
                    </a:lnTo>
                    <a:lnTo>
                      <a:pt x="1444" y="1508"/>
                    </a:lnTo>
                    <a:lnTo>
                      <a:pt x="1444" y="1509"/>
                    </a:lnTo>
                    <a:lnTo>
                      <a:pt x="1442" y="1509"/>
                    </a:lnTo>
                    <a:lnTo>
                      <a:pt x="1438" y="1509"/>
                    </a:lnTo>
                    <a:lnTo>
                      <a:pt x="1434" y="1508"/>
                    </a:lnTo>
                    <a:lnTo>
                      <a:pt x="1430" y="1508"/>
                    </a:lnTo>
                    <a:lnTo>
                      <a:pt x="1429" y="1506"/>
                    </a:lnTo>
                    <a:lnTo>
                      <a:pt x="1427" y="1506"/>
                    </a:lnTo>
                    <a:lnTo>
                      <a:pt x="1425" y="1506"/>
                    </a:lnTo>
                    <a:lnTo>
                      <a:pt x="1423" y="1506"/>
                    </a:lnTo>
                    <a:lnTo>
                      <a:pt x="1421" y="1506"/>
                    </a:lnTo>
                    <a:lnTo>
                      <a:pt x="1419" y="1506"/>
                    </a:lnTo>
                    <a:lnTo>
                      <a:pt x="1417" y="1506"/>
                    </a:lnTo>
                    <a:lnTo>
                      <a:pt x="1415" y="1506"/>
                    </a:lnTo>
                    <a:lnTo>
                      <a:pt x="1413" y="1504"/>
                    </a:lnTo>
                    <a:lnTo>
                      <a:pt x="1411" y="1504"/>
                    </a:lnTo>
                    <a:lnTo>
                      <a:pt x="1411" y="1502"/>
                    </a:lnTo>
                    <a:lnTo>
                      <a:pt x="1411" y="1500"/>
                    </a:lnTo>
                    <a:lnTo>
                      <a:pt x="1409" y="1500"/>
                    </a:lnTo>
                    <a:lnTo>
                      <a:pt x="1408" y="1498"/>
                    </a:lnTo>
                    <a:lnTo>
                      <a:pt x="1406" y="1498"/>
                    </a:lnTo>
                    <a:lnTo>
                      <a:pt x="1408" y="1498"/>
                    </a:lnTo>
                    <a:lnTo>
                      <a:pt x="1406" y="1496"/>
                    </a:lnTo>
                    <a:lnTo>
                      <a:pt x="1406" y="1498"/>
                    </a:lnTo>
                    <a:lnTo>
                      <a:pt x="1406" y="1496"/>
                    </a:lnTo>
                    <a:lnTo>
                      <a:pt x="1406" y="1494"/>
                    </a:lnTo>
                    <a:lnTo>
                      <a:pt x="1406" y="1492"/>
                    </a:lnTo>
                    <a:lnTo>
                      <a:pt x="1406" y="1490"/>
                    </a:lnTo>
                    <a:lnTo>
                      <a:pt x="1404" y="1490"/>
                    </a:lnTo>
                    <a:lnTo>
                      <a:pt x="1402" y="1490"/>
                    </a:lnTo>
                    <a:lnTo>
                      <a:pt x="1402" y="1489"/>
                    </a:lnTo>
                    <a:lnTo>
                      <a:pt x="1400" y="1490"/>
                    </a:lnTo>
                    <a:lnTo>
                      <a:pt x="1398" y="1489"/>
                    </a:lnTo>
                    <a:lnTo>
                      <a:pt x="1398" y="1490"/>
                    </a:lnTo>
                    <a:lnTo>
                      <a:pt x="1396" y="1489"/>
                    </a:lnTo>
                    <a:lnTo>
                      <a:pt x="1396" y="1490"/>
                    </a:lnTo>
                    <a:lnTo>
                      <a:pt x="1396" y="1489"/>
                    </a:lnTo>
                    <a:lnTo>
                      <a:pt x="1394" y="1489"/>
                    </a:lnTo>
                    <a:lnTo>
                      <a:pt x="1392" y="1487"/>
                    </a:lnTo>
                    <a:lnTo>
                      <a:pt x="1390" y="1485"/>
                    </a:lnTo>
                    <a:lnTo>
                      <a:pt x="1387" y="1481"/>
                    </a:lnTo>
                    <a:lnTo>
                      <a:pt x="1383" y="1481"/>
                    </a:lnTo>
                    <a:lnTo>
                      <a:pt x="1381" y="1481"/>
                    </a:lnTo>
                    <a:lnTo>
                      <a:pt x="1379" y="1481"/>
                    </a:lnTo>
                    <a:lnTo>
                      <a:pt x="1377" y="1481"/>
                    </a:lnTo>
                    <a:lnTo>
                      <a:pt x="1375" y="1481"/>
                    </a:lnTo>
                    <a:lnTo>
                      <a:pt x="1375" y="1479"/>
                    </a:lnTo>
                    <a:lnTo>
                      <a:pt x="1373" y="1479"/>
                    </a:lnTo>
                    <a:lnTo>
                      <a:pt x="1371" y="1477"/>
                    </a:lnTo>
                    <a:lnTo>
                      <a:pt x="1368" y="1479"/>
                    </a:lnTo>
                    <a:lnTo>
                      <a:pt x="1368" y="1477"/>
                    </a:lnTo>
                    <a:lnTo>
                      <a:pt x="1366" y="1477"/>
                    </a:lnTo>
                    <a:lnTo>
                      <a:pt x="1364" y="1477"/>
                    </a:lnTo>
                    <a:lnTo>
                      <a:pt x="1362" y="1477"/>
                    </a:lnTo>
                    <a:lnTo>
                      <a:pt x="1362" y="1479"/>
                    </a:lnTo>
                    <a:lnTo>
                      <a:pt x="1360" y="1479"/>
                    </a:lnTo>
                    <a:lnTo>
                      <a:pt x="1358" y="1479"/>
                    </a:lnTo>
                    <a:lnTo>
                      <a:pt x="1356" y="1479"/>
                    </a:lnTo>
                    <a:lnTo>
                      <a:pt x="1356" y="1481"/>
                    </a:lnTo>
                    <a:lnTo>
                      <a:pt x="1354" y="1481"/>
                    </a:lnTo>
                    <a:lnTo>
                      <a:pt x="1354" y="1479"/>
                    </a:lnTo>
                    <a:lnTo>
                      <a:pt x="1352" y="1481"/>
                    </a:lnTo>
                    <a:lnTo>
                      <a:pt x="1350" y="1481"/>
                    </a:lnTo>
                    <a:lnTo>
                      <a:pt x="1348" y="1481"/>
                    </a:lnTo>
                    <a:lnTo>
                      <a:pt x="1348" y="1483"/>
                    </a:lnTo>
                    <a:lnTo>
                      <a:pt x="1347" y="1483"/>
                    </a:lnTo>
                    <a:lnTo>
                      <a:pt x="1347" y="1485"/>
                    </a:lnTo>
                    <a:lnTo>
                      <a:pt x="1345" y="1485"/>
                    </a:lnTo>
                    <a:lnTo>
                      <a:pt x="1343" y="1485"/>
                    </a:lnTo>
                    <a:lnTo>
                      <a:pt x="1341" y="1485"/>
                    </a:lnTo>
                    <a:lnTo>
                      <a:pt x="1339" y="1485"/>
                    </a:lnTo>
                    <a:lnTo>
                      <a:pt x="1339" y="1487"/>
                    </a:lnTo>
                    <a:lnTo>
                      <a:pt x="1337" y="1485"/>
                    </a:lnTo>
                    <a:lnTo>
                      <a:pt x="1335" y="1485"/>
                    </a:lnTo>
                    <a:lnTo>
                      <a:pt x="1333" y="1483"/>
                    </a:lnTo>
                    <a:lnTo>
                      <a:pt x="1331" y="1485"/>
                    </a:lnTo>
                    <a:lnTo>
                      <a:pt x="1331" y="1483"/>
                    </a:lnTo>
                    <a:lnTo>
                      <a:pt x="1329" y="1481"/>
                    </a:lnTo>
                    <a:lnTo>
                      <a:pt x="1326" y="1481"/>
                    </a:lnTo>
                    <a:lnTo>
                      <a:pt x="1324" y="1481"/>
                    </a:lnTo>
                    <a:lnTo>
                      <a:pt x="1322" y="1479"/>
                    </a:lnTo>
                    <a:lnTo>
                      <a:pt x="1320" y="1477"/>
                    </a:lnTo>
                    <a:lnTo>
                      <a:pt x="1320" y="1475"/>
                    </a:lnTo>
                    <a:lnTo>
                      <a:pt x="1318" y="1473"/>
                    </a:lnTo>
                    <a:lnTo>
                      <a:pt x="1316" y="1473"/>
                    </a:lnTo>
                    <a:lnTo>
                      <a:pt x="1316" y="1471"/>
                    </a:lnTo>
                    <a:lnTo>
                      <a:pt x="1314" y="1469"/>
                    </a:lnTo>
                    <a:lnTo>
                      <a:pt x="1314" y="1468"/>
                    </a:lnTo>
                    <a:lnTo>
                      <a:pt x="1314" y="1466"/>
                    </a:lnTo>
                    <a:lnTo>
                      <a:pt x="1314" y="1464"/>
                    </a:lnTo>
                    <a:lnTo>
                      <a:pt x="1312" y="1462"/>
                    </a:lnTo>
                    <a:lnTo>
                      <a:pt x="1314" y="1462"/>
                    </a:lnTo>
                    <a:lnTo>
                      <a:pt x="1312" y="1462"/>
                    </a:lnTo>
                    <a:lnTo>
                      <a:pt x="1312" y="1460"/>
                    </a:lnTo>
                    <a:lnTo>
                      <a:pt x="1314" y="1460"/>
                    </a:lnTo>
                    <a:lnTo>
                      <a:pt x="1312" y="1458"/>
                    </a:lnTo>
                    <a:lnTo>
                      <a:pt x="1312" y="1456"/>
                    </a:lnTo>
                    <a:lnTo>
                      <a:pt x="1314" y="1456"/>
                    </a:lnTo>
                    <a:lnTo>
                      <a:pt x="1312" y="1454"/>
                    </a:lnTo>
                    <a:lnTo>
                      <a:pt x="1310" y="1454"/>
                    </a:lnTo>
                    <a:lnTo>
                      <a:pt x="1308" y="1454"/>
                    </a:lnTo>
                    <a:lnTo>
                      <a:pt x="1307" y="1452"/>
                    </a:lnTo>
                    <a:lnTo>
                      <a:pt x="1305" y="1452"/>
                    </a:lnTo>
                    <a:lnTo>
                      <a:pt x="1303" y="1452"/>
                    </a:lnTo>
                    <a:lnTo>
                      <a:pt x="1303" y="1450"/>
                    </a:lnTo>
                    <a:lnTo>
                      <a:pt x="1303" y="1452"/>
                    </a:lnTo>
                    <a:lnTo>
                      <a:pt x="1301" y="1452"/>
                    </a:lnTo>
                    <a:lnTo>
                      <a:pt x="1299" y="1450"/>
                    </a:lnTo>
                    <a:lnTo>
                      <a:pt x="1297" y="1450"/>
                    </a:lnTo>
                    <a:lnTo>
                      <a:pt x="1297" y="1448"/>
                    </a:lnTo>
                    <a:lnTo>
                      <a:pt x="1297" y="1450"/>
                    </a:lnTo>
                    <a:lnTo>
                      <a:pt x="1295" y="1450"/>
                    </a:lnTo>
                    <a:lnTo>
                      <a:pt x="1295" y="1448"/>
                    </a:lnTo>
                    <a:lnTo>
                      <a:pt x="1293" y="1448"/>
                    </a:lnTo>
                    <a:lnTo>
                      <a:pt x="1289" y="1447"/>
                    </a:lnTo>
                    <a:lnTo>
                      <a:pt x="1289" y="1445"/>
                    </a:lnTo>
                    <a:lnTo>
                      <a:pt x="1287" y="1447"/>
                    </a:lnTo>
                    <a:lnTo>
                      <a:pt x="1287" y="1445"/>
                    </a:lnTo>
                    <a:lnTo>
                      <a:pt x="1286" y="1445"/>
                    </a:lnTo>
                    <a:lnTo>
                      <a:pt x="1284" y="1445"/>
                    </a:lnTo>
                    <a:lnTo>
                      <a:pt x="1282" y="1445"/>
                    </a:lnTo>
                    <a:lnTo>
                      <a:pt x="1280" y="1445"/>
                    </a:lnTo>
                    <a:lnTo>
                      <a:pt x="1278" y="1445"/>
                    </a:lnTo>
                    <a:lnTo>
                      <a:pt x="1276" y="1445"/>
                    </a:lnTo>
                    <a:lnTo>
                      <a:pt x="1274" y="1441"/>
                    </a:lnTo>
                    <a:lnTo>
                      <a:pt x="1270" y="1441"/>
                    </a:lnTo>
                    <a:lnTo>
                      <a:pt x="1270" y="1439"/>
                    </a:lnTo>
                    <a:lnTo>
                      <a:pt x="1268" y="1439"/>
                    </a:lnTo>
                    <a:lnTo>
                      <a:pt x="1268" y="1441"/>
                    </a:lnTo>
                    <a:lnTo>
                      <a:pt x="1266" y="1439"/>
                    </a:lnTo>
                    <a:lnTo>
                      <a:pt x="1266" y="1437"/>
                    </a:lnTo>
                    <a:lnTo>
                      <a:pt x="1266" y="1439"/>
                    </a:lnTo>
                    <a:lnTo>
                      <a:pt x="1266" y="1437"/>
                    </a:lnTo>
                    <a:lnTo>
                      <a:pt x="1265" y="1437"/>
                    </a:lnTo>
                    <a:lnTo>
                      <a:pt x="1263" y="1437"/>
                    </a:lnTo>
                    <a:lnTo>
                      <a:pt x="1263" y="1435"/>
                    </a:lnTo>
                    <a:lnTo>
                      <a:pt x="1261" y="1435"/>
                    </a:lnTo>
                    <a:lnTo>
                      <a:pt x="1261" y="1437"/>
                    </a:lnTo>
                    <a:lnTo>
                      <a:pt x="1261" y="1439"/>
                    </a:lnTo>
                    <a:lnTo>
                      <a:pt x="1259" y="1441"/>
                    </a:lnTo>
                    <a:lnTo>
                      <a:pt x="1257" y="1443"/>
                    </a:lnTo>
                    <a:lnTo>
                      <a:pt x="1257" y="1445"/>
                    </a:lnTo>
                    <a:lnTo>
                      <a:pt x="1255" y="1443"/>
                    </a:lnTo>
                    <a:lnTo>
                      <a:pt x="1255" y="1445"/>
                    </a:lnTo>
                    <a:lnTo>
                      <a:pt x="1253" y="1445"/>
                    </a:lnTo>
                    <a:lnTo>
                      <a:pt x="1253" y="1447"/>
                    </a:lnTo>
                    <a:lnTo>
                      <a:pt x="1251" y="1448"/>
                    </a:lnTo>
                    <a:lnTo>
                      <a:pt x="1251" y="1450"/>
                    </a:lnTo>
                    <a:lnTo>
                      <a:pt x="1251" y="1452"/>
                    </a:lnTo>
                    <a:lnTo>
                      <a:pt x="1249" y="1452"/>
                    </a:lnTo>
                    <a:lnTo>
                      <a:pt x="1247" y="1452"/>
                    </a:lnTo>
                    <a:lnTo>
                      <a:pt x="1247" y="1454"/>
                    </a:lnTo>
                    <a:lnTo>
                      <a:pt x="1245" y="1456"/>
                    </a:lnTo>
                    <a:lnTo>
                      <a:pt x="1245" y="1458"/>
                    </a:lnTo>
                    <a:lnTo>
                      <a:pt x="1245" y="1460"/>
                    </a:lnTo>
                    <a:lnTo>
                      <a:pt x="1245" y="1462"/>
                    </a:lnTo>
                    <a:lnTo>
                      <a:pt x="1244" y="1464"/>
                    </a:lnTo>
                    <a:lnTo>
                      <a:pt x="1245" y="1466"/>
                    </a:lnTo>
                    <a:lnTo>
                      <a:pt x="1247" y="1468"/>
                    </a:lnTo>
                    <a:lnTo>
                      <a:pt x="1245" y="1469"/>
                    </a:lnTo>
                    <a:lnTo>
                      <a:pt x="1247" y="1469"/>
                    </a:lnTo>
                    <a:lnTo>
                      <a:pt x="1247" y="1473"/>
                    </a:lnTo>
                    <a:lnTo>
                      <a:pt x="1249" y="1473"/>
                    </a:lnTo>
                    <a:lnTo>
                      <a:pt x="1249" y="1475"/>
                    </a:lnTo>
                    <a:lnTo>
                      <a:pt x="1251" y="1475"/>
                    </a:lnTo>
                    <a:lnTo>
                      <a:pt x="1251" y="1477"/>
                    </a:lnTo>
                    <a:lnTo>
                      <a:pt x="1253" y="1477"/>
                    </a:lnTo>
                    <a:lnTo>
                      <a:pt x="1251" y="1479"/>
                    </a:lnTo>
                    <a:lnTo>
                      <a:pt x="1251" y="1481"/>
                    </a:lnTo>
                    <a:lnTo>
                      <a:pt x="1251" y="1483"/>
                    </a:lnTo>
                    <a:lnTo>
                      <a:pt x="1249" y="1485"/>
                    </a:lnTo>
                    <a:lnTo>
                      <a:pt x="1249" y="1487"/>
                    </a:lnTo>
                    <a:lnTo>
                      <a:pt x="1249" y="1485"/>
                    </a:lnTo>
                    <a:lnTo>
                      <a:pt x="1249" y="1487"/>
                    </a:lnTo>
                    <a:lnTo>
                      <a:pt x="1247" y="1487"/>
                    </a:lnTo>
                    <a:lnTo>
                      <a:pt x="1247" y="1489"/>
                    </a:lnTo>
                    <a:lnTo>
                      <a:pt x="1245" y="1489"/>
                    </a:lnTo>
                    <a:lnTo>
                      <a:pt x="1245" y="1490"/>
                    </a:lnTo>
                    <a:lnTo>
                      <a:pt x="1244" y="1490"/>
                    </a:lnTo>
                    <a:lnTo>
                      <a:pt x="1244" y="1489"/>
                    </a:lnTo>
                    <a:lnTo>
                      <a:pt x="1242" y="1490"/>
                    </a:lnTo>
                    <a:lnTo>
                      <a:pt x="1240" y="1490"/>
                    </a:lnTo>
                    <a:lnTo>
                      <a:pt x="1240" y="1492"/>
                    </a:lnTo>
                    <a:lnTo>
                      <a:pt x="1240" y="1494"/>
                    </a:lnTo>
                    <a:lnTo>
                      <a:pt x="1238" y="1494"/>
                    </a:lnTo>
                    <a:lnTo>
                      <a:pt x="1236" y="1494"/>
                    </a:lnTo>
                    <a:lnTo>
                      <a:pt x="1234" y="1496"/>
                    </a:lnTo>
                    <a:lnTo>
                      <a:pt x="1234" y="1494"/>
                    </a:lnTo>
                    <a:lnTo>
                      <a:pt x="1232" y="1492"/>
                    </a:lnTo>
                    <a:lnTo>
                      <a:pt x="1230" y="1492"/>
                    </a:lnTo>
                    <a:lnTo>
                      <a:pt x="1228" y="1492"/>
                    </a:lnTo>
                    <a:lnTo>
                      <a:pt x="1226" y="1490"/>
                    </a:lnTo>
                    <a:lnTo>
                      <a:pt x="1225" y="1492"/>
                    </a:lnTo>
                    <a:lnTo>
                      <a:pt x="1225" y="1490"/>
                    </a:lnTo>
                    <a:lnTo>
                      <a:pt x="1223" y="1490"/>
                    </a:lnTo>
                    <a:lnTo>
                      <a:pt x="1223" y="1492"/>
                    </a:lnTo>
                    <a:lnTo>
                      <a:pt x="1221" y="1490"/>
                    </a:lnTo>
                    <a:lnTo>
                      <a:pt x="1219" y="1490"/>
                    </a:lnTo>
                    <a:lnTo>
                      <a:pt x="1217" y="1489"/>
                    </a:lnTo>
                    <a:lnTo>
                      <a:pt x="1215" y="1489"/>
                    </a:lnTo>
                    <a:lnTo>
                      <a:pt x="1215" y="1490"/>
                    </a:lnTo>
                    <a:lnTo>
                      <a:pt x="1213" y="1489"/>
                    </a:lnTo>
                    <a:lnTo>
                      <a:pt x="1211" y="1489"/>
                    </a:lnTo>
                    <a:lnTo>
                      <a:pt x="1211" y="1490"/>
                    </a:lnTo>
                    <a:lnTo>
                      <a:pt x="1209" y="1490"/>
                    </a:lnTo>
                    <a:lnTo>
                      <a:pt x="1207" y="1492"/>
                    </a:lnTo>
                    <a:lnTo>
                      <a:pt x="1205" y="1490"/>
                    </a:lnTo>
                    <a:lnTo>
                      <a:pt x="1200" y="1490"/>
                    </a:lnTo>
                    <a:lnTo>
                      <a:pt x="1200" y="1489"/>
                    </a:lnTo>
                    <a:lnTo>
                      <a:pt x="1196" y="1489"/>
                    </a:lnTo>
                    <a:lnTo>
                      <a:pt x="1194" y="1489"/>
                    </a:lnTo>
                    <a:lnTo>
                      <a:pt x="1192" y="1487"/>
                    </a:lnTo>
                    <a:lnTo>
                      <a:pt x="1192" y="1485"/>
                    </a:lnTo>
                    <a:lnTo>
                      <a:pt x="1190" y="1485"/>
                    </a:lnTo>
                    <a:lnTo>
                      <a:pt x="1190" y="1483"/>
                    </a:lnTo>
                    <a:lnTo>
                      <a:pt x="1188" y="1477"/>
                    </a:lnTo>
                    <a:lnTo>
                      <a:pt x="1188" y="1475"/>
                    </a:lnTo>
                    <a:lnTo>
                      <a:pt x="1184" y="1473"/>
                    </a:lnTo>
                    <a:lnTo>
                      <a:pt x="1183" y="1475"/>
                    </a:lnTo>
                    <a:lnTo>
                      <a:pt x="1181" y="1473"/>
                    </a:lnTo>
                    <a:lnTo>
                      <a:pt x="1179" y="1475"/>
                    </a:lnTo>
                    <a:lnTo>
                      <a:pt x="1177" y="1473"/>
                    </a:lnTo>
                    <a:lnTo>
                      <a:pt x="1175" y="1473"/>
                    </a:lnTo>
                    <a:lnTo>
                      <a:pt x="1173" y="1473"/>
                    </a:lnTo>
                    <a:lnTo>
                      <a:pt x="1171" y="1475"/>
                    </a:lnTo>
                    <a:lnTo>
                      <a:pt x="1169" y="1473"/>
                    </a:lnTo>
                    <a:lnTo>
                      <a:pt x="1169" y="1475"/>
                    </a:lnTo>
                    <a:lnTo>
                      <a:pt x="1167" y="1473"/>
                    </a:lnTo>
                    <a:lnTo>
                      <a:pt x="1167" y="1471"/>
                    </a:lnTo>
                    <a:lnTo>
                      <a:pt x="1167" y="1469"/>
                    </a:lnTo>
                    <a:lnTo>
                      <a:pt x="1163" y="1469"/>
                    </a:lnTo>
                    <a:lnTo>
                      <a:pt x="1163" y="1471"/>
                    </a:lnTo>
                    <a:lnTo>
                      <a:pt x="1162" y="1471"/>
                    </a:lnTo>
                    <a:lnTo>
                      <a:pt x="1162" y="1469"/>
                    </a:lnTo>
                    <a:lnTo>
                      <a:pt x="1160" y="1469"/>
                    </a:lnTo>
                    <a:lnTo>
                      <a:pt x="1158" y="1468"/>
                    </a:lnTo>
                    <a:lnTo>
                      <a:pt x="1156" y="1468"/>
                    </a:lnTo>
                    <a:lnTo>
                      <a:pt x="1156" y="1469"/>
                    </a:lnTo>
                    <a:lnTo>
                      <a:pt x="1156" y="1471"/>
                    </a:lnTo>
                    <a:lnTo>
                      <a:pt x="1152" y="1471"/>
                    </a:lnTo>
                    <a:lnTo>
                      <a:pt x="1148" y="1471"/>
                    </a:lnTo>
                    <a:lnTo>
                      <a:pt x="1146" y="1473"/>
                    </a:lnTo>
                    <a:lnTo>
                      <a:pt x="1146" y="1475"/>
                    </a:lnTo>
                    <a:lnTo>
                      <a:pt x="1144" y="1475"/>
                    </a:lnTo>
                    <a:lnTo>
                      <a:pt x="1143" y="1475"/>
                    </a:lnTo>
                    <a:lnTo>
                      <a:pt x="1143" y="1477"/>
                    </a:lnTo>
                    <a:lnTo>
                      <a:pt x="1141" y="1477"/>
                    </a:lnTo>
                    <a:lnTo>
                      <a:pt x="1139" y="1479"/>
                    </a:lnTo>
                    <a:lnTo>
                      <a:pt x="1137" y="1479"/>
                    </a:lnTo>
                    <a:lnTo>
                      <a:pt x="1135" y="1479"/>
                    </a:lnTo>
                    <a:lnTo>
                      <a:pt x="1135" y="1481"/>
                    </a:lnTo>
                    <a:lnTo>
                      <a:pt x="1133" y="1481"/>
                    </a:lnTo>
                    <a:lnTo>
                      <a:pt x="1131" y="1481"/>
                    </a:lnTo>
                    <a:lnTo>
                      <a:pt x="1131" y="1483"/>
                    </a:lnTo>
                    <a:lnTo>
                      <a:pt x="1129" y="1483"/>
                    </a:lnTo>
                    <a:lnTo>
                      <a:pt x="1127" y="1483"/>
                    </a:lnTo>
                    <a:lnTo>
                      <a:pt x="1127" y="1485"/>
                    </a:lnTo>
                    <a:lnTo>
                      <a:pt x="1125" y="1485"/>
                    </a:lnTo>
                    <a:lnTo>
                      <a:pt x="1123" y="1487"/>
                    </a:lnTo>
                    <a:lnTo>
                      <a:pt x="1122" y="1487"/>
                    </a:lnTo>
                    <a:lnTo>
                      <a:pt x="1120" y="1487"/>
                    </a:lnTo>
                    <a:lnTo>
                      <a:pt x="1120" y="1489"/>
                    </a:lnTo>
                    <a:lnTo>
                      <a:pt x="1120" y="1490"/>
                    </a:lnTo>
                    <a:lnTo>
                      <a:pt x="1118" y="1490"/>
                    </a:lnTo>
                    <a:lnTo>
                      <a:pt x="1116" y="1490"/>
                    </a:lnTo>
                    <a:lnTo>
                      <a:pt x="1114" y="1490"/>
                    </a:lnTo>
                    <a:lnTo>
                      <a:pt x="1114" y="1492"/>
                    </a:lnTo>
                    <a:lnTo>
                      <a:pt x="1114" y="1494"/>
                    </a:lnTo>
                    <a:lnTo>
                      <a:pt x="1116" y="1494"/>
                    </a:lnTo>
                    <a:lnTo>
                      <a:pt x="1116" y="1496"/>
                    </a:lnTo>
                    <a:lnTo>
                      <a:pt x="1114" y="1496"/>
                    </a:lnTo>
                    <a:lnTo>
                      <a:pt x="1112" y="1498"/>
                    </a:lnTo>
                    <a:lnTo>
                      <a:pt x="1110" y="1498"/>
                    </a:lnTo>
                    <a:lnTo>
                      <a:pt x="1110" y="1500"/>
                    </a:lnTo>
                    <a:lnTo>
                      <a:pt x="1108" y="1498"/>
                    </a:lnTo>
                    <a:lnTo>
                      <a:pt x="1106" y="1498"/>
                    </a:lnTo>
                    <a:lnTo>
                      <a:pt x="1106" y="1500"/>
                    </a:lnTo>
                    <a:lnTo>
                      <a:pt x="1108" y="1500"/>
                    </a:lnTo>
                    <a:lnTo>
                      <a:pt x="1106" y="1502"/>
                    </a:lnTo>
                    <a:lnTo>
                      <a:pt x="1104" y="1502"/>
                    </a:lnTo>
                    <a:lnTo>
                      <a:pt x="1102" y="1502"/>
                    </a:lnTo>
                    <a:lnTo>
                      <a:pt x="1102" y="1500"/>
                    </a:lnTo>
                    <a:lnTo>
                      <a:pt x="1102" y="1502"/>
                    </a:lnTo>
                    <a:lnTo>
                      <a:pt x="1101" y="1502"/>
                    </a:lnTo>
                    <a:lnTo>
                      <a:pt x="1099" y="1502"/>
                    </a:lnTo>
                    <a:lnTo>
                      <a:pt x="1097" y="1502"/>
                    </a:lnTo>
                    <a:lnTo>
                      <a:pt x="1095" y="1502"/>
                    </a:lnTo>
                    <a:lnTo>
                      <a:pt x="1093" y="1502"/>
                    </a:lnTo>
                    <a:lnTo>
                      <a:pt x="1091" y="1502"/>
                    </a:lnTo>
                    <a:lnTo>
                      <a:pt x="1091" y="1504"/>
                    </a:lnTo>
                    <a:lnTo>
                      <a:pt x="1089" y="1504"/>
                    </a:lnTo>
                    <a:lnTo>
                      <a:pt x="1091" y="1506"/>
                    </a:lnTo>
                    <a:lnTo>
                      <a:pt x="1089" y="1508"/>
                    </a:lnTo>
                    <a:lnTo>
                      <a:pt x="1087" y="1509"/>
                    </a:lnTo>
                    <a:lnTo>
                      <a:pt x="1085" y="1509"/>
                    </a:lnTo>
                    <a:lnTo>
                      <a:pt x="1083" y="1509"/>
                    </a:lnTo>
                    <a:lnTo>
                      <a:pt x="1080" y="1509"/>
                    </a:lnTo>
                    <a:lnTo>
                      <a:pt x="1080" y="1511"/>
                    </a:lnTo>
                    <a:lnTo>
                      <a:pt x="1076" y="1511"/>
                    </a:lnTo>
                    <a:lnTo>
                      <a:pt x="1078" y="1509"/>
                    </a:lnTo>
                    <a:lnTo>
                      <a:pt x="1076" y="1508"/>
                    </a:lnTo>
                    <a:lnTo>
                      <a:pt x="1078" y="1508"/>
                    </a:lnTo>
                    <a:lnTo>
                      <a:pt x="1076" y="1508"/>
                    </a:lnTo>
                    <a:lnTo>
                      <a:pt x="1072" y="1508"/>
                    </a:lnTo>
                    <a:lnTo>
                      <a:pt x="1072" y="1506"/>
                    </a:lnTo>
                    <a:lnTo>
                      <a:pt x="1070" y="1504"/>
                    </a:lnTo>
                    <a:lnTo>
                      <a:pt x="1072" y="1504"/>
                    </a:lnTo>
                    <a:lnTo>
                      <a:pt x="1070" y="1504"/>
                    </a:lnTo>
                    <a:lnTo>
                      <a:pt x="1070" y="1502"/>
                    </a:lnTo>
                    <a:lnTo>
                      <a:pt x="1070" y="1500"/>
                    </a:lnTo>
                    <a:lnTo>
                      <a:pt x="1068" y="1500"/>
                    </a:lnTo>
                    <a:lnTo>
                      <a:pt x="1066" y="1500"/>
                    </a:lnTo>
                    <a:lnTo>
                      <a:pt x="1066" y="1498"/>
                    </a:lnTo>
                    <a:lnTo>
                      <a:pt x="1068" y="1496"/>
                    </a:lnTo>
                    <a:lnTo>
                      <a:pt x="1068" y="1494"/>
                    </a:lnTo>
                    <a:lnTo>
                      <a:pt x="1066" y="1494"/>
                    </a:lnTo>
                    <a:lnTo>
                      <a:pt x="1066" y="1496"/>
                    </a:lnTo>
                    <a:lnTo>
                      <a:pt x="1064" y="1496"/>
                    </a:lnTo>
                    <a:lnTo>
                      <a:pt x="1062" y="1498"/>
                    </a:lnTo>
                    <a:lnTo>
                      <a:pt x="1061" y="1500"/>
                    </a:lnTo>
                    <a:lnTo>
                      <a:pt x="1059" y="1502"/>
                    </a:lnTo>
                    <a:lnTo>
                      <a:pt x="1059" y="1500"/>
                    </a:lnTo>
                    <a:lnTo>
                      <a:pt x="1057" y="1500"/>
                    </a:lnTo>
                    <a:lnTo>
                      <a:pt x="1055" y="1502"/>
                    </a:lnTo>
                    <a:lnTo>
                      <a:pt x="1055" y="1500"/>
                    </a:lnTo>
                    <a:lnTo>
                      <a:pt x="1053" y="1500"/>
                    </a:lnTo>
                    <a:lnTo>
                      <a:pt x="1051" y="1500"/>
                    </a:lnTo>
                    <a:lnTo>
                      <a:pt x="1049" y="1498"/>
                    </a:lnTo>
                    <a:lnTo>
                      <a:pt x="1047" y="1498"/>
                    </a:lnTo>
                    <a:lnTo>
                      <a:pt x="1045" y="1498"/>
                    </a:lnTo>
                    <a:lnTo>
                      <a:pt x="1043" y="1498"/>
                    </a:lnTo>
                    <a:lnTo>
                      <a:pt x="1043" y="1496"/>
                    </a:lnTo>
                    <a:lnTo>
                      <a:pt x="1043" y="1494"/>
                    </a:lnTo>
                    <a:lnTo>
                      <a:pt x="1041" y="1492"/>
                    </a:lnTo>
                    <a:lnTo>
                      <a:pt x="1040" y="1490"/>
                    </a:lnTo>
                    <a:lnTo>
                      <a:pt x="1041" y="1489"/>
                    </a:lnTo>
                    <a:lnTo>
                      <a:pt x="1040" y="1487"/>
                    </a:lnTo>
                    <a:lnTo>
                      <a:pt x="1038" y="1487"/>
                    </a:lnTo>
                    <a:lnTo>
                      <a:pt x="1038" y="1485"/>
                    </a:lnTo>
                    <a:lnTo>
                      <a:pt x="1036" y="1485"/>
                    </a:lnTo>
                    <a:lnTo>
                      <a:pt x="1034" y="1485"/>
                    </a:lnTo>
                    <a:lnTo>
                      <a:pt x="1032" y="1485"/>
                    </a:lnTo>
                    <a:lnTo>
                      <a:pt x="1032" y="1483"/>
                    </a:lnTo>
                    <a:lnTo>
                      <a:pt x="1030" y="1485"/>
                    </a:lnTo>
                    <a:lnTo>
                      <a:pt x="1028" y="1481"/>
                    </a:lnTo>
                    <a:lnTo>
                      <a:pt x="1028" y="1477"/>
                    </a:lnTo>
                    <a:lnTo>
                      <a:pt x="1028" y="1475"/>
                    </a:lnTo>
                    <a:lnTo>
                      <a:pt x="1026" y="1475"/>
                    </a:lnTo>
                    <a:lnTo>
                      <a:pt x="1026" y="1473"/>
                    </a:lnTo>
                    <a:lnTo>
                      <a:pt x="1024" y="1471"/>
                    </a:lnTo>
                    <a:lnTo>
                      <a:pt x="1024" y="1469"/>
                    </a:lnTo>
                    <a:lnTo>
                      <a:pt x="1022" y="1469"/>
                    </a:lnTo>
                    <a:lnTo>
                      <a:pt x="1022" y="1468"/>
                    </a:lnTo>
                    <a:lnTo>
                      <a:pt x="1020" y="1466"/>
                    </a:lnTo>
                    <a:lnTo>
                      <a:pt x="1019" y="1466"/>
                    </a:lnTo>
                    <a:lnTo>
                      <a:pt x="1017" y="1466"/>
                    </a:lnTo>
                    <a:lnTo>
                      <a:pt x="1015" y="1464"/>
                    </a:lnTo>
                    <a:lnTo>
                      <a:pt x="1013" y="1464"/>
                    </a:lnTo>
                    <a:lnTo>
                      <a:pt x="1011" y="1464"/>
                    </a:lnTo>
                    <a:lnTo>
                      <a:pt x="1011" y="1466"/>
                    </a:lnTo>
                    <a:lnTo>
                      <a:pt x="1009" y="1466"/>
                    </a:lnTo>
                    <a:lnTo>
                      <a:pt x="1007" y="1468"/>
                    </a:lnTo>
                    <a:lnTo>
                      <a:pt x="1007" y="1466"/>
                    </a:lnTo>
                    <a:lnTo>
                      <a:pt x="1003" y="1466"/>
                    </a:lnTo>
                    <a:lnTo>
                      <a:pt x="1003" y="1469"/>
                    </a:lnTo>
                    <a:lnTo>
                      <a:pt x="1001" y="1469"/>
                    </a:lnTo>
                    <a:lnTo>
                      <a:pt x="999" y="1471"/>
                    </a:lnTo>
                    <a:lnTo>
                      <a:pt x="998" y="1469"/>
                    </a:lnTo>
                    <a:lnTo>
                      <a:pt x="996" y="1471"/>
                    </a:lnTo>
                    <a:lnTo>
                      <a:pt x="990" y="1469"/>
                    </a:lnTo>
                    <a:lnTo>
                      <a:pt x="988" y="1469"/>
                    </a:lnTo>
                    <a:lnTo>
                      <a:pt x="986" y="1471"/>
                    </a:lnTo>
                    <a:lnTo>
                      <a:pt x="984" y="1469"/>
                    </a:lnTo>
                    <a:lnTo>
                      <a:pt x="984" y="1468"/>
                    </a:lnTo>
                    <a:lnTo>
                      <a:pt x="984" y="1464"/>
                    </a:lnTo>
                    <a:lnTo>
                      <a:pt x="982" y="1464"/>
                    </a:lnTo>
                    <a:lnTo>
                      <a:pt x="980" y="1466"/>
                    </a:lnTo>
                    <a:lnTo>
                      <a:pt x="979" y="1466"/>
                    </a:lnTo>
                    <a:lnTo>
                      <a:pt x="979" y="1462"/>
                    </a:lnTo>
                    <a:lnTo>
                      <a:pt x="979" y="1460"/>
                    </a:lnTo>
                    <a:lnTo>
                      <a:pt x="979" y="1458"/>
                    </a:lnTo>
                    <a:lnTo>
                      <a:pt x="979" y="1460"/>
                    </a:lnTo>
                    <a:lnTo>
                      <a:pt x="977" y="1460"/>
                    </a:lnTo>
                    <a:lnTo>
                      <a:pt x="975" y="1458"/>
                    </a:lnTo>
                    <a:lnTo>
                      <a:pt x="977" y="1458"/>
                    </a:lnTo>
                    <a:lnTo>
                      <a:pt x="975" y="1458"/>
                    </a:lnTo>
                    <a:lnTo>
                      <a:pt x="971" y="1456"/>
                    </a:lnTo>
                    <a:lnTo>
                      <a:pt x="971" y="1458"/>
                    </a:lnTo>
                    <a:lnTo>
                      <a:pt x="967" y="1458"/>
                    </a:lnTo>
                    <a:lnTo>
                      <a:pt x="967" y="1462"/>
                    </a:lnTo>
                    <a:lnTo>
                      <a:pt x="969" y="1462"/>
                    </a:lnTo>
                    <a:lnTo>
                      <a:pt x="969" y="1466"/>
                    </a:lnTo>
                    <a:lnTo>
                      <a:pt x="967" y="1466"/>
                    </a:lnTo>
                    <a:lnTo>
                      <a:pt x="965" y="1466"/>
                    </a:lnTo>
                    <a:lnTo>
                      <a:pt x="963" y="1466"/>
                    </a:lnTo>
                    <a:lnTo>
                      <a:pt x="963" y="1468"/>
                    </a:lnTo>
                    <a:lnTo>
                      <a:pt x="961" y="1468"/>
                    </a:lnTo>
                    <a:lnTo>
                      <a:pt x="961" y="1471"/>
                    </a:lnTo>
                    <a:lnTo>
                      <a:pt x="946" y="1439"/>
                    </a:lnTo>
                    <a:lnTo>
                      <a:pt x="927" y="1405"/>
                    </a:lnTo>
                    <a:lnTo>
                      <a:pt x="906" y="1385"/>
                    </a:lnTo>
                    <a:lnTo>
                      <a:pt x="904" y="1384"/>
                    </a:lnTo>
                    <a:lnTo>
                      <a:pt x="904" y="1382"/>
                    </a:lnTo>
                    <a:lnTo>
                      <a:pt x="906" y="1382"/>
                    </a:lnTo>
                    <a:lnTo>
                      <a:pt x="908" y="1382"/>
                    </a:lnTo>
                    <a:lnTo>
                      <a:pt x="910" y="1382"/>
                    </a:lnTo>
                    <a:lnTo>
                      <a:pt x="910" y="1380"/>
                    </a:lnTo>
                    <a:lnTo>
                      <a:pt x="910" y="1378"/>
                    </a:lnTo>
                    <a:lnTo>
                      <a:pt x="912" y="1378"/>
                    </a:lnTo>
                    <a:lnTo>
                      <a:pt x="912" y="1376"/>
                    </a:lnTo>
                    <a:lnTo>
                      <a:pt x="910" y="1376"/>
                    </a:lnTo>
                    <a:lnTo>
                      <a:pt x="912" y="1374"/>
                    </a:lnTo>
                    <a:lnTo>
                      <a:pt x="912" y="1372"/>
                    </a:lnTo>
                    <a:lnTo>
                      <a:pt x="910" y="1374"/>
                    </a:lnTo>
                    <a:lnTo>
                      <a:pt x="908" y="1374"/>
                    </a:lnTo>
                    <a:lnTo>
                      <a:pt x="908" y="1376"/>
                    </a:lnTo>
                    <a:lnTo>
                      <a:pt x="906" y="1376"/>
                    </a:lnTo>
                    <a:lnTo>
                      <a:pt x="904" y="1376"/>
                    </a:lnTo>
                    <a:lnTo>
                      <a:pt x="902" y="1376"/>
                    </a:lnTo>
                    <a:lnTo>
                      <a:pt x="900" y="1378"/>
                    </a:lnTo>
                    <a:lnTo>
                      <a:pt x="891" y="1384"/>
                    </a:lnTo>
                    <a:lnTo>
                      <a:pt x="889" y="1382"/>
                    </a:lnTo>
                    <a:lnTo>
                      <a:pt x="887" y="1384"/>
                    </a:lnTo>
                    <a:lnTo>
                      <a:pt x="889" y="1385"/>
                    </a:lnTo>
                    <a:lnTo>
                      <a:pt x="887" y="1387"/>
                    </a:lnTo>
                    <a:lnTo>
                      <a:pt x="883" y="1391"/>
                    </a:lnTo>
                    <a:lnTo>
                      <a:pt x="881" y="1391"/>
                    </a:lnTo>
                    <a:lnTo>
                      <a:pt x="877" y="1389"/>
                    </a:lnTo>
                    <a:lnTo>
                      <a:pt x="877" y="1393"/>
                    </a:lnTo>
                    <a:lnTo>
                      <a:pt x="876" y="1391"/>
                    </a:lnTo>
                    <a:lnTo>
                      <a:pt x="876" y="1395"/>
                    </a:lnTo>
                    <a:lnTo>
                      <a:pt x="872" y="1393"/>
                    </a:lnTo>
                    <a:lnTo>
                      <a:pt x="872" y="1397"/>
                    </a:lnTo>
                    <a:lnTo>
                      <a:pt x="874" y="1397"/>
                    </a:lnTo>
                    <a:lnTo>
                      <a:pt x="872" y="1401"/>
                    </a:lnTo>
                    <a:lnTo>
                      <a:pt x="870" y="1399"/>
                    </a:lnTo>
                    <a:lnTo>
                      <a:pt x="870" y="1397"/>
                    </a:lnTo>
                    <a:lnTo>
                      <a:pt x="868" y="1397"/>
                    </a:lnTo>
                    <a:lnTo>
                      <a:pt x="866" y="1397"/>
                    </a:lnTo>
                    <a:lnTo>
                      <a:pt x="866" y="1395"/>
                    </a:lnTo>
                    <a:lnTo>
                      <a:pt x="864" y="1395"/>
                    </a:lnTo>
                    <a:lnTo>
                      <a:pt x="862" y="1397"/>
                    </a:lnTo>
                    <a:lnTo>
                      <a:pt x="860" y="1395"/>
                    </a:lnTo>
                    <a:lnTo>
                      <a:pt x="860" y="1397"/>
                    </a:lnTo>
                    <a:lnTo>
                      <a:pt x="858" y="1397"/>
                    </a:lnTo>
                    <a:lnTo>
                      <a:pt x="858" y="1399"/>
                    </a:lnTo>
                    <a:lnTo>
                      <a:pt x="856" y="1401"/>
                    </a:lnTo>
                    <a:lnTo>
                      <a:pt x="855" y="1401"/>
                    </a:lnTo>
                    <a:lnTo>
                      <a:pt x="856" y="1399"/>
                    </a:lnTo>
                    <a:lnTo>
                      <a:pt x="853" y="1397"/>
                    </a:lnTo>
                    <a:lnTo>
                      <a:pt x="855" y="1395"/>
                    </a:lnTo>
                    <a:lnTo>
                      <a:pt x="853" y="1395"/>
                    </a:lnTo>
                    <a:lnTo>
                      <a:pt x="855" y="1395"/>
                    </a:lnTo>
                    <a:lnTo>
                      <a:pt x="855" y="1391"/>
                    </a:lnTo>
                    <a:lnTo>
                      <a:pt x="856" y="1391"/>
                    </a:lnTo>
                    <a:lnTo>
                      <a:pt x="856" y="1389"/>
                    </a:lnTo>
                    <a:lnTo>
                      <a:pt x="860" y="1389"/>
                    </a:lnTo>
                    <a:lnTo>
                      <a:pt x="862" y="1384"/>
                    </a:lnTo>
                    <a:lnTo>
                      <a:pt x="860" y="1384"/>
                    </a:lnTo>
                    <a:lnTo>
                      <a:pt x="858" y="1385"/>
                    </a:lnTo>
                    <a:lnTo>
                      <a:pt x="858" y="1387"/>
                    </a:lnTo>
                    <a:lnTo>
                      <a:pt x="856" y="1385"/>
                    </a:lnTo>
                    <a:lnTo>
                      <a:pt x="856" y="1387"/>
                    </a:lnTo>
                    <a:lnTo>
                      <a:pt x="855" y="1387"/>
                    </a:lnTo>
                    <a:lnTo>
                      <a:pt x="851" y="1385"/>
                    </a:lnTo>
                    <a:lnTo>
                      <a:pt x="849" y="1384"/>
                    </a:lnTo>
                    <a:lnTo>
                      <a:pt x="847" y="1384"/>
                    </a:lnTo>
                    <a:lnTo>
                      <a:pt x="847" y="1382"/>
                    </a:lnTo>
                    <a:lnTo>
                      <a:pt x="843" y="1382"/>
                    </a:lnTo>
                    <a:lnTo>
                      <a:pt x="841" y="1384"/>
                    </a:lnTo>
                    <a:lnTo>
                      <a:pt x="845" y="1384"/>
                    </a:lnTo>
                    <a:lnTo>
                      <a:pt x="845" y="1385"/>
                    </a:lnTo>
                    <a:lnTo>
                      <a:pt x="845" y="1387"/>
                    </a:lnTo>
                    <a:lnTo>
                      <a:pt x="843" y="1385"/>
                    </a:lnTo>
                    <a:lnTo>
                      <a:pt x="841" y="1387"/>
                    </a:lnTo>
                    <a:lnTo>
                      <a:pt x="839" y="1387"/>
                    </a:lnTo>
                    <a:lnTo>
                      <a:pt x="841" y="1384"/>
                    </a:lnTo>
                    <a:lnTo>
                      <a:pt x="839" y="1384"/>
                    </a:lnTo>
                    <a:lnTo>
                      <a:pt x="839" y="1382"/>
                    </a:lnTo>
                    <a:lnTo>
                      <a:pt x="841" y="1384"/>
                    </a:lnTo>
                    <a:lnTo>
                      <a:pt x="841" y="1382"/>
                    </a:lnTo>
                    <a:lnTo>
                      <a:pt x="837" y="1380"/>
                    </a:lnTo>
                    <a:lnTo>
                      <a:pt x="839" y="1380"/>
                    </a:lnTo>
                    <a:lnTo>
                      <a:pt x="837" y="1378"/>
                    </a:lnTo>
                    <a:lnTo>
                      <a:pt x="837" y="1376"/>
                    </a:lnTo>
                    <a:lnTo>
                      <a:pt x="834" y="1376"/>
                    </a:lnTo>
                    <a:lnTo>
                      <a:pt x="835" y="1378"/>
                    </a:lnTo>
                    <a:lnTo>
                      <a:pt x="835" y="1380"/>
                    </a:lnTo>
                    <a:lnTo>
                      <a:pt x="837" y="1380"/>
                    </a:lnTo>
                    <a:lnTo>
                      <a:pt x="837" y="1382"/>
                    </a:lnTo>
                    <a:lnTo>
                      <a:pt x="835" y="1382"/>
                    </a:lnTo>
                    <a:lnTo>
                      <a:pt x="835" y="1380"/>
                    </a:lnTo>
                    <a:lnTo>
                      <a:pt x="834" y="1380"/>
                    </a:lnTo>
                    <a:lnTo>
                      <a:pt x="832" y="1380"/>
                    </a:lnTo>
                    <a:lnTo>
                      <a:pt x="830" y="1378"/>
                    </a:lnTo>
                    <a:lnTo>
                      <a:pt x="830" y="1380"/>
                    </a:lnTo>
                    <a:lnTo>
                      <a:pt x="830" y="1382"/>
                    </a:lnTo>
                    <a:lnTo>
                      <a:pt x="828" y="1384"/>
                    </a:lnTo>
                    <a:lnTo>
                      <a:pt x="828" y="1382"/>
                    </a:lnTo>
                    <a:lnTo>
                      <a:pt x="826" y="1384"/>
                    </a:lnTo>
                    <a:lnTo>
                      <a:pt x="826" y="1382"/>
                    </a:lnTo>
                    <a:lnTo>
                      <a:pt x="822" y="1380"/>
                    </a:lnTo>
                    <a:lnTo>
                      <a:pt x="822" y="1382"/>
                    </a:lnTo>
                    <a:lnTo>
                      <a:pt x="820" y="1384"/>
                    </a:lnTo>
                    <a:lnTo>
                      <a:pt x="820" y="1382"/>
                    </a:lnTo>
                    <a:lnTo>
                      <a:pt x="818" y="1382"/>
                    </a:lnTo>
                    <a:lnTo>
                      <a:pt x="820" y="1380"/>
                    </a:lnTo>
                    <a:lnTo>
                      <a:pt x="818" y="1380"/>
                    </a:lnTo>
                    <a:lnTo>
                      <a:pt x="818" y="1378"/>
                    </a:lnTo>
                    <a:lnTo>
                      <a:pt x="818" y="1376"/>
                    </a:lnTo>
                    <a:lnTo>
                      <a:pt x="820" y="1376"/>
                    </a:lnTo>
                    <a:lnTo>
                      <a:pt x="820" y="1378"/>
                    </a:lnTo>
                    <a:lnTo>
                      <a:pt x="820" y="1376"/>
                    </a:lnTo>
                    <a:lnTo>
                      <a:pt x="822" y="1376"/>
                    </a:lnTo>
                    <a:lnTo>
                      <a:pt x="822" y="1374"/>
                    </a:lnTo>
                    <a:lnTo>
                      <a:pt x="820" y="1374"/>
                    </a:lnTo>
                    <a:lnTo>
                      <a:pt x="820" y="1372"/>
                    </a:lnTo>
                    <a:lnTo>
                      <a:pt x="820" y="1370"/>
                    </a:lnTo>
                    <a:lnTo>
                      <a:pt x="820" y="1368"/>
                    </a:lnTo>
                    <a:lnTo>
                      <a:pt x="822" y="1368"/>
                    </a:lnTo>
                    <a:lnTo>
                      <a:pt x="822" y="1366"/>
                    </a:lnTo>
                    <a:lnTo>
                      <a:pt x="820" y="1366"/>
                    </a:lnTo>
                    <a:lnTo>
                      <a:pt x="818" y="1366"/>
                    </a:lnTo>
                    <a:lnTo>
                      <a:pt x="818" y="1364"/>
                    </a:lnTo>
                    <a:lnTo>
                      <a:pt x="818" y="1363"/>
                    </a:lnTo>
                    <a:lnTo>
                      <a:pt x="816" y="1361"/>
                    </a:lnTo>
                    <a:lnTo>
                      <a:pt x="818" y="1359"/>
                    </a:lnTo>
                    <a:lnTo>
                      <a:pt x="816" y="1359"/>
                    </a:lnTo>
                    <a:lnTo>
                      <a:pt x="818" y="1357"/>
                    </a:lnTo>
                    <a:lnTo>
                      <a:pt x="818" y="1355"/>
                    </a:lnTo>
                    <a:lnTo>
                      <a:pt x="816" y="1355"/>
                    </a:lnTo>
                    <a:lnTo>
                      <a:pt x="816" y="1353"/>
                    </a:lnTo>
                    <a:lnTo>
                      <a:pt x="815" y="1351"/>
                    </a:lnTo>
                    <a:lnTo>
                      <a:pt x="815" y="1349"/>
                    </a:lnTo>
                    <a:lnTo>
                      <a:pt x="813" y="1349"/>
                    </a:lnTo>
                    <a:lnTo>
                      <a:pt x="813" y="1351"/>
                    </a:lnTo>
                    <a:lnTo>
                      <a:pt x="809" y="1351"/>
                    </a:lnTo>
                    <a:lnTo>
                      <a:pt x="809" y="1353"/>
                    </a:lnTo>
                    <a:lnTo>
                      <a:pt x="807" y="1353"/>
                    </a:lnTo>
                    <a:lnTo>
                      <a:pt x="805" y="1355"/>
                    </a:lnTo>
                    <a:lnTo>
                      <a:pt x="803" y="1353"/>
                    </a:lnTo>
                    <a:lnTo>
                      <a:pt x="801" y="1353"/>
                    </a:lnTo>
                    <a:lnTo>
                      <a:pt x="799" y="1349"/>
                    </a:lnTo>
                    <a:lnTo>
                      <a:pt x="797" y="1349"/>
                    </a:lnTo>
                    <a:lnTo>
                      <a:pt x="794" y="1349"/>
                    </a:lnTo>
                    <a:lnTo>
                      <a:pt x="792" y="1347"/>
                    </a:lnTo>
                    <a:lnTo>
                      <a:pt x="792" y="1349"/>
                    </a:lnTo>
                    <a:lnTo>
                      <a:pt x="790" y="1349"/>
                    </a:lnTo>
                    <a:lnTo>
                      <a:pt x="788" y="1347"/>
                    </a:lnTo>
                    <a:lnTo>
                      <a:pt x="786" y="1345"/>
                    </a:lnTo>
                    <a:lnTo>
                      <a:pt x="784" y="1345"/>
                    </a:lnTo>
                    <a:lnTo>
                      <a:pt x="784" y="1347"/>
                    </a:lnTo>
                    <a:lnTo>
                      <a:pt x="786" y="1347"/>
                    </a:lnTo>
                    <a:lnTo>
                      <a:pt x="786" y="1349"/>
                    </a:lnTo>
                    <a:lnTo>
                      <a:pt x="782" y="1347"/>
                    </a:lnTo>
                    <a:lnTo>
                      <a:pt x="782" y="1349"/>
                    </a:lnTo>
                    <a:lnTo>
                      <a:pt x="780" y="1349"/>
                    </a:lnTo>
                    <a:lnTo>
                      <a:pt x="780" y="1351"/>
                    </a:lnTo>
                    <a:lnTo>
                      <a:pt x="780" y="1353"/>
                    </a:lnTo>
                    <a:lnTo>
                      <a:pt x="776" y="1353"/>
                    </a:lnTo>
                    <a:lnTo>
                      <a:pt x="774" y="1353"/>
                    </a:lnTo>
                    <a:lnTo>
                      <a:pt x="773" y="1353"/>
                    </a:lnTo>
                    <a:lnTo>
                      <a:pt x="773" y="1355"/>
                    </a:lnTo>
                    <a:lnTo>
                      <a:pt x="774" y="1355"/>
                    </a:lnTo>
                    <a:lnTo>
                      <a:pt x="774" y="1357"/>
                    </a:lnTo>
                    <a:lnTo>
                      <a:pt x="773" y="1359"/>
                    </a:lnTo>
                    <a:lnTo>
                      <a:pt x="774" y="1359"/>
                    </a:lnTo>
                    <a:lnTo>
                      <a:pt x="771" y="1359"/>
                    </a:lnTo>
                    <a:lnTo>
                      <a:pt x="769" y="1359"/>
                    </a:lnTo>
                    <a:lnTo>
                      <a:pt x="767" y="1359"/>
                    </a:lnTo>
                    <a:lnTo>
                      <a:pt x="767" y="1361"/>
                    </a:lnTo>
                    <a:lnTo>
                      <a:pt x="765" y="1363"/>
                    </a:lnTo>
                    <a:lnTo>
                      <a:pt x="763" y="1363"/>
                    </a:lnTo>
                    <a:lnTo>
                      <a:pt x="761" y="1363"/>
                    </a:lnTo>
                    <a:lnTo>
                      <a:pt x="759" y="1361"/>
                    </a:lnTo>
                    <a:lnTo>
                      <a:pt x="759" y="1363"/>
                    </a:lnTo>
                    <a:lnTo>
                      <a:pt x="755" y="1364"/>
                    </a:lnTo>
                    <a:lnTo>
                      <a:pt x="754" y="1364"/>
                    </a:lnTo>
                    <a:lnTo>
                      <a:pt x="750" y="1364"/>
                    </a:lnTo>
                    <a:lnTo>
                      <a:pt x="748" y="1364"/>
                    </a:lnTo>
                    <a:lnTo>
                      <a:pt x="746" y="1366"/>
                    </a:lnTo>
                    <a:lnTo>
                      <a:pt x="738" y="1368"/>
                    </a:lnTo>
                    <a:lnTo>
                      <a:pt x="738" y="1366"/>
                    </a:lnTo>
                    <a:lnTo>
                      <a:pt x="736" y="1366"/>
                    </a:lnTo>
                    <a:lnTo>
                      <a:pt x="734" y="1368"/>
                    </a:lnTo>
                    <a:lnTo>
                      <a:pt x="733" y="1368"/>
                    </a:lnTo>
                    <a:lnTo>
                      <a:pt x="731" y="1368"/>
                    </a:lnTo>
                    <a:lnTo>
                      <a:pt x="729" y="1368"/>
                    </a:lnTo>
                    <a:lnTo>
                      <a:pt x="731" y="1370"/>
                    </a:lnTo>
                    <a:lnTo>
                      <a:pt x="729" y="1370"/>
                    </a:lnTo>
                    <a:lnTo>
                      <a:pt x="725" y="1370"/>
                    </a:lnTo>
                    <a:lnTo>
                      <a:pt x="725" y="1372"/>
                    </a:lnTo>
                    <a:lnTo>
                      <a:pt x="725" y="1374"/>
                    </a:lnTo>
                    <a:lnTo>
                      <a:pt x="727" y="1376"/>
                    </a:lnTo>
                    <a:lnTo>
                      <a:pt x="725" y="1376"/>
                    </a:lnTo>
                    <a:lnTo>
                      <a:pt x="723" y="1376"/>
                    </a:lnTo>
                    <a:lnTo>
                      <a:pt x="721" y="1374"/>
                    </a:lnTo>
                    <a:lnTo>
                      <a:pt x="717" y="1376"/>
                    </a:lnTo>
                    <a:lnTo>
                      <a:pt x="715" y="1374"/>
                    </a:lnTo>
                    <a:lnTo>
                      <a:pt x="715" y="1376"/>
                    </a:lnTo>
                    <a:lnTo>
                      <a:pt x="713" y="1376"/>
                    </a:lnTo>
                    <a:lnTo>
                      <a:pt x="712" y="1376"/>
                    </a:lnTo>
                    <a:lnTo>
                      <a:pt x="710" y="1376"/>
                    </a:lnTo>
                    <a:lnTo>
                      <a:pt x="710" y="1378"/>
                    </a:lnTo>
                    <a:lnTo>
                      <a:pt x="708" y="1376"/>
                    </a:lnTo>
                    <a:lnTo>
                      <a:pt x="708" y="1378"/>
                    </a:lnTo>
                    <a:lnTo>
                      <a:pt x="706" y="1378"/>
                    </a:lnTo>
                    <a:lnTo>
                      <a:pt x="706" y="1380"/>
                    </a:lnTo>
                    <a:lnTo>
                      <a:pt x="704" y="1378"/>
                    </a:lnTo>
                    <a:lnTo>
                      <a:pt x="698" y="1380"/>
                    </a:lnTo>
                    <a:lnTo>
                      <a:pt x="692" y="1380"/>
                    </a:lnTo>
                    <a:lnTo>
                      <a:pt x="692" y="1382"/>
                    </a:lnTo>
                    <a:lnTo>
                      <a:pt x="692" y="1384"/>
                    </a:lnTo>
                    <a:lnTo>
                      <a:pt x="689" y="1382"/>
                    </a:lnTo>
                    <a:lnTo>
                      <a:pt x="685" y="1384"/>
                    </a:lnTo>
                    <a:lnTo>
                      <a:pt x="683" y="1384"/>
                    </a:lnTo>
                    <a:lnTo>
                      <a:pt x="685" y="1385"/>
                    </a:lnTo>
                    <a:lnTo>
                      <a:pt x="683" y="1387"/>
                    </a:lnTo>
                    <a:lnTo>
                      <a:pt x="681" y="1387"/>
                    </a:lnTo>
                    <a:lnTo>
                      <a:pt x="681" y="1385"/>
                    </a:lnTo>
                    <a:lnTo>
                      <a:pt x="683" y="1385"/>
                    </a:lnTo>
                    <a:lnTo>
                      <a:pt x="681" y="1384"/>
                    </a:lnTo>
                    <a:lnTo>
                      <a:pt x="677" y="1385"/>
                    </a:lnTo>
                    <a:lnTo>
                      <a:pt x="675" y="1384"/>
                    </a:lnTo>
                    <a:lnTo>
                      <a:pt x="675" y="1387"/>
                    </a:lnTo>
                    <a:lnTo>
                      <a:pt x="673" y="1387"/>
                    </a:lnTo>
                    <a:lnTo>
                      <a:pt x="672" y="1387"/>
                    </a:lnTo>
                    <a:lnTo>
                      <a:pt x="673" y="1385"/>
                    </a:lnTo>
                    <a:lnTo>
                      <a:pt x="672" y="1385"/>
                    </a:lnTo>
                    <a:lnTo>
                      <a:pt x="670" y="1385"/>
                    </a:lnTo>
                    <a:lnTo>
                      <a:pt x="668" y="1385"/>
                    </a:lnTo>
                    <a:lnTo>
                      <a:pt x="666" y="1385"/>
                    </a:lnTo>
                    <a:lnTo>
                      <a:pt x="666" y="1384"/>
                    </a:lnTo>
                    <a:lnTo>
                      <a:pt x="664" y="1384"/>
                    </a:lnTo>
                    <a:lnTo>
                      <a:pt x="662" y="1384"/>
                    </a:lnTo>
                    <a:lnTo>
                      <a:pt x="664" y="1387"/>
                    </a:lnTo>
                    <a:lnTo>
                      <a:pt x="662" y="1387"/>
                    </a:lnTo>
                    <a:lnTo>
                      <a:pt x="662" y="1385"/>
                    </a:lnTo>
                    <a:lnTo>
                      <a:pt x="660" y="1385"/>
                    </a:lnTo>
                    <a:lnTo>
                      <a:pt x="658" y="1387"/>
                    </a:lnTo>
                    <a:lnTo>
                      <a:pt x="660" y="1387"/>
                    </a:lnTo>
                    <a:lnTo>
                      <a:pt x="660" y="1389"/>
                    </a:lnTo>
                    <a:lnTo>
                      <a:pt x="660" y="1387"/>
                    </a:lnTo>
                    <a:lnTo>
                      <a:pt x="662" y="1389"/>
                    </a:lnTo>
                    <a:lnTo>
                      <a:pt x="662" y="1391"/>
                    </a:lnTo>
                    <a:lnTo>
                      <a:pt x="660" y="1393"/>
                    </a:lnTo>
                    <a:lnTo>
                      <a:pt x="660" y="1395"/>
                    </a:lnTo>
                    <a:lnTo>
                      <a:pt x="658" y="1395"/>
                    </a:lnTo>
                    <a:lnTo>
                      <a:pt x="656" y="1395"/>
                    </a:lnTo>
                    <a:lnTo>
                      <a:pt x="660" y="1395"/>
                    </a:lnTo>
                    <a:lnTo>
                      <a:pt x="660" y="1397"/>
                    </a:lnTo>
                    <a:lnTo>
                      <a:pt x="662" y="1397"/>
                    </a:lnTo>
                    <a:lnTo>
                      <a:pt x="664" y="1397"/>
                    </a:lnTo>
                    <a:lnTo>
                      <a:pt x="666" y="1397"/>
                    </a:lnTo>
                    <a:lnTo>
                      <a:pt x="668" y="1397"/>
                    </a:lnTo>
                    <a:lnTo>
                      <a:pt x="668" y="1399"/>
                    </a:lnTo>
                    <a:lnTo>
                      <a:pt x="666" y="1399"/>
                    </a:lnTo>
                    <a:lnTo>
                      <a:pt x="666" y="1401"/>
                    </a:lnTo>
                    <a:lnTo>
                      <a:pt x="664" y="1399"/>
                    </a:lnTo>
                    <a:lnTo>
                      <a:pt x="662" y="1399"/>
                    </a:lnTo>
                    <a:lnTo>
                      <a:pt x="662" y="1401"/>
                    </a:lnTo>
                    <a:lnTo>
                      <a:pt x="662" y="1403"/>
                    </a:lnTo>
                    <a:lnTo>
                      <a:pt x="662" y="1405"/>
                    </a:lnTo>
                    <a:lnTo>
                      <a:pt x="666" y="1405"/>
                    </a:lnTo>
                    <a:lnTo>
                      <a:pt x="668" y="1406"/>
                    </a:lnTo>
                    <a:lnTo>
                      <a:pt x="670" y="1406"/>
                    </a:lnTo>
                    <a:lnTo>
                      <a:pt x="670" y="1405"/>
                    </a:lnTo>
                    <a:lnTo>
                      <a:pt x="672" y="1408"/>
                    </a:lnTo>
                    <a:lnTo>
                      <a:pt x="673" y="1408"/>
                    </a:lnTo>
                    <a:lnTo>
                      <a:pt x="675" y="1408"/>
                    </a:lnTo>
                    <a:lnTo>
                      <a:pt x="677" y="1408"/>
                    </a:lnTo>
                    <a:lnTo>
                      <a:pt x="677" y="1410"/>
                    </a:lnTo>
                    <a:lnTo>
                      <a:pt x="677" y="1412"/>
                    </a:lnTo>
                    <a:lnTo>
                      <a:pt x="675" y="1414"/>
                    </a:lnTo>
                    <a:lnTo>
                      <a:pt x="673" y="1414"/>
                    </a:lnTo>
                    <a:lnTo>
                      <a:pt x="672" y="1412"/>
                    </a:lnTo>
                    <a:lnTo>
                      <a:pt x="670" y="1412"/>
                    </a:lnTo>
                    <a:lnTo>
                      <a:pt x="670" y="1414"/>
                    </a:lnTo>
                    <a:lnTo>
                      <a:pt x="668" y="1412"/>
                    </a:lnTo>
                    <a:lnTo>
                      <a:pt x="666" y="1412"/>
                    </a:lnTo>
                    <a:lnTo>
                      <a:pt x="664" y="1412"/>
                    </a:lnTo>
                    <a:lnTo>
                      <a:pt x="662" y="1412"/>
                    </a:lnTo>
                    <a:lnTo>
                      <a:pt x="660" y="1412"/>
                    </a:lnTo>
                    <a:lnTo>
                      <a:pt x="658" y="1412"/>
                    </a:lnTo>
                    <a:lnTo>
                      <a:pt x="660" y="1414"/>
                    </a:lnTo>
                    <a:lnTo>
                      <a:pt x="656" y="1416"/>
                    </a:lnTo>
                    <a:lnTo>
                      <a:pt x="656" y="1418"/>
                    </a:lnTo>
                    <a:lnTo>
                      <a:pt x="654" y="1418"/>
                    </a:lnTo>
                    <a:lnTo>
                      <a:pt x="654" y="1420"/>
                    </a:lnTo>
                    <a:lnTo>
                      <a:pt x="654" y="1422"/>
                    </a:lnTo>
                    <a:lnTo>
                      <a:pt x="656" y="1422"/>
                    </a:lnTo>
                    <a:lnTo>
                      <a:pt x="656" y="1426"/>
                    </a:lnTo>
                    <a:lnTo>
                      <a:pt x="658" y="1426"/>
                    </a:lnTo>
                    <a:lnTo>
                      <a:pt x="658" y="1427"/>
                    </a:lnTo>
                    <a:lnTo>
                      <a:pt x="660" y="1429"/>
                    </a:lnTo>
                    <a:lnTo>
                      <a:pt x="658" y="1429"/>
                    </a:lnTo>
                    <a:lnTo>
                      <a:pt x="658" y="1431"/>
                    </a:lnTo>
                    <a:lnTo>
                      <a:pt x="656" y="1433"/>
                    </a:lnTo>
                    <a:lnTo>
                      <a:pt x="654" y="1433"/>
                    </a:lnTo>
                    <a:lnTo>
                      <a:pt x="654" y="1435"/>
                    </a:lnTo>
                    <a:lnTo>
                      <a:pt x="651" y="1435"/>
                    </a:lnTo>
                    <a:lnTo>
                      <a:pt x="647" y="1439"/>
                    </a:lnTo>
                    <a:lnTo>
                      <a:pt x="645" y="1439"/>
                    </a:lnTo>
                    <a:lnTo>
                      <a:pt x="643" y="1439"/>
                    </a:lnTo>
                    <a:lnTo>
                      <a:pt x="645" y="1441"/>
                    </a:lnTo>
                    <a:lnTo>
                      <a:pt x="645" y="1443"/>
                    </a:lnTo>
                    <a:lnTo>
                      <a:pt x="645" y="1441"/>
                    </a:lnTo>
                    <a:lnTo>
                      <a:pt x="649" y="1443"/>
                    </a:lnTo>
                    <a:lnTo>
                      <a:pt x="651" y="1443"/>
                    </a:lnTo>
                    <a:lnTo>
                      <a:pt x="651" y="1445"/>
                    </a:lnTo>
                    <a:lnTo>
                      <a:pt x="649" y="1447"/>
                    </a:lnTo>
                    <a:lnTo>
                      <a:pt x="651" y="1448"/>
                    </a:lnTo>
                    <a:lnTo>
                      <a:pt x="658" y="1448"/>
                    </a:lnTo>
                    <a:lnTo>
                      <a:pt x="658" y="1450"/>
                    </a:lnTo>
                    <a:lnTo>
                      <a:pt x="658" y="1452"/>
                    </a:lnTo>
                    <a:lnTo>
                      <a:pt x="660" y="1452"/>
                    </a:lnTo>
                    <a:lnTo>
                      <a:pt x="662" y="1452"/>
                    </a:lnTo>
                    <a:lnTo>
                      <a:pt x="664" y="1452"/>
                    </a:lnTo>
                    <a:lnTo>
                      <a:pt x="664" y="1454"/>
                    </a:lnTo>
                    <a:lnTo>
                      <a:pt x="666" y="1454"/>
                    </a:lnTo>
                    <a:lnTo>
                      <a:pt x="668" y="1456"/>
                    </a:lnTo>
                    <a:lnTo>
                      <a:pt x="670" y="1458"/>
                    </a:lnTo>
                    <a:lnTo>
                      <a:pt x="668" y="1458"/>
                    </a:lnTo>
                    <a:lnTo>
                      <a:pt x="666" y="1469"/>
                    </a:lnTo>
                    <a:lnTo>
                      <a:pt x="656" y="1473"/>
                    </a:lnTo>
                    <a:lnTo>
                      <a:pt x="649" y="1471"/>
                    </a:lnTo>
                    <a:lnTo>
                      <a:pt x="645" y="1469"/>
                    </a:lnTo>
                    <a:lnTo>
                      <a:pt x="645" y="1468"/>
                    </a:lnTo>
                    <a:lnTo>
                      <a:pt x="643" y="1468"/>
                    </a:lnTo>
                    <a:lnTo>
                      <a:pt x="643" y="1469"/>
                    </a:lnTo>
                    <a:lnTo>
                      <a:pt x="643" y="1471"/>
                    </a:lnTo>
                    <a:lnTo>
                      <a:pt x="641" y="1473"/>
                    </a:lnTo>
                    <a:lnTo>
                      <a:pt x="639" y="1475"/>
                    </a:lnTo>
                    <a:lnTo>
                      <a:pt x="637" y="1475"/>
                    </a:lnTo>
                    <a:lnTo>
                      <a:pt x="635" y="1477"/>
                    </a:lnTo>
                    <a:lnTo>
                      <a:pt x="635" y="1475"/>
                    </a:lnTo>
                    <a:lnTo>
                      <a:pt x="633" y="1475"/>
                    </a:lnTo>
                    <a:lnTo>
                      <a:pt x="635" y="1475"/>
                    </a:lnTo>
                    <a:lnTo>
                      <a:pt x="635" y="1473"/>
                    </a:lnTo>
                    <a:lnTo>
                      <a:pt x="631" y="1473"/>
                    </a:lnTo>
                    <a:lnTo>
                      <a:pt x="630" y="1471"/>
                    </a:lnTo>
                    <a:lnTo>
                      <a:pt x="626" y="1471"/>
                    </a:lnTo>
                    <a:lnTo>
                      <a:pt x="624" y="1469"/>
                    </a:lnTo>
                    <a:lnTo>
                      <a:pt x="622" y="1469"/>
                    </a:lnTo>
                    <a:lnTo>
                      <a:pt x="622" y="1468"/>
                    </a:lnTo>
                    <a:lnTo>
                      <a:pt x="620" y="1468"/>
                    </a:lnTo>
                    <a:lnTo>
                      <a:pt x="620" y="1464"/>
                    </a:lnTo>
                    <a:lnTo>
                      <a:pt x="622" y="1464"/>
                    </a:lnTo>
                    <a:lnTo>
                      <a:pt x="620" y="1462"/>
                    </a:lnTo>
                    <a:lnTo>
                      <a:pt x="616" y="1462"/>
                    </a:lnTo>
                    <a:lnTo>
                      <a:pt x="616" y="1460"/>
                    </a:lnTo>
                    <a:lnTo>
                      <a:pt x="614" y="1460"/>
                    </a:lnTo>
                    <a:lnTo>
                      <a:pt x="614" y="1462"/>
                    </a:lnTo>
                    <a:lnTo>
                      <a:pt x="612" y="1462"/>
                    </a:lnTo>
                    <a:lnTo>
                      <a:pt x="610" y="1462"/>
                    </a:lnTo>
                    <a:lnTo>
                      <a:pt x="609" y="1462"/>
                    </a:lnTo>
                    <a:lnTo>
                      <a:pt x="609" y="1460"/>
                    </a:lnTo>
                    <a:lnTo>
                      <a:pt x="607" y="1460"/>
                    </a:lnTo>
                    <a:lnTo>
                      <a:pt x="607" y="1462"/>
                    </a:lnTo>
                    <a:lnTo>
                      <a:pt x="607" y="1466"/>
                    </a:lnTo>
                    <a:lnTo>
                      <a:pt x="605" y="1466"/>
                    </a:lnTo>
                    <a:lnTo>
                      <a:pt x="603" y="1466"/>
                    </a:lnTo>
                    <a:lnTo>
                      <a:pt x="603" y="1468"/>
                    </a:lnTo>
                    <a:lnTo>
                      <a:pt x="601" y="1468"/>
                    </a:lnTo>
                    <a:lnTo>
                      <a:pt x="601" y="1466"/>
                    </a:lnTo>
                    <a:lnTo>
                      <a:pt x="599" y="1464"/>
                    </a:lnTo>
                    <a:lnTo>
                      <a:pt x="599" y="1462"/>
                    </a:lnTo>
                    <a:lnTo>
                      <a:pt x="597" y="1462"/>
                    </a:lnTo>
                    <a:lnTo>
                      <a:pt x="595" y="1462"/>
                    </a:lnTo>
                    <a:lnTo>
                      <a:pt x="593" y="1462"/>
                    </a:lnTo>
                    <a:lnTo>
                      <a:pt x="591" y="1462"/>
                    </a:lnTo>
                    <a:lnTo>
                      <a:pt x="590" y="1462"/>
                    </a:lnTo>
                    <a:lnTo>
                      <a:pt x="591" y="1464"/>
                    </a:lnTo>
                    <a:lnTo>
                      <a:pt x="590" y="1464"/>
                    </a:lnTo>
                    <a:lnTo>
                      <a:pt x="588" y="1462"/>
                    </a:lnTo>
                    <a:lnTo>
                      <a:pt x="586" y="1462"/>
                    </a:lnTo>
                    <a:lnTo>
                      <a:pt x="586" y="1466"/>
                    </a:lnTo>
                    <a:lnTo>
                      <a:pt x="584" y="1466"/>
                    </a:lnTo>
                    <a:lnTo>
                      <a:pt x="582" y="1466"/>
                    </a:lnTo>
                    <a:lnTo>
                      <a:pt x="582" y="1469"/>
                    </a:lnTo>
                    <a:lnTo>
                      <a:pt x="580" y="1471"/>
                    </a:lnTo>
                    <a:lnTo>
                      <a:pt x="578" y="1473"/>
                    </a:lnTo>
                    <a:lnTo>
                      <a:pt x="576" y="1473"/>
                    </a:lnTo>
                    <a:lnTo>
                      <a:pt x="574" y="1475"/>
                    </a:lnTo>
                    <a:lnTo>
                      <a:pt x="572" y="1473"/>
                    </a:lnTo>
                    <a:lnTo>
                      <a:pt x="570" y="1471"/>
                    </a:lnTo>
                    <a:lnTo>
                      <a:pt x="570" y="1473"/>
                    </a:lnTo>
                    <a:lnTo>
                      <a:pt x="570" y="1471"/>
                    </a:lnTo>
                    <a:lnTo>
                      <a:pt x="569" y="1473"/>
                    </a:lnTo>
                    <a:lnTo>
                      <a:pt x="569" y="1471"/>
                    </a:lnTo>
                    <a:lnTo>
                      <a:pt x="565" y="1469"/>
                    </a:lnTo>
                    <a:lnTo>
                      <a:pt x="565" y="1468"/>
                    </a:lnTo>
                    <a:lnTo>
                      <a:pt x="565" y="1466"/>
                    </a:lnTo>
                    <a:lnTo>
                      <a:pt x="563" y="1466"/>
                    </a:lnTo>
                    <a:lnTo>
                      <a:pt x="561" y="1466"/>
                    </a:lnTo>
                    <a:lnTo>
                      <a:pt x="559" y="1464"/>
                    </a:lnTo>
                    <a:lnTo>
                      <a:pt x="557" y="1464"/>
                    </a:lnTo>
                    <a:lnTo>
                      <a:pt x="555" y="1464"/>
                    </a:lnTo>
                    <a:lnTo>
                      <a:pt x="557" y="1466"/>
                    </a:lnTo>
                    <a:lnTo>
                      <a:pt x="555" y="1466"/>
                    </a:lnTo>
                    <a:lnTo>
                      <a:pt x="557" y="1466"/>
                    </a:lnTo>
                    <a:lnTo>
                      <a:pt x="559" y="1468"/>
                    </a:lnTo>
                    <a:lnTo>
                      <a:pt x="557" y="1469"/>
                    </a:lnTo>
                    <a:lnTo>
                      <a:pt x="559" y="1473"/>
                    </a:lnTo>
                    <a:lnTo>
                      <a:pt x="557" y="1475"/>
                    </a:lnTo>
                    <a:lnTo>
                      <a:pt x="555" y="1475"/>
                    </a:lnTo>
                    <a:lnTo>
                      <a:pt x="553" y="1473"/>
                    </a:lnTo>
                    <a:lnTo>
                      <a:pt x="555" y="1471"/>
                    </a:lnTo>
                    <a:lnTo>
                      <a:pt x="555" y="1469"/>
                    </a:lnTo>
                    <a:lnTo>
                      <a:pt x="555" y="1468"/>
                    </a:lnTo>
                    <a:lnTo>
                      <a:pt x="551" y="1466"/>
                    </a:lnTo>
                    <a:lnTo>
                      <a:pt x="549" y="1466"/>
                    </a:lnTo>
                    <a:lnTo>
                      <a:pt x="551" y="1464"/>
                    </a:lnTo>
                    <a:lnTo>
                      <a:pt x="549" y="1464"/>
                    </a:lnTo>
                    <a:lnTo>
                      <a:pt x="549" y="1462"/>
                    </a:lnTo>
                    <a:lnTo>
                      <a:pt x="548" y="1460"/>
                    </a:lnTo>
                    <a:lnTo>
                      <a:pt x="546" y="1458"/>
                    </a:lnTo>
                    <a:lnTo>
                      <a:pt x="546" y="1460"/>
                    </a:lnTo>
                    <a:lnTo>
                      <a:pt x="544" y="1460"/>
                    </a:lnTo>
                    <a:lnTo>
                      <a:pt x="544" y="1458"/>
                    </a:lnTo>
                    <a:lnTo>
                      <a:pt x="542" y="1458"/>
                    </a:lnTo>
                    <a:lnTo>
                      <a:pt x="542" y="1456"/>
                    </a:lnTo>
                    <a:lnTo>
                      <a:pt x="542" y="1458"/>
                    </a:lnTo>
                    <a:lnTo>
                      <a:pt x="540" y="1456"/>
                    </a:lnTo>
                    <a:lnTo>
                      <a:pt x="542" y="1456"/>
                    </a:lnTo>
                    <a:lnTo>
                      <a:pt x="540" y="1454"/>
                    </a:lnTo>
                    <a:lnTo>
                      <a:pt x="542" y="1454"/>
                    </a:lnTo>
                    <a:lnTo>
                      <a:pt x="540" y="1454"/>
                    </a:lnTo>
                    <a:lnTo>
                      <a:pt x="540" y="1452"/>
                    </a:lnTo>
                    <a:lnTo>
                      <a:pt x="538" y="1452"/>
                    </a:lnTo>
                    <a:lnTo>
                      <a:pt x="536" y="1450"/>
                    </a:lnTo>
                    <a:lnTo>
                      <a:pt x="536" y="1452"/>
                    </a:lnTo>
                    <a:lnTo>
                      <a:pt x="536" y="1450"/>
                    </a:lnTo>
                    <a:lnTo>
                      <a:pt x="534" y="1450"/>
                    </a:lnTo>
                    <a:lnTo>
                      <a:pt x="534" y="1452"/>
                    </a:lnTo>
                    <a:lnTo>
                      <a:pt x="532" y="1452"/>
                    </a:lnTo>
                    <a:lnTo>
                      <a:pt x="532" y="1450"/>
                    </a:lnTo>
                    <a:lnTo>
                      <a:pt x="532" y="1452"/>
                    </a:lnTo>
                    <a:lnTo>
                      <a:pt x="530" y="1452"/>
                    </a:lnTo>
                    <a:lnTo>
                      <a:pt x="530" y="1450"/>
                    </a:lnTo>
                    <a:lnTo>
                      <a:pt x="528" y="1452"/>
                    </a:lnTo>
                    <a:lnTo>
                      <a:pt x="528" y="1450"/>
                    </a:lnTo>
                    <a:lnTo>
                      <a:pt x="528" y="1452"/>
                    </a:lnTo>
                    <a:lnTo>
                      <a:pt x="528" y="1450"/>
                    </a:lnTo>
                    <a:lnTo>
                      <a:pt x="528" y="1452"/>
                    </a:lnTo>
                    <a:lnTo>
                      <a:pt x="528" y="1450"/>
                    </a:lnTo>
                    <a:lnTo>
                      <a:pt x="528" y="1452"/>
                    </a:lnTo>
                    <a:lnTo>
                      <a:pt x="527" y="1450"/>
                    </a:lnTo>
                    <a:lnTo>
                      <a:pt x="527" y="1452"/>
                    </a:lnTo>
                    <a:lnTo>
                      <a:pt x="525" y="1452"/>
                    </a:lnTo>
                    <a:lnTo>
                      <a:pt x="523" y="1450"/>
                    </a:lnTo>
                    <a:lnTo>
                      <a:pt x="521" y="1447"/>
                    </a:lnTo>
                    <a:lnTo>
                      <a:pt x="521" y="1445"/>
                    </a:lnTo>
                    <a:lnTo>
                      <a:pt x="519" y="1445"/>
                    </a:lnTo>
                    <a:lnTo>
                      <a:pt x="519" y="1447"/>
                    </a:lnTo>
                    <a:lnTo>
                      <a:pt x="517" y="1447"/>
                    </a:lnTo>
                    <a:lnTo>
                      <a:pt x="515" y="1447"/>
                    </a:lnTo>
                    <a:lnTo>
                      <a:pt x="513" y="1447"/>
                    </a:lnTo>
                    <a:lnTo>
                      <a:pt x="511" y="1448"/>
                    </a:lnTo>
                    <a:lnTo>
                      <a:pt x="513" y="1452"/>
                    </a:lnTo>
                    <a:lnTo>
                      <a:pt x="511" y="1452"/>
                    </a:lnTo>
                    <a:lnTo>
                      <a:pt x="509" y="1452"/>
                    </a:lnTo>
                    <a:lnTo>
                      <a:pt x="509" y="1450"/>
                    </a:lnTo>
                    <a:lnTo>
                      <a:pt x="508" y="1450"/>
                    </a:lnTo>
                    <a:lnTo>
                      <a:pt x="509" y="1450"/>
                    </a:lnTo>
                    <a:lnTo>
                      <a:pt x="506" y="1452"/>
                    </a:lnTo>
                    <a:lnTo>
                      <a:pt x="504" y="1452"/>
                    </a:lnTo>
                    <a:lnTo>
                      <a:pt x="504" y="1450"/>
                    </a:lnTo>
                    <a:lnTo>
                      <a:pt x="506" y="1450"/>
                    </a:lnTo>
                    <a:lnTo>
                      <a:pt x="506" y="1448"/>
                    </a:lnTo>
                    <a:lnTo>
                      <a:pt x="504" y="1448"/>
                    </a:lnTo>
                    <a:lnTo>
                      <a:pt x="504" y="1447"/>
                    </a:lnTo>
                    <a:lnTo>
                      <a:pt x="502" y="1447"/>
                    </a:lnTo>
                    <a:lnTo>
                      <a:pt x="500" y="1447"/>
                    </a:lnTo>
                    <a:lnTo>
                      <a:pt x="498" y="1447"/>
                    </a:lnTo>
                    <a:lnTo>
                      <a:pt x="498" y="1445"/>
                    </a:lnTo>
                    <a:lnTo>
                      <a:pt x="496" y="1445"/>
                    </a:lnTo>
                    <a:lnTo>
                      <a:pt x="496" y="1447"/>
                    </a:lnTo>
                    <a:lnTo>
                      <a:pt x="496" y="1448"/>
                    </a:lnTo>
                    <a:lnTo>
                      <a:pt x="494" y="1448"/>
                    </a:lnTo>
                    <a:lnTo>
                      <a:pt x="496" y="1448"/>
                    </a:lnTo>
                    <a:lnTo>
                      <a:pt x="494" y="1448"/>
                    </a:lnTo>
                    <a:lnTo>
                      <a:pt x="492" y="1448"/>
                    </a:lnTo>
                    <a:lnTo>
                      <a:pt x="492" y="1450"/>
                    </a:lnTo>
                    <a:lnTo>
                      <a:pt x="492" y="1452"/>
                    </a:lnTo>
                    <a:lnTo>
                      <a:pt x="490" y="1452"/>
                    </a:lnTo>
                    <a:lnTo>
                      <a:pt x="490" y="1454"/>
                    </a:lnTo>
                    <a:lnTo>
                      <a:pt x="488" y="1454"/>
                    </a:lnTo>
                    <a:lnTo>
                      <a:pt x="490" y="1456"/>
                    </a:lnTo>
                    <a:lnTo>
                      <a:pt x="487" y="1456"/>
                    </a:lnTo>
                    <a:lnTo>
                      <a:pt x="485" y="1458"/>
                    </a:lnTo>
                    <a:lnTo>
                      <a:pt x="483" y="1458"/>
                    </a:lnTo>
                    <a:lnTo>
                      <a:pt x="481" y="1462"/>
                    </a:lnTo>
                    <a:lnTo>
                      <a:pt x="475" y="1462"/>
                    </a:lnTo>
                    <a:lnTo>
                      <a:pt x="475" y="1460"/>
                    </a:lnTo>
                    <a:lnTo>
                      <a:pt x="475" y="1462"/>
                    </a:lnTo>
                    <a:lnTo>
                      <a:pt x="473" y="1462"/>
                    </a:lnTo>
                    <a:lnTo>
                      <a:pt x="473" y="1464"/>
                    </a:lnTo>
                    <a:lnTo>
                      <a:pt x="475" y="1466"/>
                    </a:lnTo>
                    <a:lnTo>
                      <a:pt x="475" y="1468"/>
                    </a:lnTo>
                    <a:lnTo>
                      <a:pt x="469" y="1469"/>
                    </a:lnTo>
                    <a:lnTo>
                      <a:pt x="467" y="1473"/>
                    </a:lnTo>
                    <a:lnTo>
                      <a:pt x="466" y="1473"/>
                    </a:lnTo>
                    <a:lnTo>
                      <a:pt x="464" y="1473"/>
                    </a:lnTo>
                    <a:lnTo>
                      <a:pt x="462" y="1473"/>
                    </a:lnTo>
                    <a:lnTo>
                      <a:pt x="462" y="1475"/>
                    </a:lnTo>
                    <a:lnTo>
                      <a:pt x="464" y="1483"/>
                    </a:lnTo>
                    <a:lnTo>
                      <a:pt x="466" y="1485"/>
                    </a:lnTo>
                    <a:lnTo>
                      <a:pt x="464" y="1487"/>
                    </a:lnTo>
                    <a:lnTo>
                      <a:pt x="466" y="1487"/>
                    </a:lnTo>
                    <a:lnTo>
                      <a:pt x="466" y="1489"/>
                    </a:lnTo>
                    <a:lnTo>
                      <a:pt x="464" y="1490"/>
                    </a:lnTo>
                    <a:lnTo>
                      <a:pt x="460" y="1492"/>
                    </a:lnTo>
                    <a:lnTo>
                      <a:pt x="458" y="1494"/>
                    </a:lnTo>
                    <a:lnTo>
                      <a:pt x="458" y="1492"/>
                    </a:lnTo>
                    <a:lnTo>
                      <a:pt x="456" y="1492"/>
                    </a:lnTo>
                    <a:lnTo>
                      <a:pt x="454" y="1489"/>
                    </a:lnTo>
                    <a:lnTo>
                      <a:pt x="454" y="1487"/>
                    </a:lnTo>
                    <a:lnTo>
                      <a:pt x="452" y="1485"/>
                    </a:lnTo>
                    <a:lnTo>
                      <a:pt x="450" y="1483"/>
                    </a:lnTo>
                    <a:lnTo>
                      <a:pt x="448" y="1481"/>
                    </a:lnTo>
                    <a:lnTo>
                      <a:pt x="448" y="1479"/>
                    </a:lnTo>
                    <a:lnTo>
                      <a:pt x="446" y="1479"/>
                    </a:lnTo>
                    <a:lnTo>
                      <a:pt x="446" y="1477"/>
                    </a:lnTo>
                    <a:lnTo>
                      <a:pt x="445" y="1477"/>
                    </a:lnTo>
                    <a:lnTo>
                      <a:pt x="443" y="1479"/>
                    </a:lnTo>
                    <a:lnTo>
                      <a:pt x="443" y="1481"/>
                    </a:lnTo>
                    <a:lnTo>
                      <a:pt x="441" y="1481"/>
                    </a:lnTo>
                    <a:lnTo>
                      <a:pt x="441" y="1483"/>
                    </a:lnTo>
                    <a:lnTo>
                      <a:pt x="441" y="1485"/>
                    </a:lnTo>
                    <a:lnTo>
                      <a:pt x="441" y="1487"/>
                    </a:lnTo>
                    <a:lnTo>
                      <a:pt x="439" y="1490"/>
                    </a:lnTo>
                    <a:lnTo>
                      <a:pt x="435" y="1492"/>
                    </a:lnTo>
                    <a:lnTo>
                      <a:pt x="433" y="1506"/>
                    </a:lnTo>
                    <a:lnTo>
                      <a:pt x="437" y="1508"/>
                    </a:lnTo>
                    <a:lnTo>
                      <a:pt x="437" y="1509"/>
                    </a:lnTo>
                    <a:lnTo>
                      <a:pt x="437" y="1511"/>
                    </a:lnTo>
                    <a:lnTo>
                      <a:pt x="435" y="1513"/>
                    </a:lnTo>
                    <a:lnTo>
                      <a:pt x="433" y="1515"/>
                    </a:lnTo>
                    <a:lnTo>
                      <a:pt x="427" y="1527"/>
                    </a:lnTo>
                    <a:lnTo>
                      <a:pt x="439" y="1530"/>
                    </a:lnTo>
                    <a:lnTo>
                      <a:pt x="437" y="1532"/>
                    </a:lnTo>
                    <a:lnTo>
                      <a:pt x="439" y="1534"/>
                    </a:lnTo>
                    <a:lnTo>
                      <a:pt x="437" y="1534"/>
                    </a:lnTo>
                    <a:lnTo>
                      <a:pt x="439" y="1536"/>
                    </a:lnTo>
                    <a:lnTo>
                      <a:pt x="437" y="1538"/>
                    </a:lnTo>
                    <a:lnTo>
                      <a:pt x="437" y="1540"/>
                    </a:lnTo>
                    <a:lnTo>
                      <a:pt x="439" y="1540"/>
                    </a:lnTo>
                    <a:lnTo>
                      <a:pt x="439" y="1542"/>
                    </a:lnTo>
                    <a:lnTo>
                      <a:pt x="441" y="1544"/>
                    </a:lnTo>
                    <a:lnTo>
                      <a:pt x="443" y="1544"/>
                    </a:lnTo>
                    <a:lnTo>
                      <a:pt x="443" y="1542"/>
                    </a:lnTo>
                    <a:lnTo>
                      <a:pt x="445" y="1542"/>
                    </a:lnTo>
                    <a:lnTo>
                      <a:pt x="446" y="1544"/>
                    </a:lnTo>
                    <a:lnTo>
                      <a:pt x="452" y="1544"/>
                    </a:lnTo>
                    <a:lnTo>
                      <a:pt x="456" y="1544"/>
                    </a:lnTo>
                    <a:lnTo>
                      <a:pt x="460" y="1551"/>
                    </a:lnTo>
                    <a:lnTo>
                      <a:pt x="464" y="1559"/>
                    </a:lnTo>
                    <a:lnTo>
                      <a:pt x="467" y="1565"/>
                    </a:lnTo>
                    <a:lnTo>
                      <a:pt x="467" y="1567"/>
                    </a:lnTo>
                    <a:lnTo>
                      <a:pt x="466" y="1569"/>
                    </a:lnTo>
                    <a:lnTo>
                      <a:pt x="464" y="1569"/>
                    </a:lnTo>
                    <a:lnTo>
                      <a:pt x="464" y="1567"/>
                    </a:lnTo>
                    <a:lnTo>
                      <a:pt x="462" y="1567"/>
                    </a:lnTo>
                    <a:lnTo>
                      <a:pt x="460" y="1567"/>
                    </a:lnTo>
                    <a:lnTo>
                      <a:pt x="460" y="1569"/>
                    </a:lnTo>
                    <a:lnTo>
                      <a:pt x="460" y="1571"/>
                    </a:lnTo>
                    <a:lnTo>
                      <a:pt x="462" y="1571"/>
                    </a:lnTo>
                    <a:lnTo>
                      <a:pt x="460" y="1571"/>
                    </a:lnTo>
                    <a:lnTo>
                      <a:pt x="464" y="1572"/>
                    </a:lnTo>
                    <a:lnTo>
                      <a:pt x="466" y="1572"/>
                    </a:lnTo>
                    <a:lnTo>
                      <a:pt x="467" y="1574"/>
                    </a:lnTo>
                    <a:lnTo>
                      <a:pt x="469" y="1576"/>
                    </a:lnTo>
                    <a:lnTo>
                      <a:pt x="469" y="1578"/>
                    </a:lnTo>
                    <a:lnTo>
                      <a:pt x="467" y="1580"/>
                    </a:lnTo>
                    <a:lnTo>
                      <a:pt x="467" y="1582"/>
                    </a:lnTo>
                    <a:lnTo>
                      <a:pt x="466" y="1582"/>
                    </a:lnTo>
                    <a:lnTo>
                      <a:pt x="467" y="1582"/>
                    </a:lnTo>
                    <a:lnTo>
                      <a:pt x="466" y="1582"/>
                    </a:lnTo>
                    <a:lnTo>
                      <a:pt x="466" y="1584"/>
                    </a:lnTo>
                    <a:lnTo>
                      <a:pt x="466" y="1586"/>
                    </a:lnTo>
                    <a:lnTo>
                      <a:pt x="464" y="1586"/>
                    </a:lnTo>
                    <a:lnTo>
                      <a:pt x="464" y="1584"/>
                    </a:lnTo>
                    <a:lnTo>
                      <a:pt x="462" y="1586"/>
                    </a:lnTo>
                    <a:lnTo>
                      <a:pt x="464" y="1586"/>
                    </a:lnTo>
                    <a:lnTo>
                      <a:pt x="464" y="1588"/>
                    </a:lnTo>
                    <a:lnTo>
                      <a:pt x="462" y="1588"/>
                    </a:lnTo>
                    <a:lnTo>
                      <a:pt x="464" y="1588"/>
                    </a:lnTo>
                    <a:lnTo>
                      <a:pt x="462" y="1588"/>
                    </a:lnTo>
                    <a:lnTo>
                      <a:pt x="462" y="1586"/>
                    </a:lnTo>
                    <a:lnTo>
                      <a:pt x="460" y="1586"/>
                    </a:lnTo>
                    <a:lnTo>
                      <a:pt x="458" y="1588"/>
                    </a:lnTo>
                    <a:lnTo>
                      <a:pt x="458" y="1590"/>
                    </a:lnTo>
                    <a:lnTo>
                      <a:pt x="458" y="1592"/>
                    </a:lnTo>
                    <a:lnTo>
                      <a:pt x="458" y="1590"/>
                    </a:lnTo>
                    <a:lnTo>
                      <a:pt x="460" y="1592"/>
                    </a:lnTo>
                    <a:lnTo>
                      <a:pt x="458" y="1592"/>
                    </a:lnTo>
                    <a:lnTo>
                      <a:pt x="458" y="1590"/>
                    </a:lnTo>
                    <a:lnTo>
                      <a:pt x="458" y="1592"/>
                    </a:lnTo>
                    <a:lnTo>
                      <a:pt x="456" y="1590"/>
                    </a:lnTo>
                    <a:lnTo>
                      <a:pt x="458" y="1590"/>
                    </a:lnTo>
                    <a:lnTo>
                      <a:pt x="456" y="1590"/>
                    </a:lnTo>
                    <a:lnTo>
                      <a:pt x="456" y="1592"/>
                    </a:lnTo>
                    <a:lnTo>
                      <a:pt x="454" y="1590"/>
                    </a:lnTo>
                    <a:lnTo>
                      <a:pt x="456" y="1592"/>
                    </a:lnTo>
                    <a:lnTo>
                      <a:pt x="454" y="1590"/>
                    </a:lnTo>
                    <a:lnTo>
                      <a:pt x="454" y="1592"/>
                    </a:lnTo>
                    <a:lnTo>
                      <a:pt x="454" y="1590"/>
                    </a:lnTo>
                    <a:lnTo>
                      <a:pt x="452" y="1590"/>
                    </a:lnTo>
                    <a:lnTo>
                      <a:pt x="452" y="1592"/>
                    </a:lnTo>
                    <a:lnTo>
                      <a:pt x="452" y="1590"/>
                    </a:lnTo>
                    <a:lnTo>
                      <a:pt x="450" y="1592"/>
                    </a:lnTo>
                    <a:lnTo>
                      <a:pt x="450" y="1590"/>
                    </a:lnTo>
                    <a:lnTo>
                      <a:pt x="448" y="1593"/>
                    </a:lnTo>
                    <a:lnTo>
                      <a:pt x="450" y="1593"/>
                    </a:lnTo>
                    <a:lnTo>
                      <a:pt x="450" y="1595"/>
                    </a:lnTo>
                    <a:lnTo>
                      <a:pt x="448" y="1593"/>
                    </a:lnTo>
                    <a:lnTo>
                      <a:pt x="448" y="1592"/>
                    </a:lnTo>
                    <a:lnTo>
                      <a:pt x="448" y="1593"/>
                    </a:lnTo>
                    <a:lnTo>
                      <a:pt x="446" y="1592"/>
                    </a:lnTo>
                    <a:lnTo>
                      <a:pt x="448" y="1597"/>
                    </a:lnTo>
                    <a:lnTo>
                      <a:pt x="446" y="1593"/>
                    </a:lnTo>
                    <a:lnTo>
                      <a:pt x="445" y="1592"/>
                    </a:lnTo>
                    <a:lnTo>
                      <a:pt x="446" y="1593"/>
                    </a:lnTo>
                    <a:lnTo>
                      <a:pt x="446" y="1595"/>
                    </a:lnTo>
                    <a:lnTo>
                      <a:pt x="445" y="1595"/>
                    </a:lnTo>
                    <a:lnTo>
                      <a:pt x="446" y="1597"/>
                    </a:lnTo>
                    <a:lnTo>
                      <a:pt x="445" y="1597"/>
                    </a:lnTo>
                    <a:lnTo>
                      <a:pt x="445" y="1599"/>
                    </a:lnTo>
                    <a:lnTo>
                      <a:pt x="443" y="1599"/>
                    </a:lnTo>
                    <a:lnTo>
                      <a:pt x="443" y="1603"/>
                    </a:lnTo>
                    <a:lnTo>
                      <a:pt x="443" y="1605"/>
                    </a:lnTo>
                    <a:lnTo>
                      <a:pt x="443" y="1603"/>
                    </a:lnTo>
                    <a:lnTo>
                      <a:pt x="443" y="1605"/>
                    </a:lnTo>
                    <a:lnTo>
                      <a:pt x="441" y="1605"/>
                    </a:lnTo>
                    <a:lnTo>
                      <a:pt x="441" y="1607"/>
                    </a:lnTo>
                    <a:lnTo>
                      <a:pt x="441" y="1611"/>
                    </a:lnTo>
                    <a:lnTo>
                      <a:pt x="439" y="1613"/>
                    </a:lnTo>
                    <a:lnTo>
                      <a:pt x="437" y="1611"/>
                    </a:lnTo>
                    <a:lnTo>
                      <a:pt x="437" y="1613"/>
                    </a:lnTo>
                    <a:lnTo>
                      <a:pt x="435" y="1613"/>
                    </a:lnTo>
                    <a:lnTo>
                      <a:pt x="435" y="1614"/>
                    </a:lnTo>
                    <a:lnTo>
                      <a:pt x="433" y="1614"/>
                    </a:lnTo>
                    <a:lnTo>
                      <a:pt x="433" y="1616"/>
                    </a:lnTo>
                    <a:lnTo>
                      <a:pt x="433" y="1618"/>
                    </a:lnTo>
                    <a:lnTo>
                      <a:pt x="433" y="1616"/>
                    </a:lnTo>
                    <a:lnTo>
                      <a:pt x="431" y="1618"/>
                    </a:lnTo>
                    <a:lnTo>
                      <a:pt x="431" y="1620"/>
                    </a:lnTo>
                    <a:lnTo>
                      <a:pt x="433" y="1620"/>
                    </a:lnTo>
                    <a:lnTo>
                      <a:pt x="435" y="1620"/>
                    </a:lnTo>
                    <a:lnTo>
                      <a:pt x="437" y="1622"/>
                    </a:lnTo>
                    <a:lnTo>
                      <a:pt x="437" y="1624"/>
                    </a:lnTo>
                    <a:lnTo>
                      <a:pt x="439" y="1624"/>
                    </a:lnTo>
                    <a:lnTo>
                      <a:pt x="441" y="1628"/>
                    </a:lnTo>
                    <a:lnTo>
                      <a:pt x="443" y="1630"/>
                    </a:lnTo>
                    <a:lnTo>
                      <a:pt x="443" y="1632"/>
                    </a:lnTo>
                    <a:lnTo>
                      <a:pt x="443" y="1634"/>
                    </a:lnTo>
                    <a:lnTo>
                      <a:pt x="445" y="1634"/>
                    </a:lnTo>
                    <a:lnTo>
                      <a:pt x="443" y="1635"/>
                    </a:lnTo>
                    <a:lnTo>
                      <a:pt x="445" y="1635"/>
                    </a:lnTo>
                    <a:lnTo>
                      <a:pt x="445" y="1637"/>
                    </a:lnTo>
                    <a:lnTo>
                      <a:pt x="445" y="1632"/>
                    </a:lnTo>
                    <a:lnTo>
                      <a:pt x="446" y="1632"/>
                    </a:lnTo>
                    <a:lnTo>
                      <a:pt x="448" y="1632"/>
                    </a:lnTo>
                    <a:lnTo>
                      <a:pt x="446" y="1634"/>
                    </a:lnTo>
                    <a:lnTo>
                      <a:pt x="445" y="1635"/>
                    </a:lnTo>
                    <a:lnTo>
                      <a:pt x="445" y="1637"/>
                    </a:lnTo>
                    <a:lnTo>
                      <a:pt x="445" y="1639"/>
                    </a:lnTo>
                    <a:lnTo>
                      <a:pt x="445" y="1645"/>
                    </a:lnTo>
                    <a:lnTo>
                      <a:pt x="445" y="1643"/>
                    </a:lnTo>
                    <a:lnTo>
                      <a:pt x="445" y="1645"/>
                    </a:lnTo>
                    <a:lnTo>
                      <a:pt x="443" y="1647"/>
                    </a:lnTo>
                    <a:lnTo>
                      <a:pt x="443" y="1651"/>
                    </a:lnTo>
                    <a:lnTo>
                      <a:pt x="445" y="1653"/>
                    </a:lnTo>
                    <a:lnTo>
                      <a:pt x="446" y="1655"/>
                    </a:lnTo>
                    <a:lnTo>
                      <a:pt x="446" y="1658"/>
                    </a:lnTo>
                    <a:lnTo>
                      <a:pt x="448" y="1658"/>
                    </a:lnTo>
                    <a:lnTo>
                      <a:pt x="448" y="1660"/>
                    </a:lnTo>
                    <a:lnTo>
                      <a:pt x="450" y="1660"/>
                    </a:lnTo>
                    <a:lnTo>
                      <a:pt x="452" y="1664"/>
                    </a:lnTo>
                    <a:lnTo>
                      <a:pt x="454" y="1666"/>
                    </a:lnTo>
                    <a:lnTo>
                      <a:pt x="456" y="1670"/>
                    </a:lnTo>
                    <a:lnTo>
                      <a:pt x="458" y="1674"/>
                    </a:lnTo>
                    <a:lnTo>
                      <a:pt x="460" y="1674"/>
                    </a:lnTo>
                    <a:lnTo>
                      <a:pt x="462" y="1675"/>
                    </a:lnTo>
                    <a:lnTo>
                      <a:pt x="460" y="1677"/>
                    </a:lnTo>
                    <a:lnTo>
                      <a:pt x="458" y="1681"/>
                    </a:lnTo>
                    <a:lnTo>
                      <a:pt x="456" y="1681"/>
                    </a:lnTo>
                    <a:lnTo>
                      <a:pt x="456" y="1683"/>
                    </a:lnTo>
                    <a:lnTo>
                      <a:pt x="454" y="1683"/>
                    </a:lnTo>
                    <a:lnTo>
                      <a:pt x="452" y="1683"/>
                    </a:lnTo>
                    <a:lnTo>
                      <a:pt x="452" y="1685"/>
                    </a:lnTo>
                    <a:lnTo>
                      <a:pt x="452" y="1687"/>
                    </a:lnTo>
                    <a:lnTo>
                      <a:pt x="450" y="1687"/>
                    </a:lnTo>
                    <a:lnTo>
                      <a:pt x="452" y="1687"/>
                    </a:lnTo>
                    <a:lnTo>
                      <a:pt x="450" y="1687"/>
                    </a:lnTo>
                    <a:lnTo>
                      <a:pt x="450" y="1689"/>
                    </a:lnTo>
                    <a:lnTo>
                      <a:pt x="448" y="1689"/>
                    </a:lnTo>
                    <a:lnTo>
                      <a:pt x="448" y="1691"/>
                    </a:lnTo>
                    <a:lnTo>
                      <a:pt x="446" y="1689"/>
                    </a:lnTo>
                    <a:lnTo>
                      <a:pt x="445" y="1689"/>
                    </a:lnTo>
                    <a:lnTo>
                      <a:pt x="443" y="1689"/>
                    </a:lnTo>
                    <a:lnTo>
                      <a:pt x="441" y="1687"/>
                    </a:lnTo>
                    <a:lnTo>
                      <a:pt x="441" y="1685"/>
                    </a:lnTo>
                    <a:lnTo>
                      <a:pt x="439" y="1685"/>
                    </a:lnTo>
                    <a:lnTo>
                      <a:pt x="439" y="1683"/>
                    </a:lnTo>
                    <a:lnTo>
                      <a:pt x="437" y="1681"/>
                    </a:lnTo>
                    <a:lnTo>
                      <a:pt x="435" y="1681"/>
                    </a:lnTo>
                    <a:lnTo>
                      <a:pt x="437" y="1681"/>
                    </a:lnTo>
                    <a:lnTo>
                      <a:pt x="435" y="1681"/>
                    </a:lnTo>
                    <a:lnTo>
                      <a:pt x="435" y="1679"/>
                    </a:lnTo>
                    <a:lnTo>
                      <a:pt x="433" y="1679"/>
                    </a:lnTo>
                    <a:lnTo>
                      <a:pt x="433" y="1677"/>
                    </a:lnTo>
                    <a:lnTo>
                      <a:pt x="431" y="1675"/>
                    </a:lnTo>
                    <a:lnTo>
                      <a:pt x="429" y="1675"/>
                    </a:lnTo>
                    <a:lnTo>
                      <a:pt x="429" y="1677"/>
                    </a:lnTo>
                    <a:lnTo>
                      <a:pt x="429" y="1675"/>
                    </a:lnTo>
                    <a:lnTo>
                      <a:pt x="427" y="1675"/>
                    </a:lnTo>
                    <a:lnTo>
                      <a:pt x="426" y="1674"/>
                    </a:lnTo>
                    <a:lnTo>
                      <a:pt x="424" y="1674"/>
                    </a:lnTo>
                    <a:lnTo>
                      <a:pt x="424" y="1672"/>
                    </a:lnTo>
                    <a:lnTo>
                      <a:pt x="422" y="1674"/>
                    </a:lnTo>
                    <a:lnTo>
                      <a:pt x="422" y="1672"/>
                    </a:lnTo>
                    <a:lnTo>
                      <a:pt x="422" y="1674"/>
                    </a:lnTo>
                    <a:lnTo>
                      <a:pt x="422" y="1672"/>
                    </a:lnTo>
                    <a:lnTo>
                      <a:pt x="420" y="1672"/>
                    </a:lnTo>
                    <a:lnTo>
                      <a:pt x="418" y="1672"/>
                    </a:lnTo>
                    <a:lnTo>
                      <a:pt x="418" y="1670"/>
                    </a:lnTo>
                    <a:lnTo>
                      <a:pt x="416" y="1670"/>
                    </a:lnTo>
                    <a:lnTo>
                      <a:pt x="414" y="1668"/>
                    </a:lnTo>
                    <a:lnTo>
                      <a:pt x="414" y="1666"/>
                    </a:lnTo>
                    <a:lnTo>
                      <a:pt x="416" y="1666"/>
                    </a:lnTo>
                    <a:lnTo>
                      <a:pt x="416" y="1664"/>
                    </a:lnTo>
                    <a:lnTo>
                      <a:pt x="416" y="1662"/>
                    </a:lnTo>
                    <a:lnTo>
                      <a:pt x="414" y="1662"/>
                    </a:lnTo>
                    <a:lnTo>
                      <a:pt x="414" y="1660"/>
                    </a:lnTo>
                    <a:lnTo>
                      <a:pt x="412" y="1660"/>
                    </a:lnTo>
                    <a:lnTo>
                      <a:pt x="410" y="1660"/>
                    </a:lnTo>
                    <a:lnTo>
                      <a:pt x="410" y="1662"/>
                    </a:lnTo>
                    <a:lnTo>
                      <a:pt x="410" y="1660"/>
                    </a:lnTo>
                    <a:lnTo>
                      <a:pt x="408" y="1660"/>
                    </a:lnTo>
                    <a:lnTo>
                      <a:pt x="406" y="1658"/>
                    </a:lnTo>
                    <a:lnTo>
                      <a:pt x="405" y="1658"/>
                    </a:lnTo>
                    <a:lnTo>
                      <a:pt x="405" y="1656"/>
                    </a:lnTo>
                    <a:lnTo>
                      <a:pt x="403" y="1656"/>
                    </a:lnTo>
                    <a:lnTo>
                      <a:pt x="403" y="1658"/>
                    </a:lnTo>
                    <a:lnTo>
                      <a:pt x="401" y="1658"/>
                    </a:lnTo>
                    <a:lnTo>
                      <a:pt x="401" y="1660"/>
                    </a:lnTo>
                    <a:lnTo>
                      <a:pt x="401" y="1658"/>
                    </a:lnTo>
                    <a:lnTo>
                      <a:pt x="401" y="1656"/>
                    </a:lnTo>
                    <a:lnTo>
                      <a:pt x="399" y="1656"/>
                    </a:lnTo>
                    <a:lnTo>
                      <a:pt x="397" y="1656"/>
                    </a:lnTo>
                    <a:lnTo>
                      <a:pt x="397" y="1658"/>
                    </a:lnTo>
                    <a:lnTo>
                      <a:pt x="395" y="1656"/>
                    </a:lnTo>
                    <a:lnTo>
                      <a:pt x="395" y="1658"/>
                    </a:lnTo>
                    <a:lnTo>
                      <a:pt x="393" y="1656"/>
                    </a:lnTo>
                    <a:lnTo>
                      <a:pt x="393" y="1658"/>
                    </a:lnTo>
                    <a:lnTo>
                      <a:pt x="391" y="1658"/>
                    </a:lnTo>
                    <a:lnTo>
                      <a:pt x="391" y="1660"/>
                    </a:lnTo>
                    <a:lnTo>
                      <a:pt x="389" y="1660"/>
                    </a:lnTo>
                    <a:lnTo>
                      <a:pt x="387" y="1660"/>
                    </a:lnTo>
                    <a:lnTo>
                      <a:pt x="385" y="1660"/>
                    </a:lnTo>
                    <a:lnTo>
                      <a:pt x="384" y="1660"/>
                    </a:lnTo>
                    <a:lnTo>
                      <a:pt x="384" y="1658"/>
                    </a:lnTo>
                    <a:lnTo>
                      <a:pt x="385" y="1656"/>
                    </a:lnTo>
                    <a:lnTo>
                      <a:pt x="384" y="1656"/>
                    </a:lnTo>
                    <a:lnTo>
                      <a:pt x="382" y="1655"/>
                    </a:lnTo>
                    <a:lnTo>
                      <a:pt x="378" y="1653"/>
                    </a:lnTo>
                    <a:lnTo>
                      <a:pt x="376" y="1653"/>
                    </a:lnTo>
                    <a:lnTo>
                      <a:pt x="372" y="1651"/>
                    </a:lnTo>
                    <a:lnTo>
                      <a:pt x="372" y="1649"/>
                    </a:lnTo>
                    <a:lnTo>
                      <a:pt x="370" y="1647"/>
                    </a:lnTo>
                    <a:lnTo>
                      <a:pt x="368" y="1647"/>
                    </a:lnTo>
                    <a:lnTo>
                      <a:pt x="366" y="1647"/>
                    </a:lnTo>
                    <a:lnTo>
                      <a:pt x="366" y="1649"/>
                    </a:lnTo>
                    <a:lnTo>
                      <a:pt x="364" y="1647"/>
                    </a:lnTo>
                    <a:lnTo>
                      <a:pt x="363" y="1645"/>
                    </a:lnTo>
                    <a:lnTo>
                      <a:pt x="363" y="1647"/>
                    </a:lnTo>
                    <a:lnTo>
                      <a:pt x="361" y="1647"/>
                    </a:lnTo>
                    <a:lnTo>
                      <a:pt x="359" y="1647"/>
                    </a:lnTo>
                    <a:lnTo>
                      <a:pt x="357" y="1647"/>
                    </a:lnTo>
                    <a:lnTo>
                      <a:pt x="355" y="1647"/>
                    </a:lnTo>
                    <a:lnTo>
                      <a:pt x="355" y="1645"/>
                    </a:lnTo>
                    <a:lnTo>
                      <a:pt x="353" y="1647"/>
                    </a:lnTo>
                    <a:lnTo>
                      <a:pt x="353" y="1645"/>
                    </a:lnTo>
                    <a:lnTo>
                      <a:pt x="351" y="1647"/>
                    </a:lnTo>
                    <a:lnTo>
                      <a:pt x="349" y="1645"/>
                    </a:lnTo>
                    <a:lnTo>
                      <a:pt x="347" y="1645"/>
                    </a:lnTo>
                    <a:lnTo>
                      <a:pt x="347" y="1643"/>
                    </a:lnTo>
                    <a:lnTo>
                      <a:pt x="345" y="1643"/>
                    </a:lnTo>
                    <a:lnTo>
                      <a:pt x="344" y="1643"/>
                    </a:lnTo>
                    <a:lnTo>
                      <a:pt x="342" y="1643"/>
                    </a:lnTo>
                    <a:lnTo>
                      <a:pt x="340" y="1641"/>
                    </a:lnTo>
                    <a:lnTo>
                      <a:pt x="336" y="1639"/>
                    </a:lnTo>
                    <a:lnTo>
                      <a:pt x="334" y="1639"/>
                    </a:lnTo>
                    <a:lnTo>
                      <a:pt x="332" y="1639"/>
                    </a:lnTo>
                    <a:lnTo>
                      <a:pt x="328" y="1637"/>
                    </a:lnTo>
                    <a:lnTo>
                      <a:pt x="326" y="1639"/>
                    </a:lnTo>
                    <a:lnTo>
                      <a:pt x="324" y="1641"/>
                    </a:lnTo>
                    <a:lnTo>
                      <a:pt x="324" y="1643"/>
                    </a:lnTo>
                    <a:lnTo>
                      <a:pt x="323" y="1641"/>
                    </a:lnTo>
                    <a:lnTo>
                      <a:pt x="323" y="1639"/>
                    </a:lnTo>
                    <a:lnTo>
                      <a:pt x="321" y="1639"/>
                    </a:lnTo>
                    <a:lnTo>
                      <a:pt x="321" y="1637"/>
                    </a:lnTo>
                    <a:lnTo>
                      <a:pt x="319" y="1637"/>
                    </a:lnTo>
                    <a:lnTo>
                      <a:pt x="313" y="1630"/>
                    </a:lnTo>
                    <a:lnTo>
                      <a:pt x="311" y="1628"/>
                    </a:lnTo>
                    <a:lnTo>
                      <a:pt x="309" y="1628"/>
                    </a:lnTo>
                    <a:lnTo>
                      <a:pt x="309" y="1626"/>
                    </a:lnTo>
                    <a:lnTo>
                      <a:pt x="307" y="1624"/>
                    </a:lnTo>
                    <a:lnTo>
                      <a:pt x="305" y="1622"/>
                    </a:lnTo>
                    <a:lnTo>
                      <a:pt x="302" y="1622"/>
                    </a:lnTo>
                    <a:lnTo>
                      <a:pt x="300" y="1620"/>
                    </a:lnTo>
                    <a:lnTo>
                      <a:pt x="298" y="1620"/>
                    </a:lnTo>
                    <a:lnTo>
                      <a:pt x="296" y="1620"/>
                    </a:lnTo>
                    <a:lnTo>
                      <a:pt x="294" y="1618"/>
                    </a:lnTo>
                    <a:lnTo>
                      <a:pt x="294" y="1616"/>
                    </a:lnTo>
                    <a:lnTo>
                      <a:pt x="292" y="1616"/>
                    </a:lnTo>
                    <a:lnTo>
                      <a:pt x="292" y="1614"/>
                    </a:lnTo>
                    <a:lnTo>
                      <a:pt x="290" y="1613"/>
                    </a:lnTo>
                    <a:lnTo>
                      <a:pt x="290" y="1614"/>
                    </a:lnTo>
                    <a:lnTo>
                      <a:pt x="288" y="1614"/>
                    </a:lnTo>
                    <a:lnTo>
                      <a:pt x="284" y="1614"/>
                    </a:lnTo>
                    <a:lnTo>
                      <a:pt x="282" y="1613"/>
                    </a:lnTo>
                    <a:lnTo>
                      <a:pt x="282" y="1609"/>
                    </a:lnTo>
                    <a:lnTo>
                      <a:pt x="281" y="1607"/>
                    </a:lnTo>
                    <a:lnTo>
                      <a:pt x="279" y="1607"/>
                    </a:lnTo>
                    <a:lnTo>
                      <a:pt x="275" y="1605"/>
                    </a:lnTo>
                    <a:lnTo>
                      <a:pt x="273" y="1605"/>
                    </a:lnTo>
                    <a:lnTo>
                      <a:pt x="271" y="1603"/>
                    </a:lnTo>
                    <a:lnTo>
                      <a:pt x="271" y="1601"/>
                    </a:lnTo>
                    <a:lnTo>
                      <a:pt x="273" y="1601"/>
                    </a:lnTo>
                    <a:lnTo>
                      <a:pt x="275" y="1601"/>
                    </a:lnTo>
                    <a:lnTo>
                      <a:pt x="277" y="1601"/>
                    </a:lnTo>
                    <a:lnTo>
                      <a:pt x="277" y="1599"/>
                    </a:lnTo>
                    <a:lnTo>
                      <a:pt x="275" y="1599"/>
                    </a:lnTo>
                    <a:lnTo>
                      <a:pt x="273" y="1599"/>
                    </a:lnTo>
                    <a:lnTo>
                      <a:pt x="275" y="1599"/>
                    </a:lnTo>
                    <a:lnTo>
                      <a:pt x="273" y="1597"/>
                    </a:lnTo>
                    <a:lnTo>
                      <a:pt x="273" y="1599"/>
                    </a:lnTo>
                    <a:lnTo>
                      <a:pt x="271" y="1599"/>
                    </a:lnTo>
                    <a:lnTo>
                      <a:pt x="273" y="1599"/>
                    </a:lnTo>
                    <a:lnTo>
                      <a:pt x="273" y="1597"/>
                    </a:lnTo>
                    <a:lnTo>
                      <a:pt x="275" y="1597"/>
                    </a:lnTo>
                    <a:lnTo>
                      <a:pt x="279" y="1599"/>
                    </a:lnTo>
                    <a:lnTo>
                      <a:pt x="281" y="1599"/>
                    </a:lnTo>
                    <a:lnTo>
                      <a:pt x="282" y="1599"/>
                    </a:lnTo>
                    <a:lnTo>
                      <a:pt x="284" y="1599"/>
                    </a:lnTo>
                    <a:lnTo>
                      <a:pt x="286" y="1597"/>
                    </a:lnTo>
                    <a:lnTo>
                      <a:pt x="286" y="1592"/>
                    </a:lnTo>
                    <a:lnTo>
                      <a:pt x="290" y="1590"/>
                    </a:lnTo>
                    <a:lnTo>
                      <a:pt x="292" y="1584"/>
                    </a:lnTo>
                    <a:lnTo>
                      <a:pt x="294" y="1582"/>
                    </a:lnTo>
                    <a:lnTo>
                      <a:pt x="294" y="1584"/>
                    </a:lnTo>
                    <a:lnTo>
                      <a:pt x="294" y="1586"/>
                    </a:lnTo>
                    <a:lnTo>
                      <a:pt x="296" y="1584"/>
                    </a:lnTo>
                    <a:lnTo>
                      <a:pt x="296" y="1582"/>
                    </a:lnTo>
                    <a:lnTo>
                      <a:pt x="296" y="1580"/>
                    </a:lnTo>
                    <a:lnTo>
                      <a:pt x="298" y="1578"/>
                    </a:lnTo>
                    <a:lnTo>
                      <a:pt x="298" y="1580"/>
                    </a:lnTo>
                    <a:lnTo>
                      <a:pt x="300" y="1584"/>
                    </a:lnTo>
                    <a:lnTo>
                      <a:pt x="302" y="1582"/>
                    </a:lnTo>
                    <a:lnTo>
                      <a:pt x="302" y="1584"/>
                    </a:lnTo>
                    <a:lnTo>
                      <a:pt x="302" y="1582"/>
                    </a:lnTo>
                    <a:lnTo>
                      <a:pt x="298" y="1580"/>
                    </a:lnTo>
                    <a:lnTo>
                      <a:pt x="296" y="1576"/>
                    </a:lnTo>
                    <a:lnTo>
                      <a:pt x="294" y="1574"/>
                    </a:lnTo>
                    <a:lnTo>
                      <a:pt x="292" y="1574"/>
                    </a:lnTo>
                    <a:lnTo>
                      <a:pt x="292" y="1576"/>
                    </a:lnTo>
                    <a:lnTo>
                      <a:pt x="292" y="1574"/>
                    </a:lnTo>
                    <a:lnTo>
                      <a:pt x="288" y="1569"/>
                    </a:lnTo>
                    <a:lnTo>
                      <a:pt x="290" y="1569"/>
                    </a:lnTo>
                    <a:lnTo>
                      <a:pt x="292" y="1571"/>
                    </a:lnTo>
                    <a:lnTo>
                      <a:pt x="294" y="1569"/>
                    </a:lnTo>
                    <a:lnTo>
                      <a:pt x="296" y="1569"/>
                    </a:lnTo>
                    <a:lnTo>
                      <a:pt x="298" y="1567"/>
                    </a:lnTo>
                    <a:lnTo>
                      <a:pt x="298" y="1569"/>
                    </a:lnTo>
                    <a:lnTo>
                      <a:pt x="300" y="1569"/>
                    </a:lnTo>
                    <a:lnTo>
                      <a:pt x="302" y="1569"/>
                    </a:lnTo>
                    <a:lnTo>
                      <a:pt x="302" y="1567"/>
                    </a:lnTo>
                    <a:lnTo>
                      <a:pt x="300" y="1567"/>
                    </a:lnTo>
                    <a:lnTo>
                      <a:pt x="300" y="1565"/>
                    </a:lnTo>
                    <a:lnTo>
                      <a:pt x="302" y="1565"/>
                    </a:lnTo>
                    <a:lnTo>
                      <a:pt x="303" y="1565"/>
                    </a:lnTo>
                    <a:lnTo>
                      <a:pt x="305" y="1563"/>
                    </a:lnTo>
                    <a:lnTo>
                      <a:pt x="307" y="1561"/>
                    </a:lnTo>
                    <a:lnTo>
                      <a:pt x="307" y="1563"/>
                    </a:lnTo>
                    <a:lnTo>
                      <a:pt x="307" y="1561"/>
                    </a:lnTo>
                    <a:lnTo>
                      <a:pt x="311" y="1559"/>
                    </a:lnTo>
                    <a:lnTo>
                      <a:pt x="311" y="1561"/>
                    </a:lnTo>
                    <a:lnTo>
                      <a:pt x="313" y="1561"/>
                    </a:lnTo>
                    <a:lnTo>
                      <a:pt x="313" y="1559"/>
                    </a:lnTo>
                    <a:lnTo>
                      <a:pt x="313" y="1557"/>
                    </a:lnTo>
                    <a:lnTo>
                      <a:pt x="313" y="1555"/>
                    </a:lnTo>
                    <a:lnTo>
                      <a:pt x="311" y="1555"/>
                    </a:lnTo>
                    <a:lnTo>
                      <a:pt x="309" y="1553"/>
                    </a:lnTo>
                    <a:lnTo>
                      <a:pt x="309" y="1555"/>
                    </a:lnTo>
                    <a:lnTo>
                      <a:pt x="307" y="1555"/>
                    </a:lnTo>
                    <a:lnTo>
                      <a:pt x="307" y="1557"/>
                    </a:lnTo>
                    <a:lnTo>
                      <a:pt x="305" y="1557"/>
                    </a:lnTo>
                    <a:lnTo>
                      <a:pt x="303" y="1557"/>
                    </a:lnTo>
                    <a:lnTo>
                      <a:pt x="302" y="1557"/>
                    </a:lnTo>
                    <a:lnTo>
                      <a:pt x="302" y="1559"/>
                    </a:lnTo>
                    <a:lnTo>
                      <a:pt x="300" y="1557"/>
                    </a:lnTo>
                    <a:lnTo>
                      <a:pt x="302" y="1557"/>
                    </a:lnTo>
                    <a:lnTo>
                      <a:pt x="300" y="1557"/>
                    </a:lnTo>
                    <a:lnTo>
                      <a:pt x="298" y="1557"/>
                    </a:lnTo>
                    <a:lnTo>
                      <a:pt x="296" y="1559"/>
                    </a:lnTo>
                    <a:lnTo>
                      <a:pt x="296" y="1555"/>
                    </a:lnTo>
                    <a:lnTo>
                      <a:pt x="298" y="1555"/>
                    </a:lnTo>
                    <a:lnTo>
                      <a:pt x="298" y="1553"/>
                    </a:lnTo>
                    <a:lnTo>
                      <a:pt x="296" y="1553"/>
                    </a:lnTo>
                    <a:lnTo>
                      <a:pt x="298" y="1551"/>
                    </a:lnTo>
                    <a:lnTo>
                      <a:pt x="298" y="1548"/>
                    </a:lnTo>
                    <a:lnTo>
                      <a:pt x="298" y="1546"/>
                    </a:lnTo>
                    <a:lnTo>
                      <a:pt x="300" y="1546"/>
                    </a:lnTo>
                    <a:lnTo>
                      <a:pt x="303" y="1546"/>
                    </a:lnTo>
                    <a:lnTo>
                      <a:pt x="303" y="1544"/>
                    </a:lnTo>
                    <a:lnTo>
                      <a:pt x="305" y="1544"/>
                    </a:lnTo>
                    <a:lnTo>
                      <a:pt x="305" y="1546"/>
                    </a:lnTo>
                    <a:lnTo>
                      <a:pt x="305" y="1542"/>
                    </a:lnTo>
                    <a:lnTo>
                      <a:pt x="305" y="1540"/>
                    </a:lnTo>
                    <a:lnTo>
                      <a:pt x="307" y="1540"/>
                    </a:lnTo>
                    <a:lnTo>
                      <a:pt x="309" y="1540"/>
                    </a:lnTo>
                    <a:lnTo>
                      <a:pt x="309" y="1542"/>
                    </a:lnTo>
                    <a:lnTo>
                      <a:pt x="311" y="1542"/>
                    </a:lnTo>
                    <a:lnTo>
                      <a:pt x="313" y="1540"/>
                    </a:lnTo>
                    <a:lnTo>
                      <a:pt x="315" y="1540"/>
                    </a:lnTo>
                    <a:lnTo>
                      <a:pt x="315" y="1542"/>
                    </a:lnTo>
                    <a:lnTo>
                      <a:pt x="315" y="1540"/>
                    </a:lnTo>
                    <a:lnTo>
                      <a:pt x="317" y="1540"/>
                    </a:lnTo>
                    <a:lnTo>
                      <a:pt x="317" y="1542"/>
                    </a:lnTo>
                    <a:lnTo>
                      <a:pt x="319" y="1542"/>
                    </a:lnTo>
                    <a:lnTo>
                      <a:pt x="321" y="1542"/>
                    </a:lnTo>
                    <a:lnTo>
                      <a:pt x="321" y="1540"/>
                    </a:lnTo>
                    <a:lnTo>
                      <a:pt x="323" y="1538"/>
                    </a:lnTo>
                    <a:lnTo>
                      <a:pt x="321" y="1536"/>
                    </a:lnTo>
                    <a:lnTo>
                      <a:pt x="323" y="1536"/>
                    </a:lnTo>
                    <a:lnTo>
                      <a:pt x="323" y="1534"/>
                    </a:lnTo>
                    <a:lnTo>
                      <a:pt x="323" y="1532"/>
                    </a:lnTo>
                    <a:lnTo>
                      <a:pt x="324" y="1532"/>
                    </a:lnTo>
                    <a:lnTo>
                      <a:pt x="324" y="1530"/>
                    </a:lnTo>
                    <a:lnTo>
                      <a:pt x="323" y="1530"/>
                    </a:lnTo>
                    <a:lnTo>
                      <a:pt x="323" y="1529"/>
                    </a:lnTo>
                    <a:lnTo>
                      <a:pt x="324" y="1529"/>
                    </a:lnTo>
                    <a:lnTo>
                      <a:pt x="323" y="1529"/>
                    </a:lnTo>
                    <a:lnTo>
                      <a:pt x="323" y="1527"/>
                    </a:lnTo>
                    <a:lnTo>
                      <a:pt x="323" y="1525"/>
                    </a:lnTo>
                    <a:lnTo>
                      <a:pt x="321" y="1523"/>
                    </a:lnTo>
                    <a:lnTo>
                      <a:pt x="319" y="1523"/>
                    </a:lnTo>
                    <a:lnTo>
                      <a:pt x="321" y="1521"/>
                    </a:lnTo>
                    <a:lnTo>
                      <a:pt x="321" y="1519"/>
                    </a:lnTo>
                    <a:lnTo>
                      <a:pt x="321" y="1517"/>
                    </a:lnTo>
                    <a:lnTo>
                      <a:pt x="324" y="1519"/>
                    </a:lnTo>
                    <a:lnTo>
                      <a:pt x="326" y="1517"/>
                    </a:lnTo>
                    <a:lnTo>
                      <a:pt x="326" y="1515"/>
                    </a:lnTo>
                    <a:lnTo>
                      <a:pt x="324" y="1515"/>
                    </a:lnTo>
                    <a:lnTo>
                      <a:pt x="324" y="1517"/>
                    </a:lnTo>
                    <a:lnTo>
                      <a:pt x="323" y="1515"/>
                    </a:lnTo>
                    <a:lnTo>
                      <a:pt x="323" y="1517"/>
                    </a:lnTo>
                    <a:lnTo>
                      <a:pt x="323" y="1515"/>
                    </a:lnTo>
                    <a:lnTo>
                      <a:pt x="321" y="1515"/>
                    </a:lnTo>
                    <a:lnTo>
                      <a:pt x="321" y="1513"/>
                    </a:lnTo>
                    <a:lnTo>
                      <a:pt x="319" y="1513"/>
                    </a:lnTo>
                    <a:lnTo>
                      <a:pt x="321" y="1511"/>
                    </a:lnTo>
                    <a:lnTo>
                      <a:pt x="321" y="1513"/>
                    </a:lnTo>
                    <a:lnTo>
                      <a:pt x="321" y="1511"/>
                    </a:lnTo>
                    <a:lnTo>
                      <a:pt x="324" y="1511"/>
                    </a:lnTo>
                    <a:lnTo>
                      <a:pt x="324" y="1509"/>
                    </a:lnTo>
                    <a:lnTo>
                      <a:pt x="326" y="1509"/>
                    </a:lnTo>
                    <a:lnTo>
                      <a:pt x="326" y="1508"/>
                    </a:lnTo>
                    <a:lnTo>
                      <a:pt x="328" y="1508"/>
                    </a:lnTo>
                    <a:lnTo>
                      <a:pt x="328" y="1506"/>
                    </a:lnTo>
                    <a:lnTo>
                      <a:pt x="326" y="1504"/>
                    </a:lnTo>
                    <a:lnTo>
                      <a:pt x="324" y="1502"/>
                    </a:lnTo>
                    <a:lnTo>
                      <a:pt x="324" y="1500"/>
                    </a:lnTo>
                    <a:lnTo>
                      <a:pt x="328" y="1500"/>
                    </a:lnTo>
                    <a:lnTo>
                      <a:pt x="326" y="1498"/>
                    </a:lnTo>
                    <a:lnTo>
                      <a:pt x="324" y="1498"/>
                    </a:lnTo>
                    <a:lnTo>
                      <a:pt x="324" y="1500"/>
                    </a:lnTo>
                    <a:lnTo>
                      <a:pt x="323" y="1500"/>
                    </a:lnTo>
                    <a:lnTo>
                      <a:pt x="321" y="1500"/>
                    </a:lnTo>
                    <a:lnTo>
                      <a:pt x="321" y="1498"/>
                    </a:lnTo>
                    <a:lnTo>
                      <a:pt x="319" y="1498"/>
                    </a:lnTo>
                    <a:lnTo>
                      <a:pt x="319" y="1496"/>
                    </a:lnTo>
                    <a:lnTo>
                      <a:pt x="315" y="1494"/>
                    </a:lnTo>
                    <a:lnTo>
                      <a:pt x="315" y="1496"/>
                    </a:lnTo>
                    <a:lnTo>
                      <a:pt x="313" y="1494"/>
                    </a:lnTo>
                    <a:lnTo>
                      <a:pt x="311" y="1492"/>
                    </a:lnTo>
                    <a:lnTo>
                      <a:pt x="309" y="1494"/>
                    </a:lnTo>
                    <a:lnTo>
                      <a:pt x="307" y="1494"/>
                    </a:lnTo>
                    <a:lnTo>
                      <a:pt x="307" y="1492"/>
                    </a:lnTo>
                    <a:lnTo>
                      <a:pt x="305" y="1492"/>
                    </a:lnTo>
                    <a:lnTo>
                      <a:pt x="303" y="1490"/>
                    </a:lnTo>
                    <a:lnTo>
                      <a:pt x="303" y="1489"/>
                    </a:lnTo>
                    <a:lnTo>
                      <a:pt x="303" y="1490"/>
                    </a:lnTo>
                    <a:lnTo>
                      <a:pt x="302" y="1490"/>
                    </a:lnTo>
                    <a:lnTo>
                      <a:pt x="300" y="1490"/>
                    </a:lnTo>
                    <a:lnTo>
                      <a:pt x="300" y="1489"/>
                    </a:lnTo>
                    <a:lnTo>
                      <a:pt x="298" y="1489"/>
                    </a:lnTo>
                    <a:lnTo>
                      <a:pt x="298" y="1487"/>
                    </a:lnTo>
                    <a:lnTo>
                      <a:pt x="296" y="1487"/>
                    </a:lnTo>
                    <a:lnTo>
                      <a:pt x="296" y="1489"/>
                    </a:lnTo>
                    <a:lnTo>
                      <a:pt x="296" y="1490"/>
                    </a:lnTo>
                    <a:lnTo>
                      <a:pt x="294" y="1490"/>
                    </a:lnTo>
                    <a:lnTo>
                      <a:pt x="294" y="1492"/>
                    </a:lnTo>
                    <a:lnTo>
                      <a:pt x="294" y="1490"/>
                    </a:lnTo>
                    <a:lnTo>
                      <a:pt x="292" y="1490"/>
                    </a:lnTo>
                    <a:lnTo>
                      <a:pt x="292" y="1489"/>
                    </a:lnTo>
                    <a:lnTo>
                      <a:pt x="290" y="1487"/>
                    </a:lnTo>
                    <a:lnTo>
                      <a:pt x="288" y="1487"/>
                    </a:lnTo>
                    <a:lnTo>
                      <a:pt x="286" y="1485"/>
                    </a:lnTo>
                    <a:lnTo>
                      <a:pt x="286" y="1483"/>
                    </a:lnTo>
                    <a:lnTo>
                      <a:pt x="286" y="1481"/>
                    </a:lnTo>
                    <a:lnTo>
                      <a:pt x="284" y="1479"/>
                    </a:lnTo>
                    <a:lnTo>
                      <a:pt x="284" y="1477"/>
                    </a:lnTo>
                    <a:lnTo>
                      <a:pt x="284" y="1479"/>
                    </a:lnTo>
                    <a:lnTo>
                      <a:pt x="282" y="1479"/>
                    </a:lnTo>
                    <a:lnTo>
                      <a:pt x="279" y="1481"/>
                    </a:lnTo>
                    <a:lnTo>
                      <a:pt x="275" y="1481"/>
                    </a:lnTo>
                    <a:lnTo>
                      <a:pt x="273" y="1483"/>
                    </a:lnTo>
                    <a:lnTo>
                      <a:pt x="271" y="1483"/>
                    </a:lnTo>
                    <a:lnTo>
                      <a:pt x="269" y="1483"/>
                    </a:lnTo>
                    <a:lnTo>
                      <a:pt x="271" y="1483"/>
                    </a:lnTo>
                    <a:lnTo>
                      <a:pt x="269" y="1483"/>
                    </a:lnTo>
                    <a:lnTo>
                      <a:pt x="269" y="1481"/>
                    </a:lnTo>
                    <a:lnTo>
                      <a:pt x="267" y="1481"/>
                    </a:lnTo>
                    <a:lnTo>
                      <a:pt x="265" y="1481"/>
                    </a:lnTo>
                    <a:lnTo>
                      <a:pt x="263" y="1479"/>
                    </a:lnTo>
                    <a:lnTo>
                      <a:pt x="262" y="1477"/>
                    </a:lnTo>
                    <a:lnTo>
                      <a:pt x="260" y="1479"/>
                    </a:lnTo>
                    <a:lnTo>
                      <a:pt x="258" y="1479"/>
                    </a:lnTo>
                    <a:lnTo>
                      <a:pt x="258" y="1481"/>
                    </a:lnTo>
                    <a:lnTo>
                      <a:pt x="256" y="1481"/>
                    </a:lnTo>
                    <a:lnTo>
                      <a:pt x="254" y="1479"/>
                    </a:lnTo>
                    <a:lnTo>
                      <a:pt x="254" y="1477"/>
                    </a:lnTo>
                    <a:lnTo>
                      <a:pt x="252" y="1477"/>
                    </a:lnTo>
                    <a:lnTo>
                      <a:pt x="252" y="1475"/>
                    </a:lnTo>
                    <a:lnTo>
                      <a:pt x="252" y="1473"/>
                    </a:lnTo>
                    <a:lnTo>
                      <a:pt x="254" y="1471"/>
                    </a:lnTo>
                    <a:lnTo>
                      <a:pt x="252" y="1471"/>
                    </a:lnTo>
                    <a:lnTo>
                      <a:pt x="252" y="1469"/>
                    </a:lnTo>
                    <a:lnTo>
                      <a:pt x="252" y="1468"/>
                    </a:lnTo>
                    <a:lnTo>
                      <a:pt x="252" y="1466"/>
                    </a:lnTo>
                    <a:lnTo>
                      <a:pt x="250" y="1466"/>
                    </a:lnTo>
                    <a:lnTo>
                      <a:pt x="250" y="1464"/>
                    </a:lnTo>
                    <a:lnTo>
                      <a:pt x="252" y="1464"/>
                    </a:lnTo>
                    <a:lnTo>
                      <a:pt x="252" y="1462"/>
                    </a:lnTo>
                    <a:lnTo>
                      <a:pt x="250" y="1462"/>
                    </a:lnTo>
                    <a:lnTo>
                      <a:pt x="248" y="1464"/>
                    </a:lnTo>
                    <a:lnTo>
                      <a:pt x="248" y="1462"/>
                    </a:lnTo>
                    <a:lnTo>
                      <a:pt x="248" y="1460"/>
                    </a:lnTo>
                    <a:lnTo>
                      <a:pt x="246" y="1460"/>
                    </a:lnTo>
                    <a:lnTo>
                      <a:pt x="248" y="1458"/>
                    </a:lnTo>
                    <a:lnTo>
                      <a:pt x="246" y="1458"/>
                    </a:lnTo>
                    <a:lnTo>
                      <a:pt x="244" y="1458"/>
                    </a:lnTo>
                    <a:lnTo>
                      <a:pt x="244" y="1460"/>
                    </a:lnTo>
                    <a:lnTo>
                      <a:pt x="242" y="1458"/>
                    </a:lnTo>
                    <a:lnTo>
                      <a:pt x="242" y="1460"/>
                    </a:lnTo>
                    <a:lnTo>
                      <a:pt x="241" y="1460"/>
                    </a:lnTo>
                    <a:lnTo>
                      <a:pt x="241" y="1458"/>
                    </a:lnTo>
                    <a:lnTo>
                      <a:pt x="239" y="1458"/>
                    </a:lnTo>
                    <a:lnTo>
                      <a:pt x="237" y="1458"/>
                    </a:lnTo>
                    <a:lnTo>
                      <a:pt x="235" y="1456"/>
                    </a:lnTo>
                    <a:lnTo>
                      <a:pt x="235" y="1458"/>
                    </a:lnTo>
                    <a:lnTo>
                      <a:pt x="233" y="1458"/>
                    </a:lnTo>
                    <a:lnTo>
                      <a:pt x="233" y="1456"/>
                    </a:lnTo>
                    <a:lnTo>
                      <a:pt x="235" y="1456"/>
                    </a:lnTo>
                    <a:lnTo>
                      <a:pt x="235" y="1454"/>
                    </a:lnTo>
                    <a:lnTo>
                      <a:pt x="233" y="1454"/>
                    </a:lnTo>
                    <a:lnTo>
                      <a:pt x="233" y="1452"/>
                    </a:lnTo>
                    <a:lnTo>
                      <a:pt x="235" y="1452"/>
                    </a:lnTo>
                    <a:lnTo>
                      <a:pt x="235" y="1450"/>
                    </a:lnTo>
                    <a:lnTo>
                      <a:pt x="233" y="1450"/>
                    </a:lnTo>
                    <a:lnTo>
                      <a:pt x="233" y="1448"/>
                    </a:lnTo>
                    <a:lnTo>
                      <a:pt x="231" y="1448"/>
                    </a:lnTo>
                    <a:lnTo>
                      <a:pt x="231" y="1447"/>
                    </a:lnTo>
                    <a:lnTo>
                      <a:pt x="233" y="1447"/>
                    </a:lnTo>
                    <a:lnTo>
                      <a:pt x="235" y="1447"/>
                    </a:lnTo>
                    <a:lnTo>
                      <a:pt x="237" y="1445"/>
                    </a:lnTo>
                    <a:lnTo>
                      <a:pt x="235" y="1445"/>
                    </a:lnTo>
                    <a:lnTo>
                      <a:pt x="235" y="1443"/>
                    </a:lnTo>
                    <a:lnTo>
                      <a:pt x="235" y="1441"/>
                    </a:lnTo>
                    <a:lnTo>
                      <a:pt x="233" y="1441"/>
                    </a:lnTo>
                    <a:lnTo>
                      <a:pt x="233" y="1439"/>
                    </a:lnTo>
                    <a:lnTo>
                      <a:pt x="231" y="1439"/>
                    </a:lnTo>
                    <a:lnTo>
                      <a:pt x="231" y="1437"/>
                    </a:lnTo>
                    <a:lnTo>
                      <a:pt x="231" y="1435"/>
                    </a:lnTo>
                    <a:lnTo>
                      <a:pt x="231" y="1433"/>
                    </a:lnTo>
                    <a:lnTo>
                      <a:pt x="229" y="1433"/>
                    </a:lnTo>
                    <a:lnTo>
                      <a:pt x="229" y="1431"/>
                    </a:lnTo>
                    <a:lnTo>
                      <a:pt x="227" y="1431"/>
                    </a:lnTo>
                    <a:lnTo>
                      <a:pt x="227" y="1429"/>
                    </a:lnTo>
                    <a:lnTo>
                      <a:pt x="225" y="1429"/>
                    </a:lnTo>
                    <a:lnTo>
                      <a:pt x="223" y="1429"/>
                    </a:lnTo>
                    <a:lnTo>
                      <a:pt x="223" y="1431"/>
                    </a:lnTo>
                    <a:lnTo>
                      <a:pt x="221" y="1429"/>
                    </a:lnTo>
                    <a:lnTo>
                      <a:pt x="221" y="1431"/>
                    </a:lnTo>
                    <a:lnTo>
                      <a:pt x="221" y="1429"/>
                    </a:lnTo>
                    <a:lnTo>
                      <a:pt x="220" y="1429"/>
                    </a:lnTo>
                    <a:lnTo>
                      <a:pt x="218" y="1429"/>
                    </a:lnTo>
                    <a:lnTo>
                      <a:pt x="216" y="1429"/>
                    </a:lnTo>
                    <a:lnTo>
                      <a:pt x="214" y="1431"/>
                    </a:lnTo>
                    <a:lnTo>
                      <a:pt x="214" y="1429"/>
                    </a:lnTo>
                    <a:lnTo>
                      <a:pt x="214" y="1431"/>
                    </a:lnTo>
                    <a:lnTo>
                      <a:pt x="212" y="1431"/>
                    </a:lnTo>
                    <a:lnTo>
                      <a:pt x="210" y="1431"/>
                    </a:lnTo>
                    <a:lnTo>
                      <a:pt x="208" y="1431"/>
                    </a:lnTo>
                    <a:lnTo>
                      <a:pt x="206" y="1429"/>
                    </a:lnTo>
                    <a:lnTo>
                      <a:pt x="204" y="1429"/>
                    </a:lnTo>
                    <a:lnTo>
                      <a:pt x="202" y="1429"/>
                    </a:lnTo>
                    <a:lnTo>
                      <a:pt x="202" y="1431"/>
                    </a:lnTo>
                    <a:lnTo>
                      <a:pt x="204" y="1431"/>
                    </a:lnTo>
                    <a:lnTo>
                      <a:pt x="202" y="1431"/>
                    </a:lnTo>
                    <a:lnTo>
                      <a:pt x="202" y="1433"/>
                    </a:lnTo>
                    <a:lnTo>
                      <a:pt x="202" y="1435"/>
                    </a:lnTo>
                    <a:lnTo>
                      <a:pt x="200" y="1437"/>
                    </a:lnTo>
                    <a:lnTo>
                      <a:pt x="199" y="1437"/>
                    </a:lnTo>
                    <a:lnTo>
                      <a:pt x="197" y="1437"/>
                    </a:lnTo>
                    <a:lnTo>
                      <a:pt x="195" y="1435"/>
                    </a:lnTo>
                    <a:lnTo>
                      <a:pt x="195" y="1433"/>
                    </a:lnTo>
                    <a:lnTo>
                      <a:pt x="193" y="1433"/>
                    </a:lnTo>
                    <a:lnTo>
                      <a:pt x="193" y="1431"/>
                    </a:lnTo>
                    <a:lnTo>
                      <a:pt x="191" y="1431"/>
                    </a:lnTo>
                    <a:lnTo>
                      <a:pt x="191" y="1429"/>
                    </a:lnTo>
                    <a:lnTo>
                      <a:pt x="191" y="1427"/>
                    </a:lnTo>
                    <a:lnTo>
                      <a:pt x="191" y="1426"/>
                    </a:lnTo>
                    <a:lnTo>
                      <a:pt x="191" y="1424"/>
                    </a:lnTo>
                    <a:lnTo>
                      <a:pt x="193" y="1424"/>
                    </a:lnTo>
                    <a:lnTo>
                      <a:pt x="191" y="1424"/>
                    </a:lnTo>
                    <a:lnTo>
                      <a:pt x="191" y="1422"/>
                    </a:lnTo>
                    <a:lnTo>
                      <a:pt x="189" y="1420"/>
                    </a:lnTo>
                    <a:lnTo>
                      <a:pt x="191" y="1420"/>
                    </a:lnTo>
                    <a:lnTo>
                      <a:pt x="191" y="1418"/>
                    </a:lnTo>
                    <a:lnTo>
                      <a:pt x="189" y="1416"/>
                    </a:lnTo>
                    <a:lnTo>
                      <a:pt x="191" y="1416"/>
                    </a:lnTo>
                    <a:lnTo>
                      <a:pt x="189" y="1416"/>
                    </a:lnTo>
                    <a:lnTo>
                      <a:pt x="187" y="1414"/>
                    </a:lnTo>
                    <a:lnTo>
                      <a:pt x="187" y="1412"/>
                    </a:lnTo>
                    <a:lnTo>
                      <a:pt x="185" y="1412"/>
                    </a:lnTo>
                    <a:lnTo>
                      <a:pt x="187" y="1410"/>
                    </a:lnTo>
                    <a:lnTo>
                      <a:pt x="187" y="1408"/>
                    </a:lnTo>
                    <a:lnTo>
                      <a:pt x="189" y="1408"/>
                    </a:lnTo>
                    <a:lnTo>
                      <a:pt x="187" y="1406"/>
                    </a:lnTo>
                    <a:lnTo>
                      <a:pt x="191" y="1406"/>
                    </a:lnTo>
                    <a:lnTo>
                      <a:pt x="193" y="1406"/>
                    </a:lnTo>
                    <a:lnTo>
                      <a:pt x="195" y="1408"/>
                    </a:lnTo>
                    <a:lnTo>
                      <a:pt x="195" y="1410"/>
                    </a:lnTo>
                    <a:lnTo>
                      <a:pt x="195" y="1408"/>
                    </a:lnTo>
                    <a:lnTo>
                      <a:pt x="197" y="1410"/>
                    </a:lnTo>
                    <a:lnTo>
                      <a:pt x="199" y="1410"/>
                    </a:lnTo>
                    <a:lnTo>
                      <a:pt x="200" y="1410"/>
                    </a:lnTo>
                    <a:lnTo>
                      <a:pt x="200" y="1408"/>
                    </a:lnTo>
                    <a:lnTo>
                      <a:pt x="202" y="1408"/>
                    </a:lnTo>
                    <a:lnTo>
                      <a:pt x="202" y="1406"/>
                    </a:lnTo>
                    <a:lnTo>
                      <a:pt x="204" y="1406"/>
                    </a:lnTo>
                    <a:lnTo>
                      <a:pt x="206" y="1405"/>
                    </a:lnTo>
                    <a:lnTo>
                      <a:pt x="204" y="1405"/>
                    </a:lnTo>
                    <a:lnTo>
                      <a:pt x="206" y="1405"/>
                    </a:lnTo>
                    <a:lnTo>
                      <a:pt x="208" y="1405"/>
                    </a:lnTo>
                    <a:lnTo>
                      <a:pt x="208" y="1403"/>
                    </a:lnTo>
                    <a:lnTo>
                      <a:pt x="208" y="1405"/>
                    </a:lnTo>
                    <a:lnTo>
                      <a:pt x="208" y="1403"/>
                    </a:lnTo>
                    <a:lnTo>
                      <a:pt x="210" y="1403"/>
                    </a:lnTo>
                    <a:lnTo>
                      <a:pt x="208" y="1403"/>
                    </a:lnTo>
                    <a:lnTo>
                      <a:pt x="210" y="1403"/>
                    </a:lnTo>
                    <a:lnTo>
                      <a:pt x="210" y="1401"/>
                    </a:lnTo>
                    <a:lnTo>
                      <a:pt x="208" y="1399"/>
                    </a:lnTo>
                    <a:lnTo>
                      <a:pt x="206" y="1399"/>
                    </a:lnTo>
                    <a:lnTo>
                      <a:pt x="206" y="1397"/>
                    </a:lnTo>
                    <a:lnTo>
                      <a:pt x="204" y="1397"/>
                    </a:lnTo>
                    <a:lnTo>
                      <a:pt x="204" y="1395"/>
                    </a:lnTo>
                    <a:lnTo>
                      <a:pt x="206" y="1393"/>
                    </a:lnTo>
                    <a:lnTo>
                      <a:pt x="204" y="1393"/>
                    </a:lnTo>
                    <a:lnTo>
                      <a:pt x="202" y="1393"/>
                    </a:lnTo>
                    <a:lnTo>
                      <a:pt x="202" y="1391"/>
                    </a:lnTo>
                    <a:lnTo>
                      <a:pt x="200" y="1391"/>
                    </a:lnTo>
                    <a:lnTo>
                      <a:pt x="199" y="1391"/>
                    </a:lnTo>
                    <a:lnTo>
                      <a:pt x="197" y="1391"/>
                    </a:lnTo>
                    <a:lnTo>
                      <a:pt x="195" y="1391"/>
                    </a:lnTo>
                    <a:lnTo>
                      <a:pt x="193" y="1391"/>
                    </a:lnTo>
                    <a:lnTo>
                      <a:pt x="193" y="1389"/>
                    </a:lnTo>
                    <a:lnTo>
                      <a:pt x="195" y="1389"/>
                    </a:lnTo>
                    <a:lnTo>
                      <a:pt x="195" y="1387"/>
                    </a:lnTo>
                    <a:lnTo>
                      <a:pt x="195" y="1385"/>
                    </a:lnTo>
                    <a:lnTo>
                      <a:pt x="197" y="1384"/>
                    </a:lnTo>
                    <a:lnTo>
                      <a:pt x="195" y="1384"/>
                    </a:lnTo>
                    <a:lnTo>
                      <a:pt x="193" y="1384"/>
                    </a:lnTo>
                    <a:lnTo>
                      <a:pt x="193" y="1382"/>
                    </a:lnTo>
                    <a:lnTo>
                      <a:pt x="193" y="1384"/>
                    </a:lnTo>
                    <a:lnTo>
                      <a:pt x="191" y="1382"/>
                    </a:lnTo>
                    <a:lnTo>
                      <a:pt x="189" y="1382"/>
                    </a:lnTo>
                    <a:lnTo>
                      <a:pt x="189" y="1380"/>
                    </a:lnTo>
                    <a:lnTo>
                      <a:pt x="187" y="1380"/>
                    </a:lnTo>
                    <a:lnTo>
                      <a:pt x="187" y="1378"/>
                    </a:lnTo>
                    <a:lnTo>
                      <a:pt x="187" y="1380"/>
                    </a:lnTo>
                    <a:lnTo>
                      <a:pt x="187" y="1378"/>
                    </a:lnTo>
                    <a:lnTo>
                      <a:pt x="185" y="1376"/>
                    </a:lnTo>
                    <a:lnTo>
                      <a:pt x="187" y="1376"/>
                    </a:lnTo>
                    <a:lnTo>
                      <a:pt x="185" y="1376"/>
                    </a:lnTo>
                    <a:lnTo>
                      <a:pt x="185" y="1374"/>
                    </a:lnTo>
                    <a:lnTo>
                      <a:pt x="185" y="1372"/>
                    </a:lnTo>
                    <a:lnTo>
                      <a:pt x="183" y="1372"/>
                    </a:lnTo>
                    <a:lnTo>
                      <a:pt x="185" y="1368"/>
                    </a:lnTo>
                    <a:lnTo>
                      <a:pt x="183" y="1366"/>
                    </a:lnTo>
                    <a:lnTo>
                      <a:pt x="183" y="1368"/>
                    </a:lnTo>
                    <a:lnTo>
                      <a:pt x="183" y="1366"/>
                    </a:lnTo>
                    <a:lnTo>
                      <a:pt x="183" y="1368"/>
                    </a:lnTo>
                    <a:lnTo>
                      <a:pt x="181" y="1366"/>
                    </a:lnTo>
                    <a:lnTo>
                      <a:pt x="180" y="1364"/>
                    </a:lnTo>
                    <a:lnTo>
                      <a:pt x="178" y="1363"/>
                    </a:lnTo>
                    <a:lnTo>
                      <a:pt x="180" y="1361"/>
                    </a:lnTo>
                    <a:lnTo>
                      <a:pt x="181" y="1359"/>
                    </a:lnTo>
                    <a:lnTo>
                      <a:pt x="180" y="1357"/>
                    </a:lnTo>
                    <a:lnTo>
                      <a:pt x="181" y="1357"/>
                    </a:lnTo>
                    <a:lnTo>
                      <a:pt x="181" y="1355"/>
                    </a:lnTo>
                    <a:lnTo>
                      <a:pt x="181" y="1353"/>
                    </a:lnTo>
                    <a:lnTo>
                      <a:pt x="180" y="1353"/>
                    </a:lnTo>
                    <a:lnTo>
                      <a:pt x="180" y="1351"/>
                    </a:lnTo>
                    <a:lnTo>
                      <a:pt x="180" y="1349"/>
                    </a:lnTo>
                    <a:lnTo>
                      <a:pt x="180" y="1347"/>
                    </a:lnTo>
                    <a:lnTo>
                      <a:pt x="181" y="1347"/>
                    </a:lnTo>
                    <a:lnTo>
                      <a:pt x="180" y="1345"/>
                    </a:lnTo>
                    <a:lnTo>
                      <a:pt x="181" y="1343"/>
                    </a:lnTo>
                    <a:lnTo>
                      <a:pt x="180" y="1343"/>
                    </a:lnTo>
                    <a:lnTo>
                      <a:pt x="181" y="1343"/>
                    </a:lnTo>
                    <a:lnTo>
                      <a:pt x="180" y="1340"/>
                    </a:lnTo>
                    <a:lnTo>
                      <a:pt x="180" y="1342"/>
                    </a:lnTo>
                    <a:lnTo>
                      <a:pt x="178" y="1342"/>
                    </a:lnTo>
                    <a:lnTo>
                      <a:pt x="178" y="1340"/>
                    </a:lnTo>
                    <a:lnTo>
                      <a:pt x="176" y="1340"/>
                    </a:lnTo>
                    <a:lnTo>
                      <a:pt x="176" y="1338"/>
                    </a:lnTo>
                    <a:lnTo>
                      <a:pt x="174" y="1338"/>
                    </a:lnTo>
                    <a:lnTo>
                      <a:pt x="174" y="1336"/>
                    </a:lnTo>
                    <a:lnTo>
                      <a:pt x="172" y="1336"/>
                    </a:lnTo>
                    <a:lnTo>
                      <a:pt x="172" y="1334"/>
                    </a:lnTo>
                    <a:lnTo>
                      <a:pt x="170" y="1334"/>
                    </a:lnTo>
                    <a:lnTo>
                      <a:pt x="168" y="1334"/>
                    </a:lnTo>
                    <a:lnTo>
                      <a:pt x="166" y="1334"/>
                    </a:lnTo>
                    <a:lnTo>
                      <a:pt x="164" y="1334"/>
                    </a:lnTo>
                    <a:lnTo>
                      <a:pt x="162" y="1336"/>
                    </a:lnTo>
                    <a:lnTo>
                      <a:pt x="160" y="1336"/>
                    </a:lnTo>
                    <a:lnTo>
                      <a:pt x="159" y="1338"/>
                    </a:lnTo>
                    <a:lnTo>
                      <a:pt x="157" y="1338"/>
                    </a:lnTo>
                    <a:lnTo>
                      <a:pt x="155" y="1338"/>
                    </a:lnTo>
                    <a:lnTo>
                      <a:pt x="155" y="1336"/>
                    </a:lnTo>
                    <a:lnTo>
                      <a:pt x="157" y="1336"/>
                    </a:lnTo>
                    <a:lnTo>
                      <a:pt x="157" y="1334"/>
                    </a:lnTo>
                    <a:lnTo>
                      <a:pt x="157" y="1332"/>
                    </a:lnTo>
                    <a:lnTo>
                      <a:pt x="157" y="1330"/>
                    </a:lnTo>
                    <a:lnTo>
                      <a:pt x="155" y="1330"/>
                    </a:lnTo>
                    <a:lnTo>
                      <a:pt x="153" y="1330"/>
                    </a:lnTo>
                    <a:lnTo>
                      <a:pt x="151" y="1330"/>
                    </a:lnTo>
                    <a:lnTo>
                      <a:pt x="151" y="1328"/>
                    </a:lnTo>
                    <a:lnTo>
                      <a:pt x="149" y="1330"/>
                    </a:lnTo>
                    <a:lnTo>
                      <a:pt x="147" y="1330"/>
                    </a:lnTo>
                    <a:lnTo>
                      <a:pt x="147" y="1332"/>
                    </a:lnTo>
                    <a:lnTo>
                      <a:pt x="147" y="1330"/>
                    </a:lnTo>
                    <a:lnTo>
                      <a:pt x="145" y="1330"/>
                    </a:lnTo>
                    <a:lnTo>
                      <a:pt x="143" y="1328"/>
                    </a:lnTo>
                    <a:lnTo>
                      <a:pt x="145" y="1326"/>
                    </a:lnTo>
                    <a:lnTo>
                      <a:pt x="143" y="1326"/>
                    </a:lnTo>
                    <a:lnTo>
                      <a:pt x="141" y="1328"/>
                    </a:lnTo>
                    <a:lnTo>
                      <a:pt x="139" y="1326"/>
                    </a:lnTo>
                    <a:lnTo>
                      <a:pt x="139" y="1328"/>
                    </a:lnTo>
                    <a:lnTo>
                      <a:pt x="138" y="1328"/>
                    </a:lnTo>
                    <a:lnTo>
                      <a:pt x="138" y="1326"/>
                    </a:lnTo>
                    <a:lnTo>
                      <a:pt x="136" y="1326"/>
                    </a:lnTo>
                    <a:lnTo>
                      <a:pt x="136" y="1324"/>
                    </a:lnTo>
                    <a:lnTo>
                      <a:pt x="138" y="1323"/>
                    </a:lnTo>
                    <a:lnTo>
                      <a:pt x="136" y="1319"/>
                    </a:lnTo>
                    <a:lnTo>
                      <a:pt x="138" y="1319"/>
                    </a:lnTo>
                    <a:lnTo>
                      <a:pt x="138" y="1317"/>
                    </a:lnTo>
                    <a:lnTo>
                      <a:pt x="136" y="1317"/>
                    </a:lnTo>
                    <a:lnTo>
                      <a:pt x="136" y="1315"/>
                    </a:lnTo>
                    <a:lnTo>
                      <a:pt x="136" y="1313"/>
                    </a:lnTo>
                    <a:lnTo>
                      <a:pt x="134" y="1313"/>
                    </a:lnTo>
                    <a:lnTo>
                      <a:pt x="134" y="1311"/>
                    </a:lnTo>
                    <a:lnTo>
                      <a:pt x="132" y="1309"/>
                    </a:lnTo>
                    <a:lnTo>
                      <a:pt x="134" y="1307"/>
                    </a:lnTo>
                    <a:lnTo>
                      <a:pt x="134" y="1305"/>
                    </a:lnTo>
                    <a:lnTo>
                      <a:pt x="132" y="1307"/>
                    </a:lnTo>
                    <a:lnTo>
                      <a:pt x="132" y="1305"/>
                    </a:lnTo>
                    <a:lnTo>
                      <a:pt x="128" y="1305"/>
                    </a:lnTo>
                    <a:lnTo>
                      <a:pt x="128" y="1303"/>
                    </a:lnTo>
                    <a:lnTo>
                      <a:pt x="130" y="1303"/>
                    </a:lnTo>
                    <a:lnTo>
                      <a:pt x="130" y="1302"/>
                    </a:lnTo>
                    <a:lnTo>
                      <a:pt x="130" y="1298"/>
                    </a:lnTo>
                    <a:lnTo>
                      <a:pt x="132" y="1296"/>
                    </a:lnTo>
                    <a:lnTo>
                      <a:pt x="132" y="1294"/>
                    </a:lnTo>
                    <a:lnTo>
                      <a:pt x="132" y="1292"/>
                    </a:lnTo>
                    <a:lnTo>
                      <a:pt x="130" y="1292"/>
                    </a:lnTo>
                    <a:lnTo>
                      <a:pt x="128" y="1290"/>
                    </a:lnTo>
                    <a:lnTo>
                      <a:pt x="126" y="1288"/>
                    </a:lnTo>
                    <a:lnTo>
                      <a:pt x="126" y="1286"/>
                    </a:lnTo>
                    <a:lnTo>
                      <a:pt x="124" y="1286"/>
                    </a:lnTo>
                    <a:lnTo>
                      <a:pt x="122" y="1284"/>
                    </a:lnTo>
                    <a:lnTo>
                      <a:pt x="124" y="1282"/>
                    </a:lnTo>
                    <a:lnTo>
                      <a:pt x="124" y="1281"/>
                    </a:lnTo>
                    <a:lnTo>
                      <a:pt x="126" y="1281"/>
                    </a:lnTo>
                    <a:lnTo>
                      <a:pt x="126" y="1279"/>
                    </a:lnTo>
                    <a:lnTo>
                      <a:pt x="126" y="1277"/>
                    </a:lnTo>
                    <a:lnTo>
                      <a:pt x="128" y="1277"/>
                    </a:lnTo>
                    <a:lnTo>
                      <a:pt x="130" y="1277"/>
                    </a:lnTo>
                    <a:lnTo>
                      <a:pt x="130" y="1275"/>
                    </a:lnTo>
                    <a:lnTo>
                      <a:pt x="128" y="1275"/>
                    </a:lnTo>
                    <a:lnTo>
                      <a:pt x="130" y="1275"/>
                    </a:lnTo>
                    <a:lnTo>
                      <a:pt x="128" y="1273"/>
                    </a:lnTo>
                    <a:lnTo>
                      <a:pt x="128" y="1271"/>
                    </a:lnTo>
                    <a:lnTo>
                      <a:pt x="130" y="1271"/>
                    </a:lnTo>
                    <a:lnTo>
                      <a:pt x="132" y="1273"/>
                    </a:lnTo>
                    <a:lnTo>
                      <a:pt x="132" y="1275"/>
                    </a:lnTo>
                    <a:lnTo>
                      <a:pt x="134" y="1277"/>
                    </a:lnTo>
                    <a:lnTo>
                      <a:pt x="134" y="1275"/>
                    </a:lnTo>
                    <a:lnTo>
                      <a:pt x="134" y="1277"/>
                    </a:lnTo>
                    <a:lnTo>
                      <a:pt x="136" y="1275"/>
                    </a:lnTo>
                    <a:lnTo>
                      <a:pt x="136" y="1277"/>
                    </a:lnTo>
                    <a:lnTo>
                      <a:pt x="136" y="1275"/>
                    </a:lnTo>
                    <a:lnTo>
                      <a:pt x="136" y="1273"/>
                    </a:lnTo>
                    <a:lnTo>
                      <a:pt x="136" y="1271"/>
                    </a:lnTo>
                    <a:lnTo>
                      <a:pt x="136" y="1269"/>
                    </a:lnTo>
                    <a:lnTo>
                      <a:pt x="134" y="1267"/>
                    </a:lnTo>
                    <a:lnTo>
                      <a:pt x="132" y="1267"/>
                    </a:lnTo>
                    <a:lnTo>
                      <a:pt x="130" y="1265"/>
                    </a:lnTo>
                    <a:lnTo>
                      <a:pt x="128" y="1267"/>
                    </a:lnTo>
                    <a:lnTo>
                      <a:pt x="128" y="1269"/>
                    </a:lnTo>
                    <a:lnTo>
                      <a:pt x="128" y="1267"/>
                    </a:lnTo>
                    <a:lnTo>
                      <a:pt x="128" y="1265"/>
                    </a:lnTo>
                    <a:lnTo>
                      <a:pt x="126" y="1265"/>
                    </a:lnTo>
                    <a:lnTo>
                      <a:pt x="126" y="1263"/>
                    </a:lnTo>
                    <a:lnTo>
                      <a:pt x="126" y="1261"/>
                    </a:lnTo>
                    <a:lnTo>
                      <a:pt x="128" y="1261"/>
                    </a:lnTo>
                    <a:lnTo>
                      <a:pt x="128" y="1263"/>
                    </a:lnTo>
                    <a:lnTo>
                      <a:pt x="128" y="1261"/>
                    </a:lnTo>
                    <a:lnTo>
                      <a:pt x="128" y="1260"/>
                    </a:lnTo>
                    <a:lnTo>
                      <a:pt x="130" y="1258"/>
                    </a:lnTo>
                    <a:lnTo>
                      <a:pt x="132" y="1258"/>
                    </a:lnTo>
                    <a:lnTo>
                      <a:pt x="132" y="1256"/>
                    </a:lnTo>
                    <a:lnTo>
                      <a:pt x="130" y="1258"/>
                    </a:lnTo>
                    <a:lnTo>
                      <a:pt x="132" y="1256"/>
                    </a:lnTo>
                    <a:lnTo>
                      <a:pt x="130" y="1252"/>
                    </a:lnTo>
                    <a:lnTo>
                      <a:pt x="130" y="1246"/>
                    </a:lnTo>
                    <a:lnTo>
                      <a:pt x="130" y="1242"/>
                    </a:lnTo>
                    <a:lnTo>
                      <a:pt x="130" y="1237"/>
                    </a:lnTo>
                    <a:lnTo>
                      <a:pt x="132" y="1235"/>
                    </a:lnTo>
                    <a:lnTo>
                      <a:pt x="132" y="1233"/>
                    </a:lnTo>
                    <a:lnTo>
                      <a:pt x="134" y="1233"/>
                    </a:lnTo>
                    <a:lnTo>
                      <a:pt x="136" y="1233"/>
                    </a:lnTo>
                    <a:lnTo>
                      <a:pt x="138" y="1231"/>
                    </a:lnTo>
                    <a:lnTo>
                      <a:pt x="138" y="1229"/>
                    </a:lnTo>
                    <a:lnTo>
                      <a:pt x="134" y="1227"/>
                    </a:lnTo>
                    <a:lnTo>
                      <a:pt x="136" y="1223"/>
                    </a:lnTo>
                    <a:lnTo>
                      <a:pt x="134" y="1219"/>
                    </a:lnTo>
                    <a:lnTo>
                      <a:pt x="134" y="1218"/>
                    </a:lnTo>
                    <a:lnTo>
                      <a:pt x="136" y="1216"/>
                    </a:lnTo>
                    <a:lnTo>
                      <a:pt x="138" y="1218"/>
                    </a:lnTo>
                    <a:lnTo>
                      <a:pt x="138" y="1219"/>
                    </a:lnTo>
                    <a:lnTo>
                      <a:pt x="139" y="1219"/>
                    </a:lnTo>
                    <a:lnTo>
                      <a:pt x="141" y="1219"/>
                    </a:lnTo>
                    <a:lnTo>
                      <a:pt x="141" y="1216"/>
                    </a:lnTo>
                    <a:lnTo>
                      <a:pt x="143" y="1214"/>
                    </a:lnTo>
                    <a:lnTo>
                      <a:pt x="143" y="1216"/>
                    </a:lnTo>
                    <a:lnTo>
                      <a:pt x="145" y="1216"/>
                    </a:lnTo>
                    <a:lnTo>
                      <a:pt x="145" y="1218"/>
                    </a:lnTo>
                    <a:lnTo>
                      <a:pt x="147" y="1216"/>
                    </a:lnTo>
                    <a:lnTo>
                      <a:pt x="147" y="1218"/>
                    </a:lnTo>
                    <a:lnTo>
                      <a:pt x="147" y="1216"/>
                    </a:lnTo>
                    <a:lnTo>
                      <a:pt x="149" y="1216"/>
                    </a:lnTo>
                    <a:lnTo>
                      <a:pt x="151" y="1214"/>
                    </a:lnTo>
                    <a:lnTo>
                      <a:pt x="149" y="1212"/>
                    </a:lnTo>
                    <a:lnTo>
                      <a:pt x="151" y="1212"/>
                    </a:lnTo>
                    <a:lnTo>
                      <a:pt x="151" y="1210"/>
                    </a:lnTo>
                    <a:lnTo>
                      <a:pt x="153" y="1210"/>
                    </a:lnTo>
                    <a:lnTo>
                      <a:pt x="159" y="1212"/>
                    </a:lnTo>
                    <a:lnTo>
                      <a:pt x="160" y="1212"/>
                    </a:lnTo>
                    <a:lnTo>
                      <a:pt x="160" y="1210"/>
                    </a:lnTo>
                    <a:lnTo>
                      <a:pt x="160" y="1212"/>
                    </a:lnTo>
                    <a:lnTo>
                      <a:pt x="162" y="1212"/>
                    </a:lnTo>
                    <a:lnTo>
                      <a:pt x="166" y="1214"/>
                    </a:lnTo>
                    <a:lnTo>
                      <a:pt x="168" y="1214"/>
                    </a:lnTo>
                    <a:lnTo>
                      <a:pt x="170" y="1214"/>
                    </a:lnTo>
                    <a:lnTo>
                      <a:pt x="168" y="1214"/>
                    </a:lnTo>
                    <a:lnTo>
                      <a:pt x="170" y="1214"/>
                    </a:lnTo>
                    <a:lnTo>
                      <a:pt x="168" y="1214"/>
                    </a:lnTo>
                    <a:lnTo>
                      <a:pt x="170" y="1212"/>
                    </a:lnTo>
                    <a:lnTo>
                      <a:pt x="168" y="1212"/>
                    </a:lnTo>
                    <a:lnTo>
                      <a:pt x="170" y="1212"/>
                    </a:lnTo>
                    <a:lnTo>
                      <a:pt x="170" y="1210"/>
                    </a:lnTo>
                    <a:lnTo>
                      <a:pt x="168" y="1210"/>
                    </a:lnTo>
                    <a:lnTo>
                      <a:pt x="170" y="1210"/>
                    </a:lnTo>
                    <a:lnTo>
                      <a:pt x="166" y="1210"/>
                    </a:lnTo>
                    <a:lnTo>
                      <a:pt x="164" y="1210"/>
                    </a:lnTo>
                    <a:lnTo>
                      <a:pt x="164" y="1208"/>
                    </a:lnTo>
                    <a:lnTo>
                      <a:pt x="164" y="1206"/>
                    </a:lnTo>
                    <a:lnTo>
                      <a:pt x="164" y="1204"/>
                    </a:lnTo>
                    <a:lnTo>
                      <a:pt x="159" y="1204"/>
                    </a:lnTo>
                    <a:lnTo>
                      <a:pt x="157" y="1204"/>
                    </a:lnTo>
                    <a:lnTo>
                      <a:pt x="153" y="1204"/>
                    </a:lnTo>
                    <a:lnTo>
                      <a:pt x="151" y="1204"/>
                    </a:lnTo>
                    <a:lnTo>
                      <a:pt x="149" y="1200"/>
                    </a:lnTo>
                    <a:lnTo>
                      <a:pt x="149" y="1202"/>
                    </a:lnTo>
                    <a:lnTo>
                      <a:pt x="147" y="1200"/>
                    </a:lnTo>
                    <a:lnTo>
                      <a:pt x="147" y="1198"/>
                    </a:lnTo>
                    <a:lnTo>
                      <a:pt x="145" y="1200"/>
                    </a:lnTo>
                    <a:lnTo>
                      <a:pt x="143" y="1198"/>
                    </a:lnTo>
                    <a:lnTo>
                      <a:pt x="143" y="1197"/>
                    </a:lnTo>
                    <a:lnTo>
                      <a:pt x="141" y="1193"/>
                    </a:lnTo>
                    <a:lnTo>
                      <a:pt x="145" y="1197"/>
                    </a:lnTo>
                    <a:lnTo>
                      <a:pt x="145" y="1193"/>
                    </a:lnTo>
                    <a:lnTo>
                      <a:pt x="143" y="1193"/>
                    </a:lnTo>
                    <a:lnTo>
                      <a:pt x="145" y="1193"/>
                    </a:lnTo>
                    <a:lnTo>
                      <a:pt x="143" y="1193"/>
                    </a:lnTo>
                    <a:lnTo>
                      <a:pt x="145" y="1193"/>
                    </a:lnTo>
                    <a:lnTo>
                      <a:pt x="143" y="1191"/>
                    </a:lnTo>
                    <a:lnTo>
                      <a:pt x="145" y="1191"/>
                    </a:lnTo>
                    <a:lnTo>
                      <a:pt x="145" y="1189"/>
                    </a:lnTo>
                    <a:lnTo>
                      <a:pt x="145" y="1191"/>
                    </a:lnTo>
                    <a:lnTo>
                      <a:pt x="145" y="1189"/>
                    </a:lnTo>
                    <a:lnTo>
                      <a:pt x="143" y="1189"/>
                    </a:lnTo>
                    <a:lnTo>
                      <a:pt x="145" y="1189"/>
                    </a:lnTo>
                    <a:lnTo>
                      <a:pt x="145" y="1187"/>
                    </a:lnTo>
                    <a:lnTo>
                      <a:pt x="145" y="1185"/>
                    </a:lnTo>
                    <a:lnTo>
                      <a:pt x="143" y="1187"/>
                    </a:lnTo>
                    <a:lnTo>
                      <a:pt x="143" y="1189"/>
                    </a:lnTo>
                    <a:lnTo>
                      <a:pt x="143" y="1187"/>
                    </a:lnTo>
                    <a:lnTo>
                      <a:pt x="143" y="1189"/>
                    </a:lnTo>
                    <a:lnTo>
                      <a:pt x="141" y="1187"/>
                    </a:lnTo>
                    <a:lnTo>
                      <a:pt x="141" y="1189"/>
                    </a:lnTo>
                    <a:lnTo>
                      <a:pt x="139" y="1189"/>
                    </a:lnTo>
                    <a:lnTo>
                      <a:pt x="139" y="1191"/>
                    </a:lnTo>
                    <a:lnTo>
                      <a:pt x="139" y="1189"/>
                    </a:lnTo>
                    <a:lnTo>
                      <a:pt x="139" y="1191"/>
                    </a:lnTo>
                    <a:lnTo>
                      <a:pt x="138" y="1191"/>
                    </a:lnTo>
                    <a:lnTo>
                      <a:pt x="138" y="1193"/>
                    </a:lnTo>
                    <a:lnTo>
                      <a:pt x="136" y="1193"/>
                    </a:lnTo>
                    <a:lnTo>
                      <a:pt x="134" y="1193"/>
                    </a:lnTo>
                    <a:lnTo>
                      <a:pt x="134" y="1195"/>
                    </a:lnTo>
                    <a:lnTo>
                      <a:pt x="134" y="1193"/>
                    </a:lnTo>
                    <a:lnTo>
                      <a:pt x="132" y="1193"/>
                    </a:lnTo>
                    <a:lnTo>
                      <a:pt x="132" y="1195"/>
                    </a:lnTo>
                    <a:lnTo>
                      <a:pt x="130" y="1195"/>
                    </a:lnTo>
                    <a:lnTo>
                      <a:pt x="130" y="1193"/>
                    </a:lnTo>
                    <a:lnTo>
                      <a:pt x="132" y="1193"/>
                    </a:lnTo>
                    <a:lnTo>
                      <a:pt x="130" y="1193"/>
                    </a:lnTo>
                    <a:lnTo>
                      <a:pt x="132" y="1191"/>
                    </a:lnTo>
                    <a:lnTo>
                      <a:pt x="136" y="1185"/>
                    </a:lnTo>
                    <a:lnTo>
                      <a:pt x="138" y="1185"/>
                    </a:lnTo>
                    <a:lnTo>
                      <a:pt x="139" y="1181"/>
                    </a:lnTo>
                    <a:lnTo>
                      <a:pt x="141" y="1179"/>
                    </a:lnTo>
                    <a:lnTo>
                      <a:pt x="145" y="1179"/>
                    </a:lnTo>
                    <a:lnTo>
                      <a:pt x="145" y="1176"/>
                    </a:lnTo>
                    <a:lnTo>
                      <a:pt x="147" y="1174"/>
                    </a:lnTo>
                    <a:lnTo>
                      <a:pt x="149" y="1172"/>
                    </a:lnTo>
                    <a:lnTo>
                      <a:pt x="153" y="1168"/>
                    </a:lnTo>
                    <a:lnTo>
                      <a:pt x="155" y="1166"/>
                    </a:lnTo>
                    <a:lnTo>
                      <a:pt x="159" y="1162"/>
                    </a:lnTo>
                    <a:lnTo>
                      <a:pt x="159" y="1160"/>
                    </a:lnTo>
                    <a:lnTo>
                      <a:pt x="162" y="1158"/>
                    </a:lnTo>
                    <a:lnTo>
                      <a:pt x="162" y="1157"/>
                    </a:lnTo>
                    <a:lnTo>
                      <a:pt x="166" y="1153"/>
                    </a:lnTo>
                    <a:lnTo>
                      <a:pt x="166" y="1151"/>
                    </a:lnTo>
                    <a:lnTo>
                      <a:pt x="170" y="1147"/>
                    </a:lnTo>
                    <a:lnTo>
                      <a:pt x="170" y="1145"/>
                    </a:lnTo>
                    <a:lnTo>
                      <a:pt x="172" y="1143"/>
                    </a:lnTo>
                    <a:lnTo>
                      <a:pt x="176" y="1139"/>
                    </a:lnTo>
                    <a:lnTo>
                      <a:pt x="176" y="1137"/>
                    </a:lnTo>
                    <a:lnTo>
                      <a:pt x="178" y="1137"/>
                    </a:lnTo>
                    <a:lnTo>
                      <a:pt x="178" y="1136"/>
                    </a:lnTo>
                    <a:lnTo>
                      <a:pt x="180" y="1134"/>
                    </a:lnTo>
                    <a:lnTo>
                      <a:pt x="181" y="1134"/>
                    </a:lnTo>
                    <a:lnTo>
                      <a:pt x="183" y="1128"/>
                    </a:lnTo>
                    <a:lnTo>
                      <a:pt x="185" y="1128"/>
                    </a:lnTo>
                    <a:lnTo>
                      <a:pt x="187" y="1122"/>
                    </a:lnTo>
                    <a:lnTo>
                      <a:pt x="189" y="1116"/>
                    </a:lnTo>
                    <a:lnTo>
                      <a:pt x="191" y="1113"/>
                    </a:lnTo>
                    <a:lnTo>
                      <a:pt x="189" y="1109"/>
                    </a:lnTo>
                    <a:lnTo>
                      <a:pt x="185" y="1105"/>
                    </a:lnTo>
                    <a:lnTo>
                      <a:pt x="185" y="1101"/>
                    </a:lnTo>
                    <a:lnTo>
                      <a:pt x="181" y="1099"/>
                    </a:lnTo>
                    <a:lnTo>
                      <a:pt x="180" y="1097"/>
                    </a:lnTo>
                    <a:lnTo>
                      <a:pt x="178" y="1095"/>
                    </a:lnTo>
                    <a:lnTo>
                      <a:pt x="174" y="1094"/>
                    </a:lnTo>
                    <a:lnTo>
                      <a:pt x="172" y="1090"/>
                    </a:lnTo>
                    <a:lnTo>
                      <a:pt x="170" y="1090"/>
                    </a:lnTo>
                    <a:lnTo>
                      <a:pt x="164" y="1082"/>
                    </a:lnTo>
                    <a:lnTo>
                      <a:pt x="170" y="1080"/>
                    </a:lnTo>
                    <a:lnTo>
                      <a:pt x="170" y="1076"/>
                    </a:lnTo>
                    <a:lnTo>
                      <a:pt x="174" y="1073"/>
                    </a:lnTo>
                    <a:lnTo>
                      <a:pt x="174" y="1069"/>
                    </a:lnTo>
                    <a:lnTo>
                      <a:pt x="174" y="1067"/>
                    </a:lnTo>
                    <a:lnTo>
                      <a:pt x="174" y="1065"/>
                    </a:lnTo>
                    <a:lnTo>
                      <a:pt x="172" y="1065"/>
                    </a:lnTo>
                    <a:lnTo>
                      <a:pt x="172" y="1063"/>
                    </a:lnTo>
                    <a:lnTo>
                      <a:pt x="168" y="1061"/>
                    </a:lnTo>
                    <a:lnTo>
                      <a:pt x="166" y="1059"/>
                    </a:lnTo>
                    <a:lnTo>
                      <a:pt x="166" y="1057"/>
                    </a:lnTo>
                    <a:lnTo>
                      <a:pt x="166" y="1053"/>
                    </a:lnTo>
                    <a:lnTo>
                      <a:pt x="166" y="1052"/>
                    </a:lnTo>
                    <a:lnTo>
                      <a:pt x="168" y="1052"/>
                    </a:lnTo>
                    <a:lnTo>
                      <a:pt x="166" y="1046"/>
                    </a:lnTo>
                    <a:lnTo>
                      <a:pt x="166" y="1044"/>
                    </a:lnTo>
                    <a:lnTo>
                      <a:pt x="162" y="1044"/>
                    </a:lnTo>
                    <a:lnTo>
                      <a:pt x="160" y="1044"/>
                    </a:lnTo>
                    <a:lnTo>
                      <a:pt x="160" y="1042"/>
                    </a:lnTo>
                    <a:lnTo>
                      <a:pt x="159" y="1040"/>
                    </a:lnTo>
                    <a:lnTo>
                      <a:pt x="160" y="1034"/>
                    </a:lnTo>
                    <a:lnTo>
                      <a:pt x="164" y="1032"/>
                    </a:lnTo>
                    <a:lnTo>
                      <a:pt x="162" y="1031"/>
                    </a:lnTo>
                    <a:lnTo>
                      <a:pt x="164" y="1029"/>
                    </a:lnTo>
                    <a:lnTo>
                      <a:pt x="162" y="1029"/>
                    </a:lnTo>
                    <a:lnTo>
                      <a:pt x="160" y="1029"/>
                    </a:lnTo>
                    <a:lnTo>
                      <a:pt x="159" y="1027"/>
                    </a:lnTo>
                    <a:lnTo>
                      <a:pt x="162" y="1023"/>
                    </a:lnTo>
                    <a:lnTo>
                      <a:pt x="160" y="1019"/>
                    </a:lnTo>
                    <a:lnTo>
                      <a:pt x="164" y="1015"/>
                    </a:lnTo>
                    <a:lnTo>
                      <a:pt x="160" y="1013"/>
                    </a:lnTo>
                    <a:lnTo>
                      <a:pt x="166" y="1010"/>
                    </a:lnTo>
                    <a:lnTo>
                      <a:pt x="168" y="1011"/>
                    </a:lnTo>
                    <a:lnTo>
                      <a:pt x="168" y="1010"/>
                    </a:lnTo>
                    <a:lnTo>
                      <a:pt x="166" y="1002"/>
                    </a:lnTo>
                    <a:lnTo>
                      <a:pt x="164" y="994"/>
                    </a:lnTo>
                    <a:lnTo>
                      <a:pt x="160" y="989"/>
                    </a:lnTo>
                    <a:lnTo>
                      <a:pt x="159" y="977"/>
                    </a:lnTo>
                    <a:lnTo>
                      <a:pt x="155" y="973"/>
                    </a:lnTo>
                    <a:lnTo>
                      <a:pt x="151" y="968"/>
                    </a:lnTo>
                    <a:lnTo>
                      <a:pt x="151" y="962"/>
                    </a:lnTo>
                    <a:lnTo>
                      <a:pt x="151" y="958"/>
                    </a:lnTo>
                    <a:lnTo>
                      <a:pt x="159" y="947"/>
                    </a:lnTo>
                    <a:lnTo>
                      <a:pt x="160" y="945"/>
                    </a:lnTo>
                    <a:lnTo>
                      <a:pt x="164" y="937"/>
                    </a:lnTo>
                    <a:lnTo>
                      <a:pt x="166" y="931"/>
                    </a:lnTo>
                    <a:lnTo>
                      <a:pt x="160" y="926"/>
                    </a:lnTo>
                    <a:lnTo>
                      <a:pt x="155" y="914"/>
                    </a:lnTo>
                    <a:lnTo>
                      <a:pt x="143" y="908"/>
                    </a:lnTo>
                    <a:lnTo>
                      <a:pt x="141" y="893"/>
                    </a:lnTo>
                    <a:lnTo>
                      <a:pt x="145" y="886"/>
                    </a:lnTo>
                    <a:lnTo>
                      <a:pt x="147" y="880"/>
                    </a:lnTo>
                    <a:lnTo>
                      <a:pt x="145" y="878"/>
                    </a:lnTo>
                    <a:lnTo>
                      <a:pt x="141" y="878"/>
                    </a:lnTo>
                    <a:lnTo>
                      <a:pt x="149" y="872"/>
                    </a:lnTo>
                    <a:lnTo>
                      <a:pt x="151" y="872"/>
                    </a:lnTo>
                    <a:lnTo>
                      <a:pt x="153" y="868"/>
                    </a:lnTo>
                    <a:lnTo>
                      <a:pt x="155" y="863"/>
                    </a:lnTo>
                    <a:lnTo>
                      <a:pt x="155" y="861"/>
                    </a:lnTo>
                    <a:lnTo>
                      <a:pt x="157" y="859"/>
                    </a:lnTo>
                    <a:lnTo>
                      <a:pt x="159" y="859"/>
                    </a:lnTo>
                    <a:lnTo>
                      <a:pt x="160" y="857"/>
                    </a:lnTo>
                    <a:lnTo>
                      <a:pt x="162" y="855"/>
                    </a:lnTo>
                    <a:lnTo>
                      <a:pt x="164" y="855"/>
                    </a:lnTo>
                    <a:lnTo>
                      <a:pt x="166" y="855"/>
                    </a:lnTo>
                    <a:lnTo>
                      <a:pt x="168" y="853"/>
                    </a:lnTo>
                    <a:lnTo>
                      <a:pt x="168" y="851"/>
                    </a:lnTo>
                    <a:lnTo>
                      <a:pt x="168" y="847"/>
                    </a:lnTo>
                    <a:lnTo>
                      <a:pt x="168" y="845"/>
                    </a:lnTo>
                    <a:lnTo>
                      <a:pt x="166" y="845"/>
                    </a:lnTo>
                    <a:lnTo>
                      <a:pt x="166" y="844"/>
                    </a:lnTo>
                    <a:lnTo>
                      <a:pt x="168" y="844"/>
                    </a:lnTo>
                    <a:lnTo>
                      <a:pt x="170" y="844"/>
                    </a:lnTo>
                    <a:lnTo>
                      <a:pt x="174" y="849"/>
                    </a:lnTo>
                    <a:lnTo>
                      <a:pt x="180" y="849"/>
                    </a:lnTo>
                    <a:lnTo>
                      <a:pt x="181" y="849"/>
                    </a:lnTo>
                    <a:lnTo>
                      <a:pt x="181" y="844"/>
                    </a:lnTo>
                    <a:lnTo>
                      <a:pt x="180" y="842"/>
                    </a:lnTo>
                    <a:lnTo>
                      <a:pt x="180" y="840"/>
                    </a:lnTo>
                    <a:lnTo>
                      <a:pt x="180" y="838"/>
                    </a:lnTo>
                    <a:lnTo>
                      <a:pt x="180" y="840"/>
                    </a:lnTo>
                    <a:lnTo>
                      <a:pt x="181" y="838"/>
                    </a:lnTo>
                    <a:lnTo>
                      <a:pt x="183" y="840"/>
                    </a:lnTo>
                    <a:lnTo>
                      <a:pt x="189" y="842"/>
                    </a:lnTo>
                    <a:lnTo>
                      <a:pt x="189" y="844"/>
                    </a:lnTo>
                    <a:lnTo>
                      <a:pt x="187" y="845"/>
                    </a:lnTo>
                    <a:lnTo>
                      <a:pt x="189" y="845"/>
                    </a:lnTo>
                    <a:lnTo>
                      <a:pt x="189" y="844"/>
                    </a:lnTo>
                    <a:lnTo>
                      <a:pt x="189" y="845"/>
                    </a:lnTo>
                    <a:lnTo>
                      <a:pt x="189" y="844"/>
                    </a:lnTo>
                    <a:lnTo>
                      <a:pt x="193" y="844"/>
                    </a:lnTo>
                    <a:lnTo>
                      <a:pt x="195" y="844"/>
                    </a:lnTo>
                    <a:lnTo>
                      <a:pt x="193" y="842"/>
                    </a:lnTo>
                    <a:lnTo>
                      <a:pt x="193" y="836"/>
                    </a:lnTo>
                    <a:lnTo>
                      <a:pt x="195" y="836"/>
                    </a:lnTo>
                    <a:lnTo>
                      <a:pt x="199" y="840"/>
                    </a:lnTo>
                    <a:lnTo>
                      <a:pt x="199" y="836"/>
                    </a:lnTo>
                    <a:lnTo>
                      <a:pt x="197" y="834"/>
                    </a:lnTo>
                    <a:lnTo>
                      <a:pt x="197" y="832"/>
                    </a:lnTo>
                    <a:lnTo>
                      <a:pt x="197" y="830"/>
                    </a:lnTo>
                    <a:lnTo>
                      <a:pt x="197" y="832"/>
                    </a:lnTo>
                    <a:lnTo>
                      <a:pt x="199" y="830"/>
                    </a:lnTo>
                    <a:lnTo>
                      <a:pt x="200" y="832"/>
                    </a:lnTo>
                    <a:lnTo>
                      <a:pt x="202" y="834"/>
                    </a:lnTo>
                    <a:lnTo>
                      <a:pt x="204" y="834"/>
                    </a:lnTo>
                    <a:lnTo>
                      <a:pt x="206" y="836"/>
                    </a:lnTo>
                    <a:lnTo>
                      <a:pt x="206" y="838"/>
                    </a:lnTo>
                    <a:lnTo>
                      <a:pt x="208" y="838"/>
                    </a:lnTo>
                    <a:lnTo>
                      <a:pt x="212" y="838"/>
                    </a:lnTo>
                    <a:lnTo>
                      <a:pt x="214" y="840"/>
                    </a:lnTo>
                    <a:lnTo>
                      <a:pt x="216" y="842"/>
                    </a:lnTo>
                    <a:lnTo>
                      <a:pt x="214" y="845"/>
                    </a:lnTo>
                    <a:lnTo>
                      <a:pt x="212" y="847"/>
                    </a:lnTo>
                    <a:lnTo>
                      <a:pt x="210" y="847"/>
                    </a:lnTo>
                    <a:lnTo>
                      <a:pt x="206" y="847"/>
                    </a:lnTo>
                    <a:lnTo>
                      <a:pt x="204" y="845"/>
                    </a:lnTo>
                    <a:lnTo>
                      <a:pt x="200" y="845"/>
                    </a:lnTo>
                    <a:lnTo>
                      <a:pt x="200" y="844"/>
                    </a:lnTo>
                    <a:lnTo>
                      <a:pt x="200" y="840"/>
                    </a:lnTo>
                    <a:lnTo>
                      <a:pt x="199" y="840"/>
                    </a:lnTo>
                    <a:lnTo>
                      <a:pt x="200" y="842"/>
                    </a:lnTo>
                    <a:lnTo>
                      <a:pt x="199" y="844"/>
                    </a:lnTo>
                    <a:lnTo>
                      <a:pt x="199" y="845"/>
                    </a:lnTo>
                    <a:lnTo>
                      <a:pt x="197" y="845"/>
                    </a:lnTo>
                    <a:lnTo>
                      <a:pt x="199" y="847"/>
                    </a:lnTo>
                    <a:lnTo>
                      <a:pt x="199" y="849"/>
                    </a:lnTo>
                    <a:lnTo>
                      <a:pt x="199" y="847"/>
                    </a:lnTo>
                    <a:lnTo>
                      <a:pt x="204" y="849"/>
                    </a:lnTo>
                    <a:lnTo>
                      <a:pt x="204" y="851"/>
                    </a:lnTo>
                    <a:lnTo>
                      <a:pt x="206" y="851"/>
                    </a:lnTo>
                    <a:lnTo>
                      <a:pt x="202" y="855"/>
                    </a:lnTo>
                    <a:lnTo>
                      <a:pt x="202" y="853"/>
                    </a:lnTo>
                    <a:lnTo>
                      <a:pt x="204" y="855"/>
                    </a:lnTo>
                    <a:lnTo>
                      <a:pt x="204" y="853"/>
                    </a:lnTo>
                    <a:lnTo>
                      <a:pt x="206" y="853"/>
                    </a:lnTo>
                    <a:lnTo>
                      <a:pt x="206" y="851"/>
                    </a:lnTo>
                    <a:lnTo>
                      <a:pt x="206" y="853"/>
                    </a:lnTo>
                    <a:lnTo>
                      <a:pt x="206" y="851"/>
                    </a:lnTo>
                    <a:lnTo>
                      <a:pt x="206" y="855"/>
                    </a:lnTo>
                    <a:lnTo>
                      <a:pt x="206" y="853"/>
                    </a:lnTo>
                    <a:lnTo>
                      <a:pt x="208" y="853"/>
                    </a:lnTo>
                    <a:lnTo>
                      <a:pt x="208" y="851"/>
                    </a:lnTo>
                    <a:lnTo>
                      <a:pt x="208" y="853"/>
                    </a:lnTo>
                    <a:lnTo>
                      <a:pt x="210" y="853"/>
                    </a:lnTo>
                    <a:lnTo>
                      <a:pt x="208" y="853"/>
                    </a:lnTo>
                    <a:lnTo>
                      <a:pt x="210" y="853"/>
                    </a:lnTo>
                    <a:lnTo>
                      <a:pt x="212" y="853"/>
                    </a:lnTo>
                    <a:lnTo>
                      <a:pt x="210" y="855"/>
                    </a:lnTo>
                    <a:lnTo>
                      <a:pt x="214" y="853"/>
                    </a:lnTo>
                    <a:lnTo>
                      <a:pt x="212" y="857"/>
                    </a:lnTo>
                    <a:lnTo>
                      <a:pt x="212" y="859"/>
                    </a:lnTo>
                    <a:lnTo>
                      <a:pt x="210" y="859"/>
                    </a:lnTo>
                    <a:lnTo>
                      <a:pt x="210" y="861"/>
                    </a:lnTo>
                    <a:lnTo>
                      <a:pt x="212" y="861"/>
                    </a:lnTo>
                    <a:lnTo>
                      <a:pt x="212" y="857"/>
                    </a:lnTo>
                    <a:lnTo>
                      <a:pt x="214" y="857"/>
                    </a:lnTo>
                    <a:lnTo>
                      <a:pt x="214" y="859"/>
                    </a:lnTo>
                    <a:lnTo>
                      <a:pt x="214" y="857"/>
                    </a:lnTo>
                    <a:lnTo>
                      <a:pt x="218" y="855"/>
                    </a:lnTo>
                    <a:lnTo>
                      <a:pt x="220" y="855"/>
                    </a:lnTo>
                    <a:lnTo>
                      <a:pt x="221" y="855"/>
                    </a:lnTo>
                    <a:lnTo>
                      <a:pt x="220" y="859"/>
                    </a:lnTo>
                    <a:lnTo>
                      <a:pt x="221" y="857"/>
                    </a:lnTo>
                    <a:lnTo>
                      <a:pt x="221" y="859"/>
                    </a:lnTo>
                    <a:lnTo>
                      <a:pt x="221" y="861"/>
                    </a:lnTo>
                    <a:lnTo>
                      <a:pt x="220" y="861"/>
                    </a:lnTo>
                    <a:lnTo>
                      <a:pt x="218" y="861"/>
                    </a:lnTo>
                    <a:lnTo>
                      <a:pt x="216" y="863"/>
                    </a:lnTo>
                    <a:lnTo>
                      <a:pt x="218" y="863"/>
                    </a:lnTo>
                    <a:lnTo>
                      <a:pt x="220" y="863"/>
                    </a:lnTo>
                    <a:lnTo>
                      <a:pt x="220" y="861"/>
                    </a:lnTo>
                    <a:lnTo>
                      <a:pt x="221" y="863"/>
                    </a:lnTo>
                    <a:lnTo>
                      <a:pt x="220" y="863"/>
                    </a:lnTo>
                    <a:lnTo>
                      <a:pt x="218" y="865"/>
                    </a:lnTo>
                    <a:lnTo>
                      <a:pt x="220" y="865"/>
                    </a:lnTo>
                    <a:lnTo>
                      <a:pt x="220" y="866"/>
                    </a:lnTo>
                    <a:lnTo>
                      <a:pt x="220" y="865"/>
                    </a:lnTo>
                    <a:lnTo>
                      <a:pt x="221" y="865"/>
                    </a:lnTo>
                    <a:lnTo>
                      <a:pt x="221" y="866"/>
                    </a:lnTo>
                    <a:lnTo>
                      <a:pt x="218" y="870"/>
                    </a:lnTo>
                    <a:lnTo>
                      <a:pt x="214" y="870"/>
                    </a:lnTo>
                    <a:lnTo>
                      <a:pt x="214" y="872"/>
                    </a:lnTo>
                    <a:lnTo>
                      <a:pt x="212" y="872"/>
                    </a:lnTo>
                    <a:lnTo>
                      <a:pt x="214" y="872"/>
                    </a:lnTo>
                    <a:lnTo>
                      <a:pt x="214" y="878"/>
                    </a:lnTo>
                    <a:lnTo>
                      <a:pt x="210" y="882"/>
                    </a:lnTo>
                    <a:lnTo>
                      <a:pt x="214" y="878"/>
                    </a:lnTo>
                    <a:lnTo>
                      <a:pt x="214" y="876"/>
                    </a:lnTo>
                    <a:lnTo>
                      <a:pt x="214" y="872"/>
                    </a:lnTo>
                    <a:lnTo>
                      <a:pt x="216" y="870"/>
                    </a:lnTo>
                    <a:lnTo>
                      <a:pt x="216" y="872"/>
                    </a:lnTo>
                    <a:lnTo>
                      <a:pt x="218" y="870"/>
                    </a:lnTo>
                    <a:lnTo>
                      <a:pt x="218" y="872"/>
                    </a:lnTo>
                    <a:lnTo>
                      <a:pt x="218" y="870"/>
                    </a:lnTo>
                    <a:lnTo>
                      <a:pt x="220" y="870"/>
                    </a:lnTo>
                    <a:lnTo>
                      <a:pt x="221" y="870"/>
                    </a:lnTo>
                    <a:lnTo>
                      <a:pt x="220" y="868"/>
                    </a:lnTo>
                    <a:lnTo>
                      <a:pt x="221" y="866"/>
                    </a:lnTo>
                    <a:lnTo>
                      <a:pt x="223" y="868"/>
                    </a:lnTo>
                    <a:lnTo>
                      <a:pt x="223" y="865"/>
                    </a:lnTo>
                    <a:lnTo>
                      <a:pt x="223" y="866"/>
                    </a:lnTo>
                    <a:lnTo>
                      <a:pt x="221" y="863"/>
                    </a:lnTo>
                    <a:lnTo>
                      <a:pt x="223" y="861"/>
                    </a:lnTo>
                    <a:lnTo>
                      <a:pt x="221" y="863"/>
                    </a:lnTo>
                    <a:lnTo>
                      <a:pt x="223" y="861"/>
                    </a:lnTo>
                    <a:lnTo>
                      <a:pt x="225" y="861"/>
                    </a:lnTo>
                    <a:lnTo>
                      <a:pt x="223" y="861"/>
                    </a:lnTo>
                    <a:lnTo>
                      <a:pt x="223" y="863"/>
                    </a:lnTo>
                    <a:lnTo>
                      <a:pt x="225" y="861"/>
                    </a:lnTo>
                    <a:lnTo>
                      <a:pt x="227" y="863"/>
                    </a:lnTo>
                    <a:lnTo>
                      <a:pt x="227" y="861"/>
                    </a:lnTo>
                    <a:lnTo>
                      <a:pt x="229" y="859"/>
                    </a:lnTo>
                    <a:lnTo>
                      <a:pt x="231" y="861"/>
                    </a:lnTo>
                    <a:lnTo>
                      <a:pt x="235" y="861"/>
                    </a:lnTo>
                    <a:lnTo>
                      <a:pt x="235" y="863"/>
                    </a:lnTo>
                    <a:lnTo>
                      <a:pt x="237" y="861"/>
                    </a:lnTo>
                    <a:lnTo>
                      <a:pt x="237" y="863"/>
                    </a:lnTo>
                    <a:lnTo>
                      <a:pt x="239" y="863"/>
                    </a:lnTo>
                    <a:lnTo>
                      <a:pt x="241" y="865"/>
                    </a:lnTo>
                    <a:lnTo>
                      <a:pt x="241" y="863"/>
                    </a:lnTo>
                    <a:lnTo>
                      <a:pt x="242" y="863"/>
                    </a:lnTo>
                    <a:lnTo>
                      <a:pt x="241" y="865"/>
                    </a:lnTo>
                    <a:lnTo>
                      <a:pt x="242" y="863"/>
                    </a:lnTo>
                    <a:lnTo>
                      <a:pt x="244" y="865"/>
                    </a:lnTo>
                    <a:lnTo>
                      <a:pt x="244" y="866"/>
                    </a:lnTo>
                    <a:lnTo>
                      <a:pt x="244" y="865"/>
                    </a:lnTo>
                    <a:lnTo>
                      <a:pt x="246" y="865"/>
                    </a:lnTo>
                    <a:lnTo>
                      <a:pt x="248" y="868"/>
                    </a:lnTo>
                    <a:lnTo>
                      <a:pt x="248" y="866"/>
                    </a:lnTo>
                    <a:lnTo>
                      <a:pt x="248" y="865"/>
                    </a:lnTo>
                    <a:lnTo>
                      <a:pt x="248" y="866"/>
                    </a:lnTo>
                    <a:lnTo>
                      <a:pt x="250" y="865"/>
                    </a:lnTo>
                    <a:lnTo>
                      <a:pt x="248" y="863"/>
                    </a:lnTo>
                    <a:lnTo>
                      <a:pt x="250" y="863"/>
                    </a:lnTo>
                    <a:lnTo>
                      <a:pt x="250" y="865"/>
                    </a:lnTo>
                    <a:lnTo>
                      <a:pt x="254" y="865"/>
                    </a:lnTo>
                    <a:lnTo>
                      <a:pt x="258" y="866"/>
                    </a:lnTo>
                    <a:lnTo>
                      <a:pt x="258" y="865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2" y="870"/>
                    </a:lnTo>
                    <a:lnTo>
                      <a:pt x="262" y="868"/>
                    </a:lnTo>
                    <a:lnTo>
                      <a:pt x="263" y="868"/>
                    </a:lnTo>
                    <a:lnTo>
                      <a:pt x="265" y="868"/>
                    </a:lnTo>
                    <a:lnTo>
                      <a:pt x="265" y="870"/>
                    </a:lnTo>
                    <a:lnTo>
                      <a:pt x="267" y="872"/>
                    </a:lnTo>
                    <a:lnTo>
                      <a:pt x="269" y="872"/>
                    </a:lnTo>
                    <a:lnTo>
                      <a:pt x="269" y="874"/>
                    </a:lnTo>
                    <a:lnTo>
                      <a:pt x="271" y="874"/>
                    </a:lnTo>
                    <a:lnTo>
                      <a:pt x="273" y="874"/>
                    </a:lnTo>
                    <a:lnTo>
                      <a:pt x="273" y="876"/>
                    </a:lnTo>
                    <a:lnTo>
                      <a:pt x="275" y="878"/>
                    </a:lnTo>
                    <a:lnTo>
                      <a:pt x="277" y="880"/>
                    </a:lnTo>
                    <a:lnTo>
                      <a:pt x="281" y="882"/>
                    </a:lnTo>
                    <a:lnTo>
                      <a:pt x="282" y="882"/>
                    </a:lnTo>
                    <a:lnTo>
                      <a:pt x="282" y="884"/>
                    </a:lnTo>
                    <a:lnTo>
                      <a:pt x="284" y="886"/>
                    </a:lnTo>
                    <a:lnTo>
                      <a:pt x="286" y="886"/>
                    </a:lnTo>
                    <a:lnTo>
                      <a:pt x="286" y="887"/>
                    </a:lnTo>
                    <a:lnTo>
                      <a:pt x="286" y="886"/>
                    </a:lnTo>
                    <a:lnTo>
                      <a:pt x="290" y="889"/>
                    </a:lnTo>
                    <a:lnTo>
                      <a:pt x="288" y="889"/>
                    </a:lnTo>
                    <a:lnTo>
                      <a:pt x="290" y="889"/>
                    </a:lnTo>
                    <a:lnTo>
                      <a:pt x="290" y="891"/>
                    </a:lnTo>
                    <a:lnTo>
                      <a:pt x="292" y="893"/>
                    </a:lnTo>
                    <a:lnTo>
                      <a:pt x="294" y="897"/>
                    </a:lnTo>
                    <a:lnTo>
                      <a:pt x="296" y="897"/>
                    </a:lnTo>
                    <a:lnTo>
                      <a:pt x="296" y="899"/>
                    </a:lnTo>
                    <a:lnTo>
                      <a:pt x="298" y="899"/>
                    </a:lnTo>
                    <a:lnTo>
                      <a:pt x="300" y="901"/>
                    </a:lnTo>
                    <a:lnTo>
                      <a:pt x="300" y="905"/>
                    </a:lnTo>
                    <a:lnTo>
                      <a:pt x="300" y="903"/>
                    </a:lnTo>
                    <a:lnTo>
                      <a:pt x="302" y="903"/>
                    </a:lnTo>
                    <a:lnTo>
                      <a:pt x="303" y="901"/>
                    </a:lnTo>
                    <a:lnTo>
                      <a:pt x="305" y="905"/>
                    </a:lnTo>
                    <a:lnTo>
                      <a:pt x="307" y="905"/>
                    </a:lnTo>
                    <a:lnTo>
                      <a:pt x="309" y="905"/>
                    </a:lnTo>
                    <a:lnTo>
                      <a:pt x="307" y="907"/>
                    </a:lnTo>
                    <a:lnTo>
                      <a:pt x="309" y="908"/>
                    </a:lnTo>
                    <a:lnTo>
                      <a:pt x="309" y="910"/>
                    </a:lnTo>
                    <a:lnTo>
                      <a:pt x="311" y="908"/>
                    </a:lnTo>
                    <a:lnTo>
                      <a:pt x="319" y="916"/>
                    </a:lnTo>
                    <a:lnTo>
                      <a:pt x="319" y="914"/>
                    </a:lnTo>
                    <a:lnTo>
                      <a:pt x="321" y="916"/>
                    </a:lnTo>
                    <a:lnTo>
                      <a:pt x="323" y="916"/>
                    </a:lnTo>
                    <a:lnTo>
                      <a:pt x="321" y="910"/>
                    </a:lnTo>
                    <a:lnTo>
                      <a:pt x="323" y="914"/>
                    </a:lnTo>
                    <a:lnTo>
                      <a:pt x="324" y="918"/>
                    </a:lnTo>
                    <a:lnTo>
                      <a:pt x="328" y="922"/>
                    </a:lnTo>
                    <a:lnTo>
                      <a:pt x="328" y="920"/>
                    </a:lnTo>
                    <a:lnTo>
                      <a:pt x="328" y="922"/>
                    </a:lnTo>
                    <a:lnTo>
                      <a:pt x="330" y="922"/>
                    </a:lnTo>
                    <a:lnTo>
                      <a:pt x="332" y="924"/>
                    </a:lnTo>
                    <a:lnTo>
                      <a:pt x="330" y="924"/>
                    </a:lnTo>
                    <a:lnTo>
                      <a:pt x="328" y="924"/>
                    </a:lnTo>
                    <a:lnTo>
                      <a:pt x="332" y="928"/>
                    </a:lnTo>
                    <a:lnTo>
                      <a:pt x="332" y="929"/>
                    </a:lnTo>
                    <a:lnTo>
                      <a:pt x="334" y="929"/>
                    </a:lnTo>
                    <a:lnTo>
                      <a:pt x="334" y="928"/>
                    </a:lnTo>
                    <a:lnTo>
                      <a:pt x="332" y="926"/>
                    </a:lnTo>
                    <a:lnTo>
                      <a:pt x="332" y="924"/>
                    </a:lnTo>
                    <a:lnTo>
                      <a:pt x="332" y="926"/>
                    </a:lnTo>
                    <a:lnTo>
                      <a:pt x="332" y="924"/>
                    </a:lnTo>
                    <a:lnTo>
                      <a:pt x="334" y="926"/>
                    </a:lnTo>
                    <a:lnTo>
                      <a:pt x="336" y="926"/>
                    </a:lnTo>
                    <a:lnTo>
                      <a:pt x="338" y="929"/>
                    </a:lnTo>
                    <a:lnTo>
                      <a:pt x="340" y="929"/>
                    </a:lnTo>
                    <a:lnTo>
                      <a:pt x="342" y="933"/>
                    </a:lnTo>
                    <a:lnTo>
                      <a:pt x="340" y="935"/>
                    </a:lnTo>
                    <a:lnTo>
                      <a:pt x="342" y="937"/>
                    </a:lnTo>
                    <a:lnTo>
                      <a:pt x="340" y="941"/>
                    </a:lnTo>
                    <a:lnTo>
                      <a:pt x="340" y="939"/>
                    </a:lnTo>
                    <a:lnTo>
                      <a:pt x="342" y="941"/>
                    </a:lnTo>
                    <a:lnTo>
                      <a:pt x="342" y="945"/>
                    </a:lnTo>
                    <a:lnTo>
                      <a:pt x="342" y="949"/>
                    </a:lnTo>
                    <a:lnTo>
                      <a:pt x="344" y="950"/>
                    </a:lnTo>
                    <a:lnTo>
                      <a:pt x="345" y="950"/>
                    </a:lnTo>
                    <a:lnTo>
                      <a:pt x="345" y="952"/>
                    </a:lnTo>
                    <a:lnTo>
                      <a:pt x="347" y="954"/>
                    </a:lnTo>
                    <a:lnTo>
                      <a:pt x="345" y="956"/>
                    </a:lnTo>
                    <a:lnTo>
                      <a:pt x="345" y="960"/>
                    </a:lnTo>
                    <a:lnTo>
                      <a:pt x="344" y="966"/>
                    </a:lnTo>
                    <a:lnTo>
                      <a:pt x="342" y="970"/>
                    </a:lnTo>
                    <a:lnTo>
                      <a:pt x="336" y="975"/>
                    </a:lnTo>
                    <a:lnTo>
                      <a:pt x="336" y="977"/>
                    </a:lnTo>
                    <a:lnTo>
                      <a:pt x="334" y="979"/>
                    </a:lnTo>
                    <a:lnTo>
                      <a:pt x="334" y="981"/>
                    </a:lnTo>
                    <a:lnTo>
                      <a:pt x="330" y="983"/>
                    </a:lnTo>
                    <a:lnTo>
                      <a:pt x="330" y="985"/>
                    </a:lnTo>
                    <a:lnTo>
                      <a:pt x="330" y="983"/>
                    </a:lnTo>
                    <a:lnTo>
                      <a:pt x="324" y="989"/>
                    </a:lnTo>
                    <a:lnTo>
                      <a:pt x="313" y="992"/>
                    </a:lnTo>
                    <a:lnTo>
                      <a:pt x="311" y="994"/>
                    </a:lnTo>
                    <a:lnTo>
                      <a:pt x="307" y="994"/>
                    </a:lnTo>
                    <a:lnTo>
                      <a:pt x="303" y="996"/>
                    </a:lnTo>
                    <a:lnTo>
                      <a:pt x="298" y="996"/>
                    </a:lnTo>
                    <a:lnTo>
                      <a:pt x="296" y="996"/>
                    </a:lnTo>
                    <a:lnTo>
                      <a:pt x="292" y="996"/>
                    </a:lnTo>
                    <a:lnTo>
                      <a:pt x="286" y="992"/>
                    </a:lnTo>
                    <a:lnTo>
                      <a:pt x="282" y="991"/>
                    </a:lnTo>
                    <a:lnTo>
                      <a:pt x="275" y="989"/>
                    </a:lnTo>
                    <a:lnTo>
                      <a:pt x="273" y="987"/>
                    </a:lnTo>
                    <a:lnTo>
                      <a:pt x="269" y="987"/>
                    </a:lnTo>
                    <a:lnTo>
                      <a:pt x="254" y="983"/>
                    </a:lnTo>
                    <a:lnTo>
                      <a:pt x="250" y="983"/>
                    </a:lnTo>
                    <a:lnTo>
                      <a:pt x="250" y="981"/>
                    </a:lnTo>
                    <a:lnTo>
                      <a:pt x="248" y="981"/>
                    </a:lnTo>
                    <a:lnTo>
                      <a:pt x="244" y="975"/>
                    </a:lnTo>
                    <a:lnTo>
                      <a:pt x="242" y="975"/>
                    </a:lnTo>
                    <a:lnTo>
                      <a:pt x="241" y="975"/>
                    </a:lnTo>
                    <a:lnTo>
                      <a:pt x="239" y="977"/>
                    </a:lnTo>
                    <a:lnTo>
                      <a:pt x="237" y="977"/>
                    </a:lnTo>
                    <a:lnTo>
                      <a:pt x="235" y="975"/>
                    </a:lnTo>
                    <a:lnTo>
                      <a:pt x="235" y="973"/>
                    </a:lnTo>
                    <a:lnTo>
                      <a:pt x="237" y="973"/>
                    </a:lnTo>
                    <a:lnTo>
                      <a:pt x="233" y="971"/>
                    </a:lnTo>
                    <a:lnTo>
                      <a:pt x="231" y="971"/>
                    </a:lnTo>
                    <a:lnTo>
                      <a:pt x="231" y="970"/>
                    </a:lnTo>
                    <a:lnTo>
                      <a:pt x="231" y="971"/>
                    </a:lnTo>
                    <a:lnTo>
                      <a:pt x="229" y="970"/>
                    </a:lnTo>
                    <a:lnTo>
                      <a:pt x="229" y="971"/>
                    </a:lnTo>
                    <a:lnTo>
                      <a:pt x="227" y="970"/>
                    </a:lnTo>
                    <a:lnTo>
                      <a:pt x="227" y="971"/>
                    </a:lnTo>
                    <a:lnTo>
                      <a:pt x="227" y="970"/>
                    </a:lnTo>
                    <a:lnTo>
                      <a:pt x="227" y="968"/>
                    </a:lnTo>
                    <a:lnTo>
                      <a:pt x="225" y="968"/>
                    </a:lnTo>
                    <a:lnTo>
                      <a:pt x="225" y="970"/>
                    </a:lnTo>
                    <a:lnTo>
                      <a:pt x="225" y="968"/>
                    </a:lnTo>
                    <a:lnTo>
                      <a:pt x="225" y="966"/>
                    </a:lnTo>
                    <a:lnTo>
                      <a:pt x="223" y="968"/>
                    </a:lnTo>
                    <a:lnTo>
                      <a:pt x="223" y="966"/>
                    </a:lnTo>
                    <a:lnTo>
                      <a:pt x="223" y="968"/>
                    </a:lnTo>
                    <a:lnTo>
                      <a:pt x="223" y="970"/>
                    </a:lnTo>
                    <a:lnTo>
                      <a:pt x="221" y="968"/>
                    </a:lnTo>
                    <a:lnTo>
                      <a:pt x="223" y="970"/>
                    </a:lnTo>
                    <a:lnTo>
                      <a:pt x="221" y="968"/>
                    </a:lnTo>
                    <a:lnTo>
                      <a:pt x="223" y="971"/>
                    </a:lnTo>
                    <a:lnTo>
                      <a:pt x="221" y="970"/>
                    </a:lnTo>
                    <a:lnTo>
                      <a:pt x="220" y="970"/>
                    </a:lnTo>
                    <a:lnTo>
                      <a:pt x="214" y="962"/>
                    </a:lnTo>
                    <a:lnTo>
                      <a:pt x="210" y="958"/>
                    </a:lnTo>
                    <a:lnTo>
                      <a:pt x="210" y="956"/>
                    </a:lnTo>
                    <a:lnTo>
                      <a:pt x="208" y="954"/>
                    </a:lnTo>
                    <a:lnTo>
                      <a:pt x="206" y="954"/>
                    </a:lnTo>
                    <a:lnTo>
                      <a:pt x="202" y="952"/>
                    </a:lnTo>
                    <a:lnTo>
                      <a:pt x="202" y="954"/>
                    </a:lnTo>
                    <a:lnTo>
                      <a:pt x="200" y="952"/>
                    </a:lnTo>
                    <a:lnTo>
                      <a:pt x="200" y="954"/>
                    </a:lnTo>
                    <a:lnTo>
                      <a:pt x="202" y="956"/>
                    </a:lnTo>
                    <a:lnTo>
                      <a:pt x="204" y="956"/>
                    </a:lnTo>
                    <a:lnTo>
                      <a:pt x="206" y="958"/>
                    </a:lnTo>
                    <a:lnTo>
                      <a:pt x="206" y="960"/>
                    </a:lnTo>
                    <a:lnTo>
                      <a:pt x="206" y="962"/>
                    </a:lnTo>
                    <a:lnTo>
                      <a:pt x="204" y="962"/>
                    </a:lnTo>
                    <a:lnTo>
                      <a:pt x="206" y="962"/>
                    </a:lnTo>
                    <a:lnTo>
                      <a:pt x="204" y="962"/>
                    </a:lnTo>
                    <a:lnTo>
                      <a:pt x="206" y="962"/>
                    </a:lnTo>
                    <a:lnTo>
                      <a:pt x="204" y="964"/>
                    </a:lnTo>
                    <a:lnTo>
                      <a:pt x="208" y="966"/>
                    </a:lnTo>
                    <a:lnTo>
                      <a:pt x="208" y="968"/>
                    </a:lnTo>
                    <a:lnTo>
                      <a:pt x="210" y="968"/>
                    </a:lnTo>
                    <a:lnTo>
                      <a:pt x="212" y="968"/>
                    </a:lnTo>
                    <a:lnTo>
                      <a:pt x="212" y="970"/>
                    </a:lnTo>
                    <a:lnTo>
                      <a:pt x="210" y="970"/>
                    </a:lnTo>
                    <a:lnTo>
                      <a:pt x="210" y="968"/>
                    </a:lnTo>
                    <a:lnTo>
                      <a:pt x="208" y="970"/>
                    </a:lnTo>
                    <a:lnTo>
                      <a:pt x="210" y="970"/>
                    </a:lnTo>
                    <a:lnTo>
                      <a:pt x="212" y="971"/>
                    </a:lnTo>
                    <a:lnTo>
                      <a:pt x="214" y="971"/>
                    </a:lnTo>
                    <a:lnTo>
                      <a:pt x="218" y="971"/>
                    </a:lnTo>
                    <a:lnTo>
                      <a:pt x="218" y="973"/>
                    </a:lnTo>
                    <a:lnTo>
                      <a:pt x="218" y="975"/>
                    </a:lnTo>
                    <a:lnTo>
                      <a:pt x="220" y="975"/>
                    </a:lnTo>
                    <a:lnTo>
                      <a:pt x="220" y="977"/>
                    </a:lnTo>
                    <a:lnTo>
                      <a:pt x="221" y="977"/>
                    </a:lnTo>
                    <a:lnTo>
                      <a:pt x="216" y="975"/>
                    </a:lnTo>
                    <a:lnTo>
                      <a:pt x="216" y="977"/>
                    </a:lnTo>
                    <a:lnTo>
                      <a:pt x="218" y="977"/>
                    </a:lnTo>
                    <a:lnTo>
                      <a:pt x="218" y="979"/>
                    </a:lnTo>
                    <a:lnTo>
                      <a:pt x="218" y="981"/>
                    </a:lnTo>
                    <a:lnTo>
                      <a:pt x="221" y="981"/>
                    </a:lnTo>
                    <a:lnTo>
                      <a:pt x="221" y="979"/>
                    </a:lnTo>
                    <a:lnTo>
                      <a:pt x="223" y="979"/>
                    </a:lnTo>
                    <a:lnTo>
                      <a:pt x="223" y="981"/>
                    </a:lnTo>
                    <a:lnTo>
                      <a:pt x="221" y="981"/>
                    </a:lnTo>
                    <a:lnTo>
                      <a:pt x="225" y="983"/>
                    </a:lnTo>
                    <a:lnTo>
                      <a:pt x="221" y="983"/>
                    </a:lnTo>
                    <a:lnTo>
                      <a:pt x="223" y="985"/>
                    </a:lnTo>
                    <a:lnTo>
                      <a:pt x="220" y="987"/>
                    </a:lnTo>
                    <a:lnTo>
                      <a:pt x="221" y="987"/>
                    </a:lnTo>
                    <a:lnTo>
                      <a:pt x="223" y="987"/>
                    </a:lnTo>
                    <a:lnTo>
                      <a:pt x="225" y="989"/>
                    </a:lnTo>
                    <a:lnTo>
                      <a:pt x="227" y="987"/>
                    </a:lnTo>
                    <a:lnTo>
                      <a:pt x="229" y="989"/>
                    </a:lnTo>
                    <a:lnTo>
                      <a:pt x="227" y="989"/>
                    </a:lnTo>
                    <a:lnTo>
                      <a:pt x="227" y="991"/>
                    </a:lnTo>
                    <a:lnTo>
                      <a:pt x="229" y="991"/>
                    </a:lnTo>
                    <a:lnTo>
                      <a:pt x="231" y="991"/>
                    </a:lnTo>
                    <a:lnTo>
                      <a:pt x="233" y="992"/>
                    </a:lnTo>
                    <a:lnTo>
                      <a:pt x="235" y="994"/>
                    </a:lnTo>
                    <a:lnTo>
                      <a:pt x="235" y="992"/>
                    </a:lnTo>
                    <a:lnTo>
                      <a:pt x="237" y="996"/>
                    </a:lnTo>
                    <a:lnTo>
                      <a:pt x="239" y="996"/>
                    </a:lnTo>
                    <a:lnTo>
                      <a:pt x="239" y="998"/>
                    </a:lnTo>
                    <a:lnTo>
                      <a:pt x="241" y="1000"/>
                    </a:lnTo>
                    <a:lnTo>
                      <a:pt x="239" y="1002"/>
                    </a:lnTo>
                    <a:lnTo>
                      <a:pt x="241" y="1002"/>
                    </a:lnTo>
                    <a:lnTo>
                      <a:pt x="241" y="1004"/>
                    </a:lnTo>
                    <a:lnTo>
                      <a:pt x="241" y="1002"/>
                    </a:lnTo>
                    <a:lnTo>
                      <a:pt x="242" y="1004"/>
                    </a:lnTo>
                    <a:lnTo>
                      <a:pt x="242" y="1006"/>
                    </a:lnTo>
                    <a:lnTo>
                      <a:pt x="241" y="1006"/>
                    </a:lnTo>
                    <a:lnTo>
                      <a:pt x="242" y="1006"/>
                    </a:lnTo>
                    <a:lnTo>
                      <a:pt x="244" y="1006"/>
                    </a:lnTo>
                    <a:lnTo>
                      <a:pt x="242" y="1008"/>
                    </a:lnTo>
                    <a:lnTo>
                      <a:pt x="244" y="1008"/>
                    </a:lnTo>
                    <a:lnTo>
                      <a:pt x="244" y="1010"/>
                    </a:lnTo>
                    <a:lnTo>
                      <a:pt x="244" y="1011"/>
                    </a:lnTo>
                    <a:lnTo>
                      <a:pt x="241" y="1008"/>
                    </a:lnTo>
                    <a:lnTo>
                      <a:pt x="241" y="1010"/>
                    </a:lnTo>
                    <a:lnTo>
                      <a:pt x="241" y="1011"/>
                    </a:lnTo>
                    <a:lnTo>
                      <a:pt x="242" y="1015"/>
                    </a:lnTo>
                    <a:lnTo>
                      <a:pt x="241" y="1015"/>
                    </a:lnTo>
                    <a:lnTo>
                      <a:pt x="241" y="1017"/>
                    </a:lnTo>
                    <a:lnTo>
                      <a:pt x="239" y="1019"/>
                    </a:lnTo>
                    <a:lnTo>
                      <a:pt x="241" y="1021"/>
                    </a:lnTo>
                    <a:lnTo>
                      <a:pt x="239" y="1021"/>
                    </a:lnTo>
                    <a:lnTo>
                      <a:pt x="237" y="1021"/>
                    </a:lnTo>
                    <a:lnTo>
                      <a:pt x="235" y="1021"/>
                    </a:lnTo>
                    <a:lnTo>
                      <a:pt x="237" y="1023"/>
                    </a:lnTo>
                    <a:lnTo>
                      <a:pt x="235" y="1023"/>
                    </a:lnTo>
                    <a:lnTo>
                      <a:pt x="233" y="1023"/>
                    </a:lnTo>
                    <a:lnTo>
                      <a:pt x="237" y="1023"/>
                    </a:lnTo>
                    <a:lnTo>
                      <a:pt x="237" y="1025"/>
                    </a:lnTo>
                    <a:lnTo>
                      <a:pt x="237" y="1027"/>
                    </a:lnTo>
                    <a:lnTo>
                      <a:pt x="237" y="1029"/>
                    </a:lnTo>
                    <a:lnTo>
                      <a:pt x="239" y="1027"/>
                    </a:lnTo>
                    <a:lnTo>
                      <a:pt x="237" y="1029"/>
                    </a:lnTo>
                    <a:lnTo>
                      <a:pt x="239" y="1029"/>
                    </a:lnTo>
                    <a:lnTo>
                      <a:pt x="239" y="1031"/>
                    </a:lnTo>
                    <a:lnTo>
                      <a:pt x="241" y="1031"/>
                    </a:lnTo>
                    <a:lnTo>
                      <a:pt x="239" y="1032"/>
                    </a:lnTo>
                    <a:lnTo>
                      <a:pt x="241" y="1032"/>
                    </a:lnTo>
                    <a:lnTo>
                      <a:pt x="241" y="1034"/>
                    </a:lnTo>
                    <a:lnTo>
                      <a:pt x="242" y="1034"/>
                    </a:lnTo>
                    <a:lnTo>
                      <a:pt x="241" y="1036"/>
                    </a:lnTo>
                    <a:lnTo>
                      <a:pt x="242" y="1036"/>
                    </a:lnTo>
                    <a:lnTo>
                      <a:pt x="241" y="1036"/>
                    </a:lnTo>
                    <a:lnTo>
                      <a:pt x="242" y="1036"/>
                    </a:lnTo>
                    <a:lnTo>
                      <a:pt x="242" y="1038"/>
                    </a:lnTo>
                    <a:lnTo>
                      <a:pt x="241" y="1038"/>
                    </a:lnTo>
                    <a:lnTo>
                      <a:pt x="242" y="1040"/>
                    </a:lnTo>
                    <a:lnTo>
                      <a:pt x="242" y="1042"/>
                    </a:lnTo>
                    <a:lnTo>
                      <a:pt x="244" y="1044"/>
                    </a:lnTo>
                    <a:lnTo>
                      <a:pt x="242" y="1046"/>
                    </a:lnTo>
                    <a:lnTo>
                      <a:pt x="242" y="1048"/>
                    </a:lnTo>
                    <a:lnTo>
                      <a:pt x="242" y="1046"/>
                    </a:lnTo>
                    <a:lnTo>
                      <a:pt x="246" y="1046"/>
                    </a:lnTo>
                    <a:lnTo>
                      <a:pt x="242" y="1048"/>
                    </a:lnTo>
                    <a:lnTo>
                      <a:pt x="244" y="1050"/>
                    </a:lnTo>
                    <a:lnTo>
                      <a:pt x="244" y="1052"/>
                    </a:lnTo>
                    <a:lnTo>
                      <a:pt x="242" y="1055"/>
                    </a:lnTo>
                    <a:lnTo>
                      <a:pt x="244" y="1055"/>
                    </a:lnTo>
                    <a:lnTo>
                      <a:pt x="246" y="1055"/>
                    </a:lnTo>
                    <a:lnTo>
                      <a:pt x="246" y="1057"/>
                    </a:lnTo>
                    <a:lnTo>
                      <a:pt x="244" y="1055"/>
                    </a:lnTo>
                    <a:lnTo>
                      <a:pt x="244" y="1057"/>
                    </a:lnTo>
                    <a:lnTo>
                      <a:pt x="246" y="1059"/>
                    </a:lnTo>
                    <a:lnTo>
                      <a:pt x="248" y="1061"/>
                    </a:lnTo>
                    <a:lnTo>
                      <a:pt x="248" y="1059"/>
                    </a:lnTo>
                    <a:lnTo>
                      <a:pt x="250" y="1059"/>
                    </a:lnTo>
                    <a:lnTo>
                      <a:pt x="250" y="1061"/>
                    </a:lnTo>
                    <a:lnTo>
                      <a:pt x="250" y="1063"/>
                    </a:lnTo>
                    <a:lnTo>
                      <a:pt x="252" y="1063"/>
                    </a:lnTo>
                    <a:lnTo>
                      <a:pt x="254" y="1061"/>
                    </a:lnTo>
                    <a:lnTo>
                      <a:pt x="254" y="1063"/>
                    </a:lnTo>
                    <a:lnTo>
                      <a:pt x="256" y="1061"/>
                    </a:lnTo>
                    <a:lnTo>
                      <a:pt x="254" y="1059"/>
                    </a:lnTo>
                    <a:lnTo>
                      <a:pt x="256" y="1059"/>
                    </a:lnTo>
                    <a:lnTo>
                      <a:pt x="258" y="1063"/>
                    </a:lnTo>
                    <a:lnTo>
                      <a:pt x="260" y="1061"/>
                    </a:lnTo>
                    <a:lnTo>
                      <a:pt x="260" y="1059"/>
                    </a:lnTo>
                    <a:lnTo>
                      <a:pt x="262" y="1061"/>
                    </a:lnTo>
                    <a:lnTo>
                      <a:pt x="262" y="1063"/>
                    </a:lnTo>
                    <a:lnTo>
                      <a:pt x="260" y="1063"/>
                    </a:lnTo>
                    <a:lnTo>
                      <a:pt x="260" y="1065"/>
                    </a:lnTo>
                    <a:lnTo>
                      <a:pt x="260" y="1067"/>
                    </a:lnTo>
                    <a:lnTo>
                      <a:pt x="262" y="1067"/>
                    </a:lnTo>
                    <a:lnTo>
                      <a:pt x="265" y="1069"/>
                    </a:lnTo>
                    <a:lnTo>
                      <a:pt x="265" y="1071"/>
                    </a:lnTo>
                    <a:lnTo>
                      <a:pt x="263" y="1071"/>
                    </a:lnTo>
                    <a:lnTo>
                      <a:pt x="265" y="1073"/>
                    </a:lnTo>
                    <a:lnTo>
                      <a:pt x="265" y="1074"/>
                    </a:lnTo>
                    <a:lnTo>
                      <a:pt x="267" y="1074"/>
                    </a:lnTo>
                    <a:lnTo>
                      <a:pt x="269" y="1074"/>
                    </a:lnTo>
                    <a:lnTo>
                      <a:pt x="269" y="1076"/>
                    </a:lnTo>
                    <a:lnTo>
                      <a:pt x="271" y="1076"/>
                    </a:lnTo>
                    <a:lnTo>
                      <a:pt x="273" y="1078"/>
                    </a:lnTo>
                    <a:lnTo>
                      <a:pt x="273" y="1076"/>
                    </a:lnTo>
                    <a:lnTo>
                      <a:pt x="275" y="1078"/>
                    </a:lnTo>
                    <a:lnTo>
                      <a:pt x="277" y="1078"/>
                    </a:lnTo>
                    <a:lnTo>
                      <a:pt x="281" y="1078"/>
                    </a:lnTo>
                    <a:lnTo>
                      <a:pt x="281" y="1080"/>
                    </a:lnTo>
                    <a:lnTo>
                      <a:pt x="284" y="1082"/>
                    </a:lnTo>
                    <a:lnTo>
                      <a:pt x="286" y="1080"/>
                    </a:lnTo>
                    <a:lnTo>
                      <a:pt x="286" y="1078"/>
                    </a:lnTo>
                    <a:lnTo>
                      <a:pt x="288" y="1078"/>
                    </a:lnTo>
                    <a:lnTo>
                      <a:pt x="290" y="1078"/>
                    </a:lnTo>
                    <a:lnTo>
                      <a:pt x="292" y="1076"/>
                    </a:lnTo>
                    <a:lnTo>
                      <a:pt x="294" y="1074"/>
                    </a:lnTo>
                    <a:lnTo>
                      <a:pt x="292" y="1069"/>
                    </a:lnTo>
                    <a:lnTo>
                      <a:pt x="292" y="1067"/>
                    </a:lnTo>
                    <a:lnTo>
                      <a:pt x="292" y="1065"/>
                    </a:lnTo>
                    <a:lnTo>
                      <a:pt x="294" y="1063"/>
                    </a:lnTo>
                    <a:lnTo>
                      <a:pt x="292" y="1063"/>
                    </a:lnTo>
                    <a:lnTo>
                      <a:pt x="294" y="1061"/>
                    </a:lnTo>
                    <a:lnTo>
                      <a:pt x="292" y="1061"/>
                    </a:lnTo>
                    <a:lnTo>
                      <a:pt x="290" y="1061"/>
                    </a:lnTo>
                    <a:lnTo>
                      <a:pt x="290" y="1059"/>
                    </a:lnTo>
                    <a:lnTo>
                      <a:pt x="290" y="1057"/>
                    </a:lnTo>
                    <a:lnTo>
                      <a:pt x="288" y="1057"/>
                    </a:lnTo>
                    <a:lnTo>
                      <a:pt x="286" y="1059"/>
                    </a:lnTo>
                    <a:lnTo>
                      <a:pt x="286" y="1061"/>
                    </a:lnTo>
                    <a:lnTo>
                      <a:pt x="286" y="1059"/>
                    </a:lnTo>
                    <a:lnTo>
                      <a:pt x="284" y="1059"/>
                    </a:lnTo>
                    <a:lnTo>
                      <a:pt x="282" y="1061"/>
                    </a:lnTo>
                    <a:lnTo>
                      <a:pt x="281" y="1061"/>
                    </a:lnTo>
                    <a:lnTo>
                      <a:pt x="279" y="1059"/>
                    </a:lnTo>
                    <a:lnTo>
                      <a:pt x="273" y="1048"/>
                    </a:lnTo>
                    <a:lnTo>
                      <a:pt x="271" y="1048"/>
                    </a:lnTo>
                    <a:lnTo>
                      <a:pt x="269" y="1048"/>
                    </a:lnTo>
                    <a:lnTo>
                      <a:pt x="269" y="1044"/>
                    </a:lnTo>
                    <a:lnTo>
                      <a:pt x="269" y="1042"/>
                    </a:lnTo>
                    <a:lnTo>
                      <a:pt x="267" y="1040"/>
                    </a:lnTo>
                    <a:lnTo>
                      <a:pt x="269" y="1040"/>
                    </a:lnTo>
                    <a:lnTo>
                      <a:pt x="271" y="1040"/>
                    </a:lnTo>
                    <a:lnTo>
                      <a:pt x="273" y="1038"/>
                    </a:lnTo>
                    <a:lnTo>
                      <a:pt x="275" y="1034"/>
                    </a:lnTo>
                    <a:lnTo>
                      <a:pt x="273" y="1032"/>
                    </a:lnTo>
                    <a:lnTo>
                      <a:pt x="275" y="1031"/>
                    </a:lnTo>
                    <a:lnTo>
                      <a:pt x="277" y="1031"/>
                    </a:lnTo>
                    <a:lnTo>
                      <a:pt x="282" y="1032"/>
                    </a:lnTo>
                    <a:lnTo>
                      <a:pt x="288" y="1036"/>
                    </a:lnTo>
                    <a:lnTo>
                      <a:pt x="288" y="1038"/>
                    </a:lnTo>
                    <a:lnTo>
                      <a:pt x="288" y="1040"/>
                    </a:lnTo>
                    <a:lnTo>
                      <a:pt x="294" y="1042"/>
                    </a:lnTo>
                    <a:lnTo>
                      <a:pt x="298" y="1042"/>
                    </a:lnTo>
                    <a:lnTo>
                      <a:pt x="298" y="1044"/>
                    </a:lnTo>
                    <a:lnTo>
                      <a:pt x="300" y="1046"/>
                    </a:lnTo>
                    <a:lnTo>
                      <a:pt x="298" y="1044"/>
                    </a:lnTo>
                    <a:lnTo>
                      <a:pt x="296" y="1046"/>
                    </a:lnTo>
                    <a:lnTo>
                      <a:pt x="296" y="1044"/>
                    </a:lnTo>
                    <a:lnTo>
                      <a:pt x="294" y="1046"/>
                    </a:lnTo>
                    <a:lnTo>
                      <a:pt x="292" y="1048"/>
                    </a:lnTo>
                    <a:lnTo>
                      <a:pt x="294" y="1050"/>
                    </a:lnTo>
                    <a:lnTo>
                      <a:pt x="292" y="1052"/>
                    </a:lnTo>
                    <a:lnTo>
                      <a:pt x="294" y="1052"/>
                    </a:lnTo>
                    <a:lnTo>
                      <a:pt x="294" y="1053"/>
                    </a:lnTo>
                    <a:lnTo>
                      <a:pt x="294" y="1052"/>
                    </a:lnTo>
                    <a:lnTo>
                      <a:pt x="294" y="1050"/>
                    </a:lnTo>
                    <a:lnTo>
                      <a:pt x="296" y="1050"/>
                    </a:lnTo>
                    <a:lnTo>
                      <a:pt x="296" y="1048"/>
                    </a:lnTo>
                    <a:lnTo>
                      <a:pt x="298" y="1046"/>
                    </a:lnTo>
                    <a:lnTo>
                      <a:pt x="302" y="1048"/>
                    </a:lnTo>
                    <a:lnTo>
                      <a:pt x="300" y="1044"/>
                    </a:lnTo>
                    <a:lnTo>
                      <a:pt x="302" y="1046"/>
                    </a:lnTo>
                    <a:lnTo>
                      <a:pt x="307" y="1048"/>
                    </a:lnTo>
                    <a:lnTo>
                      <a:pt x="311" y="1050"/>
                    </a:lnTo>
                    <a:lnTo>
                      <a:pt x="313" y="1050"/>
                    </a:lnTo>
                    <a:lnTo>
                      <a:pt x="317" y="1053"/>
                    </a:lnTo>
                    <a:lnTo>
                      <a:pt x="319" y="1053"/>
                    </a:lnTo>
                    <a:lnTo>
                      <a:pt x="321" y="1053"/>
                    </a:lnTo>
                    <a:lnTo>
                      <a:pt x="321" y="1052"/>
                    </a:lnTo>
                    <a:lnTo>
                      <a:pt x="323" y="1050"/>
                    </a:lnTo>
                    <a:lnTo>
                      <a:pt x="323" y="1052"/>
                    </a:lnTo>
                    <a:lnTo>
                      <a:pt x="326" y="1052"/>
                    </a:lnTo>
                    <a:lnTo>
                      <a:pt x="324" y="1050"/>
                    </a:lnTo>
                    <a:lnTo>
                      <a:pt x="323" y="1050"/>
                    </a:lnTo>
                    <a:lnTo>
                      <a:pt x="323" y="1048"/>
                    </a:lnTo>
                    <a:lnTo>
                      <a:pt x="324" y="1050"/>
                    </a:lnTo>
                    <a:lnTo>
                      <a:pt x="326" y="1048"/>
                    </a:lnTo>
                    <a:lnTo>
                      <a:pt x="326" y="1050"/>
                    </a:lnTo>
                    <a:lnTo>
                      <a:pt x="326" y="1048"/>
                    </a:lnTo>
                    <a:lnTo>
                      <a:pt x="328" y="1050"/>
                    </a:lnTo>
                    <a:lnTo>
                      <a:pt x="328" y="1048"/>
                    </a:lnTo>
                    <a:lnTo>
                      <a:pt x="328" y="1050"/>
                    </a:lnTo>
                    <a:lnTo>
                      <a:pt x="332" y="1052"/>
                    </a:lnTo>
                    <a:lnTo>
                      <a:pt x="332" y="1046"/>
                    </a:lnTo>
                    <a:lnTo>
                      <a:pt x="330" y="1044"/>
                    </a:lnTo>
                    <a:lnTo>
                      <a:pt x="332" y="1042"/>
                    </a:lnTo>
                    <a:lnTo>
                      <a:pt x="330" y="1040"/>
                    </a:lnTo>
                    <a:lnTo>
                      <a:pt x="330" y="1038"/>
                    </a:lnTo>
                    <a:lnTo>
                      <a:pt x="330" y="1036"/>
                    </a:lnTo>
                    <a:lnTo>
                      <a:pt x="324" y="1032"/>
                    </a:lnTo>
                    <a:lnTo>
                      <a:pt x="321" y="1025"/>
                    </a:lnTo>
                    <a:lnTo>
                      <a:pt x="321" y="1017"/>
                    </a:lnTo>
                    <a:lnTo>
                      <a:pt x="321" y="1015"/>
                    </a:lnTo>
                    <a:lnTo>
                      <a:pt x="323" y="1013"/>
                    </a:lnTo>
                    <a:lnTo>
                      <a:pt x="328" y="1010"/>
                    </a:lnTo>
                    <a:lnTo>
                      <a:pt x="328" y="1008"/>
                    </a:lnTo>
                    <a:lnTo>
                      <a:pt x="332" y="1006"/>
                    </a:lnTo>
                    <a:lnTo>
                      <a:pt x="336" y="998"/>
                    </a:lnTo>
                    <a:lnTo>
                      <a:pt x="342" y="998"/>
                    </a:lnTo>
                    <a:lnTo>
                      <a:pt x="347" y="996"/>
                    </a:lnTo>
                    <a:lnTo>
                      <a:pt x="349" y="992"/>
                    </a:lnTo>
                    <a:lnTo>
                      <a:pt x="355" y="987"/>
                    </a:lnTo>
                    <a:lnTo>
                      <a:pt x="357" y="983"/>
                    </a:lnTo>
                    <a:lnTo>
                      <a:pt x="359" y="979"/>
                    </a:lnTo>
                    <a:lnTo>
                      <a:pt x="361" y="979"/>
                    </a:lnTo>
                    <a:lnTo>
                      <a:pt x="366" y="981"/>
                    </a:lnTo>
                    <a:lnTo>
                      <a:pt x="368" y="983"/>
                    </a:lnTo>
                    <a:lnTo>
                      <a:pt x="370" y="983"/>
                    </a:lnTo>
                    <a:lnTo>
                      <a:pt x="376" y="983"/>
                    </a:lnTo>
                    <a:lnTo>
                      <a:pt x="378" y="985"/>
                    </a:lnTo>
                    <a:lnTo>
                      <a:pt x="382" y="987"/>
                    </a:lnTo>
                    <a:lnTo>
                      <a:pt x="384" y="989"/>
                    </a:lnTo>
                    <a:lnTo>
                      <a:pt x="384" y="991"/>
                    </a:lnTo>
                    <a:lnTo>
                      <a:pt x="387" y="992"/>
                    </a:lnTo>
                    <a:lnTo>
                      <a:pt x="387" y="996"/>
                    </a:lnTo>
                    <a:lnTo>
                      <a:pt x="389" y="996"/>
                    </a:lnTo>
                    <a:lnTo>
                      <a:pt x="391" y="996"/>
                    </a:lnTo>
                    <a:lnTo>
                      <a:pt x="389" y="989"/>
                    </a:lnTo>
                    <a:lnTo>
                      <a:pt x="391" y="981"/>
                    </a:lnTo>
                    <a:lnTo>
                      <a:pt x="393" y="979"/>
                    </a:lnTo>
                    <a:lnTo>
                      <a:pt x="395" y="979"/>
                    </a:lnTo>
                    <a:lnTo>
                      <a:pt x="395" y="975"/>
                    </a:lnTo>
                    <a:lnTo>
                      <a:pt x="397" y="971"/>
                    </a:lnTo>
                    <a:lnTo>
                      <a:pt x="395" y="970"/>
                    </a:lnTo>
                    <a:lnTo>
                      <a:pt x="393" y="968"/>
                    </a:lnTo>
                    <a:lnTo>
                      <a:pt x="397" y="966"/>
                    </a:lnTo>
                    <a:lnTo>
                      <a:pt x="395" y="964"/>
                    </a:lnTo>
                    <a:lnTo>
                      <a:pt x="397" y="962"/>
                    </a:lnTo>
                    <a:lnTo>
                      <a:pt x="391" y="952"/>
                    </a:lnTo>
                    <a:lnTo>
                      <a:pt x="389" y="952"/>
                    </a:lnTo>
                    <a:lnTo>
                      <a:pt x="387" y="952"/>
                    </a:lnTo>
                    <a:lnTo>
                      <a:pt x="385" y="952"/>
                    </a:lnTo>
                    <a:lnTo>
                      <a:pt x="385" y="950"/>
                    </a:lnTo>
                    <a:lnTo>
                      <a:pt x="385" y="945"/>
                    </a:lnTo>
                    <a:lnTo>
                      <a:pt x="387" y="939"/>
                    </a:lnTo>
                    <a:lnTo>
                      <a:pt x="389" y="931"/>
                    </a:lnTo>
                    <a:lnTo>
                      <a:pt x="391" y="928"/>
                    </a:lnTo>
                    <a:lnTo>
                      <a:pt x="391" y="926"/>
                    </a:lnTo>
                    <a:lnTo>
                      <a:pt x="389" y="924"/>
                    </a:lnTo>
                    <a:lnTo>
                      <a:pt x="391" y="922"/>
                    </a:lnTo>
                    <a:lnTo>
                      <a:pt x="393" y="922"/>
                    </a:lnTo>
                    <a:lnTo>
                      <a:pt x="391" y="922"/>
                    </a:lnTo>
                    <a:lnTo>
                      <a:pt x="391" y="920"/>
                    </a:lnTo>
                    <a:lnTo>
                      <a:pt x="391" y="916"/>
                    </a:lnTo>
                    <a:lnTo>
                      <a:pt x="391" y="905"/>
                    </a:lnTo>
                    <a:lnTo>
                      <a:pt x="389" y="901"/>
                    </a:lnTo>
                    <a:lnTo>
                      <a:pt x="385" y="899"/>
                    </a:lnTo>
                    <a:lnTo>
                      <a:pt x="378" y="891"/>
                    </a:lnTo>
                    <a:lnTo>
                      <a:pt x="376" y="889"/>
                    </a:lnTo>
                    <a:lnTo>
                      <a:pt x="376" y="887"/>
                    </a:lnTo>
                    <a:lnTo>
                      <a:pt x="380" y="887"/>
                    </a:lnTo>
                    <a:lnTo>
                      <a:pt x="389" y="893"/>
                    </a:lnTo>
                    <a:lnTo>
                      <a:pt x="399" y="893"/>
                    </a:lnTo>
                    <a:lnTo>
                      <a:pt x="410" y="895"/>
                    </a:lnTo>
                    <a:lnTo>
                      <a:pt x="416" y="897"/>
                    </a:lnTo>
                    <a:lnTo>
                      <a:pt x="420" y="899"/>
                    </a:lnTo>
                    <a:lnTo>
                      <a:pt x="418" y="899"/>
                    </a:lnTo>
                    <a:lnTo>
                      <a:pt x="420" y="903"/>
                    </a:lnTo>
                    <a:lnTo>
                      <a:pt x="420" y="905"/>
                    </a:lnTo>
                    <a:lnTo>
                      <a:pt x="422" y="905"/>
                    </a:lnTo>
                    <a:lnTo>
                      <a:pt x="426" y="910"/>
                    </a:lnTo>
                    <a:lnTo>
                      <a:pt x="427" y="910"/>
                    </a:lnTo>
                    <a:lnTo>
                      <a:pt x="429" y="912"/>
                    </a:lnTo>
                    <a:lnTo>
                      <a:pt x="429" y="916"/>
                    </a:lnTo>
                    <a:lnTo>
                      <a:pt x="431" y="922"/>
                    </a:lnTo>
                    <a:lnTo>
                      <a:pt x="431" y="926"/>
                    </a:lnTo>
                    <a:lnTo>
                      <a:pt x="426" y="926"/>
                    </a:lnTo>
                    <a:lnTo>
                      <a:pt x="422" y="926"/>
                    </a:lnTo>
                    <a:lnTo>
                      <a:pt x="420" y="926"/>
                    </a:lnTo>
                    <a:lnTo>
                      <a:pt x="418" y="928"/>
                    </a:lnTo>
                    <a:lnTo>
                      <a:pt x="412" y="928"/>
                    </a:lnTo>
                    <a:lnTo>
                      <a:pt x="410" y="929"/>
                    </a:lnTo>
                    <a:lnTo>
                      <a:pt x="408" y="935"/>
                    </a:lnTo>
                    <a:lnTo>
                      <a:pt x="406" y="935"/>
                    </a:lnTo>
                    <a:lnTo>
                      <a:pt x="403" y="939"/>
                    </a:lnTo>
                    <a:lnTo>
                      <a:pt x="403" y="945"/>
                    </a:lnTo>
                    <a:lnTo>
                      <a:pt x="406" y="949"/>
                    </a:lnTo>
                    <a:lnTo>
                      <a:pt x="414" y="952"/>
                    </a:lnTo>
                    <a:lnTo>
                      <a:pt x="414" y="956"/>
                    </a:lnTo>
                    <a:lnTo>
                      <a:pt x="414" y="958"/>
                    </a:lnTo>
                    <a:lnTo>
                      <a:pt x="418" y="962"/>
                    </a:lnTo>
                    <a:lnTo>
                      <a:pt x="418" y="964"/>
                    </a:lnTo>
                    <a:lnTo>
                      <a:pt x="420" y="964"/>
                    </a:lnTo>
                    <a:lnTo>
                      <a:pt x="420" y="966"/>
                    </a:lnTo>
                    <a:lnTo>
                      <a:pt x="422" y="966"/>
                    </a:lnTo>
                    <a:lnTo>
                      <a:pt x="429" y="964"/>
                    </a:lnTo>
                    <a:lnTo>
                      <a:pt x="429" y="966"/>
                    </a:lnTo>
                    <a:lnTo>
                      <a:pt x="431" y="966"/>
                    </a:lnTo>
                    <a:lnTo>
                      <a:pt x="441" y="964"/>
                    </a:lnTo>
                    <a:lnTo>
                      <a:pt x="443" y="962"/>
                    </a:lnTo>
                    <a:lnTo>
                      <a:pt x="445" y="962"/>
                    </a:lnTo>
                    <a:lnTo>
                      <a:pt x="446" y="960"/>
                    </a:lnTo>
                    <a:lnTo>
                      <a:pt x="448" y="958"/>
                    </a:lnTo>
                    <a:lnTo>
                      <a:pt x="448" y="952"/>
                    </a:lnTo>
                    <a:lnTo>
                      <a:pt x="446" y="950"/>
                    </a:lnTo>
                    <a:lnTo>
                      <a:pt x="448" y="949"/>
                    </a:lnTo>
                    <a:lnTo>
                      <a:pt x="448" y="945"/>
                    </a:lnTo>
                    <a:lnTo>
                      <a:pt x="450" y="941"/>
                    </a:lnTo>
                    <a:lnTo>
                      <a:pt x="450" y="939"/>
                    </a:lnTo>
                    <a:lnTo>
                      <a:pt x="450" y="937"/>
                    </a:lnTo>
                    <a:lnTo>
                      <a:pt x="450" y="935"/>
                    </a:lnTo>
                    <a:lnTo>
                      <a:pt x="452" y="931"/>
                    </a:lnTo>
                    <a:lnTo>
                      <a:pt x="454" y="933"/>
                    </a:lnTo>
                    <a:lnTo>
                      <a:pt x="452" y="933"/>
                    </a:lnTo>
                    <a:lnTo>
                      <a:pt x="454" y="935"/>
                    </a:lnTo>
                    <a:lnTo>
                      <a:pt x="456" y="931"/>
                    </a:lnTo>
                    <a:lnTo>
                      <a:pt x="458" y="931"/>
                    </a:lnTo>
                    <a:lnTo>
                      <a:pt x="460" y="933"/>
                    </a:lnTo>
                    <a:lnTo>
                      <a:pt x="462" y="929"/>
                    </a:lnTo>
                    <a:lnTo>
                      <a:pt x="464" y="929"/>
                    </a:lnTo>
                    <a:lnTo>
                      <a:pt x="462" y="929"/>
                    </a:lnTo>
                    <a:lnTo>
                      <a:pt x="462" y="931"/>
                    </a:lnTo>
                    <a:lnTo>
                      <a:pt x="467" y="931"/>
                    </a:lnTo>
                    <a:lnTo>
                      <a:pt x="466" y="929"/>
                    </a:lnTo>
                    <a:lnTo>
                      <a:pt x="464" y="929"/>
                    </a:lnTo>
                    <a:lnTo>
                      <a:pt x="464" y="928"/>
                    </a:lnTo>
                    <a:lnTo>
                      <a:pt x="464" y="924"/>
                    </a:lnTo>
                    <a:lnTo>
                      <a:pt x="462" y="920"/>
                    </a:lnTo>
                    <a:lnTo>
                      <a:pt x="466" y="924"/>
                    </a:lnTo>
                    <a:lnTo>
                      <a:pt x="467" y="924"/>
                    </a:lnTo>
                    <a:lnTo>
                      <a:pt x="469" y="924"/>
                    </a:lnTo>
                    <a:lnTo>
                      <a:pt x="477" y="920"/>
                    </a:lnTo>
                    <a:lnTo>
                      <a:pt x="485" y="912"/>
                    </a:lnTo>
                    <a:lnTo>
                      <a:pt x="494" y="903"/>
                    </a:lnTo>
                    <a:lnTo>
                      <a:pt x="500" y="897"/>
                    </a:lnTo>
                    <a:lnTo>
                      <a:pt x="502" y="897"/>
                    </a:lnTo>
                    <a:lnTo>
                      <a:pt x="511" y="897"/>
                    </a:lnTo>
                    <a:lnTo>
                      <a:pt x="519" y="893"/>
                    </a:lnTo>
                    <a:lnTo>
                      <a:pt x="517" y="895"/>
                    </a:lnTo>
                    <a:lnTo>
                      <a:pt x="517" y="897"/>
                    </a:lnTo>
                    <a:lnTo>
                      <a:pt x="517" y="895"/>
                    </a:lnTo>
                    <a:lnTo>
                      <a:pt x="519" y="897"/>
                    </a:lnTo>
                    <a:lnTo>
                      <a:pt x="521" y="897"/>
                    </a:lnTo>
                    <a:lnTo>
                      <a:pt x="521" y="899"/>
                    </a:lnTo>
                    <a:lnTo>
                      <a:pt x="519" y="901"/>
                    </a:lnTo>
                    <a:lnTo>
                      <a:pt x="519" y="903"/>
                    </a:lnTo>
                    <a:lnTo>
                      <a:pt x="523" y="903"/>
                    </a:lnTo>
                    <a:lnTo>
                      <a:pt x="525" y="901"/>
                    </a:lnTo>
                    <a:lnTo>
                      <a:pt x="527" y="899"/>
                    </a:lnTo>
                    <a:lnTo>
                      <a:pt x="528" y="897"/>
                    </a:lnTo>
                    <a:lnTo>
                      <a:pt x="525" y="895"/>
                    </a:lnTo>
                    <a:lnTo>
                      <a:pt x="525" y="893"/>
                    </a:lnTo>
                    <a:lnTo>
                      <a:pt x="523" y="893"/>
                    </a:lnTo>
                    <a:lnTo>
                      <a:pt x="525" y="889"/>
                    </a:lnTo>
                    <a:lnTo>
                      <a:pt x="523" y="893"/>
                    </a:lnTo>
                    <a:lnTo>
                      <a:pt x="521" y="891"/>
                    </a:lnTo>
                    <a:lnTo>
                      <a:pt x="538" y="878"/>
                    </a:lnTo>
                    <a:lnTo>
                      <a:pt x="544" y="876"/>
                    </a:lnTo>
                    <a:lnTo>
                      <a:pt x="551" y="874"/>
                    </a:lnTo>
                    <a:lnTo>
                      <a:pt x="555" y="874"/>
                    </a:lnTo>
                    <a:lnTo>
                      <a:pt x="557" y="874"/>
                    </a:lnTo>
                    <a:lnTo>
                      <a:pt x="555" y="876"/>
                    </a:lnTo>
                    <a:lnTo>
                      <a:pt x="553" y="874"/>
                    </a:lnTo>
                    <a:lnTo>
                      <a:pt x="553" y="876"/>
                    </a:lnTo>
                    <a:lnTo>
                      <a:pt x="546" y="878"/>
                    </a:lnTo>
                    <a:lnTo>
                      <a:pt x="542" y="878"/>
                    </a:lnTo>
                    <a:lnTo>
                      <a:pt x="540" y="880"/>
                    </a:lnTo>
                    <a:lnTo>
                      <a:pt x="544" y="882"/>
                    </a:lnTo>
                    <a:lnTo>
                      <a:pt x="544" y="880"/>
                    </a:lnTo>
                    <a:lnTo>
                      <a:pt x="542" y="880"/>
                    </a:lnTo>
                    <a:lnTo>
                      <a:pt x="544" y="880"/>
                    </a:lnTo>
                    <a:lnTo>
                      <a:pt x="548" y="882"/>
                    </a:lnTo>
                    <a:lnTo>
                      <a:pt x="548" y="884"/>
                    </a:lnTo>
                    <a:lnTo>
                      <a:pt x="546" y="884"/>
                    </a:lnTo>
                    <a:lnTo>
                      <a:pt x="546" y="886"/>
                    </a:lnTo>
                    <a:lnTo>
                      <a:pt x="546" y="887"/>
                    </a:lnTo>
                    <a:lnTo>
                      <a:pt x="544" y="889"/>
                    </a:lnTo>
                    <a:lnTo>
                      <a:pt x="542" y="891"/>
                    </a:lnTo>
                    <a:lnTo>
                      <a:pt x="544" y="891"/>
                    </a:lnTo>
                    <a:lnTo>
                      <a:pt x="546" y="895"/>
                    </a:lnTo>
                    <a:lnTo>
                      <a:pt x="546" y="901"/>
                    </a:lnTo>
                    <a:lnTo>
                      <a:pt x="544" y="901"/>
                    </a:lnTo>
                    <a:lnTo>
                      <a:pt x="544" y="903"/>
                    </a:lnTo>
                    <a:lnTo>
                      <a:pt x="544" y="901"/>
                    </a:lnTo>
                    <a:lnTo>
                      <a:pt x="542" y="901"/>
                    </a:lnTo>
                    <a:lnTo>
                      <a:pt x="540" y="901"/>
                    </a:lnTo>
                    <a:lnTo>
                      <a:pt x="542" y="901"/>
                    </a:lnTo>
                    <a:lnTo>
                      <a:pt x="542" y="903"/>
                    </a:lnTo>
                    <a:lnTo>
                      <a:pt x="538" y="901"/>
                    </a:lnTo>
                    <a:lnTo>
                      <a:pt x="538" y="903"/>
                    </a:lnTo>
                    <a:lnTo>
                      <a:pt x="536" y="903"/>
                    </a:lnTo>
                    <a:lnTo>
                      <a:pt x="534" y="905"/>
                    </a:lnTo>
                    <a:lnTo>
                      <a:pt x="534" y="908"/>
                    </a:lnTo>
                    <a:lnTo>
                      <a:pt x="536" y="908"/>
                    </a:lnTo>
                    <a:lnTo>
                      <a:pt x="538" y="907"/>
                    </a:lnTo>
                    <a:lnTo>
                      <a:pt x="540" y="907"/>
                    </a:lnTo>
                    <a:lnTo>
                      <a:pt x="542" y="907"/>
                    </a:lnTo>
                    <a:lnTo>
                      <a:pt x="546" y="907"/>
                    </a:lnTo>
                    <a:lnTo>
                      <a:pt x="544" y="908"/>
                    </a:lnTo>
                    <a:lnTo>
                      <a:pt x="546" y="908"/>
                    </a:lnTo>
                    <a:lnTo>
                      <a:pt x="548" y="907"/>
                    </a:lnTo>
                    <a:lnTo>
                      <a:pt x="548" y="908"/>
                    </a:lnTo>
                    <a:lnTo>
                      <a:pt x="548" y="907"/>
                    </a:lnTo>
                    <a:lnTo>
                      <a:pt x="549" y="908"/>
                    </a:lnTo>
                    <a:lnTo>
                      <a:pt x="549" y="907"/>
                    </a:lnTo>
                    <a:lnTo>
                      <a:pt x="549" y="908"/>
                    </a:lnTo>
                    <a:lnTo>
                      <a:pt x="551" y="910"/>
                    </a:lnTo>
                    <a:lnTo>
                      <a:pt x="551" y="908"/>
                    </a:lnTo>
                    <a:lnTo>
                      <a:pt x="553" y="907"/>
                    </a:lnTo>
                    <a:lnTo>
                      <a:pt x="555" y="905"/>
                    </a:lnTo>
                    <a:lnTo>
                      <a:pt x="557" y="908"/>
                    </a:lnTo>
                    <a:lnTo>
                      <a:pt x="559" y="910"/>
                    </a:lnTo>
                    <a:lnTo>
                      <a:pt x="561" y="910"/>
                    </a:lnTo>
                    <a:lnTo>
                      <a:pt x="561" y="912"/>
                    </a:lnTo>
                    <a:lnTo>
                      <a:pt x="561" y="908"/>
                    </a:lnTo>
                    <a:lnTo>
                      <a:pt x="563" y="907"/>
                    </a:lnTo>
                    <a:lnTo>
                      <a:pt x="561" y="903"/>
                    </a:lnTo>
                    <a:lnTo>
                      <a:pt x="563" y="899"/>
                    </a:lnTo>
                    <a:lnTo>
                      <a:pt x="565" y="899"/>
                    </a:lnTo>
                    <a:lnTo>
                      <a:pt x="569" y="893"/>
                    </a:lnTo>
                    <a:lnTo>
                      <a:pt x="570" y="893"/>
                    </a:lnTo>
                    <a:lnTo>
                      <a:pt x="574" y="893"/>
                    </a:lnTo>
                    <a:lnTo>
                      <a:pt x="578" y="891"/>
                    </a:lnTo>
                    <a:lnTo>
                      <a:pt x="578" y="889"/>
                    </a:lnTo>
                    <a:lnTo>
                      <a:pt x="580" y="889"/>
                    </a:lnTo>
                    <a:lnTo>
                      <a:pt x="584" y="891"/>
                    </a:lnTo>
                    <a:lnTo>
                      <a:pt x="586" y="891"/>
                    </a:lnTo>
                    <a:lnTo>
                      <a:pt x="588" y="891"/>
                    </a:lnTo>
                    <a:lnTo>
                      <a:pt x="590" y="891"/>
                    </a:lnTo>
                    <a:lnTo>
                      <a:pt x="591" y="891"/>
                    </a:lnTo>
                    <a:lnTo>
                      <a:pt x="593" y="893"/>
                    </a:lnTo>
                    <a:lnTo>
                      <a:pt x="595" y="893"/>
                    </a:lnTo>
                    <a:lnTo>
                      <a:pt x="595" y="895"/>
                    </a:lnTo>
                    <a:lnTo>
                      <a:pt x="599" y="895"/>
                    </a:lnTo>
                    <a:lnTo>
                      <a:pt x="603" y="891"/>
                    </a:lnTo>
                    <a:lnTo>
                      <a:pt x="603" y="889"/>
                    </a:lnTo>
                    <a:lnTo>
                      <a:pt x="605" y="886"/>
                    </a:lnTo>
                    <a:lnTo>
                      <a:pt x="603" y="886"/>
                    </a:lnTo>
                    <a:lnTo>
                      <a:pt x="601" y="887"/>
                    </a:lnTo>
                    <a:lnTo>
                      <a:pt x="599" y="886"/>
                    </a:lnTo>
                    <a:lnTo>
                      <a:pt x="609" y="884"/>
                    </a:lnTo>
                    <a:lnTo>
                      <a:pt x="624" y="874"/>
                    </a:lnTo>
                    <a:lnTo>
                      <a:pt x="630" y="874"/>
                    </a:lnTo>
                    <a:lnTo>
                      <a:pt x="631" y="874"/>
                    </a:lnTo>
                    <a:lnTo>
                      <a:pt x="631" y="876"/>
                    </a:lnTo>
                    <a:lnTo>
                      <a:pt x="630" y="874"/>
                    </a:lnTo>
                    <a:lnTo>
                      <a:pt x="628" y="876"/>
                    </a:lnTo>
                    <a:lnTo>
                      <a:pt x="626" y="878"/>
                    </a:lnTo>
                    <a:lnTo>
                      <a:pt x="630" y="878"/>
                    </a:lnTo>
                    <a:lnTo>
                      <a:pt x="633" y="882"/>
                    </a:lnTo>
                    <a:lnTo>
                      <a:pt x="635" y="884"/>
                    </a:lnTo>
                    <a:lnTo>
                      <a:pt x="643" y="887"/>
                    </a:lnTo>
                    <a:lnTo>
                      <a:pt x="649" y="887"/>
                    </a:lnTo>
                    <a:lnTo>
                      <a:pt x="652" y="886"/>
                    </a:lnTo>
                    <a:lnTo>
                      <a:pt x="656" y="880"/>
                    </a:lnTo>
                    <a:lnTo>
                      <a:pt x="658" y="880"/>
                    </a:lnTo>
                    <a:lnTo>
                      <a:pt x="658" y="876"/>
                    </a:lnTo>
                    <a:lnTo>
                      <a:pt x="658" y="874"/>
                    </a:lnTo>
                    <a:lnTo>
                      <a:pt x="658" y="870"/>
                    </a:lnTo>
                    <a:lnTo>
                      <a:pt x="656" y="866"/>
                    </a:lnTo>
                    <a:lnTo>
                      <a:pt x="654" y="866"/>
                    </a:lnTo>
                    <a:lnTo>
                      <a:pt x="654" y="870"/>
                    </a:lnTo>
                    <a:lnTo>
                      <a:pt x="652" y="868"/>
                    </a:lnTo>
                    <a:lnTo>
                      <a:pt x="652" y="863"/>
                    </a:lnTo>
                    <a:lnTo>
                      <a:pt x="647" y="853"/>
                    </a:lnTo>
                    <a:lnTo>
                      <a:pt x="647" y="851"/>
                    </a:lnTo>
                    <a:lnTo>
                      <a:pt x="647" y="847"/>
                    </a:lnTo>
                    <a:lnTo>
                      <a:pt x="649" y="844"/>
                    </a:lnTo>
                    <a:lnTo>
                      <a:pt x="652" y="844"/>
                    </a:lnTo>
                    <a:lnTo>
                      <a:pt x="654" y="844"/>
                    </a:lnTo>
                    <a:lnTo>
                      <a:pt x="654" y="842"/>
                    </a:lnTo>
                    <a:lnTo>
                      <a:pt x="654" y="838"/>
                    </a:lnTo>
                    <a:lnTo>
                      <a:pt x="654" y="836"/>
                    </a:lnTo>
                    <a:lnTo>
                      <a:pt x="656" y="836"/>
                    </a:lnTo>
                    <a:lnTo>
                      <a:pt x="656" y="834"/>
                    </a:lnTo>
                    <a:lnTo>
                      <a:pt x="660" y="836"/>
                    </a:lnTo>
                    <a:lnTo>
                      <a:pt x="660" y="834"/>
                    </a:lnTo>
                    <a:lnTo>
                      <a:pt x="662" y="836"/>
                    </a:lnTo>
                    <a:lnTo>
                      <a:pt x="664" y="836"/>
                    </a:lnTo>
                    <a:lnTo>
                      <a:pt x="664" y="838"/>
                    </a:lnTo>
                    <a:lnTo>
                      <a:pt x="666" y="838"/>
                    </a:lnTo>
                    <a:lnTo>
                      <a:pt x="670" y="840"/>
                    </a:lnTo>
                    <a:lnTo>
                      <a:pt x="675" y="840"/>
                    </a:lnTo>
                    <a:lnTo>
                      <a:pt x="689" y="842"/>
                    </a:lnTo>
                    <a:lnTo>
                      <a:pt x="702" y="847"/>
                    </a:lnTo>
                    <a:lnTo>
                      <a:pt x="712" y="851"/>
                    </a:lnTo>
                    <a:lnTo>
                      <a:pt x="721" y="859"/>
                    </a:lnTo>
                    <a:lnTo>
                      <a:pt x="721" y="863"/>
                    </a:lnTo>
                    <a:lnTo>
                      <a:pt x="719" y="861"/>
                    </a:lnTo>
                    <a:lnTo>
                      <a:pt x="719" y="863"/>
                    </a:lnTo>
                    <a:lnTo>
                      <a:pt x="719" y="861"/>
                    </a:lnTo>
                    <a:lnTo>
                      <a:pt x="719" y="863"/>
                    </a:lnTo>
                    <a:lnTo>
                      <a:pt x="717" y="863"/>
                    </a:lnTo>
                    <a:lnTo>
                      <a:pt x="719" y="863"/>
                    </a:lnTo>
                    <a:lnTo>
                      <a:pt x="717" y="868"/>
                    </a:lnTo>
                    <a:lnTo>
                      <a:pt x="721" y="865"/>
                    </a:lnTo>
                    <a:lnTo>
                      <a:pt x="721" y="863"/>
                    </a:lnTo>
                    <a:lnTo>
                      <a:pt x="723" y="863"/>
                    </a:lnTo>
                    <a:lnTo>
                      <a:pt x="727" y="865"/>
                    </a:lnTo>
                    <a:lnTo>
                      <a:pt x="731" y="866"/>
                    </a:lnTo>
                    <a:lnTo>
                      <a:pt x="742" y="870"/>
                    </a:lnTo>
                    <a:lnTo>
                      <a:pt x="744" y="874"/>
                    </a:lnTo>
                    <a:lnTo>
                      <a:pt x="748" y="878"/>
                    </a:lnTo>
                    <a:lnTo>
                      <a:pt x="744" y="874"/>
                    </a:lnTo>
                    <a:lnTo>
                      <a:pt x="740" y="870"/>
                    </a:lnTo>
                    <a:lnTo>
                      <a:pt x="738" y="870"/>
                    </a:lnTo>
                    <a:lnTo>
                      <a:pt x="736" y="870"/>
                    </a:lnTo>
                    <a:lnTo>
                      <a:pt x="734" y="870"/>
                    </a:lnTo>
                    <a:lnTo>
                      <a:pt x="734" y="868"/>
                    </a:lnTo>
                    <a:lnTo>
                      <a:pt x="733" y="868"/>
                    </a:lnTo>
                    <a:lnTo>
                      <a:pt x="731" y="868"/>
                    </a:lnTo>
                    <a:lnTo>
                      <a:pt x="734" y="872"/>
                    </a:lnTo>
                    <a:lnTo>
                      <a:pt x="736" y="870"/>
                    </a:lnTo>
                    <a:lnTo>
                      <a:pt x="738" y="872"/>
                    </a:lnTo>
                    <a:lnTo>
                      <a:pt x="740" y="872"/>
                    </a:lnTo>
                    <a:lnTo>
                      <a:pt x="742" y="874"/>
                    </a:lnTo>
                    <a:lnTo>
                      <a:pt x="744" y="876"/>
                    </a:lnTo>
                    <a:lnTo>
                      <a:pt x="748" y="880"/>
                    </a:lnTo>
                    <a:lnTo>
                      <a:pt x="757" y="882"/>
                    </a:lnTo>
                    <a:lnTo>
                      <a:pt x="759" y="882"/>
                    </a:lnTo>
                    <a:lnTo>
                      <a:pt x="761" y="884"/>
                    </a:lnTo>
                    <a:lnTo>
                      <a:pt x="759" y="886"/>
                    </a:lnTo>
                    <a:lnTo>
                      <a:pt x="757" y="882"/>
                    </a:lnTo>
                    <a:lnTo>
                      <a:pt x="755" y="882"/>
                    </a:lnTo>
                    <a:lnTo>
                      <a:pt x="755" y="884"/>
                    </a:lnTo>
                    <a:lnTo>
                      <a:pt x="755" y="886"/>
                    </a:lnTo>
                    <a:lnTo>
                      <a:pt x="757" y="887"/>
                    </a:lnTo>
                    <a:lnTo>
                      <a:pt x="761" y="889"/>
                    </a:lnTo>
                    <a:lnTo>
                      <a:pt x="759" y="889"/>
                    </a:lnTo>
                    <a:lnTo>
                      <a:pt x="761" y="889"/>
                    </a:lnTo>
                    <a:lnTo>
                      <a:pt x="765" y="893"/>
                    </a:lnTo>
                    <a:lnTo>
                      <a:pt x="765" y="895"/>
                    </a:lnTo>
                    <a:lnTo>
                      <a:pt x="767" y="897"/>
                    </a:lnTo>
                    <a:lnTo>
                      <a:pt x="765" y="897"/>
                    </a:lnTo>
                    <a:lnTo>
                      <a:pt x="767" y="897"/>
                    </a:lnTo>
                    <a:lnTo>
                      <a:pt x="767" y="899"/>
                    </a:lnTo>
                    <a:lnTo>
                      <a:pt x="769" y="897"/>
                    </a:lnTo>
                    <a:lnTo>
                      <a:pt x="773" y="901"/>
                    </a:lnTo>
                    <a:lnTo>
                      <a:pt x="774" y="901"/>
                    </a:lnTo>
                    <a:lnTo>
                      <a:pt x="774" y="905"/>
                    </a:lnTo>
                    <a:lnTo>
                      <a:pt x="773" y="905"/>
                    </a:lnTo>
                    <a:lnTo>
                      <a:pt x="773" y="908"/>
                    </a:lnTo>
                    <a:lnTo>
                      <a:pt x="774" y="908"/>
                    </a:lnTo>
                    <a:lnTo>
                      <a:pt x="774" y="910"/>
                    </a:lnTo>
                    <a:lnTo>
                      <a:pt x="778" y="907"/>
                    </a:lnTo>
                    <a:lnTo>
                      <a:pt x="780" y="907"/>
                    </a:lnTo>
                    <a:lnTo>
                      <a:pt x="778" y="905"/>
                    </a:lnTo>
                    <a:lnTo>
                      <a:pt x="780" y="905"/>
                    </a:lnTo>
                    <a:lnTo>
                      <a:pt x="778" y="903"/>
                    </a:lnTo>
                    <a:lnTo>
                      <a:pt x="780" y="901"/>
                    </a:lnTo>
                    <a:lnTo>
                      <a:pt x="784" y="891"/>
                    </a:lnTo>
                    <a:lnTo>
                      <a:pt x="786" y="884"/>
                    </a:lnTo>
                    <a:lnTo>
                      <a:pt x="788" y="882"/>
                    </a:lnTo>
                    <a:lnTo>
                      <a:pt x="788" y="880"/>
                    </a:lnTo>
                    <a:lnTo>
                      <a:pt x="786" y="880"/>
                    </a:lnTo>
                    <a:lnTo>
                      <a:pt x="786" y="878"/>
                    </a:lnTo>
                    <a:lnTo>
                      <a:pt x="788" y="876"/>
                    </a:lnTo>
                    <a:lnTo>
                      <a:pt x="786" y="876"/>
                    </a:lnTo>
                    <a:lnTo>
                      <a:pt x="784" y="878"/>
                    </a:lnTo>
                    <a:lnTo>
                      <a:pt x="782" y="878"/>
                    </a:lnTo>
                    <a:lnTo>
                      <a:pt x="778" y="876"/>
                    </a:lnTo>
                    <a:lnTo>
                      <a:pt x="776" y="874"/>
                    </a:lnTo>
                    <a:lnTo>
                      <a:pt x="776" y="870"/>
                    </a:lnTo>
                    <a:lnTo>
                      <a:pt x="773" y="865"/>
                    </a:lnTo>
                    <a:lnTo>
                      <a:pt x="771" y="859"/>
                    </a:lnTo>
                    <a:lnTo>
                      <a:pt x="773" y="857"/>
                    </a:lnTo>
                    <a:lnTo>
                      <a:pt x="773" y="851"/>
                    </a:lnTo>
                    <a:lnTo>
                      <a:pt x="771" y="851"/>
                    </a:lnTo>
                    <a:lnTo>
                      <a:pt x="769" y="853"/>
                    </a:lnTo>
                    <a:lnTo>
                      <a:pt x="767" y="851"/>
                    </a:lnTo>
                    <a:lnTo>
                      <a:pt x="765" y="847"/>
                    </a:lnTo>
                    <a:lnTo>
                      <a:pt x="763" y="847"/>
                    </a:lnTo>
                    <a:lnTo>
                      <a:pt x="763" y="845"/>
                    </a:lnTo>
                    <a:lnTo>
                      <a:pt x="761" y="845"/>
                    </a:lnTo>
                    <a:lnTo>
                      <a:pt x="759" y="847"/>
                    </a:lnTo>
                    <a:lnTo>
                      <a:pt x="759" y="851"/>
                    </a:lnTo>
                    <a:lnTo>
                      <a:pt x="759" y="853"/>
                    </a:lnTo>
                    <a:lnTo>
                      <a:pt x="759" y="855"/>
                    </a:lnTo>
                    <a:lnTo>
                      <a:pt x="757" y="857"/>
                    </a:lnTo>
                    <a:lnTo>
                      <a:pt x="757" y="859"/>
                    </a:lnTo>
                    <a:lnTo>
                      <a:pt x="755" y="857"/>
                    </a:lnTo>
                    <a:lnTo>
                      <a:pt x="754" y="855"/>
                    </a:lnTo>
                    <a:lnTo>
                      <a:pt x="754" y="853"/>
                    </a:lnTo>
                    <a:lnTo>
                      <a:pt x="755" y="855"/>
                    </a:lnTo>
                    <a:lnTo>
                      <a:pt x="759" y="855"/>
                    </a:lnTo>
                    <a:lnTo>
                      <a:pt x="759" y="853"/>
                    </a:lnTo>
                    <a:lnTo>
                      <a:pt x="757" y="855"/>
                    </a:lnTo>
                    <a:lnTo>
                      <a:pt x="755" y="853"/>
                    </a:lnTo>
                    <a:lnTo>
                      <a:pt x="755" y="851"/>
                    </a:lnTo>
                    <a:lnTo>
                      <a:pt x="757" y="847"/>
                    </a:lnTo>
                    <a:lnTo>
                      <a:pt x="759" y="847"/>
                    </a:lnTo>
                    <a:lnTo>
                      <a:pt x="759" y="845"/>
                    </a:lnTo>
                    <a:lnTo>
                      <a:pt x="755" y="842"/>
                    </a:lnTo>
                    <a:lnTo>
                      <a:pt x="754" y="844"/>
                    </a:lnTo>
                    <a:lnTo>
                      <a:pt x="754" y="845"/>
                    </a:lnTo>
                    <a:lnTo>
                      <a:pt x="752" y="845"/>
                    </a:lnTo>
                    <a:lnTo>
                      <a:pt x="754" y="845"/>
                    </a:lnTo>
                    <a:lnTo>
                      <a:pt x="754" y="844"/>
                    </a:lnTo>
                    <a:lnTo>
                      <a:pt x="752" y="845"/>
                    </a:lnTo>
                    <a:lnTo>
                      <a:pt x="752" y="847"/>
                    </a:lnTo>
                    <a:lnTo>
                      <a:pt x="754" y="849"/>
                    </a:lnTo>
                    <a:lnTo>
                      <a:pt x="754" y="851"/>
                    </a:lnTo>
                    <a:lnTo>
                      <a:pt x="752" y="847"/>
                    </a:lnTo>
                    <a:lnTo>
                      <a:pt x="752" y="842"/>
                    </a:lnTo>
                    <a:lnTo>
                      <a:pt x="752" y="832"/>
                    </a:lnTo>
                    <a:lnTo>
                      <a:pt x="754" y="826"/>
                    </a:lnTo>
                    <a:lnTo>
                      <a:pt x="755" y="828"/>
                    </a:lnTo>
                    <a:lnTo>
                      <a:pt x="754" y="828"/>
                    </a:lnTo>
                    <a:lnTo>
                      <a:pt x="754" y="830"/>
                    </a:lnTo>
                    <a:lnTo>
                      <a:pt x="755" y="830"/>
                    </a:lnTo>
                    <a:lnTo>
                      <a:pt x="757" y="830"/>
                    </a:lnTo>
                    <a:lnTo>
                      <a:pt x="761" y="826"/>
                    </a:lnTo>
                    <a:lnTo>
                      <a:pt x="759" y="823"/>
                    </a:lnTo>
                    <a:lnTo>
                      <a:pt x="757" y="819"/>
                    </a:lnTo>
                    <a:lnTo>
                      <a:pt x="755" y="819"/>
                    </a:lnTo>
                    <a:lnTo>
                      <a:pt x="757" y="811"/>
                    </a:lnTo>
                    <a:lnTo>
                      <a:pt x="759" y="807"/>
                    </a:lnTo>
                    <a:lnTo>
                      <a:pt x="757" y="804"/>
                    </a:lnTo>
                    <a:lnTo>
                      <a:pt x="757" y="800"/>
                    </a:lnTo>
                    <a:lnTo>
                      <a:pt x="759" y="796"/>
                    </a:lnTo>
                    <a:lnTo>
                      <a:pt x="761" y="794"/>
                    </a:lnTo>
                    <a:lnTo>
                      <a:pt x="759" y="788"/>
                    </a:lnTo>
                    <a:lnTo>
                      <a:pt x="757" y="788"/>
                    </a:lnTo>
                    <a:lnTo>
                      <a:pt x="755" y="790"/>
                    </a:lnTo>
                    <a:lnTo>
                      <a:pt x="754" y="792"/>
                    </a:lnTo>
                    <a:lnTo>
                      <a:pt x="750" y="792"/>
                    </a:lnTo>
                    <a:lnTo>
                      <a:pt x="750" y="790"/>
                    </a:lnTo>
                    <a:lnTo>
                      <a:pt x="748" y="786"/>
                    </a:lnTo>
                    <a:lnTo>
                      <a:pt x="752" y="784"/>
                    </a:lnTo>
                    <a:lnTo>
                      <a:pt x="754" y="781"/>
                    </a:lnTo>
                    <a:lnTo>
                      <a:pt x="752" y="779"/>
                    </a:lnTo>
                    <a:lnTo>
                      <a:pt x="754" y="779"/>
                    </a:lnTo>
                    <a:lnTo>
                      <a:pt x="752" y="779"/>
                    </a:lnTo>
                    <a:lnTo>
                      <a:pt x="754" y="777"/>
                    </a:lnTo>
                    <a:lnTo>
                      <a:pt x="752" y="777"/>
                    </a:lnTo>
                    <a:lnTo>
                      <a:pt x="750" y="779"/>
                    </a:lnTo>
                    <a:lnTo>
                      <a:pt x="752" y="779"/>
                    </a:lnTo>
                    <a:lnTo>
                      <a:pt x="752" y="781"/>
                    </a:lnTo>
                    <a:lnTo>
                      <a:pt x="750" y="781"/>
                    </a:lnTo>
                    <a:lnTo>
                      <a:pt x="748" y="783"/>
                    </a:lnTo>
                    <a:lnTo>
                      <a:pt x="748" y="784"/>
                    </a:lnTo>
                    <a:lnTo>
                      <a:pt x="750" y="784"/>
                    </a:lnTo>
                    <a:lnTo>
                      <a:pt x="748" y="784"/>
                    </a:lnTo>
                    <a:lnTo>
                      <a:pt x="748" y="788"/>
                    </a:lnTo>
                    <a:lnTo>
                      <a:pt x="746" y="788"/>
                    </a:lnTo>
                    <a:lnTo>
                      <a:pt x="748" y="781"/>
                    </a:lnTo>
                    <a:lnTo>
                      <a:pt x="750" y="781"/>
                    </a:lnTo>
                    <a:lnTo>
                      <a:pt x="750" y="779"/>
                    </a:lnTo>
                    <a:lnTo>
                      <a:pt x="750" y="777"/>
                    </a:lnTo>
                    <a:lnTo>
                      <a:pt x="754" y="767"/>
                    </a:lnTo>
                    <a:lnTo>
                      <a:pt x="763" y="762"/>
                    </a:lnTo>
                    <a:lnTo>
                      <a:pt x="763" y="760"/>
                    </a:lnTo>
                    <a:lnTo>
                      <a:pt x="769" y="756"/>
                    </a:lnTo>
                    <a:lnTo>
                      <a:pt x="774" y="748"/>
                    </a:lnTo>
                    <a:lnTo>
                      <a:pt x="778" y="741"/>
                    </a:lnTo>
                    <a:lnTo>
                      <a:pt x="780" y="725"/>
                    </a:lnTo>
                    <a:lnTo>
                      <a:pt x="782" y="725"/>
                    </a:lnTo>
                    <a:lnTo>
                      <a:pt x="780" y="723"/>
                    </a:lnTo>
                    <a:lnTo>
                      <a:pt x="782" y="716"/>
                    </a:lnTo>
                    <a:lnTo>
                      <a:pt x="782" y="714"/>
                    </a:lnTo>
                    <a:lnTo>
                      <a:pt x="782" y="708"/>
                    </a:lnTo>
                    <a:lnTo>
                      <a:pt x="784" y="697"/>
                    </a:lnTo>
                    <a:lnTo>
                      <a:pt x="786" y="697"/>
                    </a:lnTo>
                    <a:lnTo>
                      <a:pt x="784" y="697"/>
                    </a:lnTo>
                    <a:lnTo>
                      <a:pt x="788" y="691"/>
                    </a:lnTo>
                    <a:lnTo>
                      <a:pt x="792" y="681"/>
                    </a:lnTo>
                    <a:lnTo>
                      <a:pt x="795" y="679"/>
                    </a:lnTo>
                    <a:lnTo>
                      <a:pt x="797" y="681"/>
                    </a:lnTo>
                    <a:lnTo>
                      <a:pt x="794" y="683"/>
                    </a:lnTo>
                    <a:lnTo>
                      <a:pt x="794" y="685"/>
                    </a:lnTo>
                    <a:lnTo>
                      <a:pt x="795" y="685"/>
                    </a:lnTo>
                    <a:lnTo>
                      <a:pt x="799" y="685"/>
                    </a:lnTo>
                    <a:lnTo>
                      <a:pt x="799" y="683"/>
                    </a:lnTo>
                    <a:lnTo>
                      <a:pt x="803" y="685"/>
                    </a:lnTo>
                    <a:lnTo>
                      <a:pt x="811" y="683"/>
                    </a:lnTo>
                    <a:lnTo>
                      <a:pt x="815" y="685"/>
                    </a:lnTo>
                    <a:lnTo>
                      <a:pt x="818" y="683"/>
                    </a:lnTo>
                    <a:lnTo>
                      <a:pt x="822" y="683"/>
                    </a:lnTo>
                    <a:lnTo>
                      <a:pt x="826" y="683"/>
                    </a:lnTo>
                    <a:lnTo>
                      <a:pt x="832" y="687"/>
                    </a:lnTo>
                    <a:lnTo>
                      <a:pt x="834" y="687"/>
                    </a:lnTo>
                    <a:lnTo>
                      <a:pt x="832" y="689"/>
                    </a:lnTo>
                    <a:lnTo>
                      <a:pt x="834" y="689"/>
                    </a:lnTo>
                    <a:lnTo>
                      <a:pt x="834" y="687"/>
                    </a:lnTo>
                    <a:lnTo>
                      <a:pt x="835" y="687"/>
                    </a:lnTo>
                    <a:lnTo>
                      <a:pt x="847" y="695"/>
                    </a:lnTo>
                    <a:lnTo>
                      <a:pt x="845" y="695"/>
                    </a:lnTo>
                    <a:lnTo>
                      <a:pt x="845" y="697"/>
                    </a:lnTo>
                    <a:lnTo>
                      <a:pt x="847" y="697"/>
                    </a:lnTo>
                    <a:lnTo>
                      <a:pt x="847" y="695"/>
                    </a:lnTo>
                    <a:lnTo>
                      <a:pt x="849" y="697"/>
                    </a:lnTo>
                    <a:lnTo>
                      <a:pt x="847" y="699"/>
                    </a:lnTo>
                    <a:lnTo>
                      <a:pt x="849" y="700"/>
                    </a:lnTo>
                    <a:lnTo>
                      <a:pt x="847" y="697"/>
                    </a:lnTo>
                    <a:lnTo>
                      <a:pt x="845" y="699"/>
                    </a:lnTo>
                    <a:lnTo>
                      <a:pt x="845" y="702"/>
                    </a:lnTo>
                    <a:lnTo>
                      <a:pt x="845" y="704"/>
                    </a:lnTo>
                    <a:lnTo>
                      <a:pt x="843" y="704"/>
                    </a:lnTo>
                    <a:lnTo>
                      <a:pt x="845" y="706"/>
                    </a:lnTo>
                    <a:lnTo>
                      <a:pt x="845" y="704"/>
                    </a:lnTo>
                    <a:lnTo>
                      <a:pt x="845" y="710"/>
                    </a:lnTo>
                    <a:lnTo>
                      <a:pt x="847" y="716"/>
                    </a:lnTo>
                    <a:lnTo>
                      <a:pt x="845" y="721"/>
                    </a:lnTo>
                    <a:lnTo>
                      <a:pt x="845" y="723"/>
                    </a:lnTo>
                    <a:lnTo>
                      <a:pt x="843" y="727"/>
                    </a:lnTo>
                    <a:lnTo>
                      <a:pt x="841" y="735"/>
                    </a:lnTo>
                    <a:lnTo>
                      <a:pt x="839" y="737"/>
                    </a:lnTo>
                    <a:lnTo>
                      <a:pt x="839" y="746"/>
                    </a:lnTo>
                    <a:lnTo>
                      <a:pt x="837" y="748"/>
                    </a:lnTo>
                    <a:lnTo>
                      <a:pt x="835" y="752"/>
                    </a:lnTo>
                    <a:lnTo>
                      <a:pt x="832" y="754"/>
                    </a:lnTo>
                    <a:lnTo>
                      <a:pt x="832" y="756"/>
                    </a:lnTo>
                    <a:lnTo>
                      <a:pt x="832" y="760"/>
                    </a:lnTo>
                    <a:lnTo>
                      <a:pt x="834" y="763"/>
                    </a:lnTo>
                    <a:lnTo>
                      <a:pt x="834" y="767"/>
                    </a:lnTo>
                    <a:lnTo>
                      <a:pt x="837" y="771"/>
                    </a:lnTo>
                    <a:lnTo>
                      <a:pt x="841" y="773"/>
                    </a:lnTo>
                    <a:lnTo>
                      <a:pt x="843" y="773"/>
                    </a:lnTo>
                    <a:lnTo>
                      <a:pt x="843" y="775"/>
                    </a:lnTo>
                    <a:lnTo>
                      <a:pt x="843" y="777"/>
                    </a:lnTo>
                    <a:lnTo>
                      <a:pt x="843" y="781"/>
                    </a:lnTo>
                    <a:lnTo>
                      <a:pt x="847" y="788"/>
                    </a:lnTo>
                    <a:lnTo>
                      <a:pt x="847" y="796"/>
                    </a:lnTo>
                    <a:lnTo>
                      <a:pt x="845" y="802"/>
                    </a:lnTo>
                    <a:lnTo>
                      <a:pt x="845" y="804"/>
                    </a:lnTo>
                    <a:lnTo>
                      <a:pt x="845" y="809"/>
                    </a:lnTo>
                    <a:lnTo>
                      <a:pt x="843" y="811"/>
                    </a:lnTo>
                    <a:lnTo>
                      <a:pt x="841" y="815"/>
                    </a:lnTo>
                    <a:lnTo>
                      <a:pt x="839" y="815"/>
                    </a:lnTo>
                    <a:lnTo>
                      <a:pt x="843" y="821"/>
                    </a:lnTo>
                    <a:lnTo>
                      <a:pt x="841" y="828"/>
                    </a:lnTo>
                    <a:lnTo>
                      <a:pt x="843" y="832"/>
                    </a:lnTo>
                    <a:lnTo>
                      <a:pt x="845" y="838"/>
                    </a:lnTo>
                    <a:lnTo>
                      <a:pt x="845" y="840"/>
                    </a:lnTo>
                    <a:lnTo>
                      <a:pt x="841" y="845"/>
                    </a:lnTo>
                    <a:lnTo>
                      <a:pt x="845" y="853"/>
                    </a:lnTo>
                    <a:lnTo>
                      <a:pt x="843" y="855"/>
                    </a:lnTo>
                    <a:lnTo>
                      <a:pt x="841" y="855"/>
                    </a:lnTo>
                    <a:lnTo>
                      <a:pt x="843" y="861"/>
                    </a:lnTo>
                    <a:lnTo>
                      <a:pt x="841" y="865"/>
                    </a:lnTo>
                    <a:lnTo>
                      <a:pt x="841" y="870"/>
                    </a:lnTo>
                    <a:lnTo>
                      <a:pt x="843" y="878"/>
                    </a:lnTo>
                    <a:lnTo>
                      <a:pt x="843" y="880"/>
                    </a:lnTo>
                    <a:lnTo>
                      <a:pt x="847" y="882"/>
                    </a:lnTo>
                    <a:lnTo>
                      <a:pt x="851" y="887"/>
                    </a:lnTo>
                    <a:lnTo>
                      <a:pt x="856" y="891"/>
                    </a:lnTo>
                    <a:lnTo>
                      <a:pt x="858" y="895"/>
                    </a:lnTo>
                    <a:lnTo>
                      <a:pt x="858" y="899"/>
                    </a:lnTo>
                    <a:lnTo>
                      <a:pt x="858" y="897"/>
                    </a:lnTo>
                    <a:lnTo>
                      <a:pt x="856" y="897"/>
                    </a:lnTo>
                    <a:lnTo>
                      <a:pt x="856" y="901"/>
                    </a:lnTo>
                    <a:lnTo>
                      <a:pt x="851" y="908"/>
                    </a:lnTo>
                    <a:lnTo>
                      <a:pt x="851" y="910"/>
                    </a:lnTo>
                    <a:lnTo>
                      <a:pt x="851" y="914"/>
                    </a:lnTo>
                    <a:lnTo>
                      <a:pt x="853" y="922"/>
                    </a:lnTo>
                    <a:lnTo>
                      <a:pt x="853" y="924"/>
                    </a:lnTo>
                    <a:lnTo>
                      <a:pt x="851" y="926"/>
                    </a:lnTo>
                    <a:lnTo>
                      <a:pt x="851" y="929"/>
                    </a:lnTo>
                    <a:lnTo>
                      <a:pt x="849" y="929"/>
                    </a:lnTo>
                    <a:lnTo>
                      <a:pt x="847" y="931"/>
                    </a:lnTo>
                    <a:lnTo>
                      <a:pt x="847" y="933"/>
                    </a:lnTo>
                    <a:lnTo>
                      <a:pt x="843" y="935"/>
                    </a:lnTo>
                    <a:lnTo>
                      <a:pt x="843" y="939"/>
                    </a:lnTo>
                    <a:lnTo>
                      <a:pt x="841" y="941"/>
                    </a:lnTo>
                    <a:lnTo>
                      <a:pt x="841" y="943"/>
                    </a:lnTo>
                    <a:lnTo>
                      <a:pt x="839" y="947"/>
                    </a:lnTo>
                    <a:lnTo>
                      <a:pt x="837" y="947"/>
                    </a:lnTo>
                    <a:lnTo>
                      <a:pt x="835" y="947"/>
                    </a:lnTo>
                    <a:lnTo>
                      <a:pt x="837" y="950"/>
                    </a:lnTo>
                    <a:lnTo>
                      <a:pt x="837" y="954"/>
                    </a:lnTo>
                    <a:lnTo>
                      <a:pt x="837" y="952"/>
                    </a:lnTo>
                    <a:lnTo>
                      <a:pt x="835" y="952"/>
                    </a:lnTo>
                    <a:lnTo>
                      <a:pt x="834" y="954"/>
                    </a:lnTo>
                    <a:lnTo>
                      <a:pt x="832" y="954"/>
                    </a:lnTo>
                    <a:lnTo>
                      <a:pt x="834" y="954"/>
                    </a:lnTo>
                    <a:lnTo>
                      <a:pt x="834" y="956"/>
                    </a:lnTo>
                    <a:lnTo>
                      <a:pt x="834" y="958"/>
                    </a:lnTo>
                    <a:lnTo>
                      <a:pt x="832" y="960"/>
                    </a:lnTo>
                    <a:lnTo>
                      <a:pt x="830" y="960"/>
                    </a:lnTo>
                    <a:lnTo>
                      <a:pt x="830" y="962"/>
                    </a:lnTo>
                    <a:lnTo>
                      <a:pt x="832" y="964"/>
                    </a:lnTo>
                    <a:lnTo>
                      <a:pt x="830" y="964"/>
                    </a:lnTo>
                    <a:lnTo>
                      <a:pt x="828" y="964"/>
                    </a:lnTo>
                    <a:lnTo>
                      <a:pt x="830" y="962"/>
                    </a:lnTo>
                    <a:lnTo>
                      <a:pt x="828" y="962"/>
                    </a:lnTo>
                    <a:lnTo>
                      <a:pt x="826" y="962"/>
                    </a:lnTo>
                    <a:lnTo>
                      <a:pt x="824" y="960"/>
                    </a:lnTo>
                    <a:lnTo>
                      <a:pt x="822" y="962"/>
                    </a:lnTo>
                    <a:lnTo>
                      <a:pt x="826" y="962"/>
                    </a:lnTo>
                    <a:lnTo>
                      <a:pt x="824" y="964"/>
                    </a:lnTo>
                    <a:lnTo>
                      <a:pt x="826" y="964"/>
                    </a:lnTo>
                    <a:lnTo>
                      <a:pt x="826" y="966"/>
                    </a:lnTo>
                    <a:lnTo>
                      <a:pt x="828" y="966"/>
                    </a:lnTo>
                    <a:lnTo>
                      <a:pt x="826" y="966"/>
                    </a:lnTo>
                    <a:lnTo>
                      <a:pt x="826" y="970"/>
                    </a:lnTo>
                    <a:lnTo>
                      <a:pt x="828" y="970"/>
                    </a:lnTo>
                    <a:lnTo>
                      <a:pt x="828" y="973"/>
                    </a:lnTo>
                    <a:lnTo>
                      <a:pt x="824" y="973"/>
                    </a:lnTo>
                    <a:lnTo>
                      <a:pt x="824" y="975"/>
                    </a:lnTo>
                    <a:lnTo>
                      <a:pt x="824" y="973"/>
                    </a:lnTo>
                    <a:lnTo>
                      <a:pt x="822" y="973"/>
                    </a:lnTo>
                    <a:lnTo>
                      <a:pt x="824" y="973"/>
                    </a:lnTo>
                    <a:lnTo>
                      <a:pt x="822" y="973"/>
                    </a:lnTo>
                    <a:lnTo>
                      <a:pt x="820" y="975"/>
                    </a:lnTo>
                    <a:lnTo>
                      <a:pt x="822" y="975"/>
                    </a:lnTo>
                    <a:lnTo>
                      <a:pt x="820" y="975"/>
                    </a:lnTo>
                    <a:lnTo>
                      <a:pt x="820" y="973"/>
                    </a:lnTo>
                    <a:lnTo>
                      <a:pt x="818" y="973"/>
                    </a:lnTo>
                    <a:lnTo>
                      <a:pt x="818" y="975"/>
                    </a:lnTo>
                    <a:lnTo>
                      <a:pt x="820" y="975"/>
                    </a:lnTo>
                    <a:lnTo>
                      <a:pt x="818" y="975"/>
                    </a:lnTo>
                    <a:lnTo>
                      <a:pt x="816" y="977"/>
                    </a:lnTo>
                    <a:lnTo>
                      <a:pt x="818" y="977"/>
                    </a:lnTo>
                    <a:lnTo>
                      <a:pt x="816" y="977"/>
                    </a:lnTo>
                    <a:lnTo>
                      <a:pt x="818" y="977"/>
                    </a:lnTo>
                    <a:lnTo>
                      <a:pt x="813" y="979"/>
                    </a:lnTo>
                    <a:lnTo>
                      <a:pt x="807" y="975"/>
                    </a:lnTo>
                    <a:lnTo>
                      <a:pt x="807" y="973"/>
                    </a:lnTo>
                    <a:lnTo>
                      <a:pt x="809" y="973"/>
                    </a:lnTo>
                    <a:lnTo>
                      <a:pt x="809" y="971"/>
                    </a:lnTo>
                    <a:lnTo>
                      <a:pt x="811" y="971"/>
                    </a:lnTo>
                    <a:lnTo>
                      <a:pt x="813" y="971"/>
                    </a:lnTo>
                    <a:lnTo>
                      <a:pt x="815" y="970"/>
                    </a:lnTo>
                    <a:lnTo>
                      <a:pt x="813" y="968"/>
                    </a:lnTo>
                    <a:lnTo>
                      <a:pt x="811" y="970"/>
                    </a:lnTo>
                    <a:lnTo>
                      <a:pt x="811" y="971"/>
                    </a:lnTo>
                    <a:lnTo>
                      <a:pt x="807" y="971"/>
                    </a:lnTo>
                    <a:lnTo>
                      <a:pt x="805" y="971"/>
                    </a:lnTo>
                    <a:lnTo>
                      <a:pt x="805" y="970"/>
                    </a:lnTo>
                    <a:lnTo>
                      <a:pt x="803" y="970"/>
                    </a:lnTo>
                    <a:lnTo>
                      <a:pt x="801" y="964"/>
                    </a:lnTo>
                    <a:lnTo>
                      <a:pt x="799" y="964"/>
                    </a:lnTo>
                    <a:lnTo>
                      <a:pt x="799" y="966"/>
                    </a:lnTo>
                    <a:lnTo>
                      <a:pt x="797" y="966"/>
                    </a:lnTo>
                    <a:lnTo>
                      <a:pt x="794" y="966"/>
                    </a:lnTo>
                    <a:lnTo>
                      <a:pt x="790" y="964"/>
                    </a:lnTo>
                    <a:lnTo>
                      <a:pt x="790" y="962"/>
                    </a:lnTo>
                    <a:lnTo>
                      <a:pt x="788" y="962"/>
                    </a:lnTo>
                    <a:lnTo>
                      <a:pt x="786" y="964"/>
                    </a:lnTo>
                    <a:lnTo>
                      <a:pt x="788" y="964"/>
                    </a:lnTo>
                    <a:lnTo>
                      <a:pt x="788" y="966"/>
                    </a:lnTo>
                    <a:lnTo>
                      <a:pt x="784" y="968"/>
                    </a:lnTo>
                    <a:lnTo>
                      <a:pt x="786" y="968"/>
                    </a:lnTo>
                    <a:lnTo>
                      <a:pt x="788" y="968"/>
                    </a:lnTo>
                    <a:lnTo>
                      <a:pt x="788" y="970"/>
                    </a:lnTo>
                    <a:lnTo>
                      <a:pt x="788" y="975"/>
                    </a:lnTo>
                    <a:lnTo>
                      <a:pt x="794" y="979"/>
                    </a:lnTo>
                    <a:lnTo>
                      <a:pt x="799" y="981"/>
                    </a:lnTo>
                    <a:lnTo>
                      <a:pt x="801" y="983"/>
                    </a:lnTo>
                    <a:lnTo>
                      <a:pt x="803" y="983"/>
                    </a:lnTo>
                    <a:lnTo>
                      <a:pt x="809" y="987"/>
                    </a:lnTo>
                    <a:lnTo>
                      <a:pt x="816" y="985"/>
                    </a:lnTo>
                    <a:lnTo>
                      <a:pt x="820" y="985"/>
                    </a:lnTo>
                    <a:lnTo>
                      <a:pt x="828" y="987"/>
                    </a:lnTo>
                    <a:lnTo>
                      <a:pt x="830" y="987"/>
                    </a:lnTo>
                    <a:lnTo>
                      <a:pt x="830" y="989"/>
                    </a:lnTo>
                    <a:lnTo>
                      <a:pt x="832" y="989"/>
                    </a:lnTo>
                    <a:lnTo>
                      <a:pt x="834" y="989"/>
                    </a:lnTo>
                    <a:lnTo>
                      <a:pt x="834" y="991"/>
                    </a:lnTo>
                    <a:lnTo>
                      <a:pt x="835" y="989"/>
                    </a:lnTo>
                    <a:lnTo>
                      <a:pt x="835" y="991"/>
                    </a:lnTo>
                    <a:lnTo>
                      <a:pt x="837" y="989"/>
                    </a:lnTo>
                    <a:lnTo>
                      <a:pt x="837" y="987"/>
                    </a:lnTo>
                    <a:lnTo>
                      <a:pt x="839" y="987"/>
                    </a:lnTo>
                    <a:lnTo>
                      <a:pt x="841" y="985"/>
                    </a:lnTo>
                    <a:lnTo>
                      <a:pt x="839" y="981"/>
                    </a:lnTo>
                    <a:lnTo>
                      <a:pt x="839" y="979"/>
                    </a:lnTo>
                    <a:lnTo>
                      <a:pt x="839" y="981"/>
                    </a:lnTo>
                    <a:lnTo>
                      <a:pt x="839" y="979"/>
                    </a:lnTo>
                    <a:lnTo>
                      <a:pt x="841" y="977"/>
                    </a:lnTo>
                    <a:lnTo>
                      <a:pt x="841" y="975"/>
                    </a:lnTo>
                    <a:lnTo>
                      <a:pt x="843" y="975"/>
                    </a:lnTo>
                    <a:lnTo>
                      <a:pt x="847" y="973"/>
                    </a:lnTo>
                    <a:lnTo>
                      <a:pt x="849" y="973"/>
                    </a:lnTo>
                    <a:lnTo>
                      <a:pt x="849" y="971"/>
                    </a:lnTo>
                    <a:lnTo>
                      <a:pt x="851" y="971"/>
                    </a:lnTo>
                    <a:lnTo>
                      <a:pt x="851" y="970"/>
                    </a:lnTo>
                    <a:lnTo>
                      <a:pt x="853" y="970"/>
                    </a:lnTo>
                    <a:lnTo>
                      <a:pt x="853" y="968"/>
                    </a:lnTo>
                    <a:lnTo>
                      <a:pt x="858" y="966"/>
                    </a:lnTo>
                    <a:lnTo>
                      <a:pt x="860" y="964"/>
                    </a:lnTo>
                    <a:lnTo>
                      <a:pt x="860" y="962"/>
                    </a:lnTo>
                    <a:lnTo>
                      <a:pt x="864" y="960"/>
                    </a:lnTo>
                    <a:lnTo>
                      <a:pt x="864" y="950"/>
                    </a:lnTo>
                    <a:lnTo>
                      <a:pt x="864" y="949"/>
                    </a:lnTo>
                    <a:lnTo>
                      <a:pt x="864" y="947"/>
                    </a:lnTo>
                    <a:lnTo>
                      <a:pt x="866" y="945"/>
                    </a:lnTo>
                    <a:lnTo>
                      <a:pt x="868" y="941"/>
                    </a:lnTo>
                    <a:lnTo>
                      <a:pt x="874" y="935"/>
                    </a:lnTo>
                    <a:lnTo>
                      <a:pt x="877" y="931"/>
                    </a:lnTo>
                    <a:lnTo>
                      <a:pt x="877" y="928"/>
                    </a:lnTo>
                    <a:lnTo>
                      <a:pt x="877" y="916"/>
                    </a:lnTo>
                    <a:lnTo>
                      <a:pt x="876" y="908"/>
                    </a:lnTo>
                    <a:lnTo>
                      <a:pt x="876" y="907"/>
                    </a:lnTo>
                    <a:lnTo>
                      <a:pt x="872" y="903"/>
                    </a:lnTo>
                    <a:lnTo>
                      <a:pt x="870" y="901"/>
                    </a:lnTo>
                    <a:lnTo>
                      <a:pt x="872" y="895"/>
                    </a:lnTo>
                    <a:lnTo>
                      <a:pt x="872" y="889"/>
                    </a:lnTo>
                    <a:lnTo>
                      <a:pt x="874" y="886"/>
                    </a:lnTo>
                    <a:lnTo>
                      <a:pt x="876" y="884"/>
                    </a:lnTo>
                    <a:lnTo>
                      <a:pt x="877" y="882"/>
                    </a:lnTo>
                    <a:lnTo>
                      <a:pt x="887" y="878"/>
                    </a:lnTo>
                    <a:lnTo>
                      <a:pt x="891" y="878"/>
                    </a:lnTo>
                    <a:lnTo>
                      <a:pt x="898" y="874"/>
                    </a:lnTo>
                    <a:lnTo>
                      <a:pt x="904" y="874"/>
                    </a:lnTo>
                    <a:lnTo>
                      <a:pt x="906" y="874"/>
                    </a:lnTo>
                    <a:lnTo>
                      <a:pt x="908" y="880"/>
                    </a:lnTo>
                    <a:lnTo>
                      <a:pt x="906" y="884"/>
                    </a:lnTo>
                    <a:lnTo>
                      <a:pt x="914" y="891"/>
                    </a:lnTo>
                    <a:lnTo>
                      <a:pt x="914" y="893"/>
                    </a:lnTo>
                    <a:lnTo>
                      <a:pt x="914" y="891"/>
                    </a:lnTo>
                    <a:lnTo>
                      <a:pt x="916" y="893"/>
                    </a:lnTo>
                    <a:lnTo>
                      <a:pt x="917" y="895"/>
                    </a:lnTo>
                    <a:lnTo>
                      <a:pt x="917" y="897"/>
                    </a:lnTo>
                    <a:lnTo>
                      <a:pt x="916" y="897"/>
                    </a:lnTo>
                    <a:lnTo>
                      <a:pt x="917" y="901"/>
                    </a:lnTo>
                    <a:lnTo>
                      <a:pt x="916" y="905"/>
                    </a:lnTo>
                    <a:lnTo>
                      <a:pt x="916" y="907"/>
                    </a:lnTo>
                    <a:lnTo>
                      <a:pt x="917" y="907"/>
                    </a:lnTo>
                    <a:lnTo>
                      <a:pt x="916" y="912"/>
                    </a:lnTo>
                    <a:lnTo>
                      <a:pt x="916" y="920"/>
                    </a:lnTo>
                    <a:lnTo>
                      <a:pt x="917" y="922"/>
                    </a:lnTo>
                    <a:lnTo>
                      <a:pt x="916" y="926"/>
                    </a:lnTo>
                    <a:lnTo>
                      <a:pt x="914" y="926"/>
                    </a:lnTo>
                    <a:lnTo>
                      <a:pt x="914" y="928"/>
                    </a:lnTo>
                    <a:lnTo>
                      <a:pt x="919" y="931"/>
                    </a:lnTo>
                    <a:lnTo>
                      <a:pt x="921" y="931"/>
                    </a:lnTo>
                    <a:lnTo>
                      <a:pt x="925" y="937"/>
                    </a:lnTo>
                    <a:lnTo>
                      <a:pt x="927" y="935"/>
                    </a:lnTo>
                    <a:lnTo>
                      <a:pt x="931" y="937"/>
                    </a:lnTo>
                    <a:lnTo>
                      <a:pt x="933" y="935"/>
                    </a:lnTo>
                    <a:lnTo>
                      <a:pt x="935" y="937"/>
                    </a:lnTo>
                    <a:lnTo>
                      <a:pt x="937" y="937"/>
                    </a:lnTo>
                    <a:lnTo>
                      <a:pt x="937" y="935"/>
                    </a:lnTo>
                    <a:lnTo>
                      <a:pt x="940" y="935"/>
                    </a:lnTo>
                    <a:lnTo>
                      <a:pt x="940" y="933"/>
                    </a:lnTo>
                    <a:lnTo>
                      <a:pt x="938" y="935"/>
                    </a:lnTo>
                    <a:lnTo>
                      <a:pt x="937" y="933"/>
                    </a:lnTo>
                    <a:lnTo>
                      <a:pt x="938" y="933"/>
                    </a:lnTo>
                    <a:lnTo>
                      <a:pt x="938" y="931"/>
                    </a:lnTo>
                    <a:lnTo>
                      <a:pt x="937" y="931"/>
                    </a:lnTo>
                    <a:lnTo>
                      <a:pt x="935" y="931"/>
                    </a:lnTo>
                    <a:lnTo>
                      <a:pt x="935" y="933"/>
                    </a:lnTo>
                    <a:lnTo>
                      <a:pt x="935" y="931"/>
                    </a:lnTo>
                    <a:lnTo>
                      <a:pt x="931" y="933"/>
                    </a:lnTo>
                    <a:lnTo>
                      <a:pt x="929" y="931"/>
                    </a:lnTo>
                    <a:lnTo>
                      <a:pt x="927" y="931"/>
                    </a:lnTo>
                    <a:lnTo>
                      <a:pt x="929" y="929"/>
                    </a:lnTo>
                    <a:lnTo>
                      <a:pt x="925" y="929"/>
                    </a:lnTo>
                    <a:lnTo>
                      <a:pt x="925" y="928"/>
                    </a:lnTo>
                    <a:lnTo>
                      <a:pt x="925" y="929"/>
                    </a:lnTo>
                    <a:lnTo>
                      <a:pt x="923" y="929"/>
                    </a:lnTo>
                    <a:lnTo>
                      <a:pt x="921" y="929"/>
                    </a:lnTo>
                    <a:lnTo>
                      <a:pt x="919" y="928"/>
                    </a:lnTo>
                    <a:lnTo>
                      <a:pt x="921" y="922"/>
                    </a:lnTo>
                    <a:lnTo>
                      <a:pt x="923" y="920"/>
                    </a:lnTo>
                    <a:lnTo>
                      <a:pt x="921" y="920"/>
                    </a:lnTo>
                    <a:lnTo>
                      <a:pt x="921" y="918"/>
                    </a:lnTo>
                    <a:lnTo>
                      <a:pt x="921" y="912"/>
                    </a:lnTo>
                    <a:lnTo>
                      <a:pt x="923" y="908"/>
                    </a:lnTo>
                    <a:lnTo>
                      <a:pt x="925" y="908"/>
                    </a:lnTo>
                    <a:lnTo>
                      <a:pt x="927" y="907"/>
                    </a:lnTo>
                    <a:lnTo>
                      <a:pt x="929" y="908"/>
                    </a:lnTo>
                    <a:lnTo>
                      <a:pt x="931" y="907"/>
                    </a:lnTo>
                    <a:lnTo>
                      <a:pt x="929" y="901"/>
                    </a:lnTo>
                    <a:lnTo>
                      <a:pt x="927" y="897"/>
                    </a:lnTo>
                    <a:lnTo>
                      <a:pt x="927" y="895"/>
                    </a:lnTo>
                    <a:lnTo>
                      <a:pt x="925" y="895"/>
                    </a:lnTo>
                    <a:lnTo>
                      <a:pt x="925" y="893"/>
                    </a:lnTo>
                    <a:lnTo>
                      <a:pt x="925" y="891"/>
                    </a:lnTo>
                    <a:lnTo>
                      <a:pt x="925" y="886"/>
                    </a:lnTo>
                    <a:lnTo>
                      <a:pt x="923" y="882"/>
                    </a:lnTo>
                    <a:lnTo>
                      <a:pt x="923" y="878"/>
                    </a:lnTo>
                    <a:lnTo>
                      <a:pt x="917" y="876"/>
                    </a:lnTo>
                    <a:lnTo>
                      <a:pt x="916" y="874"/>
                    </a:lnTo>
                    <a:lnTo>
                      <a:pt x="912" y="872"/>
                    </a:lnTo>
                    <a:lnTo>
                      <a:pt x="910" y="872"/>
                    </a:lnTo>
                    <a:lnTo>
                      <a:pt x="908" y="866"/>
                    </a:lnTo>
                    <a:lnTo>
                      <a:pt x="904" y="866"/>
                    </a:lnTo>
                    <a:lnTo>
                      <a:pt x="898" y="863"/>
                    </a:lnTo>
                    <a:lnTo>
                      <a:pt x="897" y="863"/>
                    </a:lnTo>
                    <a:lnTo>
                      <a:pt x="889" y="863"/>
                    </a:lnTo>
                    <a:lnTo>
                      <a:pt x="885" y="866"/>
                    </a:lnTo>
                    <a:lnTo>
                      <a:pt x="883" y="866"/>
                    </a:lnTo>
                    <a:lnTo>
                      <a:pt x="883" y="868"/>
                    </a:lnTo>
                    <a:lnTo>
                      <a:pt x="877" y="868"/>
                    </a:lnTo>
                    <a:lnTo>
                      <a:pt x="874" y="866"/>
                    </a:lnTo>
                    <a:lnTo>
                      <a:pt x="870" y="866"/>
                    </a:lnTo>
                    <a:lnTo>
                      <a:pt x="864" y="870"/>
                    </a:lnTo>
                    <a:lnTo>
                      <a:pt x="864" y="868"/>
                    </a:lnTo>
                    <a:lnTo>
                      <a:pt x="862" y="866"/>
                    </a:lnTo>
                    <a:lnTo>
                      <a:pt x="862" y="865"/>
                    </a:lnTo>
                    <a:lnTo>
                      <a:pt x="864" y="859"/>
                    </a:lnTo>
                    <a:lnTo>
                      <a:pt x="864" y="855"/>
                    </a:lnTo>
                    <a:lnTo>
                      <a:pt x="862" y="849"/>
                    </a:lnTo>
                    <a:lnTo>
                      <a:pt x="858" y="844"/>
                    </a:lnTo>
                    <a:lnTo>
                      <a:pt x="858" y="840"/>
                    </a:lnTo>
                    <a:lnTo>
                      <a:pt x="860" y="836"/>
                    </a:lnTo>
                    <a:lnTo>
                      <a:pt x="862" y="830"/>
                    </a:lnTo>
                    <a:lnTo>
                      <a:pt x="860" y="830"/>
                    </a:lnTo>
                    <a:lnTo>
                      <a:pt x="862" y="824"/>
                    </a:lnTo>
                    <a:lnTo>
                      <a:pt x="860" y="823"/>
                    </a:lnTo>
                    <a:lnTo>
                      <a:pt x="862" y="819"/>
                    </a:lnTo>
                    <a:lnTo>
                      <a:pt x="866" y="813"/>
                    </a:lnTo>
                    <a:lnTo>
                      <a:pt x="868" y="809"/>
                    </a:lnTo>
                    <a:lnTo>
                      <a:pt x="870" y="805"/>
                    </a:lnTo>
                    <a:lnTo>
                      <a:pt x="870" y="800"/>
                    </a:lnTo>
                    <a:lnTo>
                      <a:pt x="870" y="796"/>
                    </a:lnTo>
                    <a:lnTo>
                      <a:pt x="864" y="788"/>
                    </a:lnTo>
                    <a:lnTo>
                      <a:pt x="864" y="783"/>
                    </a:lnTo>
                    <a:lnTo>
                      <a:pt x="860" y="779"/>
                    </a:lnTo>
                    <a:lnTo>
                      <a:pt x="858" y="771"/>
                    </a:lnTo>
                    <a:lnTo>
                      <a:pt x="855" y="765"/>
                    </a:lnTo>
                    <a:lnTo>
                      <a:pt x="851" y="762"/>
                    </a:lnTo>
                    <a:lnTo>
                      <a:pt x="849" y="762"/>
                    </a:lnTo>
                    <a:lnTo>
                      <a:pt x="851" y="756"/>
                    </a:lnTo>
                    <a:lnTo>
                      <a:pt x="856" y="752"/>
                    </a:lnTo>
                    <a:lnTo>
                      <a:pt x="856" y="748"/>
                    </a:lnTo>
                    <a:lnTo>
                      <a:pt x="858" y="744"/>
                    </a:lnTo>
                    <a:lnTo>
                      <a:pt x="856" y="742"/>
                    </a:lnTo>
                    <a:lnTo>
                      <a:pt x="858" y="741"/>
                    </a:lnTo>
                    <a:lnTo>
                      <a:pt x="862" y="737"/>
                    </a:lnTo>
                    <a:lnTo>
                      <a:pt x="874" y="731"/>
                    </a:lnTo>
                    <a:lnTo>
                      <a:pt x="879" y="725"/>
                    </a:lnTo>
                    <a:lnTo>
                      <a:pt x="881" y="721"/>
                    </a:lnTo>
                    <a:lnTo>
                      <a:pt x="883" y="716"/>
                    </a:lnTo>
                    <a:lnTo>
                      <a:pt x="883" y="708"/>
                    </a:lnTo>
                    <a:lnTo>
                      <a:pt x="881" y="697"/>
                    </a:lnTo>
                    <a:lnTo>
                      <a:pt x="877" y="689"/>
                    </a:lnTo>
                    <a:lnTo>
                      <a:pt x="879" y="685"/>
                    </a:lnTo>
                    <a:lnTo>
                      <a:pt x="881" y="685"/>
                    </a:lnTo>
                    <a:lnTo>
                      <a:pt x="889" y="691"/>
                    </a:lnTo>
                    <a:lnTo>
                      <a:pt x="889" y="693"/>
                    </a:lnTo>
                    <a:lnTo>
                      <a:pt x="887" y="693"/>
                    </a:lnTo>
                    <a:lnTo>
                      <a:pt x="887" y="691"/>
                    </a:lnTo>
                    <a:lnTo>
                      <a:pt x="887" y="693"/>
                    </a:lnTo>
                    <a:lnTo>
                      <a:pt x="885" y="695"/>
                    </a:lnTo>
                    <a:lnTo>
                      <a:pt x="891" y="702"/>
                    </a:lnTo>
                    <a:lnTo>
                      <a:pt x="889" y="702"/>
                    </a:lnTo>
                    <a:lnTo>
                      <a:pt x="889" y="704"/>
                    </a:lnTo>
                    <a:lnTo>
                      <a:pt x="891" y="710"/>
                    </a:lnTo>
                    <a:lnTo>
                      <a:pt x="893" y="718"/>
                    </a:lnTo>
                    <a:lnTo>
                      <a:pt x="889" y="720"/>
                    </a:lnTo>
                    <a:lnTo>
                      <a:pt x="889" y="725"/>
                    </a:lnTo>
                    <a:lnTo>
                      <a:pt x="887" y="729"/>
                    </a:lnTo>
                    <a:lnTo>
                      <a:pt x="889" y="731"/>
                    </a:lnTo>
                    <a:lnTo>
                      <a:pt x="887" y="733"/>
                    </a:lnTo>
                    <a:lnTo>
                      <a:pt x="885" y="733"/>
                    </a:lnTo>
                    <a:lnTo>
                      <a:pt x="885" y="737"/>
                    </a:lnTo>
                    <a:lnTo>
                      <a:pt x="885" y="739"/>
                    </a:lnTo>
                    <a:lnTo>
                      <a:pt x="885" y="744"/>
                    </a:lnTo>
                    <a:lnTo>
                      <a:pt x="889" y="748"/>
                    </a:lnTo>
                    <a:lnTo>
                      <a:pt x="887" y="752"/>
                    </a:lnTo>
                    <a:lnTo>
                      <a:pt x="889" y="756"/>
                    </a:lnTo>
                    <a:lnTo>
                      <a:pt x="887" y="758"/>
                    </a:lnTo>
                    <a:lnTo>
                      <a:pt x="887" y="760"/>
                    </a:lnTo>
                    <a:lnTo>
                      <a:pt x="887" y="758"/>
                    </a:lnTo>
                    <a:lnTo>
                      <a:pt x="885" y="760"/>
                    </a:lnTo>
                    <a:lnTo>
                      <a:pt x="885" y="763"/>
                    </a:lnTo>
                    <a:lnTo>
                      <a:pt x="887" y="765"/>
                    </a:lnTo>
                    <a:lnTo>
                      <a:pt x="891" y="767"/>
                    </a:lnTo>
                    <a:lnTo>
                      <a:pt x="895" y="769"/>
                    </a:lnTo>
                    <a:lnTo>
                      <a:pt x="898" y="771"/>
                    </a:lnTo>
                    <a:lnTo>
                      <a:pt x="902" y="773"/>
                    </a:lnTo>
                    <a:lnTo>
                      <a:pt x="908" y="773"/>
                    </a:lnTo>
                    <a:lnTo>
                      <a:pt x="917" y="773"/>
                    </a:lnTo>
                    <a:lnTo>
                      <a:pt x="919" y="773"/>
                    </a:lnTo>
                    <a:lnTo>
                      <a:pt x="925" y="775"/>
                    </a:lnTo>
                    <a:lnTo>
                      <a:pt x="927" y="779"/>
                    </a:lnTo>
                    <a:lnTo>
                      <a:pt x="927" y="783"/>
                    </a:lnTo>
                    <a:lnTo>
                      <a:pt x="935" y="786"/>
                    </a:lnTo>
                    <a:lnTo>
                      <a:pt x="937" y="781"/>
                    </a:lnTo>
                    <a:lnTo>
                      <a:pt x="933" y="779"/>
                    </a:lnTo>
                    <a:lnTo>
                      <a:pt x="933" y="775"/>
                    </a:lnTo>
                    <a:lnTo>
                      <a:pt x="933" y="769"/>
                    </a:lnTo>
                    <a:lnTo>
                      <a:pt x="929" y="767"/>
                    </a:lnTo>
                    <a:lnTo>
                      <a:pt x="927" y="769"/>
                    </a:lnTo>
                    <a:lnTo>
                      <a:pt x="927" y="767"/>
                    </a:lnTo>
                    <a:lnTo>
                      <a:pt x="929" y="763"/>
                    </a:lnTo>
                    <a:lnTo>
                      <a:pt x="927" y="763"/>
                    </a:lnTo>
                    <a:lnTo>
                      <a:pt x="927" y="765"/>
                    </a:lnTo>
                    <a:lnTo>
                      <a:pt x="925" y="765"/>
                    </a:lnTo>
                    <a:lnTo>
                      <a:pt x="925" y="767"/>
                    </a:lnTo>
                    <a:lnTo>
                      <a:pt x="923" y="767"/>
                    </a:lnTo>
                    <a:lnTo>
                      <a:pt x="921" y="765"/>
                    </a:lnTo>
                    <a:lnTo>
                      <a:pt x="921" y="767"/>
                    </a:lnTo>
                    <a:lnTo>
                      <a:pt x="919" y="765"/>
                    </a:lnTo>
                    <a:lnTo>
                      <a:pt x="916" y="763"/>
                    </a:lnTo>
                    <a:lnTo>
                      <a:pt x="914" y="760"/>
                    </a:lnTo>
                    <a:lnTo>
                      <a:pt x="908" y="758"/>
                    </a:lnTo>
                    <a:lnTo>
                      <a:pt x="906" y="756"/>
                    </a:lnTo>
                    <a:lnTo>
                      <a:pt x="902" y="752"/>
                    </a:lnTo>
                    <a:lnTo>
                      <a:pt x="902" y="748"/>
                    </a:lnTo>
                    <a:lnTo>
                      <a:pt x="900" y="744"/>
                    </a:lnTo>
                    <a:lnTo>
                      <a:pt x="898" y="737"/>
                    </a:lnTo>
                    <a:lnTo>
                      <a:pt x="897" y="737"/>
                    </a:lnTo>
                    <a:lnTo>
                      <a:pt x="900" y="735"/>
                    </a:lnTo>
                    <a:lnTo>
                      <a:pt x="904" y="729"/>
                    </a:lnTo>
                    <a:lnTo>
                      <a:pt x="912" y="727"/>
                    </a:lnTo>
                    <a:lnTo>
                      <a:pt x="912" y="729"/>
                    </a:lnTo>
                    <a:lnTo>
                      <a:pt x="914" y="731"/>
                    </a:lnTo>
                    <a:lnTo>
                      <a:pt x="919" y="735"/>
                    </a:lnTo>
                    <a:lnTo>
                      <a:pt x="921" y="739"/>
                    </a:lnTo>
                    <a:lnTo>
                      <a:pt x="925" y="741"/>
                    </a:lnTo>
                    <a:lnTo>
                      <a:pt x="927" y="741"/>
                    </a:lnTo>
                    <a:lnTo>
                      <a:pt x="931" y="737"/>
                    </a:lnTo>
                    <a:lnTo>
                      <a:pt x="933" y="735"/>
                    </a:lnTo>
                    <a:lnTo>
                      <a:pt x="933" y="733"/>
                    </a:lnTo>
                    <a:lnTo>
                      <a:pt x="933" y="731"/>
                    </a:lnTo>
                    <a:lnTo>
                      <a:pt x="929" y="725"/>
                    </a:lnTo>
                    <a:lnTo>
                      <a:pt x="925" y="725"/>
                    </a:lnTo>
                    <a:lnTo>
                      <a:pt x="921" y="727"/>
                    </a:lnTo>
                    <a:lnTo>
                      <a:pt x="919" y="727"/>
                    </a:lnTo>
                    <a:lnTo>
                      <a:pt x="919" y="725"/>
                    </a:lnTo>
                    <a:lnTo>
                      <a:pt x="921" y="721"/>
                    </a:lnTo>
                    <a:lnTo>
                      <a:pt x="919" y="720"/>
                    </a:lnTo>
                    <a:lnTo>
                      <a:pt x="921" y="720"/>
                    </a:lnTo>
                    <a:lnTo>
                      <a:pt x="923" y="721"/>
                    </a:lnTo>
                    <a:lnTo>
                      <a:pt x="927" y="714"/>
                    </a:lnTo>
                    <a:lnTo>
                      <a:pt x="931" y="714"/>
                    </a:lnTo>
                    <a:lnTo>
                      <a:pt x="931" y="712"/>
                    </a:lnTo>
                    <a:lnTo>
                      <a:pt x="933" y="712"/>
                    </a:lnTo>
                    <a:lnTo>
                      <a:pt x="935" y="710"/>
                    </a:lnTo>
                    <a:lnTo>
                      <a:pt x="952" y="712"/>
                    </a:lnTo>
                    <a:lnTo>
                      <a:pt x="959" y="720"/>
                    </a:lnTo>
                    <a:lnTo>
                      <a:pt x="961" y="721"/>
                    </a:lnTo>
                    <a:lnTo>
                      <a:pt x="971" y="725"/>
                    </a:lnTo>
                    <a:lnTo>
                      <a:pt x="971" y="729"/>
                    </a:lnTo>
                    <a:lnTo>
                      <a:pt x="973" y="731"/>
                    </a:lnTo>
                    <a:lnTo>
                      <a:pt x="975" y="731"/>
                    </a:lnTo>
                    <a:lnTo>
                      <a:pt x="977" y="733"/>
                    </a:lnTo>
                    <a:lnTo>
                      <a:pt x="980" y="739"/>
                    </a:lnTo>
                    <a:lnTo>
                      <a:pt x="982" y="742"/>
                    </a:lnTo>
                    <a:lnTo>
                      <a:pt x="984" y="744"/>
                    </a:lnTo>
                    <a:lnTo>
                      <a:pt x="988" y="746"/>
                    </a:lnTo>
                    <a:lnTo>
                      <a:pt x="990" y="746"/>
                    </a:lnTo>
                    <a:lnTo>
                      <a:pt x="996" y="746"/>
                    </a:lnTo>
                    <a:lnTo>
                      <a:pt x="1003" y="742"/>
                    </a:lnTo>
                    <a:lnTo>
                      <a:pt x="1007" y="742"/>
                    </a:lnTo>
                    <a:lnTo>
                      <a:pt x="1009" y="744"/>
                    </a:lnTo>
                    <a:lnTo>
                      <a:pt x="1011" y="744"/>
                    </a:lnTo>
                    <a:lnTo>
                      <a:pt x="1013" y="746"/>
                    </a:lnTo>
                    <a:lnTo>
                      <a:pt x="1013" y="748"/>
                    </a:lnTo>
                    <a:lnTo>
                      <a:pt x="1011" y="752"/>
                    </a:lnTo>
                    <a:lnTo>
                      <a:pt x="1009" y="754"/>
                    </a:lnTo>
                    <a:lnTo>
                      <a:pt x="1009" y="762"/>
                    </a:lnTo>
                    <a:lnTo>
                      <a:pt x="1003" y="763"/>
                    </a:lnTo>
                    <a:lnTo>
                      <a:pt x="996" y="767"/>
                    </a:lnTo>
                    <a:lnTo>
                      <a:pt x="998" y="777"/>
                    </a:lnTo>
                    <a:lnTo>
                      <a:pt x="996" y="781"/>
                    </a:lnTo>
                    <a:lnTo>
                      <a:pt x="998" y="783"/>
                    </a:lnTo>
                    <a:lnTo>
                      <a:pt x="1003" y="783"/>
                    </a:lnTo>
                    <a:lnTo>
                      <a:pt x="1005" y="783"/>
                    </a:lnTo>
                    <a:lnTo>
                      <a:pt x="1007" y="783"/>
                    </a:lnTo>
                    <a:lnTo>
                      <a:pt x="1005" y="783"/>
                    </a:lnTo>
                    <a:lnTo>
                      <a:pt x="1007" y="781"/>
                    </a:lnTo>
                    <a:lnTo>
                      <a:pt x="1009" y="783"/>
                    </a:lnTo>
                    <a:lnTo>
                      <a:pt x="1011" y="783"/>
                    </a:lnTo>
                    <a:lnTo>
                      <a:pt x="1013" y="784"/>
                    </a:lnTo>
                    <a:lnTo>
                      <a:pt x="1013" y="788"/>
                    </a:lnTo>
                    <a:lnTo>
                      <a:pt x="1015" y="794"/>
                    </a:lnTo>
                    <a:lnTo>
                      <a:pt x="1015" y="798"/>
                    </a:lnTo>
                    <a:lnTo>
                      <a:pt x="1017" y="798"/>
                    </a:lnTo>
                    <a:lnTo>
                      <a:pt x="1019" y="800"/>
                    </a:lnTo>
                    <a:lnTo>
                      <a:pt x="1015" y="781"/>
                    </a:lnTo>
                    <a:lnTo>
                      <a:pt x="1013" y="779"/>
                    </a:lnTo>
                    <a:lnTo>
                      <a:pt x="1011" y="775"/>
                    </a:lnTo>
                    <a:lnTo>
                      <a:pt x="1013" y="775"/>
                    </a:lnTo>
                    <a:lnTo>
                      <a:pt x="1011" y="769"/>
                    </a:lnTo>
                    <a:lnTo>
                      <a:pt x="1013" y="765"/>
                    </a:lnTo>
                    <a:lnTo>
                      <a:pt x="1015" y="758"/>
                    </a:lnTo>
                    <a:lnTo>
                      <a:pt x="1017" y="756"/>
                    </a:lnTo>
                    <a:lnTo>
                      <a:pt x="1019" y="754"/>
                    </a:lnTo>
                    <a:lnTo>
                      <a:pt x="1019" y="750"/>
                    </a:lnTo>
                    <a:lnTo>
                      <a:pt x="1015" y="744"/>
                    </a:lnTo>
                    <a:lnTo>
                      <a:pt x="1015" y="742"/>
                    </a:lnTo>
                    <a:lnTo>
                      <a:pt x="1013" y="739"/>
                    </a:lnTo>
                    <a:lnTo>
                      <a:pt x="1011" y="737"/>
                    </a:lnTo>
                    <a:lnTo>
                      <a:pt x="1005" y="737"/>
                    </a:lnTo>
                    <a:lnTo>
                      <a:pt x="1005" y="735"/>
                    </a:lnTo>
                    <a:lnTo>
                      <a:pt x="1003" y="737"/>
                    </a:lnTo>
                    <a:lnTo>
                      <a:pt x="1001" y="729"/>
                    </a:lnTo>
                    <a:lnTo>
                      <a:pt x="998" y="725"/>
                    </a:lnTo>
                    <a:lnTo>
                      <a:pt x="999" y="723"/>
                    </a:lnTo>
                    <a:lnTo>
                      <a:pt x="999" y="721"/>
                    </a:lnTo>
                    <a:lnTo>
                      <a:pt x="998" y="718"/>
                    </a:lnTo>
                    <a:lnTo>
                      <a:pt x="992" y="714"/>
                    </a:lnTo>
                    <a:lnTo>
                      <a:pt x="992" y="712"/>
                    </a:lnTo>
                    <a:lnTo>
                      <a:pt x="990" y="714"/>
                    </a:lnTo>
                    <a:lnTo>
                      <a:pt x="988" y="714"/>
                    </a:lnTo>
                    <a:lnTo>
                      <a:pt x="986" y="712"/>
                    </a:lnTo>
                    <a:lnTo>
                      <a:pt x="984" y="714"/>
                    </a:lnTo>
                    <a:lnTo>
                      <a:pt x="984" y="712"/>
                    </a:lnTo>
                    <a:lnTo>
                      <a:pt x="982" y="712"/>
                    </a:lnTo>
                    <a:lnTo>
                      <a:pt x="977" y="710"/>
                    </a:lnTo>
                    <a:lnTo>
                      <a:pt x="975" y="708"/>
                    </a:lnTo>
                    <a:lnTo>
                      <a:pt x="973" y="704"/>
                    </a:lnTo>
                    <a:lnTo>
                      <a:pt x="973" y="702"/>
                    </a:lnTo>
                    <a:lnTo>
                      <a:pt x="975" y="702"/>
                    </a:lnTo>
                    <a:lnTo>
                      <a:pt x="975" y="700"/>
                    </a:lnTo>
                    <a:lnTo>
                      <a:pt x="977" y="699"/>
                    </a:lnTo>
                    <a:lnTo>
                      <a:pt x="975" y="697"/>
                    </a:lnTo>
                    <a:lnTo>
                      <a:pt x="973" y="699"/>
                    </a:lnTo>
                    <a:lnTo>
                      <a:pt x="971" y="695"/>
                    </a:lnTo>
                    <a:lnTo>
                      <a:pt x="971" y="693"/>
                    </a:lnTo>
                    <a:lnTo>
                      <a:pt x="975" y="689"/>
                    </a:lnTo>
                    <a:lnTo>
                      <a:pt x="975" y="687"/>
                    </a:lnTo>
                    <a:lnTo>
                      <a:pt x="975" y="681"/>
                    </a:lnTo>
                    <a:lnTo>
                      <a:pt x="975" y="676"/>
                    </a:lnTo>
                    <a:lnTo>
                      <a:pt x="973" y="674"/>
                    </a:lnTo>
                    <a:lnTo>
                      <a:pt x="969" y="674"/>
                    </a:lnTo>
                    <a:lnTo>
                      <a:pt x="971" y="672"/>
                    </a:lnTo>
                    <a:lnTo>
                      <a:pt x="971" y="670"/>
                    </a:lnTo>
                    <a:lnTo>
                      <a:pt x="967" y="670"/>
                    </a:lnTo>
                    <a:lnTo>
                      <a:pt x="967" y="668"/>
                    </a:lnTo>
                    <a:lnTo>
                      <a:pt x="965" y="668"/>
                    </a:lnTo>
                    <a:lnTo>
                      <a:pt x="967" y="668"/>
                    </a:lnTo>
                    <a:lnTo>
                      <a:pt x="971" y="668"/>
                    </a:lnTo>
                    <a:lnTo>
                      <a:pt x="971" y="666"/>
                    </a:lnTo>
                    <a:lnTo>
                      <a:pt x="971" y="668"/>
                    </a:lnTo>
                    <a:lnTo>
                      <a:pt x="973" y="666"/>
                    </a:lnTo>
                    <a:lnTo>
                      <a:pt x="971" y="666"/>
                    </a:lnTo>
                    <a:lnTo>
                      <a:pt x="971" y="664"/>
                    </a:lnTo>
                    <a:lnTo>
                      <a:pt x="969" y="662"/>
                    </a:lnTo>
                    <a:lnTo>
                      <a:pt x="967" y="662"/>
                    </a:lnTo>
                    <a:lnTo>
                      <a:pt x="967" y="658"/>
                    </a:lnTo>
                    <a:lnTo>
                      <a:pt x="969" y="658"/>
                    </a:lnTo>
                    <a:lnTo>
                      <a:pt x="969" y="657"/>
                    </a:lnTo>
                    <a:lnTo>
                      <a:pt x="971" y="657"/>
                    </a:lnTo>
                    <a:lnTo>
                      <a:pt x="973" y="653"/>
                    </a:lnTo>
                    <a:lnTo>
                      <a:pt x="971" y="653"/>
                    </a:lnTo>
                    <a:lnTo>
                      <a:pt x="973" y="651"/>
                    </a:lnTo>
                    <a:lnTo>
                      <a:pt x="971" y="651"/>
                    </a:lnTo>
                    <a:lnTo>
                      <a:pt x="971" y="653"/>
                    </a:lnTo>
                    <a:lnTo>
                      <a:pt x="969" y="649"/>
                    </a:lnTo>
                    <a:lnTo>
                      <a:pt x="969" y="647"/>
                    </a:lnTo>
                    <a:lnTo>
                      <a:pt x="973" y="647"/>
                    </a:lnTo>
                    <a:lnTo>
                      <a:pt x="975" y="647"/>
                    </a:lnTo>
                    <a:lnTo>
                      <a:pt x="979" y="647"/>
                    </a:lnTo>
                    <a:lnTo>
                      <a:pt x="979" y="645"/>
                    </a:lnTo>
                    <a:lnTo>
                      <a:pt x="982" y="647"/>
                    </a:lnTo>
                    <a:lnTo>
                      <a:pt x="982" y="645"/>
                    </a:lnTo>
                    <a:lnTo>
                      <a:pt x="992" y="643"/>
                    </a:lnTo>
                    <a:lnTo>
                      <a:pt x="998" y="641"/>
                    </a:lnTo>
                    <a:lnTo>
                      <a:pt x="999" y="645"/>
                    </a:lnTo>
                    <a:lnTo>
                      <a:pt x="999" y="641"/>
                    </a:lnTo>
                    <a:lnTo>
                      <a:pt x="1017" y="641"/>
                    </a:lnTo>
                    <a:lnTo>
                      <a:pt x="1030" y="638"/>
                    </a:lnTo>
                    <a:lnTo>
                      <a:pt x="1036" y="636"/>
                    </a:lnTo>
                    <a:lnTo>
                      <a:pt x="1040" y="636"/>
                    </a:lnTo>
                    <a:lnTo>
                      <a:pt x="1041" y="638"/>
                    </a:lnTo>
                    <a:lnTo>
                      <a:pt x="1045" y="639"/>
                    </a:lnTo>
                    <a:lnTo>
                      <a:pt x="1049" y="638"/>
                    </a:lnTo>
                    <a:lnTo>
                      <a:pt x="1049" y="634"/>
                    </a:lnTo>
                    <a:lnTo>
                      <a:pt x="1051" y="632"/>
                    </a:lnTo>
                    <a:lnTo>
                      <a:pt x="1055" y="632"/>
                    </a:lnTo>
                    <a:lnTo>
                      <a:pt x="1059" y="630"/>
                    </a:lnTo>
                    <a:lnTo>
                      <a:pt x="1064" y="628"/>
                    </a:lnTo>
                    <a:lnTo>
                      <a:pt x="1066" y="630"/>
                    </a:lnTo>
                    <a:lnTo>
                      <a:pt x="1068" y="628"/>
                    </a:lnTo>
                    <a:lnTo>
                      <a:pt x="1074" y="630"/>
                    </a:lnTo>
                    <a:lnTo>
                      <a:pt x="1076" y="628"/>
                    </a:lnTo>
                    <a:lnTo>
                      <a:pt x="1074" y="628"/>
                    </a:lnTo>
                    <a:lnTo>
                      <a:pt x="1074" y="626"/>
                    </a:lnTo>
                    <a:lnTo>
                      <a:pt x="1074" y="624"/>
                    </a:lnTo>
                    <a:lnTo>
                      <a:pt x="1072" y="622"/>
                    </a:lnTo>
                    <a:lnTo>
                      <a:pt x="1070" y="620"/>
                    </a:lnTo>
                    <a:lnTo>
                      <a:pt x="1074" y="618"/>
                    </a:lnTo>
                    <a:lnTo>
                      <a:pt x="1078" y="618"/>
                    </a:lnTo>
                    <a:lnTo>
                      <a:pt x="1080" y="617"/>
                    </a:lnTo>
                    <a:lnTo>
                      <a:pt x="1070" y="618"/>
                    </a:lnTo>
                    <a:lnTo>
                      <a:pt x="1070" y="617"/>
                    </a:lnTo>
                    <a:lnTo>
                      <a:pt x="1068" y="615"/>
                    </a:lnTo>
                    <a:lnTo>
                      <a:pt x="1068" y="611"/>
                    </a:lnTo>
                    <a:lnTo>
                      <a:pt x="1066" y="609"/>
                    </a:lnTo>
                    <a:lnTo>
                      <a:pt x="1066" y="607"/>
                    </a:lnTo>
                    <a:lnTo>
                      <a:pt x="1062" y="607"/>
                    </a:lnTo>
                    <a:lnTo>
                      <a:pt x="1061" y="605"/>
                    </a:lnTo>
                    <a:lnTo>
                      <a:pt x="1059" y="605"/>
                    </a:lnTo>
                    <a:lnTo>
                      <a:pt x="1057" y="605"/>
                    </a:lnTo>
                    <a:lnTo>
                      <a:pt x="1055" y="605"/>
                    </a:lnTo>
                    <a:lnTo>
                      <a:pt x="1055" y="603"/>
                    </a:lnTo>
                    <a:lnTo>
                      <a:pt x="1055" y="599"/>
                    </a:lnTo>
                    <a:lnTo>
                      <a:pt x="1059" y="597"/>
                    </a:lnTo>
                    <a:lnTo>
                      <a:pt x="1059" y="599"/>
                    </a:lnTo>
                    <a:lnTo>
                      <a:pt x="1061" y="603"/>
                    </a:lnTo>
                    <a:lnTo>
                      <a:pt x="1061" y="597"/>
                    </a:lnTo>
                    <a:lnTo>
                      <a:pt x="1057" y="596"/>
                    </a:lnTo>
                    <a:lnTo>
                      <a:pt x="1061" y="596"/>
                    </a:lnTo>
                    <a:lnTo>
                      <a:pt x="1062" y="594"/>
                    </a:lnTo>
                    <a:lnTo>
                      <a:pt x="1062" y="596"/>
                    </a:lnTo>
                    <a:lnTo>
                      <a:pt x="1064" y="594"/>
                    </a:lnTo>
                    <a:lnTo>
                      <a:pt x="1068" y="596"/>
                    </a:lnTo>
                    <a:lnTo>
                      <a:pt x="1066" y="597"/>
                    </a:lnTo>
                    <a:lnTo>
                      <a:pt x="1068" y="597"/>
                    </a:lnTo>
                    <a:lnTo>
                      <a:pt x="1068" y="599"/>
                    </a:lnTo>
                    <a:lnTo>
                      <a:pt x="1070" y="597"/>
                    </a:lnTo>
                    <a:lnTo>
                      <a:pt x="1072" y="597"/>
                    </a:lnTo>
                    <a:lnTo>
                      <a:pt x="1072" y="599"/>
                    </a:lnTo>
                    <a:lnTo>
                      <a:pt x="1068" y="603"/>
                    </a:lnTo>
                    <a:lnTo>
                      <a:pt x="1070" y="603"/>
                    </a:lnTo>
                    <a:lnTo>
                      <a:pt x="1070" y="601"/>
                    </a:lnTo>
                    <a:lnTo>
                      <a:pt x="1072" y="601"/>
                    </a:lnTo>
                    <a:lnTo>
                      <a:pt x="1072" y="603"/>
                    </a:lnTo>
                    <a:lnTo>
                      <a:pt x="1072" y="605"/>
                    </a:lnTo>
                    <a:lnTo>
                      <a:pt x="1074" y="605"/>
                    </a:lnTo>
                    <a:lnTo>
                      <a:pt x="1074" y="603"/>
                    </a:lnTo>
                    <a:lnTo>
                      <a:pt x="1072" y="599"/>
                    </a:lnTo>
                    <a:lnTo>
                      <a:pt x="1076" y="601"/>
                    </a:lnTo>
                    <a:lnTo>
                      <a:pt x="1078" y="601"/>
                    </a:lnTo>
                    <a:lnTo>
                      <a:pt x="1078" y="599"/>
                    </a:lnTo>
                    <a:lnTo>
                      <a:pt x="1078" y="597"/>
                    </a:lnTo>
                    <a:lnTo>
                      <a:pt x="1078" y="596"/>
                    </a:lnTo>
                    <a:lnTo>
                      <a:pt x="1076" y="596"/>
                    </a:lnTo>
                    <a:lnTo>
                      <a:pt x="1078" y="599"/>
                    </a:lnTo>
                    <a:lnTo>
                      <a:pt x="1076" y="601"/>
                    </a:lnTo>
                    <a:lnTo>
                      <a:pt x="1072" y="597"/>
                    </a:lnTo>
                    <a:lnTo>
                      <a:pt x="1074" y="596"/>
                    </a:lnTo>
                    <a:lnTo>
                      <a:pt x="1076" y="594"/>
                    </a:lnTo>
                    <a:lnTo>
                      <a:pt x="1074" y="594"/>
                    </a:lnTo>
                    <a:lnTo>
                      <a:pt x="1072" y="596"/>
                    </a:lnTo>
                    <a:lnTo>
                      <a:pt x="1070" y="597"/>
                    </a:lnTo>
                    <a:lnTo>
                      <a:pt x="1068" y="596"/>
                    </a:lnTo>
                    <a:lnTo>
                      <a:pt x="1070" y="596"/>
                    </a:lnTo>
                    <a:lnTo>
                      <a:pt x="1068" y="596"/>
                    </a:lnTo>
                    <a:lnTo>
                      <a:pt x="1068" y="594"/>
                    </a:lnTo>
                    <a:lnTo>
                      <a:pt x="1066" y="594"/>
                    </a:lnTo>
                    <a:lnTo>
                      <a:pt x="1066" y="592"/>
                    </a:lnTo>
                    <a:lnTo>
                      <a:pt x="1066" y="590"/>
                    </a:lnTo>
                    <a:lnTo>
                      <a:pt x="1068" y="588"/>
                    </a:lnTo>
                    <a:lnTo>
                      <a:pt x="1064" y="590"/>
                    </a:lnTo>
                    <a:lnTo>
                      <a:pt x="1064" y="588"/>
                    </a:lnTo>
                    <a:lnTo>
                      <a:pt x="1062" y="586"/>
                    </a:lnTo>
                    <a:lnTo>
                      <a:pt x="1059" y="586"/>
                    </a:lnTo>
                    <a:lnTo>
                      <a:pt x="1059" y="584"/>
                    </a:lnTo>
                    <a:lnTo>
                      <a:pt x="1057" y="584"/>
                    </a:lnTo>
                    <a:lnTo>
                      <a:pt x="1055" y="586"/>
                    </a:lnTo>
                    <a:lnTo>
                      <a:pt x="1055" y="584"/>
                    </a:lnTo>
                    <a:lnTo>
                      <a:pt x="1053" y="586"/>
                    </a:lnTo>
                    <a:lnTo>
                      <a:pt x="1055" y="584"/>
                    </a:lnTo>
                    <a:lnTo>
                      <a:pt x="1053" y="582"/>
                    </a:lnTo>
                    <a:lnTo>
                      <a:pt x="1055" y="580"/>
                    </a:lnTo>
                    <a:lnTo>
                      <a:pt x="1053" y="580"/>
                    </a:lnTo>
                    <a:lnTo>
                      <a:pt x="1053" y="578"/>
                    </a:lnTo>
                    <a:lnTo>
                      <a:pt x="1055" y="578"/>
                    </a:lnTo>
                    <a:lnTo>
                      <a:pt x="1057" y="578"/>
                    </a:lnTo>
                    <a:lnTo>
                      <a:pt x="1057" y="576"/>
                    </a:lnTo>
                    <a:lnTo>
                      <a:pt x="1059" y="576"/>
                    </a:lnTo>
                    <a:lnTo>
                      <a:pt x="1057" y="575"/>
                    </a:lnTo>
                    <a:lnTo>
                      <a:pt x="1057" y="573"/>
                    </a:lnTo>
                    <a:lnTo>
                      <a:pt x="1059" y="573"/>
                    </a:lnTo>
                    <a:lnTo>
                      <a:pt x="1059" y="575"/>
                    </a:lnTo>
                    <a:lnTo>
                      <a:pt x="1061" y="573"/>
                    </a:lnTo>
                    <a:lnTo>
                      <a:pt x="1061" y="575"/>
                    </a:lnTo>
                    <a:lnTo>
                      <a:pt x="1062" y="575"/>
                    </a:lnTo>
                    <a:lnTo>
                      <a:pt x="1062" y="576"/>
                    </a:lnTo>
                    <a:lnTo>
                      <a:pt x="1061" y="576"/>
                    </a:lnTo>
                    <a:lnTo>
                      <a:pt x="1062" y="580"/>
                    </a:lnTo>
                    <a:lnTo>
                      <a:pt x="1062" y="578"/>
                    </a:lnTo>
                    <a:lnTo>
                      <a:pt x="1064" y="578"/>
                    </a:lnTo>
                    <a:lnTo>
                      <a:pt x="1064" y="580"/>
                    </a:lnTo>
                    <a:lnTo>
                      <a:pt x="1066" y="578"/>
                    </a:lnTo>
                    <a:lnTo>
                      <a:pt x="1066" y="582"/>
                    </a:lnTo>
                    <a:lnTo>
                      <a:pt x="1064" y="582"/>
                    </a:lnTo>
                    <a:lnTo>
                      <a:pt x="1068" y="582"/>
                    </a:lnTo>
                    <a:lnTo>
                      <a:pt x="1066" y="584"/>
                    </a:lnTo>
                    <a:lnTo>
                      <a:pt x="1068" y="586"/>
                    </a:lnTo>
                    <a:lnTo>
                      <a:pt x="1068" y="584"/>
                    </a:lnTo>
                    <a:lnTo>
                      <a:pt x="1072" y="586"/>
                    </a:lnTo>
                    <a:lnTo>
                      <a:pt x="1070" y="584"/>
                    </a:lnTo>
                    <a:lnTo>
                      <a:pt x="1072" y="582"/>
                    </a:lnTo>
                    <a:lnTo>
                      <a:pt x="1068" y="582"/>
                    </a:lnTo>
                    <a:lnTo>
                      <a:pt x="1068" y="580"/>
                    </a:lnTo>
                    <a:lnTo>
                      <a:pt x="1070" y="578"/>
                    </a:lnTo>
                    <a:lnTo>
                      <a:pt x="1068" y="578"/>
                    </a:lnTo>
                    <a:lnTo>
                      <a:pt x="1070" y="578"/>
                    </a:lnTo>
                    <a:lnTo>
                      <a:pt x="1070" y="576"/>
                    </a:lnTo>
                    <a:lnTo>
                      <a:pt x="1074" y="578"/>
                    </a:lnTo>
                    <a:lnTo>
                      <a:pt x="1072" y="576"/>
                    </a:lnTo>
                    <a:lnTo>
                      <a:pt x="1074" y="576"/>
                    </a:lnTo>
                    <a:lnTo>
                      <a:pt x="1072" y="576"/>
                    </a:lnTo>
                    <a:lnTo>
                      <a:pt x="1074" y="571"/>
                    </a:lnTo>
                    <a:lnTo>
                      <a:pt x="1074" y="569"/>
                    </a:lnTo>
                    <a:lnTo>
                      <a:pt x="1078" y="565"/>
                    </a:lnTo>
                    <a:lnTo>
                      <a:pt x="1076" y="563"/>
                    </a:lnTo>
                    <a:lnTo>
                      <a:pt x="1078" y="561"/>
                    </a:lnTo>
                    <a:lnTo>
                      <a:pt x="1083" y="561"/>
                    </a:lnTo>
                    <a:lnTo>
                      <a:pt x="1083" y="559"/>
                    </a:lnTo>
                    <a:lnTo>
                      <a:pt x="1080" y="559"/>
                    </a:lnTo>
                    <a:lnTo>
                      <a:pt x="1078" y="559"/>
                    </a:lnTo>
                    <a:lnTo>
                      <a:pt x="1074" y="557"/>
                    </a:lnTo>
                    <a:lnTo>
                      <a:pt x="1072" y="557"/>
                    </a:lnTo>
                    <a:lnTo>
                      <a:pt x="1070" y="555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87" y="555"/>
                    </a:lnTo>
                    <a:lnTo>
                      <a:pt x="1091" y="554"/>
                    </a:lnTo>
                    <a:lnTo>
                      <a:pt x="1093" y="552"/>
                    </a:lnTo>
                    <a:lnTo>
                      <a:pt x="1095" y="552"/>
                    </a:lnTo>
                    <a:lnTo>
                      <a:pt x="1093" y="550"/>
                    </a:lnTo>
                    <a:lnTo>
                      <a:pt x="1097" y="544"/>
                    </a:lnTo>
                    <a:lnTo>
                      <a:pt x="1097" y="546"/>
                    </a:lnTo>
                    <a:lnTo>
                      <a:pt x="1099" y="548"/>
                    </a:lnTo>
                    <a:lnTo>
                      <a:pt x="1097" y="544"/>
                    </a:lnTo>
                    <a:lnTo>
                      <a:pt x="1099" y="542"/>
                    </a:lnTo>
                    <a:lnTo>
                      <a:pt x="1101" y="540"/>
                    </a:lnTo>
                    <a:lnTo>
                      <a:pt x="1102" y="542"/>
                    </a:lnTo>
                    <a:lnTo>
                      <a:pt x="1102" y="540"/>
                    </a:lnTo>
                    <a:lnTo>
                      <a:pt x="1101" y="540"/>
                    </a:lnTo>
                    <a:lnTo>
                      <a:pt x="1101" y="536"/>
                    </a:lnTo>
                    <a:lnTo>
                      <a:pt x="1106" y="534"/>
                    </a:lnTo>
                    <a:lnTo>
                      <a:pt x="1108" y="531"/>
                    </a:lnTo>
                    <a:lnTo>
                      <a:pt x="1112" y="531"/>
                    </a:lnTo>
                    <a:lnTo>
                      <a:pt x="1110" y="531"/>
                    </a:lnTo>
                    <a:lnTo>
                      <a:pt x="1108" y="533"/>
                    </a:lnTo>
                    <a:lnTo>
                      <a:pt x="1112" y="534"/>
                    </a:lnTo>
                    <a:lnTo>
                      <a:pt x="1110" y="534"/>
                    </a:lnTo>
                    <a:lnTo>
                      <a:pt x="1112" y="534"/>
                    </a:lnTo>
                    <a:lnTo>
                      <a:pt x="1114" y="534"/>
                    </a:lnTo>
                    <a:lnTo>
                      <a:pt x="1116" y="534"/>
                    </a:lnTo>
                    <a:lnTo>
                      <a:pt x="1116" y="531"/>
                    </a:lnTo>
                    <a:lnTo>
                      <a:pt x="1122" y="531"/>
                    </a:lnTo>
                    <a:lnTo>
                      <a:pt x="1120" y="527"/>
                    </a:lnTo>
                    <a:lnTo>
                      <a:pt x="1123" y="525"/>
                    </a:lnTo>
                    <a:lnTo>
                      <a:pt x="1125" y="525"/>
                    </a:lnTo>
                    <a:lnTo>
                      <a:pt x="1127" y="525"/>
                    </a:lnTo>
                    <a:lnTo>
                      <a:pt x="1129" y="523"/>
                    </a:lnTo>
                    <a:lnTo>
                      <a:pt x="1131" y="523"/>
                    </a:lnTo>
                    <a:lnTo>
                      <a:pt x="1135" y="519"/>
                    </a:lnTo>
                    <a:lnTo>
                      <a:pt x="1135" y="521"/>
                    </a:lnTo>
                    <a:lnTo>
                      <a:pt x="1135" y="523"/>
                    </a:lnTo>
                    <a:lnTo>
                      <a:pt x="1141" y="519"/>
                    </a:lnTo>
                    <a:lnTo>
                      <a:pt x="1141" y="523"/>
                    </a:lnTo>
                    <a:lnTo>
                      <a:pt x="1144" y="521"/>
                    </a:lnTo>
                    <a:lnTo>
                      <a:pt x="1146" y="523"/>
                    </a:lnTo>
                    <a:lnTo>
                      <a:pt x="1146" y="519"/>
                    </a:lnTo>
                    <a:lnTo>
                      <a:pt x="1146" y="517"/>
                    </a:lnTo>
                    <a:lnTo>
                      <a:pt x="1146" y="515"/>
                    </a:lnTo>
                    <a:lnTo>
                      <a:pt x="1148" y="515"/>
                    </a:lnTo>
                    <a:lnTo>
                      <a:pt x="1148" y="517"/>
                    </a:lnTo>
                    <a:lnTo>
                      <a:pt x="1152" y="515"/>
                    </a:lnTo>
                    <a:lnTo>
                      <a:pt x="1152" y="517"/>
                    </a:lnTo>
                    <a:lnTo>
                      <a:pt x="1154" y="515"/>
                    </a:lnTo>
                    <a:lnTo>
                      <a:pt x="1158" y="515"/>
                    </a:lnTo>
                    <a:lnTo>
                      <a:pt x="1158" y="513"/>
                    </a:lnTo>
                    <a:lnTo>
                      <a:pt x="1160" y="513"/>
                    </a:lnTo>
                    <a:lnTo>
                      <a:pt x="1162" y="513"/>
                    </a:lnTo>
                    <a:lnTo>
                      <a:pt x="1167" y="512"/>
                    </a:lnTo>
                    <a:lnTo>
                      <a:pt x="1169" y="510"/>
                    </a:lnTo>
                    <a:lnTo>
                      <a:pt x="1173" y="510"/>
                    </a:lnTo>
                    <a:lnTo>
                      <a:pt x="1181" y="506"/>
                    </a:lnTo>
                    <a:lnTo>
                      <a:pt x="1186" y="504"/>
                    </a:lnTo>
                    <a:lnTo>
                      <a:pt x="1186" y="500"/>
                    </a:lnTo>
                    <a:lnTo>
                      <a:pt x="1184" y="502"/>
                    </a:lnTo>
                    <a:lnTo>
                      <a:pt x="1179" y="506"/>
                    </a:lnTo>
                    <a:lnTo>
                      <a:pt x="1177" y="506"/>
                    </a:lnTo>
                    <a:lnTo>
                      <a:pt x="1177" y="502"/>
                    </a:lnTo>
                    <a:lnTo>
                      <a:pt x="1175" y="504"/>
                    </a:lnTo>
                    <a:lnTo>
                      <a:pt x="1177" y="506"/>
                    </a:lnTo>
                    <a:lnTo>
                      <a:pt x="1175" y="506"/>
                    </a:lnTo>
                    <a:lnTo>
                      <a:pt x="1171" y="502"/>
                    </a:lnTo>
                    <a:lnTo>
                      <a:pt x="1173" y="500"/>
                    </a:lnTo>
                    <a:lnTo>
                      <a:pt x="1171" y="500"/>
                    </a:lnTo>
                    <a:lnTo>
                      <a:pt x="1167" y="504"/>
                    </a:lnTo>
                    <a:lnTo>
                      <a:pt x="1171" y="506"/>
                    </a:lnTo>
                    <a:lnTo>
                      <a:pt x="1165" y="506"/>
                    </a:lnTo>
                    <a:lnTo>
                      <a:pt x="1167" y="504"/>
                    </a:lnTo>
                    <a:lnTo>
                      <a:pt x="1165" y="500"/>
                    </a:lnTo>
                    <a:lnTo>
                      <a:pt x="1167" y="498"/>
                    </a:lnTo>
                    <a:lnTo>
                      <a:pt x="1167" y="494"/>
                    </a:lnTo>
                    <a:lnTo>
                      <a:pt x="1169" y="494"/>
                    </a:lnTo>
                    <a:lnTo>
                      <a:pt x="1167" y="496"/>
                    </a:lnTo>
                    <a:lnTo>
                      <a:pt x="1169" y="496"/>
                    </a:lnTo>
                    <a:lnTo>
                      <a:pt x="1169" y="498"/>
                    </a:lnTo>
                    <a:lnTo>
                      <a:pt x="1171" y="496"/>
                    </a:lnTo>
                    <a:lnTo>
                      <a:pt x="1171" y="494"/>
                    </a:lnTo>
                    <a:lnTo>
                      <a:pt x="1173" y="492"/>
                    </a:lnTo>
                    <a:lnTo>
                      <a:pt x="1169" y="492"/>
                    </a:lnTo>
                    <a:lnTo>
                      <a:pt x="1171" y="491"/>
                    </a:lnTo>
                    <a:lnTo>
                      <a:pt x="1173" y="492"/>
                    </a:lnTo>
                    <a:lnTo>
                      <a:pt x="1175" y="491"/>
                    </a:lnTo>
                    <a:lnTo>
                      <a:pt x="1175" y="492"/>
                    </a:lnTo>
                    <a:lnTo>
                      <a:pt x="1173" y="494"/>
                    </a:lnTo>
                    <a:lnTo>
                      <a:pt x="1175" y="496"/>
                    </a:lnTo>
                    <a:lnTo>
                      <a:pt x="1175" y="498"/>
                    </a:lnTo>
                    <a:lnTo>
                      <a:pt x="1177" y="496"/>
                    </a:lnTo>
                    <a:lnTo>
                      <a:pt x="1177" y="494"/>
                    </a:lnTo>
                    <a:lnTo>
                      <a:pt x="1177" y="496"/>
                    </a:lnTo>
                    <a:lnTo>
                      <a:pt x="1179" y="494"/>
                    </a:lnTo>
                    <a:lnTo>
                      <a:pt x="1181" y="494"/>
                    </a:lnTo>
                    <a:lnTo>
                      <a:pt x="1184" y="494"/>
                    </a:lnTo>
                    <a:lnTo>
                      <a:pt x="1181" y="492"/>
                    </a:lnTo>
                    <a:lnTo>
                      <a:pt x="1179" y="492"/>
                    </a:lnTo>
                    <a:lnTo>
                      <a:pt x="1179" y="491"/>
                    </a:lnTo>
                    <a:lnTo>
                      <a:pt x="1183" y="491"/>
                    </a:lnTo>
                    <a:lnTo>
                      <a:pt x="1184" y="491"/>
                    </a:lnTo>
                    <a:lnTo>
                      <a:pt x="1186" y="492"/>
                    </a:lnTo>
                    <a:lnTo>
                      <a:pt x="1190" y="491"/>
                    </a:lnTo>
                    <a:lnTo>
                      <a:pt x="1190" y="492"/>
                    </a:lnTo>
                    <a:lnTo>
                      <a:pt x="1192" y="494"/>
                    </a:lnTo>
                    <a:lnTo>
                      <a:pt x="1194" y="492"/>
                    </a:lnTo>
                    <a:lnTo>
                      <a:pt x="1194" y="491"/>
                    </a:lnTo>
                    <a:lnTo>
                      <a:pt x="1196" y="491"/>
                    </a:lnTo>
                    <a:lnTo>
                      <a:pt x="1196" y="489"/>
                    </a:lnTo>
                    <a:lnTo>
                      <a:pt x="1192" y="489"/>
                    </a:lnTo>
                    <a:lnTo>
                      <a:pt x="1196" y="489"/>
                    </a:lnTo>
                    <a:lnTo>
                      <a:pt x="1198" y="489"/>
                    </a:lnTo>
                    <a:lnTo>
                      <a:pt x="1198" y="491"/>
                    </a:lnTo>
                    <a:lnTo>
                      <a:pt x="1200" y="492"/>
                    </a:lnTo>
                    <a:lnTo>
                      <a:pt x="1202" y="491"/>
                    </a:lnTo>
                    <a:lnTo>
                      <a:pt x="1204" y="491"/>
                    </a:lnTo>
                    <a:lnTo>
                      <a:pt x="1207" y="487"/>
                    </a:lnTo>
                    <a:lnTo>
                      <a:pt x="1209" y="489"/>
                    </a:lnTo>
                    <a:lnTo>
                      <a:pt x="1211" y="485"/>
                    </a:lnTo>
                    <a:lnTo>
                      <a:pt x="1209" y="487"/>
                    </a:lnTo>
                    <a:lnTo>
                      <a:pt x="1207" y="485"/>
                    </a:lnTo>
                    <a:lnTo>
                      <a:pt x="1205" y="485"/>
                    </a:lnTo>
                    <a:lnTo>
                      <a:pt x="1207" y="483"/>
                    </a:lnTo>
                    <a:lnTo>
                      <a:pt x="1204" y="483"/>
                    </a:lnTo>
                    <a:lnTo>
                      <a:pt x="1205" y="481"/>
                    </a:lnTo>
                    <a:lnTo>
                      <a:pt x="1205" y="479"/>
                    </a:lnTo>
                    <a:lnTo>
                      <a:pt x="1207" y="479"/>
                    </a:lnTo>
                    <a:lnTo>
                      <a:pt x="1207" y="481"/>
                    </a:lnTo>
                    <a:lnTo>
                      <a:pt x="1209" y="483"/>
                    </a:lnTo>
                    <a:lnTo>
                      <a:pt x="1209" y="479"/>
                    </a:lnTo>
                    <a:lnTo>
                      <a:pt x="1213" y="477"/>
                    </a:lnTo>
                    <a:lnTo>
                      <a:pt x="1213" y="481"/>
                    </a:lnTo>
                    <a:lnTo>
                      <a:pt x="1215" y="479"/>
                    </a:lnTo>
                    <a:lnTo>
                      <a:pt x="1217" y="479"/>
                    </a:lnTo>
                    <a:lnTo>
                      <a:pt x="1217" y="483"/>
                    </a:lnTo>
                    <a:lnTo>
                      <a:pt x="1219" y="483"/>
                    </a:lnTo>
                    <a:lnTo>
                      <a:pt x="1219" y="479"/>
                    </a:lnTo>
                    <a:lnTo>
                      <a:pt x="1223" y="477"/>
                    </a:lnTo>
                    <a:lnTo>
                      <a:pt x="1221" y="475"/>
                    </a:lnTo>
                    <a:lnTo>
                      <a:pt x="1225" y="475"/>
                    </a:lnTo>
                    <a:lnTo>
                      <a:pt x="1226" y="477"/>
                    </a:lnTo>
                    <a:lnTo>
                      <a:pt x="1228" y="475"/>
                    </a:lnTo>
                    <a:lnTo>
                      <a:pt x="1230" y="477"/>
                    </a:lnTo>
                    <a:lnTo>
                      <a:pt x="1232" y="477"/>
                    </a:lnTo>
                    <a:lnTo>
                      <a:pt x="1232" y="479"/>
                    </a:lnTo>
                    <a:lnTo>
                      <a:pt x="1232" y="481"/>
                    </a:lnTo>
                    <a:lnTo>
                      <a:pt x="1230" y="481"/>
                    </a:lnTo>
                    <a:lnTo>
                      <a:pt x="1230" y="479"/>
                    </a:lnTo>
                    <a:lnTo>
                      <a:pt x="1226" y="483"/>
                    </a:lnTo>
                    <a:lnTo>
                      <a:pt x="1226" y="487"/>
                    </a:lnTo>
                    <a:lnTo>
                      <a:pt x="1230" y="481"/>
                    </a:lnTo>
                    <a:lnTo>
                      <a:pt x="1232" y="485"/>
                    </a:lnTo>
                    <a:lnTo>
                      <a:pt x="1228" y="485"/>
                    </a:lnTo>
                    <a:lnTo>
                      <a:pt x="1226" y="489"/>
                    </a:lnTo>
                    <a:lnTo>
                      <a:pt x="1226" y="487"/>
                    </a:lnTo>
                    <a:lnTo>
                      <a:pt x="1225" y="491"/>
                    </a:lnTo>
                    <a:lnTo>
                      <a:pt x="1225" y="485"/>
                    </a:lnTo>
                    <a:lnTo>
                      <a:pt x="1223" y="481"/>
                    </a:lnTo>
                    <a:lnTo>
                      <a:pt x="1221" y="481"/>
                    </a:lnTo>
                    <a:lnTo>
                      <a:pt x="1221" y="483"/>
                    </a:lnTo>
                    <a:lnTo>
                      <a:pt x="1223" y="485"/>
                    </a:lnTo>
                    <a:lnTo>
                      <a:pt x="1221" y="485"/>
                    </a:lnTo>
                    <a:lnTo>
                      <a:pt x="1219" y="485"/>
                    </a:lnTo>
                    <a:lnTo>
                      <a:pt x="1223" y="487"/>
                    </a:lnTo>
                    <a:lnTo>
                      <a:pt x="1223" y="491"/>
                    </a:lnTo>
                    <a:lnTo>
                      <a:pt x="1221" y="489"/>
                    </a:lnTo>
                    <a:lnTo>
                      <a:pt x="1223" y="491"/>
                    </a:lnTo>
                    <a:lnTo>
                      <a:pt x="1219" y="494"/>
                    </a:lnTo>
                    <a:lnTo>
                      <a:pt x="1217" y="492"/>
                    </a:lnTo>
                    <a:lnTo>
                      <a:pt x="1215" y="494"/>
                    </a:lnTo>
                    <a:lnTo>
                      <a:pt x="1217" y="496"/>
                    </a:lnTo>
                    <a:lnTo>
                      <a:pt x="1213" y="504"/>
                    </a:lnTo>
                    <a:lnTo>
                      <a:pt x="1209" y="506"/>
                    </a:lnTo>
                    <a:lnTo>
                      <a:pt x="1211" y="510"/>
                    </a:lnTo>
                    <a:lnTo>
                      <a:pt x="1213" y="506"/>
                    </a:lnTo>
                    <a:lnTo>
                      <a:pt x="1217" y="500"/>
                    </a:lnTo>
                    <a:lnTo>
                      <a:pt x="1219" y="502"/>
                    </a:lnTo>
                    <a:lnTo>
                      <a:pt x="1221" y="502"/>
                    </a:lnTo>
                    <a:lnTo>
                      <a:pt x="1221" y="500"/>
                    </a:lnTo>
                    <a:lnTo>
                      <a:pt x="1223" y="498"/>
                    </a:lnTo>
                    <a:lnTo>
                      <a:pt x="1225" y="498"/>
                    </a:lnTo>
                    <a:lnTo>
                      <a:pt x="1225" y="500"/>
                    </a:lnTo>
                    <a:lnTo>
                      <a:pt x="1226" y="500"/>
                    </a:lnTo>
                    <a:lnTo>
                      <a:pt x="1232" y="494"/>
                    </a:lnTo>
                    <a:lnTo>
                      <a:pt x="1236" y="491"/>
                    </a:lnTo>
                    <a:lnTo>
                      <a:pt x="1236" y="492"/>
                    </a:lnTo>
                    <a:lnTo>
                      <a:pt x="1234" y="496"/>
                    </a:lnTo>
                    <a:lnTo>
                      <a:pt x="1238" y="496"/>
                    </a:lnTo>
                    <a:lnTo>
                      <a:pt x="1234" y="498"/>
                    </a:lnTo>
                    <a:lnTo>
                      <a:pt x="1234" y="500"/>
                    </a:lnTo>
                    <a:lnTo>
                      <a:pt x="1236" y="502"/>
                    </a:lnTo>
                    <a:lnTo>
                      <a:pt x="1234" y="504"/>
                    </a:lnTo>
                    <a:lnTo>
                      <a:pt x="1236" y="504"/>
                    </a:lnTo>
                    <a:lnTo>
                      <a:pt x="1236" y="500"/>
                    </a:lnTo>
                    <a:lnTo>
                      <a:pt x="1240" y="498"/>
                    </a:lnTo>
                    <a:lnTo>
                      <a:pt x="1242" y="500"/>
                    </a:lnTo>
                    <a:lnTo>
                      <a:pt x="1244" y="500"/>
                    </a:lnTo>
                    <a:lnTo>
                      <a:pt x="1245" y="500"/>
                    </a:lnTo>
                    <a:lnTo>
                      <a:pt x="1244" y="496"/>
                    </a:lnTo>
                    <a:lnTo>
                      <a:pt x="1242" y="496"/>
                    </a:lnTo>
                    <a:lnTo>
                      <a:pt x="1240" y="496"/>
                    </a:lnTo>
                    <a:lnTo>
                      <a:pt x="1244" y="492"/>
                    </a:lnTo>
                    <a:lnTo>
                      <a:pt x="1245" y="494"/>
                    </a:lnTo>
                    <a:lnTo>
                      <a:pt x="1245" y="496"/>
                    </a:lnTo>
                    <a:lnTo>
                      <a:pt x="1249" y="494"/>
                    </a:lnTo>
                    <a:lnTo>
                      <a:pt x="1251" y="494"/>
                    </a:lnTo>
                    <a:lnTo>
                      <a:pt x="1251" y="492"/>
                    </a:lnTo>
                    <a:lnTo>
                      <a:pt x="1249" y="492"/>
                    </a:lnTo>
                    <a:lnTo>
                      <a:pt x="1249" y="491"/>
                    </a:lnTo>
                    <a:lnTo>
                      <a:pt x="1247" y="492"/>
                    </a:lnTo>
                    <a:lnTo>
                      <a:pt x="1247" y="491"/>
                    </a:lnTo>
                    <a:lnTo>
                      <a:pt x="1247" y="489"/>
                    </a:lnTo>
                    <a:lnTo>
                      <a:pt x="1249" y="491"/>
                    </a:lnTo>
                    <a:lnTo>
                      <a:pt x="1249" y="489"/>
                    </a:lnTo>
                    <a:lnTo>
                      <a:pt x="1253" y="487"/>
                    </a:lnTo>
                    <a:lnTo>
                      <a:pt x="1261" y="481"/>
                    </a:lnTo>
                    <a:lnTo>
                      <a:pt x="1261" y="485"/>
                    </a:lnTo>
                    <a:lnTo>
                      <a:pt x="1263" y="485"/>
                    </a:lnTo>
                    <a:lnTo>
                      <a:pt x="1268" y="485"/>
                    </a:lnTo>
                    <a:lnTo>
                      <a:pt x="1268" y="487"/>
                    </a:lnTo>
                    <a:lnTo>
                      <a:pt x="1266" y="489"/>
                    </a:lnTo>
                    <a:lnTo>
                      <a:pt x="1266" y="491"/>
                    </a:lnTo>
                    <a:lnTo>
                      <a:pt x="1270" y="491"/>
                    </a:lnTo>
                    <a:lnTo>
                      <a:pt x="1272" y="489"/>
                    </a:lnTo>
                    <a:lnTo>
                      <a:pt x="1272" y="491"/>
                    </a:lnTo>
                    <a:lnTo>
                      <a:pt x="1270" y="492"/>
                    </a:lnTo>
                    <a:lnTo>
                      <a:pt x="1272" y="492"/>
                    </a:lnTo>
                    <a:lnTo>
                      <a:pt x="1276" y="489"/>
                    </a:lnTo>
                    <a:lnTo>
                      <a:pt x="1272" y="485"/>
                    </a:lnTo>
                    <a:lnTo>
                      <a:pt x="1272" y="483"/>
                    </a:lnTo>
                    <a:lnTo>
                      <a:pt x="1268" y="481"/>
                    </a:lnTo>
                    <a:lnTo>
                      <a:pt x="1268" y="477"/>
                    </a:lnTo>
                    <a:lnTo>
                      <a:pt x="1265" y="475"/>
                    </a:lnTo>
                    <a:lnTo>
                      <a:pt x="1263" y="472"/>
                    </a:lnTo>
                    <a:lnTo>
                      <a:pt x="1261" y="468"/>
                    </a:lnTo>
                    <a:lnTo>
                      <a:pt x="1261" y="466"/>
                    </a:lnTo>
                    <a:lnTo>
                      <a:pt x="1263" y="466"/>
                    </a:lnTo>
                    <a:lnTo>
                      <a:pt x="1270" y="470"/>
                    </a:lnTo>
                    <a:lnTo>
                      <a:pt x="1274" y="470"/>
                    </a:lnTo>
                    <a:lnTo>
                      <a:pt x="1280" y="468"/>
                    </a:lnTo>
                    <a:lnTo>
                      <a:pt x="1284" y="468"/>
                    </a:lnTo>
                    <a:lnTo>
                      <a:pt x="1284" y="470"/>
                    </a:lnTo>
                    <a:lnTo>
                      <a:pt x="1291" y="466"/>
                    </a:lnTo>
                    <a:lnTo>
                      <a:pt x="1297" y="462"/>
                    </a:lnTo>
                    <a:lnTo>
                      <a:pt x="1297" y="452"/>
                    </a:lnTo>
                    <a:lnTo>
                      <a:pt x="1299" y="452"/>
                    </a:lnTo>
                    <a:lnTo>
                      <a:pt x="1301" y="451"/>
                    </a:lnTo>
                    <a:lnTo>
                      <a:pt x="1299" y="449"/>
                    </a:lnTo>
                    <a:lnTo>
                      <a:pt x="1295" y="447"/>
                    </a:lnTo>
                    <a:lnTo>
                      <a:pt x="1293" y="441"/>
                    </a:lnTo>
                    <a:lnTo>
                      <a:pt x="1297" y="433"/>
                    </a:lnTo>
                    <a:lnTo>
                      <a:pt x="1299" y="433"/>
                    </a:lnTo>
                    <a:lnTo>
                      <a:pt x="1301" y="433"/>
                    </a:lnTo>
                    <a:lnTo>
                      <a:pt x="1301" y="430"/>
                    </a:lnTo>
                    <a:lnTo>
                      <a:pt x="1301" y="428"/>
                    </a:lnTo>
                    <a:lnTo>
                      <a:pt x="1301" y="426"/>
                    </a:lnTo>
                    <a:lnTo>
                      <a:pt x="1299" y="428"/>
                    </a:lnTo>
                    <a:lnTo>
                      <a:pt x="1301" y="422"/>
                    </a:lnTo>
                    <a:lnTo>
                      <a:pt x="1312" y="407"/>
                    </a:lnTo>
                    <a:lnTo>
                      <a:pt x="1312" y="405"/>
                    </a:lnTo>
                    <a:lnTo>
                      <a:pt x="1318" y="407"/>
                    </a:lnTo>
                    <a:lnTo>
                      <a:pt x="1316" y="403"/>
                    </a:lnTo>
                    <a:lnTo>
                      <a:pt x="1320" y="403"/>
                    </a:lnTo>
                    <a:lnTo>
                      <a:pt x="1318" y="401"/>
                    </a:lnTo>
                    <a:lnTo>
                      <a:pt x="1322" y="393"/>
                    </a:lnTo>
                    <a:lnTo>
                      <a:pt x="1327" y="389"/>
                    </a:lnTo>
                    <a:lnTo>
                      <a:pt x="1331" y="384"/>
                    </a:lnTo>
                    <a:lnTo>
                      <a:pt x="1333" y="384"/>
                    </a:lnTo>
                    <a:lnTo>
                      <a:pt x="1333" y="386"/>
                    </a:lnTo>
                    <a:lnTo>
                      <a:pt x="1337" y="386"/>
                    </a:lnTo>
                    <a:lnTo>
                      <a:pt x="1345" y="376"/>
                    </a:lnTo>
                    <a:lnTo>
                      <a:pt x="1345" y="378"/>
                    </a:lnTo>
                    <a:lnTo>
                      <a:pt x="1347" y="376"/>
                    </a:lnTo>
                    <a:lnTo>
                      <a:pt x="1348" y="378"/>
                    </a:lnTo>
                    <a:lnTo>
                      <a:pt x="1347" y="380"/>
                    </a:lnTo>
                    <a:lnTo>
                      <a:pt x="1348" y="382"/>
                    </a:lnTo>
                    <a:lnTo>
                      <a:pt x="1352" y="380"/>
                    </a:lnTo>
                    <a:lnTo>
                      <a:pt x="1356" y="380"/>
                    </a:lnTo>
                    <a:lnTo>
                      <a:pt x="1356" y="384"/>
                    </a:lnTo>
                    <a:lnTo>
                      <a:pt x="1358" y="388"/>
                    </a:lnTo>
                    <a:lnTo>
                      <a:pt x="1360" y="388"/>
                    </a:lnTo>
                    <a:lnTo>
                      <a:pt x="1364" y="389"/>
                    </a:lnTo>
                    <a:lnTo>
                      <a:pt x="1366" y="391"/>
                    </a:lnTo>
                    <a:lnTo>
                      <a:pt x="1369" y="389"/>
                    </a:lnTo>
                    <a:lnTo>
                      <a:pt x="1373" y="389"/>
                    </a:lnTo>
                    <a:lnTo>
                      <a:pt x="1375" y="399"/>
                    </a:lnTo>
                    <a:lnTo>
                      <a:pt x="1377" y="401"/>
                    </a:lnTo>
                    <a:lnTo>
                      <a:pt x="1377" y="403"/>
                    </a:lnTo>
                    <a:lnTo>
                      <a:pt x="1379" y="403"/>
                    </a:lnTo>
                    <a:lnTo>
                      <a:pt x="1377" y="405"/>
                    </a:lnTo>
                    <a:lnTo>
                      <a:pt x="1375" y="405"/>
                    </a:lnTo>
                    <a:lnTo>
                      <a:pt x="1371" y="403"/>
                    </a:lnTo>
                    <a:lnTo>
                      <a:pt x="1371" y="405"/>
                    </a:lnTo>
                    <a:lnTo>
                      <a:pt x="1368" y="409"/>
                    </a:lnTo>
                    <a:lnTo>
                      <a:pt x="1368" y="412"/>
                    </a:lnTo>
                    <a:lnTo>
                      <a:pt x="1366" y="414"/>
                    </a:lnTo>
                    <a:lnTo>
                      <a:pt x="1358" y="418"/>
                    </a:lnTo>
                    <a:lnTo>
                      <a:pt x="1354" y="418"/>
                    </a:lnTo>
                    <a:lnTo>
                      <a:pt x="1350" y="422"/>
                    </a:lnTo>
                    <a:lnTo>
                      <a:pt x="1350" y="424"/>
                    </a:lnTo>
                    <a:lnTo>
                      <a:pt x="1360" y="426"/>
                    </a:lnTo>
                    <a:lnTo>
                      <a:pt x="1362" y="424"/>
                    </a:lnTo>
                    <a:lnTo>
                      <a:pt x="1364" y="426"/>
                    </a:lnTo>
                    <a:lnTo>
                      <a:pt x="1368" y="424"/>
                    </a:lnTo>
                    <a:lnTo>
                      <a:pt x="1371" y="424"/>
                    </a:lnTo>
                    <a:lnTo>
                      <a:pt x="1373" y="422"/>
                    </a:lnTo>
                    <a:lnTo>
                      <a:pt x="1373" y="426"/>
                    </a:lnTo>
                    <a:lnTo>
                      <a:pt x="1369" y="428"/>
                    </a:lnTo>
                    <a:lnTo>
                      <a:pt x="1371" y="430"/>
                    </a:lnTo>
                    <a:lnTo>
                      <a:pt x="1368" y="430"/>
                    </a:lnTo>
                    <a:lnTo>
                      <a:pt x="1366" y="430"/>
                    </a:lnTo>
                    <a:lnTo>
                      <a:pt x="1368" y="430"/>
                    </a:lnTo>
                    <a:lnTo>
                      <a:pt x="1368" y="431"/>
                    </a:lnTo>
                    <a:lnTo>
                      <a:pt x="1371" y="431"/>
                    </a:lnTo>
                    <a:lnTo>
                      <a:pt x="1373" y="431"/>
                    </a:lnTo>
                    <a:lnTo>
                      <a:pt x="1377" y="426"/>
                    </a:lnTo>
                    <a:lnTo>
                      <a:pt x="1381" y="428"/>
                    </a:lnTo>
                    <a:lnTo>
                      <a:pt x="1383" y="430"/>
                    </a:lnTo>
                    <a:lnTo>
                      <a:pt x="1385" y="428"/>
                    </a:lnTo>
                    <a:lnTo>
                      <a:pt x="1385" y="431"/>
                    </a:lnTo>
                    <a:lnTo>
                      <a:pt x="1387" y="430"/>
                    </a:lnTo>
                    <a:lnTo>
                      <a:pt x="1385" y="430"/>
                    </a:lnTo>
                    <a:lnTo>
                      <a:pt x="1385" y="428"/>
                    </a:lnTo>
                    <a:lnTo>
                      <a:pt x="1387" y="428"/>
                    </a:lnTo>
                    <a:lnTo>
                      <a:pt x="1387" y="426"/>
                    </a:lnTo>
                    <a:lnTo>
                      <a:pt x="1389" y="426"/>
                    </a:lnTo>
                    <a:lnTo>
                      <a:pt x="1390" y="428"/>
                    </a:lnTo>
                    <a:lnTo>
                      <a:pt x="1389" y="430"/>
                    </a:lnTo>
                    <a:lnTo>
                      <a:pt x="1392" y="430"/>
                    </a:lnTo>
                    <a:lnTo>
                      <a:pt x="1390" y="431"/>
                    </a:lnTo>
                    <a:lnTo>
                      <a:pt x="1396" y="430"/>
                    </a:lnTo>
                    <a:lnTo>
                      <a:pt x="1394" y="431"/>
                    </a:lnTo>
                    <a:lnTo>
                      <a:pt x="1396" y="433"/>
                    </a:lnTo>
                    <a:lnTo>
                      <a:pt x="1398" y="437"/>
                    </a:lnTo>
                    <a:lnTo>
                      <a:pt x="1394" y="439"/>
                    </a:lnTo>
                    <a:lnTo>
                      <a:pt x="1396" y="439"/>
                    </a:lnTo>
                    <a:lnTo>
                      <a:pt x="1394" y="441"/>
                    </a:lnTo>
                    <a:lnTo>
                      <a:pt x="1394" y="443"/>
                    </a:lnTo>
                    <a:lnTo>
                      <a:pt x="1396" y="443"/>
                    </a:lnTo>
                    <a:lnTo>
                      <a:pt x="1394" y="445"/>
                    </a:lnTo>
                    <a:lnTo>
                      <a:pt x="1390" y="445"/>
                    </a:lnTo>
                    <a:lnTo>
                      <a:pt x="1390" y="449"/>
                    </a:lnTo>
                    <a:lnTo>
                      <a:pt x="1389" y="451"/>
                    </a:lnTo>
                    <a:lnTo>
                      <a:pt x="1387" y="451"/>
                    </a:lnTo>
                    <a:lnTo>
                      <a:pt x="1389" y="454"/>
                    </a:lnTo>
                    <a:lnTo>
                      <a:pt x="1387" y="460"/>
                    </a:lnTo>
                    <a:lnTo>
                      <a:pt x="1385" y="462"/>
                    </a:lnTo>
                    <a:lnTo>
                      <a:pt x="1383" y="460"/>
                    </a:lnTo>
                    <a:lnTo>
                      <a:pt x="1381" y="460"/>
                    </a:lnTo>
                    <a:lnTo>
                      <a:pt x="1383" y="462"/>
                    </a:lnTo>
                    <a:lnTo>
                      <a:pt x="1381" y="464"/>
                    </a:lnTo>
                    <a:lnTo>
                      <a:pt x="1385" y="466"/>
                    </a:lnTo>
                    <a:lnTo>
                      <a:pt x="1387" y="466"/>
                    </a:lnTo>
                    <a:lnTo>
                      <a:pt x="1389" y="468"/>
                    </a:lnTo>
                    <a:lnTo>
                      <a:pt x="1389" y="464"/>
                    </a:lnTo>
                    <a:lnTo>
                      <a:pt x="1390" y="466"/>
                    </a:lnTo>
                    <a:lnTo>
                      <a:pt x="1396" y="464"/>
                    </a:lnTo>
                    <a:lnTo>
                      <a:pt x="1402" y="466"/>
                    </a:lnTo>
                    <a:lnTo>
                      <a:pt x="1404" y="464"/>
                    </a:lnTo>
                    <a:lnTo>
                      <a:pt x="1406" y="458"/>
                    </a:lnTo>
                    <a:lnTo>
                      <a:pt x="1406" y="451"/>
                    </a:lnTo>
                    <a:lnTo>
                      <a:pt x="1408" y="449"/>
                    </a:lnTo>
                    <a:lnTo>
                      <a:pt x="1409" y="449"/>
                    </a:lnTo>
                    <a:lnTo>
                      <a:pt x="1411" y="447"/>
                    </a:lnTo>
                    <a:lnTo>
                      <a:pt x="1413" y="451"/>
                    </a:lnTo>
                    <a:lnTo>
                      <a:pt x="1417" y="451"/>
                    </a:lnTo>
                    <a:lnTo>
                      <a:pt x="1421" y="449"/>
                    </a:lnTo>
                    <a:lnTo>
                      <a:pt x="1423" y="447"/>
                    </a:lnTo>
                    <a:lnTo>
                      <a:pt x="1427" y="449"/>
                    </a:lnTo>
                    <a:lnTo>
                      <a:pt x="1429" y="445"/>
                    </a:lnTo>
                    <a:lnTo>
                      <a:pt x="1430" y="447"/>
                    </a:lnTo>
                    <a:lnTo>
                      <a:pt x="1429" y="447"/>
                    </a:lnTo>
                    <a:lnTo>
                      <a:pt x="1432" y="447"/>
                    </a:lnTo>
                    <a:lnTo>
                      <a:pt x="1436" y="451"/>
                    </a:lnTo>
                    <a:lnTo>
                      <a:pt x="1438" y="451"/>
                    </a:lnTo>
                    <a:lnTo>
                      <a:pt x="1436" y="451"/>
                    </a:lnTo>
                    <a:lnTo>
                      <a:pt x="1440" y="451"/>
                    </a:lnTo>
                    <a:lnTo>
                      <a:pt x="1440" y="452"/>
                    </a:lnTo>
                    <a:lnTo>
                      <a:pt x="1440" y="451"/>
                    </a:lnTo>
                    <a:lnTo>
                      <a:pt x="1444" y="447"/>
                    </a:lnTo>
                    <a:lnTo>
                      <a:pt x="1450" y="447"/>
                    </a:lnTo>
                    <a:lnTo>
                      <a:pt x="1450" y="449"/>
                    </a:lnTo>
                    <a:lnTo>
                      <a:pt x="1453" y="449"/>
                    </a:lnTo>
                    <a:lnTo>
                      <a:pt x="1455" y="449"/>
                    </a:lnTo>
                    <a:lnTo>
                      <a:pt x="1453" y="447"/>
                    </a:lnTo>
                    <a:lnTo>
                      <a:pt x="1457" y="447"/>
                    </a:lnTo>
                    <a:lnTo>
                      <a:pt x="1459" y="447"/>
                    </a:lnTo>
                    <a:lnTo>
                      <a:pt x="1457" y="449"/>
                    </a:lnTo>
                    <a:lnTo>
                      <a:pt x="1457" y="451"/>
                    </a:lnTo>
                    <a:lnTo>
                      <a:pt x="1457" y="452"/>
                    </a:lnTo>
                    <a:lnTo>
                      <a:pt x="1459" y="451"/>
                    </a:lnTo>
                    <a:lnTo>
                      <a:pt x="1463" y="452"/>
                    </a:lnTo>
                    <a:lnTo>
                      <a:pt x="1465" y="451"/>
                    </a:lnTo>
                    <a:lnTo>
                      <a:pt x="1467" y="452"/>
                    </a:lnTo>
                    <a:lnTo>
                      <a:pt x="1467" y="454"/>
                    </a:lnTo>
                    <a:lnTo>
                      <a:pt x="1465" y="451"/>
                    </a:lnTo>
                    <a:lnTo>
                      <a:pt x="1465" y="452"/>
                    </a:lnTo>
                    <a:lnTo>
                      <a:pt x="1463" y="456"/>
                    </a:lnTo>
                    <a:lnTo>
                      <a:pt x="1465" y="456"/>
                    </a:lnTo>
                    <a:lnTo>
                      <a:pt x="1463" y="456"/>
                    </a:lnTo>
                    <a:lnTo>
                      <a:pt x="1467" y="456"/>
                    </a:lnTo>
                    <a:lnTo>
                      <a:pt x="1469" y="460"/>
                    </a:lnTo>
                    <a:lnTo>
                      <a:pt x="1470" y="460"/>
                    </a:lnTo>
                    <a:lnTo>
                      <a:pt x="1470" y="462"/>
                    </a:lnTo>
                    <a:lnTo>
                      <a:pt x="1472" y="464"/>
                    </a:lnTo>
                    <a:lnTo>
                      <a:pt x="1474" y="466"/>
                    </a:lnTo>
                    <a:lnTo>
                      <a:pt x="1474" y="468"/>
                    </a:lnTo>
                    <a:lnTo>
                      <a:pt x="1469" y="475"/>
                    </a:lnTo>
                    <a:lnTo>
                      <a:pt x="1469" y="485"/>
                    </a:lnTo>
                    <a:lnTo>
                      <a:pt x="1470" y="481"/>
                    </a:lnTo>
                    <a:lnTo>
                      <a:pt x="1469" y="477"/>
                    </a:lnTo>
                    <a:lnTo>
                      <a:pt x="1476" y="468"/>
                    </a:lnTo>
                    <a:lnTo>
                      <a:pt x="1482" y="475"/>
                    </a:lnTo>
                    <a:lnTo>
                      <a:pt x="1482" y="477"/>
                    </a:lnTo>
                    <a:lnTo>
                      <a:pt x="1482" y="479"/>
                    </a:lnTo>
                    <a:lnTo>
                      <a:pt x="1482" y="485"/>
                    </a:lnTo>
                    <a:lnTo>
                      <a:pt x="1478" y="483"/>
                    </a:lnTo>
                    <a:lnTo>
                      <a:pt x="1478" y="485"/>
                    </a:lnTo>
                    <a:lnTo>
                      <a:pt x="1480" y="487"/>
                    </a:lnTo>
                    <a:lnTo>
                      <a:pt x="1482" y="485"/>
                    </a:lnTo>
                    <a:lnTo>
                      <a:pt x="1484" y="489"/>
                    </a:lnTo>
                    <a:lnTo>
                      <a:pt x="1484" y="492"/>
                    </a:lnTo>
                    <a:lnTo>
                      <a:pt x="1480" y="494"/>
                    </a:lnTo>
                    <a:lnTo>
                      <a:pt x="1482" y="496"/>
                    </a:lnTo>
                    <a:lnTo>
                      <a:pt x="1482" y="494"/>
                    </a:lnTo>
                    <a:lnTo>
                      <a:pt x="1484" y="496"/>
                    </a:lnTo>
                    <a:lnTo>
                      <a:pt x="1484" y="494"/>
                    </a:lnTo>
                    <a:lnTo>
                      <a:pt x="1488" y="492"/>
                    </a:lnTo>
                    <a:lnTo>
                      <a:pt x="1486" y="491"/>
                    </a:lnTo>
                    <a:lnTo>
                      <a:pt x="1486" y="489"/>
                    </a:lnTo>
                    <a:lnTo>
                      <a:pt x="1490" y="489"/>
                    </a:lnTo>
                    <a:lnTo>
                      <a:pt x="1491" y="491"/>
                    </a:lnTo>
                    <a:lnTo>
                      <a:pt x="1488" y="487"/>
                    </a:lnTo>
                    <a:lnTo>
                      <a:pt x="1486" y="485"/>
                    </a:lnTo>
                    <a:lnTo>
                      <a:pt x="1486" y="483"/>
                    </a:lnTo>
                    <a:lnTo>
                      <a:pt x="1490" y="483"/>
                    </a:lnTo>
                    <a:lnTo>
                      <a:pt x="1490" y="481"/>
                    </a:lnTo>
                    <a:lnTo>
                      <a:pt x="1491" y="483"/>
                    </a:lnTo>
                    <a:lnTo>
                      <a:pt x="1490" y="485"/>
                    </a:lnTo>
                    <a:lnTo>
                      <a:pt x="1491" y="485"/>
                    </a:lnTo>
                    <a:lnTo>
                      <a:pt x="1493" y="487"/>
                    </a:lnTo>
                    <a:lnTo>
                      <a:pt x="1495" y="506"/>
                    </a:lnTo>
                    <a:lnTo>
                      <a:pt x="1495" y="508"/>
                    </a:lnTo>
                    <a:lnTo>
                      <a:pt x="1495" y="504"/>
                    </a:lnTo>
                    <a:lnTo>
                      <a:pt x="1497" y="504"/>
                    </a:lnTo>
                    <a:lnTo>
                      <a:pt x="1497" y="502"/>
                    </a:lnTo>
                    <a:lnTo>
                      <a:pt x="1499" y="504"/>
                    </a:lnTo>
                    <a:lnTo>
                      <a:pt x="1499" y="502"/>
                    </a:lnTo>
                    <a:lnTo>
                      <a:pt x="1501" y="510"/>
                    </a:lnTo>
                    <a:lnTo>
                      <a:pt x="1497" y="523"/>
                    </a:lnTo>
                    <a:lnTo>
                      <a:pt x="1493" y="529"/>
                    </a:lnTo>
                    <a:lnTo>
                      <a:pt x="1491" y="527"/>
                    </a:lnTo>
                    <a:lnTo>
                      <a:pt x="1493" y="525"/>
                    </a:lnTo>
                    <a:lnTo>
                      <a:pt x="1495" y="521"/>
                    </a:lnTo>
                    <a:lnTo>
                      <a:pt x="1490" y="519"/>
                    </a:lnTo>
                    <a:lnTo>
                      <a:pt x="1486" y="519"/>
                    </a:lnTo>
                    <a:lnTo>
                      <a:pt x="1488" y="517"/>
                    </a:lnTo>
                    <a:lnTo>
                      <a:pt x="1486" y="515"/>
                    </a:lnTo>
                    <a:lnTo>
                      <a:pt x="1484" y="513"/>
                    </a:lnTo>
                    <a:lnTo>
                      <a:pt x="1480" y="510"/>
                    </a:lnTo>
                    <a:lnTo>
                      <a:pt x="1478" y="508"/>
                    </a:lnTo>
                    <a:lnTo>
                      <a:pt x="1474" y="508"/>
                    </a:lnTo>
                    <a:lnTo>
                      <a:pt x="1476" y="510"/>
                    </a:lnTo>
                    <a:lnTo>
                      <a:pt x="1478" y="513"/>
                    </a:lnTo>
                    <a:lnTo>
                      <a:pt x="1480" y="513"/>
                    </a:lnTo>
                    <a:lnTo>
                      <a:pt x="1484" y="515"/>
                    </a:lnTo>
                    <a:lnTo>
                      <a:pt x="1484" y="517"/>
                    </a:lnTo>
                    <a:lnTo>
                      <a:pt x="1482" y="517"/>
                    </a:lnTo>
                    <a:lnTo>
                      <a:pt x="1480" y="517"/>
                    </a:lnTo>
                    <a:lnTo>
                      <a:pt x="1482" y="519"/>
                    </a:lnTo>
                    <a:lnTo>
                      <a:pt x="1482" y="521"/>
                    </a:lnTo>
                    <a:lnTo>
                      <a:pt x="1484" y="521"/>
                    </a:lnTo>
                    <a:lnTo>
                      <a:pt x="1482" y="525"/>
                    </a:lnTo>
                    <a:lnTo>
                      <a:pt x="1482" y="527"/>
                    </a:lnTo>
                    <a:lnTo>
                      <a:pt x="1484" y="529"/>
                    </a:lnTo>
                    <a:lnTo>
                      <a:pt x="1486" y="527"/>
                    </a:lnTo>
                    <a:lnTo>
                      <a:pt x="1486" y="523"/>
                    </a:lnTo>
                    <a:lnTo>
                      <a:pt x="1490" y="519"/>
                    </a:lnTo>
                    <a:lnTo>
                      <a:pt x="1491" y="525"/>
                    </a:lnTo>
                    <a:lnTo>
                      <a:pt x="1490" y="525"/>
                    </a:lnTo>
                    <a:lnTo>
                      <a:pt x="1491" y="529"/>
                    </a:lnTo>
                    <a:lnTo>
                      <a:pt x="1497" y="531"/>
                    </a:lnTo>
                    <a:lnTo>
                      <a:pt x="1497" y="533"/>
                    </a:lnTo>
                    <a:lnTo>
                      <a:pt x="1497" y="536"/>
                    </a:lnTo>
                    <a:lnTo>
                      <a:pt x="1495" y="536"/>
                    </a:lnTo>
                    <a:lnTo>
                      <a:pt x="1493" y="538"/>
                    </a:lnTo>
                    <a:lnTo>
                      <a:pt x="1495" y="538"/>
                    </a:lnTo>
                    <a:lnTo>
                      <a:pt x="1497" y="538"/>
                    </a:lnTo>
                    <a:lnTo>
                      <a:pt x="1497" y="542"/>
                    </a:lnTo>
                    <a:lnTo>
                      <a:pt x="1493" y="548"/>
                    </a:lnTo>
                    <a:lnTo>
                      <a:pt x="1490" y="554"/>
                    </a:lnTo>
                    <a:lnTo>
                      <a:pt x="1486" y="559"/>
                    </a:lnTo>
                    <a:lnTo>
                      <a:pt x="1484" y="561"/>
                    </a:lnTo>
                    <a:lnTo>
                      <a:pt x="1484" y="563"/>
                    </a:lnTo>
                    <a:lnTo>
                      <a:pt x="1482" y="565"/>
                    </a:lnTo>
                    <a:lnTo>
                      <a:pt x="1480" y="567"/>
                    </a:lnTo>
                    <a:lnTo>
                      <a:pt x="1478" y="569"/>
                    </a:lnTo>
                    <a:lnTo>
                      <a:pt x="1478" y="567"/>
                    </a:lnTo>
                    <a:lnTo>
                      <a:pt x="1472" y="569"/>
                    </a:lnTo>
                    <a:lnTo>
                      <a:pt x="1472" y="571"/>
                    </a:lnTo>
                    <a:lnTo>
                      <a:pt x="1469" y="576"/>
                    </a:lnTo>
                    <a:lnTo>
                      <a:pt x="1469" y="578"/>
                    </a:lnTo>
                    <a:lnTo>
                      <a:pt x="1467" y="580"/>
                    </a:lnTo>
                    <a:lnTo>
                      <a:pt x="1467" y="582"/>
                    </a:lnTo>
                    <a:lnTo>
                      <a:pt x="1463" y="580"/>
                    </a:lnTo>
                    <a:lnTo>
                      <a:pt x="1461" y="580"/>
                    </a:lnTo>
                    <a:lnTo>
                      <a:pt x="1457" y="584"/>
                    </a:lnTo>
                    <a:lnTo>
                      <a:pt x="1453" y="590"/>
                    </a:lnTo>
                    <a:lnTo>
                      <a:pt x="1451" y="590"/>
                    </a:lnTo>
                    <a:lnTo>
                      <a:pt x="1446" y="594"/>
                    </a:lnTo>
                    <a:lnTo>
                      <a:pt x="1444" y="592"/>
                    </a:lnTo>
                    <a:lnTo>
                      <a:pt x="1442" y="592"/>
                    </a:lnTo>
                    <a:lnTo>
                      <a:pt x="1444" y="594"/>
                    </a:lnTo>
                    <a:lnTo>
                      <a:pt x="1444" y="596"/>
                    </a:lnTo>
                    <a:lnTo>
                      <a:pt x="1440" y="601"/>
                    </a:lnTo>
                    <a:lnTo>
                      <a:pt x="1438" y="601"/>
                    </a:lnTo>
                    <a:lnTo>
                      <a:pt x="1440" y="599"/>
                    </a:lnTo>
                    <a:lnTo>
                      <a:pt x="1436" y="603"/>
                    </a:lnTo>
                    <a:lnTo>
                      <a:pt x="1434" y="603"/>
                    </a:lnTo>
                    <a:lnTo>
                      <a:pt x="1434" y="601"/>
                    </a:lnTo>
                    <a:lnTo>
                      <a:pt x="1432" y="601"/>
                    </a:lnTo>
                    <a:lnTo>
                      <a:pt x="1432" y="603"/>
                    </a:lnTo>
                    <a:lnTo>
                      <a:pt x="1430" y="603"/>
                    </a:lnTo>
                    <a:lnTo>
                      <a:pt x="1429" y="605"/>
                    </a:lnTo>
                    <a:lnTo>
                      <a:pt x="1430" y="603"/>
                    </a:lnTo>
                    <a:lnTo>
                      <a:pt x="1434" y="605"/>
                    </a:lnTo>
                    <a:lnTo>
                      <a:pt x="1436" y="603"/>
                    </a:lnTo>
                    <a:lnTo>
                      <a:pt x="1436" y="605"/>
                    </a:lnTo>
                    <a:lnTo>
                      <a:pt x="1436" y="611"/>
                    </a:lnTo>
                    <a:lnTo>
                      <a:pt x="1430" y="617"/>
                    </a:lnTo>
                    <a:lnTo>
                      <a:pt x="1425" y="617"/>
                    </a:lnTo>
                    <a:lnTo>
                      <a:pt x="1423" y="618"/>
                    </a:lnTo>
                    <a:lnTo>
                      <a:pt x="1415" y="634"/>
                    </a:lnTo>
                    <a:lnTo>
                      <a:pt x="1413" y="634"/>
                    </a:lnTo>
                    <a:lnTo>
                      <a:pt x="1413" y="632"/>
                    </a:lnTo>
                    <a:lnTo>
                      <a:pt x="1411" y="632"/>
                    </a:lnTo>
                    <a:lnTo>
                      <a:pt x="1413" y="632"/>
                    </a:lnTo>
                    <a:lnTo>
                      <a:pt x="1413" y="636"/>
                    </a:lnTo>
                    <a:lnTo>
                      <a:pt x="1409" y="641"/>
                    </a:lnTo>
                    <a:lnTo>
                      <a:pt x="1408" y="641"/>
                    </a:lnTo>
                    <a:lnTo>
                      <a:pt x="1404" y="643"/>
                    </a:lnTo>
                    <a:lnTo>
                      <a:pt x="1400" y="643"/>
                    </a:lnTo>
                    <a:lnTo>
                      <a:pt x="1398" y="643"/>
                    </a:lnTo>
                    <a:lnTo>
                      <a:pt x="1394" y="643"/>
                    </a:lnTo>
                    <a:lnTo>
                      <a:pt x="1392" y="643"/>
                    </a:lnTo>
                    <a:lnTo>
                      <a:pt x="1389" y="641"/>
                    </a:lnTo>
                    <a:lnTo>
                      <a:pt x="1387" y="643"/>
                    </a:lnTo>
                    <a:lnTo>
                      <a:pt x="1387" y="641"/>
                    </a:lnTo>
                    <a:lnTo>
                      <a:pt x="1383" y="641"/>
                    </a:lnTo>
                    <a:lnTo>
                      <a:pt x="1379" y="641"/>
                    </a:lnTo>
                    <a:lnTo>
                      <a:pt x="1377" y="641"/>
                    </a:lnTo>
                    <a:lnTo>
                      <a:pt x="1379" y="643"/>
                    </a:lnTo>
                    <a:lnTo>
                      <a:pt x="1385" y="643"/>
                    </a:lnTo>
                    <a:lnTo>
                      <a:pt x="1390" y="647"/>
                    </a:lnTo>
                    <a:lnTo>
                      <a:pt x="1390" y="651"/>
                    </a:lnTo>
                    <a:lnTo>
                      <a:pt x="1389" y="653"/>
                    </a:lnTo>
                    <a:lnTo>
                      <a:pt x="1389" y="658"/>
                    </a:lnTo>
                    <a:lnTo>
                      <a:pt x="1387" y="660"/>
                    </a:lnTo>
                    <a:lnTo>
                      <a:pt x="1385" y="660"/>
                    </a:lnTo>
                    <a:lnTo>
                      <a:pt x="1379" y="660"/>
                    </a:lnTo>
                    <a:lnTo>
                      <a:pt x="1377" y="662"/>
                    </a:lnTo>
                    <a:lnTo>
                      <a:pt x="1375" y="668"/>
                    </a:lnTo>
                    <a:lnTo>
                      <a:pt x="1373" y="668"/>
                    </a:lnTo>
                    <a:lnTo>
                      <a:pt x="1375" y="670"/>
                    </a:lnTo>
                    <a:lnTo>
                      <a:pt x="1373" y="672"/>
                    </a:lnTo>
                    <a:lnTo>
                      <a:pt x="1373" y="678"/>
                    </a:lnTo>
                    <a:lnTo>
                      <a:pt x="1371" y="681"/>
                    </a:lnTo>
                    <a:lnTo>
                      <a:pt x="1369" y="683"/>
                    </a:lnTo>
                    <a:lnTo>
                      <a:pt x="1362" y="691"/>
                    </a:lnTo>
                    <a:lnTo>
                      <a:pt x="1364" y="691"/>
                    </a:lnTo>
                    <a:lnTo>
                      <a:pt x="1366" y="691"/>
                    </a:lnTo>
                    <a:lnTo>
                      <a:pt x="1368" y="691"/>
                    </a:lnTo>
                    <a:lnTo>
                      <a:pt x="1371" y="685"/>
                    </a:lnTo>
                    <a:lnTo>
                      <a:pt x="1373" y="687"/>
                    </a:lnTo>
                    <a:lnTo>
                      <a:pt x="1373" y="685"/>
                    </a:lnTo>
                    <a:lnTo>
                      <a:pt x="1373" y="681"/>
                    </a:lnTo>
                    <a:lnTo>
                      <a:pt x="1377" y="679"/>
                    </a:lnTo>
                    <a:lnTo>
                      <a:pt x="1377" y="672"/>
                    </a:lnTo>
                    <a:lnTo>
                      <a:pt x="1379" y="668"/>
                    </a:lnTo>
                    <a:lnTo>
                      <a:pt x="1387" y="670"/>
                    </a:lnTo>
                    <a:lnTo>
                      <a:pt x="1392" y="670"/>
                    </a:lnTo>
                    <a:lnTo>
                      <a:pt x="1396" y="670"/>
                    </a:lnTo>
                    <a:lnTo>
                      <a:pt x="1402" y="670"/>
                    </a:lnTo>
                    <a:lnTo>
                      <a:pt x="1408" y="664"/>
                    </a:lnTo>
                    <a:lnTo>
                      <a:pt x="1409" y="670"/>
                    </a:lnTo>
                    <a:lnTo>
                      <a:pt x="1411" y="672"/>
                    </a:lnTo>
                    <a:lnTo>
                      <a:pt x="1413" y="672"/>
                    </a:lnTo>
                    <a:lnTo>
                      <a:pt x="1413" y="664"/>
                    </a:lnTo>
                    <a:lnTo>
                      <a:pt x="1415" y="664"/>
                    </a:lnTo>
                    <a:lnTo>
                      <a:pt x="1413" y="664"/>
                    </a:lnTo>
                    <a:lnTo>
                      <a:pt x="1409" y="662"/>
                    </a:lnTo>
                    <a:lnTo>
                      <a:pt x="1409" y="664"/>
                    </a:lnTo>
                    <a:lnTo>
                      <a:pt x="1409" y="662"/>
                    </a:lnTo>
                    <a:lnTo>
                      <a:pt x="1421" y="658"/>
                    </a:lnTo>
                    <a:lnTo>
                      <a:pt x="1427" y="657"/>
                    </a:lnTo>
                    <a:lnTo>
                      <a:pt x="1427" y="655"/>
                    </a:lnTo>
                    <a:lnTo>
                      <a:pt x="1425" y="655"/>
                    </a:lnTo>
                    <a:lnTo>
                      <a:pt x="1425" y="653"/>
                    </a:lnTo>
                    <a:lnTo>
                      <a:pt x="1427" y="655"/>
                    </a:lnTo>
                    <a:lnTo>
                      <a:pt x="1429" y="657"/>
                    </a:lnTo>
                    <a:lnTo>
                      <a:pt x="1430" y="655"/>
                    </a:lnTo>
                    <a:lnTo>
                      <a:pt x="1429" y="655"/>
                    </a:lnTo>
                    <a:lnTo>
                      <a:pt x="1430" y="653"/>
                    </a:lnTo>
                    <a:lnTo>
                      <a:pt x="1434" y="653"/>
                    </a:lnTo>
                    <a:lnTo>
                      <a:pt x="1438" y="651"/>
                    </a:lnTo>
                    <a:lnTo>
                      <a:pt x="1440" y="651"/>
                    </a:lnTo>
                    <a:lnTo>
                      <a:pt x="1440" y="647"/>
                    </a:lnTo>
                    <a:lnTo>
                      <a:pt x="1438" y="647"/>
                    </a:lnTo>
                    <a:lnTo>
                      <a:pt x="1440" y="647"/>
                    </a:lnTo>
                    <a:lnTo>
                      <a:pt x="1444" y="645"/>
                    </a:lnTo>
                    <a:lnTo>
                      <a:pt x="1444" y="643"/>
                    </a:lnTo>
                    <a:lnTo>
                      <a:pt x="1446" y="641"/>
                    </a:lnTo>
                    <a:lnTo>
                      <a:pt x="1448" y="643"/>
                    </a:lnTo>
                    <a:lnTo>
                      <a:pt x="1451" y="641"/>
                    </a:lnTo>
                    <a:lnTo>
                      <a:pt x="1451" y="639"/>
                    </a:lnTo>
                    <a:lnTo>
                      <a:pt x="1451" y="638"/>
                    </a:lnTo>
                    <a:lnTo>
                      <a:pt x="1451" y="636"/>
                    </a:lnTo>
                    <a:lnTo>
                      <a:pt x="1448" y="634"/>
                    </a:lnTo>
                    <a:lnTo>
                      <a:pt x="1448" y="636"/>
                    </a:lnTo>
                    <a:lnTo>
                      <a:pt x="1444" y="638"/>
                    </a:lnTo>
                    <a:lnTo>
                      <a:pt x="1442" y="639"/>
                    </a:lnTo>
                    <a:lnTo>
                      <a:pt x="1440" y="638"/>
                    </a:lnTo>
                    <a:lnTo>
                      <a:pt x="1434" y="639"/>
                    </a:lnTo>
                    <a:lnTo>
                      <a:pt x="1434" y="641"/>
                    </a:lnTo>
                    <a:lnTo>
                      <a:pt x="1432" y="639"/>
                    </a:lnTo>
                    <a:lnTo>
                      <a:pt x="1430" y="638"/>
                    </a:lnTo>
                    <a:lnTo>
                      <a:pt x="1430" y="632"/>
                    </a:lnTo>
                    <a:lnTo>
                      <a:pt x="1434" y="630"/>
                    </a:lnTo>
                    <a:lnTo>
                      <a:pt x="1436" y="622"/>
                    </a:lnTo>
                    <a:lnTo>
                      <a:pt x="1438" y="620"/>
                    </a:lnTo>
                    <a:lnTo>
                      <a:pt x="1442" y="620"/>
                    </a:lnTo>
                    <a:lnTo>
                      <a:pt x="1446" y="622"/>
                    </a:lnTo>
                    <a:lnTo>
                      <a:pt x="1453" y="628"/>
                    </a:lnTo>
                    <a:lnTo>
                      <a:pt x="1455" y="626"/>
                    </a:lnTo>
                    <a:lnTo>
                      <a:pt x="1455" y="622"/>
                    </a:lnTo>
                    <a:lnTo>
                      <a:pt x="1455" y="620"/>
                    </a:lnTo>
                    <a:lnTo>
                      <a:pt x="1459" y="618"/>
                    </a:lnTo>
                    <a:lnTo>
                      <a:pt x="1461" y="618"/>
                    </a:lnTo>
                    <a:lnTo>
                      <a:pt x="1463" y="620"/>
                    </a:lnTo>
                    <a:lnTo>
                      <a:pt x="1459" y="622"/>
                    </a:lnTo>
                    <a:lnTo>
                      <a:pt x="1457" y="622"/>
                    </a:lnTo>
                    <a:lnTo>
                      <a:pt x="1457" y="624"/>
                    </a:lnTo>
                    <a:lnTo>
                      <a:pt x="1459" y="630"/>
                    </a:lnTo>
                    <a:lnTo>
                      <a:pt x="1463" y="634"/>
                    </a:lnTo>
                    <a:lnTo>
                      <a:pt x="1465" y="636"/>
                    </a:lnTo>
                    <a:lnTo>
                      <a:pt x="1474" y="639"/>
                    </a:lnTo>
                    <a:lnTo>
                      <a:pt x="1482" y="638"/>
                    </a:lnTo>
                    <a:lnTo>
                      <a:pt x="1486" y="636"/>
                    </a:lnTo>
                    <a:lnTo>
                      <a:pt x="1486" y="634"/>
                    </a:lnTo>
                    <a:lnTo>
                      <a:pt x="1482" y="624"/>
                    </a:lnTo>
                    <a:lnTo>
                      <a:pt x="1482" y="622"/>
                    </a:lnTo>
                    <a:lnTo>
                      <a:pt x="1486" y="626"/>
                    </a:lnTo>
                    <a:lnTo>
                      <a:pt x="1488" y="630"/>
                    </a:lnTo>
                    <a:lnTo>
                      <a:pt x="1493" y="643"/>
                    </a:lnTo>
                    <a:lnTo>
                      <a:pt x="1493" y="645"/>
                    </a:lnTo>
                    <a:lnTo>
                      <a:pt x="1490" y="647"/>
                    </a:lnTo>
                    <a:lnTo>
                      <a:pt x="1490" y="653"/>
                    </a:lnTo>
                    <a:lnTo>
                      <a:pt x="1491" y="657"/>
                    </a:lnTo>
                    <a:lnTo>
                      <a:pt x="1493" y="658"/>
                    </a:lnTo>
                    <a:lnTo>
                      <a:pt x="1495" y="662"/>
                    </a:lnTo>
                    <a:lnTo>
                      <a:pt x="1493" y="664"/>
                    </a:lnTo>
                    <a:lnTo>
                      <a:pt x="1495" y="664"/>
                    </a:lnTo>
                    <a:lnTo>
                      <a:pt x="1497" y="660"/>
                    </a:lnTo>
                    <a:lnTo>
                      <a:pt x="1501" y="660"/>
                    </a:lnTo>
                    <a:lnTo>
                      <a:pt x="1503" y="658"/>
                    </a:lnTo>
                    <a:lnTo>
                      <a:pt x="1501" y="657"/>
                    </a:lnTo>
                    <a:lnTo>
                      <a:pt x="1499" y="658"/>
                    </a:lnTo>
                    <a:lnTo>
                      <a:pt x="1495" y="653"/>
                    </a:lnTo>
                    <a:lnTo>
                      <a:pt x="1493" y="649"/>
                    </a:lnTo>
                    <a:lnTo>
                      <a:pt x="1501" y="647"/>
                    </a:lnTo>
                    <a:lnTo>
                      <a:pt x="1503" y="645"/>
                    </a:lnTo>
                    <a:lnTo>
                      <a:pt x="1505" y="643"/>
                    </a:lnTo>
                    <a:lnTo>
                      <a:pt x="1511" y="645"/>
                    </a:lnTo>
                    <a:lnTo>
                      <a:pt x="1516" y="643"/>
                    </a:lnTo>
                    <a:lnTo>
                      <a:pt x="1518" y="641"/>
                    </a:lnTo>
                    <a:lnTo>
                      <a:pt x="1520" y="641"/>
                    </a:lnTo>
                    <a:lnTo>
                      <a:pt x="1518" y="641"/>
                    </a:lnTo>
                    <a:lnTo>
                      <a:pt x="1522" y="639"/>
                    </a:lnTo>
                    <a:lnTo>
                      <a:pt x="1522" y="638"/>
                    </a:lnTo>
                    <a:lnTo>
                      <a:pt x="1524" y="639"/>
                    </a:lnTo>
                    <a:lnTo>
                      <a:pt x="1524" y="638"/>
                    </a:lnTo>
                    <a:lnTo>
                      <a:pt x="1526" y="638"/>
                    </a:lnTo>
                    <a:lnTo>
                      <a:pt x="1528" y="639"/>
                    </a:lnTo>
                    <a:lnTo>
                      <a:pt x="1533" y="639"/>
                    </a:lnTo>
                    <a:lnTo>
                      <a:pt x="1537" y="641"/>
                    </a:lnTo>
                    <a:lnTo>
                      <a:pt x="1541" y="639"/>
                    </a:lnTo>
                    <a:lnTo>
                      <a:pt x="1543" y="641"/>
                    </a:lnTo>
                    <a:lnTo>
                      <a:pt x="1554" y="645"/>
                    </a:lnTo>
                    <a:lnTo>
                      <a:pt x="1562" y="645"/>
                    </a:lnTo>
                    <a:lnTo>
                      <a:pt x="1566" y="645"/>
                    </a:lnTo>
                    <a:lnTo>
                      <a:pt x="1577" y="647"/>
                    </a:lnTo>
                    <a:lnTo>
                      <a:pt x="1577" y="651"/>
                    </a:lnTo>
                    <a:lnTo>
                      <a:pt x="1579" y="651"/>
                    </a:lnTo>
                    <a:lnTo>
                      <a:pt x="1581" y="653"/>
                    </a:lnTo>
                    <a:lnTo>
                      <a:pt x="1577" y="655"/>
                    </a:lnTo>
                    <a:lnTo>
                      <a:pt x="1575" y="651"/>
                    </a:lnTo>
                    <a:lnTo>
                      <a:pt x="1575" y="653"/>
                    </a:lnTo>
                    <a:lnTo>
                      <a:pt x="1573" y="651"/>
                    </a:lnTo>
                    <a:lnTo>
                      <a:pt x="1572" y="655"/>
                    </a:lnTo>
                    <a:lnTo>
                      <a:pt x="1572" y="657"/>
                    </a:lnTo>
                    <a:lnTo>
                      <a:pt x="1573" y="658"/>
                    </a:lnTo>
                    <a:lnTo>
                      <a:pt x="1572" y="660"/>
                    </a:lnTo>
                    <a:lnTo>
                      <a:pt x="1572" y="664"/>
                    </a:lnTo>
                    <a:lnTo>
                      <a:pt x="1573" y="668"/>
                    </a:lnTo>
                    <a:lnTo>
                      <a:pt x="1585" y="674"/>
                    </a:lnTo>
                    <a:lnTo>
                      <a:pt x="1585" y="670"/>
                    </a:lnTo>
                    <a:lnTo>
                      <a:pt x="1587" y="672"/>
                    </a:lnTo>
                    <a:lnTo>
                      <a:pt x="1587" y="670"/>
                    </a:lnTo>
                    <a:lnTo>
                      <a:pt x="1589" y="672"/>
                    </a:lnTo>
                    <a:lnTo>
                      <a:pt x="1591" y="672"/>
                    </a:lnTo>
                    <a:lnTo>
                      <a:pt x="1591" y="668"/>
                    </a:lnTo>
                    <a:lnTo>
                      <a:pt x="1600" y="670"/>
                    </a:lnTo>
                    <a:lnTo>
                      <a:pt x="1604" y="672"/>
                    </a:lnTo>
                    <a:lnTo>
                      <a:pt x="1604" y="674"/>
                    </a:lnTo>
                    <a:lnTo>
                      <a:pt x="1604" y="676"/>
                    </a:lnTo>
                    <a:lnTo>
                      <a:pt x="1602" y="676"/>
                    </a:lnTo>
                    <a:lnTo>
                      <a:pt x="1602" y="678"/>
                    </a:lnTo>
                    <a:lnTo>
                      <a:pt x="1608" y="678"/>
                    </a:lnTo>
                    <a:lnTo>
                      <a:pt x="1614" y="681"/>
                    </a:lnTo>
                    <a:lnTo>
                      <a:pt x="1619" y="679"/>
                    </a:lnTo>
                    <a:lnTo>
                      <a:pt x="1623" y="679"/>
                    </a:lnTo>
                    <a:lnTo>
                      <a:pt x="1627" y="681"/>
                    </a:lnTo>
                    <a:lnTo>
                      <a:pt x="1627" y="679"/>
                    </a:lnTo>
                    <a:lnTo>
                      <a:pt x="1629" y="679"/>
                    </a:lnTo>
                    <a:lnTo>
                      <a:pt x="1629" y="681"/>
                    </a:lnTo>
                    <a:lnTo>
                      <a:pt x="1631" y="679"/>
                    </a:lnTo>
                    <a:lnTo>
                      <a:pt x="1633" y="679"/>
                    </a:lnTo>
                    <a:lnTo>
                      <a:pt x="1629" y="678"/>
                    </a:lnTo>
                    <a:lnTo>
                      <a:pt x="1629" y="676"/>
                    </a:lnTo>
                    <a:lnTo>
                      <a:pt x="1631" y="676"/>
                    </a:lnTo>
                    <a:lnTo>
                      <a:pt x="1631" y="674"/>
                    </a:lnTo>
                    <a:lnTo>
                      <a:pt x="1633" y="676"/>
                    </a:lnTo>
                    <a:lnTo>
                      <a:pt x="1633" y="674"/>
                    </a:lnTo>
                    <a:lnTo>
                      <a:pt x="1634" y="672"/>
                    </a:lnTo>
                    <a:lnTo>
                      <a:pt x="1636" y="674"/>
                    </a:lnTo>
                    <a:lnTo>
                      <a:pt x="1636" y="672"/>
                    </a:lnTo>
                    <a:lnTo>
                      <a:pt x="1640" y="672"/>
                    </a:lnTo>
                    <a:lnTo>
                      <a:pt x="1642" y="674"/>
                    </a:lnTo>
                    <a:lnTo>
                      <a:pt x="1642" y="676"/>
                    </a:lnTo>
                    <a:lnTo>
                      <a:pt x="1638" y="674"/>
                    </a:lnTo>
                    <a:lnTo>
                      <a:pt x="1636" y="674"/>
                    </a:lnTo>
                    <a:lnTo>
                      <a:pt x="1636" y="676"/>
                    </a:lnTo>
                    <a:lnTo>
                      <a:pt x="1640" y="676"/>
                    </a:lnTo>
                    <a:lnTo>
                      <a:pt x="1642" y="679"/>
                    </a:lnTo>
                    <a:lnTo>
                      <a:pt x="1646" y="681"/>
                    </a:lnTo>
                    <a:lnTo>
                      <a:pt x="1648" y="683"/>
                    </a:lnTo>
                    <a:lnTo>
                      <a:pt x="1650" y="681"/>
                    </a:lnTo>
                    <a:lnTo>
                      <a:pt x="1650" y="679"/>
                    </a:lnTo>
                    <a:lnTo>
                      <a:pt x="1652" y="679"/>
                    </a:lnTo>
                    <a:lnTo>
                      <a:pt x="1652" y="676"/>
                    </a:lnTo>
                    <a:lnTo>
                      <a:pt x="1654" y="672"/>
                    </a:lnTo>
                    <a:lnTo>
                      <a:pt x="1652" y="674"/>
                    </a:lnTo>
                    <a:lnTo>
                      <a:pt x="1654" y="674"/>
                    </a:lnTo>
                    <a:lnTo>
                      <a:pt x="1654" y="672"/>
                    </a:lnTo>
                    <a:lnTo>
                      <a:pt x="1655" y="672"/>
                    </a:lnTo>
                    <a:lnTo>
                      <a:pt x="1654" y="668"/>
                    </a:lnTo>
                    <a:lnTo>
                      <a:pt x="1652" y="668"/>
                    </a:lnTo>
                    <a:lnTo>
                      <a:pt x="1655" y="666"/>
                    </a:lnTo>
                    <a:lnTo>
                      <a:pt x="1655" y="668"/>
                    </a:lnTo>
                    <a:lnTo>
                      <a:pt x="1657" y="666"/>
                    </a:lnTo>
                    <a:lnTo>
                      <a:pt x="1655" y="666"/>
                    </a:lnTo>
                    <a:lnTo>
                      <a:pt x="1655" y="664"/>
                    </a:lnTo>
                    <a:lnTo>
                      <a:pt x="1654" y="666"/>
                    </a:lnTo>
                    <a:lnTo>
                      <a:pt x="1654" y="664"/>
                    </a:lnTo>
                    <a:lnTo>
                      <a:pt x="1654" y="662"/>
                    </a:lnTo>
                    <a:lnTo>
                      <a:pt x="1652" y="662"/>
                    </a:lnTo>
                    <a:lnTo>
                      <a:pt x="1654" y="660"/>
                    </a:lnTo>
                    <a:lnTo>
                      <a:pt x="1652" y="660"/>
                    </a:lnTo>
                    <a:lnTo>
                      <a:pt x="1650" y="658"/>
                    </a:lnTo>
                    <a:lnTo>
                      <a:pt x="1654" y="657"/>
                    </a:lnTo>
                    <a:lnTo>
                      <a:pt x="1652" y="657"/>
                    </a:lnTo>
                    <a:lnTo>
                      <a:pt x="1650" y="657"/>
                    </a:lnTo>
                    <a:lnTo>
                      <a:pt x="1650" y="655"/>
                    </a:lnTo>
                    <a:lnTo>
                      <a:pt x="1652" y="655"/>
                    </a:lnTo>
                    <a:lnTo>
                      <a:pt x="1650" y="653"/>
                    </a:lnTo>
                    <a:lnTo>
                      <a:pt x="1652" y="655"/>
                    </a:lnTo>
                    <a:lnTo>
                      <a:pt x="1654" y="655"/>
                    </a:lnTo>
                    <a:lnTo>
                      <a:pt x="1652" y="655"/>
                    </a:lnTo>
                    <a:lnTo>
                      <a:pt x="1652" y="651"/>
                    </a:lnTo>
                    <a:lnTo>
                      <a:pt x="1652" y="653"/>
                    </a:lnTo>
                    <a:lnTo>
                      <a:pt x="1650" y="651"/>
                    </a:lnTo>
                    <a:lnTo>
                      <a:pt x="1652" y="649"/>
                    </a:lnTo>
                    <a:lnTo>
                      <a:pt x="1650" y="647"/>
                    </a:lnTo>
                    <a:lnTo>
                      <a:pt x="1652" y="647"/>
                    </a:lnTo>
                    <a:lnTo>
                      <a:pt x="1652" y="645"/>
                    </a:lnTo>
                    <a:lnTo>
                      <a:pt x="1652" y="647"/>
                    </a:lnTo>
                    <a:lnTo>
                      <a:pt x="1654" y="647"/>
                    </a:lnTo>
                    <a:lnTo>
                      <a:pt x="1652" y="643"/>
                    </a:lnTo>
                    <a:lnTo>
                      <a:pt x="1652" y="641"/>
                    </a:lnTo>
                    <a:lnTo>
                      <a:pt x="1654" y="641"/>
                    </a:lnTo>
                    <a:lnTo>
                      <a:pt x="1652" y="643"/>
                    </a:lnTo>
                    <a:lnTo>
                      <a:pt x="1654" y="643"/>
                    </a:lnTo>
                    <a:lnTo>
                      <a:pt x="1654" y="641"/>
                    </a:lnTo>
                    <a:lnTo>
                      <a:pt x="1654" y="643"/>
                    </a:lnTo>
                    <a:lnTo>
                      <a:pt x="1654" y="641"/>
                    </a:lnTo>
                    <a:lnTo>
                      <a:pt x="1655" y="641"/>
                    </a:lnTo>
                    <a:lnTo>
                      <a:pt x="1654" y="643"/>
                    </a:lnTo>
                    <a:lnTo>
                      <a:pt x="1655" y="641"/>
                    </a:lnTo>
                    <a:lnTo>
                      <a:pt x="1655" y="643"/>
                    </a:lnTo>
                    <a:lnTo>
                      <a:pt x="1657" y="645"/>
                    </a:lnTo>
                    <a:lnTo>
                      <a:pt x="1657" y="643"/>
                    </a:lnTo>
                    <a:lnTo>
                      <a:pt x="1659" y="645"/>
                    </a:lnTo>
                    <a:lnTo>
                      <a:pt x="1659" y="643"/>
                    </a:lnTo>
                    <a:lnTo>
                      <a:pt x="1661" y="643"/>
                    </a:lnTo>
                    <a:lnTo>
                      <a:pt x="1661" y="641"/>
                    </a:lnTo>
                    <a:lnTo>
                      <a:pt x="1663" y="639"/>
                    </a:lnTo>
                    <a:lnTo>
                      <a:pt x="1663" y="638"/>
                    </a:lnTo>
                    <a:lnTo>
                      <a:pt x="1665" y="638"/>
                    </a:lnTo>
                    <a:lnTo>
                      <a:pt x="1663" y="638"/>
                    </a:lnTo>
                    <a:lnTo>
                      <a:pt x="1663" y="639"/>
                    </a:lnTo>
                    <a:lnTo>
                      <a:pt x="1665" y="638"/>
                    </a:lnTo>
                    <a:lnTo>
                      <a:pt x="1663" y="636"/>
                    </a:lnTo>
                    <a:lnTo>
                      <a:pt x="1665" y="636"/>
                    </a:lnTo>
                    <a:lnTo>
                      <a:pt x="1667" y="634"/>
                    </a:lnTo>
                    <a:lnTo>
                      <a:pt x="1667" y="636"/>
                    </a:lnTo>
                    <a:lnTo>
                      <a:pt x="1669" y="634"/>
                    </a:lnTo>
                    <a:lnTo>
                      <a:pt x="1669" y="636"/>
                    </a:lnTo>
                    <a:lnTo>
                      <a:pt x="1671" y="636"/>
                    </a:lnTo>
                    <a:lnTo>
                      <a:pt x="1671" y="638"/>
                    </a:lnTo>
                    <a:lnTo>
                      <a:pt x="1673" y="636"/>
                    </a:lnTo>
                    <a:lnTo>
                      <a:pt x="1673" y="638"/>
                    </a:lnTo>
                    <a:lnTo>
                      <a:pt x="1673" y="639"/>
                    </a:lnTo>
                    <a:lnTo>
                      <a:pt x="1673" y="641"/>
                    </a:lnTo>
                    <a:lnTo>
                      <a:pt x="1673" y="639"/>
                    </a:lnTo>
                    <a:lnTo>
                      <a:pt x="1675" y="638"/>
                    </a:lnTo>
                    <a:lnTo>
                      <a:pt x="1675" y="639"/>
                    </a:lnTo>
                    <a:lnTo>
                      <a:pt x="1676" y="639"/>
                    </a:lnTo>
                    <a:lnTo>
                      <a:pt x="1675" y="639"/>
                    </a:lnTo>
                    <a:lnTo>
                      <a:pt x="1676" y="641"/>
                    </a:lnTo>
                    <a:lnTo>
                      <a:pt x="1676" y="638"/>
                    </a:lnTo>
                    <a:lnTo>
                      <a:pt x="1676" y="643"/>
                    </a:lnTo>
                    <a:lnTo>
                      <a:pt x="1678" y="641"/>
                    </a:lnTo>
                    <a:lnTo>
                      <a:pt x="1678" y="639"/>
                    </a:lnTo>
                    <a:lnTo>
                      <a:pt x="1680" y="641"/>
                    </a:lnTo>
                    <a:lnTo>
                      <a:pt x="1678" y="641"/>
                    </a:lnTo>
                    <a:lnTo>
                      <a:pt x="1678" y="643"/>
                    </a:lnTo>
                    <a:lnTo>
                      <a:pt x="1680" y="641"/>
                    </a:lnTo>
                    <a:lnTo>
                      <a:pt x="1678" y="647"/>
                    </a:lnTo>
                    <a:lnTo>
                      <a:pt x="1680" y="643"/>
                    </a:lnTo>
                    <a:lnTo>
                      <a:pt x="1680" y="649"/>
                    </a:lnTo>
                    <a:lnTo>
                      <a:pt x="1680" y="647"/>
                    </a:lnTo>
                    <a:lnTo>
                      <a:pt x="1680" y="649"/>
                    </a:lnTo>
                    <a:lnTo>
                      <a:pt x="1682" y="647"/>
                    </a:lnTo>
                    <a:lnTo>
                      <a:pt x="1682" y="649"/>
                    </a:lnTo>
                    <a:lnTo>
                      <a:pt x="1682" y="647"/>
                    </a:lnTo>
                    <a:lnTo>
                      <a:pt x="1682" y="645"/>
                    </a:lnTo>
                    <a:lnTo>
                      <a:pt x="1684" y="645"/>
                    </a:lnTo>
                    <a:lnTo>
                      <a:pt x="1682" y="647"/>
                    </a:lnTo>
                    <a:lnTo>
                      <a:pt x="1684" y="649"/>
                    </a:lnTo>
                    <a:lnTo>
                      <a:pt x="1684" y="645"/>
                    </a:lnTo>
                    <a:lnTo>
                      <a:pt x="1684" y="647"/>
                    </a:lnTo>
                    <a:lnTo>
                      <a:pt x="1686" y="647"/>
                    </a:lnTo>
                    <a:lnTo>
                      <a:pt x="1686" y="649"/>
                    </a:lnTo>
                    <a:lnTo>
                      <a:pt x="1686" y="647"/>
                    </a:lnTo>
                    <a:lnTo>
                      <a:pt x="1686" y="649"/>
                    </a:lnTo>
                    <a:lnTo>
                      <a:pt x="1688" y="647"/>
                    </a:lnTo>
                    <a:lnTo>
                      <a:pt x="1688" y="651"/>
                    </a:lnTo>
                    <a:lnTo>
                      <a:pt x="1688" y="653"/>
                    </a:lnTo>
                    <a:lnTo>
                      <a:pt x="1690" y="651"/>
                    </a:lnTo>
                    <a:lnTo>
                      <a:pt x="1690" y="655"/>
                    </a:lnTo>
                    <a:lnTo>
                      <a:pt x="1690" y="653"/>
                    </a:lnTo>
                    <a:lnTo>
                      <a:pt x="1690" y="655"/>
                    </a:lnTo>
                    <a:lnTo>
                      <a:pt x="1690" y="653"/>
                    </a:lnTo>
                    <a:lnTo>
                      <a:pt x="1692" y="655"/>
                    </a:lnTo>
                    <a:lnTo>
                      <a:pt x="1692" y="653"/>
                    </a:lnTo>
                    <a:lnTo>
                      <a:pt x="1690" y="653"/>
                    </a:lnTo>
                    <a:lnTo>
                      <a:pt x="1690" y="651"/>
                    </a:lnTo>
                    <a:lnTo>
                      <a:pt x="1692" y="653"/>
                    </a:lnTo>
                    <a:lnTo>
                      <a:pt x="1692" y="651"/>
                    </a:lnTo>
                    <a:lnTo>
                      <a:pt x="1692" y="649"/>
                    </a:lnTo>
                    <a:lnTo>
                      <a:pt x="1692" y="651"/>
                    </a:lnTo>
                    <a:lnTo>
                      <a:pt x="1694" y="649"/>
                    </a:lnTo>
                    <a:lnTo>
                      <a:pt x="1694" y="651"/>
                    </a:lnTo>
                    <a:lnTo>
                      <a:pt x="1696" y="649"/>
                    </a:lnTo>
                    <a:lnTo>
                      <a:pt x="1696" y="651"/>
                    </a:lnTo>
                    <a:lnTo>
                      <a:pt x="1697" y="647"/>
                    </a:lnTo>
                    <a:lnTo>
                      <a:pt x="1697" y="649"/>
                    </a:lnTo>
                    <a:lnTo>
                      <a:pt x="1697" y="647"/>
                    </a:lnTo>
                    <a:lnTo>
                      <a:pt x="1699" y="649"/>
                    </a:lnTo>
                    <a:lnTo>
                      <a:pt x="1699" y="651"/>
                    </a:lnTo>
                    <a:lnTo>
                      <a:pt x="1699" y="655"/>
                    </a:lnTo>
                    <a:lnTo>
                      <a:pt x="1697" y="657"/>
                    </a:lnTo>
                    <a:lnTo>
                      <a:pt x="1699" y="655"/>
                    </a:lnTo>
                    <a:lnTo>
                      <a:pt x="1699" y="658"/>
                    </a:lnTo>
                    <a:lnTo>
                      <a:pt x="1701" y="657"/>
                    </a:lnTo>
                    <a:lnTo>
                      <a:pt x="1705" y="657"/>
                    </a:lnTo>
                    <a:lnTo>
                      <a:pt x="1705" y="655"/>
                    </a:lnTo>
                    <a:lnTo>
                      <a:pt x="1705" y="653"/>
                    </a:lnTo>
                    <a:lnTo>
                      <a:pt x="1705" y="655"/>
                    </a:lnTo>
                    <a:lnTo>
                      <a:pt x="1707" y="657"/>
                    </a:lnTo>
                    <a:lnTo>
                      <a:pt x="1707" y="655"/>
                    </a:lnTo>
                    <a:lnTo>
                      <a:pt x="1709" y="655"/>
                    </a:lnTo>
                    <a:lnTo>
                      <a:pt x="1709" y="653"/>
                    </a:lnTo>
                    <a:lnTo>
                      <a:pt x="1709" y="649"/>
                    </a:lnTo>
                    <a:lnTo>
                      <a:pt x="1715" y="649"/>
                    </a:lnTo>
                    <a:lnTo>
                      <a:pt x="1715" y="651"/>
                    </a:lnTo>
                    <a:lnTo>
                      <a:pt x="1715" y="653"/>
                    </a:lnTo>
                    <a:lnTo>
                      <a:pt x="1716" y="651"/>
                    </a:lnTo>
                    <a:lnTo>
                      <a:pt x="1716" y="653"/>
                    </a:lnTo>
                    <a:lnTo>
                      <a:pt x="1718" y="651"/>
                    </a:lnTo>
                    <a:lnTo>
                      <a:pt x="1722" y="651"/>
                    </a:lnTo>
                    <a:lnTo>
                      <a:pt x="1722" y="653"/>
                    </a:lnTo>
                    <a:lnTo>
                      <a:pt x="1720" y="655"/>
                    </a:lnTo>
                    <a:lnTo>
                      <a:pt x="1722" y="655"/>
                    </a:lnTo>
                    <a:lnTo>
                      <a:pt x="1724" y="655"/>
                    </a:lnTo>
                    <a:lnTo>
                      <a:pt x="1726" y="655"/>
                    </a:lnTo>
                    <a:lnTo>
                      <a:pt x="1724" y="658"/>
                    </a:lnTo>
                    <a:lnTo>
                      <a:pt x="1726" y="655"/>
                    </a:lnTo>
                    <a:lnTo>
                      <a:pt x="1724" y="658"/>
                    </a:lnTo>
                    <a:lnTo>
                      <a:pt x="1730" y="657"/>
                    </a:lnTo>
                    <a:lnTo>
                      <a:pt x="1732" y="658"/>
                    </a:lnTo>
                    <a:lnTo>
                      <a:pt x="1732" y="660"/>
                    </a:lnTo>
                    <a:lnTo>
                      <a:pt x="1730" y="664"/>
                    </a:lnTo>
                    <a:lnTo>
                      <a:pt x="1732" y="664"/>
                    </a:lnTo>
                    <a:lnTo>
                      <a:pt x="1736" y="664"/>
                    </a:lnTo>
                    <a:lnTo>
                      <a:pt x="1737" y="666"/>
                    </a:lnTo>
                    <a:lnTo>
                      <a:pt x="1737" y="668"/>
                    </a:lnTo>
                    <a:lnTo>
                      <a:pt x="1739" y="668"/>
                    </a:lnTo>
                    <a:lnTo>
                      <a:pt x="1736" y="670"/>
                    </a:lnTo>
                    <a:lnTo>
                      <a:pt x="1737" y="670"/>
                    </a:lnTo>
                    <a:lnTo>
                      <a:pt x="1737" y="672"/>
                    </a:lnTo>
                    <a:lnTo>
                      <a:pt x="1737" y="670"/>
                    </a:lnTo>
                    <a:lnTo>
                      <a:pt x="1739" y="674"/>
                    </a:lnTo>
                    <a:lnTo>
                      <a:pt x="1741" y="672"/>
                    </a:lnTo>
                    <a:lnTo>
                      <a:pt x="1743" y="672"/>
                    </a:lnTo>
                    <a:lnTo>
                      <a:pt x="1745" y="674"/>
                    </a:lnTo>
                    <a:lnTo>
                      <a:pt x="1745" y="676"/>
                    </a:lnTo>
                    <a:lnTo>
                      <a:pt x="1747" y="678"/>
                    </a:lnTo>
                    <a:lnTo>
                      <a:pt x="1747" y="676"/>
                    </a:lnTo>
                    <a:lnTo>
                      <a:pt x="1747" y="678"/>
                    </a:lnTo>
                    <a:lnTo>
                      <a:pt x="1749" y="678"/>
                    </a:lnTo>
                    <a:lnTo>
                      <a:pt x="1749" y="679"/>
                    </a:lnTo>
                    <a:lnTo>
                      <a:pt x="1749" y="681"/>
                    </a:lnTo>
                    <a:lnTo>
                      <a:pt x="1745" y="681"/>
                    </a:lnTo>
                    <a:lnTo>
                      <a:pt x="1743" y="679"/>
                    </a:lnTo>
                    <a:lnTo>
                      <a:pt x="1741" y="679"/>
                    </a:lnTo>
                    <a:lnTo>
                      <a:pt x="1743" y="681"/>
                    </a:lnTo>
                    <a:lnTo>
                      <a:pt x="1745" y="683"/>
                    </a:lnTo>
                    <a:lnTo>
                      <a:pt x="1747" y="685"/>
                    </a:lnTo>
                    <a:lnTo>
                      <a:pt x="1745" y="685"/>
                    </a:lnTo>
                    <a:lnTo>
                      <a:pt x="1745" y="687"/>
                    </a:lnTo>
                    <a:lnTo>
                      <a:pt x="1745" y="689"/>
                    </a:lnTo>
                    <a:lnTo>
                      <a:pt x="1747" y="689"/>
                    </a:lnTo>
                    <a:lnTo>
                      <a:pt x="1747" y="691"/>
                    </a:lnTo>
                    <a:lnTo>
                      <a:pt x="1745" y="689"/>
                    </a:lnTo>
                    <a:lnTo>
                      <a:pt x="1745" y="691"/>
                    </a:lnTo>
                    <a:lnTo>
                      <a:pt x="1743" y="691"/>
                    </a:lnTo>
                    <a:lnTo>
                      <a:pt x="1743" y="693"/>
                    </a:lnTo>
                    <a:lnTo>
                      <a:pt x="1745" y="693"/>
                    </a:lnTo>
                    <a:lnTo>
                      <a:pt x="1745" y="695"/>
                    </a:lnTo>
                    <a:lnTo>
                      <a:pt x="1747" y="695"/>
                    </a:lnTo>
                    <a:lnTo>
                      <a:pt x="1749" y="695"/>
                    </a:lnTo>
                    <a:lnTo>
                      <a:pt x="1749" y="697"/>
                    </a:lnTo>
                    <a:lnTo>
                      <a:pt x="1747" y="699"/>
                    </a:lnTo>
                    <a:lnTo>
                      <a:pt x="1743" y="697"/>
                    </a:lnTo>
                    <a:lnTo>
                      <a:pt x="1745" y="699"/>
                    </a:lnTo>
                    <a:lnTo>
                      <a:pt x="1741" y="697"/>
                    </a:lnTo>
                    <a:lnTo>
                      <a:pt x="1743" y="699"/>
                    </a:lnTo>
                    <a:lnTo>
                      <a:pt x="1741" y="699"/>
                    </a:lnTo>
                    <a:lnTo>
                      <a:pt x="1743" y="700"/>
                    </a:lnTo>
                    <a:lnTo>
                      <a:pt x="1737" y="700"/>
                    </a:lnTo>
                    <a:lnTo>
                      <a:pt x="1737" y="702"/>
                    </a:lnTo>
                    <a:lnTo>
                      <a:pt x="1737" y="704"/>
                    </a:lnTo>
                    <a:lnTo>
                      <a:pt x="1739" y="706"/>
                    </a:lnTo>
                    <a:lnTo>
                      <a:pt x="1743" y="706"/>
                    </a:lnTo>
                    <a:lnTo>
                      <a:pt x="1747" y="708"/>
                    </a:lnTo>
                    <a:lnTo>
                      <a:pt x="1747" y="710"/>
                    </a:lnTo>
                    <a:lnTo>
                      <a:pt x="1749" y="710"/>
                    </a:lnTo>
                    <a:lnTo>
                      <a:pt x="1747" y="712"/>
                    </a:lnTo>
                    <a:lnTo>
                      <a:pt x="1749" y="712"/>
                    </a:lnTo>
                    <a:lnTo>
                      <a:pt x="1749" y="714"/>
                    </a:lnTo>
                    <a:lnTo>
                      <a:pt x="1747" y="716"/>
                    </a:lnTo>
                    <a:lnTo>
                      <a:pt x="1747" y="718"/>
                    </a:lnTo>
                    <a:lnTo>
                      <a:pt x="1749" y="720"/>
                    </a:lnTo>
                    <a:lnTo>
                      <a:pt x="1747" y="720"/>
                    </a:lnTo>
                    <a:lnTo>
                      <a:pt x="1747" y="721"/>
                    </a:lnTo>
                    <a:lnTo>
                      <a:pt x="1747" y="723"/>
                    </a:lnTo>
                    <a:lnTo>
                      <a:pt x="1749" y="721"/>
                    </a:lnTo>
                    <a:lnTo>
                      <a:pt x="1749" y="723"/>
                    </a:lnTo>
                    <a:lnTo>
                      <a:pt x="1749" y="725"/>
                    </a:lnTo>
                    <a:lnTo>
                      <a:pt x="1747" y="723"/>
                    </a:lnTo>
                    <a:lnTo>
                      <a:pt x="1747" y="725"/>
                    </a:lnTo>
                    <a:lnTo>
                      <a:pt x="1745" y="725"/>
                    </a:lnTo>
                    <a:lnTo>
                      <a:pt x="1747" y="725"/>
                    </a:lnTo>
                    <a:lnTo>
                      <a:pt x="1743" y="727"/>
                    </a:lnTo>
                    <a:lnTo>
                      <a:pt x="1741" y="727"/>
                    </a:lnTo>
                    <a:lnTo>
                      <a:pt x="1739" y="729"/>
                    </a:lnTo>
                    <a:lnTo>
                      <a:pt x="1739" y="727"/>
                    </a:lnTo>
                    <a:lnTo>
                      <a:pt x="1737" y="727"/>
                    </a:lnTo>
                    <a:lnTo>
                      <a:pt x="1736" y="727"/>
                    </a:lnTo>
                    <a:lnTo>
                      <a:pt x="1736" y="729"/>
                    </a:lnTo>
                    <a:lnTo>
                      <a:pt x="1734" y="731"/>
                    </a:lnTo>
                    <a:lnTo>
                      <a:pt x="1737" y="735"/>
                    </a:lnTo>
                    <a:lnTo>
                      <a:pt x="1736" y="735"/>
                    </a:lnTo>
                    <a:lnTo>
                      <a:pt x="1734" y="733"/>
                    </a:lnTo>
                    <a:lnTo>
                      <a:pt x="1734" y="731"/>
                    </a:lnTo>
                    <a:lnTo>
                      <a:pt x="1732" y="731"/>
                    </a:lnTo>
                    <a:lnTo>
                      <a:pt x="1732" y="733"/>
                    </a:lnTo>
                    <a:lnTo>
                      <a:pt x="1734" y="737"/>
                    </a:lnTo>
                    <a:lnTo>
                      <a:pt x="1736" y="737"/>
                    </a:lnTo>
                    <a:lnTo>
                      <a:pt x="1736" y="742"/>
                    </a:lnTo>
                    <a:lnTo>
                      <a:pt x="1737" y="742"/>
                    </a:lnTo>
                    <a:lnTo>
                      <a:pt x="1739" y="744"/>
                    </a:lnTo>
                    <a:lnTo>
                      <a:pt x="1743" y="742"/>
                    </a:lnTo>
                    <a:lnTo>
                      <a:pt x="1745" y="741"/>
                    </a:lnTo>
                    <a:lnTo>
                      <a:pt x="1743" y="737"/>
                    </a:lnTo>
                    <a:lnTo>
                      <a:pt x="1741" y="729"/>
                    </a:lnTo>
                    <a:lnTo>
                      <a:pt x="1745" y="737"/>
                    </a:lnTo>
                    <a:lnTo>
                      <a:pt x="1745" y="741"/>
                    </a:lnTo>
                    <a:lnTo>
                      <a:pt x="1749" y="746"/>
                    </a:lnTo>
                    <a:lnTo>
                      <a:pt x="1747" y="744"/>
                    </a:lnTo>
                    <a:lnTo>
                      <a:pt x="1745" y="744"/>
                    </a:lnTo>
                    <a:lnTo>
                      <a:pt x="1739" y="746"/>
                    </a:lnTo>
                    <a:lnTo>
                      <a:pt x="1737" y="748"/>
                    </a:lnTo>
                    <a:lnTo>
                      <a:pt x="1739" y="748"/>
                    </a:lnTo>
                    <a:lnTo>
                      <a:pt x="1739" y="750"/>
                    </a:lnTo>
                    <a:lnTo>
                      <a:pt x="1739" y="752"/>
                    </a:lnTo>
                    <a:lnTo>
                      <a:pt x="1741" y="752"/>
                    </a:lnTo>
                    <a:lnTo>
                      <a:pt x="1743" y="750"/>
                    </a:lnTo>
                    <a:lnTo>
                      <a:pt x="1745" y="754"/>
                    </a:lnTo>
                    <a:lnTo>
                      <a:pt x="1745" y="758"/>
                    </a:lnTo>
                    <a:lnTo>
                      <a:pt x="1747" y="765"/>
                    </a:lnTo>
                    <a:lnTo>
                      <a:pt x="1753" y="769"/>
                    </a:lnTo>
                    <a:lnTo>
                      <a:pt x="1753" y="773"/>
                    </a:lnTo>
                    <a:lnTo>
                      <a:pt x="1755" y="775"/>
                    </a:lnTo>
                    <a:lnTo>
                      <a:pt x="1753" y="775"/>
                    </a:lnTo>
                    <a:lnTo>
                      <a:pt x="1755" y="775"/>
                    </a:lnTo>
                    <a:lnTo>
                      <a:pt x="1757" y="777"/>
                    </a:lnTo>
                    <a:lnTo>
                      <a:pt x="1758" y="777"/>
                    </a:lnTo>
                    <a:lnTo>
                      <a:pt x="1760" y="783"/>
                    </a:lnTo>
                    <a:lnTo>
                      <a:pt x="1762" y="786"/>
                    </a:lnTo>
                    <a:lnTo>
                      <a:pt x="1764" y="786"/>
                    </a:lnTo>
                    <a:lnTo>
                      <a:pt x="1764" y="784"/>
                    </a:lnTo>
                    <a:lnTo>
                      <a:pt x="1766" y="788"/>
                    </a:lnTo>
                    <a:lnTo>
                      <a:pt x="1768" y="788"/>
                    </a:lnTo>
                    <a:lnTo>
                      <a:pt x="1770" y="786"/>
                    </a:lnTo>
                    <a:lnTo>
                      <a:pt x="1770" y="783"/>
                    </a:lnTo>
                    <a:lnTo>
                      <a:pt x="1770" y="784"/>
                    </a:lnTo>
                    <a:lnTo>
                      <a:pt x="1772" y="792"/>
                    </a:lnTo>
                    <a:lnTo>
                      <a:pt x="1774" y="794"/>
                    </a:lnTo>
                    <a:lnTo>
                      <a:pt x="1776" y="794"/>
                    </a:lnTo>
                    <a:lnTo>
                      <a:pt x="1778" y="792"/>
                    </a:lnTo>
                    <a:lnTo>
                      <a:pt x="1783" y="784"/>
                    </a:lnTo>
                    <a:lnTo>
                      <a:pt x="1785" y="779"/>
                    </a:lnTo>
                    <a:lnTo>
                      <a:pt x="1783" y="775"/>
                    </a:lnTo>
                    <a:lnTo>
                      <a:pt x="1785" y="773"/>
                    </a:lnTo>
                    <a:lnTo>
                      <a:pt x="1787" y="767"/>
                    </a:lnTo>
                    <a:lnTo>
                      <a:pt x="1789" y="760"/>
                    </a:lnTo>
                    <a:lnTo>
                      <a:pt x="1791" y="748"/>
                    </a:lnTo>
                    <a:lnTo>
                      <a:pt x="1797" y="737"/>
                    </a:lnTo>
                    <a:lnTo>
                      <a:pt x="1798" y="733"/>
                    </a:lnTo>
                    <a:lnTo>
                      <a:pt x="1800" y="733"/>
                    </a:lnTo>
                    <a:lnTo>
                      <a:pt x="1806" y="733"/>
                    </a:lnTo>
                    <a:lnTo>
                      <a:pt x="1808" y="737"/>
                    </a:lnTo>
                    <a:lnTo>
                      <a:pt x="1810" y="739"/>
                    </a:lnTo>
                    <a:lnTo>
                      <a:pt x="1808" y="735"/>
                    </a:lnTo>
                    <a:lnTo>
                      <a:pt x="1806" y="733"/>
                    </a:lnTo>
                    <a:lnTo>
                      <a:pt x="1804" y="733"/>
                    </a:lnTo>
                    <a:lnTo>
                      <a:pt x="1802" y="735"/>
                    </a:lnTo>
                    <a:lnTo>
                      <a:pt x="1800" y="735"/>
                    </a:lnTo>
                    <a:lnTo>
                      <a:pt x="1800" y="739"/>
                    </a:lnTo>
                    <a:lnTo>
                      <a:pt x="1800" y="741"/>
                    </a:lnTo>
                    <a:lnTo>
                      <a:pt x="1800" y="742"/>
                    </a:lnTo>
                    <a:lnTo>
                      <a:pt x="1802" y="744"/>
                    </a:lnTo>
                    <a:lnTo>
                      <a:pt x="1806" y="750"/>
                    </a:lnTo>
                    <a:lnTo>
                      <a:pt x="1808" y="754"/>
                    </a:lnTo>
                    <a:lnTo>
                      <a:pt x="1812" y="758"/>
                    </a:lnTo>
                    <a:lnTo>
                      <a:pt x="1816" y="760"/>
                    </a:lnTo>
                    <a:lnTo>
                      <a:pt x="1823" y="763"/>
                    </a:lnTo>
                    <a:lnTo>
                      <a:pt x="1827" y="763"/>
                    </a:lnTo>
                    <a:lnTo>
                      <a:pt x="1831" y="762"/>
                    </a:lnTo>
                    <a:lnTo>
                      <a:pt x="1833" y="758"/>
                    </a:lnTo>
                    <a:lnTo>
                      <a:pt x="1837" y="756"/>
                    </a:lnTo>
                    <a:lnTo>
                      <a:pt x="1839" y="754"/>
                    </a:lnTo>
                    <a:lnTo>
                      <a:pt x="1844" y="750"/>
                    </a:lnTo>
                    <a:lnTo>
                      <a:pt x="1846" y="750"/>
                    </a:lnTo>
                    <a:lnTo>
                      <a:pt x="1848" y="750"/>
                    </a:lnTo>
                    <a:lnTo>
                      <a:pt x="1850" y="750"/>
                    </a:lnTo>
                    <a:lnTo>
                      <a:pt x="1860" y="752"/>
                    </a:lnTo>
                    <a:lnTo>
                      <a:pt x="1860" y="754"/>
                    </a:lnTo>
                    <a:lnTo>
                      <a:pt x="1861" y="754"/>
                    </a:lnTo>
                    <a:lnTo>
                      <a:pt x="1867" y="754"/>
                    </a:lnTo>
                    <a:lnTo>
                      <a:pt x="1869" y="752"/>
                    </a:lnTo>
                    <a:lnTo>
                      <a:pt x="1871" y="754"/>
                    </a:lnTo>
                    <a:lnTo>
                      <a:pt x="1869" y="754"/>
                    </a:lnTo>
                    <a:lnTo>
                      <a:pt x="1873" y="752"/>
                    </a:lnTo>
                    <a:lnTo>
                      <a:pt x="1877" y="752"/>
                    </a:lnTo>
                    <a:lnTo>
                      <a:pt x="1879" y="752"/>
                    </a:lnTo>
                    <a:lnTo>
                      <a:pt x="1882" y="752"/>
                    </a:lnTo>
                    <a:lnTo>
                      <a:pt x="1884" y="754"/>
                    </a:lnTo>
                    <a:lnTo>
                      <a:pt x="1880" y="760"/>
                    </a:lnTo>
                    <a:lnTo>
                      <a:pt x="1882" y="762"/>
                    </a:lnTo>
                    <a:lnTo>
                      <a:pt x="1884" y="758"/>
                    </a:lnTo>
                    <a:lnTo>
                      <a:pt x="1886" y="752"/>
                    </a:lnTo>
                    <a:lnTo>
                      <a:pt x="1888" y="752"/>
                    </a:lnTo>
                    <a:lnTo>
                      <a:pt x="1890" y="752"/>
                    </a:lnTo>
                    <a:lnTo>
                      <a:pt x="1890" y="754"/>
                    </a:lnTo>
                    <a:lnTo>
                      <a:pt x="1892" y="754"/>
                    </a:lnTo>
                    <a:lnTo>
                      <a:pt x="1894" y="754"/>
                    </a:lnTo>
                    <a:lnTo>
                      <a:pt x="1894" y="750"/>
                    </a:lnTo>
                    <a:lnTo>
                      <a:pt x="1896" y="750"/>
                    </a:lnTo>
                    <a:lnTo>
                      <a:pt x="1898" y="750"/>
                    </a:lnTo>
                    <a:lnTo>
                      <a:pt x="1900" y="752"/>
                    </a:lnTo>
                    <a:lnTo>
                      <a:pt x="1901" y="752"/>
                    </a:lnTo>
                    <a:lnTo>
                      <a:pt x="1901" y="758"/>
                    </a:lnTo>
                    <a:lnTo>
                      <a:pt x="1903" y="762"/>
                    </a:lnTo>
                    <a:lnTo>
                      <a:pt x="1905" y="760"/>
                    </a:lnTo>
                    <a:lnTo>
                      <a:pt x="1905" y="762"/>
                    </a:lnTo>
                    <a:lnTo>
                      <a:pt x="1907" y="756"/>
                    </a:lnTo>
                    <a:lnTo>
                      <a:pt x="1911" y="758"/>
                    </a:lnTo>
                    <a:lnTo>
                      <a:pt x="1911" y="760"/>
                    </a:lnTo>
                    <a:lnTo>
                      <a:pt x="1913" y="758"/>
                    </a:lnTo>
                    <a:lnTo>
                      <a:pt x="1913" y="760"/>
                    </a:lnTo>
                    <a:lnTo>
                      <a:pt x="1915" y="756"/>
                    </a:lnTo>
                    <a:lnTo>
                      <a:pt x="1915" y="758"/>
                    </a:lnTo>
                    <a:lnTo>
                      <a:pt x="1915" y="756"/>
                    </a:lnTo>
                    <a:lnTo>
                      <a:pt x="1917" y="756"/>
                    </a:lnTo>
                    <a:lnTo>
                      <a:pt x="1915" y="754"/>
                    </a:lnTo>
                    <a:lnTo>
                      <a:pt x="1911" y="746"/>
                    </a:lnTo>
                    <a:lnTo>
                      <a:pt x="1911" y="741"/>
                    </a:lnTo>
                    <a:lnTo>
                      <a:pt x="1911" y="739"/>
                    </a:lnTo>
                    <a:lnTo>
                      <a:pt x="1913" y="739"/>
                    </a:lnTo>
                    <a:lnTo>
                      <a:pt x="1911" y="737"/>
                    </a:lnTo>
                    <a:lnTo>
                      <a:pt x="1911" y="735"/>
                    </a:lnTo>
                    <a:lnTo>
                      <a:pt x="1905" y="733"/>
                    </a:lnTo>
                    <a:lnTo>
                      <a:pt x="1909" y="733"/>
                    </a:lnTo>
                    <a:lnTo>
                      <a:pt x="1911" y="733"/>
                    </a:lnTo>
                    <a:lnTo>
                      <a:pt x="1911" y="731"/>
                    </a:lnTo>
                    <a:lnTo>
                      <a:pt x="1911" y="727"/>
                    </a:lnTo>
                    <a:lnTo>
                      <a:pt x="1913" y="725"/>
                    </a:lnTo>
                    <a:lnTo>
                      <a:pt x="1915" y="721"/>
                    </a:lnTo>
                    <a:lnTo>
                      <a:pt x="1917" y="723"/>
                    </a:lnTo>
                    <a:lnTo>
                      <a:pt x="1921" y="721"/>
                    </a:lnTo>
                    <a:lnTo>
                      <a:pt x="1919" y="720"/>
                    </a:lnTo>
                    <a:lnTo>
                      <a:pt x="1917" y="720"/>
                    </a:lnTo>
                    <a:lnTo>
                      <a:pt x="1917" y="718"/>
                    </a:lnTo>
                    <a:lnTo>
                      <a:pt x="1917" y="720"/>
                    </a:lnTo>
                    <a:lnTo>
                      <a:pt x="1909" y="720"/>
                    </a:lnTo>
                    <a:lnTo>
                      <a:pt x="1905" y="723"/>
                    </a:lnTo>
                    <a:lnTo>
                      <a:pt x="1901" y="721"/>
                    </a:lnTo>
                    <a:lnTo>
                      <a:pt x="1901" y="716"/>
                    </a:lnTo>
                    <a:lnTo>
                      <a:pt x="1903" y="712"/>
                    </a:lnTo>
                    <a:lnTo>
                      <a:pt x="1909" y="704"/>
                    </a:lnTo>
                    <a:lnTo>
                      <a:pt x="1913" y="704"/>
                    </a:lnTo>
                    <a:lnTo>
                      <a:pt x="1917" y="706"/>
                    </a:lnTo>
                    <a:lnTo>
                      <a:pt x="1919" y="706"/>
                    </a:lnTo>
                    <a:lnTo>
                      <a:pt x="1921" y="706"/>
                    </a:lnTo>
                    <a:lnTo>
                      <a:pt x="1924" y="706"/>
                    </a:lnTo>
                    <a:lnTo>
                      <a:pt x="1928" y="702"/>
                    </a:lnTo>
                    <a:lnTo>
                      <a:pt x="1930" y="704"/>
                    </a:lnTo>
                    <a:lnTo>
                      <a:pt x="1930" y="702"/>
                    </a:lnTo>
                    <a:lnTo>
                      <a:pt x="1932" y="700"/>
                    </a:lnTo>
                    <a:lnTo>
                      <a:pt x="1934" y="700"/>
                    </a:lnTo>
                    <a:lnTo>
                      <a:pt x="1936" y="700"/>
                    </a:lnTo>
                    <a:lnTo>
                      <a:pt x="1936" y="699"/>
                    </a:lnTo>
                    <a:lnTo>
                      <a:pt x="1934" y="699"/>
                    </a:lnTo>
                    <a:lnTo>
                      <a:pt x="1934" y="697"/>
                    </a:lnTo>
                    <a:lnTo>
                      <a:pt x="1930" y="693"/>
                    </a:lnTo>
                    <a:lnTo>
                      <a:pt x="1928" y="689"/>
                    </a:lnTo>
                    <a:lnTo>
                      <a:pt x="1928" y="687"/>
                    </a:lnTo>
                    <a:lnTo>
                      <a:pt x="1926" y="687"/>
                    </a:lnTo>
                    <a:lnTo>
                      <a:pt x="1926" y="683"/>
                    </a:lnTo>
                    <a:lnTo>
                      <a:pt x="1928" y="683"/>
                    </a:lnTo>
                    <a:lnTo>
                      <a:pt x="1934" y="685"/>
                    </a:lnTo>
                    <a:lnTo>
                      <a:pt x="1936" y="685"/>
                    </a:lnTo>
                    <a:lnTo>
                      <a:pt x="1938" y="687"/>
                    </a:lnTo>
                    <a:lnTo>
                      <a:pt x="1942" y="691"/>
                    </a:lnTo>
                    <a:lnTo>
                      <a:pt x="1947" y="693"/>
                    </a:lnTo>
                    <a:lnTo>
                      <a:pt x="1957" y="693"/>
                    </a:lnTo>
                    <a:lnTo>
                      <a:pt x="1972" y="695"/>
                    </a:lnTo>
                    <a:lnTo>
                      <a:pt x="1976" y="695"/>
                    </a:lnTo>
                    <a:lnTo>
                      <a:pt x="1980" y="697"/>
                    </a:lnTo>
                    <a:lnTo>
                      <a:pt x="1991" y="699"/>
                    </a:lnTo>
                    <a:lnTo>
                      <a:pt x="2004" y="702"/>
                    </a:lnTo>
                    <a:lnTo>
                      <a:pt x="2023" y="712"/>
                    </a:lnTo>
                    <a:lnTo>
                      <a:pt x="2025" y="712"/>
                    </a:lnTo>
                    <a:lnTo>
                      <a:pt x="2025" y="714"/>
                    </a:lnTo>
                    <a:lnTo>
                      <a:pt x="2027" y="716"/>
                    </a:lnTo>
                    <a:lnTo>
                      <a:pt x="2037" y="714"/>
                    </a:lnTo>
                    <a:lnTo>
                      <a:pt x="2050" y="714"/>
                    </a:lnTo>
                    <a:lnTo>
                      <a:pt x="2064" y="720"/>
                    </a:lnTo>
                    <a:lnTo>
                      <a:pt x="2069" y="723"/>
                    </a:lnTo>
                    <a:lnTo>
                      <a:pt x="2073" y="729"/>
                    </a:lnTo>
                    <a:lnTo>
                      <a:pt x="2075" y="735"/>
                    </a:lnTo>
                    <a:lnTo>
                      <a:pt x="2075" y="737"/>
                    </a:lnTo>
                    <a:lnTo>
                      <a:pt x="2075" y="739"/>
                    </a:lnTo>
                    <a:lnTo>
                      <a:pt x="2067" y="744"/>
                    </a:lnTo>
                    <a:lnTo>
                      <a:pt x="2067" y="739"/>
                    </a:lnTo>
                    <a:lnTo>
                      <a:pt x="2067" y="741"/>
                    </a:lnTo>
                    <a:lnTo>
                      <a:pt x="2065" y="741"/>
                    </a:lnTo>
                    <a:lnTo>
                      <a:pt x="2067" y="739"/>
                    </a:lnTo>
                    <a:lnTo>
                      <a:pt x="2065" y="737"/>
                    </a:lnTo>
                    <a:lnTo>
                      <a:pt x="2064" y="737"/>
                    </a:lnTo>
                    <a:lnTo>
                      <a:pt x="2064" y="739"/>
                    </a:lnTo>
                    <a:lnTo>
                      <a:pt x="2062" y="739"/>
                    </a:lnTo>
                    <a:lnTo>
                      <a:pt x="2062" y="742"/>
                    </a:lnTo>
                    <a:lnTo>
                      <a:pt x="2058" y="744"/>
                    </a:lnTo>
                    <a:lnTo>
                      <a:pt x="2060" y="746"/>
                    </a:lnTo>
                    <a:lnTo>
                      <a:pt x="2062" y="746"/>
                    </a:lnTo>
                    <a:lnTo>
                      <a:pt x="2064" y="746"/>
                    </a:lnTo>
                    <a:lnTo>
                      <a:pt x="2065" y="748"/>
                    </a:lnTo>
                    <a:lnTo>
                      <a:pt x="2067" y="748"/>
                    </a:lnTo>
                    <a:lnTo>
                      <a:pt x="2071" y="748"/>
                    </a:lnTo>
                    <a:lnTo>
                      <a:pt x="2073" y="746"/>
                    </a:lnTo>
                    <a:lnTo>
                      <a:pt x="2075" y="748"/>
                    </a:lnTo>
                    <a:lnTo>
                      <a:pt x="2075" y="750"/>
                    </a:lnTo>
                    <a:lnTo>
                      <a:pt x="2077" y="750"/>
                    </a:lnTo>
                    <a:lnTo>
                      <a:pt x="2077" y="752"/>
                    </a:lnTo>
                    <a:lnTo>
                      <a:pt x="2079" y="750"/>
                    </a:lnTo>
                    <a:lnTo>
                      <a:pt x="2079" y="752"/>
                    </a:lnTo>
                    <a:lnTo>
                      <a:pt x="2081" y="752"/>
                    </a:lnTo>
                    <a:lnTo>
                      <a:pt x="2079" y="754"/>
                    </a:lnTo>
                    <a:lnTo>
                      <a:pt x="2079" y="756"/>
                    </a:lnTo>
                    <a:lnTo>
                      <a:pt x="2083" y="756"/>
                    </a:lnTo>
                    <a:lnTo>
                      <a:pt x="2081" y="754"/>
                    </a:lnTo>
                    <a:lnTo>
                      <a:pt x="2083" y="752"/>
                    </a:lnTo>
                    <a:lnTo>
                      <a:pt x="2085" y="754"/>
                    </a:lnTo>
                    <a:lnTo>
                      <a:pt x="2083" y="754"/>
                    </a:lnTo>
                    <a:lnTo>
                      <a:pt x="2083" y="756"/>
                    </a:lnTo>
                    <a:lnTo>
                      <a:pt x="2085" y="756"/>
                    </a:lnTo>
                    <a:lnTo>
                      <a:pt x="2083" y="756"/>
                    </a:lnTo>
                    <a:lnTo>
                      <a:pt x="2086" y="756"/>
                    </a:lnTo>
                    <a:lnTo>
                      <a:pt x="2085" y="760"/>
                    </a:lnTo>
                    <a:lnTo>
                      <a:pt x="2086" y="758"/>
                    </a:lnTo>
                    <a:lnTo>
                      <a:pt x="2088" y="758"/>
                    </a:lnTo>
                    <a:lnTo>
                      <a:pt x="2088" y="760"/>
                    </a:lnTo>
                    <a:lnTo>
                      <a:pt x="2088" y="762"/>
                    </a:lnTo>
                    <a:lnTo>
                      <a:pt x="2086" y="762"/>
                    </a:lnTo>
                    <a:lnTo>
                      <a:pt x="2086" y="763"/>
                    </a:lnTo>
                    <a:lnTo>
                      <a:pt x="2094" y="762"/>
                    </a:lnTo>
                    <a:lnTo>
                      <a:pt x="2098" y="763"/>
                    </a:lnTo>
                    <a:lnTo>
                      <a:pt x="2102" y="767"/>
                    </a:lnTo>
                    <a:lnTo>
                      <a:pt x="2104" y="769"/>
                    </a:lnTo>
                    <a:lnTo>
                      <a:pt x="2102" y="769"/>
                    </a:lnTo>
                    <a:lnTo>
                      <a:pt x="2104" y="771"/>
                    </a:lnTo>
                    <a:lnTo>
                      <a:pt x="2102" y="771"/>
                    </a:lnTo>
                    <a:lnTo>
                      <a:pt x="2104" y="775"/>
                    </a:lnTo>
                    <a:lnTo>
                      <a:pt x="2107" y="781"/>
                    </a:lnTo>
                    <a:lnTo>
                      <a:pt x="2107" y="783"/>
                    </a:lnTo>
                    <a:lnTo>
                      <a:pt x="2107" y="781"/>
                    </a:lnTo>
                    <a:lnTo>
                      <a:pt x="2105" y="783"/>
                    </a:lnTo>
                    <a:lnTo>
                      <a:pt x="2102" y="781"/>
                    </a:lnTo>
                    <a:lnTo>
                      <a:pt x="2102" y="783"/>
                    </a:lnTo>
                    <a:lnTo>
                      <a:pt x="2104" y="783"/>
                    </a:lnTo>
                    <a:lnTo>
                      <a:pt x="2105" y="783"/>
                    </a:lnTo>
                    <a:lnTo>
                      <a:pt x="2109" y="786"/>
                    </a:lnTo>
                    <a:lnTo>
                      <a:pt x="2111" y="788"/>
                    </a:lnTo>
                    <a:lnTo>
                      <a:pt x="2115" y="790"/>
                    </a:lnTo>
                    <a:lnTo>
                      <a:pt x="2121" y="788"/>
                    </a:lnTo>
                    <a:lnTo>
                      <a:pt x="2125" y="788"/>
                    </a:lnTo>
                    <a:lnTo>
                      <a:pt x="2126" y="788"/>
                    </a:lnTo>
                    <a:lnTo>
                      <a:pt x="2130" y="786"/>
                    </a:lnTo>
                    <a:lnTo>
                      <a:pt x="2132" y="786"/>
                    </a:lnTo>
                    <a:lnTo>
                      <a:pt x="2132" y="788"/>
                    </a:lnTo>
                    <a:lnTo>
                      <a:pt x="2134" y="786"/>
                    </a:lnTo>
                    <a:lnTo>
                      <a:pt x="2136" y="788"/>
                    </a:lnTo>
                    <a:lnTo>
                      <a:pt x="2138" y="786"/>
                    </a:lnTo>
                    <a:lnTo>
                      <a:pt x="2144" y="783"/>
                    </a:lnTo>
                    <a:lnTo>
                      <a:pt x="2153" y="781"/>
                    </a:lnTo>
                    <a:lnTo>
                      <a:pt x="2155" y="779"/>
                    </a:lnTo>
                    <a:lnTo>
                      <a:pt x="2159" y="779"/>
                    </a:lnTo>
                    <a:lnTo>
                      <a:pt x="2163" y="777"/>
                    </a:lnTo>
                    <a:lnTo>
                      <a:pt x="2165" y="779"/>
                    </a:lnTo>
                    <a:lnTo>
                      <a:pt x="2168" y="777"/>
                    </a:lnTo>
                    <a:lnTo>
                      <a:pt x="2178" y="777"/>
                    </a:lnTo>
                    <a:lnTo>
                      <a:pt x="2180" y="777"/>
                    </a:lnTo>
                    <a:lnTo>
                      <a:pt x="2184" y="777"/>
                    </a:lnTo>
                    <a:lnTo>
                      <a:pt x="2191" y="777"/>
                    </a:lnTo>
                    <a:lnTo>
                      <a:pt x="2203" y="781"/>
                    </a:lnTo>
                    <a:lnTo>
                      <a:pt x="2212" y="784"/>
                    </a:lnTo>
                    <a:lnTo>
                      <a:pt x="2220" y="788"/>
                    </a:lnTo>
                    <a:lnTo>
                      <a:pt x="2228" y="796"/>
                    </a:lnTo>
                    <a:lnTo>
                      <a:pt x="2231" y="804"/>
                    </a:lnTo>
                    <a:lnTo>
                      <a:pt x="2233" y="811"/>
                    </a:lnTo>
                    <a:lnTo>
                      <a:pt x="2235" y="817"/>
                    </a:lnTo>
                    <a:lnTo>
                      <a:pt x="2233" y="823"/>
                    </a:lnTo>
                    <a:lnTo>
                      <a:pt x="2233" y="824"/>
                    </a:lnTo>
                    <a:lnTo>
                      <a:pt x="2231" y="826"/>
                    </a:lnTo>
                    <a:lnTo>
                      <a:pt x="2231" y="830"/>
                    </a:lnTo>
                    <a:lnTo>
                      <a:pt x="2228" y="834"/>
                    </a:lnTo>
                    <a:lnTo>
                      <a:pt x="2231" y="838"/>
                    </a:lnTo>
                    <a:lnTo>
                      <a:pt x="2237" y="844"/>
                    </a:lnTo>
                    <a:lnTo>
                      <a:pt x="2235" y="842"/>
                    </a:lnTo>
                    <a:lnTo>
                      <a:pt x="2243" y="845"/>
                    </a:lnTo>
                    <a:lnTo>
                      <a:pt x="2245" y="844"/>
                    </a:lnTo>
                    <a:lnTo>
                      <a:pt x="2247" y="845"/>
                    </a:lnTo>
                    <a:lnTo>
                      <a:pt x="2249" y="845"/>
                    </a:lnTo>
                    <a:lnTo>
                      <a:pt x="2249" y="847"/>
                    </a:lnTo>
                    <a:lnTo>
                      <a:pt x="2250" y="849"/>
                    </a:lnTo>
                    <a:lnTo>
                      <a:pt x="2249" y="851"/>
                    </a:lnTo>
                    <a:lnTo>
                      <a:pt x="2249" y="853"/>
                    </a:lnTo>
                    <a:lnTo>
                      <a:pt x="2249" y="863"/>
                    </a:lnTo>
                    <a:lnTo>
                      <a:pt x="2250" y="865"/>
                    </a:lnTo>
                    <a:lnTo>
                      <a:pt x="2252" y="861"/>
                    </a:lnTo>
                    <a:lnTo>
                      <a:pt x="2252" y="863"/>
                    </a:lnTo>
                    <a:lnTo>
                      <a:pt x="2250" y="857"/>
                    </a:lnTo>
                    <a:lnTo>
                      <a:pt x="2250" y="853"/>
                    </a:lnTo>
                    <a:lnTo>
                      <a:pt x="2256" y="849"/>
                    </a:lnTo>
                    <a:lnTo>
                      <a:pt x="2258" y="845"/>
                    </a:lnTo>
                    <a:lnTo>
                      <a:pt x="2260" y="847"/>
                    </a:lnTo>
                    <a:lnTo>
                      <a:pt x="2260" y="845"/>
                    </a:lnTo>
                    <a:lnTo>
                      <a:pt x="2262" y="844"/>
                    </a:lnTo>
                    <a:lnTo>
                      <a:pt x="2264" y="845"/>
                    </a:lnTo>
                    <a:lnTo>
                      <a:pt x="2264" y="849"/>
                    </a:lnTo>
                    <a:lnTo>
                      <a:pt x="2262" y="849"/>
                    </a:lnTo>
                    <a:lnTo>
                      <a:pt x="2260" y="849"/>
                    </a:lnTo>
                    <a:lnTo>
                      <a:pt x="2258" y="851"/>
                    </a:lnTo>
                    <a:lnTo>
                      <a:pt x="2260" y="853"/>
                    </a:lnTo>
                    <a:lnTo>
                      <a:pt x="2262" y="851"/>
                    </a:lnTo>
                    <a:lnTo>
                      <a:pt x="2266" y="851"/>
                    </a:lnTo>
                    <a:lnTo>
                      <a:pt x="2266" y="849"/>
                    </a:lnTo>
                    <a:lnTo>
                      <a:pt x="2268" y="847"/>
                    </a:lnTo>
                    <a:lnTo>
                      <a:pt x="2268" y="845"/>
                    </a:lnTo>
                    <a:lnTo>
                      <a:pt x="2269" y="845"/>
                    </a:lnTo>
                    <a:lnTo>
                      <a:pt x="2271" y="845"/>
                    </a:lnTo>
                    <a:lnTo>
                      <a:pt x="2271" y="844"/>
                    </a:lnTo>
                    <a:lnTo>
                      <a:pt x="2275" y="844"/>
                    </a:lnTo>
                    <a:lnTo>
                      <a:pt x="2277" y="845"/>
                    </a:lnTo>
                    <a:lnTo>
                      <a:pt x="2279" y="845"/>
                    </a:lnTo>
                    <a:lnTo>
                      <a:pt x="2285" y="842"/>
                    </a:lnTo>
                    <a:lnTo>
                      <a:pt x="2289" y="844"/>
                    </a:lnTo>
                    <a:lnTo>
                      <a:pt x="2290" y="844"/>
                    </a:lnTo>
                    <a:lnTo>
                      <a:pt x="2294" y="844"/>
                    </a:lnTo>
                    <a:lnTo>
                      <a:pt x="2296" y="840"/>
                    </a:lnTo>
                    <a:lnTo>
                      <a:pt x="2298" y="840"/>
                    </a:lnTo>
                    <a:lnTo>
                      <a:pt x="2302" y="844"/>
                    </a:lnTo>
                    <a:lnTo>
                      <a:pt x="2306" y="847"/>
                    </a:lnTo>
                    <a:lnTo>
                      <a:pt x="2311" y="849"/>
                    </a:lnTo>
                    <a:lnTo>
                      <a:pt x="2315" y="847"/>
                    </a:lnTo>
                    <a:lnTo>
                      <a:pt x="2319" y="847"/>
                    </a:lnTo>
                    <a:lnTo>
                      <a:pt x="2325" y="847"/>
                    </a:lnTo>
                    <a:lnTo>
                      <a:pt x="2332" y="851"/>
                    </a:lnTo>
                    <a:lnTo>
                      <a:pt x="2336" y="851"/>
                    </a:lnTo>
                    <a:lnTo>
                      <a:pt x="2340" y="851"/>
                    </a:lnTo>
                    <a:lnTo>
                      <a:pt x="2344" y="853"/>
                    </a:lnTo>
                    <a:lnTo>
                      <a:pt x="2348" y="847"/>
                    </a:lnTo>
                    <a:lnTo>
                      <a:pt x="2355" y="840"/>
                    </a:lnTo>
                    <a:lnTo>
                      <a:pt x="2357" y="840"/>
                    </a:lnTo>
                    <a:lnTo>
                      <a:pt x="2359" y="842"/>
                    </a:lnTo>
                    <a:lnTo>
                      <a:pt x="2361" y="842"/>
                    </a:lnTo>
                    <a:lnTo>
                      <a:pt x="2361" y="844"/>
                    </a:lnTo>
                    <a:lnTo>
                      <a:pt x="2359" y="845"/>
                    </a:lnTo>
                    <a:lnTo>
                      <a:pt x="2363" y="847"/>
                    </a:lnTo>
                    <a:lnTo>
                      <a:pt x="2365" y="849"/>
                    </a:lnTo>
                    <a:lnTo>
                      <a:pt x="2363" y="859"/>
                    </a:lnTo>
                    <a:lnTo>
                      <a:pt x="2365" y="863"/>
                    </a:lnTo>
                    <a:lnTo>
                      <a:pt x="2367" y="865"/>
                    </a:lnTo>
                    <a:lnTo>
                      <a:pt x="2372" y="865"/>
                    </a:lnTo>
                    <a:lnTo>
                      <a:pt x="2374" y="866"/>
                    </a:lnTo>
                    <a:lnTo>
                      <a:pt x="2378" y="870"/>
                    </a:lnTo>
                    <a:lnTo>
                      <a:pt x="2380" y="870"/>
                    </a:lnTo>
                    <a:lnTo>
                      <a:pt x="2382" y="870"/>
                    </a:lnTo>
                    <a:lnTo>
                      <a:pt x="2384" y="872"/>
                    </a:lnTo>
                    <a:lnTo>
                      <a:pt x="2384" y="876"/>
                    </a:lnTo>
                    <a:lnTo>
                      <a:pt x="2384" y="880"/>
                    </a:lnTo>
                    <a:lnTo>
                      <a:pt x="2384" y="882"/>
                    </a:lnTo>
                    <a:lnTo>
                      <a:pt x="2386" y="884"/>
                    </a:lnTo>
                    <a:lnTo>
                      <a:pt x="2388" y="884"/>
                    </a:lnTo>
                    <a:lnTo>
                      <a:pt x="2397" y="882"/>
                    </a:lnTo>
                    <a:lnTo>
                      <a:pt x="2399" y="880"/>
                    </a:lnTo>
                    <a:lnTo>
                      <a:pt x="2405" y="876"/>
                    </a:lnTo>
                    <a:lnTo>
                      <a:pt x="2409" y="872"/>
                    </a:lnTo>
                    <a:lnTo>
                      <a:pt x="2409" y="868"/>
                    </a:lnTo>
                    <a:lnTo>
                      <a:pt x="2409" y="866"/>
                    </a:lnTo>
                    <a:lnTo>
                      <a:pt x="2407" y="866"/>
                    </a:lnTo>
                    <a:lnTo>
                      <a:pt x="2407" y="861"/>
                    </a:lnTo>
                    <a:lnTo>
                      <a:pt x="2405" y="857"/>
                    </a:lnTo>
                    <a:lnTo>
                      <a:pt x="2405" y="853"/>
                    </a:lnTo>
                    <a:lnTo>
                      <a:pt x="2403" y="853"/>
                    </a:lnTo>
                    <a:lnTo>
                      <a:pt x="2403" y="851"/>
                    </a:lnTo>
                    <a:lnTo>
                      <a:pt x="2403" y="847"/>
                    </a:lnTo>
                    <a:lnTo>
                      <a:pt x="2401" y="847"/>
                    </a:lnTo>
                    <a:lnTo>
                      <a:pt x="2397" y="847"/>
                    </a:lnTo>
                    <a:lnTo>
                      <a:pt x="2395" y="847"/>
                    </a:lnTo>
                    <a:lnTo>
                      <a:pt x="2395" y="844"/>
                    </a:lnTo>
                    <a:lnTo>
                      <a:pt x="2397" y="844"/>
                    </a:lnTo>
                    <a:lnTo>
                      <a:pt x="2395" y="844"/>
                    </a:lnTo>
                    <a:lnTo>
                      <a:pt x="2397" y="842"/>
                    </a:lnTo>
                    <a:lnTo>
                      <a:pt x="2401" y="842"/>
                    </a:lnTo>
                    <a:lnTo>
                      <a:pt x="2403" y="840"/>
                    </a:lnTo>
                    <a:lnTo>
                      <a:pt x="2401" y="832"/>
                    </a:lnTo>
                    <a:lnTo>
                      <a:pt x="2401" y="824"/>
                    </a:lnTo>
                    <a:lnTo>
                      <a:pt x="2399" y="823"/>
                    </a:lnTo>
                    <a:lnTo>
                      <a:pt x="2401" y="823"/>
                    </a:lnTo>
                    <a:lnTo>
                      <a:pt x="2405" y="824"/>
                    </a:lnTo>
                    <a:lnTo>
                      <a:pt x="2409" y="824"/>
                    </a:lnTo>
                    <a:lnTo>
                      <a:pt x="2413" y="826"/>
                    </a:lnTo>
                    <a:lnTo>
                      <a:pt x="2416" y="826"/>
                    </a:lnTo>
                    <a:lnTo>
                      <a:pt x="2422" y="828"/>
                    </a:lnTo>
                    <a:lnTo>
                      <a:pt x="2428" y="830"/>
                    </a:lnTo>
                    <a:lnTo>
                      <a:pt x="2432" y="832"/>
                    </a:lnTo>
                    <a:lnTo>
                      <a:pt x="2435" y="830"/>
                    </a:lnTo>
                    <a:lnTo>
                      <a:pt x="2437" y="832"/>
                    </a:lnTo>
                    <a:lnTo>
                      <a:pt x="2443" y="836"/>
                    </a:lnTo>
                    <a:lnTo>
                      <a:pt x="2443" y="834"/>
                    </a:lnTo>
                    <a:lnTo>
                      <a:pt x="2445" y="832"/>
                    </a:lnTo>
                    <a:lnTo>
                      <a:pt x="2447" y="832"/>
                    </a:lnTo>
                    <a:lnTo>
                      <a:pt x="2451" y="834"/>
                    </a:lnTo>
                    <a:lnTo>
                      <a:pt x="2451" y="836"/>
                    </a:lnTo>
                    <a:lnTo>
                      <a:pt x="2453" y="838"/>
                    </a:lnTo>
                    <a:lnTo>
                      <a:pt x="2454" y="836"/>
                    </a:lnTo>
                    <a:lnTo>
                      <a:pt x="2458" y="834"/>
                    </a:lnTo>
                    <a:lnTo>
                      <a:pt x="2460" y="834"/>
                    </a:lnTo>
                    <a:lnTo>
                      <a:pt x="2460" y="836"/>
                    </a:lnTo>
                    <a:lnTo>
                      <a:pt x="2460" y="834"/>
                    </a:lnTo>
                    <a:lnTo>
                      <a:pt x="2464" y="836"/>
                    </a:lnTo>
                    <a:lnTo>
                      <a:pt x="2474" y="836"/>
                    </a:lnTo>
                    <a:lnTo>
                      <a:pt x="2483" y="834"/>
                    </a:lnTo>
                    <a:lnTo>
                      <a:pt x="2487" y="834"/>
                    </a:lnTo>
                    <a:lnTo>
                      <a:pt x="2489" y="834"/>
                    </a:lnTo>
                    <a:lnTo>
                      <a:pt x="2495" y="840"/>
                    </a:lnTo>
                    <a:lnTo>
                      <a:pt x="2502" y="845"/>
                    </a:lnTo>
                    <a:lnTo>
                      <a:pt x="2506" y="847"/>
                    </a:lnTo>
                    <a:lnTo>
                      <a:pt x="2512" y="847"/>
                    </a:lnTo>
                    <a:lnTo>
                      <a:pt x="2517" y="851"/>
                    </a:lnTo>
                    <a:lnTo>
                      <a:pt x="2521" y="853"/>
                    </a:lnTo>
                    <a:lnTo>
                      <a:pt x="2523" y="853"/>
                    </a:lnTo>
                    <a:lnTo>
                      <a:pt x="2523" y="855"/>
                    </a:lnTo>
                    <a:lnTo>
                      <a:pt x="2525" y="853"/>
                    </a:lnTo>
                    <a:lnTo>
                      <a:pt x="2529" y="855"/>
                    </a:lnTo>
                    <a:lnTo>
                      <a:pt x="2533" y="857"/>
                    </a:lnTo>
                    <a:lnTo>
                      <a:pt x="2542" y="865"/>
                    </a:lnTo>
                    <a:lnTo>
                      <a:pt x="2552" y="874"/>
                    </a:lnTo>
                    <a:lnTo>
                      <a:pt x="2550" y="931"/>
                    </a:lnTo>
                    <a:lnTo>
                      <a:pt x="2552" y="1036"/>
                    </a:lnTo>
                    <a:lnTo>
                      <a:pt x="2548" y="1038"/>
                    </a:lnTo>
                    <a:lnTo>
                      <a:pt x="2544" y="1044"/>
                    </a:lnTo>
                    <a:lnTo>
                      <a:pt x="2540" y="1046"/>
                    </a:lnTo>
                    <a:lnTo>
                      <a:pt x="2536" y="1046"/>
                    </a:lnTo>
                    <a:lnTo>
                      <a:pt x="2531" y="1052"/>
                    </a:lnTo>
                    <a:lnTo>
                      <a:pt x="2529" y="1053"/>
                    </a:lnTo>
                    <a:lnTo>
                      <a:pt x="2527" y="1053"/>
                    </a:lnTo>
                    <a:lnTo>
                      <a:pt x="2529" y="1053"/>
                    </a:lnTo>
                    <a:lnTo>
                      <a:pt x="2533" y="1050"/>
                    </a:lnTo>
                    <a:lnTo>
                      <a:pt x="2531" y="1050"/>
                    </a:lnTo>
                    <a:lnTo>
                      <a:pt x="2525" y="1052"/>
                    </a:lnTo>
                    <a:lnTo>
                      <a:pt x="2523" y="1052"/>
                    </a:lnTo>
                    <a:lnTo>
                      <a:pt x="2525" y="1050"/>
                    </a:lnTo>
                    <a:lnTo>
                      <a:pt x="2523" y="1050"/>
                    </a:lnTo>
                    <a:lnTo>
                      <a:pt x="2521" y="1050"/>
                    </a:lnTo>
                    <a:lnTo>
                      <a:pt x="2519" y="1050"/>
                    </a:lnTo>
                    <a:lnTo>
                      <a:pt x="2514" y="1048"/>
                    </a:lnTo>
                    <a:lnTo>
                      <a:pt x="2514" y="1046"/>
                    </a:lnTo>
                    <a:lnTo>
                      <a:pt x="2512" y="1046"/>
                    </a:lnTo>
                    <a:lnTo>
                      <a:pt x="2512" y="1044"/>
                    </a:lnTo>
                    <a:lnTo>
                      <a:pt x="2512" y="1046"/>
                    </a:lnTo>
                    <a:lnTo>
                      <a:pt x="2510" y="1044"/>
                    </a:lnTo>
                    <a:lnTo>
                      <a:pt x="2512" y="1044"/>
                    </a:lnTo>
                    <a:lnTo>
                      <a:pt x="2512" y="1042"/>
                    </a:lnTo>
                    <a:lnTo>
                      <a:pt x="2512" y="1040"/>
                    </a:lnTo>
                    <a:lnTo>
                      <a:pt x="2508" y="1040"/>
                    </a:lnTo>
                    <a:lnTo>
                      <a:pt x="2508" y="1042"/>
                    </a:lnTo>
                    <a:lnTo>
                      <a:pt x="2510" y="1044"/>
                    </a:lnTo>
                    <a:lnTo>
                      <a:pt x="2504" y="1046"/>
                    </a:lnTo>
                    <a:lnTo>
                      <a:pt x="2502" y="1044"/>
                    </a:lnTo>
                    <a:lnTo>
                      <a:pt x="2500" y="1044"/>
                    </a:lnTo>
                    <a:lnTo>
                      <a:pt x="2500" y="1042"/>
                    </a:lnTo>
                    <a:lnTo>
                      <a:pt x="2498" y="1042"/>
                    </a:lnTo>
                    <a:lnTo>
                      <a:pt x="2496" y="1044"/>
                    </a:lnTo>
                    <a:lnTo>
                      <a:pt x="2495" y="1044"/>
                    </a:lnTo>
                    <a:lnTo>
                      <a:pt x="2495" y="1042"/>
                    </a:lnTo>
                    <a:lnTo>
                      <a:pt x="2493" y="1042"/>
                    </a:lnTo>
                    <a:lnTo>
                      <a:pt x="2491" y="1042"/>
                    </a:lnTo>
                    <a:lnTo>
                      <a:pt x="2493" y="1046"/>
                    </a:lnTo>
                    <a:lnTo>
                      <a:pt x="2495" y="1048"/>
                    </a:lnTo>
                    <a:lnTo>
                      <a:pt x="2495" y="1050"/>
                    </a:lnTo>
                    <a:lnTo>
                      <a:pt x="2496" y="1050"/>
                    </a:lnTo>
                    <a:lnTo>
                      <a:pt x="2498" y="1052"/>
                    </a:lnTo>
                    <a:lnTo>
                      <a:pt x="2500" y="1053"/>
                    </a:lnTo>
                    <a:lnTo>
                      <a:pt x="2502" y="1052"/>
                    </a:lnTo>
                    <a:lnTo>
                      <a:pt x="2504" y="1048"/>
                    </a:lnTo>
                    <a:lnTo>
                      <a:pt x="2506" y="1048"/>
                    </a:lnTo>
                    <a:lnTo>
                      <a:pt x="2510" y="1046"/>
                    </a:lnTo>
                    <a:lnTo>
                      <a:pt x="2510" y="1048"/>
                    </a:lnTo>
                    <a:lnTo>
                      <a:pt x="2512" y="1046"/>
                    </a:lnTo>
                    <a:lnTo>
                      <a:pt x="2512" y="1052"/>
                    </a:lnTo>
                    <a:lnTo>
                      <a:pt x="2510" y="1052"/>
                    </a:lnTo>
                    <a:lnTo>
                      <a:pt x="2510" y="1053"/>
                    </a:lnTo>
                    <a:lnTo>
                      <a:pt x="2510" y="1055"/>
                    </a:lnTo>
                    <a:lnTo>
                      <a:pt x="2512" y="1059"/>
                    </a:lnTo>
                    <a:lnTo>
                      <a:pt x="2517" y="1065"/>
                    </a:lnTo>
                    <a:lnTo>
                      <a:pt x="2519" y="1067"/>
                    </a:lnTo>
                    <a:lnTo>
                      <a:pt x="2523" y="1067"/>
                    </a:lnTo>
                    <a:lnTo>
                      <a:pt x="2521" y="1065"/>
                    </a:lnTo>
                    <a:lnTo>
                      <a:pt x="2525" y="1063"/>
                    </a:lnTo>
                    <a:lnTo>
                      <a:pt x="2525" y="1061"/>
                    </a:lnTo>
                    <a:lnTo>
                      <a:pt x="2523" y="1059"/>
                    </a:lnTo>
                    <a:lnTo>
                      <a:pt x="2523" y="1057"/>
                    </a:lnTo>
                    <a:lnTo>
                      <a:pt x="2523" y="1059"/>
                    </a:lnTo>
                    <a:lnTo>
                      <a:pt x="2527" y="1067"/>
                    </a:lnTo>
                    <a:lnTo>
                      <a:pt x="2531" y="1074"/>
                    </a:lnTo>
                    <a:lnTo>
                      <a:pt x="2533" y="1086"/>
                    </a:lnTo>
                    <a:lnTo>
                      <a:pt x="2533" y="1090"/>
                    </a:lnTo>
                    <a:lnTo>
                      <a:pt x="2533" y="1095"/>
                    </a:lnTo>
                    <a:lnTo>
                      <a:pt x="2536" y="1101"/>
                    </a:lnTo>
                    <a:lnTo>
                      <a:pt x="2540" y="1103"/>
                    </a:lnTo>
                    <a:lnTo>
                      <a:pt x="2542" y="1105"/>
                    </a:lnTo>
                    <a:lnTo>
                      <a:pt x="2542" y="1107"/>
                    </a:lnTo>
                    <a:lnTo>
                      <a:pt x="2540" y="1109"/>
                    </a:lnTo>
                    <a:lnTo>
                      <a:pt x="2540" y="1111"/>
                    </a:lnTo>
                    <a:lnTo>
                      <a:pt x="2540" y="1115"/>
                    </a:lnTo>
                    <a:lnTo>
                      <a:pt x="2544" y="1115"/>
                    </a:lnTo>
                    <a:lnTo>
                      <a:pt x="2544" y="1116"/>
                    </a:lnTo>
                    <a:lnTo>
                      <a:pt x="2546" y="1120"/>
                    </a:lnTo>
                    <a:lnTo>
                      <a:pt x="2544" y="1122"/>
                    </a:lnTo>
                    <a:lnTo>
                      <a:pt x="2542" y="1124"/>
                    </a:lnTo>
                    <a:lnTo>
                      <a:pt x="2542" y="1126"/>
                    </a:lnTo>
                    <a:lnTo>
                      <a:pt x="2540" y="1128"/>
                    </a:lnTo>
                    <a:lnTo>
                      <a:pt x="2538" y="1128"/>
                    </a:lnTo>
                    <a:lnTo>
                      <a:pt x="2536" y="1128"/>
                    </a:lnTo>
                    <a:lnTo>
                      <a:pt x="2536" y="1130"/>
                    </a:lnTo>
                    <a:lnTo>
                      <a:pt x="2538" y="1132"/>
                    </a:lnTo>
                    <a:lnTo>
                      <a:pt x="2538" y="1134"/>
                    </a:lnTo>
                    <a:lnTo>
                      <a:pt x="2536" y="1136"/>
                    </a:lnTo>
                    <a:lnTo>
                      <a:pt x="2536" y="1134"/>
                    </a:lnTo>
                    <a:lnTo>
                      <a:pt x="2525" y="1128"/>
                    </a:lnTo>
                    <a:lnTo>
                      <a:pt x="2521" y="1128"/>
                    </a:lnTo>
                    <a:lnTo>
                      <a:pt x="2521" y="1126"/>
                    </a:lnTo>
                    <a:lnTo>
                      <a:pt x="2512" y="1126"/>
                    </a:lnTo>
                    <a:lnTo>
                      <a:pt x="2506" y="1126"/>
                    </a:lnTo>
                    <a:lnTo>
                      <a:pt x="2502" y="1126"/>
                    </a:lnTo>
                    <a:lnTo>
                      <a:pt x="2496" y="1130"/>
                    </a:lnTo>
                    <a:lnTo>
                      <a:pt x="2491" y="1136"/>
                    </a:lnTo>
                    <a:lnTo>
                      <a:pt x="2487" y="1136"/>
                    </a:lnTo>
                    <a:lnTo>
                      <a:pt x="2481" y="1139"/>
                    </a:lnTo>
                    <a:lnTo>
                      <a:pt x="2477" y="1141"/>
                    </a:lnTo>
                    <a:lnTo>
                      <a:pt x="2475" y="1143"/>
                    </a:lnTo>
                    <a:lnTo>
                      <a:pt x="2470" y="1145"/>
                    </a:lnTo>
                    <a:lnTo>
                      <a:pt x="2468" y="1147"/>
                    </a:lnTo>
                    <a:lnTo>
                      <a:pt x="2468" y="1149"/>
                    </a:lnTo>
                    <a:lnTo>
                      <a:pt x="2466" y="1151"/>
                    </a:lnTo>
                    <a:lnTo>
                      <a:pt x="2464" y="1151"/>
                    </a:lnTo>
                    <a:lnTo>
                      <a:pt x="2462" y="1151"/>
                    </a:lnTo>
                    <a:lnTo>
                      <a:pt x="2460" y="1151"/>
                    </a:lnTo>
                    <a:lnTo>
                      <a:pt x="2458" y="1151"/>
                    </a:lnTo>
                    <a:lnTo>
                      <a:pt x="2460" y="1151"/>
                    </a:lnTo>
                    <a:lnTo>
                      <a:pt x="2458" y="1149"/>
                    </a:lnTo>
                    <a:lnTo>
                      <a:pt x="2456" y="1151"/>
                    </a:lnTo>
                    <a:lnTo>
                      <a:pt x="2456" y="1153"/>
                    </a:lnTo>
                    <a:lnTo>
                      <a:pt x="2458" y="1151"/>
                    </a:lnTo>
                    <a:lnTo>
                      <a:pt x="2456" y="1153"/>
                    </a:lnTo>
                    <a:lnTo>
                      <a:pt x="2456" y="1155"/>
                    </a:lnTo>
                    <a:lnTo>
                      <a:pt x="2454" y="1155"/>
                    </a:lnTo>
                    <a:lnTo>
                      <a:pt x="2453" y="1157"/>
                    </a:lnTo>
                    <a:lnTo>
                      <a:pt x="2453" y="1155"/>
                    </a:lnTo>
                    <a:lnTo>
                      <a:pt x="2451" y="1155"/>
                    </a:lnTo>
                    <a:lnTo>
                      <a:pt x="2451" y="1153"/>
                    </a:lnTo>
                    <a:lnTo>
                      <a:pt x="2449" y="1153"/>
                    </a:lnTo>
                    <a:lnTo>
                      <a:pt x="2447" y="1155"/>
                    </a:lnTo>
                    <a:lnTo>
                      <a:pt x="2447" y="1160"/>
                    </a:lnTo>
                    <a:lnTo>
                      <a:pt x="2445" y="1160"/>
                    </a:lnTo>
                    <a:lnTo>
                      <a:pt x="2445" y="1162"/>
                    </a:lnTo>
                    <a:lnTo>
                      <a:pt x="2443" y="1164"/>
                    </a:lnTo>
                    <a:lnTo>
                      <a:pt x="2441" y="1164"/>
                    </a:lnTo>
                    <a:lnTo>
                      <a:pt x="2439" y="1162"/>
                    </a:lnTo>
                    <a:lnTo>
                      <a:pt x="2435" y="1164"/>
                    </a:lnTo>
                    <a:lnTo>
                      <a:pt x="2439" y="1166"/>
                    </a:lnTo>
                    <a:lnTo>
                      <a:pt x="2439" y="1168"/>
                    </a:lnTo>
                    <a:lnTo>
                      <a:pt x="2437" y="1168"/>
                    </a:lnTo>
                    <a:lnTo>
                      <a:pt x="2435" y="1166"/>
                    </a:lnTo>
                    <a:lnTo>
                      <a:pt x="2433" y="1168"/>
                    </a:lnTo>
                    <a:lnTo>
                      <a:pt x="2437" y="1168"/>
                    </a:lnTo>
                    <a:lnTo>
                      <a:pt x="2435" y="1170"/>
                    </a:lnTo>
                    <a:lnTo>
                      <a:pt x="2433" y="1172"/>
                    </a:lnTo>
                    <a:lnTo>
                      <a:pt x="2432" y="1172"/>
                    </a:lnTo>
                    <a:lnTo>
                      <a:pt x="2430" y="1170"/>
                    </a:lnTo>
                    <a:lnTo>
                      <a:pt x="2430" y="1172"/>
                    </a:lnTo>
                    <a:lnTo>
                      <a:pt x="2432" y="1174"/>
                    </a:lnTo>
                    <a:lnTo>
                      <a:pt x="2430" y="1174"/>
                    </a:lnTo>
                    <a:lnTo>
                      <a:pt x="2428" y="1174"/>
                    </a:lnTo>
                    <a:lnTo>
                      <a:pt x="2430" y="1174"/>
                    </a:lnTo>
                    <a:lnTo>
                      <a:pt x="2432" y="1174"/>
                    </a:lnTo>
                    <a:lnTo>
                      <a:pt x="2430" y="1176"/>
                    </a:lnTo>
                    <a:lnTo>
                      <a:pt x="2432" y="1176"/>
                    </a:lnTo>
                    <a:lnTo>
                      <a:pt x="2430" y="1177"/>
                    </a:lnTo>
                    <a:lnTo>
                      <a:pt x="2428" y="1177"/>
                    </a:lnTo>
                    <a:lnTo>
                      <a:pt x="2426" y="1176"/>
                    </a:lnTo>
                    <a:lnTo>
                      <a:pt x="2424" y="1174"/>
                    </a:lnTo>
                    <a:lnTo>
                      <a:pt x="2426" y="1176"/>
                    </a:lnTo>
                    <a:lnTo>
                      <a:pt x="2426" y="1177"/>
                    </a:lnTo>
                    <a:lnTo>
                      <a:pt x="2428" y="1179"/>
                    </a:lnTo>
                    <a:lnTo>
                      <a:pt x="2426" y="1179"/>
                    </a:lnTo>
                    <a:lnTo>
                      <a:pt x="2426" y="1183"/>
                    </a:lnTo>
                    <a:lnTo>
                      <a:pt x="2424" y="1181"/>
                    </a:lnTo>
                    <a:lnTo>
                      <a:pt x="2424" y="1183"/>
                    </a:lnTo>
                    <a:lnTo>
                      <a:pt x="2422" y="1183"/>
                    </a:lnTo>
                    <a:lnTo>
                      <a:pt x="2420" y="1183"/>
                    </a:lnTo>
                    <a:lnTo>
                      <a:pt x="2418" y="1185"/>
                    </a:lnTo>
                    <a:lnTo>
                      <a:pt x="2418" y="1187"/>
                    </a:lnTo>
                    <a:lnTo>
                      <a:pt x="2416" y="1187"/>
                    </a:lnTo>
                    <a:lnTo>
                      <a:pt x="2414" y="1189"/>
                    </a:lnTo>
                    <a:lnTo>
                      <a:pt x="2414" y="1191"/>
                    </a:lnTo>
                    <a:lnTo>
                      <a:pt x="2413" y="1191"/>
                    </a:lnTo>
                    <a:lnTo>
                      <a:pt x="2411" y="1193"/>
                    </a:lnTo>
                    <a:lnTo>
                      <a:pt x="2409" y="1193"/>
                    </a:lnTo>
                    <a:lnTo>
                      <a:pt x="2407" y="1195"/>
                    </a:lnTo>
                    <a:lnTo>
                      <a:pt x="2405" y="1197"/>
                    </a:lnTo>
                    <a:lnTo>
                      <a:pt x="2403" y="1197"/>
                    </a:lnTo>
                    <a:lnTo>
                      <a:pt x="2403" y="1198"/>
                    </a:lnTo>
                    <a:lnTo>
                      <a:pt x="2403" y="1200"/>
                    </a:lnTo>
                    <a:lnTo>
                      <a:pt x="2401" y="1200"/>
                    </a:lnTo>
                    <a:lnTo>
                      <a:pt x="2401" y="1202"/>
                    </a:lnTo>
                    <a:lnTo>
                      <a:pt x="2399" y="1204"/>
                    </a:lnTo>
                    <a:lnTo>
                      <a:pt x="2399" y="1210"/>
                    </a:lnTo>
                    <a:lnTo>
                      <a:pt x="2399" y="1212"/>
                    </a:lnTo>
                    <a:lnTo>
                      <a:pt x="2397" y="1212"/>
                    </a:lnTo>
                    <a:lnTo>
                      <a:pt x="2395" y="1212"/>
                    </a:lnTo>
                    <a:lnTo>
                      <a:pt x="2393" y="1210"/>
                    </a:lnTo>
                    <a:lnTo>
                      <a:pt x="2395" y="1210"/>
                    </a:lnTo>
                    <a:lnTo>
                      <a:pt x="2393" y="1208"/>
                    </a:lnTo>
                    <a:lnTo>
                      <a:pt x="2392" y="1208"/>
                    </a:lnTo>
                    <a:lnTo>
                      <a:pt x="2392" y="1204"/>
                    </a:lnTo>
                    <a:lnTo>
                      <a:pt x="2390" y="1204"/>
                    </a:lnTo>
                    <a:lnTo>
                      <a:pt x="2390" y="1202"/>
                    </a:lnTo>
                    <a:lnTo>
                      <a:pt x="2390" y="1200"/>
                    </a:lnTo>
                    <a:lnTo>
                      <a:pt x="2388" y="1200"/>
                    </a:lnTo>
                    <a:lnTo>
                      <a:pt x="2388" y="1198"/>
                    </a:lnTo>
                    <a:lnTo>
                      <a:pt x="2388" y="1197"/>
                    </a:lnTo>
                    <a:lnTo>
                      <a:pt x="2386" y="1197"/>
                    </a:lnTo>
                    <a:lnTo>
                      <a:pt x="2384" y="1195"/>
                    </a:lnTo>
                    <a:lnTo>
                      <a:pt x="2382" y="1193"/>
                    </a:lnTo>
                    <a:lnTo>
                      <a:pt x="2378" y="1191"/>
                    </a:lnTo>
                    <a:lnTo>
                      <a:pt x="2372" y="1191"/>
                    </a:lnTo>
                    <a:lnTo>
                      <a:pt x="2372" y="1193"/>
                    </a:lnTo>
                    <a:lnTo>
                      <a:pt x="2371" y="1193"/>
                    </a:lnTo>
                    <a:lnTo>
                      <a:pt x="2369" y="1191"/>
                    </a:lnTo>
                    <a:lnTo>
                      <a:pt x="2367" y="1191"/>
                    </a:lnTo>
                    <a:lnTo>
                      <a:pt x="2361" y="1191"/>
                    </a:lnTo>
                    <a:lnTo>
                      <a:pt x="2359" y="1193"/>
                    </a:lnTo>
                    <a:lnTo>
                      <a:pt x="2357" y="1193"/>
                    </a:lnTo>
                    <a:lnTo>
                      <a:pt x="2357" y="1195"/>
                    </a:lnTo>
                    <a:lnTo>
                      <a:pt x="2355" y="1195"/>
                    </a:lnTo>
                    <a:lnTo>
                      <a:pt x="2353" y="1195"/>
                    </a:lnTo>
                    <a:lnTo>
                      <a:pt x="2351" y="1197"/>
                    </a:lnTo>
                    <a:lnTo>
                      <a:pt x="2350" y="1197"/>
                    </a:lnTo>
                    <a:lnTo>
                      <a:pt x="2350" y="1198"/>
                    </a:lnTo>
                    <a:lnTo>
                      <a:pt x="2350" y="1197"/>
                    </a:lnTo>
                    <a:lnTo>
                      <a:pt x="2350" y="1198"/>
                    </a:lnTo>
                    <a:lnTo>
                      <a:pt x="2348" y="1198"/>
                    </a:lnTo>
                    <a:lnTo>
                      <a:pt x="2346" y="1198"/>
                    </a:lnTo>
                    <a:lnTo>
                      <a:pt x="2346" y="1197"/>
                    </a:lnTo>
                    <a:lnTo>
                      <a:pt x="2346" y="1198"/>
                    </a:lnTo>
                    <a:lnTo>
                      <a:pt x="2346" y="1200"/>
                    </a:lnTo>
                    <a:lnTo>
                      <a:pt x="2344" y="1200"/>
                    </a:lnTo>
                    <a:lnTo>
                      <a:pt x="2342" y="1202"/>
                    </a:lnTo>
                    <a:lnTo>
                      <a:pt x="2340" y="1206"/>
                    </a:lnTo>
                    <a:lnTo>
                      <a:pt x="2334" y="1212"/>
                    </a:lnTo>
                    <a:lnTo>
                      <a:pt x="2334" y="1214"/>
                    </a:lnTo>
                    <a:lnTo>
                      <a:pt x="2332" y="1216"/>
                    </a:lnTo>
                    <a:lnTo>
                      <a:pt x="2331" y="1216"/>
                    </a:lnTo>
                    <a:lnTo>
                      <a:pt x="2331" y="1214"/>
                    </a:lnTo>
                    <a:lnTo>
                      <a:pt x="2331" y="1210"/>
                    </a:lnTo>
                    <a:lnTo>
                      <a:pt x="2332" y="1206"/>
                    </a:lnTo>
                    <a:lnTo>
                      <a:pt x="2332" y="1204"/>
                    </a:lnTo>
                    <a:lnTo>
                      <a:pt x="2332" y="1202"/>
                    </a:lnTo>
                    <a:lnTo>
                      <a:pt x="2332" y="1198"/>
                    </a:lnTo>
                    <a:lnTo>
                      <a:pt x="2334" y="1198"/>
                    </a:lnTo>
                    <a:lnTo>
                      <a:pt x="2334" y="1197"/>
                    </a:lnTo>
                    <a:lnTo>
                      <a:pt x="2334" y="1195"/>
                    </a:lnTo>
                    <a:lnTo>
                      <a:pt x="2332" y="1195"/>
                    </a:lnTo>
                    <a:lnTo>
                      <a:pt x="2331" y="1195"/>
                    </a:lnTo>
                    <a:lnTo>
                      <a:pt x="2332" y="1195"/>
                    </a:lnTo>
                    <a:lnTo>
                      <a:pt x="2331" y="1197"/>
                    </a:lnTo>
                    <a:lnTo>
                      <a:pt x="2329" y="1198"/>
                    </a:lnTo>
                    <a:lnTo>
                      <a:pt x="2327" y="1200"/>
                    </a:lnTo>
                    <a:lnTo>
                      <a:pt x="2325" y="1200"/>
                    </a:lnTo>
                    <a:lnTo>
                      <a:pt x="2319" y="1204"/>
                    </a:lnTo>
                    <a:lnTo>
                      <a:pt x="2315" y="1206"/>
                    </a:lnTo>
                    <a:lnTo>
                      <a:pt x="2313" y="1206"/>
                    </a:lnTo>
                    <a:lnTo>
                      <a:pt x="2313" y="1208"/>
                    </a:lnTo>
                    <a:lnTo>
                      <a:pt x="2315" y="1206"/>
                    </a:lnTo>
                    <a:lnTo>
                      <a:pt x="2315" y="1208"/>
                    </a:lnTo>
                    <a:lnTo>
                      <a:pt x="2315" y="1210"/>
                    </a:lnTo>
                    <a:lnTo>
                      <a:pt x="2317" y="1210"/>
                    </a:lnTo>
                    <a:lnTo>
                      <a:pt x="2315" y="1210"/>
                    </a:lnTo>
                    <a:lnTo>
                      <a:pt x="2313" y="1214"/>
                    </a:lnTo>
                    <a:lnTo>
                      <a:pt x="2311" y="1216"/>
                    </a:lnTo>
                    <a:lnTo>
                      <a:pt x="2310" y="1218"/>
                    </a:lnTo>
                    <a:lnTo>
                      <a:pt x="2310" y="1216"/>
                    </a:lnTo>
                    <a:lnTo>
                      <a:pt x="2310" y="1212"/>
                    </a:lnTo>
                    <a:lnTo>
                      <a:pt x="2308" y="1210"/>
                    </a:lnTo>
                    <a:lnTo>
                      <a:pt x="2306" y="1210"/>
                    </a:lnTo>
                    <a:lnTo>
                      <a:pt x="2306" y="1208"/>
                    </a:lnTo>
                    <a:lnTo>
                      <a:pt x="2304" y="1206"/>
                    </a:lnTo>
                    <a:lnTo>
                      <a:pt x="2302" y="1206"/>
                    </a:lnTo>
                    <a:lnTo>
                      <a:pt x="2302" y="1208"/>
                    </a:lnTo>
                    <a:lnTo>
                      <a:pt x="2302" y="1206"/>
                    </a:lnTo>
                    <a:lnTo>
                      <a:pt x="2302" y="1208"/>
                    </a:lnTo>
                    <a:lnTo>
                      <a:pt x="2302" y="1210"/>
                    </a:lnTo>
                    <a:lnTo>
                      <a:pt x="2300" y="1210"/>
                    </a:lnTo>
                    <a:lnTo>
                      <a:pt x="2298" y="1212"/>
                    </a:lnTo>
                    <a:lnTo>
                      <a:pt x="2298" y="1214"/>
                    </a:lnTo>
                    <a:lnTo>
                      <a:pt x="2300" y="1214"/>
                    </a:lnTo>
                    <a:lnTo>
                      <a:pt x="2298" y="1214"/>
                    </a:lnTo>
                    <a:lnTo>
                      <a:pt x="2300" y="1210"/>
                    </a:lnTo>
                    <a:lnTo>
                      <a:pt x="2302" y="1210"/>
                    </a:lnTo>
                    <a:lnTo>
                      <a:pt x="2300" y="1210"/>
                    </a:lnTo>
                    <a:lnTo>
                      <a:pt x="2298" y="1210"/>
                    </a:lnTo>
                    <a:lnTo>
                      <a:pt x="2296" y="1210"/>
                    </a:lnTo>
                    <a:lnTo>
                      <a:pt x="2296" y="1208"/>
                    </a:lnTo>
                    <a:lnTo>
                      <a:pt x="2296" y="1210"/>
                    </a:lnTo>
                    <a:lnTo>
                      <a:pt x="2294" y="1210"/>
                    </a:lnTo>
                    <a:lnTo>
                      <a:pt x="2292" y="1214"/>
                    </a:lnTo>
                    <a:lnTo>
                      <a:pt x="2290" y="1214"/>
                    </a:lnTo>
                    <a:lnTo>
                      <a:pt x="2289" y="1214"/>
                    </a:lnTo>
                    <a:lnTo>
                      <a:pt x="2287" y="1218"/>
                    </a:lnTo>
                    <a:lnTo>
                      <a:pt x="2287" y="1221"/>
                    </a:lnTo>
                    <a:lnTo>
                      <a:pt x="2287" y="1223"/>
                    </a:lnTo>
                    <a:lnTo>
                      <a:pt x="2285" y="1223"/>
                    </a:lnTo>
                    <a:lnTo>
                      <a:pt x="2285" y="1225"/>
                    </a:lnTo>
                    <a:lnTo>
                      <a:pt x="2285" y="1223"/>
                    </a:lnTo>
                    <a:lnTo>
                      <a:pt x="2285" y="1225"/>
                    </a:lnTo>
                    <a:lnTo>
                      <a:pt x="2287" y="1223"/>
                    </a:lnTo>
                    <a:lnTo>
                      <a:pt x="2285" y="1225"/>
                    </a:lnTo>
                    <a:lnTo>
                      <a:pt x="2287" y="1227"/>
                    </a:lnTo>
                    <a:lnTo>
                      <a:pt x="2287" y="1229"/>
                    </a:lnTo>
                    <a:lnTo>
                      <a:pt x="2287" y="1233"/>
                    </a:lnTo>
                    <a:lnTo>
                      <a:pt x="2285" y="1235"/>
                    </a:lnTo>
                    <a:lnTo>
                      <a:pt x="2287" y="1233"/>
                    </a:lnTo>
                    <a:lnTo>
                      <a:pt x="2285" y="1233"/>
                    </a:lnTo>
                    <a:lnTo>
                      <a:pt x="2283" y="1233"/>
                    </a:lnTo>
                    <a:lnTo>
                      <a:pt x="2283" y="1237"/>
                    </a:lnTo>
                    <a:lnTo>
                      <a:pt x="2285" y="1237"/>
                    </a:lnTo>
                    <a:lnTo>
                      <a:pt x="2285" y="1239"/>
                    </a:lnTo>
                    <a:lnTo>
                      <a:pt x="2283" y="1240"/>
                    </a:lnTo>
                    <a:lnTo>
                      <a:pt x="2285" y="1240"/>
                    </a:lnTo>
                    <a:lnTo>
                      <a:pt x="2285" y="1239"/>
                    </a:lnTo>
                    <a:lnTo>
                      <a:pt x="2283" y="1237"/>
                    </a:lnTo>
                    <a:lnTo>
                      <a:pt x="2281" y="1237"/>
                    </a:lnTo>
                    <a:lnTo>
                      <a:pt x="2281" y="1235"/>
                    </a:lnTo>
                    <a:lnTo>
                      <a:pt x="2281" y="1237"/>
                    </a:lnTo>
                    <a:lnTo>
                      <a:pt x="2281" y="1235"/>
                    </a:lnTo>
                    <a:lnTo>
                      <a:pt x="2281" y="1237"/>
                    </a:lnTo>
                    <a:lnTo>
                      <a:pt x="2279" y="1237"/>
                    </a:lnTo>
                    <a:lnTo>
                      <a:pt x="2279" y="1239"/>
                    </a:lnTo>
                    <a:lnTo>
                      <a:pt x="2281" y="1240"/>
                    </a:lnTo>
                    <a:lnTo>
                      <a:pt x="2283" y="1240"/>
                    </a:lnTo>
                    <a:lnTo>
                      <a:pt x="2281" y="1240"/>
                    </a:lnTo>
                    <a:lnTo>
                      <a:pt x="2283" y="1240"/>
                    </a:lnTo>
                    <a:lnTo>
                      <a:pt x="2281" y="1242"/>
                    </a:lnTo>
                    <a:lnTo>
                      <a:pt x="2279" y="1244"/>
                    </a:lnTo>
                    <a:lnTo>
                      <a:pt x="2277" y="1246"/>
                    </a:lnTo>
                    <a:lnTo>
                      <a:pt x="2273" y="1250"/>
                    </a:lnTo>
                    <a:lnTo>
                      <a:pt x="2269" y="1254"/>
                    </a:lnTo>
                    <a:lnTo>
                      <a:pt x="2268" y="1261"/>
                    </a:lnTo>
                    <a:lnTo>
                      <a:pt x="2266" y="1267"/>
                    </a:lnTo>
                    <a:lnTo>
                      <a:pt x="2266" y="1271"/>
                    </a:lnTo>
                    <a:lnTo>
                      <a:pt x="2266" y="1275"/>
                    </a:lnTo>
                    <a:lnTo>
                      <a:pt x="2268" y="1277"/>
                    </a:lnTo>
                    <a:lnTo>
                      <a:pt x="2269" y="1277"/>
                    </a:lnTo>
                    <a:lnTo>
                      <a:pt x="2273" y="1279"/>
                    </a:lnTo>
                    <a:lnTo>
                      <a:pt x="2273" y="1275"/>
                    </a:lnTo>
                    <a:lnTo>
                      <a:pt x="2273" y="1273"/>
                    </a:lnTo>
                    <a:lnTo>
                      <a:pt x="2275" y="1273"/>
                    </a:lnTo>
                    <a:lnTo>
                      <a:pt x="2277" y="1275"/>
                    </a:lnTo>
                    <a:lnTo>
                      <a:pt x="2279" y="1275"/>
                    </a:lnTo>
                    <a:lnTo>
                      <a:pt x="2281" y="1277"/>
                    </a:lnTo>
                    <a:lnTo>
                      <a:pt x="2285" y="1277"/>
                    </a:lnTo>
                    <a:lnTo>
                      <a:pt x="2287" y="1281"/>
                    </a:lnTo>
                    <a:lnTo>
                      <a:pt x="2285" y="1282"/>
                    </a:lnTo>
                    <a:lnTo>
                      <a:pt x="2285" y="1284"/>
                    </a:lnTo>
                    <a:lnTo>
                      <a:pt x="2283" y="1284"/>
                    </a:lnTo>
                    <a:lnTo>
                      <a:pt x="2283" y="1286"/>
                    </a:lnTo>
                    <a:lnTo>
                      <a:pt x="2281" y="1288"/>
                    </a:lnTo>
                    <a:lnTo>
                      <a:pt x="2279" y="1288"/>
                    </a:lnTo>
                    <a:lnTo>
                      <a:pt x="2277" y="1292"/>
                    </a:lnTo>
                    <a:lnTo>
                      <a:pt x="2277" y="1296"/>
                    </a:lnTo>
                    <a:lnTo>
                      <a:pt x="2279" y="1302"/>
                    </a:lnTo>
                    <a:lnTo>
                      <a:pt x="2277" y="1307"/>
                    </a:lnTo>
                    <a:lnTo>
                      <a:pt x="2279" y="1309"/>
                    </a:lnTo>
                    <a:lnTo>
                      <a:pt x="2281" y="1309"/>
                    </a:lnTo>
                    <a:lnTo>
                      <a:pt x="2283" y="1309"/>
                    </a:lnTo>
                    <a:lnTo>
                      <a:pt x="2285" y="1309"/>
                    </a:lnTo>
                    <a:lnTo>
                      <a:pt x="2285" y="1311"/>
                    </a:lnTo>
                    <a:lnTo>
                      <a:pt x="2285" y="1313"/>
                    </a:lnTo>
                    <a:lnTo>
                      <a:pt x="2285" y="1315"/>
                    </a:lnTo>
                    <a:lnTo>
                      <a:pt x="2285" y="1317"/>
                    </a:lnTo>
                    <a:lnTo>
                      <a:pt x="2287" y="1319"/>
                    </a:lnTo>
                    <a:lnTo>
                      <a:pt x="2287" y="1321"/>
                    </a:lnTo>
                    <a:lnTo>
                      <a:pt x="2287" y="1323"/>
                    </a:lnTo>
                    <a:lnTo>
                      <a:pt x="2287" y="1324"/>
                    </a:lnTo>
                    <a:lnTo>
                      <a:pt x="2283" y="1326"/>
                    </a:lnTo>
                    <a:lnTo>
                      <a:pt x="2281" y="1330"/>
                    </a:lnTo>
                    <a:lnTo>
                      <a:pt x="2279" y="1330"/>
                    </a:lnTo>
                    <a:lnTo>
                      <a:pt x="2277" y="1328"/>
                    </a:lnTo>
                    <a:lnTo>
                      <a:pt x="2277" y="1326"/>
                    </a:lnTo>
                    <a:lnTo>
                      <a:pt x="2275" y="1323"/>
                    </a:lnTo>
                    <a:lnTo>
                      <a:pt x="2269" y="1326"/>
                    </a:lnTo>
                    <a:lnTo>
                      <a:pt x="2266" y="1328"/>
                    </a:lnTo>
                    <a:lnTo>
                      <a:pt x="2266" y="1330"/>
                    </a:lnTo>
                    <a:lnTo>
                      <a:pt x="2266" y="1332"/>
                    </a:lnTo>
                    <a:lnTo>
                      <a:pt x="2264" y="1334"/>
                    </a:lnTo>
                    <a:lnTo>
                      <a:pt x="2264" y="1336"/>
                    </a:lnTo>
                    <a:lnTo>
                      <a:pt x="2262" y="1340"/>
                    </a:lnTo>
                    <a:lnTo>
                      <a:pt x="2260" y="1342"/>
                    </a:lnTo>
                    <a:lnTo>
                      <a:pt x="2260" y="1347"/>
                    </a:lnTo>
                    <a:lnTo>
                      <a:pt x="2262" y="1353"/>
                    </a:lnTo>
                    <a:lnTo>
                      <a:pt x="2262" y="1355"/>
                    </a:lnTo>
                    <a:lnTo>
                      <a:pt x="2264" y="1359"/>
                    </a:lnTo>
                    <a:lnTo>
                      <a:pt x="2266" y="1361"/>
                    </a:lnTo>
                    <a:lnTo>
                      <a:pt x="2268" y="1363"/>
                    </a:lnTo>
                    <a:lnTo>
                      <a:pt x="2266" y="1363"/>
                    </a:lnTo>
                    <a:lnTo>
                      <a:pt x="2268" y="1364"/>
                    </a:lnTo>
                    <a:lnTo>
                      <a:pt x="2262" y="1368"/>
                    </a:lnTo>
                    <a:lnTo>
                      <a:pt x="2260" y="1372"/>
                    </a:lnTo>
                    <a:lnTo>
                      <a:pt x="2256" y="1372"/>
                    </a:lnTo>
                    <a:lnTo>
                      <a:pt x="2254" y="1372"/>
                    </a:lnTo>
                    <a:lnTo>
                      <a:pt x="2252" y="1372"/>
                    </a:lnTo>
                    <a:lnTo>
                      <a:pt x="2252" y="1370"/>
                    </a:lnTo>
                    <a:lnTo>
                      <a:pt x="2249" y="1370"/>
                    </a:lnTo>
                    <a:lnTo>
                      <a:pt x="2247" y="1370"/>
                    </a:lnTo>
                    <a:lnTo>
                      <a:pt x="2243" y="1372"/>
                    </a:lnTo>
                    <a:lnTo>
                      <a:pt x="2239" y="1374"/>
                    </a:lnTo>
                    <a:lnTo>
                      <a:pt x="2237" y="1378"/>
                    </a:lnTo>
                    <a:lnTo>
                      <a:pt x="2235" y="1380"/>
                    </a:lnTo>
                    <a:lnTo>
                      <a:pt x="2233" y="1382"/>
                    </a:lnTo>
                    <a:lnTo>
                      <a:pt x="2233" y="1385"/>
                    </a:lnTo>
                    <a:lnTo>
                      <a:pt x="2231" y="1387"/>
                    </a:lnTo>
                    <a:lnTo>
                      <a:pt x="2231" y="1391"/>
                    </a:lnTo>
                    <a:lnTo>
                      <a:pt x="2231" y="1395"/>
                    </a:lnTo>
                    <a:lnTo>
                      <a:pt x="2233" y="1397"/>
                    </a:lnTo>
                    <a:lnTo>
                      <a:pt x="2231" y="1397"/>
                    </a:lnTo>
                    <a:lnTo>
                      <a:pt x="2233" y="1399"/>
                    </a:lnTo>
                    <a:lnTo>
                      <a:pt x="2231" y="1401"/>
                    </a:lnTo>
                    <a:lnTo>
                      <a:pt x="2231" y="1399"/>
                    </a:lnTo>
                    <a:lnTo>
                      <a:pt x="2231" y="1401"/>
                    </a:lnTo>
                    <a:lnTo>
                      <a:pt x="2231" y="1403"/>
                    </a:lnTo>
                    <a:lnTo>
                      <a:pt x="2231" y="1405"/>
                    </a:lnTo>
                    <a:lnTo>
                      <a:pt x="2233" y="1405"/>
                    </a:lnTo>
                    <a:lnTo>
                      <a:pt x="2231" y="1406"/>
                    </a:lnTo>
                    <a:lnTo>
                      <a:pt x="2233" y="1406"/>
                    </a:lnTo>
                    <a:lnTo>
                      <a:pt x="2233" y="1408"/>
                    </a:lnTo>
                    <a:lnTo>
                      <a:pt x="2233" y="1410"/>
                    </a:lnTo>
                    <a:lnTo>
                      <a:pt x="2231" y="1408"/>
                    </a:lnTo>
                    <a:lnTo>
                      <a:pt x="2229" y="1406"/>
                    </a:lnTo>
                    <a:lnTo>
                      <a:pt x="2231" y="1405"/>
                    </a:lnTo>
                    <a:lnTo>
                      <a:pt x="2229" y="1405"/>
                    </a:lnTo>
                    <a:lnTo>
                      <a:pt x="2228" y="1406"/>
                    </a:lnTo>
                    <a:lnTo>
                      <a:pt x="2226" y="1406"/>
                    </a:lnTo>
                    <a:lnTo>
                      <a:pt x="2224" y="1406"/>
                    </a:lnTo>
                    <a:lnTo>
                      <a:pt x="2224" y="1408"/>
                    </a:lnTo>
                    <a:lnTo>
                      <a:pt x="2222" y="1408"/>
                    </a:lnTo>
                    <a:lnTo>
                      <a:pt x="2218" y="1410"/>
                    </a:lnTo>
                    <a:lnTo>
                      <a:pt x="2216" y="1412"/>
                    </a:lnTo>
                    <a:lnTo>
                      <a:pt x="2214" y="1414"/>
                    </a:lnTo>
                    <a:lnTo>
                      <a:pt x="2212" y="1414"/>
                    </a:lnTo>
                    <a:lnTo>
                      <a:pt x="2212" y="1416"/>
                    </a:lnTo>
                    <a:lnTo>
                      <a:pt x="2212" y="1414"/>
                    </a:lnTo>
                    <a:lnTo>
                      <a:pt x="2212" y="1412"/>
                    </a:lnTo>
                    <a:lnTo>
                      <a:pt x="2210" y="1410"/>
                    </a:lnTo>
                    <a:lnTo>
                      <a:pt x="2210" y="1412"/>
                    </a:lnTo>
                    <a:lnTo>
                      <a:pt x="2208" y="1412"/>
                    </a:lnTo>
                    <a:lnTo>
                      <a:pt x="2208" y="1414"/>
                    </a:lnTo>
                    <a:lnTo>
                      <a:pt x="2208" y="1416"/>
                    </a:lnTo>
                    <a:lnTo>
                      <a:pt x="2210" y="1416"/>
                    </a:lnTo>
                    <a:lnTo>
                      <a:pt x="2210" y="1414"/>
                    </a:lnTo>
                    <a:lnTo>
                      <a:pt x="2208" y="1414"/>
                    </a:lnTo>
                    <a:lnTo>
                      <a:pt x="2210" y="1414"/>
                    </a:lnTo>
                    <a:lnTo>
                      <a:pt x="2212" y="1416"/>
                    </a:lnTo>
                    <a:lnTo>
                      <a:pt x="2210" y="1416"/>
                    </a:lnTo>
                    <a:lnTo>
                      <a:pt x="2212" y="1416"/>
                    </a:lnTo>
                    <a:lnTo>
                      <a:pt x="2210" y="1418"/>
                    </a:lnTo>
                    <a:lnTo>
                      <a:pt x="2208" y="1418"/>
                    </a:lnTo>
                    <a:lnTo>
                      <a:pt x="2208" y="1420"/>
                    </a:lnTo>
                    <a:lnTo>
                      <a:pt x="2210" y="1420"/>
                    </a:lnTo>
                    <a:lnTo>
                      <a:pt x="2210" y="1422"/>
                    </a:lnTo>
                    <a:lnTo>
                      <a:pt x="2208" y="1422"/>
                    </a:lnTo>
                    <a:lnTo>
                      <a:pt x="2207" y="1422"/>
                    </a:lnTo>
                    <a:lnTo>
                      <a:pt x="2208" y="1422"/>
                    </a:lnTo>
                    <a:lnTo>
                      <a:pt x="2208" y="1424"/>
                    </a:lnTo>
                    <a:lnTo>
                      <a:pt x="2210" y="1424"/>
                    </a:lnTo>
                    <a:lnTo>
                      <a:pt x="2210" y="1426"/>
                    </a:lnTo>
                    <a:lnTo>
                      <a:pt x="2208" y="1426"/>
                    </a:lnTo>
                    <a:lnTo>
                      <a:pt x="2210" y="1426"/>
                    </a:lnTo>
                    <a:lnTo>
                      <a:pt x="2208" y="1426"/>
                    </a:lnTo>
                    <a:lnTo>
                      <a:pt x="2208" y="1427"/>
                    </a:lnTo>
                    <a:lnTo>
                      <a:pt x="2210" y="1427"/>
                    </a:lnTo>
                    <a:lnTo>
                      <a:pt x="2210" y="1429"/>
                    </a:lnTo>
                    <a:lnTo>
                      <a:pt x="2208" y="1429"/>
                    </a:lnTo>
                    <a:lnTo>
                      <a:pt x="2210" y="1429"/>
                    </a:lnTo>
                    <a:lnTo>
                      <a:pt x="2210" y="1431"/>
                    </a:lnTo>
                    <a:lnTo>
                      <a:pt x="2208" y="1431"/>
                    </a:lnTo>
                    <a:lnTo>
                      <a:pt x="2207" y="1433"/>
                    </a:lnTo>
                    <a:lnTo>
                      <a:pt x="2208" y="1433"/>
                    </a:lnTo>
                    <a:lnTo>
                      <a:pt x="2207" y="1435"/>
                    </a:lnTo>
                    <a:lnTo>
                      <a:pt x="2207" y="1437"/>
                    </a:lnTo>
                    <a:lnTo>
                      <a:pt x="2205" y="1439"/>
                    </a:lnTo>
                    <a:lnTo>
                      <a:pt x="2207" y="1439"/>
                    </a:lnTo>
                    <a:lnTo>
                      <a:pt x="2203" y="1443"/>
                    </a:lnTo>
                    <a:lnTo>
                      <a:pt x="2203" y="1445"/>
                    </a:lnTo>
                    <a:lnTo>
                      <a:pt x="2199" y="1448"/>
                    </a:lnTo>
                    <a:lnTo>
                      <a:pt x="2197" y="1450"/>
                    </a:lnTo>
                    <a:lnTo>
                      <a:pt x="2193" y="1452"/>
                    </a:lnTo>
                    <a:lnTo>
                      <a:pt x="2193" y="1454"/>
                    </a:lnTo>
                    <a:lnTo>
                      <a:pt x="2191" y="1454"/>
                    </a:lnTo>
                    <a:lnTo>
                      <a:pt x="2191" y="1456"/>
                    </a:lnTo>
                    <a:lnTo>
                      <a:pt x="2189" y="1458"/>
                    </a:lnTo>
                    <a:lnTo>
                      <a:pt x="2187" y="1460"/>
                    </a:lnTo>
                    <a:lnTo>
                      <a:pt x="2186" y="1462"/>
                    </a:lnTo>
                    <a:lnTo>
                      <a:pt x="2184" y="1464"/>
                    </a:lnTo>
                    <a:lnTo>
                      <a:pt x="2180" y="1468"/>
                    </a:lnTo>
                    <a:lnTo>
                      <a:pt x="2182" y="1464"/>
                    </a:lnTo>
                    <a:lnTo>
                      <a:pt x="2182" y="1462"/>
                    </a:lnTo>
                    <a:lnTo>
                      <a:pt x="2180" y="1462"/>
                    </a:lnTo>
                    <a:lnTo>
                      <a:pt x="2180" y="1458"/>
                    </a:lnTo>
                    <a:lnTo>
                      <a:pt x="2178" y="1458"/>
                    </a:lnTo>
                    <a:lnTo>
                      <a:pt x="2178" y="1456"/>
                    </a:lnTo>
                    <a:lnTo>
                      <a:pt x="2178" y="1452"/>
                    </a:lnTo>
                    <a:lnTo>
                      <a:pt x="2178" y="1441"/>
                    </a:lnTo>
                    <a:lnTo>
                      <a:pt x="2176" y="1435"/>
                    </a:lnTo>
                    <a:lnTo>
                      <a:pt x="2176" y="1427"/>
                    </a:lnTo>
                    <a:lnTo>
                      <a:pt x="2172" y="1418"/>
                    </a:lnTo>
                    <a:lnTo>
                      <a:pt x="2170" y="1397"/>
                    </a:lnTo>
                    <a:lnTo>
                      <a:pt x="2168" y="1387"/>
                    </a:lnTo>
                    <a:lnTo>
                      <a:pt x="2165" y="1374"/>
                    </a:lnTo>
                    <a:lnTo>
                      <a:pt x="2163" y="1353"/>
                    </a:lnTo>
                    <a:lnTo>
                      <a:pt x="2163" y="1347"/>
                    </a:lnTo>
                    <a:lnTo>
                      <a:pt x="2163" y="1342"/>
                    </a:lnTo>
                    <a:lnTo>
                      <a:pt x="2165" y="1332"/>
                    </a:lnTo>
                    <a:lnTo>
                      <a:pt x="2165" y="1334"/>
                    </a:lnTo>
                    <a:lnTo>
                      <a:pt x="2165" y="1332"/>
                    </a:lnTo>
                    <a:lnTo>
                      <a:pt x="2165" y="1330"/>
                    </a:lnTo>
                    <a:lnTo>
                      <a:pt x="2165" y="1326"/>
                    </a:lnTo>
                    <a:lnTo>
                      <a:pt x="2168" y="1311"/>
                    </a:lnTo>
                    <a:lnTo>
                      <a:pt x="2170" y="1307"/>
                    </a:lnTo>
                    <a:lnTo>
                      <a:pt x="2172" y="1305"/>
                    </a:lnTo>
                    <a:lnTo>
                      <a:pt x="2176" y="1303"/>
                    </a:lnTo>
                    <a:lnTo>
                      <a:pt x="2178" y="1302"/>
                    </a:lnTo>
                    <a:lnTo>
                      <a:pt x="2178" y="1300"/>
                    </a:lnTo>
                    <a:lnTo>
                      <a:pt x="2178" y="1298"/>
                    </a:lnTo>
                    <a:lnTo>
                      <a:pt x="2180" y="1298"/>
                    </a:lnTo>
                    <a:lnTo>
                      <a:pt x="2180" y="1300"/>
                    </a:lnTo>
                    <a:lnTo>
                      <a:pt x="2180" y="1298"/>
                    </a:lnTo>
                    <a:lnTo>
                      <a:pt x="2182" y="1296"/>
                    </a:lnTo>
                    <a:lnTo>
                      <a:pt x="2184" y="1290"/>
                    </a:lnTo>
                    <a:lnTo>
                      <a:pt x="2186" y="1288"/>
                    </a:lnTo>
                    <a:lnTo>
                      <a:pt x="2186" y="1286"/>
                    </a:lnTo>
                    <a:lnTo>
                      <a:pt x="2184" y="1281"/>
                    </a:lnTo>
                    <a:lnTo>
                      <a:pt x="2182" y="1281"/>
                    </a:lnTo>
                    <a:lnTo>
                      <a:pt x="2184" y="1279"/>
                    </a:lnTo>
                    <a:lnTo>
                      <a:pt x="2184" y="1277"/>
                    </a:lnTo>
                    <a:lnTo>
                      <a:pt x="2186" y="1275"/>
                    </a:lnTo>
                    <a:lnTo>
                      <a:pt x="2187" y="1277"/>
                    </a:lnTo>
                    <a:lnTo>
                      <a:pt x="2191" y="1279"/>
                    </a:lnTo>
                    <a:lnTo>
                      <a:pt x="2193" y="1277"/>
                    </a:lnTo>
                    <a:lnTo>
                      <a:pt x="2195" y="1275"/>
                    </a:lnTo>
                    <a:lnTo>
                      <a:pt x="2195" y="1273"/>
                    </a:lnTo>
                    <a:lnTo>
                      <a:pt x="2197" y="1271"/>
                    </a:lnTo>
                    <a:lnTo>
                      <a:pt x="2199" y="1273"/>
                    </a:lnTo>
                    <a:lnTo>
                      <a:pt x="2201" y="1273"/>
                    </a:lnTo>
                    <a:lnTo>
                      <a:pt x="2203" y="1271"/>
                    </a:lnTo>
                    <a:lnTo>
                      <a:pt x="2205" y="1271"/>
                    </a:lnTo>
                    <a:lnTo>
                      <a:pt x="2207" y="1269"/>
                    </a:lnTo>
                    <a:lnTo>
                      <a:pt x="2208" y="1267"/>
                    </a:lnTo>
                    <a:lnTo>
                      <a:pt x="2212" y="1263"/>
                    </a:lnTo>
                    <a:lnTo>
                      <a:pt x="2214" y="1261"/>
                    </a:lnTo>
                    <a:lnTo>
                      <a:pt x="2218" y="1258"/>
                    </a:lnTo>
                    <a:lnTo>
                      <a:pt x="2220" y="1254"/>
                    </a:lnTo>
                    <a:lnTo>
                      <a:pt x="2222" y="1254"/>
                    </a:lnTo>
                    <a:lnTo>
                      <a:pt x="2226" y="1248"/>
                    </a:lnTo>
                    <a:lnTo>
                      <a:pt x="2228" y="1246"/>
                    </a:lnTo>
                    <a:lnTo>
                      <a:pt x="2229" y="1244"/>
                    </a:lnTo>
                    <a:lnTo>
                      <a:pt x="2229" y="1242"/>
                    </a:lnTo>
                    <a:lnTo>
                      <a:pt x="2229" y="1240"/>
                    </a:lnTo>
                    <a:lnTo>
                      <a:pt x="2229" y="1239"/>
                    </a:lnTo>
                    <a:lnTo>
                      <a:pt x="2231" y="1237"/>
                    </a:lnTo>
                    <a:lnTo>
                      <a:pt x="2233" y="1235"/>
                    </a:lnTo>
                    <a:lnTo>
                      <a:pt x="2235" y="1233"/>
                    </a:lnTo>
                    <a:lnTo>
                      <a:pt x="2237" y="1231"/>
                    </a:lnTo>
                    <a:lnTo>
                      <a:pt x="2239" y="1229"/>
                    </a:lnTo>
                    <a:lnTo>
                      <a:pt x="2241" y="1227"/>
                    </a:lnTo>
                    <a:lnTo>
                      <a:pt x="2241" y="1223"/>
                    </a:lnTo>
                    <a:lnTo>
                      <a:pt x="2243" y="1223"/>
                    </a:lnTo>
                    <a:lnTo>
                      <a:pt x="2241" y="1223"/>
                    </a:lnTo>
                    <a:lnTo>
                      <a:pt x="2243" y="1223"/>
                    </a:lnTo>
                    <a:lnTo>
                      <a:pt x="2245" y="1223"/>
                    </a:lnTo>
                    <a:lnTo>
                      <a:pt x="2247" y="1221"/>
                    </a:lnTo>
                    <a:lnTo>
                      <a:pt x="2249" y="1219"/>
                    </a:lnTo>
                    <a:lnTo>
                      <a:pt x="2252" y="1218"/>
                    </a:lnTo>
                    <a:lnTo>
                      <a:pt x="2252" y="1216"/>
                    </a:lnTo>
                    <a:lnTo>
                      <a:pt x="2254" y="1214"/>
                    </a:lnTo>
                    <a:lnTo>
                      <a:pt x="2254" y="1212"/>
                    </a:lnTo>
                    <a:lnTo>
                      <a:pt x="2256" y="1212"/>
                    </a:lnTo>
                    <a:lnTo>
                      <a:pt x="2256" y="1208"/>
                    </a:lnTo>
                    <a:lnTo>
                      <a:pt x="2258" y="1208"/>
                    </a:lnTo>
                    <a:lnTo>
                      <a:pt x="2262" y="1204"/>
                    </a:lnTo>
                    <a:lnTo>
                      <a:pt x="2264" y="1202"/>
                    </a:lnTo>
                    <a:lnTo>
                      <a:pt x="2264" y="1200"/>
                    </a:lnTo>
                    <a:lnTo>
                      <a:pt x="2264" y="1198"/>
                    </a:lnTo>
                    <a:lnTo>
                      <a:pt x="2264" y="1197"/>
                    </a:lnTo>
                    <a:lnTo>
                      <a:pt x="2266" y="1197"/>
                    </a:lnTo>
                    <a:lnTo>
                      <a:pt x="2266" y="1195"/>
                    </a:lnTo>
                    <a:lnTo>
                      <a:pt x="2268" y="1195"/>
                    </a:lnTo>
                    <a:lnTo>
                      <a:pt x="2268" y="1193"/>
                    </a:lnTo>
                    <a:lnTo>
                      <a:pt x="2271" y="1193"/>
                    </a:lnTo>
                    <a:lnTo>
                      <a:pt x="2273" y="1191"/>
                    </a:lnTo>
                    <a:lnTo>
                      <a:pt x="2275" y="1191"/>
                    </a:lnTo>
                    <a:lnTo>
                      <a:pt x="2277" y="1191"/>
                    </a:lnTo>
                    <a:lnTo>
                      <a:pt x="2277" y="1189"/>
                    </a:lnTo>
                    <a:lnTo>
                      <a:pt x="2279" y="1185"/>
                    </a:lnTo>
                    <a:lnTo>
                      <a:pt x="2281" y="1185"/>
                    </a:lnTo>
                    <a:lnTo>
                      <a:pt x="2283" y="1185"/>
                    </a:lnTo>
                    <a:lnTo>
                      <a:pt x="2285" y="1183"/>
                    </a:lnTo>
                    <a:lnTo>
                      <a:pt x="2285" y="1185"/>
                    </a:lnTo>
                    <a:lnTo>
                      <a:pt x="2287" y="1183"/>
                    </a:lnTo>
                    <a:lnTo>
                      <a:pt x="2287" y="1185"/>
                    </a:lnTo>
                    <a:lnTo>
                      <a:pt x="2287" y="1183"/>
                    </a:lnTo>
                    <a:lnTo>
                      <a:pt x="2290" y="1181"/>
                    </a:lnTo>
                    <a:lnTo>
                      <a:pt x="2292" y="1183"/>
                    </a:lnTo>
                    <a:lnTo>
                      <a:pt x="2294" y="1183"/>
                    </a:lnTo>
                    <a:lnTo>
                      <a:pt x="2292" y="1181"/>
                    </a:lnTo>
                    <a:lnTo>
                      <a:pt x="2294" y="1179"/>
                    </a:lnTo>
                    <a:lnTo>
                      <a:pt x="2292" y="1179"/>
                    </a:lnTo>
                    <a:lnTo>
                      <a:pt x="2289" y="1177"/>
                    </a:lnTo>
                    <a:lnTo>
                      <a:pt x="2289" y="1176"/>
                    </a:lnTo>
                    <a:lnTo>
                      <a:pt x="2290" y="1176"/>
                    </a:lnTo>
                    <a:lnTo>
                      <a:pt x="2290" y="1174"/>
                    </a:lnTo>
                    <a:lnTo>
                      <a:pt x="2292" y="1174"/>
                    </a:lnTo>
                    <a:lnTo>
                      <a:pt x="2296" y="1170"/>
                    </a:lnTo>
                    <a:lnTo>
                      <a:pt x="2296" y="1168"/>
                    </a:lnTo>
                    <a:lnTo>
                      <a:pt x="2298" y="1166"/>
                    </a:lnTo>
                    <a:lnTo>
                      <a:pt x="2296" y="1164"/>
                    </a:lnTo>
                    <a:lnTo>
                      <a:pt x="2294" y="1162"/>
                    </a:lnTo>
                    <a:lnTo>
                      <a:pt x="2292" y="1164"/>
                    </a:lnTo>
                    <a:lnTo>
                      <a:pt x="2292" y="1162"/>
                    </a:lnTo>
                    <a:lnTo>
                      <a:pt x="2294" y="1158"/>
                    </a:lnTo>
                    <a:lnTo>
                      <a:pt x="2294" y="1157"/>
                    </a:lnTo>
                    <a:lnTo>
                      <a:pt x="2298" y="1155"/>
                    </a:lnTo>
                    <a:lnTo>
                      <a:pt x="2298" y="1151"/>
                    </a:lnTo>
                    <a:lnTo>
                      <a:pt x="2298" y="1149"/>
                    </a:lnTo>
                    <a:lnTo>
                      <a:pt x="2298" y="1147"/>
                    </a:lnTo>
                    <a:lnTo>
                      <a:pt x="2298" y="1145"/>
                    </a:lnTo>
                    <a:lnTo>
                      <a:pt x="2298" y="1143"/>
                    </a:lnTo>
                    <a:lnTo>
                      <a:pt x="2298" y="1141"/>
                    </a:lnTo>
                    <a:lnTo>
                      <a:pt x="2298" y="1139"/>
                    </a:lnTo>
                    <a:lnTo>
                      <a:pt x="2300" y="1136"/>
                    </a:lnTo>
                    <a:lnTo>
                      <a:pt x="2300" y="1134"/>
                    </a:lnTo>
                    <a:lnTo>
                      <a:pt x="2304" y="1132"/>
                    </a:lnTo>
                    <a:lnTo>
                      <a:pt x="2304" y="1130"/>
                    </a:lnTo>
                    <a:lnTo>
                      <a:pt x="2306" y="1130"/>
                    </a:lnTo>
                    <a:lnTo>
                      <a:pt x="2308" y="1128"/>
                    </a:lnTo>
                    <a:lnTo>
                      <a:pt x="2311" y="1130"/>
                    </a:lnTo>
                    <a:lnTo>
                      <a:pt x="2315" y="1130"/>
                    </a:lnTo>
                    <a:lnTo>
                      <a:pt x="2313" y="1130"/>
                    </a:lnTo>
                    <a:lnTo>
                      <a:pt x="2315" y="1128"/>
                    </a:lnTo>
                    <a:lnTo>
                      <a:pt x="2317" y="1128"/>
                    </a:lnTo>
                    <a:lnTo>
                      <a:pt x="2315" y="1128"/>
                    </a:lnTo>
                    <a:lnTo>
                      <a:pt x="2310" y="1124"/>
                    </a:lnTo>
                    <a:lnTo>
                      <a:pt x="2310" y="1126"/>
                    </a:lnTo>
                    <a:lnTo>
                      <a:pt x="2308" y="1124"/>
                    </a:lnTo>
                    <a:lnTo>
                      <a:pt x="2308" y="1122"/>
                    </a:lnTo>
                    <a:lnTo>
                      <a:pt x="2306" y="1120"/>
                    </a:lnTo>
                    <a:lnTo>
                      <a:pt x="2304" y="1120"/>
                    </a:lnTo>
                    <a:lnTo>
                      <a:pt x="2302" y="1120"/>
                    </a:lnTo>
                    <a:lnTo>
                      <a:pt x="2302" y="1122"/>
                    </a:lnTo>
                    <a:lnTo>
                      <a:pt x="2298" y="1122"/>
                    </a:lnTo>
                    <a:lnTo>
                      <a:pt x="2296" y="1124"/>
                    </a:lnTo>
                    <a:lnTo>
                      <a:pt x="2294" y="1124"/>
                    </a:lnTo>
                    <a:lnTo>
                      <a:pt x="2285" y="1126"/>
                    </a:lnTo>
                    <a:lnTo>
                      <a:pt x="2285" y="1128"/>
                    </a:lnTo>
                    <a:lnTo>
                      <a:pt x="2285" y="1130"/>
                    </a:lnTo>
                    <a:lnTo>
                      <a:pt x="2283" y="1130"/>
                    </a:lnTo>
                    <a:lnTo>
                      <a:pt x="2285" y="1130"/>
                    </a:lnTo>
                    <a:lnTo>
                      <a:pt x="2285" y="1132"/>
                    </a:lnTo>
                    <a:lnTo>
                      <a:pt x="2287" y="1132"/>
                    </a:lnTo>
                    <a:lnTo>
                      <a:pt x="2287" y="1134"/>
                    </a:lnTo>
                    <a:lnTo>
                      <a:pt x="2285" y="1134"/>
                    </a:lnTo>
                    <a:lnTo>
                      <a:pt x="2283" y="1137"/>
                    </a:lnTo>
                    <a:lnTo>
                      <a:pt x="2283" y="1139"/>
                    </a:lnTo>
                    <a:lnTo>
                      <a:pt x="2283" y="1141"/>
                    </a:lnTo>
                    <a:lnTo>
                      <a:pt x="2285" y="1141"/>
                    </a:lnTo>
                    <a:lnTo>
                      <a:pt x="2283" y="1143"/>
                    </a:lnTo>
                    <a:lnTo>
                      <a:pt x="2283" y="1145"/>
                    </a:lnTo>
                    <a:lnTo>
                      <a:pt x="2283" y="1147"/>
                    </a:lnTo>
                    <a:lnTo>
                      <a:pt x="2281" y="1147"/>
                    </a:lnTo>
                    <a:lnTo>
                      <a:pt x="2281" y="1151"/>
                    </a:lnTo>
                    <a:lnTo>
                      <a:pt x="2283" y="1153"/>
                    </a:lnTo>
                    <a:lnTo>
                      <a:pt x="2287" y="1155"/>
                    </a:lnTo>
                    <a:lnTo>
                      <a:pt x="2285" y="1157"/>
                    </a:lnTo>
                    <a:lnTo>
                      <a:pt x="2283" y="1157"/>
                    </a:lnTo>
                    <a:lnTo>
                      <a:pt x="2283" y="1158"/>
                    </a:lnTo>
                    <a:lnTo>
                      <a:pt x="2281" y="1160"/>
                    </a:lnTo>
                    <a:lnTo>
                      <a:pt x="2281" y="1158"/>
                    </a:lnTo>
                    <a:lnTo>
                      <a:pt x="2279" y="1158"/>
                    </a:lnTo>
                    <a:lnTo>
                      <a:pt x="2279" y="1157"/>
                    </a:lnTo>
                    <a:lnTo>
                      <a:pt x="2279" y="1158"/>
                    </a:lnTo>
                    <a:lnTo>
                      <a:pt x="2279" y="1157"/>
                    </a:lnTo>
                    <a:lnTo>
                      <a:pt x="2279" y="1155"/>
                    </a:lnTo>
                    <a:lnTo>
                      <a:pt x="2275" y="1155"/>
                    </a:lnTo>
                    <a:lnTo>
                      <a:pt x="2275" y="1157"/>
                    </a:lnTo>
                    <a:lnTo>
                      <a:pt x="2277" y="1157"/>
                    </a:lnTo>
                    <a:lnTo>
                      <a:pt x="2277" y="1158"/>
                    </a:lnTo>
                    <a:lnTo>
                      <a:pt x="2275" y="1158"/>
                    </a:lnTo>
                    <a:lnTo>
                      <a:pt x="2273" y="1157"/>
                    </a:lnTo>
                    <a:lnTo>
                      <a:pt x="2271" y="1155"/>
                    </a:lnTo>
                    <a:lnTo>
                      <a:pt x="2271" y="1157"/>
                    </a:lnTo>
                    <a:lnTo>
                      <a:pt x="2269" y="1157"/>
                    </a:lnTo>
                    <a:lnTo>
                      <a:pt x="2269" y="1158"/>
                    </a:lnTo>
                    <a:lnTo>
                      <a:pt x="2269" y="1160"/>
                    </a:lnTo>
                    <a:lnTo>
                      <a:pt x="2268" y="1158"/>
                    </a:lnTo>
                    <a:lnTo>
                      <a:pt x="2269" y="1160"/>
                    </a:lnTo>
                    <a:lnTo>
                      <a:pt x="2268" y="1162"/>
                    </a:lnTo>
                    <a:lnTo>
                      <a:pt x="2268" y="1160"/>
                    </a:lnTo>
                    <a:lnTo>
                      <a:pt x="2268" y="1162"/>
                    </a:lnTo>
                    <a:lnTo>
                      <a:pt x="2266" y="1162"/>
                    </a:lnTo>
                    <a:lnTo>
                      <a:pt x="2266" y="1164"/>
                    </a:lnTo>
                    <a:lnTo>
                      <a:pt x="2264" y="1164"/>
                    </a:lnTo>
                    <a:lnTo>
                      <a:pt x="2264" y="1162"/>
                    </a:lnTo>
                    <a:lnTo>
                      <a:pt x="2264" y="1166"/>
                    </a:lnTo>
                    <a:lnTo>
                      <a:pt x="2262" y="1164"/>
                    </a:lnTo>
                    <a:lnTo>
                      <a:pt x="2262" y="1168"/>
                    </a:lnTo>
                    <a:lnTo>
                      <a:pt x="2260" y="1168"/>
                    </a:lnTo>
                    <a:lnTo>
                      <a:pt x="2260" y="1170"/>
                    </a:lnTo>
                    <a:lnTo>
                      <a:pt x="2258" y="1170"/>
                    </a:lnTo>
                    <a:lnTo>
                      <a:pt x="2258" y="1172"/>
                    </a:lnTo>
                    <a:lnTo>
                      <a:pt x="2256" y="1172"/>
                    </a:lnTo>
                    <a:lnTo>
                      <a:pt x="2256" y="1174"/>
                    </a:lnTo>
                    <a:lnTo>
                      <a:pt x="2254" y="1174"/>
                    </a:lnTo>
                    <a:lnTo>
                      <a:pt x="2254" y="1176"/>
                    </a:lnTo>
                    <a:lnTo>
                      <a:pt x="2252" y="1176"/>
                    </a:lnTo>
                    <a:lnTo>
                      <a:pt x="2252" y="1177"/>
                    </a:lnTo>
                    <a:lnTo>
                      <a:pt x="2252" y="1179"/>
                    </a:lnTo>
                    <a:lnTo>
                      <a:pt x="2250" y="1179"/>
                    </a:lnTo>
                    <a:lnTo>
                      <a:pt x="2249" y="1181"/>
                    </a:lnTo>
                    <a:lnTo>
                      <a:pt x="2247" y="1187"/>
                    </a:lnTo>
                    <a:lnTo>
                      <a:pt x="2245" y="1185"/>
                    </a:lnTo>
                    <a:lnTo>
                      <a:pt x="2243" y="1187"/>
                    </a:lnTo>
                    <a:lnTo>
                      <a:pt x="2243" y="1185"/>
                    </a:lnTo>
                    <a:lnTo>
                      <a:pt x="2241" y="1187"/>
                    </a:lnTo>
                    <a:lnTo>
                      <a:pt x="2239" y="1187"/>
                    </a:lnTo>
                    <a:lnTo>
                      <a:pt x="2239" y="1185"/>
                    </a:lnTo>
                    <a:lnTo>
                      <a:pt x="2239" y="1187"/>
                    </a:lnTo>
                    <a:lnTo>
                      <a:pt x="2239" y="1189"/>
                    </a:lnTo>
                    <a:lnTo>
                      <a:pt x="2237" y="1189"/>
                    </a:lnTo>
                    <a:lnTo>
                      <a:pt x="2237" y="1191"/>
                    </a:lnTo>
                    <a:lnTo>
                      <a:pt x="2235" y="1191"/>
                    </a:lnTo>
                    <a:lnTo>
                      <a:pt x="2235" y="1189"/>
                    </a:lnTo>
                    <a:lnTo>
                      <a:pt x="2237" y="1189"/>
                    </a:lnTo>
                    <a:lnTo>
                      <a:pt x="2237" y="1187"/>
                    </a:lnTo>
                    <a:lnTo>
                      <a:pt x="2237" y="1185"/>
                    </a:lnTo>
                    <a:lnTo>
                      <a:pt x="2235" y="1183"/>
                    </a:lnTo>
                    <a:lnTo>
                      <a:pt x="2237" y="1183"/>
                    </a:lnTo>
                    <a:lnTo>
                      <a:pt x="2237" y="1181"/>
                    </a:lnTo>
                    <a:lnTo>
                      <a:pt x="2239" y="1181"/>
                    </a:lnTo>
                    <a:lnTo>
                      <a:pt x="2239" y="1179"/>
                    </a:lnTo>
                    <a:lnTo>
                      <a:pt x="2239" y="1177"/>
                    </a:lnTo>
                    <a:lnTo>
                      <a:pt x="2241" y="1176"/>
                    </a:lnTo>
                    <a:lnTo>
                      <a:pt x="2239" y="1176"/>
                    </a:lnTo>
                    <a:lnTo>
                      <a:pt x="2237" y="1177"/>
                    </a:lnTo>
                    <a:lnTo>
                      <a:pt x="2237" y="1176"/>
                    </a:lnTo>
                    <a:lnTo>
                      <a:pt x="2233" y="1177"/>
                    </a:lnTo>
                    <a:lnTo>
                      <a:pt x="2233" y="1179"/>
                    </a:lnTo>
                    <a:lnTo>
                      <a:pt x="2231" y="1179"/>
                    </a:lnTo>
                    <a:lnTo>
                      <a:pt x="2229" y="1179"/>
                    </a:lnTo>
                    <a:lnTo>
                      <a:pt x="2231" y="1179"/>
                    </a:lnTo>
                    <a:lnTo>
                      <a:pt x="2231" y="1177"/>
                    </a:lnTo>
                    <a:lnTo>
                      <a:pt x="2233" y="1174"/>
                    </a:lnTo>
                    <a:lnTo>
                      <a:pt x="2233" y="1172"/>
                    </a:lnTo>
                    <a:lnTo>
                      <a:pt x="2231" y="1170"/>
                    </a:lnTo>
                    <a:lnTo>
                      <a:pt x="2233" y="1170"/>
                    </a:lnTo>
                    <a:lnTo>
                      <a:pt x="2231" y="1170"/>
                    </a:lnTo>
                    <a:lnTo>
                      <a:pt x="2229" y="1170"/>
                    </a:lnTo>
                    <a:lnTo>
                      <a:pt x="2231" y="1168"/>
                    </a:lnTo>
                    <a:lnTo>
                      <a:pt x="2233" y="1168"/>
                    </a:lnTo>
                    <a:lnTo>
                      <a:pt x="2231" y="1168"/>
                    </a:lnTo>
                    <a:lnTo>
                      <a:pt x="2233" y="1166"/>
                    </a:lnTo>
                    <a:lnTo>
                      <a:pt x="2233" y="1164"/>
                    </a:lnTo>
                    <a:lnTo>
                      <a:pt x="2235" y="1164"/>
                    </a:lnTo>
                    <a:lnTo>
                      <a:pt x="2233" y="1164"/>
                    </a:lnTo>
                    <a:lnTo>
                      <a:pt x="2235" y="1164"/>
                    </a:lnTo>
                    <a:lnTo>
                      <a:pt x="2235" y="1162"/>
                    </a:lnTo>
                    <a:lnTo>
                      <a:pt x="2233" y="1162"/>
                    </a:lnTo>
                    <a:lnTo>
                      <a:pt x="2235" y="1160"/>
                    </a:lnTo>
                    <a:lnTo>
                      <a:pt x="2237" y="1160"/>
                    </a:lnTo>
                    <a:lnTo>
                      <a:pt x="2237" y="1158"/>
                    </a:lnTo>
                    <a:lnTo>
                      <a:pt x="2239" y="1155"/>
                    </a:lnTo>
                    <a:lnTo>
                      <a:pt x="2237" y="1155"/>
                    </a:lnTo>
                    <a:lnTo>
                      <a:pt x="2239" y="1153"/>
                    </a:lnTo>
                    <a:lnTo>
                      <a:pt x="2239" y="1151"/>
                    </a:lnTo>
                    <a:lnTo>
                      <a:pt x="2239" y="1149"/>
                    </a:lnTo>
                    <a:lnTo>
                      <a:pt x="2239" y="1147"/>
                    </a:lnTo>
                    <a:lnTo>
                      <a:pt x="2233" y="1149"/>
                    </a:lnTo>
                    <a:lnTo>
                      <a:pt x="2233" y="1153"/>
                    </a:lnTo>
                    <a:lnTo>
                      <a:pt x="2231" y="1155"/>
                    </a:lnTo>
                    <a:lnTo>
                      <a:pt x="2229" y="1155"/>
                    </a:lnTo>
                    <a:lnTo>
                      <a:pt x="2229" y="1153"/>
                    </a:lnTo>
                    <a:lnTo>
                      <a:pt x="2229" y="1155"/>
                    </a:lnTo>
                    <a:lnTo>
                      <a:pt x="2228" y="1153"/>
                    </a:lnTo>
                    <a:lnTo>
                      <a:pt x="2228" y="1155"/>
                    </a:lnTo>
                    <a:lnTo>
                      <a:pt x="2226" y="1157"/>
                    </a:lnTo>
                    <a:lnTo>
                      <a:pt x="2226" y="1155"/>
                    </a:lnTo>
                    <a:lnTo>
                      <a:pt x="2226" y="1151"/>
                    </a:lnTo>
                    <a:lnTo>
                      <a:pt x="2226" y="1149"/>
                    </a:lnTo>
                    <a:lnTo>
                      <a:pt x="2226" y="1151"/>
                    </a:lnTo>
                    <a:lnTo>
                      <a:pt x="2224" y="1153"/>
                    </a:lnTo>
                    <a:lnTo>
                      <a:pt x="2224" y="1151"/>
                    </a:lnTo>
                    <a:lnTo>
                      <a:pt x="2224" y="1149"/>
                    </a:lnTo>
                    <a:lnTo>
                      <a:pt x="2220" y="1147"/>
                    </a:lnTo>
                    <a:lnTo>
                      <a:pt x="2218" y="1147"/>
                    </a:lnTo>
                    <a:lnTo>
                      <a:pt x="2216" y="1147"/>
                    </a:lnTo>
                    <a:lnTo>
                      <a:pt x="2214" y="1151"/>
                    </a:lnTo>
                    <a:lnTo>
                      <a:pt x="2212" y="1149"/>
                    </a:lnTo>
                    <a:lnTo>
                      <a:pt x="2210" y="1149"/>
                    </a:lnTo>
                    <a:lnTo>
                      <a:pt x="2208" y="1151"/>
                    </a:lnTo>
                    <a:lnTo>
                      <a:pt x="2205" y="1151"/>
                    </a:lnTo>
                    <a:lnTo>
                      <a:pt x="2205" y="1153"/>
                    </a:lnTo>
                    <a:lnTo>
                      <a:pt x="2203" y="1153"/>
                    </a:lnTo>
                    <a:lnTo>
                      <a:pt x="2201" y="1153"/>
                    </a:lnTo>
                    <a:lnTo>
                      <a:pt x="2199" y="1151"/>
                    </a:lnTo>
                    <a:lnTo>
                      <a:pt x="2193" y="1151"/>
                    </a:lnTo>
                    <a:lnTo>
                      <a:pt x="2191" y="1153"/>
                    </a:lnTo>
                    <a:lnTo>
                      <a:pt x="2191" y="1155"/>
                    </a:lnTo>
                    <a:lnTo>
                      <a:pt x="2189" y="1155"/>
                    </a:lnTo>
                    <a:lnTo>
                      <a:pt x="2186" y="1157"/>
                    </a:lnTo>
                    <a:lnTo>
                      <a:pt x="2186" y="1158"/>
                    </a:lnTo>
                    <a:lnTo>
                      <a:pt x="2184" y="1160"/>
                    </a:lnTo>
                    <a:lnTo>
                      <a:pt x="2182" y="1160"/>
                    </a:lnTo>
                    <a:lnTo>
                      <a:pt x="2180" y="1160"/>
                    </a:lnTo>
                    <a:lnTo>
                      <a:pt x="2180" y="1166"/>
                    </a:lnTo>
                    <a:lnTo>
                      <a:pt x="2180" y="1172"/>
                    </a:lnTo>
                    <a:lnTo>
                      <a:pt x="2178" y="1170"/>
                    </a:lnTo>
                    <a:lnTo>
                      <a:pt x="2178" y="1172"/>
                    </a:lnTo>
                    <a:lnTo>
                      <a:pt x="2172" y="1177"/>
                    </a:lnTo>
                    <a:lnTo>
                      <a:pt x="2170" y="1179"/>
                    </a:lnTo>
                    <a:lnTo>
                      <a:pt x="2168" y="1179"/>
                    </a:lnTo>
                    <a:lnTo>
                      <a:pt x="2168" y="1181"/>
                    </a:lnTo>
                    <a:lnTo>
                      <a:pt x="2168" y="1187"/>
                    </a:lnTo>
                    <a:lnTo>
                      <a:pt x="2167" y="1187"/>
                    </a:lnTo>
                    <a:lnTo>
                      <a:pt x="2165" y="1189"/>
                    </a:lnTo>
                    <a:lnTo>
                      <a:pt x="2163" y="1189"/>
                    </a:lnTo>
                    <a:lnTo>
                      <a:pt x="2163" y="1191"/>
                    </a:lnTo>
                    <a:lnTo>
                      <a:pt x="2161" y="1191"/>
                    </a:lnTo>
                    <a:lnTo>
                      <a:pt x="2161" y="1193"/>
                    </a:lnTo>
                    <a:lnTo>
                      <a:pt x="2159" y="1193"/>
                    </a:lnTo>
                    <a:lnTo>
                      <a:pt x="2157" y="1195"/>
                    </a:lnTo>
                    <a:lnTo>
                      <a:pt x="2157" y="1197"/>
                    </a:lnTo>
                    <a:lnTo>
                      <a:pt x="2153" y="1198"/>
                    </a:lnTo>
                    <a:lnTo>
                      <a:pt x="2151" y="1200"/>
                    </a:lnTo>
                    <a:lnTo>
                      <a:pt x="2146" y="1210"/>
                    </a:lnTo>
                    <a:lnTo>
                      <a:pt x="2147" y="1206"/>
                    </a:lnTo>
                    <a:lnTo>
                      <a:pt x="2146" y="1206"/>
                    </a:lnTo>
                    <a:lnTo>
                      <a:pt x="2144" y="1208"/>
                    </a:lnTo>
                    <a:lnTo>
                      <a:pt x="2144" y="1210"/>
                    </a:lnTo>
                    <a:lnTo>
                      <a:pt x="2146" y="1210"/>
                    </a:lnTo>
                    <a:lnTo>
                      <a:pt x="2146" y="1214"/>
                    </a:lnTo>
                    <a:lnTo>
                      <a:pt x="2144" y="1214"/>
                    </a:lnTo>
                    <a:lnTo>
                      <a:pt x="2144" y="1216"/>
                    </a:lnTo>
                    <a:lnTo>
                      <a:pt x="2144" y="1214"/>
                    </a:lnTo>
                    <a:lnTo>
                      <a:pt x="2146" y="1214"/>
                    </a:lnTo>
                    <a:lnTo>
                      <a:pt x="2144" y="1214"/>
                    </a:lnTo>
                    <a:lnTo>
                      <a:pt x="2142" y="1214"/>
                    </a:lnTo>
                    <a:lnTo>
                      <a:pt x="2142" y="1218"/>
                    </a:lnTo>
                    <a:lnTo>
                      <a:pt x="2144" y="1223"/>
                    </a:lnTo>
                    <a:lnTo>
                      <a:pt x="2142" y="1221"/>
                    </a:lnTo>
                    <a:lnTo>
                      <a:pt x="2142" y="1219"/>
                    </a:lnTo>
                    <a:lnTo>
                      <a:pt x="2140" y="1223"/>
                    </a:lnTo>
                    <a:lnTo>
                      <a:pt x="2140" y="1225"/>
                    </a:lnTo>
                    <a:lnTo>
                      <a:pt x="2140" y="1227"/>
                    </a:lnTo>
                    <a:lnTo>
                      <a:pt x="2138" y="1229"/>
                    </a:lnTo>
                    <a:lnTo>
                      <a:pt x="2140" y="1229"/>
                    </a:lnTo>
                    <a:lnTo>
                      <a:pt x="2140" y="1227"/>
                    </a:lnTo>
                    <a:lnTo>
                      <a:pt x="2142" y="1227"/>
                    </a:lnTo>
                    <a:lnTo>
                      <a:pt x="2144" y="1227"/>
                    </a:lnTo>
                    <a:lnTo>
                      <a:pt x="2144" y="1225"/>
                    </a:lnTo>
                    <a:lnTo>
                      <a:pt x="2144" y="1227"/>
                    </a:lnTo>
                    <a:lnTo>
                      <a:pt x="2146" y="1229"/>
                    </a:lnTo>
                    <a:lnTo>
                      <a:pt x="2146" y="1227"/>
                    </a:lnTo>
                    <a:lnTo>
                      <a:pt x="2146" y="1225"/>
                    </a:lnTo>
                    <a:lnTo>
                      <a:pt x="2144" y="1223"/>
                    </a:lnTo>
                    <a:lnTo>
                      <a:pt x="2146" y="1225"/>
                    </a:lnTo>
                    <a:lnTo>
                      <a:pt x="2147" y="1223"/>
                    </a:lnTo>
                    <a:lnTo>
                      <a:pt x="2149" y="1227"/>
                    </a:lnTo>
                    <a:lnTo>
                      <a:pt x="2151" y="1227"/>
                    </a:lnTo>
                    <a:lnTo>
                      <a:pt x="2153" y="1225"/>
                    </a:lnTo>
                    <a:lnTo>
                      <a:pt x="2153" y="1227"/>
                    </a:lnTo>
                    <a:lnTo>
                      <a:pt x="2157" y="1231"/>
                    </a:lnTo>
                    <a:lnTo>
                      <a:pt x="2157" y="1233"/>
                    </a:lnTo>
                    <a:lnTo>
                      <a:pt x="2155" y="1235"/>
                    </a:lnTo>
                    <a:lnTo>
                      <a:pt x="2157" y="1237"/>
                    </a:lnTo>
                    <a:lnTo>
                      <a:pt x="2155" y="1235"/>
                    </a:lnTo>
                    <a:lnTo>
                      <a:pt x="2153" y="1237"/>
                    </a:lnTo>
                    <a:lnTo>
                      <a:pt x="2153" y="1235"/>
                    </a:lnTo>
                    <a:lnTo>
                      <a:pt x="2151" y="1235"/>
                    </a:lnTo>
                    <a:lnTo>
                      <a:pt x="2149" y="1235"/>
                    </a:lnTo>
                    <a:lnTo>
                      <a:pt x="2149" y="1237"/>
                    </a:lnTo>
                    <a:lnTo>
                      <a:pt x="2151" y="1237"/>
                    </a:lnTo>
                    <a:lnTo>
                      <a:pt x="2147" y="1237"/>
                    </a:lnTo>
                    <a:lnTo>
                      <a:pt x="2147" y="1235"/>
                    </a:lnTo>
                    <a:lnTo>
                      <a:pt x="2146" y="1235"/>
                    </a:lnTo>
                    <a:lnTo>
                      <a:pt x="2144" y="1235"/>
                    </a:lnTo>
                    <a:lnTo>
                      <a:pt x="2144" y="1239"/>
                    </a:lnTo>
                    <a:lnTo>
                      <a:pt x="2144" y="1237"/>
                    </a:lnTo>
                    <a:lnTo>
                      <a:pt x="2142" y="1239"/>
                    </a:lnTo>
                    <a:lnTo>
                      <a:pt x="2140" y="1239"/>
                    </a:lnTo>
                    <a:lnTo>
                      <a:pt x="2138" y="1240"/>
                    </a:lnTo>
                    <a:lnTo>
                      <a:pt x="2136" y="1239"/>
                    </a:lnTo>
                    <a:lnTo>
                      <a:pt x="2136" y="1237"/>
                    </a:lnTo>
                    <a:lnTo>
                      <a:pt x="2132" y="1235"/>
                    </a:lnTo>
                    <a:lnTo>
                      <a:pt x="2134" y="1233"/>
                    </a:lnTo>
                    <a:lnTo>
                      <a:pt x="2132" y="1235"/>
                    </a:lnTo>
                    <a:lnTo>
                      <a:pt x="2130" y="1235"/>
                    </a:lnTo>
                    <a:lnTo>
                      <a:pt x="2128" y="1235"/>
                    </a:lnTo>
                    <a:lnTo>
                      <a:pt x="2128" y="1233"/>
                    </a:lnTo>
                    <a:lnTo>
                      <a:pt x="2128" y="1235"/>
                    </a:lnTo>
                    <a:lnTo>
                      <a:pt x="2126" y="1237"/>
                    </a:lnTo>
                    <a:lnTo>
                      <a:pt x="2126" y="1239"/>
                    </a:lnTo>
                    <a:lnTo>
                      <a:pt x="2123" y="1239"/>
                    </a:lnTo>
                    <a:lnTo>
                      <a:pt x="2121" y="1240"/>
                    </a:lnTo>
                    <a:lnTo>
                      <a:pt x="2121" y="1244"/>
                    </a:lnTo>
                    <a:lnTo>
                      <a:pt x="2119" y="1244"/>
                    </a:lnTo>
                    <a:lnTo>
                      <a:pt x="2117" y="1244"/>
                    </a:lnTo>
                    <a:lnTo>
                      <a:pt x="2117" y="1242"/>
                    </a:lnTo>
                    <a:lnTo>
                      <a:pt x="2115" y="1242"/>
                    </a:lnTo>
                    <a:lnTo>
                      <a:pt x="2113" y="1242"/>
                    </a:lnTo>
                    <a:lnTo>
                      <a:pt x="2111" y="1239"/>
                    </a:lnTo>
                    <a:lnTo>
                      <a:pt x="2111" y="1240"/>
                    </a:lnTo>
                    <a:lnTo>
                      <a:pt x="2109" y="1240"/>
                    </a:lnTo>
                    <a:lnTo>
                      <a:pt x="2109" y="1242"/>
                    </a:lnTo>
                    <a:lnTo>
                      <a:pt x="2107" y="1242"/>
                    </a:lnTo>
                    <a:lnTo>
                      <a:pt x="2107" y="1244"/>
                    </a:lnTo>
                    <a:lnTo>
                      <a:pt x="2104" y="1244"/>
                    </a:lnTo>
                    <a:lnTo>
                      <a:pt x="2102" y="1246"/>
                    </a:lnTo>
                    <a:lnTo>
                      <a:pt x="2098" y="1246"/>
                    </a:lnTo>
                    <a:lnTo>
                      <a:pt x="2096" y="1246"/>
                    </a:lnTo>
                    <a:lnTo>
                      <a:pt x="2094" y="1244"/>
                    </a:lnTo>
                    <a:lnTo>
                      <a:pt x="2094" y="1242"/>
                    </a:lnTo>
                    <a:lnTo>
                      <a:pt x="2094" y="1240"/>
                    </a:lnTo>
                    <a:lnTo>
                      <a:pt x="2092" y="1240"/>
                    </a:lnTo>
                    <a:lnTo>
                      <a:pt x="2092" y="1239"/>
                    </a:lnTo>
                    <a:lnTo>
                      <a:pt x="2094" y="1239"/>
                    </a:lnTo>
                    <a:lnTo>
                      <a:pt x="2096" y="1239"/>
                    </a:lnTo>
                    <a:lnTo>
                      <a:pt x="2096" y="1237"/>
                    </a:lnTo>
                    <a:lnTo>
                      <a:pt x="2100" y="1237"/>
                    </a:lnTo>
                    <a:lnTo>
                      <a:pt x="2102" y="1237"/>
                    </a:lnTo>
                    <a:lnTo>
                      <a:pt x="2104" y="1237"/>
                    </a:lnTo>
                    <a:lnTo>
                      <a:pt x="2105" y="1237"/>
                    </a:lnTo>
                    <a:lnTo>
                      <a:pt x="2107" y="1237"/>
                    </a:lnTo>
                    <a:lnTo>
                      <a:pt x="2109" y="1235"/>
                    </a:lnTo>
                    <a:lnTo>
                      <a:pt x="2111" y="1235"/>
                    </a:lnTo>
                    <a:lnTo>
                      <a:pt x="2109" y="1233"/>
                    </a:lnTo>
                    <a:lnTo>
                      <a:pt x="2107" y="1233"/>
                    </a:lnTo>
                    <a:lnTo>
                      <a:pt x="2107" y="1231"/>
                    </a:lnTo>
                    <a:lnTo>
                      <a:pt x="2105" y="1233"/>
                    </a:lnTo>
                    <a:lnTo>
                      <a:pt x="2104" y="1231"/>
                    </a:lnTo>
                    <a:lnTo>
                      <a:pt x="2102" y="1231"/>
                    </a:lnTo>
                    <a:lnTo>
                      <a:pt x="2102" y="1229"/>
                    </a:lnTo>
                    <a:lnTo>
                      <a:pt x="2100" y="1227"/>
                    </a:lnTo>
                    <a:lnTo>
                      <a:pt x="2098" y="1225"/>
                    </a:lnTo>
                    <a:lnTo>
                      <a:pt x="2096" y="1223"/>
                    </a:lnTo>
                    <a:lnTo>
                      <a:pt x="2092" y="1223"/>
                    </a:lnTo>
                    <a:lnTo>
                      <a:pt x="2088" y="1223"/>
                    </a:lnTo>
                    <a:lnTo>
                      <a:pt x="2088" y="1225"/>
                    </a:lnTo>
                    <a:lnTo>
                      <a:pt x="2088" y="1227"/>
                    </a:lnTo>
                    <a:lnTo>
                      <a:pt x="2086" y="1227"/>
                    </a:lnTo>
                    <a:lnTo>
                      <a:pt x="2086" y="1225"/>
                    </a:lnTo>
                    <a:lnTo>
                      <a:pt x="2085" y="1225"/>
                    </a:lnTo>
                    <a:lnTo>
                      <a:pt x="2083" y="1225"/>
                    </a:lnTo>
                    <a:lnTo>
                      <a:pt x="2083" y="1227"/>
                    </a:lnTo>
                    <a:lnTo>
                      <a:pt x="2083" y="1225"/>
                    </a:lnTo>
                    <a:lnTo>
                      <a:pt x="2086" y="1225"/>
                    </a:lnTo>
                    <a:lnTo>
                      <a:pt x="2086" y="1223"/>
                    </a:lnTo>
                    <a:lnTo>
                      <a:pt x="2083" y="1223"/>
                    </a:lnTo>
                    <a:lnTo>
                      <a:pt x="2081" y="1223"/>
                    </a:lnTo>
                    <a:lnTo>
                      <a:pt x="2081" y="1221"/>
                    </a:lnTo>
                    <a:lnTo>
                      <a:pt x="2079" y="1221"/>
                    </a:lnTo>
                    <a:lnTo>
                      <a:pt x="2077" y="1221"/>
                    </a:lnTo>
                    <a:lnTo>
                      <a:pt x="2069" y="1218"/>
                    </a:lnTo>
                    <a:lnTo>
                      <a:pt x="2067" y="1218"/>
                    </a:lnTo>
                    <a:lnTo>
                      <a:pt x="2064" y="1218"/>
                    </a:lnTo>
                    <a:lnTo>
                      <a:pt x="2060" y="1221"/>
                    </a:lnTo>
                    <a:lnTo>
                      <a:pt x="2060" y="1225"/>
                    </a:lnTo>
                    <a:lnTo>
                      <a:pt x="2062" y="1225"/>
                    </a:lnTo>
                    <a:lnTo>
                      <a:pt x="2062" y="1227"/>
                    </a:lnTo>
                    <a:lnTo>
                      <a:pt x="2062" y="1225"/>
                    </a:lnTo>
                    <a:lnTo>
                      <a:pt x="2060" y="1225"/>
                    </a:lnTo>
                    <a:lnTo>
                      <a:pt x="2058" y="1227"/>
                    </a:lnTo>
                    <a:lnTo>
                      <a:pt x="2056" y="1225"/>
                    </a:lnTo>
                    <a:lnTo>
                      <a:pt x="2058" y="1225"/>
                    </a:lnTo>
                    <a:lnTo>
                      <a:pt x="2056" y="1223"/>
                    </a:lnTo>
                    <a:lnTo>
                      <a:pt x="2054" y="1225"/>
                    </a:lnTo>
                    <a:lnTo>
                      <a:pt x="2054" y="1227"/>
                    </a:lnTo>
                    <a:lnTo>
                      <a:pt x="2054" y="1229"/>
                    </a:lnTo>
                    <a:lnTo>
                      <a:pt x="2056" y="1231"/>
                    </a:lnTo>
                    <a:lnTo>
                      <a:pt x="2056" y="1229"/>
                    </a:lnTo>
                    <a:lnTo>
                      <a:pt x="2058" y="1229"/>
                    </a:lnTo>
                    <a:lnTo>
                      <a:pt x="2056" y="1231"/>
                    </a:lnTo>
                    <a:lnTo>
                      <a:pt x="2058" y="1233"/>
                    </a:lnTo>
                    <a:lnTo>
                      <a:pt x="2058" y="1235"/>
                    </a:lnTo>
                    <a:lnTo>
                      <a:pt x="2056" y="1233"/>
                    </a:lnTo>
                    <a:lnTo>
                      <a:pt x="2054" y="1233"/>
                    </a:lnTo>
                    <a:lnTo>
                      <a:pt x="2054" y="1235"/>
                    </a:lnTo>
                    <a:lnTo>
                      <a:pt x="2054" y="1233"/>
                    </a:lnTo>
                    <a:lnTo>
                      <a:pt x="2052" y="1233"/>
                    </a:lnTo>
                    <a:lnTo>
                      <a:pt x="2048" y="1233"/>
                    </a:lnTo>
                    <a:lnTo>
                      <a:pt x="2050" y="1233"/>
                    </a:lnTo>
                    <a:lnTo>
                      <a:pt x="2048" y="1231"/>
                    </a:lnTo>
                    <a:lnTo>
                      <a:pt x="2048" y="1229"/>
                    </a:lnTo>
                    <a:lnTo>
                      <a:pt x="2046" y="1229"/>
                    </a:lnTo>
                    <a:lnTo>
                      <a:pt x="2039" y="1229"/>
                    </a:lnTo>
                    <a:lnTo>
                      <a:pt x="2039" y="1231"/>
                    </a:lnTo>
                    <a:lnTo>
                      <a:pt x="2041" y="1231"/>
                    </a:lnTo>
                    <a:lnTo>
                      <a:pt x="2039" y="1233"/>
                    </a:lnTo>
                    <a:lnTo>
                      <a:pt x="2037" y="1233"/>
                    </a:lnTo>
                    <a:lnTo>
                      <a:pt x="2037" y="1231"/>
                    </a:lnTo>
                    <a:lnTo>
                      <a:pt x="2035" y="1233"/>
                    </a:lnTo>
                    <a:lnTo>
                      <a:pt x="2031" y="1231"/>
                    </a:lnTo>
                    <a:lnTo>
                      <a:pt x="2029" y="1231"/>
                    </a:lnTo>
                    <a:lnTo>
                      <a:pt x="2027" y="1231"/>
                    </a:lnTo>
                    <a:lnTo>
                      <a:pt x="2027" y="1229"/>
                    </a:lnTo>
                    <a:lnTo>
                      <a:pt x="2023" y="1229"/>
                    </a:lnTo>
                    <a:lnTo>
                      <a:pt x="2022" y="1229"/>
                    </a:lnTo>
                    <a:lnTo>
                      <a:pt x="2020" y="1227"/>
                    </a:lnTo>
                    <a:lnTo>
                      <a:pt x="2018" y="1227"/>
                    </a:lnTo>
                    <a:lnTo>
                      <a:pt x="2016" y="1229"/>
                    </a:lnTo>
                    <a:lnTo>
                      <a:pt x="2016" y="1231"/>
                    </a:lnTo>
                    <a:lnTo>
                      <a:pt x="2016" y="1233"/>
                    </a:lnTo>
                    <a:lnTo>
                      <a:pt x="2016" y="1235"/>
                    </a:lnTo>
                    <a:lnTo>
                      <a:pt x="2014" y="1235"/>
                    </a:lnTo>
                    <a:lnTo>
                      <a:pt x="2012" y="1235"/>
                    </a:lnTo>
                    <a:lnTo>
                      <a:pt x="2012" y="1237"/>
                    </a:lnTo>
                    <a:lnTo>
                      <a:pt x="2010" y="1237"/>
                    </a:lnTo>
                    <a:lnTo>
                      <a:pt x="2010" y="1235"/>
                    </a:lnTo>
                    <a:lnTo>
                      <a:pt x="2008" y="1233"/>
                    </a:lnTo>
                    <a:lnTo>
                      <a:pt x="2008" y="1231"/>
                    </a:lnTo>
                    <a:lnTo>
                      <a:pt x="2010" y="1231"/>
                    </a:lnTo>
                    <a:lnTo>
                      <a:pt x="2010" y="1229"/>
                    </a:lnTo>
                    <a:lnTo>
                      <a:pt x="2008" y="1229"/>
                    </a:lnTo>
                    <a:lnTo>
                      <a:pt x="2006" y="1229"/>
                    </a:lnTo>
                    <a:lnTo>
                      <a:pt x="2006" y="1227"/>
                    </a:lnTo>
                    <a:lnTo>
                      <a:pt x="2004" y="1229"/>
                    </a:lnTo>
                    <a:lnTo>
                      <a:pt x="2003" y="1229"/>
                    </a:lnTo>
                    <a:lnTo>
                      <a:pt x="2001" y="1229"/>
                    </a:lnTo>
                    <a:lnTo>
                      <a:pt x="1999" y="1227"/>
                    </a:lnTo>
                    <a:lnTo>
                      <a:pt x="1995" y="1229"/>
                    </a:lnTo>
                    <a:lnTo>
                      <a:pt x="1993" y="1229"/>
                    </a:lnTo>
                    <a:lnTo>
                      <a:pt x="1985" y="1229"/>
                    </a:lnTo>
                    <a:lnTo>
                      <a:pt x="1980" y="1229"/>
                    </a:lnTo>
                    <a:lnTo>
                      <a:pt x="1978" y="1229"/>
                    </a:lnTo>
                    <a:lnTo>
                      <a:pt x="1974" y="1229"/>
                    </a:lnTo>
                    <a:lnTo>
                      <a:pt x="1970" y="1231"/>
                    </a:lnTo>
                    <a:lnTo>
                      <a:pt x="1968" y="1231"/>
                    </a:lnTo>
                    <a:lnTo>
                      <a:pt x="1966" y="1231"/>
                    </a:lnTo>
                    <a:lnTo>
                      <a:pt x="1966" y="1229"/>
                    </a:lnTo>
                    <a:lnTo>
                      <a:pt x="1964" y="1231"/>
                    </a:lnTo>
                    <a:lnTo>
                      <a:pt x="1955" y="1235"/>
                    </a:lnTo>
                    <a:lnTo>
                      <a:pt x="1949" y="1239"/>
                    </a:lnTo>
                    <a:lnTo>
                      <a:pt x="1947" y="1240"/>
                    </a:lnTo>
                    <a:lnTo>
                      <a:pt x="1943" y="1250"/>
                    </a:lnTo>
                    <a:lnTo>
                      <a:pt x="1940" y="1254"/>
                    </a:lnTo>
                    <a:lnTo>
                      <a:pt x="1934" y="1258"/>
                    </a:lnTo>
                    <a:lnTo>
                      <a:pt x="1932" y="1258"/>
                    </a:lnTo>
                    <a:lnTo>
                      <a:pt x="1928" y="1263"/>
                    </a:lnTo>
                    <a:lnTo>
                      <a:pt x="1926" y="1265"/>
                    </a:lnTo>
                    <a:lnTo>
                      <a:pt x="1924" y="1271"/>
                    </a:lnTo>
                    <a:lnTo>
                      <a:pt x="1922" y="1277"/>
                    </a:lnTo>
                    <a:lnTo>
                      <a:pt x="1921" y="1279"/>
                    </a:lnTo>
                    <a:lnTo>
                      <a:pt x="1919" y="1279"/>
                    </a:lnTo>
                    <a:lnTo>
                      <a:pt x="1917" y="1281"/>
                    </a:lnTo>
                    <a:lnTo>
                      <a:pt x="1913" y="1284"/>
                    </a:lnTo>
                    <a:lnTo>
                      <a:pt x="1911" y="1286"/>
                    </a:lnTo>
                    <a:lnTo>
                      <a:pt x="1909" y="1288"/>
                    </a:lnTo>
                    <a:lnTo>
                      <a:pt x="1907" y="1292"/>
                    </a:lnTo>
                    <a:lnTo>
                      <a:pt x="1905" y="1292"/>
                    </a:lnTo>
                    <a:lnTo>
                      <a:pt x="1903" y="1294"/>
                    </a:lnTo>
                    <a:lnTo>
                      <a:pt x="1901" y="1294"/>
                    </a:lnTo>
                    <a:lnTo>
                      <a:pt x="1900" y="1296"/>
                    </a:lnTo>
                    <a:lnTo>
                      <a:pt x="1900" y="1298"/>
                    </a:lnTo>
                    <a:lnTo>
                      <a:pt x="1900" y="1296"/>
                    </a:lnTo>
                    <a:lnTo>
                      <a:pt x="1898" y="1298"/>
                    </a:lnTo>
                    <a:lnTo>
                      <a:pt x="1898" y="1300"/>
                    </a:lnTo>
                    <a:lnTo>
                      <a:pt x="1898" y="1302"/>
                    </a:lnTo>
                    <a:lnTo>
                      <a:pt x="1896" y="1300"/>
                    </a:lnTo>
                    <a:lnTo>
                      <a:pt x="1896" y="1302"/>
                    </a:lnTo>
                    <a:lnTo>
                      <a:pt x="1894" y="1302"/>
                    </a:lnTo>
                    <a:lnTo>
                      <a:pt x="1894" y="1303"/>
                    </a:lnTo>
                    <a:lnTo>
                      <a:pt x="1892" y="1305"/>
                    </a:lnTo>
                    <a:lnTo>
                      <a:pt x="1892" y="1307"/>
                    </a:lnTo>
                    <a:lnTo>
                      <a:pt x="1892" y="1305"/>
                    </a:lnTo>
                    <a:lnTo>
                      <a:pt x="1890" y="1305"/>
                    </a:lnTo>
                    <a:lnTo>
                      <a:pt x="1890" y="1307"/>
                    </a:lnTo>
                    <a:lnTo>
                      <a:pt x="1890" y="1309"/>
                    </a:lnTo>
                    <a:lnTo>
                      <a:pt x="1888" y="1309"/>
                    </a:lnTo>
                    <a:lnTo>
                      <a:pt x="1888" y="1311"/>
                    </a:lnTo>
                    <a:lnTo>
                      <a:pt x="1888" y="1313"/>
                    </a:lnTo>
                    <a:lnTo>
                      <a:pt x="1886" y="1311"/>
                    </a:lnTo>
                    <a:lnTo>
                      <a:pt x="1886" y="1313"/>
                    </a:lnTo>
                    <a:lnTo>
                      <a:pt x="1884" y="1313"/>
                    </a:lnTo>
                    <a:lnTo>
                      <a:pt x="1884" y="1315"/>
                    </a:lnTo>
                    <a:lnTo>
                      <a:pt x="1886" y="1317"/>
                    </a:lnTo>
                    <a:lnTo>
                      <a:pt x="1888" y="1317"/>
                    </a:lnTo>
                    <a:lnTo>
                      <a:pt x="1886" y="1319"/>
                    </a:lnTo>
                    <a:lnTo>
                      <a:pt x="1886" y="1317"/>
                    </a:lnTo>
                    <a:lnTo>
                      <a:pt x="1884" y="1317"/>
                    </a:lnTo>
                    <a:lnTo>
                      <a:pt x="1884" y="1319"/>
                    </a:lnTo>
                    <a:lnTo>
                      <a:pt x="1882" y="1319"/>
                    </a:lnTo>
                    <a:lnTo>
                      <a:pt x="1880" y="1321"/>
                    </a:lnTo>
                    <a:lnTo>
                      <a:pt x="1880" y="1323"/>
                    </a:lnTo>
                    <a:lnTo>
                      <a:pt x="1879" y="1324"/>
                    </a:lnTo>
                    <a:lnTo>
                      <a:pt x="1879" y="1326"/>
                    </a:lnTo>
                    <a:lnTo>
                      <a:pt x="1877" y="1326"/>
                    </a:lnTo>
                    <a:lnTo>
                      <a:pt x="1875" y="1328"/>
                    </a:lnTo>
                    <a:lnTo>
                      <a:pt x="1875" y="1330"/>
                    </a:lnTo>
                    <a:lnTo>
                      <a:pt x="1873" y="1332"/>
                    </a:lnTo>
                    <a:lnTo>
                      <a:pt x="1873" y="1330"/>
                    </a:lnTo>
                    <a:lnTo>
                      <a:pt x="1873" y="1332"/>
                    </a:lnTo>
                    <a:lnTo>
                      <a:pt x="1871" y="1332"/>
                    </a:lnTo>
                    <a:lnTo>
                      <a:pt x="1869" y="1334"/>
                    </a:lnTo>
                    <a:lnTo>
                      <a:pt x="1867" y="1336"/>
                    </a:lnTo>
                    <a:lnTo>
                      <a:pt x="1865" y="1336"/>
                    </a:lnTo>
                    <a:lnTo>
                      <a:pt x="1863" y="1338"/>
                    </a:lnTo>
                    <a:lnTo>
                      <a:pt x="1863" y="1340"/>
                    </a:lnTo>
                    <a:lnTo>
                      <a:pt x="1861" y="1342"/>
                    </a:lnTo>
                    <a:lnTo>
                      <a:pt x="1860" y="1342"/>
                    </a:lnTo>
                    <a:lnTo>
                      <a:pt x="1858" y="1342"/>
                    </a:lnTo>
                    <a:lnTo>
                      <a:pt x="1858" y="1343"/>
                    </a:lnTo>
                    <a:lnTo>
                      <a:pt x="1856" y="1345"/>
                    </a:lnTo>
                    <a:lnTo>
                      <a:pt x="1856" y="1347"/>
                    </a:lnTo>
                    <a:lnTo>
                      <a:pt x="1854" y="1349"/>
                    </a:lnTo>
                    <a:lnTo>
                      <a:pt x="1852" y="1351"/>
                    </a:lnTo>
                    <a:lnTo>
                      <a:pt x="1850" y="1353"/>
                    </a:lnTo>
                    <a:lnTo>
                      <a:pt x="1848" y="1353"/>
                    </a:lnTo>
                    <a:lnTo>
                      <a:pt x="1848" y="1355"/>
                    </a:lnTo>
                    <a:lnTo>
                      <a:pt x="1844" y="1355"/>
                    </a:lnTo>
                    <a:lnTo>
                      <a:pt x="1842" y="1357"/>
                    </a:lnTo>
                    <a:lnTo>
                      <a:pt x="1840" y="1359"/>
                    </a:lnTo>
                    <a:lnTo>
                      <a:pt x="1840" y="1361"/>
                    </a:lnTo>
                    <a:lnTo>
                      <a:pt x="1839" y="1361"/>
                    </a:lnTo>
                    <a:lnTo>
                      <a:pt x="1839" y="1363"/>
                    </a:lnTo>
                    <a:lnTo>
                      <a:pt x="1840" y="1366"/>
                    </a:lnTo>
                    <a:lnTo>
                      <a:pt x="1846" y="1368"/>
                    </a:lnTo>
                    <a:lnTo>
                      <a:pt x="1846" y="1370"/>
                    </a:lnTo>
                    <a:lnTo>
                      <a:pt x="1848" y="1370"/>
                    </a:lnTo>
                    <a:lnTo>
                      <a:pt x="1852" y="1370"/>
                    </a:lnTo>
                    <a:lnTo>
                      <a:pt x="1856" y="1368"/>
                    </a:lnTo>
                    <a:lnTo>
                      <a:pt x="1856" y="1370"/>
                    </a:lnTo>
                    <a:lnTo>
                      <a:pt x="1856" y="1368"/>
                    </a:lnTo>
                    <a:lnTo>
                      <a:pt x="1858" y="1370"/>
                    </a:lnTo>
                    <a:lnTo>
                      <a:pt x="1860" y="1370"/>
                    </a:lnTo>
                    <a:lnTo>
                      <a:pt x="1861" y="1368"/>
                    </a:lnTo>
                    <a:lnTo>
                      <a:pt x="1861" y="1366"/>
                    </a:lnTo>
                    <a:lnTo>
                      <a:pt x="1861" y="1368"/>
                    </a:lnTo>
                    <a:lnTo>
                      <a:pt x="1863" y="1368"/>
                    </a:lnTo>
                    <a:lnTo>
                      <a:pt x="1865" y="1368"/>
                    </a:lnTo>
                    <a:lnTo>
                      <a:pt x="1863" y="1370"/>
                    </a:lnTo>
                    <a:lnTo>
                      <a:pt x="1865" y="1370"/>
                    </a:lnTo>
                    <a:lnTo>
                      <a:pt x="1865" y="1372"/>
                    </a:lnTo>
                    <a:lnTo>
                      <a:pt x="1863" y="1372"/>
                    </a:lnTo>
                    <a:lnTo>
                      <a:pt x="1865" y="1374"/>
                    </a:lnTo>
                    <a:lnTo>
                      <a:pt x="1863" y="1374"/>
                    </a:lnTo>
                    <a:lnTo>
                      <a:pt x="1863" y="1376"/>
                    </a:lnTo>
                    <a:lnTo>
                      <a:pt x="1865" y="1378"/>
                    </a:lnTo>
                    <a:lnTo>
                      <a:pt x="1863" y="1378"/>
                    </a:lnTo>
                    <a:lnTo>
                      <a:pt x="1863" y="1380"/>
                    </a:lnTo>
                    <a:lnTo>
                      <a:pt x="1863" y="1382"/>
                    </a:lnTo>
                    <a:lnTo>
                      <a:pt x="1865" y="1382"/>
                    </a:lnTo>
                    <a:lnTo>
                      <a:pt x="1863" y="1382"/>
                    </a:lnTo>
                    <a:lnTo>
                      <a:pt x="1863" y="1384"/>
                    </a:lnTo>
                    <a:lnTo>
                      <a:pt x="1863" y="1385"/>
                    </a:lnTo>
                    <a:lnTo>
                      <a:pt x="1861" y="1387"/>
                    </a:lnTo>
                    <a:lnTo>
                      <a:pt x="1863" y="1391"/>
                    </a:lnTo>
                    <a:lnTo>
                      <a:pt x="1865" y="1391"/>
                    </a:lnTo>
                    <a:lnTo>
                      <a:pt x="1867" y="1389"/>
                    </a:lnTo>
                    <a:lnTo>
                      <a:pt x="1869" y="1389"/>
                    </a:lnTo>
                    <a:lnTo>
                      <a:pt x="1869" y="1391"/>
                    </a:lnTo>
                    <a:lnTo>
                      <a:pt x="1871" y="1389"/>
                    </a:lnTo>
                    <a:lnTo>
                      <a:pt x="1871" y="1387"/>
                    </a:lnTo>
                    <a:lnTo>
                      <a:pt x="1873" y="1385"/>
                    </a:lnTo>
                    <a:lnTo>
                      <a:pt x="1871" y="1384"/>
                    </a:lnTo>
                    <a:lnTo>
                      <a:pt x="1869" y="1385"/>
                    </a:lnTo>
                    <a:lnTo>
                      <a:pt x="1869" y="1384"/>
                    </a:lnTo>
                    <a:lnTo>
                      <a:pt x="1869" y="1382"/>
                    </a:lnTo>
                    <a:lnTo>
                      <a:pt x="1871" y="1380"/>
                    </a:lnTo>
                    <a:lnTo>
                      <a:pt x="1873" y="1380"/>
                    </a:lnTo>
                    <a:lnTo>
                      <a:pt x="1871" y="1380"/>
                    </a:lnTo>
                    <a:lnTo>
                      <a:pt x="1873" y="1378"/>
                    </a:lnTo>
                    <a:lnTo>
                      <a:pt x="1875" y="1378"/>
                    </a:lnTo>
                    <a:lnTo>
                      <a:pt x="1877" y="1378"/>
                    </a:lnTo>
                    <a:lnTo>
                      <a:pt x="1879" y="1376"/>
                    </a:lnTo>
                    <a:lnTo>
                      <a:pt x="1879" y="1378"/>
                    </a:lnTo>
                    <a:lnTo>
                      <a:pt x="1875" y="1382"/>
                    </a:lnTo>
                    <a:lnTo>
                      <a:pt x="1875" y="1384"/>
                    </a:lnTo>
                    <a:lnTo>
                      <a:pt x="1875" y="1382"/>
                    </a:lnTo>
                    <a:lnTo>
                      <a:pt x="1873" y="1382"/>
                    </a:lnTo>
                    <a:lnTo>
                      <a:pt x="1873" y="1384"/>
                    </a:lnTo>
                    <a:lnTo>
                      <a:pt x="1873" y="1385"/>
                    </a:lnTo>
                    <a:lnTo>
                      <a:pt x="1873" y="1384"/>
                    </a:lnTo>
                    <a:lnTo>
                      <a:pt x="1873" y="1385"/>
                    </a:lnTo>
                    <a:lnTo>
                      <a:pt x="1875" y="1385"/>
                    </a:lnTo>
                    <a:lnTo>
                      <a:pt x="1877" y="1387"/>
                    </a:lnTo>
                    <a:lnTo>
                      <a:pt x="1880" y="1385"/>
                    </a:lnTo>
                    <a:lnTo>
                      <a:pt x="1880" y="1387"/>
                    </a:lnTo>
                    <a:lnTo>
                      <a:pt x="1879" y="1389"/>
                    </a:lnTo>
                    <a:lnTo>
                      <a:pt x="1877" y="1389"/>
                    </a:lnTo>
                    <a:lnTo>
                      <a:pt x="1877" y="1391"/>
                    </a:lnTo>
                    <a:lnTo>
                      <a:pt x="1877" y="1393"/>
                    </a:lnTo>
                    <a:lnTo>
                      <a:pt x="1875" y="1393"/>
                    </a:lnTo>
                    <a:lnTo>
                      <a:pt x="1875" y="1395"/>
                    </a:lnTo>
                    <a:lnTo>
                      <a:pt x="1873" y="1395"/>
                    </a:lnTo>
                    <a:lnTo>
                      <a:pt x="1871" y="1395"/>
                    </a:lnTo>
                    <a:lnTo>
                      <a:pt x="1871" y="1397"/>
                    </a:lnTo>
                    <a:lnTo>
                      <a:pt x="1873" y="1399"/>
                    </a:lnTo>
                    <a:lnTo>
                      <a:pt x="1879" y="1397"/>
                    </a:lnTo>
                    <a:lnTo>
                      <a:pt x="1882" y="1397"/>
                    </a:lnTo>
                    <a:lnTo>
                      <a:pt x="1882" y="1395"/>
                    </a:lnTo>
                    <a:lnTo>
                      <a:pt x="1886" y="1395"/>
                    </a:lnTo>
                    <a:lnTo>
                      <a:pt x="1888" y="1393"/>
                    </a:lnTo>
                    <a:lnTo>
                      <a:pt x="1888" y="1387"/>
                    </a:lnTo>
                    <a:lnTo>
                      <a:pt x="1892" y="1385"/>
                    </a:lnTo>
                    <a:lnTo>
                      <a:pt x="1892" y="1389"/>
                    </a:lnTo>
                    <a:lnTo>
                      <a:pt x="1892" y="1391"/>
                    </a:lnTo>
                    <a:lnTo>
                      <a:pt x="1888" y="1395"/>
                    </a:lnTo>
                    <a:lnTo>
                      <a:pt x="1888" y="1397"/>
                    </a:lnTo>
                    <a:lnTo>
                      <a:pt x="1888" y="1399"/>
                    </a:lnTo>
                    <a:lnTo>
                      <a:pt x="1890" y="1399"/>
                    </a:lnTo>
                    <a:lnTo>
                      <a:pt x="1892" y="1397"/>
                    </a:lnTo>
                    <a:lnTo>
                      <a:pt x="1894" y="1393"/>
                    </a:lnTo>
                    <a:lnTo>
                      <a:pt x="1894" y="1389"/>
                    </a:lnTo>
                    <a:lnTo>
                      <a:pt x="1896" y="1385"/>
                    </a:lnTo>
                    <a:lnTo>
                      <a:pt x="1896" y="1384"/>
                    </a:lnTo>
                    <a:lnTo>
                      <a:pt x="1894" y="1384"/>
                    </a:lnTo>
                    <a:lnTo>
                      <a:pt x="1894" y="1382"/>
                    </a:lnTo>
                    <a:lnTo>
                      <a:pt x="1896" y="1380"/>
                    </a:lnTo>
                    <a:lnTo>
                      <a:pt x="1894" y="1378"/>
                    </a:lnTo>
                    <a:lnTo>
                      <a:pt x="1896" y="1378"/>
                    </a:lnTo>
                    <a:lnTo>
                      <a:pt x="1900" y="1380"/>
                    </a:lnTo>
                    <a:lnTo>
                      <a:pt x="1903" y="1382"/>
                    </a:lnTo>
                    <a:lnTo>
                      <a:pt x="1905" y="1380"/>
                    </a:lnTo>
                    <a:lnTo>
                      <a:pt x="1909" y="1380"/>
                    </a:lnTo>
                    <a:lnTo>
                      <a:pt x="1911" y="1378"/>
                    </a:lnTo>
                    <a:lnTo>
                      <a:pt x="1911" y="1380"/>
                    </a:lnTo>
                    <a:lnTo>
                      <a:pt x="1913" y="1380"/>
                    </a:lnTo>
                    <a:lnTo>
                      <a:pt x="1913" y="1382"/>
                    </a:lnTo>
                    <a:lnTo>
                      <a:pt x="1915" y="1382"/>
                    </a:lnTo>
                    <a:lnTo>
                      <a:pt x="1919" y="1384"/>
                    </a:lnTo>
                    <a:lnTo>
                      <a:pt x="1919" y="1385"/>
                    </a:lnTo>
                    <a:lnTo>
                      <a:pt x="1921" y="1387"/>
                    </a:lnTo>
                    <a:lnTo>
                      <a:pt x="1919" y="1389"/>
                    </a:lnTo>
                    <a:lnTo>
                      <a:pt x="1921" y="1391"/>
                    </a:lnTo>
                    <a:lnTo>
                      <a:pt x="1922" y="1393"/>
                    </a:lnTo>
                    <a:lnTo>
                      <a:pt x="1922" y="1395"/>
                    </a:lnTo>
                    <a:lnTo>
                      <a:pt x="1924" y="1395"/>
                    </a:lnTo>
                    <a:lnTo>
                      <a:pt x="1926" y="1397"/>
                    </a:lnTo>
                    <a:lnTo>
                      <a:pt x="1932" y="1401"/>
                    </a:lnTo>
                    <a:lnTo>
                      <a:pt x="1936" y="1403"/>
                    </a:lnTo>
                    <a:lnTo>
                      <a:pt x="1930" y="1399"/>
                    </a:lnTo>
                    <a:lnTo>
                      <a:pt x="1930" y="1401"/>
                    </a:lnTo>
                    <a:lnTo>
                      <a:pt x="1932" y="1403"/>
                    </a:lnTo>
                    <a:lnTo>
                      <a:pt x="1934" y="1405"/>
                    </a:lnTo>
                    <a:lnTo>
                      <a:pt x="1938" y="1405"/>
                    </a:lnTo>
                    <a:lnTo>
                      <a:pt x="1936" y="1406"/>
                    </a:lnTo>
                    <a:lnTo>
                      <a:pt x="1938" y="1406"/>
                    </a:lnTo>
                    <a:lnTo>
                      <a:pt x="1938" y="1408"/>
                    </a:lnTo>
                    <a:lnTo>
                      <a:pt x="1936" y="1408"/>
                    </a:lnTo>
                    <a:lnTo>
                      <a:pt x="1936" y="1410"/>
                    </a:lnTo>
                    <a:lnTo>
                      <a:pt x="1934" y="1410"/>
                    </a:lnTo>
                    <a:lnTo>
                      <a:pt x="1934" y="1412"/>
                    </a:lnTo>
                    <a:lnTo>
                      <a:pt x="1932" y="1412"/>
                    </a:lnTo>
                    <a:lnTo>
                      <a:pt x="1930" y="1410"/>
                    </a:lnTo>
                    <a:lnTo>
                      <a:pt x="1928" y="1410"/>
                    </a:lnTo>
                    <a:lnTo>
                      <a:pt x="1928" y="1408"/>
                    </a:lnTo>
                    <a:lnTo>
                      <a:pt x="1926" y="1408"/>
                    </a:lnTo>
                    <a:lnTo>
                      <a:pt x="1928" y="1410"/>
                    </a:lnTo>
                    <a:lnTo>
                      <a:pt x="1930" y="1412"/>
                    </a:lnTo>
                    <a:lnTo>
                      <a:pt x="1930" y="1414"/>
                    </a:lnTo>
                    <a:lnTo>
                      <a:pt x="1932" y="1414"/>
                    </a:lnTo>
                    <a:lnTo>
                      <a:pt x="1932" y="1416"/>
                    </a:lnTo>
                    <a:lnTo>
                      <a:pt x="1934" y="1416"/>
                    </a:lnTo>
                    <a:lnTo>
                      <a:pt x="1934" y="1418"/>
                    </a:lnTo>
                    <a:lnTo>
                      <a:pt x="1934" y="1420"/>
                    </a:lnTo>
                    <a:lnTo>
                      <a:pt x="1936" y="1420"/>
                    </a:lnTo>
                    <a:lnTo>
                      <a:pt x="1936" y="1422"/>
                    </a:lnTo>
                    <a:lnTo>
                      <a:pt x="1936" y="1424"/>
                    </a:lnTo>
                    <a:lnTo>
                      <a:pt x="1934" y="1426"/>
                    </a:lnTo>
                    <a:lnTo>
                      <a:pt x="1932" y="1426"/>
                    </a:lnTo>
                    <a:lnTo>
                      <a:pt x="1932" y="1427"/>
                    </a:lnTo>
                    <a:lnTo>
                      <a:pt x="1934" y="1429"/>
                    </a:lnTo>
                    <a:lnTo>
                      <a:pt x="1936" y="1431"/>
                    </a:lnTo>
                    <a:lnTo>
                      <a:pt x="1938" y="1433"/>
                    </a:lnTo>
                    <a:lnTo>
                      <a:pt x="1940" y="1433"/>
                    </a:lnTo>
                    <a:lnTo>
                      <a:pt x="1940" y="1435"/>
                    </a:lnTo>
                    <a:lnTo>
                      <a:pt x="1938" y="1435"/>
                    </a:lnTo>
                    <a:lnTo>
                      <a:pt x="1936" y="1435"/>
                    </a:lnTo>
                    <a:lnTo>
                      <a:pt x="1936" y="1437"/>
                    </a:lnTo>
                    <a:lnTo>
                      <a:pt x="1936" y="1439"/>
                    </a:lnTo>
                    <a:lnTo>
                      <a:pt x="1938" y="1439"/>
                    </a:lnTo>
                    <a:lnTo>
                      <a:pt x="1938" y="1441"/>
                    </a:lnTo>
                    <a:lnTo>
                      <a:pt x="1936" y="1441"/>
                    </a:lnTo>
                    <a:lnTo>
                      <a:pt x="1934" y="1443"/>
                    </a:lnTo>
                    <a:lnTo>
                      <a:pt x="1934" y="1445"/>
                    </a:lnTo>
                    <a:lnTo>
                      <a:pt x="1932" y="1445"/>
                    </a:lnTo>
                    <a:lnTo>
                      <a:pt x="1932" y="1447"/>
                    </a:lnTo>
                    <a:lnTo>
                      <a:pt x="1930" y="1447"/>
                    </a:lnTo>
                    <a:lnTo>
                      <a:pt x="1928" y="1448"/>
                    </a:lnTo>
                    <a:lnTo>
                      <a:pt x="1928" y="1452"/>
                    </a:lnTo>
                    <a:lnTo>
                      <a:pt x="1928" y="1450"/>
                    </a:lnTo>
                    <a:lnTo>
                      <a:pt x="1926" y="1452"/>
                    </a:lnTo>
                    <a:lnTo>
                      <a:pt x="1928" y="1452"/>
                    </a:lnTo>
                    <a:lnTo>
                      <a:pt x="1928" y="1454"/>
                    </a:lnTo>
                    <a:lnTo>
                      <a:pt x="1928" y="1452"/>
                    </a:lnTo>
                    <a:lnTo>
                      <a:pt x="1928" y="1454"/>
                    </a:lnTo>
                    <a:lnTo>
                      <a:pt x="1928" y="1456"/>
                    </a:lnTo>
                    <a:lnTo>
                      <a:pt x="1926" y="1456"/>
                    </a:lnTo>
                    <a:lnTo>
                      <a:pt x="1926" y="1458"/>
                    </a:lnTo>
                    <a:lnTo>
                      <a:pt x="1924" y="1458"/>
                    </a:lnTo>
                    <a:lnTo>
                      <a:pt x="1926" y="1458"/>
                    </a:lnTo>
                    <a:lnTo>
                      <a:pt x="1926" y="1460"/>
                    </a:lnTo>
                    <a:lnTo>
                      <a:pt x="1924" y="1462"/>
                    </a:lnTo>
                    <a:lnTo>
                      <a:pt x="1926" y="1462"/>
                    </a:lnTo>
                    <a:lnTo>
                      <a:pt x="1924" y="1464"/>
                    </a:lnTo>
                    <a:lnTo>
                      <a:pt x="1926" y="1466"/>
                    </a:lnTo>
                    <a:lnTo>
                      <a:pt x="1922" y="1466"/>
                    </a:lnTo>
                    <a:lnTo>
                      <a:pt x="1922" y="1468"/>
                    </a:lnTo>
                    <a:lnTo>
                      <a:pt x="1922" y="1469"/>
                    </a:lnTo>
                    <a:lnTo>
                      <a:pt x="1922" y="1471"/>
                    </a:lnTo>
                    <a:lnTo>
                      <a:pt x="1922" y="1473"/>
                    </a:lnTo>
                    <a:lnTo>
                      <a:pt x="1922" y="1475"/>
                    </a:lnTo>
                    <a:lnTo>
                      <a:pt x="1922" y="1477"/>
                    </a:lnTo>
                    <a:lnTo>
                      <a:pt x="1922" y="1481"/>
                    </a:lnTo>
                    <a:lnTo>
                      <a:pt x="1922" y="1483"/>
                    </a:lnTo>
                    <a:lnTo>
                      <a:pt x="1922" y="1485"/>
                    </a:lnTo>
                    <a:lnTo>
                      <a:pt x="1924" y="1487"/>
                    </a:lnTo>
                    <a:lnTo>
                      <a:pt x="1926" y="1487"/>
                    </a:lnTo>
                    <a:lnTo>
                      <a:pt x="1924" y="1489"/>
                    </a:lnTo>
                    <a:lnTo>
                      <a:pt x="1922" y="1489"/>
                    </a:lnTo>
                    <a:lnTo>
                      <a:pt x="1922" y="1492"/>
                    </a:lnTo>
                    <a:lnTo>
                      <a:pt x="1921" y="1492"/>
                    </a:lnTo>
                    <a:lnTo>
                      <a:pt x="1922" y="1494"/>
                    </a:lnTo>
                    <a:lnTo>
                      <a:pt x="1924" y="1494"/>
                    </a:lnTo>
                    <a:lnTo>
                      <a:pt x="1922" y="1496"/>
                    </a:lnTo>
                    <a:lnTo>
                      <a:pt x="1924" y="1500"/>
                    </a:lnTo>
                    <a:lnTo>
                      <a:pt x="1922" y="1500"/>
                    </a:lnTo>
                    <a:lnTo>
                      <a:pt x="1922" y="1502"/>
                    </a:lnTo>
                    <a:lnTo>
                      <a:pt x="1922" y="1504"/>
                    </a:lnTo>
                    <a:lnTo>
                      <a:pt x="1922" y="1506"/>
                    </a:lnTo>
                    <a:lnTo>
                      <a:pt x="1921" y="1506"/>
                    </a:lnTo>
                    <a:lnTo>
                      <a:pt x="1921" y="1508"/>
                    </a:lnTo>
                    <a:lnTo>
                      <a:pt x="1921" y="1509"/>
                    </a:lnTo>
                    <a:lnTo>
                      <a:pt x="1921" y="1508"/>
                    </a:lnTo>
                    <a:lnTo>
                      <a:pt x="1921" y="1509"/>
                    </a:lnTo>
                    <a:lnTo>
                      <a:pt x="1921" y="1511"/>
                    </a:lnTo>
                    <a:lnTo>
                      <a:pt x="1919" y="1511"/>
                    </a:lnTo>
                    <a:lnTo>
                      <a:pt x="1921" y="1511"/>
                    </a:lnTo>
                    <a:lnTo>
                      <a:pt x="1921" y="1513"/>
                    </a:lnTo>
                    <a:lnTo>
                      <a:pt x="1919" y="1513"/>
                    </a:lnTo>
                    <a:lnTo>
                      <a:pt x="1919" y="1515"/>
                    </a:lnTo>
                    <a:lnTo>
                      <a:pt x="1919" y="1513"/>
                    </a:lnTo>
                    <a:lnTo>
                      <a:pt x="1921" y="1513"/>
                    </a:lnTo>
                    <a:lnTo>
                      <a:pt x="1921" y="1515"/>
                    </a:lnTo>
                    <a:lnTo>
                      <a:pt x="1919" y="1517"/>
                    </a:lnTo>
                    <a:lnTo>
                      <a:pt x="1919" y="1519"/>
                    </a:lnTo>
                    <a:lnTo>
                      <a:pt x="1919" y="1523"/>
                    </a:lnTo>
                    <a:lnTo>
                      <a:pt x="1917" y="1525"/>
                    </a:lnTo>
                    <a:lnTo>
                      <a:pt x="1919" y="1525"/>
                    </a:lnTo>
                    <a:lnTo>
                      <a:pt x="1919" y="1527"/>
                    </a:lnTo>
                    <a:lnTo>
                      <a:pt x="1917" y="1529"/>
                    </a:lnTo>
                    <a:lnTo>
                      <a:pt x="1915" y="1529"/>
                    </a:lnTo>
                    <a:lnTo>
                      <a:pt x="1913" y="1530"/>
                    </a:lnTo>
                    <a:lnTo>
                      <a:pt x="1913" y="1532"/>
                    </a:lnTo>
                    <a:lnTo>
                      <a:pt x="1911" y="1534"/>
                    </a:lnTo>
                    <a:lnTo>
                      <a:pt x="1909" y="1536"/>
                    </a:lnTo>
                    <a:lnTo>
                      <a:pt x="1907" y="1538"/>
                    </a:lnTo>
                    <a:lnTo>
                      <a:pt x="1905" y="1540"/>
                    </a:lnTo>
                    <a:lnTo>
                      <a:pt x="1903" y="1542"/>
                    </a:lnTo>
                    <a:lnTo>
                      <a:pt x="1903" y="1544"/>
                    </a:lnTo>
                    <a:lnTo>
                      <a:pt x="1901" y="1546"/>
                    </a:lnTo>
                    <a:lnTo>
                      <a:pt x="1900" y="1550"/>
                    </a:lnTo>
                    <a:lnTo>
                      <a:pt x="1900" y="1551"/>
                    </a:lnTo>
                    <a:lnTo>
                      <a:pt x="1900" y="1553"/>
                    </a:lnTo>
                    <a:lnTo>
                      <a:pt x="1898" y="1553"/>
                    </a:lnTo>
                    <a:lnTo>
                      <a:pt x="1894" y="1557"/>
                    </a:lnTo>
                    <a:lnTo>
                      <a:pt x="1892" y="1559"/>
                    </a:lnTo>
                    <a:lnTo>
                      <a:pt x="1892" y="1563"/>
                    </a:lnTo>
                    <a:lnTo>
                      <a:pt x="1890" y="1565"/>
                    </a:lnTo>
                    <a:lnTo>
                      <a:pt x="1888" y="1569"/>
                    </a:lnTo>
                    <a:lnTo>
                      <a:pt x="1888" y="1571"/>
                    </a:lnTo>
                    <a:lnTo>
                      <a:pt x="1888" y="1572"/>
                    </a:lnTo>
                    <a:lnTo>
                      <a:pt x="1886" y="1574"/>
                    </a:lnTo>
                    <a:lnTo>
                      <a:pt x="1884" y="1576"/>
                    </a:lnTo>
                    <a:lnTo>
                      <a:pt x="1884" y="1578"/>
                    </a:lnTo>
                    <a:lnTo>
                      <a:pt x="1880" y="1586"/>
                    </a:lnTo>
                    <a:lnTo>
                      <a:pt x="1879" y="1588"/>
                    </a:lnTo>
                    <a:lnTo>
                      <a:pt x="1879" y="1590"/>
                    </a:lnTo>
                    <a:lnTo>
                      <a:pt x="1875" y="1592"/>
                    </a:lnTo>
                    <a:lnTo>
                      <a:pt x="1873" y="1593"/>
                    </a:lnTo>
                    <a:lnTo>
                      <a:pt x="1873" y="1595"/>
                    </a:lnTo>
                    <a:lnTo>
                      <a:pt x="1871" y="1597"/>
                    </a:lnTo>
                    <a:lnTo>
                      <a:pt x="1869" y="1599"/>
                    </a:lnTo>
                    <a:lnTo>
                      <a:pt x="1867" y="1601"/>
                    </a:lnTo>
                    <a:lnTo>
                      <a:pt x="1865" y="1601"/>
                    </a:lnTo>
                    <a:lnTo>
                      <a:pt x="1863" y="1603"/>
                    </a:lnTo>
                    <a:lnTo>
                      <a:pt x="1863" y="1605"/>
                    </a:lnTo>
                    <a:lnTo>
                      <a:pt x="1861" y="1607"/>
                    </a:lnTo>
                    <a:lnTo>
                      <a:pt x="1860" y="1609"/>
                    </a:lnTo>
                    <a:lnTo>
                      <a:pt x="1860" y="1611"/>
                    </a:lnTo>
                    <a:lnTo>
                      <a:pt x="1858" y="1611"/>
                    </a:lnTo>
                    <a:lnTo>
                      <a:pt x="1858" y="1613"/>
                    </a:lnTo>
                    <a:lnTo>
                      <a:pt x="1858" y="1611"/>
                    </a:lnTo>
                    <a:lnTo>
                      <a:pt x="1858" y="1613"/>
                    </a:lnTo>
                    <a:lnTo>
                      <a:pt x="1856" y="1613"/>
                    </a:lnTo>
                    <a:lnTo>
                      <a:pt x="1858" y="1613"/>
                    </a:lnTo>
                    <a:lnTo>
                      <a:pt x="1856" y="1614"/>
                    </a:lnTo>
                    <a:lnTo>
                      <a:pt x="1856" y="1616"/>
                    </a:lnTo>
                    <a:lnTo>
                      <a:pt x="1854" y="1616"/>
                    </a:lnTo>
                    <a:lnTo>
                      <a:pt x="1854" y="1618"/>
                    </a:lnTo>
                    <a:lnTo>
                      <a:pt x="1852" y="1620"/>
                    </a:lnTo>
                    <a:lnTo>
                      <a:pt x="1850" y="1620"/>
                    </a:lnTo>
                    <a:lnTo>
                      <a:pt x="1848" y="1622"/>
                    </a:lnTo>
                    <a:lnTo>
                      <a:pt x="1848" y="1624"/>
                    </a:lnTo>
                    <a:lnTo>
                      <a:pt x="1846" y="1624"/>
                    </a:lnTo>
                    <a:lnTo>
                      <a:pt x="1846" y="1626"/>
                    </a:lnTo>
                    <a:lnTo>
                      <a:pt x="1846" y="1628"/>
                    </a:lnTo>
                    <a:lnTo>
                      <a:pt x="1844" y="1630"/>
                    </a:lnTo>
                    <a:lnTo>
                      <a:pt x="1844" y="1632"/>
                    </a:lnTo>
                    <a:lnTo>
                      <a:pt x="1842" y="1630"/>
                    </a:lnTo>
                    <a:lnTo>
                      <a:pt x="1842" y="1632"/>
                    </a:lnTo>
                    <a:lnTo>
                      <a:pt x="1844" y="1632"/>
                    </a:lnTo>
                    <a:lnTo>
                      <a:pt x="1842" y="1632"/>
                    </a:lnTo>
                    <a:lnTo>
                      <a:pt x="1844" y="1632"/>
                    </a:lnTo>
                    <a:lnTo>
                      <a:pt x="1844" y="1634"/>
                    </a:lnTo>
                    <a:lnTo>
                      <a:pt x="1842" y="1634"/>
                    </a:lnTo>
                    <a:lnTo>
                      <a:pt x="1842" y="1635"/>
                    </a:lnTo>
                    <a:lnTo>
                      <a:pt x="1840" y="1635"/>
                    </a:lnTo>
                    <a:lnTo>
                      <a:pt x="1839" y="1635"/>
                    </a:lnTo>
                    <a:lnTo>
                      <a:pt x="1839" y="1637"/>
                    </a:lnTo>
                    <a:lnTo>
                      <a:pt x="1839" y="1639"/>
                    </a:lnTo>
                    <a:lnTo>
                      <a:pt x="1837" y="1641"/>
                    </a:lnTo>
                    <a:lnTo>
                      <a:pt x="1835" y="1641"/>
                    </a:lnTo>
                    <a:lnTo>
                      <a:pt x="1833" y="1643"/>
                    </a:lnTo>
                    <a:lnTo>
                      <a:pt x="1833" y="1645"/>
                    </a:lnTo>
                    <a:lnTo>
                      <a:pt x="1831" y="1645"/>
                    </a:lnTo>
                    <a:lnTo>
                      <a:pt x="1829" y="1645"/>
                    </a:lnTo>
                    <a:lnTo>
                      <a:pt x="1829" y="1647"/>
                    </a:lnTo>
                    <a:lnTo>
                      <a:pt x="1827" y="1647"/>
                    </a:lnTo>
                    <a:lnTo>
                      <a:pt x="1825" y="1649"/>
                    </a:lnTo>
                    <a:lnTo>
                      <a:pt x="1823" y="1649"/>
                    </a:lnTo>
                    <a:lnTo>
                      <a:pt x="1821" y="1651"/>
                    </a:lnTo>
                    <a:lnTo>
                      <a:pt x="1819" y="1653"/>
                    </a:lnTo>
                    <a:lnTo>
                      <a:pt x="1818" y="1655"/>
                    </a:lnTo>
                    <a:lnTo>
                      <a:pt x="1818" y="1653"/>
                    </a:lnTo>
                    <a:lnTo>
                      <a:pt x="1816" y="1655"/>
                    </a:lnTo>
                    <a:lnTo>
                      <a:pt x="1814" y="1655"/>
                    </a:lnTo>
                    <a:lnTo>
                      <a:pt x="1814" y="1653"/>
                    </a:lnTo>
                    <a:lnTo>
                      <a:pt x="1814" y="1655"/>
                    </a:lnTo>
                    <a:lnTo>
                      <a:pt x="1812" y="1655"/>
                    </a:lnTo>
                    <a:lnTo>
                      <a:pt x="1812" y="1656"/>
                    </a:lnTo>
                    <a:lnTo>
                      <a:pt x="1810" y="1656"/>
                    </a:lnTo>
                    <a:lnTo>
                      <a:pt x="1808" y="1656"/>
                    </a:lnTo>
                    <a:lnTo>
                      <a:pt x="1806" y="1658"/>
                    </a:lnTo>
                    <a:lnTo>
                      <a:pt x="1806" y="1656"/>
                    </a:lnTo>
                    <a:lnTo>
                      <a:pt x="1806" y="1658"/>
                    </a:lnTo>
                    <a:lnTo>
                      <a:pt x="1804" y="1658"/>
                    </a:lnTo>
                    <a:lnTo>
                      <a:pt x="1804" y="1656"/>
                    </a:lnTo>
                    <a:lnTo>
                      <a:pt x="1804" y="1655"/>
                    </a:lnTo>
                    <a:lnTo>
                      <a:pt x="1802" y="1655"/>
                    </a:lnTo>
                    <a:lnTo>
                      <a:pt x="1802" y="1656"/>
                    </a:lnTo>
                    <a:lnTo>
                      <a:pt x="1802" y="1655"/>
                    </a:lnTo>
                    <a:lnTo>
                      <a:pt x="1802" y="1656"/>
                    </a:lnTo>
                    <a:lnTo>
                      <a:pt x="1800" y="1656"/>
                    </a:lnTo>
                    <a:lnTo>
                      <a:pt x="1800" y="1655"/>
                    </a:lnTo>
                    <a:lnTo>
                      <a:pt x="1800" y="1653"/>
                    </a:lnTo>
                    <a:lnTo>
                      <a:pt x="1798" y="1653"/>
                    </a:lnTo>
                    <a:lnTo>
                      <a:pt x="1800" y="1655"/>
                    </a:lnTo>
                    <a:lnTo>
                      <a:pt x="1798" y="1655"/>
                    </a:lnTo>
                    <a:lnTo>
                      <a:pt x="1797" y="1655"/>
                    </a:lnTo>
                    <a:lnTo>
                      <a:pt x="1797" y="1653"/>
                    </a:lnTo>
                    <a:lnTo>
                      <a:pt x="1795" y="1653"/>
                    </a:lnTo>
                    <a:lnTo>
                      <a:pt x="1793" y="1653"/>
                    </a:lnTo>
                    <a:lnTo>
                      <a:pt x="1793" y="1655"/>
                    </a:lnTo>
                    <a:lnTo>
                      <a:pt x="1793" y="1653"/>
                    </a:lnTo>
                    <a:lnTo>
                      <a:pt x="1793" y="1651"/>
                    </a:lnTo>
                    <a:lnTo>
                      <a:pt x="1793" y="1649"/>
                    </a:lnTo>
                    <a:lnTo>
                      <a:pt x="1793" y="1647"/>
                    </a:lnTo>
                    <a:lnTo>
                      <a:pt x="1795" y="1647"/>
                    </a:lnTo>
                    <a:lnTo>
                      <a:pt x="1793" y="1647"/>
                    </a:lnTo>
                    <a:lnTo>
                      <a:pt x="1793" y="1645"/>
                    </a:lnTo>
                    <a:lnTo>
                      <a:pt x="1793" y="1643"/>
                    </a:lnTo>
                    <a:lnTo>
                      <a:pt x="1793" y="1645"/>
                    </a:lnTo>
                    <a:lnTo>
                      <a:pt x="1791" y="1647"/>
                    </a:lnTo>
                    <a:lnTo>
                      <a:pt x="1789" y="1647"/>
                    </a:lnTo>
                    <a:lnTo>
                      <a:pt x="1789" y="1649"/>
                    </a:lnTo>
                    <a:lnTo>
                      <a:pt x="1787" y="1649"/>
                    </a:lnTo>
                    <a:lnTo>
                      <a:pt x="1787" y="1651"/>
                    </a:lnTo>
                    <a:lnTo>
                      <a:pt x="1787" y="1649"/>
                    </a:lnTo>
                    <a:lnTo>
                      <a:pt x="1785" y="1649"/>
                    </a:lnTo>
                    <a:lnTo>
                      <a:pt x="1787" y="1649"/>
                    </a:lnTo>
                    <a:lnTo>
                      <a:pt x="1785" y="1649"/>
                    </a:lnTo>
                    <a:lnTo>
                      <a:pt x="1787" y="1649"/>
                    </a:lnTo>
                    <a:lnTo>
                      <a:pt x="1787" y="1647"/>
                    </a:lnTo>
                    <a:lnTo>
                      <a:pt x="1787" y="1645"/>
                    </a:lnTo>
                    <a:lnTo>
                      <a:pt x="1789" y="1645"/>
                    </a:lnTo>
                    <a:lnTo>
                      <a:pt x="1789" y="1643"/>
                    </a:lnTo>
                    <a:lnTo>
                      <a:pt x="1787" y="1643"/>
                    </a:lnTo>
                    <a:lnTo>
                      <a:pt x="1787" y="1645"/>
                    </a:lnTo>
                    <a:lnTo>
                      <a:pt x="1785" y="1645"/>
                    </a:lnTo>
                    <a:lnTo>
                      <a:pt x="1785" y="1643"/>
                    </a:lnTo>
                    <a:lnTo>
                      <a:pt x="1785" y="1645"/>
                    </a:lnTo>
                    <a:lnTo>
                      <a:pt x="1785" y="1643"/>
                    </a:lnTo>
                    <a:lnTo>
                      <a:pt x="1783" y="1645"/>
                    </a:lnTo>
                    <a:lnTo>
                      <a:pt x="1783" y="1647"/>
                    </a:lnTo>
                    <a:lnTo>
                      <a:pt x="1785" y="1647"/>
                    </a:lnTo>
                    <a:lnTo>
                      <a:pt x="1783" y="1647"/>
                    </a:lnTo>
                    <a:lnTo>
                      <a:pt x="1781" y="1647"/>
                    </a:lnTo>
                    <a:lnTo>
                      <a:pt x="1783" y="1647"/>
                    </a:lnTo>
                    <a:lnTo>
                      <a:pt x="1781" y="1649"/>
                    </a:lnTo>
                    <a:lnTo>
                      <a:pt x="1781" y="1651"/>
                    </a:lnTo>
                    <a:lnTo>
                      <a:pt x="1779" y="1651"/>
                    </a:lnTo>
                    <a:lnTo>
                      <a:pt x="1779" y="1653"/>
                    </a:lnTo>
                    <a:lnTo>
                      <a:pt x="1778" y="1653"/>
                    </a:lnTo>
                    <a:lnTo>
                      <a:pt x="1778" y="1655"/>
                    </a:lnTo>
                    <a:lnTo>
                      <a:pt x="1779" y="1655"/>
                    </a:lnTo>
                    <a:lnTo>
                      <a:pt x="1778" y="1655"/>
                    </a:lnTo>
                    <a:lnTo>
                      <a:pt x="1778" y="1656"/>
                    </a:lnTo>
                    <a:lnTo>
                      <a:pt x="1776" y="1656"/>
                    </a:lnTo>
                    <a:lnTo>
                      <a:pt x="1776" y="1658"/>
                    </a:lnTo>
                    <a:lnTo>
                      <a:pt x="1776" y="1660"/>
                    </a:lnTo>
                    <a:lnTo>
                      <a:pt x="1774" y="1660"/>
                    </a:lnTo>
                    <a:lnTo>
                      <a:pt x="1776" y="1660"/>
                    </a:lnTo>
                    <a:lnTo>
                      <a:pt x="1774" y="1660"/>
                    </a:lnTo>
                    <a:lnTo>
                      <a:pt x="1774" y="1658"/>
                    </a:lnTo>
                    <a:lnTo>
                      <a:pt x="1774" y="1660"/>
                    </a:lnTo>
                    <a:lnTo>
                      <a:pt x="1774" y="1658"/>
                    </a:lnTo>
                    <a:lnTo>
                      <a:pt x="1772" y="1658"/>
                    </a:lnTo>
                    <a:lnTo>
                      <a:pt x="1770" y="1660"/>
                    </a:lnTo>
                    <a:lnTo>
                      <a:pt x="1768" y="1658"/>
                    </a:lnTo>
                    <a:lnTo>
                      <a:pt x="1770" y="1658"/>
                    </a:lnTo>
                    <a:lnTo>
                      <a:pt x="1770" y="1660"/>
                    </a:lnTo>
                    <a:lnTo>
                      <a:pt x="1772" y="1658"/>
                    </a:lnTo>
                    <a:lnTo>
                      <a:pt x="1770" y="1658"/>
                    </a:lnTo>
                    <a:lnTo>
                      <a:pt x="1768" y="1658"/>
                    </a:lnTo>
                    <a:lnTo>
                      <a:pt x="1770" y="1658"/>
                    </a:lnTo>
                    <a:lnTo>
                      <a:pt x="1768" y="1658"/>
                    </a:lnTo>
                    <a:lnTo>
                      <a:pt x="1766" y="1658"/>
                    </a:lnTo>
                    <a:lnTo>
                      <a:pt x="1768" y="1658"/>
                    </a:lnTo>
                    <a:lnTo>
                      <a:pt x="1768" y="1660"/>
                    </a:lnTo>
                    <a:lnTo>
                      <a:pt x="1768" y="1658"/>
                    </a:lnTo>
                    <a:lnTo>
                      <a:pt x="1768" y="1660"/>
                    </a:lnTo>
                    <a:lnTo>
                      <a:pt x="1770" y="1660"/>
                    </a:lnTo>
                    <a:lnTo>
                      <a:pt x="1770" y="1662"/>
                    </a:lnTo>
                    <a:lnTo>
                      <a:pt x="1768" y="1662"/>
                    </a:lnTo>
                    <a:lnTo>
                      <a:pt x="1768" y="1666"/>
                    </a:lnTo>
                    <a:close/>
                    <a:moveTo>
                      <a:pt x="767" y="430"/>
                    </a:moveTo>
                    <a:lnTo>
                      <a:pt x="773" y="431"/>
                    </a:lnTo>
                    <a:lnTo>
                      <a:pt x="773" y="433"/>
                    </a:lnTo>
                    <a:lnTo>
                      <a:pt x="776" y="433"/>
                    </a:lnTo>
                    <a:lnTo>
                      <a:pt x="778" y="435"/>
                    </a:lnTo>
                    <a:lnTo>
                      <a:pt x="780" y="435"/>
                    </a:lnTo>
                    <a:lnTo>
                      <a:pt x="780" y="437"/>
                    </a:lnTo>
                    <a:lnTo>
                      <a:pt x="784" y="439"/>
                    </a:lnTo>
                    <a:lnTo>
                      <a:pt x="782" y="443"/>
                    </a:lnTo>
                    <a:lnTo>
                      <a:pt x="784" y="445"/>
                    </a:lnTo>
                    <a:lnTo>
                      <a:pt x="786" y="445"/>
                    </a:lnTo>
                    <a:lnTo>
                      <a:pt x="784" y="449"/>
                    </a:lnTo>
                    <a:lnTo>
                      <a:pt x="788" y="451"/>
                    </a:lnTo>
                    <a:lnTo>
                      <a:pt x="784" y="454"/>
                    </a:lnTo>
                    <a:lnTo>
                      <a:pt x="782" y="462"/>
                    </a:lnTo>
                    <a:lnTo>
                      <a:pt x="784" y="462"/>
                    </a:lnTo>
                    <a:lnTo>
                      <a:pt x="778" y="472"/>
                    </a:lnTo>
                    <a:lnTo>
                      <a:pt x="776" y="472"/>
                    </a:lnTo>
                    <a:lnTo>
                      <a:pt x="776" y="473"/>
                    </a:lnTo>
                    <a:lnTo>
                      <a:pt x="774" y="477"/>
                    </a:lnTo>
                    <a:lnTo>
                      <a:pt x="773" y="479"/>
                    </a:lnTo>
                    <a:lnTo>
                      <a:pt x="774" y="481"/>
                    </a:lnTo>
                    <a:lnTo>
                      <a:pt x="769" y="483"/>
                    </a:lnTo>
                    <a:lnTo>
                      <a:pt x="761" y="489"/>
                    </a:lnTo>
                    <a:lnTo>
                      <a:pt x="755" y="494"/>
                    </a:lnTo>
                    <a:lnTo>
                      <a:pt x="750" y="496"/>
                    </a:lnTo>
                    <a:lnTo>
                      <a:pt x="746" y="498"/>
                    </a:lnTo>
                    <a:lnTo>
                      <a:pt x="744" y="500"/>
                    </a:lnTo>
                    <a:lnTo>
                      <a:pt x="742" y="498"/>
                    </a:lnTo>
                    <a:lnTo>
                      <a:pt x="742" y="500"/>
                    </a:lnTo>
                    <a:lnTo>
                      <a:pt x="740" y="502"/>
                    </a:lnTo>
                    <a:lnTo>
                      <a:pt x="731" y="506"/>
                    </a:lnTo>
                    <a:lnTo>
                      <a:pt x="725" y="510"/>
                    </a:lnTo>
                    <a:lnTo>
                      <a:pt x="725" y="512"/>
                    </a:lnTo>
                    <a:lnTo>
                      <a:pt x="723" y="512"/>
                    </a:lnTo>
                    <a:lnTo>
                      <a:pt x="721" y="512"/>
                    </a:lnTo>
                    <a:lnTo>
                      <a:pt x="721" y="513"/>
                    </a:lnTo>
                    <a:lnTo>
                      <a:pt x="717" y="513"/>
                    </a:lnTo>
                    <a:lnTo>
                      <a:pt x="715" y="515"/>
                    </a:lnTo>
                    <a:lnTo>
                      <a:pt x="712" y="517"/>
                    </a:lnTo>
                    <a:lnTo>
                      <a:pt x="708" y="517"/>
                    </a:lnTo>
                    <a:lnTo>
                      <a:pt x="706" y="519"/>
                    </a:lnTo>
                    <a:lnTo>
                      <a:pt x="704" y="519"/>
                    </a:lnTo>
                    <a:lnTo>
                      <a:pt x="702" y="523"/>
                    </a:lnTo>
                    <a:lnTo>
                      <a:pt x="702" y="521"/>
                    </a:lnTo>
                    <a:lnTo>
                      <a:pt x="702" y="519"/>
                    </a:lnTo>
                    <a:lnTo>
                      <a:pt x="702" y="517"/>
                    </a:lnTo>
                    <a:lnTo>
                      <a:pt x="700" y="517"/>
                    </a:lnTo>
                    <a:lnTo>
                      <a:pt x="698" y="521"/>
                    </a:lnTo>
                    <a:lnTo>
                      <a:pt x="696" y="525"/>
                    </a:lnTo>
                    <a:lnTo>
                      <a:pt x="692" y="525"/>
                    </a:lnTo>
                    <a:lnTo>
                      <a:pt x="691" y="525"/>
                    </a:lnTo>
                    <a:lnTo>
                      <a:pt x="691" y="527"/>
                    </a:lnTo>
                    <a:lnTo>
                      <a:pt x="687" y="531"/>
                    </a:lnTo>
                    <a:lnTo>
                      <a:pt x="683" y="531"/>
                    </a:lnTo>
                    <a:lnTo>
                      <a:pt x="679" y="534"/>
                    </a:lnTo>
                    <a:lnTo>
                      <a:pt x="677" y="534"/>
                    </a:lnTo>
                    <a:lnTo>
                      <a:pt x="679" y="534"/>
                    </a:lnTo>
                    <a:lnTo>
                      <a:pt x="675" y="534"/>
                    </a:lnTo>
                    <a:lnTo>
                      <a:pt x="672" y="542"/>
                    </a:lnTo>
                    <a:lnTo>
                      <a:pt x="672" y="538"/>
                    </a:lnTo>
                    <a:lnTo>
                      <a:pt x="670" y="538"/>
                    </a:lnTo>
                    <a:lnTo>
                      <a:pt x="670" y="544"/>
                    </a:lnTo>
                    <a:lnTo>
                      <a:pt x="668" y="548"/>
                    </a:lnTo>
                    <a:lnTo>
                      <a:pt x="666" y="548"/>
                    </a:lnTo>
                    <a:lnTo>
                      <a:pt x="666" y="544"/>
                    </a:lnTo>
                    <a:lnTo>
                      <a:pt x="664" y="544"/>
                    </a:lnTo>
                    <a:lnTo>
                      <a:pt x="662" y="550"/>
                    </a:lnTo>
                    <a:lnTo>
                      <a:pt x="658" y="552"/>
                    </a:lnTo>
                    <a:lnTo>
                      <a:pt x="656" y="554"/>
                    </a:lnTo>
                    <a:lnTo>
                      <a:pt x="656" y="555"/>
                    </a:lnTo>
                    <a:lnTo>
                      <a:pt x="654" y="555"/>
                    </a:lnTo>
                    <a:lnTo>
                      <a:pt x="656" y="557"/>
                    </a:lnTo>
                    <a:lnTo>
                      <a:pt x="654" y="561"/>
                    </a:lnTo>
                    <a:lnTo>
                      <a:pt x="652" y="561"/>
                    </a:lnTo>
                    <a:lnTo>
                      <a:pt x="652" y="555"/>
                    </a:lnTo>
                    <a:lnTo>
                      <a:pt x="651" y="557"/>
                    </a:lnTo>
                    <a:lnTo>
                      <a:pt x="651" y="561"/>
                    </a:lnTo>
                    <a:lnTo>
                      <a:pt x="647" y="563"/>
                    </a:lnTo>
                    <a:lnTo>
                      <a:pt x="647" y="561"/>
                    </a:lnTo>
                    <a:lnTo>
                      <a:pt x="645" y="563"/>
                    </a:lnTo>
                    <a:lnTo>
                      <a:pt x="645" y="565"/>
                    </a:lnTo>
                    <a:lnTo>
                      <a:pt x="647" y="565"/>
                    </a:lnTo>
                    <a:lnTo>
                      <a:pt x="652" y="565"/>
                    </a:lnTo>
                    <a:lnTo>
                      <a:pt x="652" y="567"/>
                    </a:lnTo>
                    <a:lnTo>
                      <a:pt x="652" y="571"/>
                    </a:lnTo>
                    <a:lnTo>
                      <a:pt x="647" y="571"/>
                    </a:lnTo>
                    <a:lnTo>
                      <a:pt x="647" y="575"/>
                    </a:lnTo>
                    <a:lnTo>
                      <a:pt x="649" y="575"/>
                    </a:lnTo>
                    <a:lnTo>
                      <a:pt x="647" y="578"/>
                    </a:lnTo>
                    <a:lnTo>
                      <a:pt x="645" y="578"/>
                    </a:lnTo>
                    <a:lnTo>
                      <a:pt x="643" y="580"/>
                    </a:lnTo>
                    <a:lnTo>
                      <a:pt x="639" y="578"/>
                    </a:lnTo>
                    <a:lnTo>
                      <a:pt x="637" y="578"/>
                    </a:lnTo>
                    <a:lnTo>
                      <a:pt x="637" y="576"/>
                    </a:lnTo>
                    <a:lnTo>
                      <a:pt x="635" y="575"/>
                    </a:lnTo>
                    <a:lnTo>
                      <a:pt x="637" y="578"/>
                    </a:lnTo>
                    <a:lnTo>
                      <a:pt x="635" y="578"/>
                    </a:lnTo>
                    <a:lnTo>
                      <a:pt x="639" y="580"/>
                    </a:lnTo>
                    <a:lnTo>
                      <a:pt x="641" y="582"/>
                    </a:lnTo>
                    <a:lnTo>
                      <a:pt x="641" y="586"/>
                    </a:lnTo>
                    <a:lnTo>
                      <a:pt x="639" y="588"/>
                    </a:lnTo>
                    <a:lnTo>
                      <a:pt x="637" y="588"/>
                    </a:lnTo>
                    <a:lnTo>
                      <a:pt x="631" y="582"/>
                    </a:lnTo>
                    <a:lnTo>
                      <a:pt x="630" y="580"/>
                    </a:lnTo>
                    <a:lnTo>
                      <a:pt x="630" y="578"/>
                    </a:lnTo>
                    <a:lnTo>
                      <a:pt x="628" y="578"/>
                    </a:lnTo>
                    <a:lnTo>
                      <a:pt x="630" y="582"/>
                    </a:lnTo>
                    <a:lnTo>
                      <a:pt x="631" y="584"/>
                    </a:lnTo>
                    <a:lnTo>
                      <a:pt x="630" y="584"/>
                    </a:lnTo>
                    <a:lnTo>
                      <a:pt x="630" y="586"/>
                    </a:lnTo>
                    <a:lnTo>
                      <a:pt x="630" y="592"/>
                    </a:lnTo>
                    <a:lnTo>
                      <a:pt x="628" y="594"/>
                    </a:lnTo>
                    <a:lnTo>
                      <a:pt x="630" y="597"/>
                    </a:lnTo>
                    <a:lnTo>
                      <a:pt x="624" y="596"/>
                    </a:lnTo>
                    <a:lnTo>
                      <a:pt x="622" y="592"/>
                    </a:lnTo>
                    <a:lnTo>
                      <a:pt x="620" y="592"/>
                    </a:lnTo>
                    <a:lnTo>
                      <a:pt x="614" y="588"/>
                    </a:lnTo>
                    <a:lnTo>
                      <a:pt x="614" y="590"/>
                    </a:lnTo>
                    <a:lnTo>
                      <a:pt x="616" y="592"/>
                    </a:lnTo>
                    <a:lnTo>
                      <a:pt x="618" y="592"/>
                    </a:lnTo>
                    <a:lnTo>
                      <a:pt x="622" y="597"/>
                    </a:lnTo>
                    <a:lnTo>
                      <a:pt x="620" y="599"/>
                    </a:lnTo>
                    <a:lnTo>
                      <a:pt x="622" y="603"/>
                    </a:lnTo>
                    <a:lnTo>
                      <a:pt x="620" y="603"/>
                    </a:lnTo>
                    <a:lnTo>
                      <a:pt x="622" y="607"/>
                    </a:lnTo>
                    <a:lnTo>
                      <a:pt x="620" y="607"/>
                    </a:lnTo>
                    <a:lnTo>
                      <a:pt x="622" y="609"/>
                    </a:lnTo>
                    <a:lnTo>
                      <a:pt x="620" y="609"/>
                    </a:lnTo>
                    <a:lnTo>
                      <a:pt x="622" y="611"/>
                    </a:lnTo>
                    <a:lnTo>
                      <a:pt x="618" y="611"/>
                    </a:lnTo>
                    <a:lnTo>
                      <a:pt x="620" y="611"/>
                    </a:lnTo>
                    <a:lnTo>
                      <a:pt x="620" y="613"/>
                    </a:lnTo>
                    <a:lnTo>
                      <a:pt x="616" y="611"/>
                    </a:lnTo>
                    <a:lnTo>
                      <a:pt x="616" y="613"/>
                    </a:lnTo>
                    <a:lnTo>
                      <a:pt x="614" y="613"/>
                    </a:lnTo>
                    <a:lnTo>
                      <a:pt x="616" y="615"/>
                    </a:lnTo>
                    <a:lnTo>
                      <a:pt x="620" y="615"/>
                    </a:lnTo>
                    <a:lnTo>
                      <a:pt x="616" y="615"/>
                    </a:lnTo>
                    <a:lnTo>
                      <a:pt x="616" y="617"/>
                    </a:lnTo>
                    <a:lnTo>
                      <a:pt x="616" y="615"/>
                    </a:lnTo>
                    <a:lnTo>
                      <a:pt x="612" y="613"/>
                    </a:lnTo>
                    <a:lnTo>
                      <a:pt x="612" y="615"/>
                    </a:lnTo>
                    <a:lnTo>
                      <a:pt x="614" y="615"/>
                    </a:lnTo>
                    <a:lnTo>
                      <a:pt x="614" y="617"/>
                    </a:lnTo>
                    <a:lnTo>
                      <a:pt x="614" y="618"/>
                    </a:lnTo>
                    <a:lnTo>
                      <a:pt x="616" y="622"/>
                    </a:lnTo>
                    <a:lnTo>
                      <a:pt x="614" y="622"/>
                    </a:lnTo>
                    <a:lnTo>
                      <a:pt x="612" y="622"/>
                    </a:lnTo>
                    <a:lnTo>
                      <a:pt x="607" y="618"/>
                    </a:lnTo>
                    <a:lnTo>
                      <a:pt x="605" y="615"/>
                    </a:lnTo>
                    <a:lnTo>
                      <a:pt x="603" y="611"/>
                    </a:lnTo>
                    <a:lnTo>
                      <a:pt x="603" y="617"/>
                    </a:lnTo>
                    <a:lnTo>
                      <a:pt x="597" y="617"/>
                    </a:lnTo>
                    <a:lnTo>
                      <a:pt x="603" y="618"/>
                    </a:lnTo>
                    <a:lnTo>
                      <a:pt x="609" y="626"/>
                    </a:lnTo>
                    <a:lnTo>
                      <a:pt x="609" y="628"/>
                    </a:lnTo>
                    <a:lnTo>
                      <a:pt x="607" y="628"/>
                    </a:lnTo>
                    <a:lnTo>
                      <a:pt x="609" y="630"/>
                    </a:lnTo>
                    <a:lnTo>
                      <a:pt x="609" y="634"/>
                    </a:lnTo>
                    <a:lnTo>
                      <a:pt x="605" y="638"/>
                    </a:lnTo>
                    <a:lnTo>
                      <a:pt x="603" y="632"/>
                    </a:lnTo>
                    <a:lnTo>
                      <a:pt x="601" y="632"/>
                    </a:lnTo>
                    <a:lnTo>
                      <a:pt x="603" y="636"/>
                    </a:lnTo>
                    <a:lnTo>
                      <a:pt x="605" y="643"/>
                    </a:lnTo>
                    <a:lnTo>
                      <a:pt x="603" y="645"/>
                    </a:lnTo>
                    <a:lnTo>
                      <a:pt x="601" y="645"/>
                    </a:lnTo>
                    <a:lnTo>
                      <a:pt x="601" y="647"/>
                    </a:lnTo>
                    <a:lnTo>
                      <a:pt x="595" y="645"/>
                    </a:lnTo>
                    <a:lnTo>
                      <a:pt x="593" y="645"/>
                    </a:lnTo>
                    <a:lnTo>
                      <a:pt x="597" y="649"/>
                    </a:lnTo>
                    <a:lnTo>
                      <a:pt x="599" y="653"/>
                    </a:lnTo>
                    <a:lnTo>
                      <a:pt x="593" y="662"/>
                    </a:lnTo>
                    <a:lnTo>
                      <a:pt x="591" y="660"/>
                    </a:lnTo>
                    <a:lnTo>
                      <a:pt x="591" y="664"/>
                    </a:lnTo>
                    <a:lnTo>
                      <a:pt x="590" y="664"/>
                    </a:lnTo>
                    <a:lnTo>
                      <a:pt x="586" y="662"/>
                    </a:lnTo>
                    <a:lnTo>
                      <a:pt x="582" y="662"/>
                    </a:lnTo>
                    <a:lnTo>
                      <a:pt x="578" y="660"/>
                    </a:lnTo>
                    <a:lnTo>
                      <a:pt x="580" y="664"/>
                    </a:lnTo>
                    <a:lnTo>
                      <a:pt x="584" y="664"/>
                    </a:lnTo>
                    <a:lnTo>
                      <a:pt x="588" y="668"/>
                    </a:lnTo>
                    <a:lnTo>
                      <a:pt x="588" y="670"/>
                    </a:lnTo>
                    <a:lnTo>
                      <a:pt x="588" y="672"/>
                    </a:lnTo>
                    <a:lnTo>
                      <a:pt x="580" y="674"/>
                    </a:lnTo>
                    <a:lnTo>
                      <a:pt x="584" y="674"/>
                    </a:lnTo>
                    <a:lnTo>
                      <a:pt x="586" y="676"/>
                    </a:lnTo>
                    <a:lnTo>
                      <a:pt x="584" y="678"/>
                    </a:lnTo>
                    <a:lnTo>
                      <a:pt x="582" y="678"/>
                    </a:lnTo>
                    <a:lnTo>
                      <a:pt x="576" y="679"/>
                    </a:lnTo>
                    <a:lnTo>
                      <a:pt x="576" y="681"/>
                    </a:lnTo>
                    <a:lnTo>
                      <a:pt x="576" y="679"/>
                    </a:lnTo>
                    <a:lnTo>
                      <a:pt x="574" y="679"/>
                    </a:lnTo>
                    <a:lnTo>
                      <a:pt x="572" y="681"/>
                    </a:lnTo>
                    <a:lnTo>
                      <a:pt x="574" y="681"/>
                    </a:lnTo>
                    <a:lnTo>
                      <a:pt x="576" y="681"/>
                    </a:lnTo>
                    <a:lnTo>
                      <a:pt x="578" y="681"/>
                    </a:lnTo>
                    <a:lnTo>
                      <a:pt x="582" y="679"/>
                    </a:lnTo>
                    <a:lnTo>
                      <a:pt x="584" y="679"/>
                    </a:lnTo>
                    <a:lnTo>
                      <a:pt x="582" y="681"/>
                    </a:lnTo>
                    <a:lnTo>
                      <a:pt x="582" y="685"/>
                    </a:lnTo>
                    <a:lnTo>
                      <a:pt x="580" y="689"/>
                    </a:lnTo>
                    <a:lnTo>
                      <a:pt x="576" y="689"/>
                    </a:lnTo>
                    <a:lnTo>
                      <a:pt x="574" y="691"/>
                    </a:lnTo>
                    <a:lnTo>
                      <a:pt x="576" y="691"/>
                    </a:lnTo>
                    <a:lnTo>
                      <a:pt x="578" y="697"/>
                    </a:lnTo>
                    <a:lnTo>
                      <a:pt x="574" y="697"/>
                    </a:lnTo>
                    <a:lnTo>
                      <a:pt x="574" y="699"/>
                    </a:lnTo>
                    <a:lnTo>
                      <a:pt x="572" y="700"/>
                    </a:lnTo>
                    <a:lnTo>
                      <a:pt x="574" y="702"/>
                    </a:lnTo>
                    <a:lnTo>
                      <a:pt x="572" y="702"/>
                    </a:lnTo>
                    <a:lnTo>
                      <a:pt x="570" y="702"/>
                    </a:lnTo>
                    <a:lnTo>
                      <a:pt x="572" y="704"/>
                    </a:lnTo>
                    <a:lnTo>
                      <a:pt x="572" y="706"/>
                    </a:lnTo>
                    <a:lnTo>
                      <a:pt x="570" y="708"/>
                    </a:lnTo>
                    <a:lnTo>
                      <a:pt x="570" y="712"/>
                    </a:lnTo>
                    <a:lnTo>
                      <a:pt x="569" y="716"/>
                    </a:lnTo>
                    <a:lnTo>
                      <a:pt x="570" y="716"/>
                    </a:lnTo>
                    <a:lnTo>
                      <a:pt x="570" y="718"/>
                    </a:lnTo>
                    <a:lnTo>
                      <a:pt x="572" y="721"/>
                    </a:lnTo>
                    <a:lnTo>
                      <a:pt x="570" y="723"/>
                    </a:lnTo>
                    <a:lnTo>
                      <a:pt x="569" y="727"/>
                    </a:lnTo>
                    <a:lnTo>
                      <a:pt x="570" y="727"/>
                    </a:lnTo>
                    <a:lnTo>
                      <a:pt x="569" y="729"/>
                    </a:lnTo>
                    <a:lnTo>
                      <a:pt x="569" y="731"/>
                    </a:lnTo>
                    <a:lnTo>
                      <a:pt x="570" y="737"/>
                    </a:lnTo>
                    <a:lnTo>
                      <a:pt x="572" y="744"/>
                    </a:lnTo>
                    <a:lnTo>
                      <a:pt x="574" y="750"/>
                    </a:lnTo>
                    <a:lnTo>
                      <a:pt x="582" y="771"/>
                    </a:lnTo>
                    <a:lnTo>
                      <a:pt x="586" y="775"/>
                    </a:lnTo>
                    <a:lnTo>
                      <a:pt x="590" y="781"/>
                    </a:lnTo>
                    <a:lnTo>
                      <a:pt x="593" y="784"/>
                    </a:lnTo>
                    <a:lnTo>
                      <a:pt x="595" y="788"/>
                    </a:lnTo>
                    <a:lnTo>
                      <a:pt x="599" y="790"/>
                    </a:lnTo>
                    <a:lnTo>
                      <a:pt x="601" y="790"/>
                    </a:lnTo>
                    <a:lnTo>
                      <a:pt x="605" y="794"/>
                    </a:lnTo>
                    <a:lnTo>
                      <a:pt x="603" y="794"/>
                    </a:lnTo>
                    <a:lnTo>
                      <a:pt x="603" y="796"/>
                    </a:lnTo>
                    <a:lnTo>
                      <a:pt x="603" y="798"/>
                    </a:lnTo>
                    <a:lnTo>
                      <a:pt x="601" y="800"/>
                    </a:lnTo>
                    <a:lnTo>
                      <a:pt x="595" y="798"/>
                    </a:lnTo>
                    <a:lnTo>
                      <a:pt x="593" y="798"/>
                    </a:lnTo>
                    <a:lnTo>
                      <a:pt x="595" y="798"/>
                    </a:lnTo>
                    <a:lnTo>
                      <a:pt x="591" y="798"/>
                    </a:lnTo>
                    <a:lnTo>
                      <a:pt x="591" y="796"/>
                    </a:lnTo>
                    <a:lnTo>
                      <a:pt x="591" y="798"/>
                    </a:lnTo>
                    <a:lnTo>
                      <a:pt x="595" y="800"/>
                    </a:lnTo>
                    <a:lnTo>
                      <a:pt x="597" y="800"/>
                    </a:lnTo>
                    <a:lnTo>
                      <a:pt x="599" y="802"/>
                    </a:lnTo>
                    <a:lnTo>
                      <a:pt x="593" y="802"/>
                    </a:lnTo>
                    <a:lnTo>
                      <a:pt x="595" y="802"/>
                    </a:lnTo>
                    <a:lnTo>
                      <a:pt x="595" y="804"/>
                    </a:lnTo>
                    <a:lnTo>
                      <a:pt x="597" y="804"/>
                    </a:lnTo>
                    <a:lnTo>
                      <a:pt x="597" y="805"/>
                    </a:lnTo>
                    <a:lnTo>
                      <a:pt x="597" y="804"/>
                    </a:lnTo>
                    <a:lnTo>
                      <a:pt x="597" y="805"/>
                    </a:lnTo>
                    <a:lnTo>
                      <a:pt x="595" y="804"/>
                    </a:lnTo>
                    <a:lnTo>
                      <a:pt x="597" y="805"/>
                    </a:lnTo>
                    <a:lnTo>
                      <a:pt x="593" y="804"/>
                    </a:lnTo>
                    <a:lnTo>
                      <a:pt x="593" y="802"/>
                    </a:lnTo>
                    <a:lnTo>
                      <a:pt x="591" y="802"/>
                    </a:lnTo>
                    <a:lnTo>
                      <a:pt x="591" y="800"/>
                    </a:lnTo>
                    <a:lnTo>
                      <a:pt x="593" y="802"/>
                    </a:lnTo>
                    <a:lnTo>
                      <a:pt x="593" y="800"/>
                    </a:lnTo>
                    <a:lnTo>
                      <a:pt x="590" y="800"/>
                    </a:lnTo>
                    <a:lnTo>
                      <a:pt x="590" y="798"/>
                    </a:lnTo>
                    <a:lnTo>
                      <a:pt x="588" y="798"/>
                    </a:lnTo>
                    <a:lnTo>
                      <a:pt x="590" y="800"/>
                    </a:lnTo>
                    <a:lnTo>
                      <a:pt x="588" y="800"/>
                    </a:lnTo>
                    <a:lnTo>
                      <a:pt x="588" y="798"/>
                    </a:lnTo>
                    <a:lnTo>
                      <a:pt x="588" y="794"/>
                    </a:lnTo>
                    <a:lnTo>
                      <a:pt x="586" y="794"/>
                    </a:lnTo>
                    <a:lnTo>
                      <a:pt x="586" y="796"/>
                    </a:lnTo>
                    <a:lnTo>
                      <a:pt x="586" y="794"/>
                    </a:lnTo>
                    <a:lnTo>
                      <a:pt x="584" y="796"/>
                    </a:lnTo>
                    <a:lnTo>
                      <a:pt x="582" y="794"/>
                    </a:lnTo>
                    <a:lnTo>
                      <a:pt x="584" y="796"/>
                    </a:lnTo>
                    <a:lnTo>
                      <a:pt x="582" y="796"/>
                    </a:lnTo>
                    <a:lnTo>
                      <a:pt x="584" y="798"/>
                    </a:lnTo>
                    <a:lnTo>
                      <a:pt x="582" y="798"/>
                    </a:lnTo>
                    <a:lnTo>
                      <a:pt x="586" y="798"/>
                    </a:lnTo>
                    <a:lnTo>
                      <a:pt x="584" y="798"/>
                    </a:lnTo>
                    <a:lnTo>
                      <a:pt x="584" y="796"/>
                    </a:lnTo>
                    <a:lnTo>
                      <a:pt x="586" y="798"/>
                    </a:lnTo>
                    <a:lnTo>
                      <a:pt x="588" y="798"/>
                    </a:lnTo>
                    <a:lnTo>
                      <a:pt x="586" y="800"/>
                    </a:lnTo>
                    <a:lnTo>
                      <a:pt x="588" y="800"/>
                    </a:lnTo>
                    <a:lnTo>
                      <a:pt x="590" y="802"/>
                    </a:lnTo>
                    <a:lnTo>
                      <a:pt x="588" y="802"/>
                    </a:lnTo>
                    <a:lnTo>
                      <a:pt x="588" y="800"/>
                    </a:lnTo>
                    <a:lnTo>
                      <a:pt x="586" y="802"/>
                    </a:lnTo>
                    <a:lnTo>
                      <a:pt x="590" y="802"/>
                    </a:lnTo>
                    <a:lnTo>
                      <a:pt x="588" y="802"/>
                    </a:lnTo>
                    <a:lnTo>
                      <a:pt x="588" y="804"/>
                    </a:lnTo>
                    <a:lnTo>
                      <a:pt x="586" y="804"/>
                    </a:lnTo>
                    <a:lnTo>
                      <a:pt x="584" y="802"/>
                    </a:lnTo>
                    <a:lnTo>
                      <a:pt x="586" y="802"/>
                    </a:lnTo>
                    <a:lnTo>
                      <a:pt x="584" y="800"/>
                    </a:lnTo>
                    <a:lnTo>
                      <a:pt x="582" y="798"/>
                    </a:lnTo>
                    <a:lnTo>
                      <a:pt x="580" y="798"/>
                    </a:lnTo>
                    <a:lnTo>
                      <a:pt x="578" y="798"/>
                    </a:lnTo>
                    <a:lnTo>
                      <a:pt x="576" y="796"/>
                    </a:lnTo>
                    <a:lnTo>
                      <a:pt x="576" y="798"/>
                    </a:lnTo>
                    <a:lnTo>
                      <a:pt x="580" y="800"/>
                    </a:lnTo>
                    <a:lnTo>
                      <a:pt x="578" y="800"/>
                    </a:lnTo>
                    <a:lnTo>
                      <a:pt x="580" y="802"/>
                    </a:lnTo>
                    <a:lnTo>
                      <a:pt x="578" y="802"/>
                    </a:lnTo>
                    <a:lnTo>
                      <a:pt x="576" y="802"/>
                    </a:lnTo>
                    <a:lnTo>
                      <a:pt x="576" y="800"/>
                    </a:lnTo>
                    <a:lnTo>
                      <a:pt x="574" y="800"/>
                    </a:lnTo>
                    <a:lnTo>
                      <a:pt x="572" y="798"/>
                    </a:lnTo>
                    <a:lnTo>
                      <a:pt x="574" y="800"/>
                    </a:lnTo>
                    <a:lnTo>
                      <a:pt x="572" y="796"/>
                    </a:lnTo>
                    <a:lnTo>
                      <a:pt x="576" y="800"/>
                    </a:lnTo>
                    <a:lnTo>
                      <a:pt x="574" y="796"/>
                    </a:lnTo>
                    <a:lnTo>
                      <a:pt x="572" y="794"/>
                    </a:lnTo>
                    <a:lnTo>
                      <a:pt x="576" y="800"/>
                    </a:lnTo>
                    <a:lnTo>
                      <a:pt x="572" y="796"/>
                    </a:lnTo>
                    <a:lnTo>
                      <a:pt x="570" y="796"/>
                    </a:lnTo>
                    <a:lnTo>
                      <a:pt x="570" y="794"/>
                    </a:lnTo>
                    <a:lnTo>
                      <a:pt x="569" y="794"/>
                    </a:lnTo>
                    <a:lnTo>
                      <a:pt x="570" y="798"/>
                    </a:lnTo>
                    <a:lnTo>
                      <a:pt x="570" y="800"/>
                    </a:lnTo>
                    <a:lnTo>
                      <a:pt x="570" y="798"/>
                    </a:lnTo>
                    <a:lnTo>
                      <a:pt x="567" y="796"/>
                    </a:lnTo>
                    <a:lnTo>
                      <a:pt x="567" y="798"/>
                    </a:lnTo>
                    <a:lnTo>
                      <a:pt x="569" y="800"/>
                    </a:lnTo>
                    <a:lnTo>
                      <a:pt x="569" y="802"/>
                    </a:lnTo>
                    <a:lnTo>
                      <a:pt x="567" y="802"/>
                    </a:lnTo>
                    <a:lnTo>
                      <a:pt x="563" y="800"/>
                    </a:lnTo>
                    <a:lnTo>
                      <a:pt x="561" y="798"/>
                    </a:lnTo>
                    <a:lnTo>
                      <a:pt x="559" y="796"/>
                    </a:lnTo>
                    <a:lnTo>
                      <a:pt x="559" y="794"/>
                    </a:lnTo>
                    <a:lnTo>
                      <a:pt x="557" y="792"/>
                    </a:lnTo>
                    <a:lnTo>
                      <a:pt x="553" y="794"/>
                    </a:lnTo>
                    <a:lnTo>
                      <a:pt x="557" y="796"/>
                    </a:lnTo>
                    <a:lnTo>
                      <a:pt x="557" y="798"/>
                    </a:lnTo>
                    <a:lnTo>
                      <a:pt x="559" y="798"/>
                    </a:lnTo>
                    <a:lnTo>
                      <a:pt x="557" y="798"/>
                    </a:lnTo>
                    <a:lnTo>
                      <a:pt x="555" y="796"/>
                    </a:lnTo>
                    <a:lnTo>
                      <a:pt x="553" y="794"/>
                    </a:lnTo>
                    <a:lnTo>
                      <a:pt x="551" y="792"/>
                    </a:lnTo>
                    <a:lnTo>
                      <a:pt x="551" y="794"/>
                    </a:lnTo>
                    <a:lnTo>
                      <a:pt x="549" y="794"/>
                    </a:lnTo>
                    <a:lnTo>
                      <a:pt x="548" y="794"/>
                    </a:lnTo>
                    <a:lnTo>
                      <a:pt x="546" y="790"/>
                    </a:lnTo>
                    <a:lnTo>
                      <a:pt x="546" y="792"/>
                    </a:lnTo>
                    <a:lnTo>
                      <a:pt x="544" y="792"/>
                    </a:lnTo>
                    <a:lnTo>
                      <a:pt x="542" y="788"/>
                    </a:lnTo>
                    <a:lnTo>
                      <a:pt x="542" y="790"/>
                    </a:lnTo>
                    <a:lnTo>
                      <a:pt x="540" y="790"/>
                    </a:lnTo>
                    <a:lnTo>
                      <a:pt x="536" y="786"/>
                    </a:lnTo>
                    <a:lnTo>
                      <a:pt x="538" y="786"/>
                    </a:lnTo>
                    <a:lnTo>
                      <a:pt x="540" y="788"/>
                    </a:lnTo>
                    <a:lnTo>
                      <a:pt x="540" y="786"/>
                    </a:lnTo>
                    <a:lnTo>
                      <a:pt x="542" y="786"/>
                    </a:lnTo>
                    <a:lnTo>
                      <a:pt x="544" y="790"/>
                    </a:lnTo>
                    <a:lnTo>
                      <a:pt x="542" y="786"/>
                    </a:lnTo>
                    <a:lnTo>
                      <a:pt x="544" y="784"/>
                    </a:lnTo>
                    <a:lnTo>
                      <a:pt x="544" y="783"/>
                    </a:lnTo>
                    <a:lnTo>
                      <a:pt x="540" y="779"/>
                    </a:lnTo>
                    <a:lnTo>
                      <a:pt x="540" y="777"/>
                    </a:lnTo>
                    <a:lnTo>
                      <a:pt x="540" y="775"/>
                    </a:lnTo>
                    <a:lnTo>
                      <a:pt x="538" y="775"/>
                    </a:lnTo>
                    <a:lnTo>
                      <a:pt x="542" y="775"/>
                    </a:lnTo>
                    <a:lnTo>
                      <a:pt x="540" y="773"/>
                    </a:lnTo>
                    <a:lnTo>
                      <a:pt x="542" y="775"/>
                    </a:lnTo>
                    <a:lnTo>
                      <a:pt x="542" y="777"/>
                    </a:lnTo>
                    <a:lnTo>
                      <a:pt x="540" y="777"/>
                    </a:lnTo>
                    <a:lnTo>
                      <a:pt x="542" y="779"/>
                    </a:lnTo>
                    <a:lnTo>
                      <a:pt x="542" y="777"/>
                    </a:lnTo>
                    <a:lnTo>
                      <a:pt x="546" y="779"/>
                    </a:lnTo>
                    <a:lnTo>
                      <a:pt x="548" y="779"/>
                    </a:lnTo>
                    <a:lnTo>
                      <a:pt x="544" y="775"/>
                    </a:lnTo>
                    <a:lnTo>
                      <a:pt x="546" y="775"/>
                    </a:lnTo>
                    <a:lnTo>
                      <a:pt x="548" y="775"/>
                    </a:lnTo>
                    <a:lnTo>
                      <a:pt x="549" y="775"/>
                    </a:lnTo>
                    <a:lnTo>
                      <a:pt x="548" y="773"/>
                    </a:lnTo>
                    <a:lnTo>
                      <a:pt x="548" y="771"/>
                    </a:lnTo>
                    <a:lnTo>
                      <a:pt x="548" y="773"/>
                    </a:lnTo>
                    <a:lnTo>
                      <a:pt x="544" y="771"/>
                    </a:lnTo>
                    <a:lnTo>
                      <a:pt x="546" y="773"/>
                    </a:lnTo>
                    <a:lnTo>
                      <a:pt x="544" y="773"/>
                    </a:lnTo>
                    <a:lnTo>
                      <a:pt x="542" y="773"/>
                    </a:lnTo>
                    <a:lnTo>
                      <a:pt x="544" y="771"/>
                    </a:lnTo>
                    <a:lnTo>
                      <a:pt x="542" y="771"/>
                    </a:lnTo>
                    <a:lnTo>
                      <a:pt x="540" y="771"/>
                    </a:lnTo>
                    <a:lnTo>
                      <a:pt x="538" y="767"/>
                    </a:lnTo>
                    <a:lnTo>
                      <a:pt x="536" y="767"/>
                    </a:lnTo>
                    <a:lnTo>
                      <a:pt x="534" y="763"/>
                    </a:lnTo>
                    <a:lnTo>
                      <a:pt x="534" y="762"/>
                    </a:lnTo>
                    <a:lnTo>
                      <a:pt x="536" y="762"/>
                    </a:lnTo>
                    <a:lnTo>
                      <a:pt x="536" y="763"/>
                    </a:lnTo>
                    <a:lnTo>
                      <a:pt x="538" y="767"/>
                    </a:lnTo>
                    <a:lnTo>
                      <a:pt x="538" y="765"/>
                    </a:lnTo>
                    <a:lnTo>
                      <a:pt x="536" y="763"/>
                    </a:lnTo>
                    <a:lnTo>
                      <a:pt x="536" y="758"/>
                    </a:lnTo>
                    <a:lnTo>
                      <a:pt x="538" y="758"/>
                    </a:lnTo>
                    <a:lnTo>
                      <a:pt x="538" y="754"/>
                    </a:lnTo>
                    <a:lnTo>
                      <a:pt x="536" y="754"/>
                    </a:lnTo>
                    <a:lnTo>
                      <a:pt x="534" y="758"/>
                    </a:lnTo>
                    <a:lnTo>
                      <a:pt x="534" y="760"/>
                    </a:lnTo>
                    <a:lnTo>
                      <a:pt x="532" y="756"/>
                    </a:lnTo>
                    <a:lnTo>
                      <a:pt x="532" y="758"/>
                    </a:lnTo>
                    <a:lnTo>
                      <a:pt x="532" y="760"/>
                    </a:lnTo>
                    <a:lnTo>
                      <a:pt x="532" y="758"/>
                    </a:lnTo>
                    <a:lnTo>
                      <a:pt x="530" y="758"/>
                    </a:lnTo>
                    <a:lnTo>
                      <a:pt x="532" y="760"/>
                    </a:lnTo>
                    <a:lnTo>
                      <a:pt x="530" y="762"/>
                    </a:lnTo>
                    <a:lnTo>
                      <a:pt x="530" y="760"/>
                    </a:lnTo>
                    <a:lnTo>
                      <a:pt x="530" y="762"/>
                    </a:lnTo>
                    <a:lnTo>
                      <a:pt x="530" y="763"/>
                    </a:lnTo>
                    <a:lnTo>
                      <a:pt x="532" y="767"/>
                    </a:lnTo>
                    <a:lnTo>
                      <a:pt x="532" y="769"/>
                    </a:lnTo>
                    <a:lnTo>
                      <a:pt x="532" y="767"/>
                    </a:lnTo>
                    <a:lnTo>
                      <a:pt x="530" y="765"/>
                    </a:lnTo>
                    <a:lnTo>
                      <a:pt x="530" y="763"/>
                    </a:lnTo>
                    <a:lnTo>
                      <a:pt x="528" y="763"/>
                    </a:lnTo>
                    <a:lnTo>
                      <a:pt x="530" y="765"/>
                    </a:lnTo>
                    <a:lnTo>
                      <a:pt x="528" y="765"/>
                    </a:lnTo>
                    <a:lnTo>
                      <a:pt x="530" y="765"/>
                    </a:lnTo>
                    <a:lnTo>
                      <a:pt x="532" y="769"/>
                    </a:lnTo>
                    <a:lnTo>
                      <a:pt x="534" y="769"/>
                    </a:lnTo>
                    <a:lnTo>
                      <a:pt x="534" y="767"/>
                    </a:lnTo>
                    <a:lnTo>
                      <a:pt x="534" y="771"/>
                    </a:lnTo>
                    <a:lnTo>
                      <a:pt x="536" y="771"/>
                    </a:lnTo>
                    <a:lnTo>
                      <a:pt x="534" y="771"/>
                    </a:lnTo>
                    <a:lnTo>
                      <a:pt x="536" y="773"/>
                    </a:lnTo>
                    <a:lnTo>
                      <a:pt x="534" y="775"/>
                    </a:lnTo>
                    <a:lnTo>
                      <a:pt x="534" y="777"/>
                    </a:lnTo>
                    <a:lnTo>
                      <a:pt x="532" y="779"/>
                    </a:lnTo>
                    <a:lnTo>
                      <a:pt x="532" y="781"/>
                    </a:lnTo>
                    <a:lnTo>
                      <a:pt x="534" y="783"/>
                    </a:lnTo>
                    <a:lnTo>
                      <a:pt x="532" y="784"/>
                    </a:lnTo>
                    <a:lnTo>
                      <a:pt x="530" y="779"/>
                    </a:lnTo>
                    <a:lnTo>
                      <a:pt x="528" y="777"/>
                    </a:lnTo>
                    <a:lnTo>
                      <a:pt x="528" y="775"/>
                    </a:lnTo>
                    <a:lnTo>
                      <a:pt x="527" y="771"/>
                    </a:lnTo>
                    <a:lnTo>
                      <a:pt x="525" y="769"/>
                    </a:lnTo>
                    <a:lnTo>
                      <a:pt x="523" y="769"/>
                    </a:lnTo>
                    <a:lnTo>
                      <a:pt x="521" y="769"/>
                    </a:lnTo>
                    <a:lnTo>
                      <a:pt x="519" y="765"/>
                    </a:lnTo>
                    <a:lnTo>
                      <a:pt x="521" y="763"/>
                    </a:lnTo>
                    <a:lnTo>
                      <a:pt x="523" y="763"/>
                    </a:lnTo>
                    <a:lnTo>
                      <a:pt x="525" y="763"/>
                    </a:lnTo>
                    <a:lnTo>
                      <a:pt x="525" y="762"/>
                    </a:lnTo>
                    <a:lnTo>
                      <a:pt x="528" y="763"/>
                    </a:lnTo>
                    <a:lnTo>
                      <a:pt x="527" y="762"/>
                    </a:lnTo>
                    <a:lnTo>
                      <a:pt x="530" y="762"/>
                    </a:lnTo>
                    <a:lnTo>
                      <a:pt x="528" y="760"/>
                    </a:lnTo>
                    <a:lnTo>
                      <a:pt x="530" y="760"/>
                    </a:lnTo>
                    <a:lnTo>
                      <a:pt x="530" y="758"/>
                    </a:lnTo>
                    <a:lnTo>
                      <a:pt x="528" y="758"/>
                    </a:lnTo>
                    <a:lnTo>
                      <a:pt x="528" y="760"/>
                    </a:lnTo>
                    <a:lnTo>
                      <a:pt x="527" y="760"/>
                    </a:lnTo>
                    <a:lnTo>
                      <a:pt x="527" y="758"/>
                    </a:lnTo>
                    <a:lnTo>
                      <a:pt x="527" y="756"/>
                    </a:lnTo>
                    <a:lnTo>
                      <a:pt x="527" y="758"/>
                    </a:lnTo>
                    <a:lnTo>
                      <a:pt x="527" y="756"/>
                    </a:lnTo>
                    <a:lnTo>
                      <a:pt x="525" y="750"/>
                    </a:lnTo>
                    <a:lnTo>
                      <a:pt x="523" y="752"/>
                    </a:lnTo>
                    <a:lnTo>
                      <a:pt x="523" y="754"/>
                    </a:lnTo>
                    <a:lnTo>
                      <a:pt x="521" y="754"/>
                    </a:lnTo>
                    <a:lnTo>
                      <a:pt x="523" y="758"/>
                    </a:lnTo>
                    <a:lnTo>
                      <a:pt x="521" y="756"/>
                    </a:lnTo>
                    <a:lnTo>
                      <a:pt x="521" y="754"/>
                    </a:lnTo>
                    <a:lnTo>
                      <a:pt x="519" y="752"/>
                    </a:lnTo>
                    <a:lnTo>
                      <a:pt x="519" y="754"/>
                    </a:lnTo>
                    <a:lnTo>
                      <a:pt x="521" y="758"/>
                    </a:lnTo>
                    <a:lnTo>
                      <a:pt x="519" y="756"/>
                    </a:lnTo>
                    <a:lnTo>
                      <a:pt x="517" y="758"/>
                    </a:lnTo>
                    <a:lnTo>
                      <a:pt x="515" y="758"/>
                    </a:lnTo>
                    <a:lnTo>
                      <a:pt x="513" y="758"/>
                    </a:lnTo>
                    <a:lnTo>
                      <a:pt x="511" y="756"/>
                    </a:lnTo>
                    <a:lnTo>
                      <a:pt x="509" y="754"/>
                    </a:lnTo>
                    <a:lnTo>
                      <a:pt x="509" y="752"/>
                    </a:lnTo>
                    <a:lnTo>
                      <a:pt x="509" y="750"/>
                    </a:lnTo>
                    <a:lnTo>
                      <a:pt x="508" y="744"/>
                    </a:lnTo>
                    <a:lnTo>
                      <a:pt x="506" y="739"/>
                    </a:lnTo>
                    <a:lnTo>
                      <a:pt x="509" y="727"/>
                    </a:lnTo>
                    <a:lnTo>
                      <a:pt x="513" y="723"/>
                    </a:lnTo>
                    <a:lnTo>
                      <a:pt x="515" y="725"/>
                    </a:lnTo>
                    <a:lnTo>
                      <a:pt x="517" y="725"/>
                    </a:lnTo>
                    <a:lnTo>
                      <a:pt x="519" y="723"/>
                    </a:lnTo>
                    <a:lnTo>
                      <a:pt x="519" y="725"/>
                    </a:lnTo>
                    <a:lnTo>
                      <a:pt x="519" y="727"/>
                    </a:lnTo>
                    <a:lnTo>
                      <a:pt x="519" y="725"/>
                    </a:lnTo>
                    <a:lnTo>
                      <a:pt x="519" y="727"/>
                    </a:lnTo>
                    <a:lnTo>
                      <a:pt x="521" y="725"/>
                    </a:lnTo>
                    <a:lnTo>
                      <a:pt x="521" y="729"/>
                    </a:lnTo>
                    <a:lnTo>
                      <a:pt x="523" y="727"/>
                    </a:lnTo>
                    <a:lnTo>
                      <a:pt x="523" y="725"/>
                    </a:lnTo>
                    <a:lnTo>
                      <a:pt x="523" y="721"/>
                    </a:lnTo>
                    <a:lnTo>
                      <a:pt x="523" y="723"/>
                    </a:lnTo>
                    <a:lnTo>
                      <a:pt x="525" y="723"/>
                    </a:lnTo>
                    <a:lnTo>
                      <a:pt x="525" y="721"/>
                    </a:lnTo>
                    <a:lnTo>
                      <a:pt x="523" y="720"/>
                    </a:lnTo>
                    <a:lnTo>
                      <a:pt x="525" y="721"/>
                    </a:lnTo>
                    <a:lnTo>
                      <a:pt x="523" y="720"/>
                    </a:lnTo>
                    <a:lnTo>
                      <a:pt x="525" y="718"/>
                    </a:lnTo>
                    <a:lnTo>
                      <a:pt x="523" y="718"/>
                    </a:lnTo>
                    <a:lnTo>
                      <a:pt x="525" y="718"/>
                    </a:lnTo>
                    <a:lnTo>
                      <a:pt x="523" y="718"/>
                    </a:lnTo>
                    <a:lnTo>
                      <a:pt x="523" y="716"/>
                    </a:lnTo>
                    <a:lnTo>
                      <a:pt x="527" y="718"/>
                    </a:lnTo>
                    <a:lnTo>
                      <a:pt x="525" y="716"/>
                    </a:lnTo>
                    <a:lnTo>
                      <a:pt x="527" y="716"/>
                    </a:lnTo>
                    <a:lnTo>
                      <a:pt x="527" y="714"/>
                    </a:lnTo>
                    <a:lnTo>
                      <a:pt x="525" y="712"/>
                    </a:lnTo>
                    <a:lnTo>
                      <a:pt x="527" y="712"/>
                    </a:lnTo>
                    <a:lnTo>
                      <a:pt x="527" y="714"/>
                    </a:lnTo>
                    <a:lnTo>
                      <a:pt x="527" y="712"/>
                    </a:lnTo>
                    <a:lnTo>
                      <a:pt x="527" y="710"/>
                    </a:lnTo>
                    <a:lnTo>
                      <a:pt x="527" y="708"/>
                    </a:lnTo>
                    <a:lnTo>
                      <a:pt x="528" y="708"/>
                    </a:lnTo>
                    <a:lnTo>
                      <a:pt x="527" y="708"/>
                    </a:lnTo>
                    <a:lnTo>
                      <a:pt x="528" y="706"/>
                    </a:lnTo>
                    <a:lnTo>
                      <a:pt x="527" y="708"/>
                    </a:lnTo>
                    <a:lnTo>
                      <a:pt x="527" y="706"/>
                    </a:lnTo>
                    <a:lnTo>
                      <a:pt x="528" y="704"/>
                    </a:lnTo>
                    <a:lnTo>
                      <a:pt x="528" y="706"/>
                    </a:lnTo>
                    <a:lnTo>
                      <a:pt x="528" y="704"/>
                    </a:lnTo>
                    <a:lnTo>
                      <a:pt x="530" y="704"/>
                    </a:lnTo>
                    <a:lnTo>
                      <a:pt x="528" y="704"/>
                    </a:lnTo>
                    <a:lnTo>
                      <a:pt x="530" y="702"/>
                    </a:lnTo>
                    <a:lnTo>
                      <a:pt x="530" y="700"/>
                    </a:lnTo>
                    <a:lnTo>
                      <a:pt x="528" y="702"/>
                    </a:lnTo>
                    <a:lnTo>
                      <a:pt x="527" y="702"/>
                    </a:lnTo>
                    <a:lnTo>
                      <a:pt x="528" y="699"/>
                    </a:lnTo>
                    <a:lnTo>
                      <a:pt x="527" y="699"/>
                    </a:lnTo>
                    <a:lnTo>
                      <a:pt x="528" y="697"/>
                    </a:lnTo>
                    <a:lnTo>
                      <a:pt x="527" y="695"/>
                    </a:lnTo>
                    <a:lnTo>
                      <a:pt x="525" y="697"/>
                    </a:lnTo>
                    <a:lnTo>
                      <a:pt x="523" y="693"/>
                    </a:lnTo>
                    <a:lnTo>
                      <a:pt x="523" y="691"/>
                    </a:lnTo>
                    <a:lnTo>
                      <a:pt x="523" y="689"/>
                    </a:lnTo>
                    <a:lnTo>
                      <a:pt x="525" y="685"/>
                    </a:lnTo>
                    <a:lnTo>
                      <a:pt x="530" y="683"/>
                    </a:lnTo>
                    <a:lnTo>
                      <a:pt x="532" y="683"/>
                    </a:lnTo>
                    <a:lnTo>
                      <a:pt x="534" y="683"/>
                    </a:lnTo>
                    <a:lnTo>
                      <a:pt x="532" y="679"/>
                    </a:lnTo>
                    <a:lnTo>
                      <a:pt x="532" y="678"/>
                    </a:lnTo>
                    <a:lnTo>
                      <a:pt x="534" y="678"/>
                    </a:lnTo>
                    <a:lnTo>
                      <a:pt x="536" y="678"/>
                    </a:lnTo>
                    <a:lnTo>
                      <a:pt x="538" y="678"/>
                    </a:lnTo>
                    <a:lnTo>
                      <a:pt x="536" y="676"/>
                    </a:lnTo>
                    <a:lnTo>
                      <a:pt x="536" y="674"/>
                    </a:lnTo>
                    <a:lnTo>
                      <a:pt x="534" y="674"/>
                    </a:lnTo>
                    <a:lnTo>
                      <a:pt x="534" y="672"/>
                    </a:lnTo>
                    <a:lnTo>
                      <a:pt x="534" y="670"/>
                    </a:lnTo>
                    <a:lnTo>
                      <a:pt x="538" y="666"/>
                    </a:lnTo>
                    <a:lnTo>
                      <a:pt x="538" y="664"/>
                    </a:lnTo>
                    <a:lnTo>
                      <a:pt x="540" y="666"/>
                    </a:lnTo>
                    <a:lnTo>
                      <a:pt x="542" y="662"/>
                    </a:lnTo>
                    <a:lnTo>
                      <a:pt x="546" y="662"/>
                    </a:lnTo>
                    <a:lnTo>
                      <a:pt x="548" y="662"/>
                    </a:lnTo>
                    <a:lnTo>
                      <a:pt x="548" y="664"/>
                    </a:lnTo>
                    <a:lnTo>
                      <a:pt x="551" y="664"/>
                    </a:lnTo>
                    <a:lnTo>
                      <a:pt x="553" y="662"/>
                    </a:lnTo>
                    <a:lnTo>
                      <a:pt x="555" y="662"/>
                    </a:lnTo>
                    <a:lnTo>
                      <a:pt x="553" y="660"/>
                    </a:lnTo>
                    <a:lnTo>
                      <a:pt x="555" y="657"/>
                    </a:lnTo>
                    <a:lnTo>
                      <a:pt x="553" y="658"/>
                    </a:lnTo>
                    <a:lnTo>
                      <a:pt x="549" y="660"/>
                    </a:lnTo>
                    <a:lnTo>
                      <a:pt x="549" y="658"/>
                    </a:lnTo>
                    <a:lnTo>
                      <a:pt x="548" y="658"/>
                    </a:lnTo>
                    <a:lnTo>
                      <a:pt x="548" y="657"/>
                    </a:lnTo>
                    <a:lnTo>
                      <a:pt x="549" y="655"/>
                    </a:lnTo>
                    <a:lnTo>
                      <a:pt x="551" y="655"/>
                    </a:lnTo>
                    <a:lnTo>
                      <a:pt x="553" y="653"/>
                    </a:lnTo>
                    <a:lnTo>
                      <a:pt x="555" y="651"/>
                    </a:lnTo>
                    <a:lnTo>
                      <a:pt x="551" y="653"/>
                    </a:lnTo>
                    <a:lnTo>
                      <a:pt x="551" y="651"/>
                    </a:lnTo>
                    <a:lnTo>
                      <a:pt x="553" y="647"/>
                    </a:lnTo>
                    <a:lnTo>
                      <a:pt x="559" y="643"/>
                    </a:lnTo>
                    <a:lnTo>
                      <a:pt x="559" y="641"/>
                    </a:lnTo>
                    <a:lnTo>
                      <a:pt x="561" y="641"/>
                    </a:lnTo>
                    <a:lnTo>
                      <a:pt x="565" y="639"/>
                    </a:lnTo>
                    <a:lnTo>
                      <a:pt x="563" y="639"/>
                    </a:lnTo>
                    <a:lnTo>
                      <a:pt x="561" y="639"/>
                    </a:lnTo>
                    <a:lnTo>
                      <a:pt x="561" y="638"/>
                    </a:lnTo>
                    <a:lnTo>
                      <a:pt x="559" y="639"/>
                    </a:lnTo>
                    <a:lnTo>
                      <a:pt x="557" y="639"/>
                    </a:lnTo>
                    <a:lnTo>
                      <a:pt x="555" y="639"/>
                    </a:lnTo>
                    <a:lnTo>
                      <a:pt x="553" y="643"/>
                    </a:lnTo>
                    <a:lnTo>
                      <a:pt x="549" y="645"/>
                    </a:lnTo>
                    <a:lnTo>
                      <a:pt x="549" y="643"/>
                    </a:lnTo>
                    <a:lnTo>
                      <a:pt x="548" y="643"/>
                    </a:lnTo>
                    <a:lnTo>
                      <a:pt x="548" y="641"/>
                    </a:lnTo>
                    <a:lnTo>
                      <a:pt x="544" y="639"/>
                    </a:lnTo>
                    <a:lnTo>
                      <a:pt x="542" y="638"/>
                    </a:lnTo>
                    <a:lnTo>
                      <a:pt x="542" y="636"/>
                    </a:lnTo>
                    <a:lnTo>
                      <a:pt x="542" y="634"/>
                    </a:lnTo>
                    <a:lnTo>
                      <a:pt x="544" y="634"/>
                    </a:lnTo>
                    <a:lnTo>
                      <a:pt x="546" y="636"/>
                    </a:lnTo>
                    <a:lnTo>
                      <a:pt x="548" y="632"/>
                    </a:lnTo>
                    <a:lnTo>
                      <a:pt x="548" y="630"/>
                    </a:lnTo>
                    <a:lnTo>
                      <a:pt x="551" y="626"/>
                    </a:lnTo>
                    <a:lnTo>
                      <a:pt x="557" y="626"/>
                    </a:lnTo>
                    <a:lnTo>
                      <a:pt x="557" y="624"/>
                    </a:lnTo>
                    <a:lnTo>
                      <a:pt x="563" y="624"/>
                    </a:lnTo>
                    <a:lnTo>
                      <a:pt x="561" y="622"/>
                    </a:lnTo>
                    <a:lnTo>
                      <a:pt x="557" y="622"/>
                    </a:lnTo>
                    <a:lnTo>
                      <a:pt x="557" y="620"/>
                    </a:lnTo>
                    <a:lnTo>
                      <a:pt x="563" y="613"/>
                    </a:lnTo>
                    <a:lnTo>
                      <a:pt x="565" y="613"/>
                    </a:lnTo>
                    <a:lnTo>
                      <a:pt x="567" y="613"/>
                    </a:lnTo>
                    <a:lnTo>
                      <a:pt x="569" y="615"/>
                    </a:lnTo>
                    <a:lnTo>
                      <a:pt x="572" y="615"/>
                    </a:lnTo>
                    <a:lnTo>
                      <a:pt x="574" y="617"/>
                    </a:lnTo>
                    <a:lnTo>
                      <a:pt x="574" y="615"/>
                    </a:lnTo>
                    <a:lnTo>
                      <a:pt x="576" y="617"/>
                    </a:lnTo>
                    <a:lnTo>
                      <a:pt x="578" y="617"/>
                    </a:lnTo>
                    <a:lnTo>
                      <a:pt x="576" y="615"/>
                    </a:lnTo>
                    <a:lnTo>
                      <a:pt x="574" y="613"/>
                    </a:lnTo>
                    <a:lnTo>
                      <a:pt x="572" y="611"/>
                    </a:lnTo>
                    <a:lnTo>
                      <a:pt x="567" y="609"/>
                    </a:lnTo>
                    <a:lnTo>
                      <a:pt x="565" y="607"/>
                    </a:lnTo>
                    <a:lnTo>
                      <a:pt x="567" y="605"/>
                    </a:lnTo>
                    <a:lnTo>
                      <a:pt x="569" y="607"/>
                    </a:lnTo>
                    <a:lnTo>
                      <a:pt x="572" y="605"/>
                    </a:lnTo>
                    <a:lnTo>
                      <a:pt x="574" y="607"/>
                    </a:lnTo>
                    <a:lnTo>
                      <a:pt x="574" y="605"/>
                    </a:lnTo>
                    <a:lnTo>
                      <a:pt x="574" y="603"/>
                    </a:lnTo>
                    <a:lnTo>
                      <a:pt x="572" y="603"/>
                    </a:lnTo>
                    <a:lnTo>
                      <a:pt x="572" y="601"/>
                    </a:lnTo>
                    <a:lnTo>
                      <a:pt x="569" y="601"/>
                    </a:lnTo>
                    <a:lnTo>
                      <a:pt x="569" y="597"/>
                    </a:lnTo>
                    <a:lnTo>
                      <a:pt x="570" y="597"/>
                    </a:lnTo>
                    <a:lnTo>
                      <a:pt x="572" y="596"/>
                    </a:lnTo>
                    <a:lnTo>
                      <a:pt x="578" y="596"/>
                    </a:lnTo>
                    <a:lnTo>
                      <a:pt x="582" y="594"/>
                    </a:lnTo>
                    <a:lnTo>
                      <a:pt x="584" y="594"/>
                    </a:lnTo>
                    <a:lnTo>
                      <a:pt x="582" y="594"/>
                    </a:lnTo>
                    <a:lnTo>
                      <a:pt x="580" y="594"/>
                    </a:lnTo>
                    <a:lnTo>
                      <a:pt x="578" y="594"/>
                    </a:lnTo>
                    <a:lnTo>
                      <a:pt x="580" y="592"/>
                    </a:lnTo>
                    <a:lnTo>
                      <a:pt x="578" y="590"/>
                    </a:lnTo>
                    <a:lnTo>
                      <a:pt x="574" y="592"/>
                    </a:lnTo>
                    <a:lnTo>
                      <a:pt x="574" y="590"/>
                    </a:lnTo>
                    <a:lnTo>
                      <a:pt x="572" y="590"/>
                    </a:lnTo>
                    <a:lnTo>
                      <a:pt x="572" y="584"/>
                    </a:lnTo>
                    <a:lnTo>
                      <a:pt x="576" y="580"/>
                    </a:lnTo>
                    <a:lnTo>
                      <a:pt x="578" y="582"/>
                    </a:lnTo>
                    <a:lnTo>
                      <a:pt x="580" y="582"/>
                    </a:lnTo>
                    <a:lnTo>
                      <a:pt x="582" y="580"/>
                    </a:lnTo>
                    <a:lnTo>
                      <a:pt x="586" y="578"/>
                    </a:lnTo>
                    <a:lnTo>
                      <a:pt x="588" y="582"/>
                    </a:lnTo>
                    <a:lnTo>
                      <a:pt x="588" y="580"/>
                    </a:lnTo>
                    <a:lnTo>
                      <a:pt x="588" y="582"/>
                    </a:lnTo>
                    <a:lnTo>
                      <a:pt x="590" y="582"/>
                    </a:lnTo>
                    <a:lnTo>
                      <a:pt x="590" y="580"/>
                    </a:lnTo>
                    <a:lnTo>
                      <a:pt x="588" y="578"/>
                    </a:lnTo>
                    <a:lnTo>
                      <a:pt x="586" y="578"/>
                    </a:lnTo>
                    <a:lnTo>
                      <a:pt x="586" y="576"/>
                    </a:lnTo>
                    <a:lnTo>
                      <a:pt x="588" y="576"/>
                    </a:lnTo>
                    <a:lnTo>
                      <a:pt x="588" y="575"/>
                    </a:lnTo>
                    <a:lnTo>
                      <a:pt x="582" y="575"/>
                    </a:lnTo>
                    <a:lnTo>
                      <a:pt x="580" y="576"/>
                    </a:lnTo>
                    <a:lnTo>
                      <a:pt x="578" y="576"/>
                    </a:lnTo>
                    <a:lnTo>
                      <a:pt x="576" y="575"/>
                    </a:lnTo>
                    <a:lnTo>
                      <a:pt x="580" y="571"/>
                    </a:lnTo>
                    <a:lnTo>
                      <a:pt x="582" y="569"/>
                    </a:lnTo>
                    <a:lnTo>
                      <a:pt x="586" y="567"/>
                    </a:lnTo>
                    <a:lnTo>
                      <a:pt x="586" y="569"/>
                    </a:lnTo>
                    <a:lnTo>
                      <a:pt x="588" y="567"/>
                    </a:lnTo>
                    <a:lnTo>
                      <a:pt x="591" y="565"/>
                    </a:lnTo>
                    <a:lnTo>
                      <a:pt x="588" y="565"/>
                    </a:lnTo>
                    <a:lnTo>
                      <a:pt x="584" y="567"/>
                    </a:lnTo>
                    <a:lnTo>
                      <a:pt x="586" y="565"/>
                    </a:lnTo>
                    <a:lnTo>
                      <a:pt x="584" y="565"/>
                    </a:lnTo>
                    <a:lnTo>
                      <a:pt x="586" y="563"/>
                    </a:lnTo>
                    <a:lnTo>
                      <a:pt x="586" y="561"/>
                    </a:lnTo>
                    <a:lnTo>
                      <a:pt x="580" y="563"/>
                    </a:lnTo>
                    <a:lnTo>
                      <a:pt x="578" y="561"/>
                    </a:lnTo>
                    <a:lnTo>
                      <a:pt x="578" y="557"/>
                    </a:lnTo>
                    <a:lnTo>
                      <a:pt x="576" y="557"/>
                    </a:lnTo>
                    <a:lnTo>
                      <a:pt x="576" y="552"/>
                    </a:lnTo>
                    <a:lnTo>
                      <a:pt x="580" y="550"/>
                    </a:lnTo>
                    <a:lnTo>
                      <a:pt x="580" y="552"/>
                    </a:lnTo>
                    <a:lnTo>
                      <a:pt x="582" y="550"/>
                    </a:lnTo>
                    <a:lnTo>
                      <a:pt x="582" y="552"/>
                    </a:lnTo>
                    <a:lnTo>
                      <a:pt x="582" y="554"/>
                    </a:lnTo>
                    <a:lnTo>
                      <a:pt x="584" y="552"/>
                    </a:lnTo>
                    <a:lnTo>
                      <a:pt x="586" y="555"/>
                    </a:lnTo>
                    <a:lnTo>
                      <a:pt x="586" y="559"/>
                    </a:lnTo>
                    <a:lnTo>
                      <a:pt x="590" y="557"/>
                    </a:lnTo>
                    <a:lnTo>
                      <a:pt x="590" y="554"/>
                    </a:lnTo>
                    <a:lnTo>
                      <a:pt x="591" y="552"/>
                    </a:lnTo>
                    <a:lnTo>
                      <a:pt x="591" y="550"/>
                    </a:lnTo>
                    <a:lnTo>
                      <a:pt x="593" y="550"/>
                    </a:lnTo>
                    <a:lnTo>
                      <a:pt x="593" y="548"/>
                    </a:lnTo>
                    <a:lnTo>
                      <a:pt x="593" y="546"/>
                    </a:lnTo>
                    <a:lnTo>
                      <a:pt x="595" y="546"/>
                    </a:lnTo>
                    <a:lnTo>
                      <a:pt x="591" y="546"/>
                    </a:lnTo>
                    <a:lnTo>
                      <a:pt x="591" y="544"/>
                    </a:lnTo>
                    <a:lnTo>
                      <a:pt x="595" y="538"/>
                    </a:lnTo>
                    <a:lnTo>
                      <a:pt x="599" y="540"/>
                    </a:lnTo>
                    <a:lnTo>
                      <a:pt x="601" y="538"/>
                    </a:lnTo>
                    <a:lnTo>
                      <a:pt x="601" y="540"/>
                    </a:lnTo>
                    <a:lnTo>
                      <a:pt x="605" y="542"/>
                    </a:lnTo>
                    <a:lnTo>
                      <a:pt x="609" y="542"/>
                    </a:lnTo>
                    <a:lnTo>
                      <a:pt x="609" y="540"/>
                    </a:lnTo>
                    <a:lnTo>
                      <a:pt x="607" y="540"/>
                    </a:lnTo>
                    <a:lnTo>
                      <a:pt x="607" y="536"/>
                    </a:lnTo>
                    <a:lnTo>
                      <a:pt x="605" y="534"/>
                    </a:lnTo>
                    <a:lnTo>
                      <a:pt x="605" y="533"/>
                    </a:lnTo>
                    <a:lnTo>
                      <a:pt x="605" y="531"/>
                    </a:lnTo>
                    <a:lnTo>
                      <a:pt x="610" y="527"/>
                    </a:lnTo>
                    <a:lnTo>
                      <a:pt x="612" y="527"/>
                    </a:lnTo>
                    <a:lnTo>
                      <a:pt x="614" y="525"/>
                    </a:lnTo>
                    <a:lnTo>
                      <a:pt x="614" y="523"/>
                    </a:lnTo>
                    <a:lnTo>
                      <a:pt x="612" y="523"/>
                    </a:lnTo>
                    <a:lnTo>
                      <a:pt x="610" y="523"/>
                    </a:lnTo>
                    <a:lnTo>
                      <a:pt x="612" y="519"/>
                    </a:lnTo>
                    <a:lnTo>
                      <a:pt x="612" y="521"/>
                    </a:lnTo>
                    <a:lnTo>
                      <a:pt x="614" y="519"/>
                    </a:lnTo>
                    <a:lnTo>
                      <a:pt x="622" y="517"/>
                    </a:lnTo>
                    <a:lnTo>
                      <a:pt x="622" y="513"/>
                    </a:lnTo>
                    <a:lnTo>
                      <a:pt x="620" y="513"/>
                    </a:lnTo>
                    <a:lnTo>
                      <a:pt x="624" y="508"/>
                    </a:lnTo>
                    <a:lnTo>
                      <a:pt x="630" y="508"/>
                    </a:lnTo>
                    <a:lnTo>
                      <a:pt x="628" y="506"/>
                    </a:lnTo>
                    <a:lnTo>
                      <a:pt x="628" y="504"/>
                    </a:lnTo>
                    <a:lnTo>
                      <a:pt x="630" y="504"/>
                    </a:lnTo>
                    <a:lnTo>
                      <a:pt x="631" y="506"/>
                    </a:lnTo>
                    <a:lnTo>
                      <a:pt x="633" y="506"/>
                    </a:lnTo>
                    <a:lnTo>
                      <a:pt x="631" y="504"/>
                    </a:lnTo>
                    <a:lnTo>
                      <a:pt x="635" y="504"/>
                    </a:lnTo>
                    <a:lnTo>
                      <a:pt x="639" y="504"/>
                    </a:lnTo>
                    <a:lnTo>
                      <a:pt x="639" y="502"/>
                    </a:lnTo>
                    <a:lnTo>
                      <a:pt x="643" y="502"/>
                    </a:lnTo>
                    <a:lnTo>
                      <a:pt x="643" y="500"/>
                    </a:lnTo>
                    <a:lnTo>
                      <a:pt x="649" y="500"/>
                    </a:lnTo>
                    <a:lnTo>
                      <a:pt x="649" y="498"/>
                    </a:lnTo>
                    <a:lnTo>
                      <a:pt x="647" y="496"/>
                    </a:lnTo>
                    <a:lnTo>
                      <a:pt x="645" y="496"/>
                    </a:lnTo>
                    <a:lnTo>
                      <a:pt x="645" y="494"/>
                    </a:lnTo>
                    <a:lnTo>
                      <a:pt x="647" y="492"/>
                    </a:lnTo>
                    <a:lnTo>
                      <a:pt x="645" y="492"/>
                    </a:lnTo>
                    <a:lnTo>
                      <a:pt x="645" y="491"/>
                    </a:lnTo>
                    <a:lnTo>
                      <a:pt x="641" y="492"/>
                    </a:lnTo>
                    <a:lnTo>
                      <a:pt x="645" y="489"/>
                    </a:lnTo>
                    <a:lnTo>
                      <a:pt x="647" y="489"/>
                    </a:lnTo>
                    <a:lnTo>
                      <a:pt x="651" y="487"/>
                    </a:lnTo>
                    <a:lnTo>
                      <a:pt x="651" y="489"/>
                    </a:lnTo>
                    <a:lnTo>
                      <a:pt x="647" y="491"/>
                    </a:lnTo>
                    <a:lnTo>
                      <a:pt x="647" y="492"/>
                    </a:lnTo>
                    <a:lnTo>
                      <a:pt x="651" y="491"/>
                    </a:lnTo>
                    <a:lnTo>
                      <a:pt x="656" y="491"/>
                    </a:lnTo>
                    <a:lnTo>
                      <a:pt x="652" y="496"/>
                    </a:lnTo>
                    <a:lnTo>
                      <a:pt x="651" y="498"/>
                    </a:lnTo>
                    <a:lnTo>
                      <a:pt x="651" y="500"/>
                    </a:lnTo>
                    <a:lnTo>
                      <a:pt x="652" y="500"/>
                    </a:lnTo>
                    <a:lnTo>
                      <a:pt x="654" y="500"/>
                    </a:lnTo>
                    <a:lnTo>
                      <a:pt x="654" y="498"/>
                    </a:lnTo>
                    <a:lnTo>
                      <a:pt x="656" y="494"/>
                    </a:lnTo>
                    <a:lnTo>
                      <a:pt x="660" y="494"/>
                    </a:lnTo>
                    <a:lnTo>
                      <a:pt x="662" y="491"/>
                    </a:lnTo>
                    <a:lnTo>
                      <a:pt x="662" y="489"/>
                    </a:lnTo>
                    <a:lnTo>
                      <a:pt x="658" y="491"/>
                    </a:lnTo>
                    <a:lnTo>
                      <a:pt x="658" y="489"/>
                    </a:lnTo>
                    <a:lnTo>
                      <a:pt x="658" y="485"/>
                    </a:lnTo>
                    <a:lnTo>
                      <a:pt x="658" y="483"/>
                    </a:lnTo>
                    <a:lnTo>
                      <a:pt x="660" y="481"/>
                    </a:lnTo>
                    <a:lnTo>
                      <a:pt x="662" y="481"/>
                    </a:lnTo>
                    <a:lnTo>
                      <a:pt x="664" y="479"/>
                    </a:lnTo>
                    <a:lnTo>
                      <a:pt x="668" y="481"/>
                    </a:lnTo>
                    <a:lnTo>
                      <a:pt x="670" y="479"/>
                    </a:lnTo>
                    <a:lnTo>
                      <a:pt x="672" y="481"/>
                    </a:lnTo>
                    <a:lnTo>
                      <a:pt x="673" y="479"/>
                    </a:lnTo>
                    <a:lnTo>
                      <a:pt x="673" y="481"/>
                    </a:lnTo>
                    <a:lnTo>
                      <a:pt x="681" y="481"/>
                    </a:lnTo>
                    <a:lnTo>
                      <a:pt x="681" y="487"/>
                    </a:lnTo>
                    <a:lnTo>
                      <a:pt x="683" y="487"/>
                    </a:lnTo>
                    <a:lnTo>
                      <a:pt x="683" y="483"/>
                    </a:lnTo>
                    <a:lnTo>
                      <a:pt x="685" y="485"/>
                    </a:lnTo>
                    <a:lnTo>
                      <a:pt x="687" y="481"/>
                    </a:lnTo>
                    <a:lnTo>
                      <a:pt x="689" y="483"/>
                    </a:lnTo>
                    <a:lnTo>
                      <a:pt x="687" y="483"/>
                    </a:lnTo>
                    <a:lnTo>
                      <a:pt x="689" y="483"/>
                    </a:lnTo>
                    <a:lnTo>
                      <a:pt x="689" y="485"/>
                    </a:lnTo>
                    <a:lnTo>
                      <a:pt x="691" y="485"/>
                    </a:lnTo>
                    <a:lnTo>
                      <a:pt x="692" y="483"/>
                    </a:lnTo>
                    <a:lnTo>
                      <a:pt x="700" y="479"/>
                    </a:lnTo>
                    <a:lnTo>
                      <a:pt x="698" y="479"/>
                    </a:lnTo>
                    <a:lnTo>
                      <a:pt x="702" y="477"/>
                    </a:lnTo>
                    <a:lnTo>
                      <a:pt x="704" y="477"/>
                    </a:lnTo>
                    <a:lnTo>
                      <a:pt x="708" y="479"/>
                    </a:lnTo>
                    <a:lnTo>
                      <a:pt x="712" y="475"/>
                    </a:lnTo>
                    <a:lnTo>
                      <a:pt x="713" y="475"/>
                    </a:lnTo>
                    <a:lnTo>
                      <a:pt x="713" y="473"/>
                    </a:lnTo>
                    <a:lnTo>
                      <a:pt x="717" y="475"/>
                    </a:lnTo>
                    <a:lnTo>
                      <a:pt x="717" y="473"/>
                    </a:lnTo>
                    <a:lnTo>
                      <a:pt x="717" y="470"/>
                    </a:lnTo>
                    <a:lnTo>
                      <a:pt x="719" y="470"/>
                    </a:lnTo>
                    <a:lnTo>
                      <a:pt x="719" y="468"/>
                    </a:lnTo>
                    <a:lnTo>
                      <a:pt x="721" y="466"/>
                    </a:lnTo>
                    <a:lnTo>
                      <a:pt x="723" y="466"/>
                    </a:lnTo>
                    <a:lnTo>
                      <a:pt x="725" y="468"/>
                    </a:lnTo>
                    <a:lnTo>
                      <a:pt x="727" y="468"/>
                    </a:lnTo>
                    <a:lnTo>
                      <a:pt x="727" y="466"/>
                    </a:lnTo>
                    <a:lnTo>
                      <a:pt x="729" y="462"/>
                    </a:lnTo>
                    <a:lnTo>
                      <a:pt x="731" y="460"/>
                    </a:lnTo>
                    <a:lnTo>
                      <a:pt x="733" y="462"/>
                    </a:lnTo>
                    <a:lnTo>
                      <a:pt x="738" y="464"/>
                    </a:lnTo>
                    <a:lnTo>
                      <a:pt x="734" y="454"/>
                    </a:lnTo>
                    <a:lnTo>
                      <a:pt x="738" y="449"/>
                    </a:lnTo>
                    <a:lnTo>
                      <a:pt x="740" y="449"/>
                    </a:lnTo>
                    <a:lnTo>
                      <a:pt x="744" y="445"/>
                    </a:lnTo>
                    <a:lnTo>
                      <a:pt x="746" y="441"/>
                    </a:lnTo>
                    <a:lnTo>
                      <a:pt x="748" y="441"/>
                    </a:lnTo>
                    <a:lnTo>
                      <a:pt x="750" y="439"/>
                    </a:lnTo>
                    <a:lnTo>
                      <a:pt x="754" y="437"/>
                    </a:lnTo>
                    <a:lnTo>
                      <a:pt x="754" y="435"/>
                    </a:lnTo>
                    <a:lnTo>
                      <a:pt x="754" y="433"/>
                    </a:lnTo>
                    <a:lnTo>
                      <a:pt x="757" y="435"/>
                    </a:lnTo>
                    <a:lnTo>
                      <a:pt x="763" y="431"/>
                    </a:lnTo>
                    <a:lnTo>
                      <a:pt x="767" y="430"/>
                    </a:lnTo>
                    <a:close/>
                    <a:moveTo>
                      <a:pt x="2556" y="878"/>
                    </a:moveTo>
                    <a:lnTo>
                      <a:pt x="2559" y="878"/>
                    </a:lnTo>
                    <a:lnTo>
                      <a:pt x="2559" y="876"/>
                    </a:lnTo>
                    <a:lnTo>
                      <a:pt x="2559" y="878"/>
                    </a:lnTo>
                    <a:lnTo>
                      <a:pt x="2563" y="880"/>
                    </a:lnTo>
                    <a:lnTo>
                      <a:pt x="2569" y="886"/>
                    </a:lnTo>
                    <a:lnTo>
                      <a:pt x="2577" y="893"/>
                    </a:lnTo>
                    <a:lnTo>
                      <a:pt x="2584" y="899"/>
                    </a:lnTo>
                    <a:lnTo>
                      <a:pt x="2588" y="905"/>
                    </a:lnTo>
                    <a:lnTo>
                      <a:pt x="2613" y="922"/>
                    </a:lnTo>
                    <a:lnTo>
                      <a:pt x="2615" y="924"/>
                    </a:lnTo>
                    <a:lnTo>
                      <a:pt x="2617" y="924"/>
                    </a:lnTo>
                    <a:lnTo>
                      <a:pt x="2618" y="924"/>
                    </a:lnTo>
                    <a:lnTo>
                      <a:pt x="2617" y="926"/>
                    </a:lnTo>
                    <a:lnTo>
                      <a:pt x="2626" y="931"/>
                    </a:lnTo>
                    <a:lnTo>
                      <a:pt x="2626" y="933"/>
                    </a:lnTo>
                    <a:lnTo>
                      <a:pt x="2626" y="935"/>
                    </a:lnTo>
                    <a:lnTo>
                      <a:pt x="2630" y="939"/>
                    </a:lnTo>
                    <a:lnTo>
                      <a:pt x="2632" y="941"/>
                    </a:lnTo>
                    <a:lnTo>
                      <a:pt x="2634" y="943"/>
                    </a:lnTo>
                    <a:lnTo>
                      <a:pt x="2636" y="949"/>
                    </a:lnTo>
                    <a:lnTo>
                      <a:pt x="2634" y="947"/>
                    </a:lnTo>
                    <a:lnTo>
                      <a:pt x="2632" y="956"/>
                    </a:lnTo>
                    <a:lnTo>
                      <a:pt x="2634" y="960"/>
                    </a:lnTo>
                    <a:lnTo>
                      <a:pt x="2634" y="962"/>
                    </a:lnTo>
                    <a:lnTo>
                      <a:pt x="2636" y="962"/>
                    </a:lnTo>
                    <a:lnTo>
                      <a:pt x="2634" y="962"/>
                    </a:lnTo>
                    <a:lnTo>
                      <a:pt x="2636" y="970"/>
                    </a:lnTo>
                    <a:lnTo>
                      <a:pt x="2634" y="970"/>
                    </a:lnTo>
                    <a:lnTo>
                      <a:pt x="2632" y="973"/>
                    </a:lnTo>
                    <a:lnTo>
                      <a:pt x="2632" y="975"/>
                    </a:lnTo>
                    <a:lnTo>
                      <a:pt x="2636" y="975"/>
                    </a:lnTo>
                    <a:lnTo>
                      <a:pt x="2639" y="977"/>
                    </a:lnTo>
                    <a:lnTo>
                      <a:pt x="2641" y="981"/>
                    </a:lnTo>
                    <a:lnTo>
                      <a:pt x="2639" y="981"/>
                    </a:lnTo>
                    <a:lnTo>
                      <a:pt x="2639" y="983"/>
                    </a:lnTo>
                    <a:lnTo>
                      <a:pt x="2639" y="985"/>
                    </a:lnTo>
                    <a:lnTo>
                      <a:pt x="2641" y="985"/>
                    </a:lnTo>
                    <a:lnTo>
                      <a:pt x="2641" y="987"/>
                    </a:lnTo>
                    <a:lnTo>
                      <a:pt x="2645" y="983"/>
                    </a:lnTo>
                    <a:lnTo>
                      <a:pt x="2643" y="981"/>
                    </a:lnTo>
                    <a:lnTo>
                      <a:pt x="2645" y="981"/>
                    </a:lnTo>
                    <a:lnTo>
                      <a:pt x="2647" y="981"/>
                    </a:lnTo>
                    <a:lnTo>
                      <a:pt x="2647" y="983"/>
                    </a:lnTo>
                    <a:lnTo>
                      <a:pt x="2647" y="985"/>
                    </a:lnTo>
                    <a:lnTo>
                      <a:pt x="2647" y="987"/>
                    </a:lnTo>
                    <a:lnTo>
                      <a:pt x="2649" y="987"/>
                    </a:lnTo>
                    <a:lnTo>
                      <a:pt x="2649" y="985"/>
                    </a:lnTo>
                    <a:lnTo>
                      <a:pt x="2651" y="985"/>
                    </a:lnTo>
                    <a:lnTo>
                      <a:pt x="2651" y="981"/>
                    </a:lnTo>
                    <a:lnTo>
                      <a:pt x="2649" y="981"/>
                    </a:lnTo>
                    <a:lnTo>
                      <a:pt x="2649" y="979"/>
                    </a:lnTo>
                    <a:lnTo>
                      <a:pt x="2645" y="977"/>
                    </a:lnTo>
                    <a:lnTo>
                      <a:pt x="2643" y="977"/>
                    </a:lnTo>
                    <a:lnTo>
                      <a:pt x="2643" y="975"/>
                    </a:lnTo>
                    <a:lnTo>
                      <a:pt x="2643" y="979"/>
                    </a:lnTo>
                    <a:lnTo>
                      <a:pt x="2641" y="975"/>
                    </a:lnTo>
                    <a:lnTo>
                      <a:pt x="2647" y="971"/>
                    </a:lnTo>
                    <a:lnTo>
                      <a:pt x="2647" y="966"/>
                    </a:lnTo>
                    <a:lnTo>
                      <a:pt x="2645" y="960"/>
                    </a:lnTo>
                    <a:lnTo>
                      <a:pt x="2647" y="960"/>
                    </a:lnTo>
                    <a:lnTo>
                      <a:pt x="2643" y="960"/>
                    </a:lnTo>
                    <a:lnTo>
                      <a:pt x="2643" y="958"/>
                    </a:lnTo>
                    <a:lnTo>
                      <a:pt x="2641" y="956"/>
                    </a:lnTo>
                    <a:lnTo>
                      <a:pt x="2643" y="958"/>
                    </a:lnTo>
                    <a:lnTo>
                      <a:pt x="2643" y="956"/>
                    </a:lnTo>
                    <a:lnTo>
                      <a:pt x="2639" y="958"/>
                    </a:lnTo>
                    <a:lnTo>
                      <a:pt x="2638" y="958"/>
                    </a:lnTo>
                    <a:lnTo>
                      <a:pt x="2643" y="956"/>
                    </a:lnTo>
                    <a:lnTo>
                      <a:pt x="2639" y="956"/>
                    </a:lnTo>
                    <a:lnTo>
                      <a:pt x="2638" y="958"/>
                    </a:lnTo>
                    <a:lnTo>
                      <a:pt x="2638" y="956"/>
                    </a:lnTo>
                    <a:lnTo>
                      <a:pt x="2639" y="956"/>
                    </a:lnTo>
                    <a:lnTo>
                      <a:pt x="2645" y="954"/>
                    </a:lnTo>
                    <a:lnTo>
                      <a:pt x="2651" y="956"/>
                    </a:lnTo>
                    <a:lnTo>
                      <a:pt x="2653" y="954"/>
                    </a:lnTo>
                    <a:lnTo>
                      <a:pt x="2655" y="956"/>
                    </a:lnTo>
                    <a:lnTo>
                      <a:pt x="2660" y="956"/>
                    </a:lnTo>
                    <a:lnTo>
                      <a:pt x="2662" y="956"/>
                    </a:lnTo>
                    <a:lnTo>
                      <a:pt x="2666" y="958"/>
                    </a:lnTo>
                    <a:lnTo>
                      <a:pt x="2672" y="960"/>
                    </a:lnTo>
                    <a:lnTo>
                      <a:pt x="2666" y="958"/>
                    </a:lnTo>
                    <a:lnTo>
                      <a:pt x="2664" y="958"/>
                    </a:lnTo>
                    <a:lnTo>
                      <a:pt x="2678" y="960"/>
                    </a:lnTo>
                    <a:lnTo>
                      <a:pt x="2678" y="962"/>
                    </a:lnTo>
                    <a:lnTo>
                      <a:pt x="2678" y="960"/>
                    </a:lnTo>
                    <a:lnTo>
                      <a:pt x="2672" y="960"/>
                    </a:lnTo>
                    <a:lnTo>
                      <a:pt x="2678" y="960"/>
                    </a:lnTo>
                    <a:lnTo>
                      <a:pt x="2679" y="960"/>
                    </a:lnTo>
                    <a:lnTo>
                      <a:pt x="2681" y="960"/>
                    </a:lnTo>
                    <a:lnTo>
                      <a:pt x="2683" y="960"/>
                    </a:lnTo>
                    <a:lnTo>
                      <a:pt x="2683" y="962"/>
                    </a:lnTo>
                    <a:lnTo>
                      <a:pt x="2683" y="964"/>
                    </a:lnTo>
                    <a:lnTo>
                      <a:pt x="2683" y="966"/>
                    </a:lnTo>
                    <a:lnTo>
                      <a:pt x="2685" y="968"/>
                    </a:lnTo>
                    <a:lnTo>
                      <a:pt x="2689" y="968"/>
                    </a:lnTo>
                    <a:lnTo>
                      <a:pt x="2689" y="970"/>
                    </a:lnTo>
                    <a:lnTo>
                      <a:pt x="2689" y="971"/>
                    </a:lnTo>
                    <a:lnTo>
                      <a:pt x="2699" y="981"/>
                    </a:lnTo>
                    <a:lnTo>
                      <a:pt x="2700" y="985"/>
                    </a:lnTo>
                    <a:lnTo>
                      <a:pt x="2706" y="987"/>
                    </a:lnTo>
                    <a:lnTo>
                      <a:pt x="2708" y="991"/>
                    </a:lnTo>
                    <a:lnTo>
                      <a:pt x="2710" y="991"/>
                    </a:lnTo>
                    <a:lnTo>
                      <a:pt x="2708" y="991"/>
                    </a:lnTo>
                    <a:lnTo>
                      <a:pt x="2708" y="992"/>
                    </a:lnTo>
                    <a:lnTo>
                      <a:pt x="2712" y="992"/>
                    </a:lnTo>
                    <a:lnTo>
                      <a:pt x="2712" y="994"/>
                    </a:lnTo>
                    <a:lnTo>
                      <a:pt x="2714" y="992"/>
                    </a:lnTo>
                    <a:lnTo>
                      <a:pt x="2710" y="991"/>
                    </a:lnTo>
                    <a:lnTo>
                      <a:pt x="2714" y="992"/>
                    </a:lnTo>
                    <a:lnTo>
                      <a:pt x="2716" y="992"/>
                    </a:lnTo>
                    <a:lnTo>
                      <a:pt x="2716" y="996"/>
                    </a:lnTo>
                    <a:lnTo>
                      <a:pt x="2714" y="998"/>
                    </a:lnTo>
                    <a:lnTo>
                      <a:pt x="2712" y="996"/>
                    </a:lnTo>
                    <a:lnTo>
                      <a:pt x="2710" y="996"/>
                    </a:lnTo>
                    <a:lnTo>
                      <a:pt x="2708" y="998"/>
                    </a:lnTo>
                    <a:lnTo>
                      <a:pt x="2706" y="1000"/>
                    </a:lnTo>
                    <a:lnTo>
                      <a:pt x="2702" y="1002"/>
                    </a:lnTo>
                    <a:lnTo>
                      <a:pt x="2702" y="1004"/>
                    </a:lnTo>
                    <a:lnTo>
                      <a:pt x="2700" y="1004"/>
                    </a:lnTo>
                    <a:lnTo>
                      <a:pt x="2700" y="1006"/>
                    </a:lnTo>
                    <a:lnTo>
                      <a:pt x="2702" y="1004"/>
                    </a:lnTo>
                    <a:lnTo>
                      <a:pt x="2702" y="1006"/>
                    </a:lnTo>
                    <a:lnTo>
                      <a:pt x="2702" y="1008"/>
                    </a:lnTo>
                    <a:lnTo>
                      <a:pt x="2702" y="1010"/>
                    </a:lnTo>
                    <a:lnTo>
                      <a:pt x="2702" y="1011"/>
                    </a:lnTo>
                    <a:lnTo>
                      <a:pt x="2700" y="1013"/>
                    </a:lnTo>
                    <a:lnTo>
                      <a:pt x="2697" y="1013"/>
                    </a:lnTo>
                    <a:lnTo>
                      <a:pt x="2697" y="1011"/>
                    </a:lnTo>
                    <a:lnTo>
                      <a:pt x="2691" y="1010"/>
                    </a:lnTo>
                    <a:lnTo>
                      <a:pt x="2691" y="1008"/>
                    </a:lnTo>
                    <a:lnTo>
                      <a:pt x="2687" y="1006"/>
                    </a:lnTo>
                    <a:lnTo>
                      <a:pt x="2687" y="1008"/>
                    </a:lnTo>
                    <a:lnTo>
                      <a:pt x="2689" y="1008"/>
                    </a:lnTo>
                    <a:lnTo>
                      <a:pt x="2691" y="1010"/>
                    </a:lnTo>
                    <a:lnTo>
                      <a:pt x="2689" y="1010"/>
                    </a:lnTo>
                    <a:lnTo>
                      <a:pt x="2691" y="1011"/>
                    </a:lnTo>
                    <a:lnTo>
                      <a:pt x="2693" y="1013"/>
                    </a:lnTo>
                    <a:lnTo>
                      <a:pt x="2695" y="1015"/>
                    </a:lnTo>
                    <a:lnTo>
                      <a:pt x="2695" y="1017"/>
                    </a:lnTo>
                    <a:lnTo>
                      <a:pt x="2693" y="1019"/>
                    </a:lnTo>
                    <a:lnTo>
                      <a:pt x="2689" y="1017"/>
                    </a:lnTo>
                    <a:lnTo>
                      <a:pt x="2683" y="1017"/>
                    </a:lnTo>
                    <a:lnTo>
                      <a:pt x="2679" y="1019"/>
                    </a:lnTo>
                    <a:lnTo>
                      <a:pt x="2678" y="1019"/>
                    </a:lnTo>
                    <a:lnTo>
                      <a:pt x="2681" y="1019"/>
                    </a:lnTo>
                    <a:lnTo>
                      <a:pt x="2683" y="1017"/>
                    </a:lnTo>
                    <a:lnTo>
                      <a:pt x="2679" y="1017"/>
                    </a:lnTo>
                    <a:lnTo>
                      <a:pt x="2678" y="1015"/>
                    </a:lnTo>
                    <a:lnTo>
                      <a:pt x="2676" y="1017"/>
                    </a:lnTo>
                    <a:lnTo>
                      <a:pt x="2676" y="1015"/>
                    </a:lnTo>
                    <a:lnTo>
                      <a:pt x="2674" y="1015"/>
                    </a:lnTo>
                    <a:lnTo>
                      <a:pt x="2676" y="1015"/>
                    </a:lnTo>
                    <a:lnTo>
                      <a:pt x="2674" y="1013"/>
                    </a:lnTo>
                    <a:lnTo>
                      <a:pt x="2674" y="1011"/>
                    </a:lnTo>
                    <a:lnTo>
                      <a:pt x="2674" y="1013"/>
                    </a:lnTo>
                    <a:lnTo>
                      <a:pt x="2674" y="1011"/>
                    </a:lnTo>
                    <a:lnTo>
                      <a:pt x="2672" y="1011"/>
                    </a:lnTo>
                    <a:lnTo>
                      <a:pt x="2670" y="1011"/>
                    </a:lnTo>
                    <a:lnTo>
                      <a:pt x="2666" y="1011"/>
                    </a:lnTo>
                    <a:lnTo>
                      <a:pt x="2666" y="1010"/>
                    </a:lnTo>
                    <a:lnTo>
                      <a:pt x="2664" y="1011"/>
                    </a:lnTo>
                    <a:lnTo>
                      <a:pt x="2664" y="1010"/>
                    </a:lnTo>
                    <a:lnTo>
                      <a:pt x="2666" y="1011"/>
                    </a:lnTo>
                    <a:lnTo>
                      <a:pt x="2668" y="1011"/>
                    </a:lnTo>
                    <a:lnTo>
                      <a:pt x="2668" y="1013"/>
                    </a:lnTo>
                    <a:lnTo>
                      <a:pt x="2670" y="1013"/>
                    </a:lnTo>
                    <a:lnTo>
                      <a:pt x="2672" y="1015"/>
                    </a:lnTo>
                    <a:lnTo>
                      <a:pt x="2672" y="1017"/>
                    </a:lnTo>
                    <a:lnTo>
                      <a:pt x="2674" y="1019"/>
                    </a:lnTo>
                    <a:lnTo>
                      <a:pt x="2672" y="1019"/>
                    </a:lnTo>
                    <a:lnTo>
                      <a:pt x="2672" y="1021"/>
                    </a:lnTo>
                    <a:lnTo>
                      <a:pt x="2676" y="1021"/>
                    </a:lnTo>
                    <a:lnTo>
                      <a:pt x="2678" y="1019"/>
                    </a:lnTo>
                    <a:lnTo>
                      <a:pt x="2676" y="1025"/>
                    </a:lnTo>
                    <a:lnTo>
                      <a:pt x="2676" y="1027"/>
                    </a:lnTo>
                    <a:lnTo>
                      <a:pt x="2676" y="1029"/>
                    </a:lnTo>
                    <a:lnTo>
                      <a:pt x="2678" y="1032"/>
                    </a:lnTo>
                    <a:lnTo>
                      <a:pt x="2676" y="1032"/>
                    </a:lnTo>
                    <a:lnTo>
                      <a:pt x="2676" y="1034"/>
                    </a:lnTo>
                    <a:lnTo>
                      <a:pt x="2678" y="1032"/>
                    </a:lnTo>
                    <a:lnTo>
                      <a:pt x="2678" y="1034"/>
                    </a:lnTo>
                    <a:lnTo>
                      <a:pt x="2674" y="1038"/>
                    </a:lnTo>
                    <a:lnTo>
                      <a:pt x="2672" y="1040"/>
                    </a:lnTo>
                    <a:lnTo>
                      <a:pt x="2670" y="1040"/>
                    </a:lnTo>
                    <a:lnTo>
                      <a:pt x="2672" y="1040"/>
                    </a:lnTo>
                    <a:lnTo>
                      <a:pt x="2670" y="1040"/>
                    </a:lnTo>
                    <a:lnTo>
                      <a:pt x="2666" y="1044"/>
                    </a:lnTo>
                    <a:lnTo>
                      <a:pt x="2664" y="1042"/>
                    </a:lnTo>
                    <a:lnTo>
                      <a:pt x="2660" y="1044"/>
                    </a:lnTo>
                    <a:lnTo>
                      <a:pt x="2662" y="1044"/>
                    </a:lnTo>
                    <a:lnTo>
                      <a:pt x="2660" y="1046"/>
                    </a:lnTo>
                    <a:lnTo>
                      <a:pt x="2662" y="1046"/>
                    </a:lnTo>
                    <a:lnTo>
                      <a:pt x="2664" y="1042"/>
                    </a:lnTo>
                    <a:lnTo>
                      <a:pt x="2664" y="1044"/>
                    </a:lnTo>
                    <a:lnTo>
                      <a:pt x="2666" y="1046"/>
                    </a:lnTo>
                    <a:lnTo>
                      <a:pt x="2666" y="1048"/>
                    </a:lnTo>
                    <a:lnTo>
                      <a:pt x="2664" y="1048"/>
                    </a:lnTo>
                    <a:lnTo>
                      <a:pt x="2662" y="1048"/>
                    </a:lnTo>
                    <a:lnTo>
                      <a:pt x="2662" y="1050"/>
                    </a:lnTo>
                    <a:lnTo>
                      <a:pt x="2664" y="1050"/>
                    </a:lnTo>
                    <a:lnTo>
                      <a:pt x="2662" y="1053"/>
                    </a:lnTo>
                    <a:lnTo>
                      <a:pt x="2664" y="1053"/>
                    </a:lnTo>
                    <a:lnTo>
                      <a:pt x="2664" y="1052"/>
                    </a:lnTo>
                    <a:lnTo>
                      <a:pt x="2666" y="1052"/>
                    </a:lnTo>
                    <a:lnTo>
                      <a:pt x="2668" y="1052"/>
                    </a:lnTo>
                    <a:lnTo>
                      <a:pt x="2668" y="1053"/>
                    </a:lnTo>
                    <a:lnTo>
                      <a:pt x="2668" y="1052"/>
                    </a:lnTo>
                    <a:lnTo>
                      <a:pt x="2670" y="1053"/>
                    </a:lnTo>
                    <a:lnTo>
                      <a:pt x="2672" y="1053"/>
                    </a:lnTo>
                    <a:lnTo>
                      <a:pt x="2672" y="1057"/>
                    </a:lnTo>
                    <a:lnTo>
                      <a:pt x="2674" y="1059"/>
                    </a:lnTo>
                    <a:lnTo>
                      <a:pt x="2672" y="1059"/>
                    </a:lnTo>
                    <a:lnTo>
                      <a:pt x="2668" y="1061"/>
                    </a:lnTo>
                    <a:lnTo>
                      <a:pt x="2666" y="1059"/>
                    </a:lnTo>
                    <a:lnTo>
                      <a:pt x="2666" y="1057"/>
                    </a:lnTo>
                    <a:lnTo>
                      <a:pt x="2666" y="1055"/>
                    </a:lnTo>
                    <a:lnTo>
                      <a:pt x="2664" y="1055"/>
                    </a:lnTo>
                    <a:lnTo>
                      <a:pt x="2662" y="1055"/>
                    </a:lnTo>
                    <a:lnTo>
                      <a:pt x="2662" y="1057"/>
                    </a:lnTo>
                    <a:lnTo>
                      <a:pt x="2664" y="1057"/>
                    </a:lnTo>
                    <a:lnTo>
                      <a:pt x="2666" y="1057"/>
                    </a:lnTo>
                    <a:lnTo>
                      <a:pt x="2666" y="1059"/>
                    </a:lnTo>
                    <a:lnTo>
                      <a:pt x="2664" y="1063"/>
                    </a:lnTo>
                    <a:lnTo>
                      <a:pt x="2664" y="1065"/>
                    </a:lnTo>
                    <a:lnTo>
                      <a:pt x="2660" y="1065"/>
                    </a:lnTo>
                    <a:lnTo>
                      <a:pt x="2657" y="1063"/>
                    </a:lnTo>
                    <a:lnTo>
                      <a:pt x="2657" y="1061"/>
                    </a:lnTo>
                    <a:lnTo>
                      <a:pt x="2658" y="1059"/>
                    </a:lnTo>
                    <a:lnTo>
                      <a:pt x="2660" y="1057"/>
                    </a:lnTo>
                    <a:lnTo>
                      <a:pt x="2658" y="1059"/>
                    </a:lnTo>
                    <a:lnTo>
                      <a:pt x="2658" y="1055"/>
                    </a:lnTo>
                    <a:lnTo>
                      <a:pt x="2658" y="1053"/>
                    </a:lnTo>
                    <a:lnTo>
                      <a:pt x="2657" y="1053"/>
                    </a:lnTo>
                    <a:lnTo>
                      <a:pt x="2657" y="1052"/>
                    </a:lnTo>
                    <a:lnTo>
                      <a:pt x="2658" y="1055"/>
                    </a:lnTo>
                    <a:lnTo>
                      <a:pt x="2658" y="1057"/>
                    </a:lnTo>
                    <a:lnTo>
                      <a:pt x="2655" y="1061"/>
                    </a:lnTo>
                    <a:lnTo>
                      <a:pt x="2653" y="1061"/>
                    </a:lnTo>
                    <a:lnTo>
                      <a:pt x="2647" y="1059"/>
                    </a:lnTo>
                    <a:lnTo>
                      <a:pt x="2645" y="1055"/>
                    </a:lnTo>
                    <a:lnTo>
                      <a:pt x="2645" y="1053"/>
                    </a:lnTo>
                    <a:lnTo>
                      <a:pt x="2641" y="1052"/>
                    </a:lnTo>
                    <a:lnTo>
                      <a:pt x="2643" y="1050"/>
                    </a:lnTo>
                    <a:lnTo>
                      <a:pt x="2641" y="1050"/>
                    </a:lnTo>
                    <a:lnTo>
                      <a:pt x="2636" y="1048"/>
                    </a:lnTo>
                    <a:lnTo>
                      <a:pt x="2634" y="1046"/>
                    </a:lnTo>
                    <a:lnTo>
                      <a:pt x="2632" y="1044"/>
                    </a:lnTo>
                    <a:lnTo>
                      <a:pt x="2630" y="1046"/>
                    </a:lnTo>
                    <a:lnTo>
                      <a:pt x="2626" y="1046"/>
                    </a:lnTo>
                    <a:lnTo>
                      <a:pt x="2624" y="1044"/>
                    </a:lnTo>
                    <a:lnTo>
                      <a:pt x="2624" y="1046"/>
                    </a:lnTo>
                    <a:lnTo>
                      <a:pt x="2624" y="1044"/>
                    </a:lnTo>
                    <a:lnTo>
                      <a:pt x="2624" y="1042"/>
                    </a:lnTo>
                    <a:lnTo>
                      <a:pt x="2622" y="1042"/>
                    </a:lnTo>
                    <a:lnTo>
                      <a:pt x="2618" y="1038"/>
                    </a:lnTo>
                    <a:lnTo>
                      <a:pt x="2617" y="1036"/>
                    </a:lnTo>
                    <a:lnTo>
                      <a:pt x="2618" y="1036"/>
                    </a:lnTo>
                    <a:lnTo>
                      <a:pt x="2618" y="1034"/>
                    </a:lnTo>
                    <a:lnTo>
                      <a:pt x="2618" y="1032"/>
                    </a:lnTo>
                    <a:lnTo>
                      <a:pt x="2615" y="1021"/>
                    </a:lnTo>
                    <a:lnTo>
                      <a:pt x="2615" y="1023"/>
                    </a:lnTo>
                    <a:lnTo>
                      <a:pt x="2617" y="1027"/>
                    </a:lnTo>
                    <a:lnTo>
                      <a:pt x="2617" y="1021"/>
                    </a:lnTo>
                    <a:lnTo>
                      <a:pt x="2615" y="1021"/>
                    </a:lnTo>
                    <a:lnTo>
                      <a:pt x="2615" y="1019"/>
                    </a:lnTo>
                    <a:lnTo>
                      <a:pt x="2613" y="1019"/>
                    </a:lnTo>
                    <a:lnTo>
                      <a:pt x="2615" y="1021"/>
                    </a:lnTo>
                    <a:lnTo>
                      <a:pt x="2613" y="1019"/>
                    </a:lnTo>
                    <a:lnTo>
                      <a:pt x="2605" y="1017"/>
                    </a:lnTo>
                    <a:lnTo>
                      <a:pt x="2609" y="1017"/>
                    </a:lnTo>
                    <a:lnTo>
                      <a:pt x="2607" y="1017"/>
                    </a:lnTo>
                    <a:lnTo>
                      <a:pt x="2605" y="1017"/>
                    </a:lnTo>
                    <a:lnTo>
                      <a:pt x="2599" y="1013"/>
                    </a:lnTo>
                    <a:lnTo>
                      <a:pt x="2597" y="1015"/>
                    </a:lnTo>
                    <a:lnTo>
                      <a:pt x="2594" y="1019"/>
                    </a:lnTo>
                    <a:lnTo>
                      <a:pt x="2588" y="1021"/>
                    </a:lnTo>
                    <a:lnTo>
                      <a:pt x="2586" y="1019"/>
                    </a:lnTo>
                    <a:lnTo>
                      <a:pt x="2584" y="1019"/>
                    </a:lnTo>
                    <a:lnTo>
                      <a:pt x="2580" y="1019"/>
                    </a:lnTo>
                    <a:lnTo>
                      <a:pt x="2578" y="1019"/>
                    </a:lnTo>
                    <a:lnTo>
                      <a:pt x="2575" y="1019"/>
                    </a:lnTo>
                    <a:lnTo>
                      <a:pt x="2575" y="1017"/>
                    </a:lnTo>
                    <a:lnTo>
                      <a:pt x="2575" y="1015"/>
                    </a:lnTo>
                    <a:lnTo>
                      <a:pt x="2577" y="1010"/>
                    </a:lnTo>
                    <a:lnTo>
                      <a:pt x="2577" y="1008"/>
                    </a:lnTo>
                    <a:lnTo>
                      <a:pt x="2575" y="1010"/>
                    </a:lnTo>
                    <a:lnTo>
                      <a:pt x="2573" y="1006"/>
                    </a:lnTo>
                    <a:lnTo>
                      <a:pt x="2573" y="1004"/>
                    </a:lnTo>
                    <a:lnTo>
                      <a:pt x="2569" y="1002"/>
                    </a:lnTo>
                    <a:lnTo>
                      <a:pt x="2571" y="1002"/>
                    </a:lnTo>
                    <a:lnTo>
                      <a:pt x="2569" y="998"/>
                    </a:lnTo>
                    <a:lnTo>
                      <a:pt x="2571" y="1000"/>
                    </a:lnTo>
                    <a:lnTo>
                      <a:pt x="2573" y="998"/>
                    </a:lnTo>
                    <a:lnTo>
                      <a:pt x="2573" y="996"/>
                    </a:lnTo>
                    <a:lnTo>
                      <a:pt x="2575" y="994"/>
                    </a:lnTo>
                    <a:lnTo>
                      <a:pt x="2575" y="992"/>
                    </a:lnTo>
                    <a:lnTo>
                      <a:pt x="2577" y="991"/>
                    </a:lnTo>
                    <a:lnTo>
                      <a:pt x="2575" y="989"/>
                    </a:lnTo>
                    <a:lnTo>
                      <a:pt x="2577" y="987"/>
                    </a:lnTo>
                    <a:lnTo>
                      <a:pt x="2577" y="983"/>
                    </a:lnTo>
                    <a:lnTo>
                      <a:pt x="2575" y="983"/>
                    </a:lnTo>
                    <a:lnTo>
                      <a:pt x="2575" y="985"/>
                    </a:lnTo>
                    <a:lnTo>
                      <a:pt x="2573" y="985"/>
                    </a:lnTo>
                    <a:lnTo>
                      <a:pt x="2573" y="989"/>
                    </a:lnTo>
                    <a:lnTo>
                      <a:pt x="2571" y="991"/>
                    </a:lnTo>
                    <a:lnTo>
                      <a:pt x="2569" y="992"/>
                    </a:lnTo>
                    <a:lnTo>
                      <a:pt x="2567" y="992"/>
                    </a:lnTo>
                    <a:lnTo>
                      <a:pt x="2565" y="989"/>
                    </a:lnTo>
                    <a:lnTo>
                      <a:pt x="2567" y="989"/>
                    </a:lnTo>
                    <a:lnTo>
                      <a:pt x="2567" y="985"/>
                    </a:lnTo>
                    <a:lnTo>
                      <a:pt x="2565" y="985"/>
                    </a:lnTo>
                    <a:lnTo>
                      <a:pt x="2565" y="989"/>
                    </a:lnTo>
                    <a:lnTo>
                      <a:pt x="2563" y="989"/>
                    </a:lnTo>
                    <a:lnTo>
                      <a:pt x="2563" y="987"/>
                    </a:lnTo>
                    <a:lnTo>
                      <a:pt x="2561" y="987"/>
                    </a:lnTo>
                    <a:lnTo>
                      <a:pt x="2563" y="991"/>
                    </a:lnTo>
                    <a:lnTo>
                      <a:pt x="2563" y="994"/>
                    </a:lnTo>
                    <a:lnTo>
                      <a:pt x="2561" y="994"/>
                    </a:lnTo>
                    <a:lnTo>
                      <a:pt x="2557" y="994"/>
                    </a:lnTo>
                    <a:lnTo>
                      <a:pt x="2559" y="994"/>
                    </a:lnTo>
                    <a:lnTo>
                      <a:pt x="2557" y="992"/>
                    </a:lnTo>
                    <a:lnTo>
                      <a:pt x="2556" y="992"/>
                    </a:lnTo>
                    <a:lnTo>
                      <a:pt x="2557" y="992"/>
                    </a:lnTo>
                    <a:lnTo>
                      <a:pt x="2556" y="996"/>
                    </a:lnTo>
                    <a:lnTo>
                      <a:pt x="2556" y="1002"/>
                    </a:lnTo>
                    <a:lnTo>
                      <a:pt x="2557" y="1010"/>
                    </a:lnTo>
                    <a:lnTo>
                      <a:pt x="2559" y="1011"/>
                    </a:lnTo>
                    <a:lnTo>
                      <a:pt x="2563" y="1013"/>
                    </a:lnTo>
                    <a:lnTo>
                      <a:pt x="2561" y="1015"/>
                    </a:lnTo>
                    <a:lnTo>
                      <a:pt x="2563" y="1017"/>
                    </a:lnTo>
                    <a:lnTo>
                      <a:pt x="2559" y="1021"/>
                    </a:lnTo>
                    <a:lnTo>
                      <a:pt x="2559" y="1023"/>
                    </a:lnTo>
                    <a:lnTo>
                      <a:pt x="2559" y="1025"/>
                    </a:lnTo>
                    <a:lnTo>
                      <a:pt x="2559" y="1029"/>
                    </a:lnTo>
                    <a:lnTo>
                      <a:pt x="2556" y="1032"/>
                    </a:lnTo>
                    <a:lnTo>
                      <a:pt x="2552" y="1036"/>
                    </a:lnTo>
                    <a:lnTo>
                      <a:pt x="2552" y="929"/>
                    </a:lnTo>
                    <a:lnTo>
                      <a:pt x="2552" y="874"/>
                    </a:lnTo>
                    <a:lnTo>
                      <a:pt x="2556" y="878"/>
                    </a:lnTo>
                    <a:close/>
                    <a:moveTo>
                      <a:pt x="1959" y="1376"/>
                    </a:moveTo>
                    <a:lnTo>
                      <a:pt x="1959" y="1378"/>
                    </a:lnTo>
                    <a:lnTo>
                      <a:pt x="1962" y="1382"/>
                    </a:lnTo>
                    <a:lnTo>
                      <a:pt x="1962" y="1384"/>
                    </a:lnTo>
                    <a:lnTo>
                      <a:pt x="1962" y="1385"/>
                    </a:lnTo>
                    <a:lnTo>
                      <a:pt x="1961" y="1385"/>
                    </a:lnTo>
                    <a:lnTo>
                      <a:pt x="1961" y="1389"/>
                    </a:lnTo>
                    <a:lnTo>
                      <a:pt x="1961" y="1387"/>
                    </a:lnTo>
                    <a:lnTo>
                      <a:pt x="1961" y="1389"/>
                    </a:lnTo>
                    <a:lnTo>
                      <a:pt x="1962" y="1397"/>
                    </a:lnTo>
                    <a:lnTo>
                      <a:pt x="1962" y="1399"/>
                    </a:lnTo>
                    <a:lnTo>
                      <a:pt x="1964" y="1399"/>
                    </a:lnTo>
                    <a:lnTo>
                      <a:pt x="1964" y="1397"/>
                    </a:lnTo>
                    <a:lnTo>
                      <a:pt x="1964" y="1399"/>
                    </a:lnTo>
                    <a:lnTo>
                      <a:pt x="1962" y="1401"/>
                    </a:lnTo>
                    <a:lnTo>
                      <a:pt x="1964" y="1401"/>
                    </a:lnTo>
                    <a:lnTo>
                      <a:pt x="1964" y="1403"/>
                    </a:lnTo>
                    <a:lnTo>
                      <a:pt x="1966" y="1408"/>
                    </a:lnTo>
                    <a:lnTo>
                      <a:pt x="1968" y="1416"/>
                    </a:lnTo>
                    <a:lnTo>
                      <a:pt x="1966" y="1412"/>
                    </a:lnTo>
                    <a:lnTo>
                      <a:pt x="1966" y="1410"/>
                    </a:lnTo>
                    <a:lnTo>
                      <a:pt x="1966" y="1408"/>
                    </a:lnTo>
                    <a:lnTo>
                      <a:pt x="1964" y="1406"/>
                    </a:lnTo>
                    <a:lnTo>
                      <a:pt x="1964" y="1405"/>
                    </a:lnTo>
                    <a:lnTo>
                      <a:pt x="1966" y="1405"/>
                    </a:lnTo>
                    <a:lnTo>
                      <a:pt x="1964" y="1403"/>
                    </a:lnTo>
                    <a:lnTo>
                      <a:pt x="1964" y="1405"/>
                    </a:lnTo>
                    <a:lnTo>
                      <a:pt x="1962" y="1406"/>
                    </a:lnTo>
                    <a:lnTo>
                      <a:pt x="1964" y="1406"/>
                    </a:lnTo>
                    <a:lnTo>
                      <a:pt x="1964" y="1410"/>
                    </a:lnTo>
                    <a:lnTo>
                      <a:pt x="1964" y="1412"/>
                    </a:lnTo>
                    <a:lnTo>
                      <a:pt x="1964" y="1414"/>
                    </a:lnTo>
                    <a:lnTo>
                      <a:pt x="1966" y="1414"/>
                    </a:lnTo>
                    <a:lnTo>
                      <a:pt x="1966" y="1416"/>
                    </a:lnTo>
                    <a:lnTo>
                      <a:pt x="1966" y="1414"/>
                    </a:lnTo>
                    <a:lnTo>
                      <a:pt x="1968" y="1416"/>
                    </a:lnTo>
                    <a:lnTo>
                      <a:pt x="1968" y="1424"/>
                    </a:lnTo>
                    <a:lnTo>
                      <a:pt x="1966" y="1427"/>
                    </a:lnTo>
                    <a:lnTo>
                      <a:pt x="1966" y="1429"/>
                    </a:lnTo>
                    <a:lnTo>
                      <a:pt x="1966" y="1427"/>
                    </a:lnTo>
                    <a:lnTo>
                      <a:pt x="1966" y="1426"/>
                    </a:lnTo>
                    <a:lnTo>
                      <a:pt x="1968" y="1424"/>
                    </a:lnTo>
                    <a:lnTo>
                      <a:pt x="1966" y="1424"/>
                    </a:lnTo>
                    <a:lnTo>
                      <a:pt x="1966" y="1422"/>
                    </a:lnTo>
                    <a:lnTo>
                      <a:pt x="1966" y="1424"/>
                    </a:lnTo>
                    <a:lnTo>
                      <a:pt x="1966" y="1426"/>
                    </a:lnTo>
                    <a:lnTo>
                      <a:pt x="1964" y="1426"/>
                    </a:lnTo>
                    <a:lnTo>
                      <a:pt x="1966" y="1427"/>
                    </a:lnTo>
                    <a:lnTo>
                      <a:pt x="1964" y="1429"/>
                    </a:lnTo>
                    <a:lnTo>
                      <a:pt x="1966" y="1429"/>
                    </a:lnTo>
                    <a:lnTo>
                      <a:pt x="1964" y="1433"/>
                    </a:lnTo>
                    <a:lnTo>
                      <a:pt x="1966" y="1439"/>
                    </a:lnTo>
                    <a:lnTo>
                      <a:pt x="1964" y="1439"/>
                    </a:lnTo>
                    <a:lnTo>
                      <a:pt x="1964" y="1437"/>
                    </a:lnTo>
                    <a:lnTo>
                      <a:pt x="1964" y="1435"/>
                    </a:lnTo>
                    <a:lnTo>
                      <a:pt x="1964" y="1433"/>
                    </a:lnTo>
                    <a:lnTo>
                      <a:pt x="1964" y="1435"/>
                    </a:lnTo>
                    <a:lnTo>
                      <a:pt x="1964" y="1439"/>
                    </a:lnTo>
                    <a:lnTo>
                      <a:pt x="1964" y="1441"/>
                    </a:lnTo>
                    <a:lnTo>
                      <a:pt x="1966" y="1443"/>
                    </a:lnTo>
                    <a:lnTo>
                      <a:pt x="1966" y="1439"/>
                    </a:lnTo>
                    <a:lnTo>
                      <a:pt x="1968" y="1447"/>
                    </a:lnTo>
                    <a:lnTo>
                      <a:pt x="1966" y="1447"/>
                    </a:lnTo>
                    <a:lnTo>
                      <a:pt x="1966" y="1448"/>
                    </a:lnTo>
                    <a:lnTo>
                      <a:pt x="1966" y="1450"/>
                    </a:lnTo>
                    <a:lnTo>
                      <a:pt x="1968" y="1452"/>
                    </a:lnTo>
                    <a:lnTo>
                      <a:pt x="1968" y="1450"/>
                    </a:lnTo>
                    <a:lnTo>
                      <a:pt x="1968" y="1448"/>
                    </a:lnTo>
                    <a:lnTo>
                      <a:pt x="1970" y="1450"/>
                    </a:lnTo>
                    <a:lnTo>
                      <a:pt x="1968" y="1447"/>
                    </a:lnTo>
                    <a:lnTo>
                      <a:pt x="1968" y="1445"/>
                    </a:lnTo>
                    <a:lnTo>
                      <a:pt x="1968" y="1447"/>
                    </a:lnTo>
                    <a:lnTo>
                      <a:pt x="1970" y="1450"/>
                    </a:lnTo>
                    <a:lnTo>
                      <a:pt x="1970" y="1456"/>
                    </a:lnTo>
                    <a:lnTo>
                      <a:pt x="1970" y="1454"/>
                    </a:lnTo>
                    <a:lnTo>
                      <a:pt x="1968" y="1454"/>
                    </a:lnTo>
                    <a:lnTo>
                      <a:pt x="1968" y="1456"/>
                    </a:lnTo>
                    <a:lnTo>
                      <a:pt x="1970" y="1456"/>
                    </a:lnTo>
                    <a:lnTo>
                      <a:pt x="1970" y="1458"/>
                    </a:lnTo>
                    <a:lnTo>
                      <a:pt x="1970" y="1456"/>
                    </a:lnTo>
                    <a:lnTo>
                      <a:pt x="1970" y="1458"/>
                    </a:lnTo>
                    <a:lnTo>
                      <a:pt x="1974" y="1469"/>
                    </a:lnTo>
                    <a:lnTo>
                      <a:pt x="1974" y="1477"/>
                    </a:lnTo>
                    <a:lnTo>
                      <a:pt x="1976" y="1481"/>
                    </a:lnTo>
                    <a:lnTo>
                      <a:pt x="1978" y="1489"/>
                    </a:lnTo>
                    <a:lnTo>
                      <a:pt x="1978" y="1490"/>
                    </a:lnTo>
                    <a:lnTo>
                      <a:pt x="1980" y="1494"/>
                    </a:lnTo>
                    <a:lnTo>
                      <a:pt x="1982" y="1498"/>
                    </a:lnTo>
                    <a:lnTo>
                      <a:pt x="1982" y="1502"/>
                    </a:lnTo>
                    <a:lnTo>
                      <a:pt x="1982" y="1504"/>
                    </a:lnTo>
                    <a:lnTo>
                      <a:pt x="1985" y="1513"/>
                    </a:lnTo>
                    <a:lnTo>
                      <a:pt x="1989" y="1517"/>
                    </a:lnTo>
                    <a:lnTo>
                      <a:pt x="1989" y="1519"/>
                    </a:lnTo>
                    <a:lnTo>
                      <a:pt x="1989" y="1521"/>
                    </a:lnTo>
                    <a:lnTo>
                      <a:pt x="1991" y="1521"/>
                    </a:lnTo>
                    <a:lnTo>
                      <a:pt x="1989" y="1523"/>
                    </a:lnTo>
                    <a:lnTo>
                      <a:pt x="1989" y="1519"/>
                    </a:lnTo>
                    <a:lnTo>
                      <a:pt x="1987" y="1515"/>
                    </a:lnTo>
                    <a:lnTo>
                      <a:pt x="1985" y="1513"/>
                    </a:lnTo>
                    <a:lnTo>
                      <a:pt x="1983" y="1513"/>
                    </a:lnTo>
                    <a:lnTo>
                      <a:pt x="1983" y="1511"/>
                    </a:lnTo>
                    <a:lnTo>
                      <a:pt x="1982" y="1508"/>
                    </a:lnTo>
                    <a:lnTo>
                      <a:pt x="1980" y="1508"/>
                    </a:lnTo>
                    <a:lnTo>
                      <a:pt x="1974" y="1506"/>
                    </a:lnTo>
                    <a:lnTo>
                      <a:pt x="1972" y="1506"/>
                    </a:lnTo>
                    <a:lnTo>
                      <a:pt x="1968" y="1506"/>
                    </a:lnTo>
                    <a:lnTo>
                      <a:pt x="1964" y="1508"/>
                    </a:lnTo>
                    <a:lnTo>
                      <a:pt x="1962" y="1511"/>
                    </a:lnTo>
                    <a:lnTo>
                      <a:pt x="1962" y="1513"/>
                    </a:lnTo>
                    <a:lnTo>
                      <a:pt x="1962" y="1515"/>
                    </a:lnTo>
                    <a:lnTo>
                      <a:pt x="1961" y="1521"/>
                    </a:lnTo>
                    <a:lnTo>
                      <a:pt x="1957" y="1530"/>
                    </a:lnTo>
                    <a:lnTo>
                      <a:pt x="1955" y="1534"/>
                    </a:lnTo>
                    <a:lnTo>
                      <a:pt x="1955" y="1536"/>
                    </a:lnTo>
                    <a:lnTo>
                      <a:pt x="1955" y="1538"/>
                    </a:lnTo>
                    <a:lnTo>
                      <a:pt x="1955" y="1540"/>
                    </a:lnTo>
                    <a:lnTo>
                      <a:pt x="1955" y="1542"/>
                    </a:lnTo>
                    <a:lnTo>
                      <a:pt x="1957" y="1546"/>
                    </a:lnTo>
                    <a:lnTo>
                      <a:pt x="1959" y="1550"/>
                    </a:lnTo>
                    <a:lnTo>
                      <a:pt x="1959" y="1551"/>
                    </a:lnTo>
                    <a:lnTo>
                      <a:pt x="1962" y="1553"/>
                    </a:lnTo>
                    <a:lnTo>
                      <a:pt x="1962" y="1555"/>
                    </a:lnTo>
                    <a:lnTo>
                      <a:pt x="1962" y="1557"/>
                    </a:lnTo>
                    <a:lnTo>
                      <a:pt x="1962" y="1559"/>
                    </a:lnTo>
                    <a:lnTo>
                      <a:pt x="1964" y="1563"/>
                    </a:lnTo>
                    <a:lnTo>
                      <a:pt x="1966" y="1565"/>
                    </a:lnTo>
                    <a:lnTo>
                      <a:pt x="1968" y="1565"/>
                    </a:lnTo>
                    <a:lnTo>
                      <a:pt x="1970" y="1565"/>
                    </a:lnTo>
                    <a:lnTo>
                      <a:pt x="1970" y="1567"/>
                    </a:lnTo>
                    <a:lnTo>
                      <a:pt x="1970" y="1571"/>
                    </a:lnTo>
                    <a:lnTo>
                      <a:pt x="1972" y="1574"/>
                    </a:lnTo>
                    <a:lnTo>
                      <a:pt x="1972" y="1576"/>
                    </a:lnTo>
                    <a:lnTo>
                      <a:pt x="1972" y="1578"/>
                    </a:lnTo>
                    <a:lnTo>
                      <a:pt x="1970" y="1578"/>
                    </a:lnTo>
                    <a:lnTo>
                      <a:pt x="1970" y="1580"/>
                    </a:lnTo>
                    <a:lnTo>
                      <a:pt x="1970" y="1582"/>
                    </a:lnTo>
                    <a:lnTo>
                      <a:pt x="1970" y="1584"/>
                    </a:lnTo>
                    <a:lnTo>
                      <a:pt x="1968" y="1582"/>
                    </a:lnTo>
                    <a:lnTo>
                      <a:pt x="1970" y="1580"/>
                    </a:lnTo>
                    <a:lnTo>
                      <a:pt x="1968" y="1576"/>
                    </a:lnTo>
                    <a:lnTo>
                      <a:pt x="1968" y="1574"/>
                    </a:lnTo>
                    <a:lnTo>
                      <a:pt x="1968" y="1572"/>
                    </a:lnTo>
                    <a:lnTo>
                      <a:pt x="1966" y="1571"/>
                    </a:lnTo>
                    <a:lnTo>
                      <a:pt x="1964" y="1571"/>
                    </a:lnTo>
                    <a:lnTo>
                      <a:pt x="1961" y="1571"/>
                    </a:lnTo>
                    <a:lnTo>
                      <a:pt x="1959" y="1571"/>
                    </a:lnTo>
                    <a:lnTo>
                      <a:pt x="1959" y="1569"/>
                    </a:lnTo>
                    <a:lnTo>
                      <a:pt x="1959" y="1567"/>
                    </a:lnTo>
                    <a:lnTo>
                      <a:pt x="1957" y="1567"/>
                    </a:lnTo>
                    <a:lnTo>
                      <a:pt x="1955" y="1569"/>
                    </a:lnTo>
                    <a:lnTo>
                      <a:pt x="1953" y="1571"/>
                    </a:lnTo>
                    <a:lnTo>
                      <a:pt x="1951" y="1578"/>
                    </a:lnTo>
                    <a:lnTo>
                      <a:pt x="1951" y="1580"/>
                    </a:lnTo>
                    <a:lnTo>
                      <a:pt x="1949" y="1584"/>
                    </a:lnTo>
                    <a:lnTo>
                      <a:pt x="1947" y="1586"/>
                    </a:lnTo>
                    <a:lnTo>
                      <a:pt x="1945" y="1584"/>
                    </a:lnTo>
                    <a:lnTo>
                      <a:pt x="1945" y="1582"/>
                    </a:lnTo>
                    <a:lnTo>
                      <a:pt x="1943" y="1571"/>
                    </a:lnTo>
                    <a:lnTo>
                      <a:pt x="1945" y="1569"/>
                    </a:lnTo>
                    <a:lnTo>
                      <a:pt x="1947" y="1563"/>
                    </a:lnTo>
                    <a:lnTo>
                      <a:pt x="1947" y="1559"/>
                    </a:lnTo>
                    <a:lnTo>
                      <a:pt x="1947" y="1557"/>
                    </a:lnTo>
                    <a:lnTo>
                      <a:pt x="1945" y="1553"/>
                    </a:lnTo>
                    <a:lnTo>
                      <a:pt x="1947" y="1553"/>
                    </a:lnTo>
                    <a:lnTo>
                      <a:pt x="1945" y="1551"/>
                    </a:lnTo>
                    <a:lnTo>
                      <a:pt x="1945" y="1546"/>
                    </a:lnTo>
                    <a:lnTo>
                      <a:pt x="1947" y="1542"/>
                    </a:lnTo>
                    <a:lnTo>
                      <a:pt x="1947" y="1540"/>
                    </a:lnTo>
                    <a:lnTo>
                      <a:pt x="1949" y="1538"/>
                    </a:lnTo>
                    <a:lnTo>
                      <a:pt x="1949" y="1536"/>
                    </a:lnTo>
                    <a:lnTo>
                      <a:pt x="1949" y="1530"/>
                    </a:lnTo>
                    <a:lnTo>
                      <a:pt x="1945" y="1523"/>
                    </a:lnTo>
                    <a:lnTo>
                      <a:pt x="1943" y="1519"/>
                    </a:lnTo>
                    <a:lnTo>
                      <a:pt x="1945" y="1517"/>
                    </a:lnTo>
                    <a:lnTo>
                      <a:pt x="1945" y="1515"/>
                    </a:lnTo>
                    <a:lnTo>
                      <a:pt x="1947" y="1515"/>
                    </a:lnTo>
                    <a:lnTo>
                      <a:pt x="1947" y="1511"/>
                    </a:lnTo>
                    <a:lnTo>
                      <a:pt x="1947" y="1509"/>
                    </a:lnTo>
                    <a:lnTo>
                      <a:pt x="1947" y="1508"/>
                    </a:lnTo>
                    <a:lnTo>
                      <a:pt x="1947" y="1506"/>
                    </a:lnTo>
                    <a:lnTo>
                      <a:pt x="1949" y="1500"/>
                    </a:lnTo>
                    <a:lnTo>
                      <a:pt x="1949" y="1494"/>
                    </a:lnTo>
                    <a:lnTo>
                      <a:pt x="1949" y="1492"/>
                    </a:lnTo>
                    <a:lnTo>
                      <a:pt x="1949" y="1490"/>
                    </a:lnTo>
                    <a:lnTo>
                      <a:pt x="1949" y="1487"/>
                    </a:lnTo>
                    <a:lnTo>
                      <a:pt x="1949" y="1483"/>
                    </a:lnTo>
                    <a:lnTo>
                      <a:pt x="1949" y="1481"/>
                    </a:lnTo>
                    <a:lnTo>
                      <a:pt x="1947" y="1475"/>
                    </a:lnTo>
                    <a:lnTo>
                      <a:pt x="1949" y="1471"/>
                    </a:lnTo>
                    <a:lnTo>
                      <a:pt x="1947" y="1468"/>
                    </a:lnTo>
                    <a:lnTo>
                      <a:pt x="1949" y="1468"/>
                    </a:lnTo>
                    <a:lnTo>
                      <a:pt x="1949" y="1466"/>
                    </a:lnTo>
                    <a:lnTo>
                      <a:pt x="1951" y="1464"/>
                    </a:lnTo>
                    <a:lnTo>
                      <a:pt x="1951" y="1460"/>
                    </a:lnTo>
                    <a:lnTo>
                      <a:pt x="1949" y="1458"/>
                    </a:lnTo>
                    <a:lnTo>
                      <a:pt x="1949" y="1456"/>
                    </a:lnTo>
                    <a:lnTo>
                      <a:pt x="1947" y="1452"/>
                    </a:lnTo>
                    <a:lnTo>
                      <a:pt x="1945" y="1450"/>
                    </a:lnTo>
                    <a:lnTo>
                      <a:pt x="1945" y="1448"/>
                    </a:lnTo>
                    <a:lnTo>
                      <a:pt x="1943" y="1447"/>
                    </a:lnTo>
                    <a:lnTo>
                      <a:pt x="1942" y="1445"/>
                    </a:lnTo>
                    <a:lnTo>
                      <a:pt x="1943" y="1447"/>
                    </a:lnTo>
                    <a:lnTo>
                      <a:pt x="1943" y="1445"/>
                    </a:lnTo>
                    <a:lnTo>
                      <a:pt x="1943" y="1443"/>
                    </a:lnTo>
                    <a:lnTo>
                      <a:pt x="1942" y="1441"/>
                    </a:lnTo>
                    <a:lnTo>
                      <a:pt x="1942" y="1439"/>
                    </a:lnTo>
                    <a:lnTo>
                      <a:pt x="1942" y="1435"/>
                    </a:lnTo>
                    <a:lnTo>
                      <a:pt x="1942" y="1433"/>
                    </a:lnTo>
                    <a:lnTo>
                      <a:pt x="1942" y="1431"/>
                    </a:lnTo>
                    <a:lnTo>
                      <a:pt x="1942" y="1429"/>
                    </a:lnTo>
                    <a:lnTo>
                      <a:pt x="1942" y="1427"/>
                    </a:lnTo>
                    <a:lnTo>
                      <a:pt x="1943" y="1426"/>
                    </a:lnTo>
                    <a:lnTo>
                      <a:pt x="1943" y="1424"/>
                    </a:lnTo>
                    <a:lnTo>
                      <a:pt x="1943" y="1422"/>
                    </a:lnTo>
                    <a:lnTo>
                      <a:pt x="1943" y="1420"/>
                    </a:lnTo>
                    <a:lnTo>
                      <a:pt x="1945" y="1410"/>
                    </a:lnTo>
                    <a:lnTo>
                      <a:pt x="1943" y="1408"/>
                    </a:lnTo>
                    <a:lnTo>
                      <a:pt x="1943" y="1405"/>
                    </a:lnTo>
                    <a:lnTo>
                      <a:pt x="1943" y="1403"/>
                    </a:lnTo>
                    <a:lnTo>
                      <a:pt x="1945" y="1401"/>
                    </a:lnTo>
                    <a:lnTo>
                      <a:pt x="1951" y="1399"/>
                    </a:lnTo>
                    <a:lnTo>
                      <a:pt x="1951" y="1403"/>
                    </a:lnTo>
                    <a:lnTo>
                      <a:pt x="1953" y="1403"/>
                    </a:lnTo>
                    <a:lnTo>
                      <a:pt x="1955" y="1403"/>
                    </a:lnTo>
                    <a:lnTo>
                      <a:pt x="1957" y="1399"/>
                    </a:lnTo>
                    <a:lnTo>
                      <a:pt x="1957" y="1397"/>
                    </a:lnTo>
                    <a:lnTo>
                      <a:pt x="1955" y="1397"/>
                    </a:lnTo>
                    <a:lnTo>
                      <a:pt x="1955" y="1395"/>
                    </a:lnTo>
                    <a:lnTo>
                      <a:pt x="1957" y="1395"/>
                    </a:lnTo>
                    <a:lnTo>
                      <a:pt x="1959" y="1397"/>
                    </a:lnTo>
                    <a:lnTo>
                      <a:pt x="1957" y="1395"/>
                    </a:lnTo>
                    <a:lnTo>
                      <a:pt x="1959" y="1395"/>
                    </a:lnTo>
                    <a:lnTo>
                      <a:pt x="1959" y="1393"/>
                    </a:lnTo>
                    <a:lnTo>
                      <a:pt x="1959" y="1391"/>
                    </a:lnTo>
                    <a:lnTo>
                      <a:pt x="1959" y="1389"/>
                    </a:lnTo>
                    <a:lnTo>
                      <a:pt x="1957" y="1393"/>
                    </a:lnTo>
                    <a:lnTo>
                      <a:pt x="1957" y="1389"/>
                    </a:lnTo>
                    <a:lnTo>
                      <a:pt x="1957" y="1387"/>
                    </a:lnTo>
                    <a:lnTo>
                      <a:pt x="1953" y="1382"/>
                    </a:lnTo>
                    <a:lnTo>
                      <a:pt x="1953" y="1380"/>
                    </a:lnTo>
                    <a:lnTo>
                      <a:pt x="1951" y="1378"/>
                    </a:lnTo>
                    <a:lnTo>
                      <a:pt x="1953" y="1378"/>
                    </a:lnTo>
                    <a:lnTo>
                      <a:pt x="1955" y="1378"/>
                    </a:lnTo>
                    <a:lnTo>
                      <a:pt x="1955" y="1380"/>
                    </a:lnTo>
                    <a:lnTo>
                      <a:pt x="1955" y="1378"/>
                    </a:lnTo>
                    <a:lnTo>
                      <a:pt x="1957" y="1378"/>
                    </a:lnTo>
                    <a:lnTo>
                      <a:pt x="1955" y="1380"/>
                    </a:lnTo>
                    <a:lnTo>
                      <a:pt x="1957" y="1378"/>
                    </a:lnTo>
                    <a:lnTo>
                      <a:pt x="1959" y="1378"/>
                    </a:lnTo>
                    <a:lnTo>
                      <a:pt x="1957" y="1378"/>
                    </a:lnTo>
                    <a:lnTo>
                      <a:pt x="1957" y="1376"/>
                    </a:lnTo>
                    <a:lnTo>
                      <a:pt x="1957" y="1374"/>
                    </a:lnTo>
                    <a:lnTo>
                      <a:pt x="1959" y="1374"/>
                    </a:lnTo>
                    <a:lnTo>
                      <a:pt x="1959" y="1376"/>
                    </a:lnTo>
                    <a:close/>
                    <a:moveTo>
                      <a:pt x="1901" y="485"/>
                    </a:moveTo>
                    <a:lnTo>
                      <a:pt x="1900" y="485"/>
                    </a:lnTo>
                    <a:lnTo>
                      <a:pt x="1900" y="489"/>
                    </a:lnTo>
                    <a:lnTo>
                      <a:pt x="1901" y="491"/>
                    </a:lnTo>
                    <a:lnTo>
                      <a:pt x="1900" y="492"/>
                    </a:lnTo>
                    <a:lnTo>
                      <a:pt x="1901" y="491"/>
                    </a:lnTo>
                    <a:lnTo>
                      <a:pt x="1903" y="494"/>
                    </a:lnTo>
                    <a:lnTo>
                      <a:pt x="1905" y="494"/>
                    </a:lnTo>
                    <a:lnTo>
                      <a:pt x="1909" y="500"/>
                    </a:lnTo>
                    <a:lnTo>
                      <a:pt x="1915" y="502"/>
                    </a:lnTo>
                    <a:lnTo>
                      <a:pt x="1915" y="504"/>
                    </a:lnTo>
                    <a:lnTo>
                      <a:pt x="1913" y="504"/>
                    </a:lnTo>
                    <a:lnTo>
                      <a:pt x="1913" y="506"/>
                    </a:lnTo>
                    <a:lnTo>
                      <a:pt x="1919" y="512"/>
                    </a:lnTo>
                    <a:lnTo>
                      <a:pt x="1921" y="512"/>
                    </a:lnTo>
                    <a:lnTo>
                      <a:pt x="1922" y="512"/>
                    </a:lnTo>
                    <a:lnTo>
                      <a:pt x="1924" y="515"/>
                    </a:lnTo>
                    <a:lnTo>
                      <a:pt x="1922" y="517"/>
                    </a:lnTo>
                    <a:lnTo>
                      <a:pt x="1924" y="519"/>
                    </a:lnTo>
                    <a:lnTo>
                      <a:pt x="1924" y="517"/>
                    </a:lnTo>
                    <a:lnTo>
                      <a:pt x="1926" y="517"/>
                    </a:lnTo>
                    <a:lnTo>
                      <a:pt x="1930" y="523"/>
                    </a:lnTo>
                    <a:lnTo>
                      <a:pt x="1932" y="521"/>
                    </a:lnTo>
                    <a:lnTo>
                      <a:pt x="1930" y="517"/>
                    </a:lnTo>
                    <a:lnTo>
                      <a:pt x="1930" y="513"/>
                    </a:lnTo>
                    <a:lnTo>
                      <a:pt x="1930" y="508"/>
                    </a:lnTo>
                    <a:lnTo>
                      <a:pt x="1930" y="502"/>
                    </a:lnTo>
                    <a:lnTo>
                      <a:pt x="1932" y="494"/>
                    </a:lnTo>
                    <a:lnTo>
                      <a:pt x="1936" y="494"/>
                    </a:lnTo>
                    <a:lnTo>
                      <a:pt x="1942" y="498"/>
                    </a:lnTo>
                    <a:lnTo>
                      <a:pt x="1942" y="496"/>
                    </a:lnTo>
                    <a:lnTo>
                      <a:pt x="1938" y="489"/>
                    </a:lnTo>
                    <a:lnTo>
                      <a:pt x="1936" y="489"/>
                    </a:lnTo>
                    <a:lnTo>
                      <a:pt x="1938" y="487"/>
                    </a:lnTo>
                    <a:lnTo>
                      <a:pt x="1942" y="491"/>
                    </a:lnTo>
                    <a:lnTo>
                      <a:pt x="1943" y="491"/>
                    </a:lnTo>
                    <a:lnTo>
                      <a:pt x="1947" y="496"/>
                    </a:lnTo>
                    <a:lnTo>
                      <a:pt x="1953" y="502"/>
                    </a:lnTo>
                    <a:lnTo>
                      <a:pt x="1955" y="506"/>
                    </a:lnTo>
                    <a:lnTo>
                      <a:pt x="1957" y="508"/>
                    </a:lnTo>
                    <a:lnTo>
                      <a:pt x="1964" y="512"/>
                    </a:lnTo>
                    <a:lnTo>
                      <a:pt x="1968" y="510"/>
                    </a:lnTo>
                    <a:lnTo>
                      <a:pt x="1970" y="508"/>
                    </a:lnTo>
                    <a:lnTo>
                      <a:pt x="1974" y="508"/>
                    </a:lnTo>
                    <a:lnTo>
                      <a:pt x="1980" y="512"/>
                    </a:lnTo>
                    <a:lnTo>
                      <a:pt x="1983" y="517"/>
                    </a:lnTo>
                    <a:lnTo>
                      <a:pt x="1989" y="517"/>
                    </a:lnTo>
                    <a:lnTo>
                      <a:pt x="1993" y="523"/>
                    </a:lnTo>
                    <a:lnTo>
                      <a:pt x="1999" y="525"/>
                    </a:lnTo>
                    <a:lnTo>
                      <a:pt x="2001" y="531"/>
                    </a:lnTo>
                    <a:lnTo>
                      <a:pt x="1997" y="531"/>
                    </a:lnTo>
                    <a:lnTo>
                      <a:pt x="1993" y="534"/>
                    </a:lnTo>
                    <a:lnTo>
                      <a:pt x="1991" y="538"/>
                    </a:lnTo>
                    <a:lnTo>
                      <a:pt x="1993" y="544"/>
                    </a:lnTo>
                    <a:lnTo>
                      <a:pt x="1995" y="544"/>
                    </a:lnTo>
                    <a:lnTo>
                      <a:pt x="1991" y="546"/>
                    </a:lnTo>
                    <a:lnTo>
                      <a:pt x="1991" y="552"/>
                    </a:lnTo>
                    <a:lnTo>
                      <a:pt x="1985" y="559"/>
                    </a:lnTo>
                    <a:lnTo>
                      <a:pt x="1982" y="559"/>
                    </a:lnTo>
                    <a:lnTo>
                      <a:pt x="1980" y="561"/>
                    </a:lnTo>
                    <a:lnTo>
                      <a:pt x="1978" y="561"/>
                    </a:lnTo>
                    <a:lnTo>
                      <a:pt x="1978" y="557"/>
                    </a:lnTo>
                    <a:lnTo>
                      <a:pt x="1972" y="557"/>
                    </a:lnTo>
                    <a:lnTo>
                      <a:pt x="1970" y="557"/>
                    </a:lnTo>
                    <a:lnTo>
                      <a:pt x="1970" y="561"/>
                    </a:lnTo>
                    <a:lnTo>
                      <a:pt x="1972" y="561"/>
                    </a:lnTo>
                    <a:lnTo>
                      <a:pt x="1974" y="563"/>
                    </a:lnTo>
                    <a:lnTo>
                      <a:pt x="1974" y="567"/>
                    </a:lnTo>
                    <a:lnTo>
                      <a:pt x="1970" y="569"/>
                    </a:lnTo>
                    <a:lnTo>
                      <a:pt x="1966" y="569"/>
                    </a:lnTo>
                    <a:lnTo>
                      <a:pt x="1964" y="569"/>
                    </a:lnTo>
                    <a:lnTo>
                      <a:pt x="1962" y="569"/>
                    </a:lnTo>
                    <a:lnTo>
                      <a:pt x="1961" y="571"/>
                    </a:lnTo>
                    <a:lnTo>
                      <a:pt x="1959" y="569"/>
                    </a:lnTo>
                    <a:lnTo>
                      <a:pt x="1957" y="573"/>
                    </a:lnTo>
                    <a:lnTo>
                      <a:pt x="1959" y="571"/>
                    </a:lnTo>
                    <a:lnTo>
                      <a:pt x="1955" y="575"/>
                    </a:lnTo>
                    <a:lnTo>
                      <a:pt x="1953" y="573"/>
                    </a:lnTo>
                    <a:lnTo>
                      <a:pt x="1947" y="567"/>
                    </a:lnTo>
                    <a:lnTo>
                      <a:pt x="1947" y="563"/>
                    </a:lnTo>
                    <a:lnTo>
                      <a:pt x="1949" y="563"/>
                    </a:lnTo>
                    <a:lnTo>
                      <a:pt x="1951" y="567"/>
                    </a:lnTo>
                    <a:lnTo>
                      <a:pt x="1953" y="567"/>
                    </a:lnTo>
                    <a:lnTo>
                      <a:pt x="1953" y="565"/>
                    </a:lnTo>
                    <a:lnTo>
                      <a:pt x="1951" y="563"/>
                    </a:lnTo>
                    <a:lnTo>
                      <a:pt x="1951" y="561"/>
                    </a:lnTo>
                    <a:lnTo>
                      <a:pt x="1949" y="561"/>
                    </a:lnTo>
                    <a:lnTo>
                      <a:pt x="1945" y="561"/>
                    </a:lnTo>
                    <a:lnTo>
                      <a:pt x="1940" y="567"/>
                    </a:lnTo>
                    <a:lnTo>
                      <a:pt x="1928" y="569"/>
                    </a:lnTo>
                    <a:lnTo>
                      <a:pt x="1919" y="573"/>
                    </a:lnTo>
                    <a:lnTo>
                      <a:pt x="1915" y="575"/>
                    </a:lnTo>
                    <a:lnTo>
                      <a:pt x="1917" y="573"/>
                    </a:lnTo>
                    <a:lnTo>
                      <a:pt x="1917" y="569"/>
                    </a:lnTo>
                    <a:lnTo>
                      <a:pt x="1913" y="567"/>
                    </a:lnTo>
                    <a:lnTo>
                      <a:pt x="1913" y="565"/>
                    </a:lnTo>
                    <a:lnTo>
                      <a:pt x="1911" y="563"/>
                    </a:lnTo>
                    <a:lnTo>
                      <a:pt x="1911" y="565"/>
                    </a:lnTo>
                    <a:lnTo>
                      <a:pt x="1911" y="563"/>
                    </a:lnTo>
                    <a:lnTo>
                      <a:pt x="1909" y="567"/>
                    </a:lnTo>
                    <a:lnTo>
                      <a:pt x="1907" y="567"/>
                    </a:lnTo>
                    <a:lnTo>
                      <a:pt x="1907" y="571"/>
                    </a:lnTo>
                    <a:lnTo>
                      <a:pt x="1909" y="571"/>
                    </a:lnTo>
                    <a:lnTo>
                      <a:pt x="1911" y="571"/>
                    </a:lnTo>
                    <a:lnTo>
                      <a:pt x="1909" y="573"/>
                    </a:lnTo>
                    <a:lnTo>
                      <a:pt x="1907" y="580"/>
                    </a:lnTo>
                    <a:lnTo>
                      <a:pt x="1905" y="582"/>
                    </a:lnTo>
                    <a:lnTo>
                      <a:pt x="1901" y="584"/>
                    </a:lnTo>
                    <a:lnTo>
                      <a:pt x="1900" y="584"/>
                    </a:lnTo>
                    <a:lnTo>
                      <a:pt x="1894" y="578"/>
                    </a:lnTo>
                    <a:lnTo>
                      <a:pt x="1886" y="576"/>
                    </a:lnTo>
                    <a:lnTo>
                      <a:pt x="1884" y="571"/>
                    </a:lnTo>
                    <a:lnTo>
                      <a:pt x="1882" y="567"/>
                    </a:lnTo>
                    <a:lnTo>
                      <a:pt x="1882" y="565"/>
                    </a:lnTo>
                    <a:lnTo>
                      <a:pt x="1879" y="563"/>
                    </a:lnTo>
                    <a:lnTo>
                      <a:pt x="1879" y="561"/>
                    </a:lnTo>
                    <a:lnTo>
                      <a:pt x="1880" y="559"/>
                    </a:lnTo>
                    <a:lnTo>
                      <a:pt x="1877" y="561"/>
                    </a:lnTo>
                    <a:lnTo>
                      <a:pt x="1873" y="557"/>
                    </a:lnTo>
                    <a:lnTo>
                      <a:pt x="1867" y="548"/>
                    </a:lnTo>
                    <a:lnTo>
                      <a:pt x="1869" y="548"/>
                    </a:lnTo>
                    <a:lnTo>
                      <a:pt x="1867" y="546"/>
                    </a:lnTo>
                    <a:lnTo>
                      <a:pt x="1867" y="540"/>
                    </a:lnTo>
                    <a:lnTo>
                      <a:pt x="1871" y="538"/>
                    </a:lnTo>
                    <a:lnTo>
                      <a:pt x="1871" y="534"/>
                    </a:lnTo>
                    <a:lnTo>
                      <a:pt x="1873" y="533"/>
                    </a:lnTo>
                    <a:lnTo>
                      <a:pt x="1871" y="529"/>
                    </a:lnTo>
                    <a:lnTo>
                      <a:pt x="1873" y="529"/>
                    </a:lnTo>
                    <a:lnTo>
                      <a:pt x="1871" y="527"/>
                    </a:lnTo>
                    <a:lnTo>
                      <a:pt x="1873" y="525"/>
                    </a:lnTo>
                    <a:lnTo>
                      <a:pt x="1871" y="523"/>
                    </a:lnTo>
                    <a:lnTo>
                      <a:pt x="1867" y="525"/>
                    </a:lnTo>
                    <a:lnTo>
                      <a:pt x="1871" y="527"/>
                    </a:lnTo>
                    <a:lnTo>
                      <a:pt x="1869" y="529"/>
                    </a:lnTo>
                    <a:lnTo>
                      <a:pt x="1867" y="525"/>
                    </a:lnTo>
                    <a:lnTo>
                      <a:pt x="1871" y="521"/>
                    </a:lnTo>
                    <a:lnTo>
                      <a:pt x="1869" y="517"/>
                    </a:lnTo>
                    <a:lnTo>
                      <a:pt x="1871" y="513"/>
                    </a:lnTo>
                    <a:lnTo>
                      <a:pt x="1873" y="513"/>
                    </a:lnTo>
                    <a:lnTo>
                      <a:pt x="1875" y="515"/>
                    </a:lnTo>
                    <a:lnTo>
                      <a:pt x="1877" y="512"/>
                    </a:lnTo>
                    <a:lnTo>
                      <a:pt x="1875" y="508"/>
                    </a:lnTo>
                    <a:lnTo>
                      <a:pt x="1875" y="510"/>
                    </a:lnTo>
                    <a:lnTo>
                      <a:pt x="1875" y="506"/>
                    </a:lnTo>
                    <a:lnTo>
                      <a:pt x="1875" y="502"/>
                    </a:lnTo>
                    <a:lnTo>
                      <a:pt x="1879" y="498"/>
                    </a:lnTo>
                    <a:lnTo>
                      <a:pt x="1884" y="498"/>
                    </a:lnTo>
                    <a:lnTo>
                      <a:pt x="1886" y="494"/>
                    </a:lnTo>
                    <a:lnTo>
                      <a:pt x="1886" y="492"/>
                    </a:lnTo>
                    <a:lnTo>
                      <a:pt x="1888" y="491"/>
                    </a:lnTo>
                    <a:lnTo>
                      <a:pt x="1890" y="492"/>
                    </a:lnTo>
                    <a:lnTo>
                      <a:pt x="1892" y="489"/>
                    </a:lnTo>
                    <a:lnTo>
                      <a:pt x="1892" y="487"/>
                    </a:lnTo>
                    <a:lnTo>
                      <a:pt x="1896" y="485"/>
                    </a:lnTo>
                    <a:lnTo>
                      <a:pt x="1898" y="487"/>
                    </a:lnTo>
                    <a:lnTo>
                      <a:pt x="1900" y="485"/>
                    </a:lnTo>
                    <a:lnTo>
                      <a:pt x="1901" y="485"/>
                    </a:lnTo>
                    <a:close/>
                    <a:moveTo>
                      <a:pt x="1236" y="174"/>
                    </a:moveTo>
                    <a:lnTo>
                      <a:pt x="1242" y="174"/>
                    </a:lnTo>
                    <a:lnTo>
                      <a:pt x="1249" y="183"/>
                    </a:lnTo>
                    <a:lnTo>
                      <a:pt x="1249" y="185"/>
                    </a:lnTo>
                    <a:lnTo>
                      <a:pt x="1245" y="187"/>
                    </a:lnTo>
                    <a:lnTo>
                      <a:pt x="1247" y="193"/>
                    </a:lnTo>
                    <a:lnTo>
                      <a:pt x="1245" y="195"/>
                    </a:lnTo>
                    <a:lnTo>
                      <a:pt x="1247" y="195"/>
                    </a:lnTo>
                    <a:lnTo>
                      <a:pt x="1242" y="202"/>
                    </a:lnTo>
                    <a:lnTo>
                      <a:pt x="1238" y="202"/>
                    </a:lnTo>
                    <a:lnTo>
                      <a:pt x="1240" y="202"/>
                    </a:lnTo>
                    <a:lnTo>
                      <a:pt x="1240" y="204"/>
                    </a:lnTo>
                    <a:lnTo>
                      <a:pt x="1230" y="210"/>
                    </a:lnTo>
                    <a:lnTo>
                      <a:pt x="1228" y="210"/>
                    </a:lnTo>
                    <a:lnTo>
                      <a:pt x="1223" y="214"/>
                    </a:lnTo>
                    <a:lnTo>
                      <a:pt x="1223" y="216"/>
                    </a:lnTo>
                    <a:lnTo>
                      <a:pt x="1230" y="212"/>
                    </a:lnTo>
                    <a:lnTo>
                      <a:pt x="1232" y="214"/>
                    </a:lnTo>
                    <a:lnTo>
                      <a:pt x="1234" y="210"/>
                    </a:lnTo>
                    <a:lnTo>
                      <a:pt x="1242" y="206"/>
                    </a:lnTo>
                    <a:lnTo>
                      <a:pt x="1244" y="210"/>
                    </a:lnTo>
                    <a:lnTo>
                      <a:pt x="1238" y="214"/>
                    </a:lnTo>
                    <a:lnTo>
                      <a:pt x="1234" y="216"/>
                    </a:lnTo>
                    <a:lnTo>
                      <a:pt x="1234" y="218"/>
                    </a:lnTo>
                    <a:lnTo>
                      <a:pt x="1244" y="210"/>
                    </a:lnTo>
                    <a:lnTo>
                      <a:pt x="1245" y="212"/>
                    </a:lnTo>
                    <a:lnTo>
                      <a:pt x="1245" y="208"/>
                    </a:lnTo>
                    <a:lnTo>
                      <a:pt x="1251" y="206"/>
                    </a:lnTo>
                    <a:lnTo>
                      <a:pt x="1249" y="199"/>
                    </a:lnTo>
                    <a:lnTo>
                      <a:pt x="1249" y="197"/>
                    </a:lnTo>
                    <a:lnTo>
                      <a:pt x="1251" y="199"/>
                    </a:lnTo>
                    <a:lnTo>
                      <a:pt x="1253" y="193"/>
                    </a:lnTo>
                    <a:lnTo>
                      <a:pt x="1253" y="195"/>
                    </a:lnTo>
                    <a:lnTo>
                      <a:pt x="1257" y="193"/>
                    </a:lnTo>
                    <a:lnTo>
                      <a:pt x="1255" y="185"/>
                    </a:lnTo>
                    <a:lnTo>
                      <a:pt x="1259" y="183"/>
                    </a:lnTo>
                    <a:lnTo>
                      <a:pt x="1259" y="185"/>
                    </a:lnTo>
                    <a:lnTo>
                      <a:pt x="1261" y="183"/>
                    </a:lnTo>
                    <a:lnTo>
                      <a:pt x="1263" y="185"/>
                    </a:lnTo>
                    <a:lnTo>
                      <a:pt x="1265" y="183"/>
                    </a:lnTo>
                    <a:lnTo>
                      <a:pt x="1268" y="183"/>
                    </a:lnTo>
                    <a:lnTo>
                      <a:pt x="1266" y="187"/>
                    </a:lnTo>
                    <a:lnTo>
                      <a:pt x="1270" y="187"/>
                    </a:lnTo>
                    <a:lnTo>
                      <a:pt x="1268" y="189"/>
                    </a:lnTo>
                    <a:lnTo>
                      <a:pt x="1274" y="191"/>
                    </a:lnTo>
                    <a:lnTo>
                      <a:pt x="1272" y="195"/>
                    </a:lnTo>
                    <a:lnTo>
                      <a:pt x="1274" y="193"/>
                    </a:lnTo>
                    <a:lnTo>
                      <a:pt x="1274" y="195"/>
                    </a:lnTo>
                    <a:lnTo>
                      <a:pt x="1274" y="197"/>
                    </a:lnTo>
                    <a:lnTo>
                      <a:pt x="1276" y="197"/>
                    </a:lnTo>
                    <a:lnTo>
                      <a:pt x="1278" y="199"/>
                    </a:lnTo>
                    <a:lnTo>
                      <a:pt x="1278" y="201"/>
                    </a:lnTo>
                    <a:lnTo>
                      <a:pt x="1280" y="202"/>
                    </a:lnTo>
                    <a:lnTo>
                      <a:pt x="1282" y="208"/>
                    </a:lnTo>
                    <a:lnTo>
                      <a:pt x="1278" y="212"/>
                    </a:lnTo>
                    <a:lnTo>
                      <a:pt x="1276" y="212"/>
                    </a:lnTo>
                    <a:lnTo>
                      <a:pt x="1278" y="214"/>
                    </a:lnTo>
                    <a:lnTo>
                      <a:pt x="1278" y="218"/>
                    </a:lnTo>
                    <a:lnTo>
                      <a:pt x="1278" y="222"/>
                    </a:lnTo>
                    <a:lnTo>
                      <a:pt x="1276" y="222"/>
                    </a:lnTo>
                    <a:lnTo>
                      <a:pt x="1276" y="227"/>
                    </a:lnTo>
                    <a:lnTo>
                      <a:pt x="1276" y="229"/>
                    </a:lnTo>
                    <a:lnTo>
                      <a:pt x="1278" y="233"/>
                    </a:lnTo>
                    <a:lnTo>
                      <a:pt x="1276" y="239"/>
                    </a:lnTo>
                    <a:lnTo>
                      <a:pt x="1276" y="254"/>
                    </a:lnTo>
                    <a:lnTo>
                      <a:pt x="1274" y="252"/>
                    </a:lnTo>
                    <a:lnTo>
                      <a:pt x="1274" y="256"/>
                    </a:lnTo>
                    <a:lnTo>
                      <a:pt x="1272" y="256"/>
                    </a:lnTo>
                    <a:lnTo>
                      <a:pt x="1274" y="258"/>
                    </a:lnTo>
                    <a:lnTo>
                      <a:pt x="1268" y="252"/>
                    </a:lnTo>
                    <a:lnTo>
                      <a:pt x="1266" y="252"/>
                    </a:lnTo>
                    <a:lnTo>
                      <a:pt x="1268" y="258"/>
                    </a:lnTo>
                    <a:lnTo>
                      <a:pt x="1276" y="264"/>
                    </a:lnTo>
                    <a:lnTo>
                      <a:pt x="1274" y="265"/>
                    </a:lnTo>
                    <a:lnTo>
                      <a:pt x="1272" y="267"/>
                    </a:lnTo>
                    <a:lnTo>
                      <a:pt x="1278" y="269"/>
                    </a:lnTo>
                    <a:lnTo>
                      <a:pt x="1278" y="273"/>
                    </a:lnTo>
                    <a:lnTo>
                      <a:pt x="1278" y="275"/>
                    </a:lnTo>
                    <a:lnTo>
                      <a:pt x="1278" y="283"/>
                    </a:lnTo>
                    <a:lnTo>
                      <a:pt x="1274" y="288"/>
                    </a:lnTo>
                    <a:lnTo>
                      <a:pt x="1272" y="292"/>
                    </a:lnTo>
                    <a:lnTo>
                      <a:pt x="1268" y="290"/>
                    </a:lnTo>
                    <a:lnTo>
                      <a:pt x="1266" y="292"/>
                    </a:lnTo>
                    <a:lnTo>
                      <a:pt x="1257" y="292"/>
                    </a:lnTo>
                    <a:lnTo>
                      <a:pt x="1253" y="296"/>
                    </a:lnTo>
                    <a:lnTo>
                      <a:pt x="1253" y="292"/>
                    </a:lnTo>
                    <a:lnTo>
                      <a:pt x="1251" y="292"/>
                    </a:lnTo>
                    <a:lnTo>
                      <a:pt x="1249" y="290"/>
                    </a:lnTo>
                    <a:lnTo>
                      <a:pt x="1249" y="292"/>
                    </a:lnTo>
                    <a:lnTo>
                      <a:pt x="1245" y="290"/>
                    </a:lnTo>
                    <a:lnTo>
                      <a:pt x="1242" y="292"/>
                    </a:lnTo>
                    <a:lnTo>
                      <a:pt x="1238" y="290"/>
                    </a:lnTo>
                    <a:lnTo>
                      <a:pt x="1238" y="286"/>
                    </a:lnTo>
                    <a:lnTo>
                      <a:pt x="1234" y="286"/>
                    </a:lnTo>
                    <a:lnTo>
                      <a:pt x="1230" y="283"/>
                    </a:lnTo>
                    <a:lnTo>
                      <a:pt x="1230" y="277"/>
                    </a:lnTo>
                    <a:lnTo>
                      <a:pt x="1225" y="277"/>
                    </a:lnTo>
                    <a:lnTo>
                      <a:pt x="1225" y="275"/>
                    </a:lnTo>
                    <a:lnTo>
                      <a:pt x="1225" y="277"/>
                    </a:lnTo>
                    <a:lnTo>
                      <a:pt x="1223" y="279"/>
                    </a:lnTo>
                    <a:lnTo>
                      <a:pt x="1221" y="275"/>
                    </a:lnTo>
                    <a:lnTo>
                      <a:pt x="1219" y="279"/>
                    </a:lnTo>
                    <a:lnTo>
                      <a:pt x="1215" y="279"/>
                    </a:lnTo>
                    <a:lnTo>
                      <a:pt x="1215" y="277"/>
                    </a:lnTo>
                    <a:lnTo>
                      <a:pt x="1211" y="277"/>
                    </a:lnTo>
                    <a:lnTo>
                      <a:pt x="1211" y="271"/>
                    </a:lnTo>
                    <a:lnTo>
                      <a:pt x="1209" y="271"/>
                    </a:lnTo>
                    <a:lnTo>
                      <a:pt x="1209" y="269"/>
                    </a:lnTo>
                    <a:lnTo>
                      <a:pt x="1207" y="269"/>
                    </a:lnTo>
                    <a:lnTo>
                      <a:pt x="1202" y="275"/>
                    </a:lnTo>
                    <a:lnTo>
                      <a:pt x="1200" y="273"/>
                    </a:lnTo>
                    <a:lnTo>
                      <a:pt x="1200" y="271"/>
                    </a:lnTo>
                    <a:lnTo>
                      <a:pt x="1198" y="273"/>
                    </a:lnTo>
                    <a:lnTo>
                      <a:pt x="1194" y="267"/>
                    </a:lnTo>
                    <a:lnTo>
                      <a:pt x="1194" y="262"/>
                    </a:lnTo>
                    <a:lnTo>
                      <a:pt x="1190" y="256"/>
                    </a:lnTo>
                    <a:lnTo>
                      <a:pt x="1190" y="254"/>
                    </a:lnTo>
                    <a:lnTo>
                      <a:pt x="1190" y="250"/>
                    </a:lnTo>
                    <a:lnTo>
                      <a:pt x="1190" y="235"/>
                    </a:lnTo>
                    <a:lnTo>
                      <a:pt x="1184" y="235"/>
                    </a:lnTo>
                    <a:lnTo>
                      <a:pt x="1184" y="239"/>
                    </a:lnTo>
                    <a:lnTo>
                      <a:pt x="1183" y="239"/>
                    </a:lnTo>
                    <a:lnTo>
                      <a:pt x="1181" y="239"/>
                    </a:lnTo>
                    <a:lnTo>
                      <a:pt x="1183" y="237"/>
                    </a:lnTo>
                    <a:lnTo>
                      <a:pt x="1181" y="237"/>
                    </a:lnTo>
                    <a:lnTo>
                      <a:pt x="1183" y="235"/>
                    </a:lnTo>
                    <a:lnTo>
                      <a:pt x="1183" y="233"/>
                    </a:lnTo>
                    <a:lnTo>
                      <a:pt x="1184" y="233"/>
                    </a:lnTo>
                    <a:lnTo>
                      <a:pt x="1179" y="227"/>
                    </a:lnTo>
                    <a:lnTo>
                      <a:pt x="1175" y="233"/>
                    </a:lnTo>
                    <a:lnTo>
                      <a:pt x="1177" y="235"/>
                    </a:lnTo>
                    <a:lnTo>
                      <a:pt x="1175" y="237"/>
                    </a:lnTo>
                    <a:lnTo>
                      <a:pt x="1173" y="239"/>
                    </a:lnTo>
                    <a:lnTo>
                      <a:pt x="1171" y="235"/>
                    </a:lnTo>
                    <a:lnTo>
                      <a:pt x="1173" y="233"/>
                    </a:lnTo>
                    <a:lnTo>
                      <a:pt x="1173" y="231"/>
                    </a:lnTo>
                    <a:lnTo>
                      <a:pt x="1171" y="229"/>
                    </a:lnTo>
                    <a:lnTo>
                      <a:pt x="1171" y="231"/>
                    </a:lnTo>
                    <a:lnTo>
                      <a:pt x="1169" y="227"/>
                    </a:lnTo>
                    <a:lnTo>
                      <a:pt x="1165" y="227"/>
                    </a:lnTo>
                    <a:lnTo>
                      <a:pt x="1169" y="227"/>
                    </a:lnTo>
                    <a:lnTo>
                      <a:pt x="1173" y="229"/>
                    </a:lnTo>
                    <a:lnTo>
                      <a:pt x="1177" y="223"/>
                    </a:lnTo>
                    <a:lnTo>
                      <a:pt x="1179" y="223"/>
                    </a:lnTo>
                    <a:lnTo>
                      <a:pt x="1181" y="216"/>
                    </a:lnTo>
                    <a:lnTo>
                      <a:pt x="1184" y="210"/>
                    </a:lnTo>
                    <a:lnTo>
                      <a:pt x="1190" y="208"/>
                    </a:lnTo>
                    <a:lnTo>
                      <a:pt x="1196" y="210"/>
                    </a:lnTo>
                    <a:lnTo>
                      <a:pt x="1194" y="208"/>
                    </a:lnTo>
                    <a:lnTo>
                      <a:pt x="1196" y="206"/>
                    </a:lnTo>
                    <a:lnTo>
                      <a:pt x="1194" y="204"/>
                    </a:lnTo>
                    <a:lnTo>
                      <a:pt x="1188" y="199"/>
                    </a:lnTo>
                    <a:lnTo>
                      <a:pt x="1188" y="197"/>
                    </a:lnTo>
                    <a:lnTo>
                      <a:pt x="1190" y="195"/>
                    </a:lnTo>
                    <a:lnTo>
                      <a:pt x="1190" y="191"/>
                    </a:lnTo>
                    <a:lnTo>
                      <a:pt x="1192" y="193"/>
                    </a:lnTo>
                    <a:lnTo>
                      <a:pt x="1194" y="191"/>
                    </a:lnTo>
                    <a:lnTo>
                      <a:pt x="1196" y="191"/>
                    </a:lnTo>
                    <a:lnTo>
                      <a:pt x="1194" y="189"/>
                    </a:lnTo>
                    <a:lnTo>
                      <a:pt x="1196" y="189"/>
                    </a:lnTo>
                    <a:lnTo>
                      <a:pt x="1194" y="189"/>
                    </a:lnTo>
                    <a:lnTo>
                      <a:pt x="1196" y="185"/>
                    </a:lnTo>
                    <a:lnTo>
                      <a:pt x="1200" y="183"/>
                    </a:lnTo>
                    <a:lnTo>
                      <a:pt x="1200" y="180"/>
                    </a:lnTo>
                    <a:lnTo>
                      <a:pt x="1204" y="187"/>
                    </a:lnTo>
                    <a:lnTo>
                      <a:pt x="1207" y="180"/>
                    </a:lnTo>
                    <a:lnTo>
                      <a:pt x="1211" y="180"/>
                    </a:lnTo>
                    <a:lnTo>
                      <a:pt x="1213" y="181"/>
                    </a:lnTo>
                    <a:lnTo>
                      <a:pt x="1217" y="180"/>
                    </a:lnTo>
                    <a:lnTo>
                      <a:pt x="1217" y="181"/>
                    </a:lnTo>
                    <a:lnTo>
                      <a:pt x="1219" y="180"/>
                    </a:lnTo>
                    <a:lnTo>
                      <a:pt x="1223" y="180"/>
                    </a:lnTo>
                    <a:lnTo>
                      <a:pt x="1225" y="180"/>
                    </a:lnTo>
                    <a:lnTo>
                      <a:pt x="1225" y="178"/>
                    </a:lnTo>
                    <a:lnTo>
                      <a:pt x="1228" y="178"/>
                    </a:lnTo>
                    <a:lnTo>
                      <a:pt x="1236" y="174"/>
                    </a:lnTo>
                    <a:close/>
                    <a:moveTo>
                      <a:pt x="1320" y="243"/>
                    </a:moveTo>
                    <a:lnTo>
                      <a:pt x="1326" y="246"/>
                    </a:lnTo>
                    <a:lnTo>
                      <a:pt x="1326" y="250"/>
                    </a:lnTo>
                    <a:lnTo>
                      <a:pt x="1327" y="248"/>
                    </a:lnTo>
                    <a:lnTo>
                      <a:pt x="1327" y="250"/>
                    </a:lnTo>
                    <a:lnTo>
                      <a:pt x="1327" y="252"/>
                    </a:lnTo>
                    <a:lnTo>
                      <a:pt x="1329" y="252"/>
                    </a:lnTo>
                    <a:lnTo>
                      <a:pt x="1326" y="260"/>
                    </a:lnTo>
                    <a:lnTo>
                      <a:pt x="1324" y="267"/>
                    </a:lnTo>
                    <a:lnTo>
                      <a:pt x="1322" y="273"/>
                    </a:lnTo>
                    <a:lnTo>
                      <a:pt x="1324" y="281"/>
                    </a:lnTo>
                    <a:lnTo>
                      <a:pt x="1322" y="285"/>
                    </a:lnTo>
                    <a:lnTo>
                      <a:pt x="1320" y="286"/>
                    </a:lnTo>
                    <a:lnTo>
                      <a:pt x="1318" y="294"/>
                    </a:lnTo>
                    <a:lnTo>
                      <a:pt x="1320" y="294"/>
                    </a:lnTo>
                    <a:lnTo>
                      <a:pt x="1322" y="290"/>
                    </a:lnTo>
                    <a:lnTo>
                      <a:pt x="1324" y="290"/>
                    </a:lnTo>
                    <a:lnTo>
                      <a:pt x="1322" y="288"/>
                    </a:lnTo>
                    <a:lnTo>
                      <a:pt x="1324" y="286"/>
                    </a:lnTo>
                    <a:lnTo>
                      <a:pt x="1326" y="273"/>
                    </a:lnTo>
                    <a:lnTo>
                      <a:pt x="1329" y="275"/>
                    </a:lnTo>
                    <a:lnTo>
                      <a:pt x="1329" y="273"/>
                    </a:lnTo>
                    <a:lnTo>
                      <a:pt x="1333" y="271"/>
                    </a:lnTo>
                    <a:lnTo>
                      <a:pt x="1333" y="269"/>
                    </a:lnTo>
                    <a:lnTo>
                      <a:pt x="1335" y="269"/>
                    </a:lnTo>
                    <a:lnTo>
                      <a:pt x="1335" y="264"/>
                    </a:lnTo>
                    <a:lnTo>
                      <a:pt x="1337" y="264"/>
                    </a:lnTo>
                    <a:lnTo>
                      <a:pt x="1337" y="269"/>
                    </a:lnTo>
                    <a:lnTo>
                      <a:pt x="1341" y="264"/>
                    </a:lnTo>
                    <a:lnTo>
                      <a:pt x="1341" y="267"/>
                    </a:lnTo>
                    <a:lnTo>
                      <a:pt x="1343" y="267"/>
                    </a:lnTo>
                    <a:lnTo>
                      <a:pt x="1343" y="271"/>
                    </a:lnTo>
                    <a:lnTo>
                      <a:pt x="1343" y="273"/>
                    </a:lnTo>
                    <a:lnTo>
                      <a:pt x="1345" y="275"/>
                    </a:lnTo>
                    <a:lnTo>
                      <a:pt x="1345" y="279"/>
                    </a:lnTo>
                    <a:lnTo>
                      <a:pt x="1347" y="277"/>
                    </a:lnTo>
                    <a:lnTo>
                      <a:pt x="1348" y="279"/>
                    </a:lnTo>
                    <a:lnTo>
                      <a:pt x="1350" y="283"/>
                    </a:lnTo>
                    <a:lnTo>
                      <a:pt x="1350" y="286"/>
                    </a:lnTo>
                    <a:lnTo>
                      <a:pt x="1350" y="288"/>
                    </a:lnTo>
                    <a:lnTo>
                      <a:pt x="1352" y="286"/>
                    </a:lnTo>
                    <a:lnTo>
                      <a:pt x="1362" y="294"/>
                    </a:lnTo>
                    <a:lnTo>
                      <a:pt x="1364" y="300"/>
                    </a:lnTo>
                    <a:lnTo>
                      <a:pt x="1362" y="300"/>
                    </a:lnTo>
                    <a:lnTo>
                      <a:pt x="1364" y="302"/>
                    </a:lnTo>
                    <a:lnTo>
                      <a:pt x="1364" y="315"/>
                    </a:lnTo>
                    <a:lnTo>
                      <a:pt x="1362" y="325"/>
                    </a:lnTo>
                    <a:lnTo>
                      <a:pt x="1356" y="332"/>
                    </a:lnTo>
                    <a:lnTo>
                      <a:pt x="1354" y="332"/>
                    </a:lnTo>
                    <a:lnTo>
                      <a:pt x="1354" y="330"/>
                    </a:lnTo>
                    <a:lnTo>
                      <a:pt x="1350" y="332"/>
                    </a:lnTo>
                    <a:lnTo>
                      <a:pt x="1347" y="332"/>
                    </a:lnTo>
                    <a:lnTo>
                      <a:pt x="1339" y="338"/>
                    </a:lnTo>
                    <a:lnTo>
                      <a:pt x="1335" y="338"/>
                    </a:lnTo>
                    <a:lnTo>
                      <a:pt x="1331" y="340"/>
                    </a:lnTo>
                    <a:lnTo>
                      <a:pt x="1327" y="340"/>
                    </a:lnTo>
                    <a:lnTo>
                      <a:pt x="1326" y="342"/>
                    </a:lnTo>
                    <a:lnTo>
                      <a:pt x="1324" y="346"/>
                    </a:lnTo>
                    <a:lnTo>
                      <a:pt x="1324" y="344"/>
                    </a:lnTo>
                    <a:lnTo>
                      <a:pt x="1324" y="342"/>
                    </a:lnTo>
                    <a:lnTo>
                      <a:pt x="1324" y="340"/>
                    </a:lnTo>
                    <a:lnTo>
                      <a:pt x="1316" y="340"/>
                    </a:lnTo>
                    <a:lnTo>
                      <a:pt x="1312" y="344"/>
                    </a:lnTo>
                    <a:lnTo>
                      <a:pt x="1310" y="342"/>
                    </a:lnTo>
                    <a:lnTo>
                      <a:pt x="1301" y="342"/>
                    </a:lnTo>
                    <a:lnTo>
                      <a:pt x="1293" y="349"/>
                    </a:lnTo>
                    <a:lnTo>
                      <a:pt x="1289" y="353"/>
                    </a:lnTo>
                    <a:lnTo>
                      <a:pt x="1280" y="361"/>
                    </a:lnTo>
                    <a:lnTo>
                      <a:pt x="1276" y="359"/>
                    </a:lnTo>
                    <a:lnTo>
                      <a:pt x="1274" y="361"/>
                    </a:lnTo>
                    <a:lnTo>
                      <a:pt x="1272" y="359"/>
                    </a:lnTo>
                    <a:lnTo>
                      <a:pt x="1272" y="355"/>
                    </a:lnTo>
                    <a:lnTo>
                      <a:pt x="1270" y="355"/>
                    </a:lnTo>
                    <a:lnTo>
                      <a:pt x="1274" y="344"/>
                    </a:lnTo>
                    <a:lnTo>
                      <a:pt x="1282" y="330"/>
                    </a:lnTo>
                    <a:lnTo>
                      <a:pt x="1282" y="325"/>
                    </a:lnTo>
                    <a:lnTo>
                      <a:pt x="1284" y="321"/>
                    </a:lnTo>
                    <a:lnTo>
                      <a:pt x="1282" y="319"/>
                    </a:lnTo>
                    <a:lnTo>
                      <a:pt x="1284" y="313"/>
                    </a:lnTo>
                    <a:lnTo>
                      <a:pt x="1289" y="309"/>
                    </a:lnTo>
                    <a:lnTo>
                      <a:pt x="1286" y="309"/>
                    </a:lnTo>
                    <a:lnTo>
                      <a:pt x="1286" y="304"/>
                    </a:lnTo>
                    <a:lnTo>
                      <a:pt x="1293" y="290"/>
                    </a:lnTo>
                    <a:lnTo>
                      <a:pt x="1297" y="271"/>
                    </a:lnTo>
                    <a:lnTo>
                      <a:pt x="1299" y="267"/>
                    </a:lnTo>
                    <a:lnTo>
                      <a:pt x="1303" y="267"/>
                    </a:lnTo>
                    <a:lnTo>
                      <a:pt x="1299" y="265"/>
                    </a:lnTo>
                    <a:lnTo>
                      <a:pt x="1301" y="260"/>
                    </a:lnTo>
                    <a:lnTo>
                      <a:pt x="1303" y="258"/>
                    </a:lnTo>
                    <a:lnTo>
                      <a:pt x="1305" y="260"/>
                    </a:lnTo>
                    <a:lnTo>
                      <a:pt x="1305" y="258"/>
                    </a:lnTo>
                    <a:lnTo>
                      <a:pt x="1307" y="258"/>
                    </a:lnTo>
                    <a:lnTo>
                      <a:pt x="1305" y="252"/>
                    </a:lnTo>
                    <a:lnTo>
                      <a:pt x="1307" y="248"/>
                    </a:lnTo>
                    <a:lnTo>
                      <a:pt x="1308" y="248"/>
                    </a:lnTo>
                    <a:lnTo>
                      <a:pt x="1310" y="258"/>
                    </a:lnTo>
                    <a:lnTo>
                      <a:pt x="1316" y="260"/>
                    </a:lnTo>
                    <a:lnTo>
                      <a:pt x="1316" y="262"/>
                    </a:lnTo>
                    <a:lnTo>
                      <a:pt x="1314" y="252"/>
                    </a:lnTo>
                    <a:lnTo>
                      <a:pt x="1314" y="244"/>
                    </a:lnTo>
                    <a:lnTo>
                      <a:pt x="1316" y="243"/>
                    </a:lnTo>
                    <a:lnTo>
                      <a:pt x="1318" y="243"/>
                    </a:lnTo>
                    <a:lnTo>
                      <a:pt x="1320" y="243"/>
                    </a:lnTo>
                    <a:close/>
                    <a:moveTo>
                      <a:pt x="1215" y="71"/>
                    </a:moveTo>
                    <a:lnTo>
                      <a:pt x="1213" y="77"/>
                    </a:lnTo>
                    <a:lnTo>
                      <a:pt x="1217" y="77"/>
                    </a:lnTo>
                    <a:lnTo>
                      <a:pt x="1217" y="78"/>
                    </a:lnTo>
                    <a:lnTo>
                      <a:pt x="1219" y="78"/>
                    </a:lnTo>
                    <a:lnTo>
                      <a:pt x="1219" y="82"/>
                    </a:lnTo>
                    <a:lnTo>
                      <a:pt x="1225" y="88"/>
                    </a:lnTo>
                    <a:lnTo>
                      <a:pt x="1225" y="92"/>
                    </a:lnTo>
                    <a:lnTo>
                      <a:pt x="1228" y="94"/>
                    </a:lnTo>
                    <a:lnTo>
                      <a:pt x="1226" y="98"/>
                    </a:lnTo>
                    <a:lnTo>
                      <a:pt x="1228" y="103"/>
                    </a:lnTo>
                    <a:lnTo>
                      <a:pt x="1234" y="105"/>
                    </a:lnTo>
                    <a:lnTo>
                      <a:pt x="1238" y="113"/>
                    </a:lnTo>
                    <a:lnTo>
                      <a:pt x="1245" y="115"/>
                    </a:lnTo>
                    <a:lnTo>
                      <a:pt x="1244" y="117"/>
                    </a:lnTo>
                    <a:lnTo>
                      <a:pt x="1245" y="117"/>
                    </a:lnTo>
                    <a:lnTo>
                      <a:pt x="1247" y="119"/>
                    </a:lnTo>
                    <a:lnTo>
                      <a:pt x="1245" y="122"/>
                    </a:lnTo>
                    <a:lnTo>
                      <a:pt x="1247" y="122"/>
                    </a:lnTo>
                    <a:lnTo>
                      <a:pt x="1247" y="126"/>
                    </a:lnTo>
                    <a:lnTo>
                      <a:pt x="1244" y="130"/>
                    </a:lnTo>
                    <a:lnTo>
                      <a:pt x="1240" y="128"/>
                    </a:lnTo>
                    <a:lnTo>
                      <a:pt x="1240" y="132"/>
                    </a:lnTo>
                    <a:lnTo>
                      <a:pt x="1234" y="132"/>
                    </a:lnTo>
                    <a:lnTo>
                      <a:pt x="1234" y="134"/>
                    </a:lnTo>
                    <a:lnTo>
                      <a:pt x="1232" y="141"/>
                    </a:lnTo>
                    <a:lnTo>
                      <a:pt x="1236" y="149"/>
                    </a:lnTo>
                    <a:lnTo>
                      <a:pt x="1236" y="159"/>
                    </a:lnTo>
                    <a:lnTo>
                      <a:pt x="1238" y="160"/>
                    </a:lnTo>
                    <a:lnTo>
                      <a:pt x="1238" y="162"/>
                    </a:lnTo>
                    <a:lnTo>
                      <a:pt x="1236" y="166"/>
                    </a:lnTo>
                    <a:lnTo>
                      <a:pt x="1236" y="168"/>
                    </a:lnTo>
                    <a:lnTo>
                      <a:pt x="1209" y="170"/>
                    </a:lnTo>
                    <a:lnTo>
                      <a:pt x="1202" y="176"/>
                    </a:lnTo>
                    <a:lnTo>
                      <a:pt x="1196" y="176"/>
                    </a:lnTo>
                    <a:lnTo>
                      <a:pt x="1194" y="178"/>
                    </a:lnTo>
                    <a:lnTo>
                      <a:pt x="1192" y="176"/>
                    </a:lnTo>
                    <a:lnTo>
                      <a:pt x="1188" y="183"/>
                    </a:lnTo>
                    <a:lnTo>
                      <a:pt x="1179" y="189"/>
                    </a:lnTo>
                    <a:lnTo>
                      <a:pt x="1171" y="183"/>
                    </a:lnTo>
                    <a:lnTo>
                      <a:pt x="1163" y="178"/>
                    </a:lnTo>
                    <a:lnTo>
                      <a:pt x="1154" y="176"/>
                    </a:lnTo>
                    <a:lnTo>
                      <a:pt x="1156" y="174"/>
                    </a:lnTo>
                    <a:lnTo>
                      <a:pt x="1156" y="172"/>
                    </a:lnTo>
                    <a:lnTo>
                      <a:pt x="1165" y="178"/>
                    </a:lnTo>
                    <a:lnTo>
                      <a:pt x="1167" y="176"/>
                    </a:lnTo>
                    <a:lnTo>
                      <a:pt x="1165" y="174"/>
                    </a:lnTo>
                    <a:lnTo>
                      <a:pt x="1158" y="168"/>
                    </a:lnTo>
                    <a:lnTo>
                      <a:pt x="1154" y="164"/>
                    </a:lnTo>
                    <a:lnTo>
                      <a:pt x="1148" y="166"/>
                    </a:lnTo>
                    <a:lnTo>
                      <a:pt x="1148" y="162"/>
                    </a:lnTo>
                    <a:lnTo>
                      <a:pt x="1146" y="164"/>
                    </a:lnTo>
                    <a:lnTo>
                      <a:pt x="1143" y="164"/>
                    </a:lnTo>
                    <a:lnTo>
                      <a:pt x="1148" y="159"/>
                    </a:lnTo>
                    <a:lnTo>
                      <a:pt x="1150" y="159"/>
                    </a:lnTo>
                    <a:lnTo>
                      <a:pt x="1152" y="157"/>
                    </a:lnTo>
                    <a:lnTo>
                      <a:pt x="1154" y="157"/>
                    </a:lnTo>
                    <a:lnTo>
                      <a:pt x="1156" y="159"/>
                    </a:lnTo>
                    <a:lnTo>
                      <a:pt x="1158" y="157"/>
                    </a:lnTo>
                    <a:lnTo>
                      <a:pt x="1162" y="159"/>
                    </a:lnTo>
                    <a:lnTo>
                      <a:pt x="1163" y="159"/>
                    </a:lnTo>
                    <a:lnTo>
                      <a:pt x="1162" y="157"/>
                    </a:lnTo>
                    <a:lnTo>
                      <a:pt x="1156" y="155"/>
                    </a:lnTo>
                    <a:lnTo>
                      <a:pt x="1152" y="151"/>
                    </a:lnTo>
                    <a:lnTo>
                      <a:pt x="1158" y="147"/>
                    </a:lnTo>
                    <a:lnTo>
                      <a:pt x="1163" y="145"/>
                    </a:lnTo>
                    <a:lnTo>
                      <a:pt x="1165" y="145"/>
                    </a:lnTo>
                    <a:lnTo>
                      <a:pt x="1167" y="130"/>
                    </a:lnTo>
                    <a:lnTo>
                      <a:pt x="1173" y="120"/>
                    </a:lnTo>
                    <a:lnTo>
                      <a:pt x="1173" y="117"/>
                    </a:lnTo>
                    <a:lnTo>
                      <a:pt x="1171" y="117"/>
                    </a:lnTo>
                    <a:lnTo>
                      <a:pt x="1171" y="120"/>
                    </a:lnTo>
                    <a:lnTo>
                      <a:pt x="1167" y="122"/>
                    </a:lnTo>
                    <a:lnTo>
                      <a:pt x="1165" y="120"/>
                    </a:lnTo>
                    <a:lnTo>
                      <a:pt x="1163" y="122"/>
                    </a:lnTo>
                    <a:lnTo>
                      <a:pt x="1162" y="122"/>
                    </a:lnTo>
                    <a:lnTo>
                      <a:pt x="1162" y="120"/>
                    </a:lnTo>
                    <a:lnTo>
                      <a:pt x="1165" y="115"/>
                    </a:lnTo>
                    <a:lnTo>
                      <a:pt x="1165" y="111"/>
                    </a:lnTo>
                    <a:lnTo>
                      <a:pt x="1169" y="107"/>
                    </a:lnTo>
                    <a:lnTo>
                      <a:pt x="1173" y="107"/>
                    </a:lnTo>
                    <a:lnTo>
                      <a:pt x="1169" y="99"/>
                    </a:lnTo>
                    <a:lnTo>
                      <a:pt x="1177" y="94"/>
                    </a:lnTo>
                    <a:lnTo>
                      <a:pt x="1181" y="96"/>
                    </a:lnTo>
                    <a:lnTo>
                      <a:pt x="1181" y="92"/>
                    </a:lnTo>
                    <a:lnTo>
                      <a:pt x="1196" y="82"/>
                    </a:lnTo>
                    <a:lnTo>
                      <a:pt x="1205" y="73"/>
                    </a:lnTo>
                    <a:lnTo>
                      <a:pt x="1209" y="73"/>
                    </a:lnTo>
                    <a:lnTo>
                      <a:pt x="1209" y="71"/>
                    </a:lnTo>
                    <a:lnTo>
                      <a:pt x="1202" y="71"/>
                    </a:lnTo>
                    <a:lnTo>
                      <a:pt x="1202" y="67"/>
                    </a:lnTo>
                    <a:lnTo>
                      <a:pt x="1211" y="65"/>
                    </a:lnTo>
                    <a:lnTo>
                      <a:pt x="1215" y="67"/>
                    </a:lnTo>
                    <a:lnTo>
                      <a:pt x="1215" y="71"/>
                    </a:lnTo>
                    <a:close/>
                    <a:moveTo>
                      <a:pt x="52" y="1376"/>
                    </a:moveTo>
                    <a:lnTo>
                      <a:pt x="29" y="1376"/>
                    </a:lnTo>
                    <a:lnTo>
                      <a:pt x="17" y="1376"/>
                    </a:lnTo>
                    <a:lnTo>
                      <a:pt x="4" y="1374"/>
                    </a:lnTo>
                    <a:lnTo>
                      <a:pt x="4" y="1372"/>
                    </a:lnTo>
                    <a:lnTo>
                      <a:pt x="6" y="1372"/>
                    </a:lnTo>
                    <a:lnTo>
                      <a:pt x="6" y="1370"/>
                    </a:lnTo>
                    <a:lnTo>
                      <a:pt x="8" y="1370"/>
                    </a:lnTo>
                    <a:lnTo>
                      <a:pt x="10" y="1368"/>
                    </a:lnTo>
                    <a:lnTo>
                      <a:pt x="12" y="1368"/>
                    </a:lnTo>
                    <a:lnTo>
                      <a:pt x="14" y="1366"/>
                    </a:lnTo>
                    <a:lnTo>
                      <a:pt x="12" y="1366"/>
                    </a:lnTo>
                    <a:lnTo>
                      <a:pt x="14" y="1366"/>
                    </a:lnTo>
                    <a:lnTo>
                      <a:pt x="12" y="1366"/>
                    </a:lnTo>
                    <a:lnTo>
                      <a:pt x="10" y="1366"/>
                    </a:lnTo>
                    <a:lnTo>
                      <a:pt x="8" y="1368"/>
                    </a:lnTo>
                    <a:lnTo>
                      <a:pt x="8" y="1366"/>
                    </a:lnTo>
                    <a:lnTo>
                      <a:pt x="6" y="1366"/>
                    </a:lnTo>
                    <a:lnTo>
                      <a:pt x="6" y="1368"/>
                    </a:lnTo>
                    <a:lnTo>
                      <a:pt x="4" y="1368"/>
                    </a:lnTo>
                    <a:lnTo>
                      <a:pt x="6" y="1368"/>
                    </a:lnTo>
                    <a:lnTo>
                      <a:pt x="4" y="1368"/>
                    </a:lnTo>
                    <a:lnTo>
                      <a:pt x="6" y="1366"/>
                    </a:lnTo>
                    <a:lnTo>
                      <a:pt x="6" y="1364"/>
                    </a:lnTo>
                    <a:lnTo>
                      <a:pt x="6" y="1361"/>
                    </a:lnTo>
                    <a:lnTo>
                      <a:pt x="6" y="1359"/>
                    </a:lnTo>
                    <a:lnTo>
                      <a:pt x="8" y="1359"/>
                    </a:lnTo>
                    <a:lnTo>
                      <a:pt x="12" y="1359"/>
                    </a:lnTo>
                    <a:lnTo>
                      <a:pt x="12" y="1361"/>
                    </a:lnTo>
                    <a:lnTo>
                      <a:pt x="14" y="1359"/>
                    </a:lnTo>
                    <a:lnTo>
                      <a:pt x="17" y="1357"/>
                    </a:lnTo>
                    <a:lnTo>
                      <a:pt x="21" y="1351"/>
                    </a:lnTo>
                    <a:lnTo>
                      <a:pt x="23" y="1351"/>
                    </a:lnTo>
                    <a:lnTo>
                      <a:pt x="21" y="1351"/>
                    </a:lnTo>
                    <a:lnTo>
                      <a:pt x="19" y="1353"/>
                    </a:lnTo>
                    <a:lnTo>
                      <a:pt x="16" y="1359"/>
                    </a:lnTo>
                    <a:lnTo>
                      <a:pt x="16" y="1361"/>
                    </a:lnTo>
                    <a:lnTo>
                      <a:pt x="17" y="1361"/>
                    </a:lnTo>
                    <a:lnTo>
                      <a:pt x="19" y="1359"/>
                    </a:lnTo>
                    <a:lnTo>
                      <a:pt x="21" y="1361"/>
                    </a:lnTo>
                    <a:lnTo>
                      <a:pt x="23" y="1361"/>
                    </a:lnTo>
                    <a:lnTo>
                      <a:pt x="25" y="1361"/>
                    </a:lnTo>
                    <a:lnTo>
                      <a:pt x="27" y="1359"/>
                    </a:lnTo>
                    <a:lnTo>
                      <a:pt x="25" y="1353"/>
                    </a:lnTo>
                    <a:lnTo>
                      <a:pt x="27" y="1353"/>
                    </a:lnTo>
                    <a:lnTo>
                      <a:pt x="27" y="1351"/>
                    </a:lnTo>
                    <a:lnTo>
                      <a:pt x="29" y="1349"/>
                    </a:lnTo>
                    <a:lnTo>
                      <a:pt x="31" y="1353"/>
                    </a:lnTo>
                    <a:lnTo>
                      <a:pt x="33" y="1353"/>
                    </a:lnTo>
                    <a:lnTo>
                      <a:pt x="35" y="1355"/>
                    </a:lnTo>
                    <a:lnTo>
                      <a:pt x="37" y="1355"/>
                    </a:lnTo>
                    <a:lnTo>
                      <a:pt x="38" y="1355"/>
                    </a:lnTo>
                    <a:lnTo>
                      <a:pt x="38" y="1357"/>
                    </a:lnTo>
                    <a:lnTo>
                      <a:pt x="40" y="1357"/>
                    </a:lnTo>
                    <a:lnTo>
                      <a:pt x="42" y="1357"/>
                    </a:lnTo>
                    <a:lnTo>
                      <a:pt x="46" y="1357"/>
                    </a:lnTo>
                    <a:lnTo>
                      <a:pt x="48" y="1357"/>
                    </a:lnTo>
                    <a:lnTo>
                      <a:pt x="48" y="1359"/>
                    </a:lnTo>
                    <a:lnTo>
                      <a:pt x="50" y="1359"/>
                    </a:lnTo>
                    <a:lnTo>
                      <a:pt x="50" y="1361"/>
                    </a:lnTo>
                    <a:lnTo>
                      <a:pt x="52" y="1361"/>
                    </a:lnTo>
                    <a:lnTo>
                      <a:pt x="52" y="1363"/>
                    </a:lnTo>
                    <a:lnTo>
                      <a:pt x="52" y="1364"/>
                    </a:lnTo>
                    <a:lnTo>
                      <a:pt x="50" y="1364"/>
                    </a:lnTo>
                    <a:lnTo>
                      <a:pt x="50" y="1366"/>
                    </a:lnTo>
                    <a:lnTo>
                      <a:pt x="50" y="1368"/>
                    </a:lnTo>
                    <a:lnTo>
                      <a:pt x="50" y="1370"/>
                    </a:lnTo>
                    <a:lnTo>
                      <a:pt x="50" y="1374"/>
                    </a:lnTo>
                    <a:lnTo>
                      <a:pt x="52" y="1376"/>
                    </a:lnTo>
                    <a:close/>
                    <a:moveTo>
                      <a:pt x="2027" y="542"/>
                    </a:moveTo>
                    <a:lnTo>
                      <a:pt x="2029" y="542"/>
                    </a:lnTo>
                    <a:lnTo>
                      <a:pt x="2031" y="540"/>
                    </a:lnTo>
                    <a:lnTo>
                      <a:pt x="2029" y="540"/>
                    </a:lnTo>
                    <a:lnTo>
                      <a:pt x="2031" y="538"/>
                    </a:lnTo>
                    <a:lnTo>
                      <a:pt x="2031" y="536"/>
                    </a:lnTo>
                    <a:lnTo>
                      <a:pt x="2033" y="534"/>
                    </a:lnTo>
                    <a:lnTo>
                      <a:pt x="2035" y="536"/>
                    </a:lnTo>
                    <a:lnTo>
                      <a:pt x="2037" y="534"/>
                    </a:lnTo>
                    <a:lnTo>
                      <a:pt x="2043" y="536"/>
                    </a:lnTo>
                    <a:lnTo>
                      <a:pt x="2048" y="536"/>
                    </a:lnTo>
                    <a:lnTo>
                      <a:pt x="2052" y="538"/>
                    </a:lnTo>
                    <a:lnTo>
                      <a:pt x="2050" y="542"/>
                    </a:lnTo>
                    <a:lnTo>
                      <a:pt x="2050" y="548"/>
                    </a:lnTo>
                    <a:lnTo>
                      <a:pt x="2052" y="550"/>
                    </a:lnTo>
                    <a:lnTo>
                      <a:pt x="2054" y="550"/>
                    </a:lnTo>
                    <a:lnTo>
                      <a:pt x="2064" y="546"/>
                    </a:lnTo>
                    <a:lnTo>
                      <a:pt x="2069" y="548"/>
                    </a:lnTo>
                    <a:lnTo>
                      <a:pt x="2071" y="548"/>
                    </a:lnTo>
                    <a:lnTo>
                      <a:pt x="2077" y="550"/>
                    </a:lnTo>
                    <a:lnTo>
                      <a:pt x="2079" y="552"/>
                    </a:lnTo>
                    <a:lnTo>
                      <a:pt x="2079" y="554"/>
                    </a:lnTo>
                    <a:lnTo>
                      <a:pt x="2083" y="555"/>
                    </a:lnTo>
                    <a:lnTo>
                      <a:pt x="2086" y="554"/>
                    </a:lnTo>
                    <a:lnTo>
                      <a:pt x="2088" y="554"/>
                    </a:lnTo>
                    <a:lnTo>
                      <a:pt x="2090" y="554"/>
                    </a:lnTo>
                    <a:lnTo>
                      <a:pt x="2085" y="561"/>
                    </a:lnTo>
                    <a:lnTo>
                      <a:pt x="2073" y="561"/>
                    </a:lnTo>
                    <a:lnTo>
                      <a:pt x="2073" y="575"/>
                    </a:lnTo>
                    <a:lnTo>
                      <a:pt x="2062" y="578"/>
                    </a:lnTo>
                    <a:lnTo>
                      <a:pt x="2058" y="578"/>
                    </a:lnTo>
                    <a:lnTo>
                      <a:pt x="2054" y="576"/>
                    </a:lnTo>
                    <a:lnTo>
                      <a:pt x="2054" y="578"/>
                    </a:lnTo>
                    <a:lnTo>
                      <a:pt x="2044" y="575"/>
                    </a:lnTo>
                    <a:lnTo>
                      <a:pt x="2037" y="565"/>
                    </a:lnTo>
                    <a:lnTo>
                      <a:pt x="2027" y="561"/>
                    </a:lnTo>
                    <a:lnTo>
                      <a:pt x="2022" y="555"/>
                    </a:lnTo>
                    <a:lnTo>
                      <a:pt x="2016" y="552"/>
                    </a:lnTo>
                    <a:lnTo>
                      <a:pt x="2014" y="548"/>
                    </a:lnTo>
                    <a:lnTo>
                      <a:pt x="2016" y="544"/>
                    </a:lnTo>
                    <a:lnTo>
                      <a:pt x="2014" y="538"/>
                    </a:lnTo>
                    <a:lnTo>
                      <a:pt x="2016" y="534"/>
                    </a:lnTo>
                    <a:lnTo>
                      <a:pt x="2018" y="531"/>
                    </a:lnTo>
                    <a:lnTo>
                      <a:pt x="2016" y="527"/>
                    </a:lnTo>
                    <a:lnTo>
                      <a:pt x="2018" y="525"/>
                    </a:lnTo>
                    <a:lnTo>
                      <a:pt x="2022" y="527"/>
                    </a:lnTo>
                    <a:lnTo>
                      <a:pt x="2022" y="531"/>
                    </a:lnTo>
                    <a:lnTo>
                      <a:pt x="2022" y="534"/>
                    </a:lnTo>
                    <a:lnTo>
                      <a:pt x="2022" y="538"/>
                    </a:lnTo>
                    <a:lnTo>
                      <a:pt x="2027" y="542"/>
                    </a:lnTo>
                    <a:close/>
                    <a:moveTo>
                      <a:pt x="1951" y="630"/>
                    </a:moveTo>
                    <a:lnTo>
                      <a:pt x="1957" y="632"/>
                    </a:lnTo>
                    <a:lnTo>
                      <a:pt x="1966" y="643"/>
                    </a:lnTo>
                    <a:lnTo>
                      <a:pt x="1970" y="647"/>
                    </a:lnTo>
                    <a:lnTo>
                      <a:pt x="1972" y="653"/>
                    </a:lnTo>
                    <a:lnTo>
                      <a:pt x="1970" y="655"/>
                    </a:lnTo>
                    <a:lnTo>
                      <a:pt x="1970" y="658"/>
                    </a:lnTo>
                    <a:lnTo>
                      <a:pt x="1972" y="666"/>
                    </a:lnTo>
                    <a:lnTo>
                      <a:pt x="1970" y="666"/>
                    </a:lnTo>
                    <a:lnTo>
                      <a:pt x="1966" y="668"/>
                    </a:lnTo>
                    <a:lnTo>
                      <a:pt x="1959" y="664"/>
                    </a:lnTo>
                    <a:lnTo>
                      <a:pt x="1955" y="664"/>
                    </a:lnTo>
                    <a:lnTo>
                      <a:pt x="1951" y="664"/>
                    </a:lnTo>
                    <a:lnTo>
                      <a:pt x="1942" y="660"/>
                    </a:lnTo>
                    <a:lnTo>
                      <a:pt x="1938" y="660"/>
                    </a:lnTo>
                    <a:lnTo>
                      <a:pt x="1930" y="655"/>
                    </a:lnTo>
                    <a:lnTo>
                      <a:pt x="1926" y="655"/>
                    </a:lnTo>
                    <a:lnTo>
                      <a:pt x="1922" y="655"/>
                    </a:lnTo>
                    <a:lnTo>
                      <a:pt x="1915" y="658"/>
                    </a:lnTo>
                    <a:lnTo>
                      <a:pt x="1913" y="658"/>
                    </a:lnTo>
                    <a:lnTo>
                      <a:pt x="1911" y="655"/>
                    </a:lnTo>
                    <a:lnTo>
                      <a:pt x="1913" y="653"/>
                    </a:lnTo>
                    <a:lnTo>
                      <a:pt x="1921" y="653"/>
                    </a:lnTo>
                    <a:lnTo>
                      <a:pt x="1926" y="647"/>
                    </a:lnTo>
                    <a:lnTo>
                      <a:pt x="1928" y="638"/>
                    </a:lnTo>
                    <a:lnTo>
                      <a:pt x="1930" y="638"/>
                    </a:lnTo>
                    <a:lnTo>
                      <a:pt x="1928" y="638"/>
                    </a:lnTo>
                    <a:lnTo>
                      <a:pt x="1930" y="636"/>
                    </a:lnTo>
                    <a:lnTo>
                      <a:pt x="1934" y="630"/>
                    </a:lnTo>
                    <a:lnTo>
                      <a:pt x="1936" y="630"/>
                    </a:lnTo>
                    <a:lnTo>
                      <a:pt x="1938" y="630"/>
                    </a:lnTo>
                    <a:lnTo>
                      <a:pt x="1940" y="628"/>
                    </a:lnTo>
                    <a:lnTo>
                      <a:pt x="1949" y="626"/>
                    </a:lnTo>
                    <a:lnTo>
                      <a:pt x="1951" y="630"/>
                    </a:lnTo>
                    <a:close/>
                    <a:moveTo>
                      <a:pt x="500" y="107"/>
                    </a:moveTo>
                    <a:lnTo>
                      <a:pt x="494" y="109"/>
                    </a:lnTo>
                    <a:lnTo>
                      <a:pt x="494" y="111"/>
                    </a:lnTo>
                    <a:lnTo>
                      <a:pt x="490" y="111"/>
                    </a:lnTo>
                    <a:lnTo>
                      <a:pt x="490" y="113"/>
                    </a:lnTo>
                    <a:lnTo>
                      <a:pt x="492" y="113"/>
                    </a:lnTo>
                    <a:lnTo>
                      <a:pt x="490" y="117"/>
                    </a:lnTo>
                    <a:lnTo>
                      <a:pt x="487" y="117"/>
                    </a:lnTo>
                    <a:lnTo>
                      <a:pt x="488" y="120"/>
                    </a:lnTo>
                    <a:lnTo>
                      <a:pt x="490" y="120"/>
                    </a:lnTo>
                    <a:lnTo>
                      <a:pt x="494" y="117"/>
                    </a:lnTo>
                    <a:lnTo>
                      <a:pt x="496" y="119"/>
                    </a:lnTo>
                    <a:lnTo>
                      <a:pt x="498" y="115"/>
                    </a:lnTo>
                    <a:lnTo>
                      <a:pt x="500" y="117"/>
                    </a:lnTo>
                    <a:lnTo>
                      <a:pt x="502" y="117"/>
                    </a:lnTo>
                    <a:lnTo>
                      <a:pt x="502" y="115"/>
                    </a:lnTo>
                    <a:lnTo>
                      <a:pt x="504" y="113"/>
                    </a:lnTo>
                    <a:lnTo>
                      <a:pt x="508" y="119"/>
                    </a:lnTo>
                    <a:lnTo>
                      <a:pt x="513" y="122"/>
                    </a:lnTo>
                    <a:lnTo>
                      <a:pt x="511" y="124"/>
                    </a:lnTo>
                    <a:lnTo>
                      <a:pt x="506" y="130"/>
                    </a:lnTo>
                    <a:lnTo>
                      <a:pt x="502" y="130"/>
                    </a:lnTo>
                    <a:lnTo>
                      <a:pt x="500" y="138"/>
                    </a:lnTo>
                    <a:lnTo>
                      <a:pt x="496" y="140"/>
                    </a:lnTo>
                    <a:lnTo>
                      <a:pt x="487" y="141"/>
                    </a:lnTo>
                    <a:lnTo>
                      <a:pt x="481" y="143"/>
                    </a:lnTo>
                    <a:lnTo>
                      <a:pt x="479" y="143"/>
                    </a:lnTo>
                    <a:lnTo>
                      <a:pt x="481" y="153"/>
                    </a:lnTo>
                    <a:lnTo>
                      <a:pt x="477" y="157"/>
                    </a:lnTo>
                    <a:lnTo>
                      <a:pt x="473" y="157"/>
                    </a:lnTo>
                    <a:lnTo>
                      <a:pt x="466" y="153"/>
                    </a:lnTo>
                    <a:lnTo>
                      <a:pt x="464" y="155"/>
                    </a:lnTo>
                    <a:lnTo>
                      <a:pt x="466" y="159"/>
                    </a:lnTo>
                    <a:lnTo>
                      <a:pt x="460" y="160"/>
                    </a:lnTo>
                    <a:lnTo>
                      <a:pt x="460" y="164"/>
                    </a:lnTo>
                    <a:lnTo>
                      <a:pt x="466" y="162"/>
                    </a:lnTo>
                    <a:lnTo>
                      <a:pt x="467" y="168"/>
                    </a:lnTo>
                    <a:lnTo>
                      <a:pt x="466" y="170"/>
                    </a:lnTo>
                    <a:lnTo>
                      <a:pt x="469" y="172"/>
                    </a:lnTo>
                    <a:lnTo>
                      <a:pt x="469" y="174"/>
                    </a:lnTo>
                    <a:lnTo>
                      <a:pt x="466" y="176"/>
                    </a:lnTo>
                    <a:lnTo>
                      <a:pt x="460" y="172"/>
                    </a:lnTo>
                    <a:lnTo>
                      <a:pt x="458" y="174"/>
                    </a:lnTo>
                    <a:lnTo>
                      <a:pt x="460" y="178"/>
                    </a:lnTo>
                    <a:lnTo>
                      <a:pt x="458" y="181"/>
                    </a:lnTo>
                    <a:lnTo>
                      <a:pt x="456" y="178"/>
                    </a:lnTo>
                    <a:lnTo>
                      <a:pt x="454" y="178"/>
                    </a:lnTo>
                    <a:lnTo>
                      <a:pt x="452" y="180"/>
                    </a:lnTo>
                    <a:lnTo>
                      <a:pt x="452" y="183"/>
                    </a:lnTo>
                    <a:lnTo>
                      <a:pt x="446" y="185"/>
                    </a:lnTo>
                    <a:lnTo>
                      <a:pt x="446" y="181"/>
                    </a:lnTo>
                    <a:lnTo>
                      <a:pt x="450" y="174"/>
                    </a:lnTo>
                    <a:lnTo>
                      <a:pt x="454" y="172"/>
                    </a:lnTo>
                    <a:lnTo>
                      <a:pt x="448" y="170"/>
                    </a:lnTo>
                    <a:lnTo>
                      <a:pt x="452" y="168"/>
                    </a:lnTo>
                    <a:lnTo>
                      <a:pt x="450" y="166"/>
                    </a:lnTo>
                    <a:lnTo>
                      <a:pt x="445" y="168"/>
                    </a:lnTo>
                    <a:lnTo>
                      <a:pt x="443" y="168"/>
                    </a:lnTo>
                    <a:lnTo>
                      <a:pt x="443" y="172"/>
                    </a:lnTo>
                    <a:lnTo>
                      <a:pt x="441" y="172"/>
                    </a:lnTo>
                    <a:lnTo>
                      <a:pt x="437" y="174"/>
                    </a:lnTo>
                    <a:lnTo>
                      <a:pt x="435" y="172"/>
                    </a:lnTo>
                    <a:lnTo>
                      <a:pt x="437" y="168"/>
                    </a:lnTo>
                    <a:lnTo>
                      <a:pt x="431" y="162"/>
                    </a:lnTo>
                    <a:lnTo>
                      <a:pt x="431" y="160"/>
                    </a:lnTo>
                    <a:lnTo>
                      <a:pt x="439" y="155"/>
                    </a:lnTo>
                    <a:lnTo>
                      <a:pt x="441" y="155"/>
                    </a:lnTo>
                    <a:lnTo>
                      <a:pt x="441" y="160"/>
                    </a:lnTo>
                    <a:lnTo>
                      <a:pt x="445" y="159"/>
                    </a:lnTo>
                    <a:lnTo>
                      <a:pt x="445" y="162"/>
                    </a:lnTo>
                    <a:lnTo>
                      <a:pt x="448" y="160"/>
                    </a:lnTo>
                    <a:lnTo>
                      <a:pt x="448" y="162"/>
                    </a:lnTo>
                    <a:lnTo>
                      <a:pt x="452" y="160"/>
                    </a:lnTo>
                    <a:lnTo>
                      <a:pt x="450" y="159"/>
                    </a:lnTo>
                    <a:lnTo>
                      <a:pt x="454" y="159"/>
                    </a:lnTo>
                    <a:lnTo>
                      <a:pt x="448" y="157"/>
                    </a:lnTo>
                    <a:lnTo>
                      <a:pt x="446" y="153"/>
                    </a:lnTo>
                    <a:lnTo>
                      <a:pt x="454" y="151"/>
                    </a:lnTo>
                    <a:lnTo>
                      <a:pt x="458" y="153"/>
                    </a:lnTo>
                    <a:lnTo>
                      <a:pt x="454" y="149"/>
                    </a:lnTo>
                    <a:lnTo>
                      <a:pt x="456" y="147"/>
                    </a:lnTo>
                    <a:lnTo>
                      <a:pt x="450" y="145"/>
                    </a:lnTo>
                    <a:lnTo>
                      <a:pt x="445" y="147"/>
                    </a:lnTo>
                    <a:lnTo>
                      <a:pt x="443" y="147"/>
                    </a:lnTo>
                    <a:lnTo>
                      <a:pt x="452" y="138"/>
                    </a:lnTo>
                    <a:lnTo>
                      <a:pt x="454" y="140"/>
                    </a:lnTo>
                    <a:lnTo>
                      <a:pt x="458" y="138"/>
                    </a:lnTo>
                    <a:lnTo>
                      <a:pt x="460" y="138"/>
                    </a:lnTo>
                    <a:lnTo>
                      <a:pt x="460" y="141"/>
                    </a:lnTo>
                    <a:lnTo>
                      <a:pt x="462" y="141"/>
                    </a:lnTo>
                    <a:lnTo>
                      <a:pt x="464" y="143"/>
                    </a:lnTo>
                    <a:lnTo>
                      <a:pt x="466" y="143"/>
                    </a:lnTo>
                    <a:lnTo>
                      <a:pt x="466" y="140"/>
                    </a:lnTo>
                    <a:lnTo>
                      <a:pt x="471" y="140"/>
                    </a:lnTo>
                    <a:lnTo>
                      <a:pt x="471" y="134"/>
                    </a:lnTo>
                    <a:lnTo>
                      <a:pt x="475" y="132"/>
                    </a:lnTo>
                    <a:lnTo>
                      <a:pt x="471" y="130"/>
                    </a:lnTo>
                    <a:lnTo>
                      <a:pt x="477" y="128"/>
                    </a:lnTo>
                    <a:lnTo>
                      <a:pt x="479" y="126"/>
                    </a:lnTo>
                    <a:lnTo>
                      <a:pt x="479" y="124"/>
                    </a:lnTo>
                    <a:lnTo>
                      <a:pt x="477" y="124"/>
                    </a:lnTo>
                    <a:lnTo>
                      <a:pt x="477" y="120"/>
                    </a:lnTo>
                    <a:lnTo>
                      <a:pt x="471" y="122"/>
                    </a:lnTo>
                    <a:lnTo>
                      <a:pt x="473" y="119"/>
                    </a:lnTo>
                    <a:lnTo>
                      <a:pt x="469" y="119"/>
                    </a:lnTo>
                    <a:lnTo>
                      <a:pt x="469" y="120"/>
                    </a:lnTo>
                    <a:lnTo>
                      <a:pt x="467" y="119"/>
                    </a:lnTo>
                    <a:lnTo>
                      <a:pt x="471" y="115"/>
                    </a:lnTo>
                    <a:lnTo>
                      <a:pt x="467" y="115"/>
                    </a:lnTo>
                    <a:lnTo>
                      <a:pt x="475" y="111"/>
                    </a:lnTo>
                    <a:lnTo>
                      <a:pt x="479" y="107"/>
                    </a:lnTo>
                    <a:lnTo>
                      <a:pt x="481" y="101"/>
                    </a:lnTo>
                    <a:lnTo>
                      <a:pt x="487" y="98"/>
                    </a:lnTo>
                    <a:lnTo>
                      <a:pt x="490" y="99"/>
                    </a:lnTo>
                    <a:lnTo>
                      <a:pt x="483" y="103"/>
                    </a:lnTo>
                    <a:lnTo>
                      <a:pt x="483" y="105"/>
                    </a:lnTo>
                    <a:lnTo>
                      <a:pt x="485" y="105"/>
                    </a:lnTo>
                    <a:lnTo>
                      <a:pt x="485" y="107"/>
                    </a:lnTo>
                    <a:lnTo>
                      <a:pt x="487" y="105"/>
                    </a:lnTo>
                    <a:lnTo>
                      <a:pt x="492" y="103"/>
                    </a:lnTo>
                    <a:lnTo>
                      <a:pt x="498" y="98"/>
                    </a:lnTo>
                    <a:lnTo>
                      <a:pt x="500" y="107"/>
                    </a:lnTo>
                    <a:close/>
                    <a:moveTo>
                      <a:pt x="2565" y="752"/>
                    </a:moveTo>
                    <a:lnTo>
                      <a:pt x="2573" y="752"/>
                    </a:lnTo>
                    <a:lnTo>
                      <a:pt x="2573" y="754"/>
                    </a:lnTo>
                    <a:lnTo>
                      <a:pt x="2575" y="752"/>
                    </a:lnTo>
                    <a:lnTo>
                      <a:pt x="2578" y="756"/>
                    </a:lnTo>
                    <a:lnTo>
                      <a:pt x="2577" y="756"/>
                    </a:lnTo>
                    <a:lnTo>
                      <a:pt x="2578" y="756"/>
                    </a:lnTo>
                    <a:lnTo>
                      <a:pt x="2578" y="758"/>
                    </a:lnTo>
                    <a:lnTo>
                      <a:pt x="2580" y="758"/>
                    </a:lnTo>
                    <a:lnTo>
                      <a:pt x="2580" y="756"/>
                    </a:lnTo>
                    <a:lnTo>
                      <a:pt x="2580" y="758"/>
                    </a:lnTo>
                    <a:lnTo>
                      <a:pt x="2582" y="758"/>
                    </a:lnTo>
                    <a:lnTo>
                      <a:pt x="2580" y="758"/>
                    </a:lnTo>
                    <a:lnTo>
                      <a:pt x="2582" y="758"/>
                    </a:lnTo>
                    <a:lnTo>
                      <a:pt x="2582" y="760"/>
                    </a:lnTo>
                    <a:lnTo>
                      <a:pt x="2582" y="762"/>
                    </a:lnTo>
                    <a:lnTo>
                      <a:pt x="2582" y="760"/>
                    </a:lnTo>
                    <a:lnTo>
                      <a:pt x="2584" y="762"/>
                    </a:lnTo>
                    <a:lnTo>
                      <a:pt x="2586" y="765"/>
                    </a:lnTo>
                    <a:lnTo>
                      <a:pt x="2582" y="758"/>
                    </a:lnTo>
                    <a:lnTo>
                      <a:pt x="2580" y="756"/>
                    </a:lnTo>
                    <a:lnTo>
                      <a:pt x="2584" y="760"/>
                    </a:lnTo>
                    <a:lnTo>
                      <a:pt x="2588" y="765"/>
                    </a:lnTo>
                    <a:lnTo>
                      <a:pt x="2588" y="767"/>
                    </a:lnTo>
                    <a:lnTo>
                      <a:pt x="2590" y="767"/>
                    </a:lnTo>
                    <a:lnTo>
                      <a:pt x="2592" y="769"/>
                    </a:lnTo>
                    <a:lnTo>
                      <a:pt x="2592" y="773"/>
                    </a:lnTo>
                    <a:lnTo>
                      <a:pt x="2590" y="773"/>
                    </a:lnTo>
                    <a:lnTo>
                      <a:pt x="2590" y="775"/>
                    </a:lnTo>
                    <a:lnTo>
                      <a:pt x="2584" y="779"/>
                    </a:lnTo>
                    <a:lnTo>
                      <a:pt x="2580" y="781"/>
                    </a:lnTo>
                    <a:lnTo>
                      <a:pt x="2577" y="783"/>
                    </a:lnTo>
                    <a:lnTo>
                      <a:pt x="2575" y="783"/>
                    </a:lnTo>
                    <a:lnTo>
                      <a:pt x="2578" y="781"/>
                    </a:lnTo>
                    <a:lnTo>
                      <a:pt x="2577" y="781"/>
                    </a:lnTo>
                    <a:lnTo>
                      <a:pt x="2571" y="783"/>
                    </a:lnTo>
                    <a:lnTo>
                      <a:pt x="2561" y="786"/>
                    </a:lnTo>
                    <a:lnTo>
                      <a:pt x="2559" y="786"/>
                    </a:lnTo>
                    <a:lnTo>
                      <a:pt x="2563" y="784"/>
                    </a:lnTo>
                    <a:lnTo>
                      <a:pt x="2559" y="786"/>
                    </a:lnTo>
                    <a:lnTo>
                      <a:pt x="2559" y="784"/>
                    </a:lnTo>
                    <a:lnTo>
                      <a:pt x="2559" y="786"/>
                    </a:lnTo>
                    <a:lnTo>
                      <a:pt x="2561" y="786"/>
                    </a:lnTo>
                    <a:lnTo>
                      <a:pt x="2557" y="786"/>
                    </a:lnTo>
                    <a:lnTo>
                      <a:pt x="2559" y="786"/>
                    </a:lnTo>
                    <a:lnTo>
                      <a:pt x="2557" y="784"/>
                    </a:lnTo>
                    <a:lnTo>
                      <a:pt x="2559" y="784"/>
                    </a:lnTo>
                    <a:lnTo>
                      <a:pt x="2557" y="784"/>
                    </a:lnTo>
                    <a:lnTo>
                      <a:pt x="2556" y="783"/>
                    </a:lnTo>
                    <a:lnTo>
                      <a:pt x="2552" y="783"/>
                    </a:lnTo>
                    <a:lnTo>
                      <a:pt x="2552" y="754"/>
                    </a:lnTo>
                    <a:lnTo>
                      <a:pt x="2554" y="754"/>
                    </a:lnTo>
                    <a:lnTo>
                      <a:pt x="2556" y="752"/>
                    </a:lnTo>
                    <a:lnTo>
                      <a:pt x="2556" y="754"/>
                    </a:lnTo>
                    <a:lnTo>
                      <a:pt x="2557" y="752"/>
                    </a:lnTo>
                    <a:lnTo>
                      <a:pt x="2559" y="752"/>
                    </a:lnTo>
                    <a:lnTo>
                      <a:pt x="2559" y="754"/>
                    </a:lnTo>
                    <a:lnTo>
                      <a:pt x="2561" y="754"/>
                    </a:lnTo>
                    <a:lnTo>
                      <a:pt x="2563" y="754"/>
                    </a:lnTo>
                    <a:lnTo>
                      <a:pt x="2565" y="752"/>
                    </a:lnTo>
                    <a:close/>
                    <a:moveTo>
                      <a:pt x="488" y="868"/>
                    </a:moveTo>
                    <a:lnTo>
                      <a:pt x="487" y="872"/>
                    </a:lnTo>
                    <a:lnTo>
                      <a:pt x="487" y="874"/>
                    </a:lnTo>
                    <a:lnTo>
                      <a:pt x="485" y="872"/>
                    </a:lnTo>
                    <a:lnTo>
                      <a:pt x="487" y="868"/>
                    </a:lnTo>
                    <a:lnTo>
                      <a:pt x="485" y="868"/>
                    </a:lnTo>
                    <a:lnTo>
                      <a:pt x="485" y="870"/>
                    </a:lnTo>
                    <a:lnTo>
                      <a:pt x="483" y="870"/>
                    </a:lnTo>
                    <a:lnTo>
                      <a:pt x="481" y="872"/>
                    </a:lnTo>
                    <a:lnTo>
                      <a:pt x="481" y="874"/>
                    </a:lnTo>
                    <a:lnTo>
                      <a:pt x="483" y="874"/>
                    </a:lnTo>
                    <a:lnTo>
                      <a:pt x="481" y="876"/>
                    </a:lnTo>
                    <a:lnTo>
                      <a:pt x="479" y="880"/>
                    </a:lnTo>
                    <a:lnTo>
                      <a:pt x="471" y="884"/>
                    </a:lnTo>
                    <a:lnTo>
                      <a:pt x="467" y="886"/>
                    </a:lnTo>
                    <a:lnTo>
                      <a:pt x="466" y="886"/>
                    </a:lnTo>
                    <a:lnTo>
                      <a:pt x="462" y="887"/>
                    </a:lnTo>
                    <a:lnTo>
                      <a:pt x="460" y="886"/>
                    </a:lnTo>
                    <a:lnTo>
                      <a:pt x="458" y="886"/>
                    </a:lnTo>
                    <a:lnTo>
                      <a:pt x="456" y="884"/>
                    </a:lnTo>
                    <a:lnTo>
                      <a:pt x="456" y="880"/>
                    </a:lnTo>
                    <a:lnTo>
                      <a:pt x="456" y="870"/>
                    </a:lnTo>
                    <a:lnTo>
                      <a:pt x="456" y="863"/>
                    </a:lnTo>
                    <a:lnTo>
                      <a:pt x="458" y="859"/>
                    </a:lnTo>
                    <a:lnTo>
                      <a:pt x="462" y="853"/>
                    </a:lnTo>
                    <a:lnTo>
                      <a:pt x="466" y="851"/>
                    </a:lnTo>
                    <a:lnTo>
                      <a:pt x="471" y="851"/>
                    </a:lnTo>
                    <a:lnTo>
                      <a:pt x="477" y="855"/>
                    </a:lnTo>
                    <a:lnTo>
                      <a:pt x="487" y="863"/>
                    </a:lnTo>
                    <a:lnTo>
                      <a:pt x="488" y="865"/>
                    </a:lnTo>
                    <a:lnTo>
                      <a:pt x="488" y="868"/>
                    </a:lnTo>
                    <a:close/>
                    <a:moveTo>
                      <a:pt x="584" y="84"/>
                    </a:moveTo>
                    <a:lnTo>
                      <a:pt x="588" y="84"/>
                    </a:lnTo>
                    <a:lnTo>
                      <a:pt x="591" y="84"/>
                    </a:lnTo>
                    <a:lnTo>
                      <a:pt x="595" y="88"/>
                    </a:lnTo>
                    <a:lnTo>
                      <a:pt x="599" y="88"/>
                    </a:lnTo>
                    <a:lnTo>
                      <a:pt x="605" y="90"/>
                    </a:lnTo>
                    <a:lnTo>
                      <a:pt x="605" y="92"/>
                    </a:lnTo>
                    <a:lnTo>
                      <a:pt x="610" y="98"/>
                    </a:lnTo>
                    <a:lnTo>
                      <a:pt x="610" y="96"/>
                    </a:lnTo>
                    <a:lnTo>
                      <a:pt x="614" y="96"/>
                    </a:lnTo>
                    <a:lnTo>
                      <a:pt x="609" y="88"/>
                    </a:lnTo>
                    <a:lnTo>
                      <a:pt x="614" y="84"/>
                    </a:lnTo>
                    <a:lnTo>
                      <a:pt x="616" y="86"/>
                    </a:lnTo>
                    <a:lnTo>
                      <a:pt x="622" y="92"/>
                    </a:lnTo>
                    <a:lnTo>
                      <a:pt x="622" y="98"/>
                    </a:lnTo>
                    <a:lnTo>
                      <a:pt x="620" y="99"/>
                    </a:lnTo>
                    <a:lnTo>
                      <a:pt x="618" y="99"/>
                    </a:lnTo>
                    <a:lnTo>
                      <a:pt x="614" y="98"/>
                    </a:lnTo>
                    <a:lnTo>
                      <a:pt x="612" y="99"/>
                    </a:lnTo>
                    <a:lnTo>
                      <a:pt x="616" y="103"/>
                    </a:lnTo>
                    <a:lnTo>
                      <a:pt x="610" y="107"/>
                    </a:lnTo>
                    <a:lnTo>
                      <a:pt x="610" y="109"/>
                    </a:lnTo>
                    <a:lnTo>
                      <a:pt x="609" y="111"/>
                    </a:lnTo>
                    <a:lnTo>
                      <a:pt x="605" y="111"/>
                    </a:lnTo>
                    <a:lnTo>
                      <a:pt x="607" y="115"/>
                    </a:lnTo>
                    <a:lnTo>
                      <a:pt x="609" y="115"/>
                    </a:lnTo>
                    <a:lnTo>
                      <a:pt x="610" y="113"/>
                    </a:lnTo>
                    <a:lnTo>
                      <a:pt x="614" y="109"/>
                    </a:lnTo>
                    <a:lnTo>
                      <a:pt x="616" y="107"/>
                    </a:lnTo>
                    <a:lnTo>
                      <a:pt x="626" y="105"/>
                    </a:lnTo>
                    <a:lnTo>
                      <a:pt x="628" y="111"/>
                    </a:lnTo>
                    <a:lnTo>
                      <a:pt x="626" y="117"/>
                    </a:lnTo>
                    <a:lnTo>
                      <a:pt x="624" y="117"/>
                    </a:lnTo>
                    <a:lnTo>
                      <a:pt x="618" y="120"/>
                    </a:lnTo>
                    <a:lnTo>
                      <a:pt x="614" y="119"/>
                    </a:lnTo>
                    <a:lnTo>
                      <a:pt x="609" y="117"/>
                    </a:lnTo>
                    <a:lnTo>
                      <a:pt x="605" y="122"/>
                    </a:lnTo>
                    <a:lnTo>
                      <a:pt x="597" y="126"/>
                    </a:lnTo>
                    <a:lnTo>
                      <a:pt x="595" y="126"/>
                    </a:lnTo>
                    <a:lnTo>
                      <a:pt x="593" y="130"/>
                    </a:lnTo>
                    <a:lnTo>
                      <a:pt x="591" y="132"/>
                    </a:lnTo>
                    <a:lnTo>
                      <a:pt x="586" y="134"/>
                    </a:lnTo>
                    <a:lnTo>
                      <a:pt x="584" y="130"/>
                    </a:lnTo>
                    <a:lnTo>
                      <a:pt x="580" y="132"/>
                    </a:lnTo>
                    <a:lnTo>
                      <a:pt x="574" y="132"/>
                    </a:lnTo>
                    <a:lnTo>
                      <a:pt x="572" y="130"/>
                    </a:lnTo>
                    <a:lnTo>
                      <a:pt x="574" y="124"/>
                    </a:lnTo>
                    <a:lnTo>
                      <a:pt x="570" y="124"/>
                    </a:lnTo>
                    <a:lnTo>
                      <a:pt x="570" y="122"/>
                    </a:lnTo>
                    <a:lnTo>
                      <a:pt x="574" y="122"/>
                    </a:lnTo>
                    <a:lnTo>
                      <a:pt x="578" y="119"/>
                    </a:lnTo>
                    <a:lnTo>
                      <a:pt x="588" y="117"/>
                    </a:lnTo>
                    <a:lnTo>
                      <a:pt x="593" y="120"/>
                    </a:lnTo>
                    <a:lnTo>
                      <a:pt x="591" y="119"/>
                    </a:lnTo>
                    <a:lnTo>
                      <a:pt x="590" y="115"/>
                    </a:lnTo>
                    <a:lnTo>
                      <a:pt x="582" y="111"/>
                    </a:lnTo>
                    <a:lnTo>
                      <a:pt x="580" y="113"/>
                    </a:lnTo>
                    <a:lnTo>
                      <a:pt x="578" y="111"/>
                    </a:lnTo>
                    <a:lnTo>
                      <a:pt x="576" y="107"/>
                    </a:lnTo>
                    <a:lnTo>
                      <a:pt x="576" y="105"/>
                    </a:lnTo>
                    <a:lnTo>
                      <a:pt x="570" y="101"/>
                    </a:lnTo>
                    <a:lnTo>
                      <a:pt x="569" y="98"/>
                    </a:lnTo>
                    <a:lnTo>
                      <a:pt x="567" y="99"/>
                    </a:lnTo>
                    <a:lnTo>
                      <a:pt x="563" y="99"/>
                    </a:lnTo>
                    <a:lnTo>
                      <a:pt x="561" y="98"/>
                    </a:lnTo>
                    <a:lnTo>
                      <a:pt x="561" y="96"/>
                    </a:lnTo>
                    <a:lnTo>
                      <a:pt x="561" y="94"/>
                    </a:lnTo>
                    <a:lnTo>
                      <a:pt x="557" y="96"/>
                    </a:lnTo>
                    <a:lnTo>
                      <a:pt x="555" y="92"/>
                    </a:lnTo>
                    <a:lnTo>
                      <a:pt x="559" y="86"/>
                    </a:lnTo>
                    <a:lnTo>
                      <a:pt x="557" y="84"/>
                    </a:lnTo>
                    <a:lnTo>
                      <a:pt x="559" y="82"/>
                    </a:lnTo>
                    <a:lnTo>
                      <a:pt x="567" y="88"/>
                    </a:lnTo>
                    <a:lnTo>
                      <a:pt x="570" y="92"/>
                    </a:lnTo>
                    <a:lnTo>
                      <a:pt x="580" y="90"/>
                    </a:lnTo>
                    <a:lnTo>
                      <a:pt x="584" y="92"/>
                    </a:lnTo>
                    <a:lnTo>
                      <a:pt x="584" y="94"/>
                    </a:lnTo>
                    <a:lnTo>
                      <a:pt x="590" y="98"/>
                    </a:lnTo>
                    <a:lnTo>
                      <a:pt x="593" y="105"/>
                    </a:lnTo>
                    <a:lnTo>
                      <a:pt x="599" y="109"/>
                    </a:lnTo>
                    <a:lnTo>
                      <a:pt x="601" y="103"/>
                    </a:lnTo>
                    <a:lnTo>
                      <a:pt x="595" y="99"/>
                    </a:lnTo>
                    <a:lnTo>
                      <a:pt x="591" y="90"/>
                    </a:lnTo>
                    <a:lnTo>
                      <a:pt x="582" y="84"/>
                    </a:lnTo>
                    <a:lnTo>
                      <a:pt x="582" y="82"/>
                    </a:lnTo>
                    <a:lnTo>
                      <a:pt x="584" y="84"/>
                    </a:lnTo>
                    <a:close/>
                    <a:moveTo>
                      <a:pt x="677" y="111"/>
                    </a:moveTo>
                    <a:lnTo>
                      <a:pt x="677" y="122"/>
                    </a:lnTo>
                    <a:lnTo>
                      <a:pt x="677" y="126"/>
                    </a:lnTo>
                    <a:lnTo>
                      <a:pt x="675" y="130"/>
                    </a:lnTo>
                    <a:lnTo>
                      <a:pt x="675" y="134"/>
                    </a:lnTo>
                    <a:lnTo>
                      <a:pt x="670" y="138"/>
                    </a:lnTo>
                    <a:lnTo>
                      <a:pt x="668" y="141"/>
                    </a:lnTo>
                    <a:lnTo>
                      <a:pt x="670" y="145"/>
                    </a:lnTo>
                    <a:lnTo>
                      <a:pt x="664" y="147"/>
                    </a:lnTo>
                    <a:lnTo>
                      <a:pt x="666" y="147"/>
                    </a:lnTo>
                    <a:lnTo>
                      <a:pt x="664" y="153"/>
                    </a:lnTo>
                    <a:lnTo>
                      <a:pt x="660" y="155"/>
                    </a:lnTo>
                    <a:lnTo>
                      <a:pt x="656" y="155"/>
                    </a:lnTo>
                    <a:lnTo>
                      <a:pt x="652" y="153"/>
                    </a:lnTo>
                    <a:lnTo>
                      <a:pt x="649" y="147"/>
                    </a:lnTo>
                    <a:lnTo>
                      <a:pt x="637" y="153"/>
                    </a:lnTo>
                    <a:lnTo>
                      <a:pt x="635" y="147"/>
                    </a:lnTo>
                    <a:lnTo>
                      <a:pt x="631" y="143"/>
                    </a:lnTo>
                    <a:lnTo>
                      <a:pt x="633" y="140"/>
                    </a:lnTo>
                    <a:lnTo>
                      <a:pt x="633" y="132"/>
                    </a:lnTo>
                    <a:lnTo>
                      <a:pt x="633" y="124"/>
                    </a:lnTo>
                    <a:lnTo>
                      <a:pt x="637" y="119"/>
                    </a:lnTo>
                    <a:lnTo>
                      <a:pt x="637" y="115"/>
                    </a:lnTo>
                    <a:lnTo>
                      <a:pt x="645" y="111"/>
                    </a:lnTo>
                    <a:lnTo>
                      <a:pt x="647" y="111"/>
                    </a:lnTo>
                    <a:lnTo>
                      <a:pt x="643" y="115"/>
                    </a:lnTo>
                    <a:lnTo>
                      <a:pt x="647" y="113"/>
                    </a:lnTo>
                    <a:lnTo>
                      <a:pt x="649" y="115"/>
                    </a:lnTo>
                    <a:lnTo>
                      <a:pt x="652" y="113"/>
                    </a:lnTo>
                    <a:lnTo>
                      <a:pt x="654" y="115"/>
                    </a:lnTo>
                    <a:lnTo>
                      <a:pt x="656" y="113"/>
                    </a:lnTo>
                    <a:lnTo>
                      <a:pt x="662" y="111"/>
                    </a:lnTo>
                    <a:lnTo>
                      <a:pt x="664" y="111"/>
                    </a:lnTo>
                    <a:lnTo>
                      <a:pt x="668" y="109"/>
                    </a:lnTo>
                    <a:lnTo>
                      <a:pt x="668" y="107"/>
                    </a:lnTo>
                    <a:lnTo>
                      <a:pt x="675" y="107"/>
                    </a:lnTo>
                    <a:lnTo>
                      <a:pt x="677" y="111"/>
                    </a:lnTo>
                    <a:close/>
                    <a:moveTo>
                      <a:pt x="719" y="75"/>
                    </a:moveTo>
                    <a:lnTo>
                      <a:pt x="723" y="75"/>
                    </a:lnTo>
                    <a:lnTo>
                      <a:pt x="727" y="80"/>
                    </a:lnTo>
                    <a:lnTo>
                      <a:pt x="729" y="88"/>
                    </a:lnTo>
                    <a:lnTo>
                      <a:pt x="729" y="92"/>
                    </a:lnTo>
                    <a:lnTo>
                      <a:pt x="725" y="96"/>
                    </a:lnTo>
                    <a:lnTo>
                      <a:pt x="727" y="96"/>
                    </a:lnTo>
                    <a:lnTo>
                      <a:pt x="729" y="101"/>
                    </a:lnTo>
                    <a:lnTo>
                      <a:pt x="725" y="109"/>
                    </a:lnTo>
                    <a:lnTo>
                      <a:pt x="721" y="117"/>
                    </a:lnTo>
                    <a:lnTo>
                      <a:pt x="713" y="122"/>
                    </a:lnTo>
                    <a:lnTo>
                      <a:pt x="702" y="126"/>
                    </a:lnTo>
                    <a:lnTo>
                      <a:pt x="702" y="124"/>
                    </a:lnTo>
                    <a:lnTo>
                      <a:pt x="692" y="128"/>
                    </a:lnTo>
                    <a:lnTo>
                      <a:pt x="691" y="128"/>
                    </a:lnTo>
                    <a:lnTo>
                      <a:pt x="691" y="126"/>
                    </a:lnTo>
                    <a:lnTo>
                      <a:pt x="687" y="119"/>
                    </a:lnTo>
                    <a:lnTo>
                      <a:pt x="683" y="115"/>
                    </a:lnTo>
                    <a:lnTo>
                      <a:pt x="683" y="113"/>
                    </a:lnTo>
                    <a:lnTo>
                      <a:pt x="696" y="98"/>
                    </a:lnTo>
                    <a:lnTo>
                      <a:pt x="708" y="98"/>
                    </a:lnTo>
                    <a:lnTo>
                      <a:pt x="710" y="92"/>
                    </a:lnTo>
                    <a:lnTo>
                      <a:pt x="708" y="86"/>
                    </a:lnTo>
                    <a:lnTo>
                      <a:pt x="710" y="78"/>
                    </a:lnTo>
                    <a:lnTo>
                      <a:pt x="715" y="73"/>
                    </a:lnTo>
                    <a:lnTo>
                      <a:pt x="719" y="75"/>
                    </a:lnTo>
                    <a:close/>
                    <a:moveTo>
                      <a:pt x="628" y="805"/>
                    </a:moveTo>
                    <a:lnTo>
                      <a:pt x="628" y="807"/>
                    </a:lnTo>
                    <a:lnTo>
                      <a:pt x="630" y="809"/>
                    </a:lnTo>
                    <a:lnTo>
                      <a:pt x="633" y="811"/>
                    </a:lnTo>
                    <a:lnTo>
                      <a:pt x="637" y="819"/>
                    </a:lnTo>
                    <a:lnTo>
                      <a:pt x="639" y="821"/>
                    </a:lnTo>
                    <a:lnTo>
                      <a:pt x="641" y="823"/>
                    </a:lnTo>
                    <a:lnTo>
                      <a:pt x="643" y="824"/>
                    </a:lnTo>
                    <a:lnTo>
                      <a:pt x="645" y="826"/>
                    </a:lnTo>
                    <a:lnTo>
                      <a:pt x="649" y="830"/>
                    </a:lnTo>
                    <a:lnTo>
                      <a:pt x="651" y="832"/>
                    </a:lnTo>
                    <a:lnTo>
                      <a:pt x="652" y="838"/>
                    </a:lnTo>
                    <a:lnTo>
                      <a:pt x="651" y="840"/>
                    </a:lnTo>
                    <a:lnTo>
                      <a:pt x="651" y="842"/>
                    </a:lnTo>
                    <a:lnTo>
                      <a:pt x="649" y="840"/>
                    </a:lnTo>
                    <a:lnTo>
                      <a:pt x="649" y="842"/>
                    </a:lnTo>
                    <a:lnTo>
                      <a:pt x="647" y="844"/>
                    </a:lnTo>
                    <a:lnTo>
                      <a:pt x="647" y="842"/>
                    </a:lnTo>
                    <a:lnTo>
                      <a:pt x="647" y="844"/>
                    </a:lnTo>
                    <a:lnTo>
                      <a:pt x="645" y="842"/>
                    </a:lnTo>
                    <a:lnTo>
                      <a:pt x="647" y="844"/>
                    </a:lnTo>
                    <a:lnTo>
                      <a:pt x="643" y="842"/>
                    </a:lnTo>
                    <a:lnTo>
                      <a:pt x="643" y="844"/>
                    </a:lnTo>
                    <a:lnTo>
                      <a:pt x="643" y="842"/>
                    </a:lnTo>
                    <a:lnTo>
                      <a:pt x="643" y="844"/>
                    </a:lnTo>
                    <a:lnTo>
                      <a:pt x="641" y="844"/>
                    </a:lnTo>
                    <a:lnTo>
                      <a:pt x="641" y="842"/>
                    </a:lnTo>
                    <a:lnTo>
                      <a:pt x="639" y="844"/>
                    </a:lnTo>
                    <a:lnTo>
                      <a:pt x="635" y="842"/>
                    </a:lnTo>
                    <a:lnTo>
                      <a:pt x="637" y="840"/>
                    </a:lnTo>
                    <a:lnTo>
                      <a:pt x="635" y="840"/>
                    </a:lnTo>
                    <a:lnTo>
                      <a:pt x="635" y="838"/>
                    </a:lnTo>
                    <a:lnTo>
                      <a:pt x="637" y="838"/>
                    </a:lnTo>
                    <a:lnTo>
                      <a:pt x="639" y="838"/>
                    </a:lnTo>
                    <a:lnTo>
                      <a:pt x="635" y="834"/>
                    </a:lnTo>
                    <a:lnTo>
                      <a:pt x="633" y="834"/>
                    </a:lnTo>
                    <a:lnTo>
                      <a:pt x="631" y="832"/>
                    </a:lnTo>
                    <a:lnTo>
                      <a:pt x="631" y="834"/>
                    </a:lnTo>
                    <a:lnTo>
                      <a:pt x="630" y="832"/>
                    </a:lnTo>
                    <a:lnTo>
                      <a:pt x="626" y="830"/>
                    </a:lnTo>
                    <a:lnTo>
                      <a:pt x="628" y="832"/>
                    </a:lnTo>
                    <a:lnTo>
                      <a:pt x="630" y="834"/>
                    </a:lnTo>
                    <a:lnTo>
                      <a:pt x="628" y="834"/>
                    </a:lnTo>
                    <a:lnTo>
                      <a:pt x="626" y="832"/>
                    </a:lnTo>
                    <a:lnTo>
                      <a:pt x="624" y="830"/>
                    </a:lnTo>
                    <a:lnTo>
                      <a:pt x="620" y="824"/>
                    </a:lnTo>
                    <a:lnTo>
                      <a:pt x="622" y="823"/>
                    </a:lnTo>
                    <a:lnTo>
                      <a:pt x="620" y="823"/>
                    </a:lnTo>
                    <a:lnTo>
                      <a:pt x="622" y="823"/>
                    </a:lnTo>
                    <a:lnTo>
                      <a:pt x="620" y="821"/>
                    </a:lnTo>
                    <a:lnTo>
                      <a:pt x="620" y="819"/>
                    </a:lnTo>
                    <a:lnTo>
                      <a:pt x="620" y="821"/>
                    </a:lnTo>
                    <a:lnTo>
                      <a:pt x="618" y="819"/>
                    </a:lnTo>
                    <a:lnTo>
                      <a:pt x="620" y="819"/>
                    </a:lnTo>
                    <a:lnTo>
                      <a:pt x="618" y="817"/>
                    </a:lnTo>
                    <a:lnTo>
                      <a:pt x="618" y="819"/>
                    </a:lnTo>
                    <a:lnTo>
                      <a:pt x="618" y="817"/>
                    </a:lnTo>
                    <a:lnTo>
                      <a:pt x="620" y="817"/>
                    </a:lnTo>
                    <a:lnTo>
                      <a:pt x="624" y="819"/>
                    </a:lnTo>
                    <a:lnTo>
                      <a:pt x="624" y="817"/>
                    </a:lnTo>
                    <a:lnTo>
                      <a:pt x="620" y="813"/>
                    </a:lnTo>
                    <a:lnTo>
                      <a:pt x="622" y="813"/>
                    </a:lnTo>
                    <a:lnTo>
                      <a:pt x="624" y="811"/>
                    </a:lnTo>
                    <a:lnTo>
                      <a:pt x="624" y="807"/>
                    </a:lnTo>
                    <a:lnTo>
                      <a:pt x="626" y="807"/>
                    </a:lnTo>
                    <a:lnTo>
                      <a:pt x="628" y="805"/>
                    </a:lnTo>
                    <a:close/>
                    <a:moveTo>
                      <a:pt x="1150" y="183"/>
                    </a:moveTo>
                    <a:lnTo>
                      <a:pt x="1152" y="185"/>
                    </a:lnTo>
                    <a:lnTo>
                      <a:pt x="1160" y="185"/>
                    </a:lnTo>
                    <a:lnTo>
                      <a:pt x="1162" y="187"/>
                    </a:lnTo>
                    <a:lnTo>
                      <a:pt x="1167" y="187"/>
                    </a:lnTo>
                    <a:lnTo>
                      <a:pt x="1171" y="189"/>
                    </a:lnTo>
                    <a:lnTo>
                      <a:pt x="1173" y="189"/>
                    </a:lnTo>
                    <a:lnTo>
                      <a:pt x="1183" y="197"/>
                    </a:lnTo>
                    <a:lnTo>
                      <a:pt x="1179" y="202"/>
                    </a:lnTo>
                    <a:lnTo>
                      <a:pt x="1179" y="204"/>
                    </a:lnTo>
                    <a:lnTo>
                      <a:pt x="1173" y="210"/>
                    </a:lnTo>
                    <a:lnTo>
                      <a:pt x="1169" y="216"/>
                    </a:lnTo>
                    <a:lnTo>
                      <a:pt x="1160" y="218"/>
                    </a:lnTo>
                    <a:lnTo>
                      <a:pt x="1154" y="218"/>
                    </a:lnTo>
                    <a:lnTo>
                      <a:pt x="1150" y="220"/>
                    </a:lnTo>
                    <a:lnTo>
                      <a:pt x="1148" y="220"/>
                    </a:lnTo>
                    <a:lnTo>
                      <a:pt x="1148" y="222"/>
                    </a:lnTo>
                    <a:lnTo>
                      <a:pt x="1141" y="216"/>
                    </a:lnTo>
                    <a:lnTo>
                      <a:pt x="1141" y="212"/>
                    </a:lnTo>
                    <a:lnTo>
                      <a:pt x="1150" y="212"/>
                    </a:lnTo>
                    <a:lnTo>
                      <a:pt x="1148" y="214"/>
                    </a:lnTo>
                    <a:lnTo>
                      <a:pt x="1152" y="216"/>
                    </a:lnTo>
                    <a:lnTo>
                      <a:pt x="1154" y="212"/>
                    </a:lnTo>
                    <a:lnTo>
                      <a:pt x="1158" y="212"/>
                    </a:lnTo>
                    <a:lnTo>
                      <a:pt x="1158" y="210"/>
                    </a:lnTo>
                    <a:lnTo>
                      <a:pt x="1154" y="206"/>
                    </a:lnTo>
                    <a:lnTo>
                      <a:pt x="1152" y="204"/>
                    </a:lnTo>
                    <a:lnTo>
                      <a:pt x="1150" y="206"/>
                    </a:lnTo>
                    <a:lnTo>
                      <a:pt x="1141" y="204"/>
                    </a:lnTo>
                    <a:lnTo>
                      <a:pt x="1139" y="201"/>
                    </a:lnTo>
                    <a:lnTo>
                      <a:pt x="1143" y="197"/>
                    </a:lnTo>
                    <a:lnTo>
                      <a:pt x="1139" y="193"/>
                    </a:lnTo>
                    <a:lnTo>
                      <a:pt x="1141" y="191"/>
                    </a:lnTo>
                    <a:lnTo>
                      <a:pt x="1143" y="189"/>
                    </a:lnTo>
                    <a:lnTo>
                      <a:pt x="1141" y="189"/>
                    </a:lnTo>
                    <a:lnTo>
                      <a:pt x="1139" y="185"/>
                    </a:lnTo>
                    <a:lnTo>
                      <a:pt x="1135" y="183"/>
                    </a:lnTo>
                    <a:lnTo>
                      <a:pt x="1150" y="183"/>
                    </a:lnTo>
                    <a:close/>
                    <a:moveTo>
                      <a:pt x="2552" y="754"/>
                    </a:moveTo>
                    <a:lnTo>
                      <a:pt x="2552" y="783"/>
                    </a:lnTo>
                    <a:lnTo>
                      <a:pt x="2550" y="783"/>
                    </a:lnTo>
                    <a:lnTo>
                      <a:pt x="2546" y="786"/>
                    </a:lnTo>
                    <a:lnTo>
                      <a:pt x="2544" y="788"/>
                    </a:lnTo>
                    <a:lnTo>
                      <a:pt x="2542" y="788"/>
                    </a:lnTo>
                    <a:lnTo>
                      <a:pt x="2540" y="786"/>
                    </a:lnTo>
                    <a:lnTo>
                      <a:pt x="2538" y="786"/>
                    </a:lnTo>
                    <a:lnTo>
                      <a:pt x="2531" y="792"/>
                    </a:lnTo>
                    <a:lnTo>
                      <a:pt x="2531" y="790"/>
                    </a:lnTo>
                    <a:lnTo>
                      <a:pt x="2529" y="781"/>
                    </a:lnTo>
                    <a:lnTo>
                      <a:pt x="2529" y="777"/>
                    </a:lnTo>
                    <a:lnTo>
                      <a:pt x="2533" y="773"/>
                    </a:lnTo>
                    <a:lnTo>
                      <a:pt x="2533" y="769"/>
                    </a:lnTo>
                    <a:lnTo>
                      <a:pt x="2538" y="767"/>
                    </a:lnTo>
                    <a:lnTo>
                      <a:pt x="2542" y="760"/>
                    </a:lnTo>
                    <a:lnTo>
                      <a:pt x="2546" y="758"/>
                    </a:lnTo>
                    <a:lnTo>
                      <a:pt x="2546" y="760"/>
                    </a:lnTo>
                    <a:lnTo>
                      <a:pt x="2546" y="758"/>
                    </a:lnTo>
                    <a:lnTo>
                      <a:pt x="2548" y="758"/>
                    </a:lnTo>
                    <a:lnTo>
                      <a:pt x="2550" y="756"/>
                    </a:lnTo>
                    <a:lnTo>
                      <a:pt x="2550" y="754"/>
                    </a:lnTo>
                    <a:lnTo>
                      <a:pt x="2552" y="754"/>
                    </a:lnTo>
                    <a:close/>
                    <a:moveTo>
                      <a:pt x="1478" y="590"/>
                    </a:moveTo>
                    <a:lnTo>
                      <a:pt x="1488" y="592"/>
                    </a:lnTo>
                    <a:lnTo>
                      <a:pt x="1491" y="594"/>
                    </a:lnTo>
                    <a:lnTo>
                      <a:pt x="1493" y="596"/>
                    </a:lnTo>
                    <a:lnTo>
                      <a:pt x="1493" y="601"/>
                    </a:lnTo>
                    <a:lnTo>
                      <a:pt x="1491" y="603"/>
                    </a:lnTo>
                    <a:lnTo>
                      <a:pt x="1491" y="601"/>
                    </a:lnTo>
                    <a:lnTo>
                      <a:pt x="1488" y="611"/>
                    </a:lnTo>
                    <a:lnTo>
                      <a:pt x="1486" y="611"/>
                    </a:lnTo>
                    <a:lnTo>
                      <a:pt x="1482" y="617"/>
                    </a:lnTo>
                    <a:lnTo>
                      <a:pt x="1472" y="613"/>
                    </a:lnTo>
                    <a:lnTo>
                      <a:pt x="1469" y="609"/>
                    </a:lnTo>
                    <a:lnTo>
                      <a:pt x="1465" y="607"/>
                    </a:lnTo>
                    <a:lnTo>
                      <a:pt x="1461" y="605"/>
                    </a:lnTo>
                    <a:lnTo>
                      <a:pt x="1463" y="601"/>
                    </a:lnTo>
                    <a:lnTo>
                      <a:pt x="1463" y="599"/>
                    </a:lnTo>
                    <a:lnTo>
                      <a:pt x="1465" y="599"/>
                    </a:lnTo>
                    <a:lnTo>
                      <a:pt x="1469" y="601"/>
                    </a:lnTo>
                    <a:lnTo>
                      <a:pt x="1470" y="599"/>
                    </a:lnTo>
                    <a:lnTo>
                      <a:pt x="1470" y="596"/>
                    </a:lnTo>
                    <a:lnTo>
                      <a:pt x="1469" y="594"/>
                    </a:lnTo>
                    <a:lnTo>
                      <a:pt x="1470" y="590"/>
                    </a:lnTo>
                    <a:lnTo>
                      <a:pt x="1478" y="590"/>
                    </a:lnTo>
                    <a:close/>
                    <a:moveTo>
                      <a:pt x="824" y="658"/>
                    </a:moveTo>
                    <a:lnTo>
                      <a:pt x="826" y="662"/>
                    </a:lnTo>
                    <a:lnTo>
                      <a:pt x="828" y="668"/>
                    </a:lnTo>
                    <a:lnTo>
                      <a:pt x="824" y="668"/>
                    </a:lnTo>
                    <a:lnTo>
                      <a:pt x="820" y="670"/>
                    </a:lnTo>
                    <a:lnTo>
                      <a:pt x="818" y="672"/>
                    </a:lnTo>
                    <a:lnTo>
                      <a:pt x="816" y="672"/>
                    </a:lnTo>
                    <a:lnTo>
                      <a:pt x="809" y="676"/>
                    </a:lnTo>
                    <a:lnTo>
                      <a:pt x="805" y="676"/>
                    </a:lnTo>
                    <a:lnTo>
                      <a:pt x="805" y="674"/>
                    </a:lnTo>
                    <a:lnTo>
                      <a:pt x="803" y="674"/>
                    </a:lnTo>
                    <a:lnTo>
                      <a:pt x="801" y="674"/>
                    </a:lnTo>
                    <a:lnTo>
                      <a:pt x="801" y="676"/>
                    </a:lnTo>
                    <a:lnTo>
                      <a:pt x="803" y="678"/>
                    </a:lnTo>
                    <a:lnTo>
                      <a:pt x="801" y="678"/>
                    </a:lnTo>
                    <a:lnTo>
                      <a:pt x="801" y="674"/>
                    </a:lnTo>
                    <a:lnTo>
                      <a:pt x="803" y="662"/>
                    </a:lnTo>
                    <a:lnTo>
                      <a:pt x="801" y="657"/>
                    </a:lnTo>
                    <a:lnTo>
                      <a:pt x="807" y="653"/>
                    </a:lnTo>
                    <a:lnTo>
                      <a:pt x="816" y="651"/>
                    </a:lnTo>
                    <a:lnTo>
                      <a:pt x="822" y="655"/>
                    </a:lnTo>
                    <a:lnTo>
                      <a:pt x="824" y="657"/>
                    </a:lnTo>
                    <a:lnTo>
                      <a:pt x="824" y="658"/>
                    </a:lnTo>
                    <a:close/>
                    <a:moveTo>
                      <a:pt x="446" y="109"/>
                    </a:moveTo>
                    <a:lnTo>
                      <a:pt x="450" y="113"/>
                    </a:lnTo>
                    <a:lnTo>
                      <a:pt x="456" y="111"/>
                    </a:lnTo>
                    <a:lnTo>
                      <a:pt x="460" y="113"/>
                    </a:lnTo>
                    <a:lnTo>
                      <a:pt x="462" y="119"/>
                    </a:lnTo>
                    <a:lnTo>
                      <a:pt x="460" y="120"/>
                    </a:lnTo>
                    <a:lnTo>
                      <a:pt x="462" y="120"/>
                    </a:lnTo>
                    <a:lnTo>
                      <a:pt x="462" y="124"/>
                    </a:lnTo>
                    <a:lnTo>
                      <a:pt x="464" y="128"/>
                    </a:lnTo>
                    <a:lnTo>
                      <a:pt x="464" y="130"/>
                    </a:lnTo>
                    <a:lnTo>
                      <a:pt x="460" y="130"/>
                    </a:lnTo>
                    <a:lnTo>
                      <a:pt x="458" y="128"/>
                    </a:lnTo>
                    <a:lnTo>
                      <a:pt x="454" y="128"/>
                    </a:lnTo>
                    <a:lnTo>
                      <a:pt x="452" y="122"/>
                    </a:lnTo>
                    <a:lnTo>
                      <a:pt x="450" y="120"/>
                    </a:lnTo>
                    <a:lnTo>
                      <a:pt x="450" y="117"/>
                    </a:lnTo>
                    <a:lnTo>
                      <a:pt x="446" y="117"/>
                    </a:lnTo>
                    <a:lnTo>
                      <a:pt x="445" y="119"/>
                    </a:lnTo>
                    <a:lnTo>
                      <a:pt x="446" y="120"/>
                    </a:lnTo>
                    <a:lnTo>
                      <a:pt x="443" y="120"/>
                    </a:lnTo>
                    <a:lnTo>
                      <a:pt x="445" y="124"/>
                    </a:lnTo>
                    <a:lnTo>
                      <a:pt x="441" y="124"/>
                    </a:lnTo>
                    <a:lnTo>
                      <a:pt x="443" y="134"/>
                    </a:lnTo>
                    <a:lnTo>
                      <a:pt x="437" y="132"/>
                    </a:lnTo>
                    <a:lnTo>
                      <a:pt x="435" y="136"/>
                    </a:lnTo>
                    <a:lnTo>
                      <a:pt x="433" y="140"/>
                    </a:lnTo>
                    <a:lnTo>
                      <a:pt x="429" y="138"/>
                    </a:lnTo>
                    <a:lnTo>
                      <a:pt x="429" y="140"/>
                    </a:lnTo>
                    <a:lnTo>
                      <a:pt x="429" y="143"/>
                    </a:lnTo>
                    <a:lnTo>
                      <a:pt x="426" y="143"/>
                    </a:lnTo>
                    <a:lnTo>
                      <a:pt x="426" y="147"/>
                    </a:lnTo>
                    <a:lnTo>
                      <a:pt x="424" y="147"/>
                    </a:lnTo>
                    <a:lnTo>
                      <a:pt x="420" y="147"/>
                    </a:lnTo>
                    <a:lnTo>
                      <a:pt x="422" y="138"/>
                    </a:lnTo>
                    <a:lnTo>
                      <a:pt x="418" y="140"/>
                    </a:lnTo>
                    <a:lnTo>
                      <a:pt x="416" y="138"/>
                    </a:lnTo>
                    <a:lnTo>
                      <a:pt x="412" y="141"/>
                    </a:lnTo>
                    <a:lnTo>
                      <a:pt x="410" y="138"/>
                    </a:lnTo>
                    <a:lnTo>
                      <a:pt x="403" y="134"/>
                    </a:lnTo>
                    <a:lnTo>
                      <a:pt x="403" y="132"/>
                    </a:lnTo>
                    <a:lnTo>
                      <a:pt x="408" y="130"/>
                    </a:lnTo>
                    <a:lnTo>
                      <a:pt x="414" y="128"/>
                    </a:lnTo>
                    <a:lnTo>
                      <a:pt x="422" y="126"/>
                    </a:lnTo>
                    <a:lnTo>
                      <a:pt x="426" y="124"/>
                    </a:lnTo>
                    <a:lnTo>
                      <a:pt x="427" y="120"/>
                    </a:lnTo>
                    <a:lnTo>
                      <a:pt x="435" y="119"/>
                    </a:lnTo>
                    <a:lnTo>
                      <a:pt x="437" y="115"/>
                    </a:lnTo>
                    <a:lnTo>
                      <a:pt x="439" y="115"/>
                    </a:lnTo>
                    <a:lnTo>
                      <a:pt x="439" y="109"/>
                    </a:lnTo>
                    <a:lnTo>
                      <a:pt x="441" y="109"/>
                    </a:lnTo>
                    <a:lnTo>
                      <a:pt x="443" y="107"/>
                    </a:lnTo>
                    <a:lnTo>
                      <a:pt x="446" y="109"/>
                    </a:lnTo>
                    <a:close/>
                    <a:moveTo>
                      <a:pt x="2367" y="828"/>
                    </a:moveTo>
                    <a:lnTo>
                      <a:pt x="2365" y="828"/>
                    </a:lnTo>
                    <a:lnTo>
                      <a:pt x="2367" y="828"/>
                    </a:lnTo>
                    <a:lnTo>
                      <a:pt x="2369" y="830"/>
                    </a:lnTo>
                    <a:lnTo>
                      <a:pt x="2371" y="828"/>
                    </a:lnTo>
                    <a:lnTo>
                      <a:pt x="2371" y="830"/>
                    </a:lnTo>
                    <a:lnTo>
                      <a:pt x="2372" y="830"/>
                    </a:lnTo>
                    <a:lnTo>
                      <a:pt x="2372" y="832"/>
                    </a:lnTo>
                    <a:lnTo>
                      <a:pt x="2372" y="830"/>
                    </a:lnTo>
                    <a:lnTo>
                      <a:pt x="2374" y="832"/>
                    </a:lnTo>
                    <a:lnTo>
                      <a:pt x="2376" y="832"/>
                    </a:lnTo>
                    <a:lnTo>
                      <a:pt x="2380" y="832"/>
                    </a:lnTo>
                    <a:lnTo>
                      <a:pt x="2382" y="834"/>
                    </a:lnTo>
                    <a:lnTo>
                      <a:pt x="2384" y="838"/>
                    </a:lnTo>
                    <a:lnTo>
                      <a:pt x="2382" y="840"/>
                    </a:lnTo>
                    <a:lnTo>
                      <a:pt x="2380" y="840"/>
                    </a:lnTo>
                    <a:lnTo>
                      <a:pt x="2382" y="842"/>
                    </a:lnTo>
                    <a:lnTo>
                      <a:pt x="2380" y="842"/>
                    </a:lnTo>
                    <a:lnTo>
                      <a:pt x="2382" y="844"/>
                    </a:lnTo>
                    <a:lnTo>
                      <a:pt x="2380" y="849"/>
                    </a:lnTo>
                    <a:lnTo>
                      <a:pt x="2374" y="849"/>
                    </a:lnTo>
                    <a:lnTo>
                      <a:pt x="2367" y="845"/>
                    </a:lnTo>
                    <a:lnTo>
                      <a:pt x="2363" y="842"/>
                    </a:lnTo>
                    <a:lnTo>
                      <a:pt x="2363" y="840"/>
                    </a:lnTo>
                    <a:lnTo>
                      <a:pt x="2357" y="838"/>
                    </a:lnTo>
                    <a:lnTo>
                      <a:pt x="2357" y="836"/>
                    </a:lnTo>
                    <a:lnTo>
                      <a:pt x="2359" y="832"/>
                    </a:lnTo>
                    <a:lnTo>
                      <a:pt x="2361" y="830"/>
                    </a:lnTo>
                    <a:lnTo>
                      <a:pt x="2363" y="830"/>
                    </a:lnTo>
                    <a:lnTo>
                      <a:pt x="2363" y="828"/>
                    </a:lnTo>
                    <a:lnTo>
                      <a:pt x="2365" y="828"/>
                    </a:lnTo>
                    <a:lnTo>
                      <a:pt x="2367" y="828"/>
                    </a:lnTo>
                    <a:close/>
                    <a:moveTo>
                      <a:pt x="612" y="145"/>
                    </a:moveTo>
                    <a:lnTo>
                      <a:pt x="626" y="151"/>
                    </a:lnTo>
                    <a:lnTo>
                      <a:pt x="631" y="159"/>
                    </a:lnTo>
                    <a:lnTo>
                      <a:pt x="631" y="160"/>
                    </a:lnTo>
                    <a:lnTo>
                      <a:pt x="626" y="160"/>
                    </a:lnTo>
                    <a:lnTo>
                      <a:pt x="622" y="159"/>
                    </a:lnTo>
                    <a:lnTo>
                      <a:pt x="620" y="160"/>
                    </a:lnTo>
                    <a:lnTo>
                      <a:pt x="618" y="160"/>
                    </a:lnTo>
                    <a:lnTo>
                      <a:pt x="614" y="164"/>
                    </a:lnTo>
                    <a:lnTo>
                      <a:pt x="612" y="168"/>
                    </a:lnTo>
                    <a:lnTo>
                      <a:pt x="616" y="168"/>
                    </a:lnTo>
                    <a:lnTo>
                      <a:pt x="618" y="170"/>
                    </a:lnTo>
                    <a:lnTo>
                      <a:pt x="618" y="176"/>
                    </a:lnTo>
                    <a:lnTo>
                      <a:pt x="610" y="174"/>
                    </a:lnTo>
                    <a:lnTo>
                      <a:pt x="612" y="181"/>
                    </a:lnTo>
                    <a:lnTo>
                      <a:pt x="609" y="181"/>
                    </a:lnTo>
                    <a:lnTo>
                      <a:pt x="601" y="176"/>
                    </a:lnTo>
                    <a:lnTo>
                      <a:pt x="599" y="157"/>
                    </a:lnTo>
                    <a:lnTo>
                      <a:pt x="595" y="147"/>
                    </a:lnTo>
                    <a:lnTo>
                      <a:pt x="612" y="145"/>
                    </a:lnTo>
                    <a:close/>
                    <a:moveTo>
                      <a:pt x="2054" y="1595"/>
                    </a:moveTo>
                    <a:lnTo>
                      <a:pt x="2056" y="1595"/>
                    </a:lnTo>
                    <a:lnTo>
                      <a:pt x="2056" y="1597"/>
                    </a:lnTo>
                    <a:lnTo>
                      <a:pt x="2056" y="1599"/>
                    </a:lnTo>
                    <a:lnTo>
                      <a:pt x="2054" y="1599"/>
                    </a:lnTo>
                    <a:lnTo>
                      <a:pt x="2052" y="1599"/>
                    </a:lnTo>
                    <a:lnTo>
                      <a:pt x="2050" y="1601"/>
                    </a:lnTo>
                    <a:lnTo>
                      <a:pt x="2046" y="1603"/>
                    </a:lnTo>
                    <a:lnTo>
                      <a:pt x="2044" y="1605"/>
                    </a:lnTo>
                    <a:lnTo>
                      <a:pt x="2043" y="1607"/>
                    </a:lnTo>
                    <a:lnTo>
                      <a:pt x="2041" y="1609"/>
                    </a:lnTo>
                    <a:lnTo>
                      <a:pt x="2041" y="1607"/>
                    </a:lnTo>
                    <a:lnTo>
                      <a:pt x="2039" y="1609"/>
                    </a:lnTo>
                    <a:lnTo>
                      <a:pt x="2039" y="1607"/>
                    </a:lnTo>
                    <a:lnTo>
                      <a:pt x="2037" y="1607"/>
                    </a:lnTo>
                    <a:lnTo>
                      <a:pt x="2037" y="1609"/>
                    </a:lnTo>
                    <a:lnTo>
                      <a:pt x="2035" y="1611"/>
                    </a:lnTo>
                    <a:lnTo>
                      <a:pt x="2035" y="1613"/>
                    </a:lnTo>
                    <a:lnTo>
                      <a:pt x="2033" y="1613"/>
                    </a:lnTo>
                    <a:lnTo>
                      <a:pt x="2031" y="1613"/>
                    </a:lnTo>
                    <a:lnTo>
                      <a:pt x="2029" y="1616"/>
                    </a:lnTo>
                    <a:lnTo>
                      <a:pt x="2027" y="1616"/>
                    </a:lnTo>
                    <a:lnTo>
                      <a:pt x="2027" y="1618"/>
                    </a:lnTo>
                    <a:lnTo>
                      <a:pt x="2025" y="1618"/>
                    </a:lnTo>
                    <a:lnTo>
                      <a:pt x="2025" y="1620"/>
                    </a:lnTo>
                    <a:lnTo>
                      <a:pt x="2023" y="1620"/>
                    </a:lnTo>
                    <a:lnTo>
                      <a:pt x="2023" y="1618"/>
                    </a:lnTo>
                    <a:lnTo>
                      <a:pt x="2025" y="1618"/>
                    </a:lnTo>
                    <a:lnTo>
                      <a:pt x="2025" y="1616"/>
                    </a:lnTo>
                    <a:lnTo>
                      <a:pt x="2025" y="1614"/>
                    </a:lnTo>
                    <a:lnTo>
                      <a:pt x="2025" y="1616"/>
                    </a:lnTo>
                    <a:lnTo>
                      <a:pt x="2027" y="1616"/>
                    </a:lnTo>
                    <a:lnTo>
                      <a:pt x="2027" y="1614"/>
                    </a:lnTo>
                    <a:lnTo>
                      <a:pt x="2029" y="1614"/>
                    </a:lnTo>
                    <a:lnTo>
                      <a:pt x="2029" y="1613"/>
                    </a:lnTo>
                    <a:lnTo>
                      <a:pt x="2027" y="1613"/>
                    </a:lnTo>
                    <a:lnTo>
                      <a:pt x="2027" y="1611"/>
                    </a:lnTo>
                    <a:lnTo>
                      <a:pt x="2029" y="1611"/>
                    </a:lnTo>
                    <a:lnTo>
                      <a:pt x="2031" y="1611"/>
                    </a:lnTo>
                    <a:lnTo>
                      <a:pt x="2033" y="1609"/>
                    </a:lnTo>
                    <a:lnTo>
                      <a:pt x="2035" y="1607"/>
                    </a:lnTo>
                    <a:lnTo>
                      <a:pt x="2035" y="1605"/>
                    </a:lnTo>
                    <a:lnTo>
                      <a:pt x="2037" y="1605"/>
                    </a:lnTo>
                    <a:lnTo>
                      <a:pt x="2037" y="1603"/>
                    </a:lnTo>
                    <a:lnTo>
                      <a:pt x="2039" y="1603"/>
                    </a:lnTo>
                    <a:lnTo>
                      <a:pt x="2041" y="1603"/>
                    </a:lnTo>
                    <a:lnTo>
                      <a:pt x="2041" y="1601"/>
                    </a:lnTo>
                    <a:lnTo>
                      <a:pt x="2041" y="1599"/>
                    </a:lnTo>
                    <a:lnTo>
                      <a:pt x="2041" y="1597"/>
                    </a:lnTo>
                    <a:lnTo>
                      <a:pt x="2043" y="1597"/>
                    </a:lnTo>
                    <a:lnTo>
                      <a:pt x="2043" y="1599"/>
                    </a:lnTo>
                    <a:lnTo>
                      <a:pt x="2043" y="1601"/>
                    </a:lnTo>
                    <a:lnTo>
                      <a:pt x="2044" y="1601"/>
                    </a:lnTo>
                    <a:lnTo>
                      <a:pt x="2046" y="1601"/>
                    </a:lnTo>
                    <a:lnTo>
                      <a:pt x="2048" y="1599"/>
                    </a:lnTo>
                    <a:lnTo>
                      <a:pt x="2050" y="1599"/>
                    </a:lnTo>
                    <a:lnTo>
                      <a:pt x="2050" y="1597"/>
                    </a:lnTo>
                    <a:lnTo>
                      <a:pt x="2052" y="1595"/>
                    </a:lnTo>
                    <a:lnTo>
                      <a:pt x="2054" y="1595"/>
                    </a:lnTo>
                    <a:close/>
                    <a:moveTo>
                      <a:pt x="2306" y="1235"/>
                    </a:moveTo>
                    <a:lnTo>
                      <a:pt x="2308" y="1235"/>
                    </a:lnTo>
                    <a:lnTo>
                      <a:pt x="2308" y="1239"/>
                    </a:lnTo>
                    <a:lnTo>
                      <a:pt x="2310" y="1240"/>
                    </a:lnTo>
                    <a:lnTo>
                      <a:pt x="2308" y="1242"/>
                    </a:lnTo>
                    <a:lnTo>
                      <a:pt x="2308" y="1244"/>
                    </a:lnTo>
                    <a:lnTo>
                      <a:pt x="2304" y="1244"/>
                    </a:lnTo>
                    <a:lnTo>
                      <a:pt x="2302" y="1246"/>
                    </a:lnTo>
                    <a:lnTo>
                      <a:pt x="2300" y="1246"/>
                    </a:lnTo>
                    <a:lnTo>
                      <a:pt x="2296" y="1250"/>
                    </a:lnTo>
                    <a:lnTo>
                      <a:pt x="2294" y="1250"/>
                    </a:lnTo>
                    <a:lnTo>
                      <a:pt x="2292" y="1254"/>
                    </a:lnTo>
                    <a:lnTo>
                      <a:pt x="2290" y="1254"/>
                    </a:lnTo>
                    <a:lnTo>
                      <a:pt x="2289" y="1258"/>
                    </a:lnTo>
                    <a:lnTo>
                      <a:pt x="2287" y="1256"/>
                    </a:lnTo>
                    <a:lnTo>
                      <a:pt x="2290" y="1254"/>
                    </a:lnTo>
                    <a:lnTo>
                      <a:pt x="2290" y="1252"/>
                    </a:lnTo>
                    <a:lnTo>
                      <a:pt x="2292" y="1248"/>
                    </a:lnTo>
                    <a:lnTo>
                      <a:pt x="2292" y="1246"/>
                    </a:lnTo>
                    <a:lnTo>
                      <a:pt x="2292" y="1244"/>
                    </a:lnTo>
                    <a:lnTo>
                      <a:pt x="2296" y="1240"/>
                    </a:lnTo>
                    <a:lnTo>
                      <a:pt x="2292" y="1240"/>
                    </a:lnTo>
                    <a:lnTo>
                      <a:pt x="2298" y="1240"/>
                    </a:lnTo>
                    <a:lnTo>
                      <a:pt x="2302" y="1239"/>
                    </a:lnTo>
                    <a:lnTo>
                      <a:pt x="2304" y="1235"/>
                    </a:lnTo>
                    <a:lnTo>
                      <a:pt x="2306" y="1235"/>
                    </a:lnTo>
                    <a:close/>
                    <a:moveTo>
                      <a:pt x="595" y="157"/>
                    </a:moveTo>
                    <a:lnTo>
                      <a:pt x="599" y="160"/>
                    </a:lnTo>
                    <a:lnTo>
                      <a:pt x="597" y="168"/>
                    </a:lnTo>
                    <a:lnTo>
                      <a:pt x="599" y="172"/>
                    </a:lnTo>
                    <a:lnTo>
                      <a:pt x="597" y="174"/>
                    </a:lnTo>
                    <a:lnTo>
                      <a:pt x="595" y="183"/>
                    </a:lnTo>
                    <a:lnTo>
                      <a:pt x="591" y="185"/>
                    </a:lnTo>
                    <a:lnTo>
                      <a:pt x="588" y="183"/>
                    </a:lnTo>
                    <a:lnTo>
                      <a:pt x="582" y="183"/>
                    </a:lnTo>
                    <a:lnTo>
                      <a:pt x="576" y="181"/>
                    </a:lnTo>
                    <a:lnTo>
                      <a:pt x="582" y="172"/>
                    </a:lnTo>
                    <a:lnTo>
                      <a:pt x="578" y="160"/>
                    </a:lnTo>
                    <a:lnTo>
                      <a:pt x="584" y="159"/>
                    </a:lnTo>
                    <a:lnTo>
                      <a:pt x="590" y="160"/>
                    </a:lnTo>
                    <a:lnTo>
                      <a:pt x="590" y="157"/>
                    </a:lnTo>
                    <a:lnTo>
                      <a:pt x="595" y="157"/>
                    </a:lnTo>
                    <a:close/>
                    <a:moveTo>
                      <a:pt x="935" y="706"/>
                    </a:moveTo>
                    <a:lnTo>
                      <a:pt x="935" y="710"/>
                    </a:lnTo>
                    <a:lnTo>
                      <a:pt x="935" y="706"/>
                    </a:lnTo>
                    <a:lnTo>
                      <a:pt x="933" y="708"/>
                    </a:lnTo>
                    <a:lnTo>
                      <a:pt x="931" y="710"/>
                    </a:lnTo>
                    <a:lnTo>
                      <a:pt x="929" y="710"/>
                    </a:lnTo>
                    <a:lnTo>
                      <a:pt x="927" y="712"/>
                    </a:lnTo>
                    <a:lnTo>
                      <a:pt x="925" y="716"/>
                    </a:lnTo>
                    <a:lnTo>
                      <a:pt x="917" y="716"/>
                    </a:lnTo>
                    <a:lnTo>
                      <a:pt x="912" y="716"/>
                    </a:lnTo>
                    <a:lnTo>
                      <a:pt x="910" y="716"/>
                    </a:lnTo>
                    <a:lnTo>
                      <a:pt x="912" y="712"/>
                    </a:lnTo>
                    <a:lnTo>
                      <a:pt x="916" y="708"/>
                    </a:lnTo>
                    <a:lnTo>
                      <a:pt x="919" y="702"/>
                    </a:lnTo>
                    <a:lnTo>
                      <a:pt x="923" y="699"/>
                    </a:lnTo>
                    <a:lnTo>
                      <a:pt x="931" y="700"/>
                    </a:lnTo>
                    <a:lnTo>
                      <a:pt x="933" y="704"/>
                    </a:lnTo>
                    <a:lnTo>
                      <a:pt x="935" y="706"/>
                    </a:lnTo>
                    <a:close/>
                    <a:moveTo>
                      <a:pt x="2426" y="1202"/>
                    </a:moveTo>
                    <a:lnTo>
                      <a:pt x="2424" y="1202"/>
                    </a:lnTo>
                    <a:lnTo>
                      <a:pt x="2422" y="1200"/>
                    </a:lnTo>
                    <a:lnTo>
                      <a:pt x="2426" y="1195"/>
                    </a:lnTo>
                    <a:lnTo>
                      <a:pt x="2428" y="1191"/>
                    </a:lnTo>
                    <a:lnTo>
                      <a:pt x="2433" y="1187"/>
                    </a:lnTo>
                    <a:lnTo>
                      <a:pt x="2437" y="1185"/>
                    </a:lnTo>
                    <a:lnTo>
                      <a:pt x="2437" y="1187"/>
                    </a:lnTo>
                    <a:lnTo>
                      <a:pt x="2439" y="1189"/>
                    </a:lnTo>
                    <a:lnTo>
                      <a:pt x="2437" y="1193"/>
                    </a:lnTo>
                    <a:lnTo>
                      <a:pt x="2433" y="1198"/>
                    </a:lnTo>
                    <a:lnTo>
                      <a:pt x="2426" y="1202"/>
                    </a:lnTo>
                    <a:close/>
                    <a:moveTo>
                      <a:pt x="590" y="50"/>
                    </a:moveTo>
                    <a:lnTo>
                      <a:pt x="593" y="54"/>
                    </a:lnTo>
                    <a:lnTo>
                      <a:pt x="595" y="52"/>
                    </a:lnTo>
                    <a:lnTo>
                      <a:pt x="599" y="57"/>
                    </a:lnTo>
                    <a:lnTo>
                      <a:pt x="601" y="56"/>
                    </a:lnTo>
                    <a:lnTo>
                      <a:pt x="603" y="61"/>
                    </a:lnTo>
                    <a:lnTo>
                      <a:pt x="605" y="59"/>
                    </a:lnTo>
                    <a:lnTo>
                      <a:pt x="605" y="57"/>
                    </a:lnTo>
                    <a:lnTo>
                      <a:pt x="610" y="63"/>
                    </a:lnTo>
                    <a:lnTo>
                      <a:pt x="599" y="65"/>
                    </a:lnTo>
                    <a:lnTo>
                      <a:pt x="588" y="77"/>
                    </a:lnTo>
                    <a:lnTo>
                      <a:pt x="584" y="77"/>
                    </a:lnTo>
                    <a:lnTo>
                      <a:pt x="586" y="73"/>
                    </a:lnTo>
                    <a:lnTo>
                      <a:pt x="584" y="71"/>
                    </a:lnTo>
                    <a:lnTo>
                      <a:pt x="578" y="75"/>
                    </a:lnTo>
                    <a:lnTo>
                      <a:pt x="572" y="73"/>
                    </a:lnTo>
                    <a:lnTo>
                      <a:pt x="572" y="67"/>
                    </a:lnTo>
                    <a:lnTo>
                      <a:pt x="570" y="65"/>
                    </a:lnTo>
                    <a:lnTo>
                      <a:pt x="572" y="61"/>
                    </a:lnTo>
                    <a:lnTo>
                      <a:pt x="570" y="59"/>
                    </a:lnTo>
                    <a:lnTo>
                      <a:pt x="574" y="57"/>
                    </a:lnTo>
                    <a:lnTo>
                      <a:pt x="576" y="61"/>
                    </a:lnTo>
                    <a:lnTo>
                      <a:pt x="578" y="61"/>
                    </a:lnTo>
                    <a:lnTo>
                      <a:pt x="582" y="63"/>
                    </a:lnTo>
                    <a:lnTo>
                      <a:pt x="584" y="63"/>
                    </a:lnTo>
                    <a:lnTo>
                      <a:pt x="584" y="65"/>
                    </a:lnTo>
                    <a:lnTo>
                      <a:pt x="590" y="67"/>
                    </a:lnTo>
                    <a:lnTo>
                      <a:pt x="586" y="61"/>
                    </a:lnTo>
                    <a:lnTo>
                      <a:pt x="588" y="57"/>
                    </a:lnTo>
                    <a:lnTo>
                      <a:pt x="586" y="52"/>
                    </a:lnTo>
                    <a:lnTo>
                      <a:pt x="590" y="50"/>
                    </a:lnTo>
                    <a:close/>
                    <a:moveTo>
                      <a:pt x="1879" y="1355"/>
                    </a:moveTo>
                    <a:lnTo>
                      <a:pt x="1880" y="1355"/>
                    </a:lnTo>
                    <a:lnTo>
                      <a:pt x="1882" y="1355"/>
                    </a:lnTo>
                    <a:lnTo>
                      <a:pt x="1884" y="1357"/>
                    </a:lnTo>
                    <a:lnTo>
                      <a:pt x="1886" y="1357"/>
                    </a:lnTo>
                    <a:lnTo>
                      <a:pt x="1886" y="1359"/>
                    </a:lnTo>
                    <a:lnTo>
                      <a:pt x="1884" y="1359"/>
                    </a:lnTo>
                    <a:lnTo>
                      <a:pt x="1882" y="1361"/>
                    </a:lnTo>
                    <a:lnTo>
                      <a:pt x="1882" y="1364"/>
                    </a:lnTo>
                    <a:lnTo>
                      <a:pt x="1880" y="1364"/>
                    </a:lnTo>
                    <a:lnTo>
                      <a:pt x="1880" y="1366"/>
                    </a:lnTo>
                    <a:lnTo>
                      <a:pt x="1879" y="1368"/>
                    </a:lnTo>
                    <a:lnTo>
                      <a:pt x="1877" y="1366"/>
                    </a:lnTo>
                    <a:lnTo>
                      <a:pt x="1877" y="1364"/>
                    </a:lnTo>
                    <a:lnTo>
                      <a:pt x="1877" y="1363"/>
                    </a:lnTo>
                    <a:lnTo>
                      <a:pt x="1875" y="1363"/>
                    </a:lnTo>
                    <a:lnTo>
                      <a:pt x="1873" y="1363"/>
                    </a:lnTo>
                    <a:lnTo>
                      <a:pt x="1873" y="1364"/>
                    </a:lnTo>
                    <a:lnTo>
                      <a:pt x="1871" y="1364"/>
                    </a:lnTo>
                    <a:lnTo>
                      <a:pt x="1873" y="1361"/>
                    </a:lnTo>
                    <a:lnTo>
                      <a:pt x="1875" y="1357"/>
                    </a:lnTo>
                    <a:lnTo>
                      <a:pt x="1877" y="1353"/>
                    </a:lnTo>
                    <a:lnTo>
                      <a:pt x="1879" y="1355"/>
                    </a:lnTo>
                    <a:close/>
                    <a:moveTo>
                      <a:pt x="1928" y="624"/>
                    </a:moveTo>
                    <a:lnTo>
                      <a:pt x="1924" y="626"/>
                    </a:lnTo>
                    <a:lnTo>
                      <a:pt x="1926" y="626"/>
                    </a:lnTo>
                    <a:lnTo>
                      <a:pt x="1924" y="626"/>
                    </a:lnTo>
                    <a:lnTo>
                      <a:pt x="1922" y="626"/>
                    </a:lnTo>
                    <a:lnTo>
                      <a:pt x="1919" y="620"/>
                    </a:lnTo>
                    <a:lnTo>
                      <a:pt x="1919" y="617"/>
                    </a:lnTo>
                    <a:lnTo>
                      <a:pt x="1919" y="609"/>
                    </a:lnTo>
                    <a:lnTo>
                      <a:pt x="1919" y="607"/>
                    </a:lnTo>
                    <a:lnTo>
                      <a:pt x="1922" y="607"/>
                    </a:lnTo>
                    <a:lnTo>
                      <a:pt x="1928" y="605"/>
                    </a:lnTo>
                    <a:lnTo>
                      <a:pt x="1932" y="607"/>
                    </a:lnTo>
                    <a:lnTo>
                      <a:pt x="1932" y="609"/>
                    </a:lnTo>
                    <a:lnTo>
                      <a:pt x="1932" y="620"/>
                    </a:lnTo>
                    <a:lnTo>
                      <a:pt x="1930" y="622"/>
                    </a:lnTo>
                    <a:lnTo>
                      <a:pt x="1928" y="624"/>
                    </a:lnTo>
                    <a:close/>
                    <a:moveTo>
                      <a:pt x="2170" y="1469"/>
                    </a:moveTo>
                    <a:lnTo>
                      <a:pt x="2172" y="1469"/>
                    </a:lnTo>
                    <a:lnTo>
                      <a:pt x="2172" y="1471"/>
                    </a:lnTo>
                    <a:lnTo>
                      <a:pt x="2172" y="1473"/>
                    </a:lnTo>
                    <a:lnTo>
                      <a:pt x="2172" y="1475"/>
                    </a:lnTo>
                    <a:lnTo>
                      <a:pt x="2172" y="1477"/>
                    </a:lnTo>
                    <a:lnTo>
                      <a:pt x="2170" y="1477"/>
                    </a:lnTo>
                    <a:lnTo>
                      <a:pt x="2170" y="1479"/>
                    </a:lnTo>
                    <a:lnTo>
                      <a:pt x="2168" y="1483"/>
                    </a:lnTo>
                    <a:lnTo>
                      <a:pt x="2167" y="1483"/>
                    </a:lnTo>
                    <a:lnTo>
                      <a:pt x="2167" y="1485"/>
                    </a:lnTo>
                    <a:lnTo>
                      <a:pt x="2163" y="1485"/>
                    </a:lnTo>
                    <a:lnTo>
                      <a:pt x="2161" y="1487"/>
                    </a:lnTo>
                    <a:lnTo>
                      <a:pt x="2161" y="1489"/>
                    </a:lnTo>
                    <a:lnTo>
                      <a:pt x="2159" y="1489"/>
                    </a:lnTo>
                    <a:lnTo>
                      <a:pt x="2157" y="1489"/>
                    </a:lnTo>
                    <a:lnTo>
                      <a:pt x="2157" y="1487"/>
                    </a:lnTo>
                    <a:lnTo>
                      <a:pt x="2157" y="1485"/>
                    </a:lnTo>
                    <a:lnTo>
                      <a:pt x="2157" y="1483"/>
                    </a:lnTo>
                    <a:lnTo>
                      <a:pt x="2157" y="1481"/>
                    </a:lnTo>
                    <a:lnTo>
                      <a:pt x="2159" y="1481"/>
                    </a:lnTo>
                    <a:lnTo>
                      <a:pt x="2161" y="1481"/>
                    </a:lnTo>
                    <a:lnTo>
                      <a:pt x="2163" y="1479"/>
                    </a:lnTo>
                    <a:lnTo>
                      <a:pt x="2165" y="1479"/>
                    </a:lnTo>
                    <a:lnTo>
                      <a:pt x="2165" y="1477"/>
                    </a:lnTo>
                    <a:lnTo>
                      <a:pt x="2167" y="1475"/>
                    </a:lnTo>
                    <a:lnTo>
                      <a:pt x="2167" y="1473"/>
                    </a:lnTo>
                    <a:lnTo>
                      <a:pt x="2168" y="1471"/>
                    </a:lnTo>
                    <a:lnTo>
                      <a:pt x="2170" y="1469"/>
                    </a:lnTo>
                    <a:close/>
                    <a:moveTo>
                      <a:pt x="538" y="153"/>
                    </a:moveTo>
                    <a:lnTo>
                      <a:pt x="538" y="157"/>
                    </a:lnTo>
                    <a:lnTo>
                      <a:pt x="546" y="168"/>
                    </a:lnTo>
                    <a:lnTo>
                      <a:pt x="544" y="172"/>
                    </a:lnTo>
                    <a:lnTo>
                      <a:pt x="542" y="170"/>
                    </a:lnTo>
                    <a:lnTo>
                      <a:pt x="540" y="176"/>
                    </a:lnTo>
                    <a:lnTo>
                      <a:pt x="538" y="178"/>
                    </a:lnTo>
                    <a:lnTo>
                      <a:pt x="536" y="176"/>
                    </a:lnTo>
                    <a:lnTo>
                      <a:pt x="527" y="176"/>
                    </a:lnTo>
                    <a:lnTo>
                      <a:pt x="521" y="172"/>
                    </a:lnTo>
                    <a:lnTo>
                      <a:pt x="519" y="166"/>
                    </a:lnTo>
                    <a:lnTo>
                      <a:pt x="525" y="164"/>
                    </a:lnTo>
                    <a:lnTo>
                      <a:pt x="527" y="162"/>
                    </a:lnTo>
                    <a:lnTo>
                      <a:pt x="528" y="162"/>
                    </a:lnTo>
                    <a:lnTo>
                      <a:pt x="530" y="159"/>
                    </a:lnTo>
                    <a:lnTo>
                      <a:pt x="527" y="157"/>
                    </a:lnTo>
                    <a:lnTo>
                      <a:pt x="532" y="153"/>
                    </a:lnTo>
                    <a:lnTo>
                      <a:pt x="534" y="155"/>
                    </a:lnTo>
                    <a:lnTo>
                      <a:pt x="536" y="153"/>
                    </a:lnTo>
                    <a:lnTo>
                      <a:pt x="538" y="153"/>
                    </a:lnTo>
                    <a:close/>
                    <a:moveTo>
                      <a:pt x="950" y="672"/>
                    </a:moveTo>
                    <a:lnTo>
                      <a:pt x="948" y="674"/>
                    </a:lnTo>
                    <a:lnTo>
                      <a:pt x="950" y="678"/>
                    </a:lnTo>
                    <a:lnTo>
                      <a:pt x="954" y="681"/>
                    </a:lnTo>
                    <a:lnTo>
                      <a:pt x="954" y="683"/>
                    </a:lnTo>
                    <a:lnTo>
                      <a:pt x="952" y="681"/>
                    </a:lnTo>
                    <a:lnTo>
                      <a:pt x="954" y="687"/>
                    </a:lnTo>
                    <a:lnTo>
                      <a:pt x="952" y="689"/>
                    </a:lnTo>
                    <a:lnTo>
                      <a:pt x="954" y="691"/>
                    </a:lnTo>
                    <a:lnTo>
                      <a:pt x="954" y="693"/>
                    </a:lnTo>
                    <a:lnTo>
                      <a:pt x="952" y="693"/>
                    </a:lnTo>
                    <a:lnTo>
                      <a:pt x="942" y="691"/>
                    </a:lnTo>
                    <a:lnTo>
                      <a:pt x="938" y="689"/>
                    </a:lnTo>
                    <a:lnTo>
                      <a:pt x="938" y="687"/>
                    </a:lnTo>
                    <a:lnTo>
                      <a:pt x="940" y="683"/>
                    </a:lnTo>
                    <a:lnTo>
                      <a:pt x="944" y="678"/>
                    </a:lnTo>
                    <a:lnTo>
                      <a:pt x="946" y="674"/>
                    </a:lnTo>
                    <a:lnTo>
                      <a:pt x="948" y="672"/>
                    </a:lnTo>
                    <a:lnTo>
                      <a:pt x="950" y="672"/>
                    </a:lnTo>
                    <a:close/>
                    <a:moveTo>
                      <a:pt x="1137" y="71"/>
                    </a:moveTo>
                    <a:lnTo>
                      <a:pt x="1146" y="75"/>
                    </a:lnTo>
                    <a:lnTo>
                      <a:pt x="1146" y="82"/>
                    </a:lnTo>
                    <a:lnTo>
                      <a:pt x="1143" y="88"/>
                    </a:lnTo>
                    <a:lnTo>
                      <a:pt x="1133" y="90"/>
                    </a:lnTo>
                    <a:lnTo>
                      <a:pt x="1123" y="86"/>
                    </a:lnTo>
                    <a:lnTo>
                      <a:pt x="1122" y="82"/>
                    </a:lnTo>
                    <a:lnTo>
                      <a:pt x="1123" y="75"/>
                    </a:lnTo>
                    <a:lnTo>
                      <a:pt x="1137" y="71"/>
                    </a:lnTo>
                    <a:close/>
                    <a:moveTo>
                      <a:pt x="668" y="86"/>
                    </a:moveTo>
                    <a:lnTo>
                      <a:pt x="668" y="92"/>
                    </a:lnTo>
                    <a:lnTo>
                      <a:pt x="660" y="103"/>
                    </a:lnTo>
                    <a:lnTo>
                      <a:pt x="656" y="103"/>
                    </a:lnTo>
                    <a:lnTo>
                      <a:pt x="647" y="101"/>
                    </a:lnTo>
                    <a:lnTo>
                      <a:pt x="647" y="99"/>
                    </a:lnTo>
                    <a:lnTo>
                      <a:pt x="643" y="96"/>
                    </a:lnTo>
                    <a:lnTo>
                      <a:pt x="651" y="88"/>
                    </a:lnTo>
                    <a:lnTo>
                      <a:pt x="660" y="80"/>
                    </a:lnTo>
                    <a:lnTo>
                      <a:pt x="670" y="82"/>
                    </a:lnTo>
                    <a:lnTo>
                      <a:pt x="668" y="86"/>
                    </a:lnTo>
                    <a:close/>
                    <a:moveTo>
                      <a:pt x="605" y="33"/>
                    </a:moveTo>
                    <a:lnTo>
                      <a:pt x="609" y="35"/>
                    </a:lnTo>
                    <a:lnTo>
                      <a:pt x="609" y="38"/>
                    </a:lnTo>
                    <a:lnTo>
                      <a:pt x="610" y="40"/>
                    </a:lnTo>
                    <a:lnTo>
                      <a:pt x="616" y="42"/>
                    </a:lnTo>
                    <a:lnTo>
                      <a:pt x="620" y="46"/>
                    </a:lnTo>
                    <a:lnTo>
                      <a:pt x="620" y="50"/>
                    </a:lnTo>
                    <a:lnTo>
                      <a:pt x="616" y="54"/>
                    </a:lnTo>
                    <a:lnTo>
                      <a:pt x="609" y="54"/>
                    </a:lnTo>
                    <a:lnTo>
                      <a:pt x="605" y="52"/>
                    </a:lnTo>
                    <a:lnTo>
                      <a:pt x="601" y="46"/>
                    </a:lnTo>
                    <a:lnTo>
                      <a:pt x="597" y="48"/>
                    </a:lnTo>
                    <a:lnTo>
                      <a:pt x="593" y="46"/>
                    </a:lnTo>
                    <a:lnTo>
                      <a:pt x="593" y="36"/>
                    </a:lnTo>
                    <a:lnTo>
                      <a:pt x="595" y="36"/>
                    </a:lnTo>
                    <a:lnTo>
                      <a:pt x="599" y="36"/>
                    </a:lnTo>
                    <a:lnTo>
                      <a:pt x="605" y="33"/>
                    </a:lnTo>
                    <a:close/>
                    <a:moveTo>
                      <a:pt x="2327" y="1347"/>
                    </a:moveTo>
                    <a:lnTo>
                      <a:pt x="2331" y="1349"/>
                    </a:lnTo>
                    <a:lnTo>
                      <a:pt x="2332" y="1349"/>
                    </a:lnTo>
                    <a:lnTo>
                      <a:pt x="2332" y="1351"/>
                    </a:lnTo>
                    <a:lnTo>
                      <a:pt x="2332" y="1353"/>
                    </a:lnTo>
                    <a:lnTo>
                      <a:pt x="2332" y="1355"/>
                    </a:lnTo>
                    <a:lnTo>
                      <a:pt x="2334" y="1355"/>
                    </a:lnTo>
                    <a:lnTo>
                      <a:pt x="2334" y="1357"/>
                    </a:lnTo>
                    <a:lnTo>
                      <a:pt x="2336" y="1359"/>
                    </a:lnTo>
                    <a:lnTo>
                      <a:pt x="2336" y="1361"/>
                    </a:lnTo>
                    <a:lnTo>
                      <a:pt x="2338" y="1361"/>
                    </a:lnTo>
                    <a:lnTo>
                      <a:pt x="2338" y="1363"/>
                    </a:lnTo>
                    <a:lnTo>
                      <a:pt x="2340" y="1366"/>
                    </a:lnTo>
                    <a:lnTo>
                      <a:pt x="2338" y="1366"/>
                    </a:lnTo>
                    <a:lnTo>
                      <a:pt x="2338" y="1364"/>
                    </a:lnTo>
                    <a:lnTo>
                      <a:pt x="2336" y="1364"/>
                    </a:lnTo>
                    <a:lnTo>
                      <a:pt x="2336" y="1363"/>
                    </a:lnTo>
                    <a:lnTo>
                      <a:pt x="2334" y="1363"/>
                    </a:lnTo>
                    <a:lnTo>
                      <a:pt x="2332" y="1363"/>
                    </a:lnTo>
                    <a:lnTo>
                      <a:pt x="2332" y="1361"/>
                    </a:lnTo>
                    <a:lnTo>
                      <a:pt x="2331" y="1359"/>
                    </a:lnTo>
                    <a:lnTo>
                      <a:pt x="2329" y="1357"/>
                    </a:lnTo>
                    <a:lnTo>
                      <a:pt x="2329" y="1355"/>
                    </a:lnTo>
                    <a:lnTo>
                      <a:pt x="2329" y="1353"/>
                    </a:lnTo>
                    <a:lnTo>
                      <a:pt x="2327" y="1353"/>
                    </a:lnTo>
                    <a:lnTo>
                      <a:pt x="2329" y="1353"/>
                    </a:lnTo>
                    <a:lnTo>
                      <a:pt x="2327" y="1351"/>
                    </a:lnTo>
                    <a:lnTo>
                      <a:pt x="2325" y="1351"/>
                    </a:lnTo>
                    <a:lnTo>
                      <a:pt x="2323" y="1349"/>
                    </a:lnTo>
                    <a:lnTo>
                      <a:pt x="2327" y="1349"/>
                    </a:lnTo>
                    <a:lnTo>
                      <a:pt x="2327" y="1347"/>
                    </a:lnTo>
                    <a:close/>
                    <a:moveTo>
                      <a:pt x="2014" y="1620"/>
                    </a:moveTo>
                    <a:lnTo>
                      <a:pt x="2016" y="1620"/>
                    </a:lnTo>
                    <a:lnTo>
                      <a:pt x="2018" y="1620"/>
                    </a:lnTo>
                    <a:lnTo>
                      <a:pt x="2020" y="1620"/>
                    </a:lnTo>
                    <a:lnTo>
                      <a:pt x="2020" y="1618"/>
                    </a:lnTo>
                    <a:lnTo>
                      <a:pt x="2020" y="1620"/>
                    </a:lnTo>
                    <a:lnTo>
                      <a:pt x="2018" y="1622"/>
                    </a:lnTo>
                    <a:lnTo>
                      <a:pt x="2018" y="1620"/>
                    </a:lnTo>
                    <a:lnTo>
                      <a:pt x="2016" y="1624"/>
                    </a:lnTo>
                    <a:lnTo>
                      <a:pt x="2012" y="1624"/>
                    </a:lnTo>
                    <a:lnTo>
                      <a:pt x="2012" y="1626"/>
                    </a:lnTo>
                    <a:lnTo>
                      <a:pt x="2010" y="1626"/>
                    </a:lnTo>
                    <a:lnTo>
                      <a:pt x="2008" y="1628"/>
                    </a:lnTo>
                    <a:lnTo>
                      <a:pt x="2008" y="1630"/>
                    </a:lnTo>
                    <a:lnTo>
                      <a:pt x="2006" y="1632"/>
                    </a:lnTo>
                    <a:lnTo>
                      <a:pt x="2004" y="1632"/>
                    </a:lnTo>
                    <a:lnTo>
                      <a:pt x="2003" y="1635"/>
                    </a:lnTo>
                    <a:lnTo>
                      <a:pt x="2003" y="1637"/>
                    </a:lnTo>
                    <a:lnTo>
                      <a:pt x="2003" y="1635"/>
                    </a:lnTo>
                    <a:lnTo>
                      <a:pt x="2001" y="1635"/>
                    </a:lnTo>
                    <a:lnTo>
                      <a:pt x="2001" y="1634"/>
                    </a:lnTo>
                    <a:lnTo>
                      <a:pt x="2001" y="1632"/>
                    </a:lnTo>
                    <a:lnTo>
                      <a:pt x="2003" y="1632"/>
                    </a:lnTo>
                    <a:lnTo>
                      <a:pt x="2004" y="1630"/>
                    </a:lnTo>
                    <a:lnTo>
                      <a:pt x="2004" y="1628"/>
                    </a:lnTo>
                    <a:lnTo>
                      <a:pt x="2006" y="1628"/>
                    </a:lnTo>
                    <a:lnTo>
                      <a:pt x="2008" y="1624"/>
                    </a:lnTo>
                    <a:lnTo>
                      <a:pt x="2010" y="1622"/>
                    </a:lnTo>
                    <a:lnTo>
                      <a:pt x="2010" y="1620"/>
                    </a:lnTo>
                    <a:lnTo>
                      <a:pt x="2012" y="1618"/>
                    </a:lnTo>
                    <a:lnTo>
                      <a:pt x="2014" y="1618"/>
                    </a:lnTo>
                    <a:lnTo>
                      <a:pt x="2014" y="1620"/>
                    </a:lnTo>
                    <a:close/>
                    <a:moveTo>
                      <a:pt x="1852" y="534"/>
                    </a:moveTo>
                    <a:lnTo>
                      <a:pt x="1850" y="538"/>
                    </a:lnTo>
                    <a:lnTo>
                      <a:pt x="1846" y="538"/>
                    </a:lnTo>
                    <a:lnTo>
                      <a:pt x="1844" y="538"/>
                    </a:lnTo>
                    <a:lnTo>
                      <a:pt x="1844" y="534"/>
                    </a:lnTo>
                    <a:lnTo>
                      <a:pt x="1846" y="529"/>
                    </a:lnTo>
                    <a:lnTo>
                      <a:pt x="1846" y="519"/>
                    </a:lnTo>
                    <a:lnTo>
                      <a:pt x="1846" y="512"/>
                    </a:lnTo>
                    <a:lnTo>
                      <a:pt x="1846" y="510"/>
                    </a:lnTo>
                    <a:lnTo>
                      <a:pt x="1846" y="506"/>
                    </a:lnTo>
                    <a:lnTo>
                      <a:pt x="1850" y="519"/>
                    </a:lnTo>
                    <a:lnTo>
                      <a:pt x="1856" y="523"/>
                    </a:lnTo>
                    <a:lnTo>
                      <a:pt x="1852" y="531"/>
                    </a:lnTo>
                    <a:lnTo>
                      <a:pt x="1852" y="534"/>
                    </a:lnTo>
                    <a:close/>
                    <a:moveTo>
                      <a:pt x="569" y="109"/>
                    </a:moveTo>
                    <a:lnTo>
                      <a:pt x="576" y="113"/>
                    </a:lnTo>
                    <a:lnTo>
                      <a:pt x="578" y="117"/>
                    </a:lnTo>
                    <a:lnTo>
                      <a:pt x="569" y="120"/>
                    </a:lnTo>
                    <a:lnTo>
                      <a:pt x="565" y="119"/>
                    </a:lnTo>
                    <a:lnTo>
                      <a:pt x="563" y="122"/>
                    </a:lnTo>
                    <a:lnTo>
                      <a:pt x="559" y="119"/>
                    </a:lnTo>
                    <a:lnTo>
                      <a:pt x="559" y="115"/>
                    </a:lnTo>
                    <a:lnTo>
                      <a:pt x="551" y="115"/>
                    </a:lnTo>
                    <a:lnTo>
                      <a:pt x="548" y="113"/>
                    </a:lnTo>
                    <a:lnTo>
                      <a:pt x="548" y="111"/>
                    </a:lnTo>
                    <a:lnTo>
                      <a:pt x="553" y="107"/>
                    </a:lnTo>
                    <a:lnTo>
                      <a:pt x="555" y="107"/>
                    </a:lnTo>
                    <a:lnTo>
                      <a:pt x="559" y="105"/>
                    </a:lnTo>
                    <a:lnTo>
                      <a:pt x="561" y="109"/>
                    </a:lnTo>
                    <a:lnTo>
                      <a:pt x="563" y="109"/>
                    </a:lnTo>
                    <a:lnTo>
                      <a:pt x="563" y="105"/>
                    </a:lnTo>
                    <a:lnTo>
                      <a:pt x="565" y="105"/>
                    </a:lnTo>
                    <a:lnTo>
                      <a:pt x="569" y="109"/>
                    </a:lnTo>
                    <a:close/>
                    <a:moveTo>
                      <a:pt x="628" y="0"/>
                    </a:moveTo>
                    <a:lnTo>
                      <a:pt x="633" y="4"/>
                    </a:lnTo>
                    <a:lnTo>
                      <a:pt x="631" y="12"/>
                    </a:lnTo>
                    <a:lnTo>
                      <a:pt x="631" y="15"/>
                    </a:lnTo>
                    <a:lnTo>
                      <a:pt x="624" y="17"/>
                    </a:lnTo>
                    <a:lnTo>
                      <a:pt x="620" y="15"/>
                    </a:lnTo>
                    <a:lnTo>
                      <a:pt x="612" y="19"/>
                    </a:lnTo>
                    <a:lnTo>
                      <a:pt x="610" y="17"/>
                    </a:lnTo>
                    <a:lnTo>
                      <a:pt x="610" y="14"/>
                    </a:lnTo>
                    <a:lnTo>
                      <a:pt x="612" y="12"/>
                    </a:lnTo>
                    <a:lnTo>
                      <a:pt x="609" y="6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4" y="0"/>
                    </a:lnTo>
                    <a:lnTo>
                      <a:pt x="628" y="0"/>
                    </a:lnTo>
                    <a:close/>
                    <a:moveTo>
                      <a:pt x="2083" y="1580"/>
                    </a:moveTo>
                    <a:lnTo>
                      <a:pt x="2081" y="1582"/>
                    </a:lnTo>
                    <a:lnTo>
                      <a:pt x="2079" y="1582"/>
                    </a:lnTo>
                    <a:lnTo>
                      <a:pt x="2077" y="1584"/>
                    </a:lnTo>
                    <a:lnTo>
                      <a:pt x="2077" y="1586"/>
                    </a:lnTo>
                    <a:lnTo>
                      <a:pt x="2075" y="1588"/>
                    </a:lnTo>
                    <a:lnTo>
                      <a:pt x="2073" y="1588"/>
                    </a:lnTo>
                    <a:lnTo>
                      <a:pt x="2073" y="1590"/>
                    </a:lnTo>
                    <a:lnTo>
                      <a:pt x="2071" y="1590"/>
                    </a:lnTo>
                    <a:lnTo>
                      <a:pt x="2069" y="1593"/>
                    </a:lnTo>
                    <a:lnTo>
                      <a:pt x="2067" y="1593"/>
                    </a:lnTo>
                    <a:lnTo>
                      <a:pt x="2065" y="1593"/>
                    </a:lnTo>
                    <a:lnTo>
                      <a:pt x="2065" y="1592"/>
                    </a:lnTo>
                    <a:lnTo>
                      <a:pt x="2067" y="1592"/>
                    </a:lnTo>
                    <a:lnTo>
                      <a:pt x="2067" y="1590"/>
                    </a:lnTo>
                    <a:lnTo>
                      <a:pt x="2069" y="1588"/>
                    </a:lnTo>
                    <a:lnTo>
                      <a:pt x="2071" y="1588"/>
                    </a:lnTo>
                    <a:lnTo>
                      <a:pt x="2073" y="1584"/>
                    </a:lnTo>
                    <a:lnTo>
                      <a:pt x="2075" y="1582"/>
                    </a:lnTo>
                    <a:lnTo>
                      <a:pt x="2077" y="1582"/>
                    </a:lnTo>
                    <a:lnTo>
                      <a:pt x="2077" y="1580"/>
                    </a:lnTo>
                    <a:lnTo>
                      <a:pt x="2079" y="1578"/>
                    </a:lnTo>
                    <a:lnTo>
                      <a:pt x="2081" y="1578"/>
                    </a:lnTo>
                    <a:lnTo>
                      <a:pt x="2081" y="1580"/>
                    </a:lnTo>
                    <a:lnTo>
                      <a:pt x="2083" y="1578"/>
                    </a:lnTo>
                    <a:lnTo>
                      <a:pt x="2083" y="1580"/>
                    </a:lnTo>
                    <a:close/>
                    <a:moveTo>
                      <a:pt x="959" y="98"/>
                    </a:moveTo>
                    <a:lnTo>
                      <a:pt x="965" y="98"/>
                    </a:lnTo>
                    <a:lnTo>
                      <a:pt x="967" y="99"/>
                    </a:lnTo>
                    <a:lnTo>
                      <a:pt x="963" y="109"/>
                    </a:lnTo>
                    <a:lnTo>
                      <a:pt x="961" y="111"/>
                    </a:lnTo>
                    <a:lnTo>
                      <a:pt x="952" y="113"/>
                    </a:lnTo>
                    <a:lnTo>
                      <a:pt x="948" y="111"/>
                    </a:lnTo>
                    <a:lnTo>
                      <a:pt x="946" y="103"/>
                    </a:lnTo>
                    <a:lnTo>
                      <a:pt x="950" y="98"/>
                    </a:lnTo>
                    <a:lnTo>
                      <a:pt x="958" y="96"/>
                    </a:lnTo>
                    <a:lnTo>
                      <a:pt x="959" y="98"/>
                    </a:lnTo>
                    <a:close/>
                    <a:moveTo>
                      <a:pt x="700" y="19"/>
                    </a:moveTo>
                    <a:lnTo>
                      <a:pt x="704" y="27"/>
                    </a:lnTo>
                    <a:lnTo>
                      <a:pt x="702" y="29"/>
                    </a:lnTo>
                    <a:lnTo>
                      <a:pt x="698" y="33"/>
                    </a:lnTo>
                    <a:lnTo>
                      <a:pt x="687" y="31"/>
                    </a:lnTo>
                    <a:lnTo>
                      <a:pt x="685" y="29"/>
                    </a:lnTo>
                    <a:lnTo>
                      <a:pt x="685" y="25"/>
                    </a:lnTo>
                    <a:lnTo>
                      <a:pt x="677" y="23"/>
                    </a:lnTo>
                    <a:lnTo>
                      <a:pt x="679" y="19"/>
                    </a:lnTo>
                    <a:lnTo>
                      <a:pt x="689" y="17"/>
                    </a:lnTo>
                    <a:lnTo>
                      <a:pt x="687" y="19"/>
                    </a:lnTo>
                    <a:lnTo>
                      <a:pt x="694" y="17"/>
                    </a:lnTo>
                    <a:lnTo>
                      <a:pt x="700" y="19"/>
                    </a:lnTo>
                    <a:close/>
                    <a:moveTo>
                      <a:pt x="553" y="143"/>
                    </a:moveTo>
                    <a:lnTo>
                      <a:pt x="557" y="145"/>
                    </a:lnTo>
                    <a:lnTo>
                      <a:pt x="557" y="143"/>
                    </a:lnTo>
                    <a:lnTo>
                      <a:pt x="559" y="143"/>
                    </a:lnTo>
                    <a:lnTo>
                      <a:pt x="557" y="140"/>
                    </a:lnTo>
                    <a:lnTo>
                      <a:pt x="563" y="140"/>
                    </a:lnTo>
                    <a:lnTo>
                      <a:pt x="565" y="145"/>
                    </a:lnTo>
                    <a:lnTo>
                      <a:pt x="563" y="147"/>
                    </a:lnTo>
                    <a:lnTo>
                      <a:pt x="561" y="147"/>
                    </a:lnTo>
                    <a:lnTo>
                      <a:pt x="561" y="149"/>
                    </a:lnTo>
                    <a:lnTo>
                      <a:pt x="559" y="153"/>
                    </a:lnTo>
                    <a:lnTo>
                      <a:pt x="563" y="151"/>
                    </a:lnTo>
                    <a:lnTo>
                      <a:pt x="567" y="151"/>
                    </a:lnTo>
                    <a:lnTo>
                      <a:pt x="567" y="149"/>
                    </a:lnTo>
                    <a:lnTo>
                      <a:pt x="569" y="155"/>
                    </a:lnTo>
                    <a:lnTo>
                      <a:pt x="565" y="155"/>
                    </a:lnTo>
                    <a:lnTo>
                      <a:pt x="563" y="151"/>
                    </a:lnTo>
                    <a:lnTo>
                      <a:pt x="561" y="157"/>
                    </a:lnTo>
                    <a:lnTo>
                      <a:pt x="557" y="157"/>
                    </a:lnTo>
                    <a:lnTo>
                      <a:pt x="557" y="155"/>
                    </a:lnTo>
                    <a:lnTo>
                      <a:pt x="555" y="153"/>
                    </a:lnTo>
                    <a:lnTo>
                      <a:pt x="555" y="149"/>
                    </a:lnTo>
                    <a:lnTo>
                      <a:pt x="557" y="147"/>
                    </a:lnTo>
                    <a:lnTo>
                      <a:pt x="555" y="145"/>
                    </a:lnTo>
                    <a:lnTo>
                      <a:pt x="553" y="147"/>
                    </a:lnTo>
                    <a:lnTo>
                      <a:pt x="553" y="151"/>
                    </a:lnTo>
                    <a:lnTo>
                      <a:pt x="546" y="147"/>
                    </a:lnTo>
                    <a:lnTo>
                      <a:pt x="548" y="141"/>
                    </a:lnTo>
                    <a:lnTo>
                      <a:pt x="544" y="136"/>
                    </a:lnTo>
                    <a:lnTo>
                      <a:pt x="546" y="132"/>
                    </a:lnTo>
                    <a:lnTo>
                      <a:pt x="551" y="134"/>
                    </a:lnTo>
                    <a:lnTo>
                      <a:pt x="549" y="138"/>
                    </a:lnTo>
                    <a:lnTo>
                      <a:pt x="553" y="140"/>
                    </a:lnTo>
                    <a:lnTo>
                      <a:pt x="553" y="143"/>
                    </a:lnTo>
                    <a:close/>
                    <a:moveTo>
                      <a:pt x="790" y="966"/>
                    </a:moveTo>
                    <a:lnTo>
                      <a:pt x="792" y="966"/>
                    </a:lnTo>
                    <a:lnTo>
                      <a:pt x="795" y="966"/>
                    </a:lnTo>
                    <a:lnTo>
                      <a:pt x="795" y="968"/>
                    </a:lnTo>
                    <a:lnTo>
                      <a:pt x="794" y="966"/>
                    </a:lnTo>
                    <a:lnTo>
                      <a:pt x="794" y="968"/>
                    </a:lnTo>
                    <a:lnTo>
                      <a:pt x="795" y="970"/>
                    </a:lnTo>
                    <a:lnTo>
                      <a:pt x="795" y="968"/>
                    </a:lnTo>
                    <a:lnTo>
                      <a:pt x="797" y="970"/>
                    </a:lnTo>
                    <a:lnTo>
                      <a:pt x="799" y="970"/>
                    </a:lnTo>
                    <a:lnTo>
                      <a:pt x="799" y="968"/>
                    </a:lnTo>
                    <a:lnTo>
                      <a:pt x="803" y="970"/>
                    </a:lnTo>
                    <a:lnTo>
                      <a:pt x="801" y="970"/>
                    </a:lnTo>
                    <a:lnTo>
                      <a:pt x="801" y="971"/>
                    </a:lnTo>
                    <a:lnTo>
                      <a:pt x="803" y="971"/>
                    </a:lnTo>
                    <a:lnTo>
                      <a:pt x="805" y="973"/>
                    </a:lnTo>
                    <a:lnTo>
                      <a:pt x="803" y="973"/>
                    </a:lnTo>
                    <a:lnTo>
                      <a:pt x="803" y="975"/>
                    </a:lnTo>
                    <a:lnTo>
                      <a:pt x="801" y="975"/>
                    </a:lnTo>
                    <a:lnTo>
                      <a:pt x="803" y="977"/>
                    </a:lnTo>
                    <a:lnTo>
                      <a:pt x="805" y="977"/>
                    </a:lnTo>
                    <a:lnTo>
                      <a:pt x="803" y="977"/>
                    </a:lnTo>
                    <a:lnTo>
                      <a:pt x="803" y="979"/>
                    </a:lnTo>
                    <a:lnTo>
                      <a:pt x="801" y="979"/>
                    </a:lnTo>
                    <a:lnTo>
                      <a:pt x="801" y="981"/>
                    </a:lnTo>
                    <a:lnTo>
                      <a:pt x="799" y="981"/>
                    </a:lnTo>
                    <a:lnTo>
                      <a:pt x="799" y="979"/>
                    </a:lnTo>
                    <a:lnTo>
                      <a:pt x="797" y="977"/>
                    </a:lnTo>
                    <a:lnTo>
                      <a:pt x="795" y="975"/>
                    </a:lnTo>
                    <a:lnTo>
                      <a:pt x="794" y="971"/>
                    </a:lnTo>
                    <a:lnTo>
                      <a:pt x="795" y="971"/>
                    </a:lnTo>
                    <a:lnTo>
                      <a:pt x="794" y="970"/>
                    </a:lnTo>
                    <a:lnTo>
                      <a:pt x="792" y="970"/>
                    </a:lnTo>
                    <a:lnTo>
                      <a:pt x="790" y="970"/>
                    </a:lnTo>
                    <a:lnTo>
                      <a:pt x="788" y="968"/>
                    </a:lnTo>
                    <a:lnTo>
                      <a:pt x="790" y="966"/>
                    </a:lnTo>
                    <a:lnTo>
                      <a:pt x="788" y="966"/>
                    </a:lnTo>
                    <a:lnTo>
                      <a:pt x="788" y="964"/>
                    </a:lnTo>
                    <a:lnTo>
                      <a:pt x="790" y="966"/>
                    </a:lnTo>
                    <a:close/>
                    <a:moveTo>
                      <a:pt x="643" y="189"/>
                    </a:moveTo>
                    <a:lnTo>
                      <a:pt x="639" y="195"/>
                    </a:lnTo>
                    <a:lnTo>
                      <a:pt x="635" y="195"/>
                    </a:lnTo>
                    <a:lnTo>
                      <a:pt x="633" y="197"/>
                    </a:lnTo>
                    <a:lnTo>
                      <a:pt x="630" y="193"/>
                    </a:lnTo>
                    <a:lnTo>
                      <a:pt x="626" y="189"/>
                    </a:lnTo>
                    <a:lnTo>
                      <a:pt x="624" y="189"/>
                    </a:lnTo>
                    <a:lnTo>
                      <a:pt x="631" y="181"/>
                    </a:lnTo>
                    <a:lnTo>
                      <a:pt x="633" y="181"/>
                    </a:lnTo>
                    <a:lnTo>
                      <a:pt x="639" y="183"/>
                    </a:lnTo>
                    <a:lnTo>
                      <a:pt x="643" y="189"/>
                    </a:lnTo>
                    <a:close/>
                    <a:moveTo>
                      <a:pt x="1219" y="430"/>
                    </a:moveTo>
                    <a:lnTo>
                      <a:pt x="1219" y="431"/>
                    </a:lnTo>
                    <a:lnTo>
                      <a:pt x="1219" y="430"/>
                    </a:lnTo>
                    <a:lnTo>
                      <a:pt x="1217" y="433"/>
                    </a:lnTo>
                    <a:lnTo>
                      <a:pt x="1215" y="433"/>
                    </a:lnTo>
                    <a:lnTo>
                      <a:pt x="1215" y="431"/>
                    </a:lnTo>
                    <a:lnTo>
                      <a:pt x="1211" y="435"/>
                    </a:lnTo>
                    <a:lnTo>
                      <a:pt x="1213" y="431"/>
                    </a:lnTo>
                    <a:lnTo>
                      <a:pt x="1215" y="431"/>
                    </a:lnTo>
                    <a:lnTo>
                      <a:pt x="1215" y="430"/>
                    </a:lnTo>
                    <a:lnTo>
                      <a:pt x="1209" y="431"/>
                    </a:lnTo>
                    <a:lnTo>
                      <a:pt x="1205" y="430"/>
                    </a:lnTo>
                    <a:lnTo>
                      <a:pt x="1205" y="431"/>
                    </a:lnTo>
                    <a:lnTo>
                      <a:pt x="1204" y="431"/>
                    </a:lnTo>
                    <a:lnTo>
                      <a:pt x="1209" y="426"/>
                    </a:lnTo>
                    <a:lnTo>
                      <a:pt x="1215" y="424"/>
                    </a:lnTo>
                    <a:lnTo>
                      <a:pt x="1223" y="416"/>
                    </a:lnTo>
                    <a:lnTo>
                      <a:pt x="1225" y="420"/>
                    </a:lnTo>
                    <a:lnTo>
                      <a:pt x="1225" y="422"/>
                    </a:lnTo>
                    <a:lnTo>
                      <a:pt x="1219" y="430"/>
                    </a:lnTo>
                    <a:close/>
                    <a:moveTo>
                      <a:pt x="904" y="222"/>
                    </a:moveTo>
                    <a:lnTo>
                      <a:pt x="908" y="223"/>
                    </a:lnTo>
                    <a:lnTo>
                      <a:pt x="912" y="225"/>
                    </a:lnTo>
                    <a:lnTo>
                      <a:pt x="921" y="233"/>
                    </a:lnTo>
                    <a:lnTo>
                      <a:pt x="921" y="235"/>
                    </a:lnTo>
                    <a:lnTo>
                      <a:pt x="919" y="237"/>
                    </a:lnTo>
                    <a:lnTo>
                      <a:pt x="910" y="235"/>
                    </a:lnTo>
                    <a:lnTo>
                      <a:pt x="908" y="231"/>
                    </a:lnTo>
                    <a:lnTo>
                      <a:pt x="902" y="229"/>
                    </a:lnTo>
                    <a:lnTo>
                      <a:pt x="898" y="223"/>
                    </a:lnTo>
                    <a:lnTo>
                      <a:pt x="898" y="220"/>
                    </a:lnTo>
                    <a:lnTo>
                      <a:pt x="900" y="220"/>
                    </a:lnTo>
                    <a:lnTo>
                      <a:pt x="904" y="222"/>
                    </a:lnTo>
                    <a:close/>
                    <a:moveTo>
                      <a:pt x="876" y="672"/>
                    </a:moveTo>
                    <a:lnTo>
                      <a:pt x="879" y="674"/>
                    </a:lnTo>
                    <a:lnTo>
                      <a:pt x="879" y="676"/>
                    </a:lnTo>
                    <a:lnTo>
                      <a:pt x="877" y="674"/>
                    </a:lnTo>
                    <a:lnTo>
                      <a:pt x="876" y="674"/>
                    </a:lnTo>
                    <a:lnTo>
                      <a:pt x="876" y="681"/>
                    </a:lnTo>
                    <a:lnTo>
                      <a:pt x="876" y="685"/>
                    </a:lnTo>
                    <a:lnTo>
                      <a:pt x="874" y="685"/>
                    </a:lnTo>
                    <a:lnTo>
                      <a:pt x="872" y="683"/>
                    </a:lnTo>
                    <a:lnTo>
                      <a:pt x="872" y="681"/>
                    </a:lnTo>
                    <a:lnTo>
                      <a:pt x="870" y="683"/>
                    </a:lnTo>
                    <a:lnTo>
                      <a:pt x="870" y="681"/>
                    </a:lnTo>
                    <a:lnTo>
                      <a:pt x="866" y="678"/>
                    </a:lnTo>
                    <a:lnTo>
                      <a:pt x="868" y="674"/>
                    </a:lnTo>
                    <a:lnTo>
                      <a:pt x="870" y="672"/>
                    </a:lnTo>
                    <a:lnTo>
                      <a:pt x="872" y="672"/>
                    </a:lnTo>
                    <a:lnTo>
                      <a:pt x="876" y="672"/>
                    </a:lnTo>
                    <a:close/>
                    <a:moveTo>
                      <a:pt x="998" y="538"/>
                    </a:moveTo>
                    <a:lnTo>
                      <a:pt x="998" y="542"/>
                    </a:lnTo>
                    <a:lnTo>
                      <a:pt x="998" y="544"/>
                    </a:lnTo>
                    <a:lnTo>
                      <a:pt x="998" y="542"/>
                    </a:lnTo>
                    <a:lnTo>
                      <a:pt x="996" y="540"/>
                    </a:lnTo>
                    <a:lnTo>
                      <a:pt x="994" y="542"/>
                    </a:lnTo>
                    <a:lnTo>
                      <a:pt x="994" y="544"/>
                    </a:lnTo>
                    <a:lnTo>
                      <a:pt x="992" y="548"/>
                    </a:lnTo>
                    <a:lnTo>
                      <a:pt x="994" y="552"/>
                    </a:lnTo>
                    <a:lnTo>
                      <a:pt x="992" y="550"/>
                    </a:lnTo>
                    <a:lnTo>
                      <a:pt x="992" y="548"/>
                    </a:lnTo>
                    <a:lnTo>
                      <a:pt x="992" y="542"/>
                    </a:lnTo>
                    <a:lnTo>
                      <a:pt x="990" y="542"/>
                    </a:lnTo>
                    <a:lnTo>
                      <a:pt x="990" y="544"/>
                    </a:lnTo>
                    <a:lnTo>
                      <a:pt x="988" y="544"/>
                    </a:lnTo>
                    <a:lnTo>
                      <a:pt x="990" y="546"/>
                    </a:lnTo>
                    <a:lnTo>
                      <a:pt x="988" y="546"/>
                    </a:lnTo>
                    <a:lnTo>
                      <a:pt x="986" y="542"/>
                    </a:lnTo>
                    <a:lnTo>
                      <a:pt x="988" y="540"/>
                    </a:lnTo>
                    <a:lnTo>
                      <a:pt x="986" y="538"/>
                    </a:lnTo>
                    <a:lnTo>
                      <a:pt x="992" y="533"/>
                    </a:lnTo>
                    <a:lnTo>
                      <a:pt x="998" y="529"/>
                    </a:lnTo>
                    <a:lnTo>
                      <a:pt x="998" y="531"/>
                    </a:lnTo>
                    <a:lnTo>
                      <a:pt x="996" y="531"/>
                    </a:lnTo>
                    <a:lnTo>
                      <a:pt x="996" y="534"/>
                    </a:lnTo>
                    <a:lnTo>
                      <a:pt x="998" y="538"/>
                    </a:lnTo>
                    <a:close/>
                    <a:moveTo>
                      <a:pt x="1402" y="344"/>
                    </a:moveTo>
                    <a:lnTo>
                      <a:pt x="1402" y="346"/>
                    </a:lnTo>
                    <a:lnTo>
                      <a:pt x="1402" y="349"/>
                    </a:lnTo>
                    <a:lnTo>
                      <a:pt x="1398" y="353"/>
                    </a:lnTo>
                    <a:lnTo>
                      <a:pt x="1398" y="351"/>
                    </a:lnTo>
                    <a:lnTo>
                      <a:pt x="1400" y="349"/>
                    </a:lnTo>
                    <a:lnTo>
                      <a:pt x="1398" y="349"/>
                    </a:lnTo>
                    <a:lnTo>
                      <a:pt x="1396" y="351"/>
                    </a:lnTo>
                    <a:lnTo>
                      <a:pt x="1387" y="349"/>
                    </a:lnTo>
                    <a:lnTo>
                      <a:pt x="1381" y="346"/>
                    </a:lnTo>
                    <a:lnTo>
                      <a:pt x="1383" y="344"/>
                    </a:lnTo>
                    <a:lnTo>
                      <a:pt x="1383" y="346"/>
                    </a:lnTo>
                    <a:lnTo>
                      <a:pt x="1385" y="344"/>
                    </a:lnTo>
                    <a:lnTo>
                      <a:pt x="1389" y="342"/>
                    </a:lnTo>
                    <a:lnTo>
                      <a:pt x="1389" y="344"/>
                    </a:lnTo>
                    <a:lnTo>
                      <a:pt x="1390" y="344"/>
                    </a:lnTo>
                    <a:lnTo>
                      <a:pt x="1394" y="344"/>
                    </a:lnTo>
                    <a:lnTo>
                      <a:pt x="1398" y="342"/>
                    </a:lnTo>
                    <a:lnTo>
                      <a:pt x="1402" y="344"/>
                    </a:lnTo>
                    <a:close/>
                    <a:moveTo>
                      <a:pt x="1842" y="607"/>
                    </a:moveTo>
                    <a:lnTo>
                      <a:pt x="1846" y="609"/>
                    </a:lnTo>
                    <a:lnTo>
                      <a:pt x="1856" y="622"/>
                    </a:lnTo>
                    <a:lnTo>
                      <a:pt x="1858" y="626"/>
                    </a:lnTo>
                    <a:lnTo>
                      <a:pt x="1856" y="628"/>
                    </a:lnTo>
                    <a:lnTo>
                      <a:pt x="1854" y="626"/>
                    </a:lnTo>
                    <a:lnTo>
                      <a:pt x="1854" y="624"/>
                    </a:lnTo>
                    <a:lnTo>
                      <a:pt x="1852" y="622"/>
                    </a:lnTo>
                    <a:lnTo>
                      <a:pt x="1848" y="618"/>
                    </a:lnTo>
                    <a:lnTo>
                      <a:pt x="1846" y="611"/>
                    </a:lnTo>
                    <a:lnTo>
                      <a:pt x="1844" y="613"/>
                    </a:lnTo>
                    <a:lnTo>
                      <a:pt x="1842" y="607"/>
                    </a:lnTo>
                    <a:close/>
                    <a:moveTo>
                      <a:pt x="609" y="69"/>
                    </a:moveTo>
                    <a:lnTo>
                      <a:pt x="612" y="73"/>
                    </a:lnTo>
                    <a:lnTo>
                      <a:pt x="610" y="73"/>
                    </a:lnTo>
                    <a:lnTo>
                      <a:pt x="609" y="75"/>
                    </a:lnTo>
                    <a:lnTo>
                      <a:pt x="607" y="82"/>
                    </a:lnTo>
                    <a:lnTo>
                      <a:pt x="603" y="82"/>
                    </a:lnTo>
                    <a:lnTo>
                      <a:pt x="597" y="82"/>
                    </a:lnTo>
                    <a:lnTo>
                      <a:pt x="593" y="77"/>
                    </a:lnTo>
                    <a:lnTo>
                      <a:pt x="601" y="73"/>
                    </a:lnTo>
                    <a:lnTo>
                      <a:pt x="609" y="69"/>
                    </a:lnTo>
                    <a:close/>
                    <a:moveTo>
                      <a:pt x="1074" y="563"/>
                    </a:moveTo>
                    <a:lnTo>
                      <a:pt x="1074" y="565"/>
                    </a:lnTo>
                    <a:lnTo>
                      <a:pt x="1076" y="565"/>
                    </a:lnTo>
                    <a:lnTo>
                      <a:pt x="1074" y="569"/>
                    </a:lnTo>
                    <a:lnTo>
                      <a:pt x="1072" y="569"/>
                    </a:lnTo>
                    <a:lnTo>
                      <a:pt x="1072" y="571"/>
                    </a:lnTo>
                    <a:lnTo>
                      <a:pt x="1070" y="569"/>
                    </a:lnTo>
                    <a:lnTo>
                      <a:pt x="1070" y="567"/>
                    </a:lnTo>
                    <a:lnTo>
                      <a:pt x="1068" y="567"/>
                    </a:lnTo>
                    <a:lnTo>
                      <a:pt x="1070" y="573"/>
                    </a:lnTo>
                    <a:lnTo>
                      <a:pt x="1072" y="571"/>
                    </a:lnTo>
                    <a:lnTo>
                      <a:pt x="1072" y="573"/>
                    </a:lnTo>
                    <a:lnTo>
                      <a:pt x="1070" y="575"/>
                    </a:lnTo>
                    <a:lnTo>
                      <a:pt x="1070" y="573"/>
                    </a:lnTo>
                    <a:lnTo>
                      <a:pt x="1068" y="573"/>
                    </a:lnTo>
                    <a:lnTo>
                      <a:pt x="1066" y="571"/>
                    </a:lnTo>
                    <a:lnTo>
                      <a:pt x="1066" y="573"/>
                    </a:lnTo>
                    <a:lnTo>
                      <a:pt x="1064" y="571"/>
                    </a:lnTo>
                    <a:lnTo>
                      <a:pt x="1062" y="573"/>
                    </a:lnTo>
                    <a:lnTo>
                      <a:pt x="1062" y="571"/>
                    </a:lnTo>
                    <a:lnTo>
                      <a:pt x="1062" y="573"/>
                    </a:lnTo>
                    <a:lnTo>
                      <a:pt x="1061" y="569"/>
                    </a:lnTo>
                    <a:lnTo>
                      <a:pt x="1061" y="567"/>
                    </a:lnTo>
                    <a:lnTo>
                      <a:pt x="1064" y="569"/>
                    </a:lnTo>
                    <a:lnTo>
                      <a:pt x="1066" y="569"/>
                    </a:lnTo>
                    <a:lnTo>
                      <a:pt x="1066" y="567"/>
                    </a:lnTo>
                    <a:lnTo>
                      <a:pt x="1064" y="567"/>
                    </a:lnTo>
                    <a:lnTo>
                      <a:pt x="1064" y="565"/>
                    </a:lnTo>
                    <a:lnTo>
                      <a:pt x="1066" y="563"/>
                    </a:lnTo>
                    <a:lnTo>
                      <a:pt x="1064" y="563"/>
                    </a:lnTo>
                    <a:lnTo>
                      <a:pt x="1068" y="563"/>
                    </a:lnTo>
                    <a:lnTo>
                      <a:pt x="1066" y="565"/>
                    </a:lnTo>
                    <a:lnTo>
                      <a:pt x="1068" y="565"/>
                    </a:lnTo>
                    <a:lnTo>
                      <a:pt x="1070" y="563"/>
                    </a:lnTo>
                    <a:lnTo>
                      <a:pt x="1072" y="563"/>
                    </a:lnTo>
                    <a:lnTo>
                      <a:pt x="1074" y="563"/>
                    </a:lnTo>
                    <a:close/>
                    <a:moveTo>
                      <a:pt x="630" y="48"/>
                    </a:moveTo>
                    <a:lnTo>
                      <a:pt x="630" y="52"/>
                    </a:lnTo>
                    <a:lnTo>
                      <a:pt x="633" y="57"/>
                    </a:lnTo>
                    <a:lnTo>
                      <a:pt x="631" y="59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20" y="57"/>
                    </a:lnTo>
                    <a:lnTo>
                      <a:pt x="620" y="54"/>
                    </a:lnTo>
                    <a:lnTo>
                      <a:pt x="626" y="48"/>
                    </a:lnTo>
                    <a:lnTo>
                      <a:pt x="630" y="48"/>
                    </a:lnTo>
                    <a:close/>
                    <a:moveTo>
                      <a:pt x="1112" y="418"/>
                    </a:moveTo>
                    <a:lnTo>
                      <a:pt x="1108" y="420"/>
                    </a:lnTo>
                    <a:lnTo>
                      <a:pt x="1106" y="414"/>
                    </a:lnTo>
                    <a:lnTo>
                      <a:pt x="1108" y="409"/>
                    </a:lnTo>
                    <a:lnTo>
                      <a:pt x="1112" y="409"/>
                    </a:lnTo>
                    <a:lnTo>
                      <a:pt x="1116" y="410"/>
                    </a:lnTo>
                    <a:lnTo>
                      <a:pt x="1116" y="412"/>
                    </a:lnTo>
                    <a:lnTo>
                      <a:pt x="1112" y="418"/>
                    </a:lnTo>
                    <a:close/>
                    <a:moveTo>
                      <a:pt x="2151" y="1498"/>
                    </a:moveTo>
                    <a:lnTo>
                      <a:pt x="2151" y="1500"/>
                    </a:lnTo>
                    <a:lnTo>
                      <a:pt x="2151" y="1502"/>
                    </a:lnTo>
                    <a:lnTo>
                      <a:pt x="2151" y="1506"/>
                    </a:lnTo>
                    <a:lnTo>
                      <a:pt x="2149" y="1506"/>
                    </a:lnTo>
                    <a:lnTo>
                      <a:pt x="2149" y="1508"/>
                    </a:lnTo>
                    <a:lnTo>
                      <a:pt x="2147" y="1508"/>
                    </a:lnTo>
                    <a:lnTo>
                      <a:pt x="2147" y="1506"/>
                    </a:lnTo>
                    <a:lnTo>
                      <a:pt x="2149" y="1502"/>
                    </a:lnTo>
                    <a:lnTo>
                      <a:pt x="2149" y="1500"/>
                    </a:lnTo>
                    <a:lnTo>
                      <a:pt x="2151" y="1498"/>
                    </a:lnTo>
                    <a:close/>
                    <a:moveTo>
                      <a:pt x="1871" y="1355"/>
                    </a:moveTo>
                    <a:lnTo>
                      <a:pt x="1869" y="1357"/>
                    </a:lnTo>
                    <a:lnTo>
                      <a:pt x="1869" y="1359"/>
                    </a:lnTo>
                    <a:lnTo>
                      <a:pt x="1869" y="1361"/>
                    </a:lnTo>
                    <a:lnTo>
                      <a:pt x="1867" y="1361"/>
                    </a:lnTo>
                    <a:lnTo>
                      <a:pt x="1865" y="1359"/>
                    </a:lnTo>
                    <a:lnTo>
                      <a:pt x="1865" y="1361"/>
                    </a:lnTo>
                    <a:lnTo>
                      <a:pt x="1863" y="1361"/>
                    </a:lnTo>
                    <a:lnTo>
                      <a:pt x="1861" y="1361"/>
                    </a:lnTo>
                    <a:lnTo>
                      <a:pt x="1863" y="1359"/>
                    </a:lnTo>
                    <a:lnTo>
                      <a:pt x="1865" y="1357"/>
                    </a:lnTo>
                    <a:lnTo>
                      <a:pt x="1867" y="1355"/>
                    </a:lnTo>
                    <a:lnTo>
                      <a:pt x="1871" y="1355"/>
                    </a:lnTo>
                    <a:close/>
                    <a:moveTo>
                      <a:pt x="2178" y="1469"/>
                    </a:moveTo>
                    <a:lnTo>
                      <a:pt x="2176" y="1473"/>
                    </a:lnTo>
                    <a:lnTo>
                      <a:pt x="2174" y="1473"/>
                    </a:lnTo>
                    <a:lnTo>
                      <a:pt x="2172" y="1471"/>
                    </a:lnTo>
                    <a:lnTo>
                      <a:pt x="2172" y="1469"/>
                    </a:lnTo>
                    <a:lnTo>
                      <a:pt x="2174" y="1469"/>
                    </a:lnTo>
                    <a:lnTo>
                      <a:pt x="2176" y="1468"/>
                    </a:lnTo>
                    <a:lnTo>
                      <a:pt x="2178" y="1468"/>
                    </a:lnTo>
                    <a:lnTo>
                      <a:pt x="2178" y="1469"/>
                    </a:lnTo>
                    <a:close/>
                    <a:moveTo>
                      <a:pt x="2065" y="449"/>
                    </a:moveTo>
                    <a:lnTo>
                      <a:pt x="2062" y="451"/>
                    </a:lnTo>
                    <a:lnTo>
                      <a:pt x="2062" y="454"/>
                    </a:lnTo>
                    <a:lnTo>
                      <a:pt x="2062" y="456"/>
                    </a:lnTo>
                    <a:lnTo>
                      <a:pt x="2060" y="454"/>
                    </a:lnTo>
                    <a:lnTo>
                      <a:pt x="2050" y="454"/>
                    </a:lnTo>
                    <a:lnTo>
                      <a:pt x="2052" y="452"/>
                    </a:lnTo>
                    <a:lnTo>
                      <a:pt x="2054" y="452"/>
                    </a:lnTo>
                    <a:lnTo>
                      <a:pt x="2056" y="449"/>
                    </a:lnTo>
                    <a:lnTo>
                      <a:pt x="2065" y="447"/>
                    </a:lnTo>
                    <a:lnTo>
                      <a:pt x="2065" y="449"/>
                    </a:lnTo>
                    <a:close/>
                    <a:moveTo>
                      <a:pt x="258" y="1032"/>
                    </a:moveTo>
                    <a:lnTo>
                      <a:pt x="260" y="1032"/>
                    </a:lnTo>
                    <a:lnTo>
                      <a:pt x="258" y="1034"/>
                    </a:lnTo>
                    <a:lnTo>
                      <a:pt x="258" y="1036"/>
                    </a:lnTo>
                    <a:lnTo>
                      <a:pt x="258" y="1034"/>
                    </a:lnTo>
                    <a:lnTo>
                      <a:pt x="258" y="1036"/>
                    </a:lnTo>
                    <a:lnTo>
                      <a:pt x="260" y="1036"/>
                    </a:lnTo>
                    <a:lnTo>
                      <a:pt x="260" y="1038"/>
                    </a:lnTo>
                    <a:lnTo>
                      <a:pt x="258" y="1038"/>
                    </a:lnTo>
                    <a:lnTo>
                      <a:pt x="256" y="1036"/>
                    </a:lnTo>
                    <a:lnTo>
                      <a:pt x="254" y="1036"/>
                    </a:lnTo>
                    <a:lnTo>
                      <a:pt x="254" y="1034"/>
                    </a:lnTo>
                    <a:lnTo>
                      <a:pt x="254" y="1032"/>
                    </a:lnTo>
                    <a:lnTo>
                      <a:pt x="254" y="1031"/>
                    </a:lnTo>
                    <a:lnTo>
                      <a:pt x="254" y="1032"/>
                    </a:lnTo>
                    <a:lnTo>
                      <a:pt x="256" y="1031"/>
                    </a:lnTo>
                    <a:lnTo>
                      <a:pt x="258" y="1031"/>
                    </a:lnTo>
                    <a:lnTo>
                      <a:pt x="258" y="1032"/>
                    </a:lnTo>
                    <a:close/>
                    <a:moveTo>
                      <a:pt x="2109" y="1559"/>
                    </a:moveTo>
                    <a:lnTo>
                      <a:pt x="2109" y="1557"/>
                    </a:lnTo>
                    <a:lnTo>
                      <a:pt x="2111" y="1557"/>
                    </a:lnTo>
                    <a:lnTo>
                      <a:pt x="2109" y="1559"/>
                    </a:lnTo>
                    <a:lnTo>
                      <a:pt x="2109" y="1561"/>
                    </a:lnTo>
                    <a:lnTo>
                      <a:pt x="2107" y="1561"/>
                    </a:lnTo>
                    <a:lnTo>
                      <a:pt x="2107" y="1563"/>
                    </a:lnTo>
                    <a:lnTo>
                      <a:pt x="2104" y="1565"/>
                    </a:lnTo>
                    <a:lnTo>
                      <a:pt x="2104" y="1567"/>
                    </a:lnTo>
                    <a:lnTo>
                      <a:pt x="2102" y="1567"/>
                    </a:lnTo>
                    <a:lnTo>
                      <a:pt x="2102" y="1565"/>
                    </a:lnTo>
                    <a:lnTo>
                      <a:pt x="2104" y="1565"/>
                    </a:lnTo>
                    <a:lnTo>
                      <a:pt x="2105" y="1563"/>
                    </a:lnTo>
                    <a:lnTo>
                      <a:pt x="2107" y="1561"/>
                    </a:lnTo>
                    <a:lnTo>
                      <a:pt x="2109" y="1557"/>
                    </a:lnTo>
                    <a:lnTo>
                      <a:pt x="2109" y="1559"/>
                    </a:lnTo>
                    <a:close/>
                    <a:moveTo>
                      <a:pt x="1383" y="330"/>
                    </a:moveTo>
                    <a:lnTo>
                      <a:pt x="1385" y="330"/>
                    </a:lnTo>
                    <a:lnTo>
                      <a:pt x="1387" y="332"/>
                    </a:lnTo>
                    <a:lnTo>
                      <a:pt x="1387" y="336"/>
                    </a:lnTo>
                    <a:lnTo>
                      <a:pt x="1385" y="334"/>
                    </a:lnTo>
                    <a:lnTo>
                      <a:pt x="1383" y="336"/>
                    </a:lnTo>
                    <a:lnTo>
                      <a:pt x="1381" y="338"/>
                    </a:lnTo>
                    <a:lnTo>
                      <a:pt x="1383" y="338"/>
                    </a:lnTo>
                    <a:lnTo>
                      <a:pt x="1379" y="342"/>
                    </a:lnTo>
                    <a:lnTo>
                      <a:pt x="1377" y="340"/>
                    </a:lnTo>
                    <a:lnTo>
                      <a:pt x="1377" y="336"/>
                    </a:lnTo>
                    <a:lnTo>
                      <a:pt x="1381" y="336"/>
                    </a:lnTo>
                    <a:lnTo>
                      <a:pt x="1381" y="332"/>
                    </a:lnTo>
                    <a:lnTo>
                      <a:pt x="1383" y="330"/>
                    </a:lnTo>
                    <a:close/>
                    <a:moveTo>
                      <a:pt x="897" y="649"/>
                    </a:moveTo>
                    <a:lnTo>
                      <a:pt x="898" y="649"/>
                    </a:lnTo>
                    <a:lnTo>
                      <a:pt x="895" y="651"/>
                    </a:lnTo>
                    <a:lnTo>
                      <a:pt x="895" y="653"/>
                    </a:lnTo>
                    <a:lnTo>
                      <a:pt x="891" y="655"/>
                    </a:lnTo>
                    <a:lnTo>
                      <a:pt x="891" y="651"/>
                    </a:lnTo>
                    <a:lnTo>
                      <a:pt x="889" y="653"/>
                    </a:lnTo>
                    <a:lnTo>
                      <a:pt x="887" y="657"/>
                    </a:lnTo>
                    <a:lnTo>
                      <a:pt x="887" y="653"/>
                    </a:lnTo>
                    <a:lnTo>
                      <a:pt x="891" y="649"/>
                    </a:lnTo>
                    <a:lnTo>
                      <a:pt x="897" y="649"/>
                    </a:lnTo>
                    <a:close/>
                    <a:moveTo>
                      <a:pt x="1057" y="586"/>
                    </a:moveTo>
                    <a:lnTo>
                      <a:pt x="1061" y="590"/>
                    </a:lnTo>
                    <a:lnTo>
                      <a:pt x="1059" y="590"/>
                    </a:lnTo>
                    <a:lnTo>
                      <a:pt x="1059" y="594"/>
                    </a:lnTo>
                    <a:lnTo>
                      <a:pt x="1059" y="590"/>
                    </a:lnTo>
                    <a:lnTo>
                      <a:pt x="1057" y="590"/>
                    </a:lnTo>
                    <a:lnTo>
                      <a:pt x="1055" y="592"/>
                    </a:lnTo>
                    <a:lnTo>
                      <a:pt x="1057" y="592"/>
                    </a:lnTo>
                    <a:lnTo>
                      <a:pt x="1057" y="594"/>
                    </a:lnTo>
                    <a:lnTo>
                      <a:pt x="1055" y="594"/>
                    </a:lnTo>
                    <a:lnTo>
                      <a:pt x="1053" y="594"/>
                    </a:lnTo>
                    <a:lnTo>
                      <a:pt x="1051" y="596"/>
                    </a:lnTo>
                    <a:lnTo>
                      <a:pt x="1053" y="594"/>
                    </a:lnTo>
                    <a:lnTo>
                      <a:pt x="1051" y="594"/>
                    </a:lnTo>
                    <a:lnTo>
                      <a:pt x="1053" y="592"/>
                    </a:lnTo>
                    <a:lnTo>
                      <a:pt x="1053" y="588"/>
                    </a:lnTo>
                    <a:lnTo>
                      <a:pt x="1057" y="586"/>
                    </a:lnTo>
                    <a:close/>
                    <a:moveTo>
                      <a:pt x="1045" y="588"/>
                    </a:moveTo>
                    <a:lnTo>
                      <a:pt x="1049" y="588"/>
                    </a:lnTo>
                    <a:lnTo>
                      <a:pt x="1049" y="590"/>
                    </a:lnTo>
                    <a:lnTo>
                      <a:pt x="1051" y="590"/>
                    </a:lnTo>
                    <a:lnTo>
                      <a:pt x="1049" y="592"/>
                    </a:lnTo>
                    <a:lnTo>
                      <a:pt x="1047" y="592"/>
                    </a:lnTo>
                    <a:lnTo>
                      <a:pt x="1047" y="594"/>
                    </a:lnTo>
                    <a:lnTo>
                      <a:pt x="1045" y="596"/>
                    </a:lnTo>
                    <a:lnTo>
                      <a:pt x="1045" y="594"/>
                    </a:lnTo>
                    <a:lnTo>
                      <a:pt x="1043" y="594"/>
                    </a:lnTo>
                    <a:lnTo>
                      <a:pt x="1043" y="588"/>
                    </a:lnTo>
                    <a:lnTo>
                      <a:pt x="1045" y="588"/>
                    </a:lnTo>
                    <a:close/>
                    <a:moveTo>
                      <a:pt x="2351" y="1363"/>
                    </a:moveTo>
                    <a:lnTo>
                      <a:pt x="2353" y="1363"/>
                    </a:lnTo>
                    <a:lnTo>
                      <a:pt x="2353" y="1364"/>
                    </a:lnTo>
                    <a:lnTo>
                      <a:pt x="2355" y="1364"/>
                    </a:lnTo>
                    <a:lnTo>
                      <a:pt x="2357" y="1366"/>
                    </a:lnTo>
                    <a:lnTo>
                      <a:pt x="2359" y="1368"/>
                    </a:lnTo>
                    <a:lnTo>
                      <a:pt x="2359" y="1370"/>
                    </a:lnTo>
                    <a:lnTo>
                      <a:pt x="2361" y="1370"/>
                    </a:lnTo>
                    <a:lnTo>
                      <a:pt x="2361" y="1372"/>
                    </a:lnTo>
                    <a:lnTo>
                      <a:pt x="2363" y="1372"/>
                    </a:lnTo>
                    <a:lnTo>
                      <a:pt x="2361" y="1372"/>
                    </a:lnTo>
                    <a:lnTo>
                      <a:pt x="2359" y="1370"/>
                    </a:lnTo>
                    <a:lnTo>
                      <a:pt x="2357" y="1368"/>
                    </a:lnTo>
                    <a:lnTo>
                      <a:pt x="2355" y="1368"/>
                    </a:lnTo>
                    <a:lnTo>
                      <a:pt x="2353" y="1366"/>
                    </a:lnTo>
                    <a:lnTo>
                      <a:pt x="2351" y="1363"/>
                    </a:lnTo>
                    <a:close/>
                    <a:moveTo>
                      <a:pt x="1400" y="409"/>
                    </a:moveTo>
                    <a:lnTo>
                      <a:pt x="1400" y="407"/>
                    </a:lnTo>
                    <a:lnTo>
                      <a:pt x="1402" y="407"/>
                    </a:lnTo>
                    <a:lnTo>
                      <a:pt x="1402" y="409"/>
                    </a:lnTo>
                    <a:lnTo>
                      <a:pt x="1400" y="410"/>
                    </a:lnTo>
                    <a:lnTo>
                      <a:pt x="1402" y="410"/>
                    </a:lnTo>
                    <a:lnTo>
                      <a:pt x="1398" y="414"/>
                    </a:lnTo>
                    <a:lnTo>
                      <a:pt x="1394" y="414"/>
                    </a:lnTo>
                    <a:lnTo>
                      <a:pt x="1396" y="412"/>
                    </a:lnTo>
                    <a:lnTo>
                      <a:pt x="1396" y="414"/>
                    </a:lnTo>
                    <a:lnTo>
                      <a:pt x="1398" y="412"/>
                    </a:lnTo>
                    <a:lnTo>
                      <a:pt x="1396" y="410"/>
                    </a:lnTo>
                    <a:lnTo>
                      <a:pt x="1394" y="410"/>
                    </a:lnTo>
                    <a:lnTo>
                      <a:pt x="1396" y="405"/>
                    </a:lnTo>
                    <a:lnTo>
                      <a:pt x="1398" y="407"/>
                    </a:lnTo>
                    <a:lnTo>
                      <a:pt x="1400" y="409"/>
                    </a:lnTo>
                    <a:close/>
                    <a:moveTo>
                      <a:pt x="1007" y="500"/>
                    </a:moveTo>
                    <a:lnTo>
                      <a:pt x="1013" y="502"/>
                    </a:lnTo>
                    <a:lnTo>
                      <a:pt x="1013" y="504"/>
                    </a:lnTo>
                    <a:lnTo>
                      <a:pt x="1007" y="504"/>
                    </a:lnTo>
                    <a:lnTo>
                      <a:pt x="1007" y="502"/>
                    </a:lnTo>
                    <a:lnTo>
                      <a:pt x="1005" y="502"/>
                    </a:lnTo>
                    <a:lnTo>
                      <a:pt x="1003" y="502"/>
                    </a:lnTo>
                    <a:lnTo>
                      <a:pt x="998" y="504"/>
                    </a:lnTo>
                    <a:lnTo>
                      <a:pt x="998" y="502"/>
                    </a:lnTo>
                    <a:lnTo>
                      <a:pt x="998" y="500"/>
                    </a:lnTo>
                    <a:lnTo>
                      <a:pt x="999" y="502"/>
                    </a:lnTo>
                    <a:lnTo>
                      <a:pt x="1001" y="502"/>
                    </a:lnTo>
                    <a:lnTo>
                      <a:pt x="1001" y="498"/>
                    </a:lnTo>
                    <a:lnTo>
                      <a:pt x="1007" y="500"/>
                    </a:lnTo>
                    <a:close/>
                    <a:moveTo>
                      <a:pt x="908" y="670"/>
                    </a:moveTo>
                    <a:lnTo>
                      <a:pt x="902" y="670"/>
                    </a:lnTo>
                    <a:lnTo>
                      <a:pt x="900" y="670"/>
                    </a:lnTo>
                    <a:lnTo>
                      <a:pt x="898" y="666"/>
                    </a:lnTo>
                    <a:lnTo>
                      <a:pt x="900" y="666"/>
                    </a:lnTo>
                    <a:lnTo>
                      <a:pt x="906" y="668"/>
                    </a:lnTo>
                    <a:lnTo>
                      <a:pt x="908" y="670"/>
                    </a:lnTo>
                    <a:close/>
                    <a:moveTo>
                      <a:pt x="2023" y="1632"/>
                    </a:moveTo>
                    <a:lnTo>
                      <a:pt x="2025" y="1632"/>
                    </a:lnTo>
                    <a:lnTo>
                      <a:pt x="2025" y="1634"/>
                    </a:lnTo>
                    <a:lnTo>
                      <a:pt x="2023" y="1634"/>
                    </a:lnTo>
                    <a:lnTo>
                      <a:pt x="2022" y="1635"/>
                    </a:lnTo>
                    <a:lnTo>
                      <a:pt x="2020" y="1635"/>
                    </a:lnTo>
                    <a:lnTo>
                      <a:pt x="2020" y="1634"/>
                    </a:lnTo>
                    <a:lnTo>
                      <a:pt x="2020" y="1635"/>
                    </a:lnTo>
                    <a:lnTo>
                      <a:pt x="2020" y="1634"/>
                    </a:lnTo>
                    <a:lnTo>
                      <a:pt x="2022" y="1634"/>
                    </a:lnTo>
                    <a:lnTo>
                      <a:pt x="2023" y="1632"/>
                    </a:lnTo>
                    <a:close/>
                    <a:moveTo>
                      <a:pt x="1104" y="422"/>
                    </a:moveTo>
                    <a:lnTo>
                      <a:pt x="1102" y="422"/>
                    </a:lnTo>
                    <a:lnTo>
                      <a:pt x="1102" y="424"/>
                    </a:lnTo>
                    <a:lnTo>
                      <a:pt x="1102" y="426"/>
                    </a:lnTo>
                    <a:lnTo>
                      <a:pt x="1102" y="430"/>
                    </a:lnTo>
                    <a:lnTo>
                      <a:pt x="1104" y="431"/>
                    </a:lnTo>
                    <a:lnTo>
                      <a:pt x="1106" y="430"/>
                    </a:lnTo>
                    <a:lnTo>
                      <a:pt x="1106" y="431"/>
                    </a:lnTo>
                    <a:lnTo>
                      <a:pt x="1102" y="431"/>
                    </a:lnTo>
                    <a:lnTo>
                      <a:pt x="1101" y="430"/>
                    </a:lnTo>
                    <a:lnTo>
                      <a:pt x="1099" y="428"/>
                    </a:lnTo>
                    <a:lnTo>
                      <a:pt x="1099" y="424"/>
                    </a:lnTo>
                    <a:lnTo>
                      <a:pt x="1099" y="422"/>
                    </a:lnTo>
                    <a:lnTo>
                      <a:pt x="1101" y="420"/>
                    </a:lnTo>
                    <a:lnTo>
                      <a:pt x="1102" y="420"/>
                    </a:lnTo>
                    <a:lnTo>
                      <a:pt x="1104" y="422"/>
                    </a:lnTo>
                    <a:close/>
                    <a:moveTo>
                      <a:pt x="1219" y="451"/>
                    </a:moveTo>
                    <a:lnTo>
                      <a:pt x="1221" y="452"/>
                    </a:lnTo>
                    <a:lnTo>
                      <a:pt x="1223" y="452"/>
                    </a:lnTo>
                    <a:lnTo>
                      <a:pt x="1223" y="454"/>
                    </a:lnTo>
                    <a:lnTo>
                      <a:pt x="1219" y="454"/>
                    </a:lnTo>
                    <a:lnTo>
                      <a:pt x="1221" y="456"/>
                    </a:lnTo>
                    <a:lnTo>
                      <a:pt x="1217" y="458"/>
                    </a:lnTo>
                    <a:lnTo>
                      <a:pt x="1217" y="456"/>
                    </a:lnTo>
                    <a:lnTo>
                      <a:pt x="1213" y="458"/>
                    </a:lnTo>
                    <a:lnTo>
                      <a:pt x="1215" y="456"/>
                    </a:lnTo>
                    <a:lnTo>
                      <a:pt x="1213" y="454"/>
                    </a:lnTo>
                    <a:lnTo>
                      <a:pt x="1215" y="454"/>
                    </a:lnTo>
                    <a:lnTo>
                      <a:pt x="1217" y="454"/>
                    </a:lnTo>
                    <a:lnTo>
                      <a:pt x="1219" y="452"/>
                    </a:lnTo>
                    <a:lnTo>
                      <a:pt x="1219" y="451"/>
                    </a:lnTo>
                    <a:close/>
                    <a:moveTo>
                      <a:pt x="1013" y="613"/>
                    </a:moveTo>
                    <a:lnTo>
                      <a:pt x="1017" y="615"/>
                    </a:lnTo>
                    <a:lnTo>
                      <a:pt x="1015" y="617"/>
                    </a:lnTo>
                    <a:lnTo>
                      <a:pt x="1015" y="618"/>
                    </a:lnTo>
                    <a:lnTo>
                      <a:pt x="1009" y="617"/>
                    </a:lnTo>
                    <a:lnTo>
                      <a:pt x="1007" y="617"/>
                    </a:lnTo>
                    <a:lnTo>
                      <a:pt x="1011" y="615"/>
                    </a:lnTo>
                    <a:lnTo>
                      <a:pt x="1013" y="613"/>
                    </a:lnTo>
                    <a:close/>
                    <a:moveTo>
                      <a:pt x="624" y="859"/>
                    </a:moveTo>
                    <a:lnTo>
                      <a:pt x="628" y="861"/>
                    </a:lnTo>
                    <a:lnTo>
                      <a:pt x="631" y="863"/>
                    </a:lnTo>
                    <a:lnTo>
                      <a:pt x="631" y="865"/>
                    </a:lnTo>
                    <a:lnTo>
                      <a:pt x="631" y="866"/>
                    </a:lnTo>
                    <a:lnTo>
                      <a:pt x="631" y="868"/>
                    </a:lnTo>
                    <a:lnTo>
                      <a:pt x="630" y="863"/>
                    </a:lnTo>
                    <a:lnTo>
                      <a:pt x="626" y="861"/>
                    </a:lnTo>
                    <a:lnTo>
                      <a:pt x="624" y="861"/>
                    </a:lnTo>
                    <a:lnTo>
                      <a:pt x="622" y="859"/>
                    </a:lnTo>
                    <a:lnTo>
                      <a:pt x="622" y="857"/>
                    </a:lnTo>
                    <a:lnTo>
                      <a:pt x="624" y="859"/>
                    </a:lnTo>
                    <a:close/>
                    <a:moveTo>
                      <a:pt x="1049" y="575"/>
                    </a:moveTo>
                    <a:lnTo>
                      <a:pt x="1051" y="575"/>
                    </a:lnTo>
                    <a:lnTo>
                      <a:pt x="1051" y="578"/>
                    </a:lnTo>
                    <a:lnTo>
                      <a:pt x="1051" y="580"/>
                    </a:lnTo>
                    <a:lnTo>
                      <a:pt x="1051" y="576"/>
                    </a:lnTo>
                    <a:lnTo>
                      <a:pt x="1049" y="578"/>
                    </a:lnTo>
                    <a:lnTo>
                      <a:pt x="1047" y="578"/>
                    </a:lnTo>
                    <a:lnTo>
                      <a:pt x="1045" y="576"/>
                    </a:lnTo>
                    <a:lnTo>
                      <a:pt x="1043" y="578"/>
                    </a:lnTo>
                    <a:lnTo>
                      <a:pt x="1041" y="576"/>
                    </a:lnTo>
                    <a:lnTo>
                      <a:pt x="1045" y="576"/>
                    </a:lnTo>
                    <a:lnTo>
                      <a:pt x="1049" y="575"/>
                    </a:lnTo>
                    <a:close/>
                    <a:moveTo>
                      <a:pt x="950" y="584"/>
                    </a:moveTo>
                    <a:lnTo>
                      <a:pt x="956" y="588"/>
                    </a:lnTo>
                    <a:lnTo>
                      <a:pt x="954" y="588"/>
                    </a:lnTo>
                    <a:lnTo>
                      <a:pt x="954" y="590"/>
                    </a:lnTo>
                    <a:lnTo>
                      <a:pt x="954" y="592"/>
                    </a:lnTo>
                    <a:lnTo>
                      <a:pt x="950" y="590"/>
                    </a:lnTo>
                    <a:lnTo>
                      <a:pt x="948" y="588"/>
                    </a:lnTo>
                    <a:lnTo>
                      <a:pt x="948" y="586"/>
                    </a:lnTo>
                    <a:lnTo>
                      <a:pt x="950" y="588"/>
                    </a:lnTo>
                    <a:lnTo>
                      <a:pt x="952" y="586"/>
                    </a:lnTo>
                    <a:lnTo>
                      <a:pt x="950" y="586"/>
                    </a:lnTo>
                    <a:lnTo>
                      <a:pt x="948" y="586"/>
                    </a:lnTo>
                    <a:lnTo>
                      <a:pt x="950" y="584"/>
                    </a:lnTo>
                    <a:close/>
                    <a:moveTo>
                      <a:pt x="1204" y="454"/>
                    </a:moveTo>
                    <a:lnTo>
                      <a:pt x="1205" y="454"/>
                    </a:lnTo>
                    <a:lnTo>
                      <a:pt x="1204" y="456"/>
                    </a:lnTo>
                    <a:lnTo>
                      <a:pt x="1200" y="456"/>
                    </a:lnTo>
                    <a:lnTo>
                      <a:pt x="1198" y="456"/>
                    </a:lnTo>
                    <a:lnTo>
                      <a:pt x="1196" y="456"/>
                    </a:lnTo>
                    <a:lnTo>
                      <a:pt x="1200" y="452"/>
                    </a:lnTo>
                    <a:lnTo>
                      <a:pt x="1202" y="454"/>
                    </a:lnTo>
                    <a:lnTo>
                      <a:pt x="1202" y="452"/>
                    </a:lnTo>
                    <a:lnTo>
                      <a:pt x="1202" y="451"/>
                    </a:lnTo>
                    <a:lnTo>
                      <a:pt x="1204" y="454"/>
                    </a:lnTo>
                    <a:close/>
                    <a:moveTo>
                      <a:pt x="1003" y="615"/>
                    </a:moveTo>
                    <a:lnTo>
                      <a:pt x="1003" y="618"/>
                    </a:lnTo>
                    <a:lnTo>
                      <a:pt x="999" y="618"/>
                    </a:lnTo>
                    <a:lnTo>
                      <a:pt x="999" y="617"/>
                    </a:lnTo>
                    <a:lnTo>
                      <a:pt x="999" y="615"/>
                    </a:lnTo>
                    <a:lnTo>
                      <a:pt x="1001" y="613"/>
                    </a:lnTo>
                    <a:lnTo>
                      <a:pt x="1003" y="613"/>
                    </a:lnTo>
                    <a:lnTo>
                      <a:pt x="1003" y="615"/>
                    </a:lnTo>
                    <a:close/>
                    <a:moveTo>
                      <a:pt x="231" y="857"/>
                    </a:moveTo>
                    <a:lnTo>
                      <a:pt x="233" y="857"/>
                    </a:lnTo>
                    <a:lnTo>
                      <a:pt x="235" y="859"/>
                    </a:lnTo>
                    <a:lnTo>
                      <a:pt x="231" y="861"/>
                    </a:lnTo>
                    <a:lnTo>
                      <a:pt x="229" y="859"/>
                    </a:lnTo>
                    <a:lnTo>
                      <a:pt x="229" y="857"/>
                    </a:lnTo>
                    <a:lnTo>
                      <a:pt x="231" y="857"/>
                    </a:lnTo>
                    <a:close/>
                    <a:moveTo>
                      <a:pt x="2163" y="1466"/>
                    </a:moveTo>
                    <a:lnTo>
                      <a:pt x="2165" y="1466"/>
                    </a:lnTo>
                    <a:lnTo>
                      <a:pt x="2165" y="1468"/>
                    </a:lnTo>
                    <a:lnTo>
                      <a:pt x="2165" y="1469"/>
                    </a:lnTo>
                    <a:lnTo>
                      <a:pt x="2163" y="1469"/>
                    </a:lnTo>
                    <a:lnTo>
                      <a:pt x="2161" y="1468"/>
                    </a:lnTo>
                    <a:lnTo>
                      <a:pt x="2161" y="1466"/>
                    </a:lnTo>
                    <a:lnTo>
                      <a:pt x="2163" y="1466"/>
                    </a:lnTo>
                    <a:close/>
                    <a:moveTo>
                      <a:pt x="330" y="1046"/>
                    </a:moveTo>
                    <a:lnTo>
                      <a:pt x="330" y="1048"/>
                    </a:lnTo>
                    <a:lnTo>
                      <a:pt x="330" y="1052"/>
                    </a:lnTo>
                    <a:lnTo>
                      <a:pt x="330" y="1050"/>
                    </a:lnTo>
                    <a:lnTo>
                      <a:pt x="328" y="1048"/>
                    </a:lnTo>
                    <a:lnTo>
                      <a:pt x="326" y="1046"/>
                    </a:lnTo>
                    <a:lnTo>
                      <a:pt x="330" y="1046"/>
                    </a:lnTo>
                    <a:close/>
                    <a:moveTo>
                      <a:pt x="990" y="502"/>
                    </a:moveTo>
                    <a:lnTo>
                      <a:pt x="994" y="502"/>
                    </a:lnTo>
                    <a:lnTo>
                      <a:pt x="992" y="504"/>
                    </a:lnTo>
                    <a:lnTo>
                      <a:pt x="992" y="506"/>
                    </a:lnTo>
                    <a:lnTo>
                      <a:pt x="998" y="506"/>
                    </a:lnTo>
                    <a:lnTo>
                      <a:pt x="999" y="508"/>
                    </a:lnTo>
                    <a:lnTo>
                      <a:pt x="992" y="506"/>
                    </a:lnTo>
                    <a:lnTo>
                      <a:pt x="988" y="504"/>
                    </a:lnTo>
                    <a:lnTo>
                      <a:pt x="988" y="502"/>
                    </a:lnTo>
                    <a:lnTo>
                      <a:pt x="990" y="500"/>
                    </a:lnTo>
                    <a:lnTo>
                      <a:pt x="990" y="502"/>
                    </a:lnTo>
                    <a:close/>
                    <a:moveTo>
                      <a:pt x="2086" y="1239"/>
                    </a:moveTo>
                    <a:lnTo>
                      <a:pt x="2085" y="1239"/>
                    </a:lnTo>
                    <a:lnTo>
                      <a:pt x="2085" y="1240"/>
                    </a:lnTo>
                    <a:lnTo>
                      <a:pt x="2081" y="1240"/>
                    </a:lnTo>
                    <a:lnTo>
                      <a:pt x="2083" y="1239"/>
                    </a:lnTo>
                    <a:lnTo>
                      <a:pt x="2085" y="1239"/>
                    </a:lnTo>
                    <a:lnTo>
                      <a:pt x="2085" y="1237"/>
                    </a:lnTo>
                    <a:lnTo>
                      <a:pt x="2086" y="1239"/>
                    </a:lnTo>
                    <a:close/>
                    <a:moveTo>
                      <a:pt x="1387" y="397"/>
                    </a:moveTo>
                    <a:lnTo>
                      <a:pt x="1389" y="397"/>
                    </a:lnTo>
                    <a:lnTo>
                      <a:pt x="1389" y="399"/>
                    </a:lnTo>
                    <a:lnTo>
                      <a:pt x="1387" y="401"/>
                    </a:lnTo>
                    <a:lnTo>
                      <a:pt x="1387" y="403"/>
                    </a:lnTo>
                    <a:lnTo>
                      <a:pt x="1383" y="403"/>
                    </a:lnTo>
                    <a:lnTo>
                      <a:pt x="1387" y="397"/>
                    </a:lnTo>
                    <a:close/>
                    <a:moveTo>
                      <a:pt x="1200" y="481"/>
                    </a:moveTo>
                    <a:lnTo>
                      <a:pt x="1198" y="483"/>
                    </a:lnTo>
                    <a:lnTo>
                      <a:pt x="1198" y="487"/>
                    </a:lnTo>
                    <a:lnTo>
                      <a:pt x="1194" y="485"/>
                    </a:lnTo>
                    <a:lnTo>
                      <a:pt x="1190" y="485"/>
                    </a:lnTo>
                    <a:lnTo>
                      <a:pt x="1192" y="485"/>
                    </a:lnTo>
                    <a:lnTo>
                      <a:pt x="1192" y="483"/>
                    </a:lnTo>
                    <a:lnTo>
                      <a:pt x="1196" y="485"/>
                    </a:lnTo>
                    <a:lnTo>
                      <a:pt x="1196" y="481"/>
                    </a:lnTo>
                    <a:lnTo>
                      <a:pt x="1198" y="481"/>
                    </a:lnTo>
                    <a:lnTo>
                      <a:pt x="1198" y="479"/>
                    </a:lnTo>
                    <a:lnTo>
                      <a:pt x="1200" y="481"/>
                    </a:lnTo>
                    <a:close/>
                    <a:moveTo>
                      <a:pt x="1221" y="435"/>
                    </a:moveTo>
                    <a:lnTo>
                      <a:pt x="1221" y="437"/>
                    </a:lnTo>
                    <a:lnTo>
                      <a:pt x="1221" y="439"/>
                    </a:lnTo>
                    <a:lnTo>
                      <a:pt x="1217" y="439"/>
                    </a:lnTo>
                    <a:lnTo>
                      <a:pt x="1213" y="437"/>
                    </a:lnTo>
                    <a:lnTo>
                      <a:pt x="1219" y="435"/>
                    </a:lnTo>
                    <a:lnTo>
                      <a:pt x="1221" y="435"/>
                    </a:lnTo>
                    <a:close/>
                    <a:moveTo>
                      <a:pt x="1001" y="395"/>
                    </a:moveTo>
                    <a:lnTo>
                      <a:pt x="1003" y="397"/>
                    </a:lnTo>
                    <a:lnTo>
                      <a:pt x="998" y="395"/>
                    </a:lnTo>
                    <a:lnTo>
                      <a:pt x="996" y="395"/>
                    </a:lnTo>
                    <a:lnTo>
                      <a:pt x="996" y="393"/>
                    </a:lnTo>
                    <a:lnTo>
                      <a:pt x="999" y="393"/>
                    </a:lnTo>
                    <a:lnTo>
                      <a:pt x="1001" y="395"/>
                    </a:lnTo>
                    <a:close/>
                    <a:moveTo>
                      <a:pt x="1064" y="573"/>
                    </a:moveTo>
                    <a:lnTo>
                      <a:pt x="1066" y="573"/>
                    </a:lnTo>
                    <a:lnTo>
                      <a:pt x="1066" y="575"/>
                    </a:lnTo>
                    <a:lnTo>
                      <a:pt x="1068" y="575"/>
                    </a:lnTo>
                    <a:lnTo>
                      <a:pt x="1070" y="575"/>
                    </a:lnTo>
                    <a:lnTo>
                      <a:pt x="1068" y="576"/>
                    </a:lnTo>
                    <a:lnTo>
                      <a:pt x="1066" y="575"/>
                    </a:lnTo>
                    <a:lnTo>
                      <a:pt x="1066" y="576"/>
                    </a:lnTo>
                    <a:lnTo>
                      <a:pt x="1066" y="578"/>
                    </a:lnTo>
                    <a:lnTo>
                      <a:pt x="1064" y="576"/>
                    </a:lnTo>
                    <a:lnTo>
                      <a:pt x="1064" y="575"/>
                    </a:lnTo>
                    <a:lnTo>
                      <a:pt x="1064" y="573"/>
                    </a:lnTo>
                    <a:close/>
                    <a:moveTo>
                      <a:pt x="1491" y="473"/>
                    </a:moveTo>
                    <a:lnTo>
                      <a:pt x="1493" y="473"/>
                    </a:lnTo>
                    <a:lnTo>
                      <a:pt x="1493" y="472"/>
                    </a:lnTo>
                    <a:lnTo>
                      <a:pt x="1493" y="475"/>
                    </a:lnTo>
                    <a:lnTo>
                      <a:pt x="1490" y="475"/>
                    </a:lnTo>
                    <a:lnTo>
                      <a:pt x="1490" y="472"/>
                    </a:lnTo>
                    <a:lnTo>
                      <a:pt x="1490" y="470"/>
                    </a:lnTo>
                    <a:lnTo>
                      <a:pt x="1491" y="470"/>
                    </a:lnTo>
                    <a:lnTo>
                      <a:pt x="1491" y="472"/>
                    </a:lnTo>
                    <a:lnTo>
                      <a:pt x="1491" y="473"/>
                    </a:lnTo>
                    <a:close/>
                    <a:moveTo>
                      <a:pt x="1024" y="620"/>
                    </a:moveTo>
                    <a:lnTo>
                      <a:pt x="1026" y="620"/>
                    </a:lnTo>
                    <a:lnTo>
                      <a:pt x="1030" y="620"/>
                    </a:lnTo>
                    <a:lnTo>
                      <a:pt x="1030" y="622"/>
                    </a:lnTo>
                    <a:lnTo>
                      <a:pt x="1028" y="624"/>
                    </a:lnTo>
                    <a:lnTo>
                      <a:pt x="1026" y="622"/>
                    </a:lnTo>
                    <a:lnTo>
                      <a:pt x="1022" y="622"/>
                    </a:lnTo>
                    <a:lnTo>
                      <a:pt x="1022" y="620"/>
                    </a:lnTo>
                    <a:lnTo>
                      <a:pt x="1024" y="620"/>
                    </a:lnTo>
                    <a:close/>
                    <a:moveTo>
                      <a:pt x="1209" y="454"/>
                    </a:moveTo>
                    <a:lnTo>
                      <a:pt x="1211" y="452"/>
                    </a:lnTo>
                    <a:lnTo>
                      <a:pt x="1213" y="452"/>
                    </a:lnTo>
                    <a:lnTo>
                      <a:pt x="1211" y="456"/>
                    </a:lnTo>
                    <a:lnTo>
                      <a:pt x="1207" y="456"/>
                    </a:lnTo>
                    <a:lnTo>
                      <a:pt x="1207" y="454"/>
                    </a:lnTo>
                    <a:lnTo>
                      <a:pt x="1207" y="452"/>
                    </a:lnTo>
                    <a:lnTo>
                      <a:pt x="1209" y="451"/>
                    </a:lnTo>
                    <a:lnTo>
                      <a:pt x="1207" y="452"/>
                    </a:lnTo>
                    <a:lnTo>
                      <a:pt x="1209" y="454"/>
                    </a:lnTo>
                    <a:close/>
                    <a:moveTo>
                      <a:pt x="2138" y="1519"/>
                    </a:moveTo>
                    <a:lnTo>
                      <a:pt x="2138" y="1521"/>
                    </a:lnTo>
                    <a:lnTo>
                      <a:pt x="2138" y="1519"/>
                    </a:lnTo>
                    <a:lnTo>
                      <a:pt x="2140" y="1517"/>
                    </a:lnTo>
                    <a:lnTo>
                      <a:pt x="2140" y="1515"/>
                    </a:lnTo>
                    <a:lnTo>
                      <a:pt x="2142" y="1517"/>
                    </a:lnTo>
                    <a:lnTo>
                      <a:pt x="2140" y="1517"/>
                    </a:lnTo>
                    <a:lnTo>
                      <a:pt x="2138" y="1519"/>
                    </a:lnTo>
                    <a:close/>
                    <a:moveTo>
                      <a:pt x="902" y="651"/>
                    </a:moveTo>
                    <a:lnTo>
                      <a:pt x="908" y="653"/>
                    </a:lnTo>
                    <a:lnTo>
                      <a:pt x="908" y="655"/>
                    </a:lnTo>
                    <a:lnTo>
                      <a:pt x="906" y="653"/>
                    </a:lnTo>
                    <a:lnTo>
                      <a:pt x="904" y="651"/>
                    </a:lnTo>
                    <a:lnTo>
                      <a:pt x="902" y="651"/>
                    </a:lnTo>
                    <a:lnTo>
                      <a:pt x="900" y="651"/>
                    </a:lnTo>
                    <a:lnTo>
                      <a:pt x="898" y="651"/>
                    </a:lnTo>
                    <a:lnTo>
                      <a:pt x="898" y="649"/>
                    </a:lnTo>
                    <a:lnTo>
                      <a:pt x="902" y="651"/>
                    </a:lnTo>
                    <a:close/>
                    <a:moveTo>
                      <a:pt x="452" y="1597"/>
                    </a:moveTo>
                    <a:lnTo>
                      <a:pt x="450" y="1597"/>
                    </a:lnTo>
                    <a:lnTo>
                      <a:pt x="452" y="1597"/>
                    </a:lnTo>
                    <a:lnTo>
                      <a:pt x="450" y="1595"/>
                    </a:lnTo>
                    <a:lnTo>
                      <a:pt x="450" y="1592"/>
                    </a:lnTo>
                    <a:lnTo>
                      <a:pt x="452" y="1592"/>
                    </a:lnTo>
                    <a:lnTo>
                      <a:pt x="452" y="1593"/>
                    </a:lnTo>
                    <a:lnTo>
                      <a:pt x="452" y="1595"/>
                    </a:lnTo>
                    <a:lnTo>
                      <a:pt x="452" y="1597"/>
                    </a:lnTo>
                    <a:close/>
                    <a:moveTo>
                      <a:pt x="1242" y="447"/>
                    </a:moveTo>
                    <a:lnTo>
                      <a:pt x="1242" y="449"/>
                    </a:lnTo>
                    <a:lnTo>
                      <a:pt x="1240" y="449"/>
                    </a:lnTo>
                    <a:lnTo>
                      <a:pt x="1240" y="451"/>
                    </a:lnTo>
                    <a:lnTo>
                      <a:pt x="1238" y="449"/>
                    </a:lnTo>
                    <a:lnTo>
                      <a:pt x="1236" y="449"/>
                    </a:lnTo>
                    <a:lnTo>
                      <a:pt x="1234" y="447"/>
                    </a:lnTo>
                    <a:lnTo>
                      <a:pt x="1242" y="445"/>
                    </a:lnTo>
                    <a:lnTo>
                      <a:pt x="1242" y="447"/>
                    </a:lnTo>
                    <a:close/>
                    <a:moveTo>
                      <a:pt x="1238" y="452"/>
                    </a:moveTo>
                    <a:lnTo>
                      <a:pt x="1240" y="456"/>
                    </a:lnTo>
                    <a:lnTo>
                      <a:pt x="1242" y="458"/>
                    </a:lnTo>
                    <a:lnTo>
                      <a:pt x="1240" y="460"/>
                    </a:lnTo>
                    <a:lnTo>
                      <a:pt x="1240" y="458"/>
                    </a:lnTo>
                    <a:lnTo>
                      <a:pt x="1236" y="458"/>
                    </a:lnTo>
                    <a:lnTo>
                      <a:pt x="1238" y="458"/>
                    </a:lnTo>
                    <a:lnTo>
                      <a:pt x="1238" y="454"/>
                    </a:lnTo>
                    <a:lnTo>
                      <a:pt x="1236" y="452"/>
                    </a:lnTo>
                    <a:lnTo>
                      <a:pt x="1238" y="452"/>
                    </a:lnTo>
                    <a:lnTo>
                      <a:pt x="1238" y="451"/>
                    </a:lnTo>
                    <a:lnTo>
                      <a:pt x="1240" y="451"/>
                    </a:lnTo>
                    <a:lnTo>
                      <a:pt x="1238" y="452"/>
                    </a:lnTo>
                    <a:close/>
                    <a:moveTo>
                      <a:pt x="448" y="1630"/>
                    </a:moveTo>
                    <a:lnTo>
                      <a:pt x="450" y="1630"/>
                    </a:lnTo>
                    <a:lnTo>
                      <a:pt x="448" y="1632"/>
                    </a:lnTo>
                    <a:lnTo>
                      <a:pt x="448" y="1630"/>
                    </a:lnTo>
                    <a:lnTo>
                      <a:pt x="446" y="1630"/>
                    </a:lnTo>
                    <a:lnTo>
                      <a:pt x="448" y="1630"/>
                    </a:lnTo>
                    <a:lnTo>
                      <a:pt x="446" y="1630"/>
                    </a:lnTo>
                    <a:lnTo>
                      <a:pt x="448" y="1630"/>
                    </a:lnTo>
                    <a:close/>
                    <a:moveTo>
                      <a:pt x="1785" y="1649"/>
                    </a:moveTo>
                    <a:lnTo>
                      <a:pt x="1785" y="1651"/>
                    </a:lnTo>
                    <a:lnTo>
                      <a:pt x="1787" y="1651"/>
                    </a:lnTo>
                    <a:lnTo>
                      <a:pt x="1787" y="1653"/>
                    </a:lnTo>
                    <a:lnTo>
                      <a:pt x="1785" y="1653"/>
                    </a:lnTo>
                    <a:lnTo>
                      <a:pt x="1785" y="1651"/>
                    </a:lnTo>
                    <a:lnTo>
                      <a:pt x="1783" y="1651"/>
                    </a:lnTo>
                    <a:lnTo>
                      <a:pt x="1785" y="1651"/>
                    </a:lnTo>
                    <a:lnTo>
                      <a:pt x="1783" y="1651"/>
                    </a:lnTo>
                    <a:lnTo>
                      <a:pt x="1785" y="1651"/>
                    </a:lnTo>
                    <a:lnTo>
                      <a:pt x="1787" y="1651"/>
                    </a:lnTo>
                    <a:lnTo>
                      <a:pt x="1785" y="1651"/>
                    </a:lnTo>
                    <a:lnTo>
                      <a:pt x="1785" y="1649"/>
                    </a:lnTo>
                    <a:close/>
                    <a:moveTo>
                      <a:pt x="1034" y="594"/>
                    </a:moveTo>
                    <a:lnTo>
                      <a:pt x="1036" y="596"/>
                    </a:lnTo>
                    <a:lnTo>
                      <a:pt x="1038" y="597"/>
                    </a:lnTo>
                    <a:lnTo>
                      <a:pt x="1034" y="597"/>
                    </a:lnTo>
                    <a:lnTo>
                      <a:pt x="1032" y="596"/>
                    </a:lnTo>
                    <a:lnTo>
                      <a:pt x="1034" y="594"/>
                    </a:lnTo>
                    <a:close/>
                    <a:moveTo>
                      <a:pt x="1040" y="592"/>
                    </a:moveTo>
                    <a:lnTo>
                      <a:pt x="1038" y="594"/>
                    </a:lnTo>
                    <a:lnTo>
                      <a:pt x="1034" y="594"/>
                    </a:lnTo>
                    <a:lnTo>
                      <a:pt x="1036" y="592"/>
                    </a:lnTo>
                    <a:lnTo>
                      <a:pt x="1038" y="592"/>
                    </a:lnTo>
                    <a:lnTo>
                      <a:pt x="1040" y="592"/>
                    </a:lnTo>
                    <a:close/>
                    <a:moveTo>
                      <a:pt x="1877" y="1370"/>
                    </a:moveTo>
                    <a:lnTo>
                      <a:pt x="1879" y="1370"/>
                    </a:lnTo>
                    <a:lnTo>
                      <a:pt x="1879" y="1376"/>
                    </a:lnTo>
                    <a:lnTo>
                      <a:pt x="1877" y="1376"/>
                    </a:lnTo>
                    <a:lnTo>
                      <a:pt x="1877" y="1370"/>
                    </a:lnTo>
                    <a:close/>
                    <a:moveTo>
                      <a:pt x="1047" y="611"/>
                    </a:moveTo>
                    <a:lnTo>
                      <a:pt x="1053" y="611"/>
                    </a:lnTo>
                    <a:lnTo>
                      <a:pt x="1053" y="613"/>
                    </a:lnTo>
                    <a:lnTo>
                      <a:pt x="1047" y="615"/>
                    </a:lnTo>
                    <a:lnTo>
                      <a:pt x="1047" y="613"/>
                    </a:lnTo>
                    <a:lnTo>
                      <a:pt x="1051" y="613"/>
                    </a:lnTo>
                    <a:lnTo>
                      <a:pt x="1047" y="611"/>
                    </a:lnTo>
                    <a:close/>
                    <a:moveTo>
                      <a:pt x="1882" y="1372"/>
                    </a:moveTo>
                    <a:lnTo>
                      <a:pt x="1882" y="1374"/>
                    </a:lnTo>
                    <a:lnTo>
                      <a:pt x="1880" y="1374"/>
                    </a:lnTo>
                    <a:lnTo>
                      <a:pt x="1880" y="1376"/>
                    </a:lnTo>
                    <a:lnTo>
                      <a:pt x="1879" y="1376"/>
                    </a:lnTo>
                    <a:lnTo>
                      <a:pt x="1880" y="1374"/>
                    </a:lnTo>
                    <a:lnTo>
                      <a:pt x="1880" y="1372"/>
                    </a:lnTo>
                    <a:lnTo>
                      <a:pt x="1882" y="1372"/>
                    </a:lnTo>
                    <a:close/>
                    <a:moveTo>
                      <a:pt x="260" y="1031"/>
                    </a:moveTo>
                    <a:lnTo>
                      <a:pt x="262" y="1031"/>
                    </a:lnTo>
                    <a:lnTo>
                      <a:pt x="265" y="1031"/>
                    </a:lnTo>
                    <a:lnTo>
                      <a:pt x="262" y="1032"/>
                    </a:lnTo>
                    <a:lnTo>
                      <a:pt x="260" y="1032"/>
                    </a:lnTo>
                    <a:lnTo>
                      <a:pt x="260" y="1031"/>
                    </a:lnTo>
                    <a:lnTo>
                      <a:pt x="262" y="1031"/>
                    </a:lnTo>
                    <a:lnTo>
                      <a:pt x="260" y="1031"/>
                    </a:lnTo>
                    <a:close/>
                    <a:moveTo>
                      <a:pt x="2146" y="1509"/>
                    </a:moveTo>
                    <a:lnTo>
                      <a:pt x="2147" y="1509"/>
                    </a:lnTo>
                    <a:lnTo>
                      <a:pt x="2147" y="1511"/>
                    </a:lnTo>
                    <a:lnTo>
                      <a:pt x="2146" y="1511"/>
                    </a:lnTo>
                    <a:lnTo>
                      <a:pt x="2146" y="1509"/>
                    </a:lnTo>
                    <a:close/>
                    <a:moveTo>
                      <a:pt x="1373" y="412"/>
                    </a:moveTo>
                    <a:lnTo>
                      <a:pt x="1371" y="412"/>
                    </a:lnTo>
                    <a:lnTo>
                      <a:pt x="1371" y="410"/>
                    </a:lnTo>
                    <a:lnTo>
                      <a:pt x="1373" y="409"/>
                    </a:lnTo>
                    <a:lnTo>
                      <a:pt x="1375" y="410"/>
                    </a:lnTo>
                    <a:lnTo>
                      <a:pt x="1373" y="412"/>
                    </a:lnTo>
                    <a:close/>
                    <a:moveTo>
                      <a:pt x="2113" y="1551"/>
                    </a:moveTo>
                    <a:lnTo>
                      <a:pt x="2115" y="1551"/>
                    </a:lnTo>
                    <a:lnTo>
                      <a:pt x="2115" y="1553"/>
                    </a:lnTo>
                    <a:lnTo>
                      <a:pt x="2113" y="1553"/>
                    </a:lnTo>
                    <a:lnTo>
                      <a:pt x="2113" y="1551"/>
                    </a:lnTo>
                    <a:close/>
                    <a:moveTo>
                      <a:pt x="546" y="901"/>
                    </a:moveTo>
                    <a:lnTo>
                      <a:pt x="548" y="901"/>
                    </a:lnTo>
                    <a:lnTo>
                      <a:pt x="548" y="905"/>
                    </a:lnTo>
                    <a:lnTo>
                      <a:pt x="546" y="905"/>
                    </a:lnTo>
                    <a:lnTo>
                      <a:pt x="546" y="901"/>
                    </a:lnTo>
                    <a:close/>
                    <a:moveTo>
                      <a:pt x="1045" y="596"/>
                    </a:moveTo>
                    <a:lnTo>
                      <a:pt x="1049" y="596"/>
                    </a:lnTo>
                    <a:lnTo>
                      <a:pt x="1051" y="597"/>
                    </a:lnTo>
                    <a:lnTo>
                      <a:pt x="1047" y="597"/>
                    </a:lnTo>
                    <a:lnTo>
                      <a:pt x="1045" y="597"/>
                    </a:lnTo>
                    <a:lnTo>
                      <a:pt x="1043" y="597"/>
                    </a:lnTo>
                    <a:lnTo>
                      <a:pt x="1045" y="596"/>
                    </a:lnTo>
                    <a:close/>
                    <a:moveTo>
                      <a:pt x="1202" y="489"/>
                    </a:moveTo>
                    <a:lnTo>
                      <a:pt x="1200" y="487"/>
                    </a:lnTo>
                    <a:lnTo>
                      <a:pt x="1202" y="485"/>
                    </a:lnTo>
                    <a:lnTo>
                      <a:pt x="1204" y="485"/>
                    </a:lnTo>
                    <a:lnTo>
                      <a:pt x="1202" y="487"/>
                    </a:lnTo>
                    <a:lnTo>
                      <a:pt x="1204" y="487"/>
                    </a:lnTo>
                    <a:lnTo>
                      <a:pt x="1202" y="489"/>
                    </a:lnTo>
                    <a:close/>
                    <a:moveTo>
                      <a:pt x="790" y="970"/>
                    </a:moveTo>
                    <a:lnTo>
                      <a:pt x="794" y="970"/>
                    </a:lnTo>
                    <a:lnTo>
                      <a:pt x="794" y="973"/>
                    </a:lnTo>
                    <a:lnTo>
                      <a:pt x="790" y="973"/>
                    </a:lnTo>
                    <a:lnTo>
                      <a:pt x="790" y="970"/>
                    </a:lnTo>
                    <a:close/>
                    <a:moveTo>
                      <a:pt x="1055" y="569"/>
                    </a:moveTo>
                    <a:lnTo>
                      <a:pt x="1055" y="575"/>
                    </a:lnTo>
                    <a:lnTo>
                      <a:pt x="1053" y="575"/>
                    </a:lnTo>
                    <a:lnTo>
                      <a:pt x="1051" y="575"/>
                    </a:lnTo>
                    <a:lnTo>
                      <a:pt x="1053" y="573"/>
                    </a:lnTo>
                    <a:lnTo>
                      <a:pt x="1053" y="571"/>
                    </a:lnTo>
                    <a:lnTo>
                      <a:pt x="1055" y="569"/>
                    </a:lnTo>
                    <a:close/>
                    <a:moveTo>
                      <a:pt x="141" y="1198"/>
                    </a:moveTo>
                    <a:lnTo>
                      <a:pt x="145" y="1198"/>
                    </a:lnTo>
                    <a:lnTo>
                      <a:pt x="145" y="1202"/>
                    </a:lnTo>
                    <a:lnTo>
                      <a:pt x="141" y="1202"/>
                    </a:lnTo>
                    <a:lnTo>
                      <a:pt x="141" y="1198"/>
                    </a:lnTo>
                    <a:close/>
                    <a:moveTo>
                      <a:pt x="2395" y="840"/>
                    </a:moveTo>
                    <a:lnTo>
                      <a:pt x="2395" y="842"/>
                    </a:lnTo>
                    <a:lnTo>
                      <a:pt x="2393" y="840"/>
                    </a:lnTo>
                    <a:lnTo>
                      <a:pt x="2395" y="840"/>
                    </a:lnTo>
                    <a:lnTo>
                      <a:pt x="2397" y="838"/>
                    </a:lnTo>
                    <a:lnTo>
                      <a:pt x="2395" y="840"/>
                    </a:lnTo>
                    <a:close/>
                    <a:moveTo>
                      <a:pt x="2121" y="1542"/>
                    </a:moveTo>
                    <a:lnTo>
                      <a:pt x="2123" y="1542"/>
                    </a:lnTo>
                    <a:lnTo>
                      <a:pt x="2123" y="1546"/>
                    </a:lnTo>
                    <a:lnTo>
                      <a:pt x="2121" y="1546"/>
                    </a:lnTo>
                    <a:lnTo>
                      <a:pt x="2121" y="1542"/>
                    </a:lnTo>
                    <a:close/>
                    <a:moveTo>
                      <a:pt x="551" y="903"/>
                    </a:moveTo>
                    <a:lnTo>
                      <a:pt x="553" y="903"/>
                    </a:lnTo>
                    <a:lnTo>
                      <a:pt x="553" y="907"/>
                    </a:lnTo>
                    <a:lnTo>
                      <a:pt x="551" y="907"/>
                    </a:lnTo>
                    <a:lnTo>
                      <a:pt x="551" y="903"/>
                    </a:lnTo>
                    <a:close/>
                    <a:moveTo>
                      <a:pt x="2012" y="1639"/>
                    </a:moveTo>
                    <a:lnTo>
                      <a:pt x="2014" y="1639"/>
                    </a:lnTo>
                    <a:lnTo>
                      <a:pt x="2014" y="1641"/>
                    </a:lnTo>
                    <a:lnTo>
                      <a:pt x="2012" y="1641"/>
                    </a:lnTo>
                    <a:lnTo>
                      <a:pt x="2012" y="1639"/>
                    </a:lnTo>
                    <a:close/>
                    <a:moveTo>
                      <a:pt x="2144" y="1494"/>
                    </a:moveTo>
                    <a:lnTo>
                      <a:pt x="2146" y="1494"/>
                    </a:lnTo>
                    <a:lnTo>
                      <a:pt x="2146" y="1496"/>
                    </a:lnTo>
                    <a:lnTo>
                      <a:pt x="2144" y="1496"/>
                    </a:lnTo>
                    <a:lnTo>
                      <a:pt x="2144" y="1494"/>
                    </a:lnTo>
                    <a:close/>
                    <a:moveTo>
                      <a:pt x="2125" y="1534"/>
                    </a:moveTo>
                    <a:lnTo>
                      <a:pt x="2126" y="1534"/>
                    </a:lnTo>
                    <a:lnTo>
                      <a:pt x="2126" y="1536"/>
                    </a:lnTo>
                    <a:lnTo>
                      <a:pt x="2125" y="1536"/>
                    </a:lnTo>
                    <a:lnTo>
                      <a:pt x="2125" y="1534"/>
                    </a:lnTo>
                    <a:close/>
                    <a:moveTo>
                      <a:pt x="328" y="1038"/>
                    </a:moveTo>
                    <a:lnTo>
                      <a:pt x="330" y="1038"/>
                    </a:lnTo>
                    <a:lnTo>
                      <a:pt x="330" y="1042"/>
                    </a:lnTo>
                    <a:lnTo>
                      <a:pt x="328" y="1042"/>
                    </a:lnTo>
                    <a:lnTo>
                      <a:pt x="328" y="1038"/>
                    </a:lnTo>
                    <a:close/>
                    <a:moveTo>
                      <a:pt x="2060" y="1235"/>
                    </a:moveTo>
                    <a:lnTo>
                      <a:pt x="2060" y="1237"/>
                    </a:lnTo>
                    <a:lnTo>
                      <a:pt x="2058" y="1237"/>
                    </a:lnTo>
                    <a:lnTo>
                      <a:pt x="2058" y="1239"/>
                    </a:lnTo>
                    <a:lnTo>
                      <a:pt x="2058" y="1237"/>
                    </a:lnTo>
                    <a:lnTo>
                      <a:pt x="2060" y="1235"/>
                    </a:lnTo>
                    <a:close/>
                    <a:moveTo>
                      <a:pt x="1211" y="449"/>
                    </a:moveTo>
                    <a:lnTo>
                      <a:pt x="1213" y="449"/>
                    </a:lnTo>
                    <a:lnTo>
                      <a:pt x="1213" y="452"/>
                    </a:lnTo>
                    <a:lnTo>
                      <a:pt x="1211" y="452"/>
                    </a:lnTo>
                    <a:lnTo>
                      <a:pt x="1211" y="449"/>
                    </a:lnTo>
                    <a:close/>
                    <a:moveTo>
                      <a:pt x="1213" y="449"/>
                    </a:moveTo>
                    <a:lnTo>
                      <a:pt x="1217" y="449"/>
                    </a:lnTo>
                    <a:lnTo>
                      <a:pt x="1217" y="452"/>
                    </a:lnTo>
                    <a:lnTo>
                      <a:pt x="1213" y="452"/>
                    </a:lnTo>
                    <a:lnTo>
                      <a:pt x="1213" y="449"/>
                    </a:lnTo>
                    <a:close/>
                    <a:moveTo>
                      <a:pt x="1040" y="586"/>
                    </a:moveTo>
                    <a:lnTo>
                      <a:pt x="1043" y="588"/>
                    </a:lnTo>
                    <a:lnTo>
                      <a:pt x="1040" y="588"/>
                    </a:lnTo>
                    <a:lnTo>
                      <a:pt x="1038" y="590"/>
                    </a:lnTo>
                    <a:lnTo>
                      <a:pt x="1038" y="588"/>
                    </a:lnTo>
                    <a:lnTo>
                      <a:pt x="1040" y="586"/>
                    </a:lnTo>
                    <a:close/>
                    <a:moveTo>
                      <a:pt x="1165" y="508"/>
                    </a:moveTo>
                    <a:lnTo>
                      <a:pt x="1167" y="510"/>
                    </a:lnTo>
                    <a:lnTo>
                      <a:pt x="1162" y="510"/>
                    </a:lnTo>
                    <a:lnTo>
                      <a:pt x="1165" y="508"/>
                    </a:lnTo>
                    <a:close/>
                    <a:moveTo>
                      <a:pt x="216" y="853"/>
                    </a:moveTo>
                    <a:lnTo>
                      <a:pt x="216" y="855"/>
                    </a:lnTo>
                    <a:lnTo>
                      <a:pt x="218" y="855"/>
                    </a:lnTo>
                    <a:lnTo>
                      <a:pt x="216" y="855"/>
                    </a:lnTo>
                    <a:lnTo>
                      <a:pt x="216" y="857"/>
                    </a:lnTo>
                    <a:lnTo>
                      <a:pt x="214" y="857"/>
                    </a:lnTo>
                    <a:lnTo>
                      <a:pt x="214" y="855"/>
                    </a:lnTo>
                    <a:lnTo>
                      <a:pt x="216" y="855"/>
                    </a:lnTo>
                    <a:lnTo>
                      <a:pt x="216" y="853"/>
                    </a:lnTo>
                    <a:close/>
                    <a:moveTo>
                      <a:pt x="1951" y="1397"/>
                    </a:moveTo>
                    <a:lnTo>
                      <a:pt x="1955" y="1397"/>
                    </a:lnTo>
                    <a:lnTo>
                      <a:pt x="1955" y="1399"/>
                    </a:lnTo>
                    <a:lnTo>
                      <a:pt x="1951" y="1399"/>
                    </a:lnTo>
                    <a:lnTo>
                      <a:pt x="1951" y="1397"/>
                    </a:lnTo>
                    <a:close/>
                    <a:moveTo>
                      <a:pt x="1856" y="1366"/>
                    </a:moveTo>
                    <a:lnTo>
                      <a:pt x="1858" y="1366"/>
                    </a:lnTo>
                    <a:lnTo>
                      <a:pt x="1858" y="1368"/>
                    </a:lnTo>
                    <a:lnTo>
                      <a:pt x="1860" y="1368"/>
                    </a:lnTo>
                    <a:lnTo>
                      <a:pt x="1856" y="1368"/>
                    </a:lnTo>
                    <a:lnTo>
                      <a:pt x="1856" y="1366"/>
                    </a:lnTo>
                    <a:close/>
                    <a:moveTo>
                      <a:pt x="2136" y="1513"/>
                    </a:moveTo>
                    <a:lnTo>
                      <a:pt x="2138" y="1513"/>
                    </a:lnTo>
                    <a:lnTo>
                      <a:pt x="2138" y="1515"/>
                    </a:lnTo>
                    <a:lnTo>
                      <a:pt x="2136" y="1515"/>
                    </a:lnTo>
                    <a:lnTo>
                      <a:pt x="2136" y="1513"/>
                    </a:lnTo>
                    <a:close/>
                    <a:moveTo>
                      <a:pt x="0" y="1374"/>
                    </a:moveTo>
                    <a:lnTo>
                      <a:pt x="0" y="1372"/>
                    </a:lnTo>
                    <a:lnTo>
                      <a:pt x="4" y="1368"/>
                    </a:lnTo>
                    <a:lnTo>
                      <a:pt x="2" y="1372"/>
                    </a:lnTo>
                    <a:lnTo>
                      <a:pt x="0" y="1374"/>
                    </a:lnTo>
                    <a:close/>
                    <a:moveTo>
                      <a:pt x="117" y="1206"/>
                    </a:moveTo>
                    <a:lnTo>
                      <a:pt x="119" y="1206"/>
                    </a:lnTo>
                    <a:lnTo>
                      <a:pt x="119" y="1210"/>
                    </a:lnTo>
                    <a:lnTo>
                      <a:pt x="117" y="1210"/>
                    </a:lnTo>
                    <a:lnTo>
                      <a:pt x="117" y="1206"/>
                    </a:lnTo>
                    <a:close/>
                    <a:moveTo>
                      <a:pt x="1888" y="1355"/>
                    </a:moveTo>
                    <a:lnTo>
                      <a:pt x="1890" y="1355"/>
                    </a:lnTo>
                    <a:lnTo>
                      <a:pt x="1890" y="1357"/>
                    </a:lnTo>
                    <a:lnTo>
                      <a:pt x="1888" y="1357"/>
                    </a:lnTo>
                    <a:lnTo>
                      <a:pt x="1888" y="1355"/>
                    </a:lnTo>
                    <a:close/>
                    <a:moveTo>
                      <a:pt x="458" y="1588"/>
                    </a:moveTo>
                    <a:lnTo>
                      <a:pt x="460" y="1588"/>
                    </a:lnTo>
                    <a:lnTo>
                      <a:pt x="460" y="1592"/>
                    </a:lnTo>
                    <a:lnTo>
                      <a:pt x="458" y="1592"/>
                    </a:lnTo>
                    <a:lnTo>
                      <a:pt x="458" y="1588"/>
                    </a:lnTo>
                    <a:close/>
                    <a:moveTo>
                      <a:pt x="1459" y="445"/>
                    </a:moveTo>
                    <a:lnTo>
                      <a:pt x="1461" y="449"/>
                    </a:lnTo>
                    <a:lnTo>
                      <a:pt x="1459" y="445"/>
                    </a:lnTo>
                    <a:lnTo>
                      <a:pt x="1455" y="445"/>
                    </a:lnTo>
                    <a:lnTo>
                      <a:pt x="1457" y="445"/>
                    </a:lnTo>
                    <a:lnTo>
                      <a:pt x="1459" y="445"/>
                    </a:lnTo>
                    <a:close/>
                    <a:moveTo>
                      <a:pt x="1379" y="407"/>
                    </a:moveTo>
                    <a:lnTo>
                      <a:pt x="1381" y="407"/>
                    </a:lnTo>
                    <a:lnTo>
                      <a:pt x="1381" y="409"/>
                    </a:lnTo>
                    <a:lnTo>
                      <a:pt x="1379" y="409"/>
                    </a:lnTo>
                    <a:lnTo>
                      <a:pt x="1379" y="407"/>
                    </a:lnTo>
                    <a:close/>
                    <a:moveTo>
                      <a:pt x="141" y="1198"/>
                    </a:moveTo>
                    <a:lnTo>
                      <a:pt x="141" y="1200"/>
                    </a:lnTo>
                    <a:lnTo>
                      <a:pt x="141" y="1198"/>
                    </a:lnTo>
                    <a:close/>
                    <a:moveTo>
                      <a:pt x="1795" y="1653"/>
                    </a:moveTo>
                    <a:lnTo>
                      <a:pt x="1795" y="1656"/>
                    </a:lnTo>
                    <a:lnTo>
                      <a:pt x="1795" y="1653"/>
                    </a:lnTo>
                    <a:close/>
                    <a:moveTo>
                      <a:pt x="143" y="1189"/>
                    </a:moveTo>
                    <a:lnTo>
                      <a:pt x="143" y="1193"/>
                    </a:lnTo>
                    <a:lnTo>
                      <a:pt x="143" y="1189"/>
                    </a:lnTo>
                    <a:close/>
                    <a:moveTo>
                      <a:pt x="260" y="1034"/>
                    </a:moveTo>
                    <a:lnTo>
                      <a:pt x="262" y="1034"/>
                    </a:lnTo>
                    <a:lnTo>
                      <a:pt x="262" y="1036"/>
                    </a:lnTo>
                    <a:lnTo>
                      <a:pt x="260" y="1036"/>
                    </a:lnTo>
                    <a:lnTo>
                      <a:pt x="260" y="1034"/>
                    </a:lnTo>
                    <a:close/>
                    <a:moveTo>
                      <a:pt x="1373" y="407"/>
                    </a:moveTo>
                    <a:lnTo>
                      <a:pt x="1375" y="407"/>
                    </a:lnTo>
                    <a:lnTo>
                      <a:pt x="1375" y="409"/>
                    </a:lnTo>
                    <a:lnTo>
                      <a:pt x="1373" y="409"/>
                    </a:lnTo>
                    <a:lnTo>
                      <a:pt x="1373" y="407"/>
                    </a:lnTo>
                    <a:close/>
                    <a:moveTo>
                      <a:pt x="160" y="1208"/>
                    </a:moveTo>
                    <a:lnTo>
                      <a:pt x="162" y="1208"/>
                    </a:lnTo>
                    <a:lnTo>
                      <a:pt x="162" y="1210"/>
                    </a:lnTo>
                    <a:lnTo>
                      <a:pt x="160" y="1210"/>
                    </a:lnTo>
                    <a:lnTo>
                      <a:pt x="160" y="1208"/>
                    </a:lnTo>
                    <a:close/>
                    <a:moveTo>
                      <a:pt x="141" y="1195"/>
                    </a:moveTo>
                    <a:lnTo>
                      <a:pt x="141" y="1198"/>
                    </a:lnTo>
                    <a:lnTo>
                      <a:pt x="141" y="1195"/>
                    </a:lnTo>
                    <a:close/>
                    <a:moveTo>
                      <a:pt x="1467" y="454"/>
                    </a:moveTo>
                    <a:lnTo>
                      <a:pt x="1469" y="454"/>
                    </a:lnTo>
                    <a:lnTo>
                      <a:pt x="1469" y="456"/>
                    </a:lnTo>
                    <a:lnTo>
                      <a:pt x="1467" y="456"/>
                    </a:lnTo>
                    <a:lnTo>
                      <a:pt x="1467" y="454"/>
                    </a:lnTo>
                    <a:close/>
                    <a:moveTo>
                      <a:pt x="143" y="1193"/>
                    </a:moveTo>
                    <a:lnTo>
                      <a:pt x="145" y="1193"/>
                    </a:lnTo>
                    <a:lnTo>
                      <a:pt x="145" y="1195"/>
                    </a:lnTo>
                    <a:lnTo>
                      <a:pt x="143" y="1195"/>
                    </a:lnTo>
                    <a:lnTo>
                      <a:pt x="143" y="1193"/>
                    </a:lnTo>
                    <a:close/>
                    <a:moveTo>
                      <a:pt x="1369" y="418"/>
                    </a:moveTo>
                    <a:lnTo>
                      <a:pt x="1371" y="418"/>
                    </a:lnTo>
                    <a:lnTo>
                      <a:pt x="1371" y="420"/>
                    </a:lnTo>
                    <a:lnTo>
                      <a:pt x="1369" y="420"/>
                    </a:lnTo>
                    <a:lnTo>
                      <a:pt x="1369" y="418"/>
                    </a:lnTo>
                    <a:close/>
                    <a:moveTo>
                      <a:pt x="326" y="1046"/>
                    </a:moveTo>
                    <a:lnTo>
                      <a:pt x="328" y="1046"/>
                    </a:lnTo>
                    <a:lnTo>
                      <a:pt x="324" y="1046"/>
                    </a:lnTo>
                    <a:lnTo>
                      <a:pt x="326" y="1046"/>
                    </a:lnTo>
                    <a:close/>
                    <a:moveTo>
                      <a:pt x="130" y="1208"/>
                    </a:moveTo>
                    <a:lnTo>
                      <a:pt x="132" y="1208"/>
                    </a:lnTo>
                    <a:lnTo>
                      <a:pt x="132" y="1210"/>
                    </a:lnTo>
                    <a:lnTo>
                      <a:pt x="130" y="1210"/>
                    </a:lnTo>
                    <a:lnTo>
                      <a:pt x="130" y="1208"/>
                    </a:lnTo>
                    <a:close/>
                    <a:moveTo>
                      <a:pt x="1034" y="630"/>
                    </a:moveTo>
                    <a:lnTo>
                      <a:pt x="1036" y="630"/>
                    </a:lnTo>
                    <a:lnTo>
                      <a:pt x="1034" y="630"/>
                    </a:lnTo>
                    <a:close/>
                    <a:moveTo>
                      <a:pt x="2273" y="1158"/>
                    </a:moveTo>
                    <a:lnTo>
                      <a:pt x="2275" y="1158"/>
                    </a:lnTo>
                    <a:lnTo>
                      <a:pt x="2273" y="1158"/>
                    </a:lnTo>
                    <a:close/>
                    <a:moveTo>
                      <a:pt x="1934" y="1578"/>
                    </a:moveTo>
                    <a:lnTo>
                      <a:pt x="1934" y="1580"/>
                    </a:lnTo>
                    <a:lnTo>
                      <a:pt x="1934" y="1578"/>
                    </a:lnTo>
                    <a:close/>
                    <a:moveTo>
                      <a:pt x="324" y="1046"/>
                    </a:moveTo>
                    <a:lnTo>
                      <a:pt x="324" y="1048"/>
                    </a:lnTo>
                    <a:lnTo>
                      <a:pt x="324" y="1046"/>
                    </a:lnTo>
                    <a:close/>
                    <a:moveTo>
                      <a:pt x="460" y="1588"/>
                    </a:moveTo>
                    <a:lnTo>
                      <a:pt x="460" y="1590"/>
                    </a:lnTo>
                    <a:lnTo>
                      <a:pt x="460" y="1588"/>
                    </a:lnTo>
                    <a:close/>
                    <a:moveTo>
                      <a:pt x="1043" y="603"/>
                    </a:moveTo>
                    <a:lnTo>
                      <a:pt x="1045" y="603"/>
                    </a:lnTo>
                    <a:lnTo>
                      <a:pt x="1043" y="603"/>
                    </a:lnTo>
                    <a:lnTo>
                      <a:pt x="1041" y="603"/>
                    </a:lnTo>
                    <a:lnTo>
                      <a:pt x="1043" y="603"/>
                    </a:lnTo>
                    <a:lnTo>
                      <a:pt x="1041" y="603"/>
                    </a:lnTo>
                    <a:lnTo>
                      <a:pt x="1043" y="603"/>
                    </a:lnTo>
                    <a:close/>
                    <a:moveTo>
                      <a:pt x="2008" y="1641"/>
                    </a:moveTo>
                    <a:lnTo>
                      <a:pt x="2010" y="1641"/>
                    </a:lnTo>
                    <a:lnTo>
                      <a:pt x="2008" y="1641"/>
                    </a:lnTo>
                    <a:close/>
                    <a:moveTo>
                      <a:pt x="241" y="863"/>
                    </a:moveTo>
                    <a:lnTo>
                      <a:pt x="242" y="863"/>
                    </a:lnTo>
                    <a:lnTo>
                      <a:pt x="241" y="863"/>
                    </a:lnTo>
                    <a:close/>
                    <a:moveTo>
                      <a:pt x="128" y="1269"/>
                    </a:moveTo>
                    <a:lnTo>
                      <a:pt x="128" y="1271"/>
                    </a:lnTo>
                    <a:lnTo>
                      <a:pt x="128" y="1269"/>
                    </a:lnTo>
                    <a:close/>
                    <a:moveTo>
                      <a:pt x="1068" y="569"/>
                    </a:moveTo>
                    <a:lnTo>
                      <a:pt x="1070" y="569"/>
                    </a:lnTo>
                    <a:lnTo>
                      <a:pt x="1070" y="571"/>
                    </a:lnTo>
                    <a:lnTo>
                      <a:pt x="1068" y="571"/>
                    </a:lnTo>
                    <a:lnTo>
                      <a:pt x="1068" y="569"/>
                    </a:lnTo>
                    <a:close/>
                    <a:moveTo>
                      <a:pt x="2086" y="1572"/>
                    </a:moveTo>
                    <a:lnTo>
                      <a:pt x="2088" y="1572"/>
                    </a:lnTo>
                    <a:lnTo>
                      <a:pt x="2088" y="1574"/>
                    </a:lnTo>
                    <a:lnTo>
                      <a:pt x="2086" y="1574"/>
                    </a:lnTo>
                    <a:lnTo>
                      <a:pt x="2086" y="1572"/>
                    </a:lnTo>
                    <a:close/>
                    <a:moveTo>
                      <a:pt x="1371" y="414"/>
                    </a:moveTo>
                    <a:lnTo>
                      <a:pt x="1373" y="414"/>
                    </a:lnTo>
                    <a:lnTo>
                      <a:pt x="1373" y="416"/>
                    </a:lnTo>
                    <a:lnTo>
                      <a:pt x="1371" y="416"/>
                    </a:lnTo>
                    <a:lnTo>
                      <a:pt x="1371" y="414"/>
                    </a:lnTo>
                    <a:close/>
                    <a:moveTo>
                      <a:pt x="1783" y="1651"/>
                    </a:moveTo>
                    <a:lnTo>
                      <a:pt x="1783" y="1653"/>
                    </a:lnTo>
                    <a:lnTo>
                      <a:pt x="1783" y="1651"/>
                    </a:lnTo>
                    <a:close/>
                    <a:moveTo>
                      <a:pt x="2010" y="1641"/>
                    </a:moveTo>
                    <a:lnTo>
                      <a:pt x="2012" y="1641"/>
                    </a:lnTo>
                    <a:lnTo>
                      <a:pt x="2012" y="1643"/>
                    </a:lnTo>
                    <a:lnTo>
                      <a:pt x="2010" y="1643"/>
                    </a:lnTo>
                    <a:lnTo>
                      <a:pt x="2010" y="1641"/>
                    </a:lnTo>
                    <a:close/>
                    <a:moveTo>
                      <a:pt x="1049" y="569"/>
                    </a:moveTo>
                    <a:lnTo>
                      <a:pt x="1051" y="569"/>
                    </a:lnTo>
                    <a:lnTo>
                      <a:pt x="1051" y="571"/>
                    </a:lnTo>
                    <a:lnTo>
                      <a:pt x="1049" y="571"/>
                    </a:lnTo>
                    <a:lnTo>
                      <a:pt x="1049" y="569"/>
                    </a:lnTo>
                    <a:close/>
                    <a:moveTo>
                      <a:pt x="2014" y="1637"/>
                    </a:moveTo>
                    <a:lnTo>
                      <a:pt x="2016" y="1637"/>
                    </a:lnTo>
                    <a:lnTo>
                      <a:pt x="2014" y="1637"/>
                    </a:lnTo>
                    <a:close/>
                    <a:moveTo>
                      <a:pt x="120" y="1214"/>
                    </a:moveTo>
                    <a:lnTo>
                      <a:pt x="122" y="1214"/>
                    </a:lnTo>
                    <a:lnTo>
                      <a:pt x="122" y="1216"/>
                    </a:lnTo>
                    <a:lnTo>
                      <a:pt x="120" y="1216"/>
                    </a:lnTo>
                    <a:lnTo>
                      <a:pt x="120" y="1214"/>
                    </a:lnTo>
                    <a:close/>
                    <a:moveTo>
                      <a:pt x="323" y="1048"/>
                    </a:moveTo>
                    <a:lnTo>
                      <a:pt x="324" y="1048"/>
                    </a:lnTo>
                    <a:lnTo>
                      <a:pt x="324" y="1050"/>
                    </a:lnTo>
                    <a:lnTo>
                      <a:pt x="323" y="1050"/>
                    </a:lnTo>
                    <a:lnTo>
                      <a:pt x="323" y="1048"/>
                    </a:lnTo>
                    <a:close/>
                    <a:moveTo>
                      <a:pt x="145" y="1185"/>
                    </a:moveTo>
                    <a:lnTo>
                      <a:pt x="145" y="1187"/>
                    </a:lnTo>
                    <a:lnTo>
                      <a:pt x="145" y="1185"/>
                    </a:lnTo>
                    <a:close/>
                    <a:moveTo>
                      <a:pt x="1043" y="599"/>
                    </a:moveTo>
                    <a:lnTo>
                      <a:pt x="1045" y="599"/>
                    </a:lnTo>
                    <a:lnTo>
                      <a:pt x="1043" y="599"/>
                    </a:lnTo>
                    <a:close/>
                    <a:moveTo>
                      <a:pt x="141" y="1189"/>
                    </a:moveTo>
                    <a:lnTo>
                      <a:pt x="143" y="1189"/>
                    </a:lnTo>
                    <a:lnTo>
                      <a:pt x="143" y="1191"/>
                    </a:lnTo>
                    <a:lnTo>
                      <a:pt x="141" y="1191"/>
                    </a:lnTo>
                    <a:lnTo>
                      <a:pt x="141" y="1189"/>
                    </a:lnTo>
                    <a:close/>
                    <a:moveTo>
                      <a:pt x="1043" y="601"/>
                    </a:moveTo>
                    <a:lnTo>
                      <a:pt x="1045" y="601"/>
                    </a:lnTo>
                    <a:lnTo>
                      <a:pt x="1043" y="601"/>
                    </a:lnTo>
                    <a:close/>
                    <a:moveTo>
                      <a:pt x="139" y="1208"/>
                    </a:moveTo>
                    <a:lnTo>
                      <a:pt x="139" y="1210"/>
                    </a:lnTo>
                    <a:lnTo>
                      <a:pt x="139" y="1208"/>
                    </a:lnTo>
                    <a:close/>
                    <a:moveTo>
                      <a:pt x="1041" y="569"/>
                    </a:moveTo>
                    <a:lnTo>
                      <a:pt x="1043" y="569"/>
                    </a:lnTo>
                    <a:lnTo>
                      <a:pt x="1043" y="571"/>
                    </a:lnTo>
                    <a:lnTo>
                      <a:pt x="1041" y="571"/>
                    </a:lnTo>
                    <a:lnTo>
                      <a:pt x="1041" y="569"/>
                    </a:lnTo>
                    <a:close/>
                    <a:moveTo>
                      <a:pt x="220" y="865"/>
                    </a:moveTo>
                    <a:lnTo>
                      <a:pt x="221" y="865"/>
                    </a:lnTo>
                    <a:lnTo>
                      <a:pt x="220" y="865"/>
                    </a:lnTo>
                    <a:close/>
                    <a:moveTo>
                      <a:pt x="1043" y="575"/>
                    </a:moveTo>
                    <a:lnTo>
                      <a:pt x="1045" y="575"/>
                    </a:lnTo>
                    <a:lnTo>
                      <a:pt x="1043" y="575"/>
                    </a:lnTo>
                    <a:close/>
                    <a:moveTo>
                      <a:pt x="1781" y="1653"/>
                    </a:moveTo>
                    <a:lnTo>
                      <a:pt x="1783" y="1653"/>
                    </a:lnTo>
                    <a:lnTo>
                      <a:pt x="1783" y="1655"/>
                    </a:lnTo>
                    <a:lnTo>
                      <a:pt x="1781" y="1655"/>
                    </a:lnTo>
                    <a:lnTo>
                      <a:pt x="1781" y="1653"/>
                    </a:lnTo>
                    <a:close/>
                    <a:moveTo>
                      <a:pt x="324" y="1050"/>
                    </a:moveTo>
                    <a:lnTo>
                      <a:pt x="326" y="1050"/>
                    </a:lnTo>
                    <a:lnTo>
                      <a:pt x="326" y="1052"/>
                    </a:lnTo>
                    <a:lnTo>
                      <a:pt x="324" y="1052"/>
                    </a:lnTo>
                    <a:lnTo>
                      <a:pt x="324" y="1050"/>
                    </a:lnTo>
                    <a:close/>
                    <a:moveTo>
                      <a:pt x="1045" y="609"/>
                    </a:moveTo>
                    <a:lnTo>
                      <a:pt x="1045" y="611"/>
                    </a:lnTo>
                    <a:lnTo>
                      <a:pt x="1045" y="609"/>
                    </a:lnTo>
                    <a:close/>
                    <a:moveTo>
                      <a:pt x="134" y="1208"/>
                    </a:moveTo>
                    <a:lnTo>
                      <a:pt x="136" y="1208"/>
                    </a:lnTo>
                    <a:lnTo>
                      <a:pt x="136" y="1210"/>
                    </a:lnTo>
                    <a:lnTo>
                      <a:pt x="134" y="1210"/>
                    </a:lnTo>
                    <a:lnTo>
                      <a:pt x="134" y="1208"/>
                    </a:lnTo>
                    <a:close/>
                    <a:moveTo>
                      <a:pt x="168" y="1212"/>
                    </a:moveTo>
                    <a:lnTo>
                      <a:pt x="170" y="1212"/>
                    </a:lnTo>
                    <a:lnTo>
                      <a:pt x="170" y="1214"/>
                    </a:lnTo>
                    <a:lnTo>
                      <a:pt x="168" y="1214"/>
                    </a:lnTo>
                    <a:lnTo>
                      <a:pt x="168" y="1212"/>
                    </a:lnTo>
                    <a:close/>
                    <a:moveTo>
                      <a:pt x="208" y="851"/>
                    </a:moveTo>
                    <a:lnTo>
                      <a:pt x="208" y="853"/>
                    </a:lnTo>
                    <a:lnTo>
                      <a:pt x="208" y="851"/>
                    </a:lnTo>
                    <a:close/>
                    <a:moveTo>
                      <a:pt x="321" y="1050"/>
                    </a:moveTo>
                    <a:lnTo>
                      <a:pt x="323" y="1050"/>
                    </a:lnTo>
                    <a:lnTo>
                      <a:pt x="323" y="1052"/>
                    </a:lnTo>
                    <a:lnTo>
                      <a:pt x="321" y="1052"/>
                    </a:lnTo>
                    <a:lnTo>
                      <a:pt x="321" y="1050"/>
                    </a:lnTo>
                    <a:close/>
                    <a:moveTo>
                      <a:pt x="143" y="1191"/>
                    </a:moveTo>
                    <a:lnTo>
                      <a:pt x="143" y="1193"/>
                    </a:lnTo>
                    <a:lnTo>
                      <a:pt x="143" y="1191"/>
                    </a:lnTo>
                    <a:close/>
                    <a:moveTo>
                      <a:pt x="162" y="1208"/>
                    </a:moveTo>
                    <a:lnTo>
                      <a:pt x="164" y="1208"/>
                    </a:lnTo>
                    <a:lnTo>
                      <a:pt x="164" y="1210"/>
                    </a:lnTo>
                    <a:lnTo>
                      <a:pt x="162" y="1210"/>
                    </a:lnTo>
                    <a:lnTo>
                      <a:pt x="162" y="120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2" name="Freeform 150">
                <a:extLst>
                  <a:ext uri="{FF2B5EF4-FFF2-40B4-BE49-F238E27FC236}">
                    <a16:creationId xmlns:a16="http://schemas.microsoft.com/office/drawing/2014/main" id="{66263082-A506-74A0-38CF-4EF4EAB3B29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04622" y="-3107869"/>
                <a:ext cx="165437" cy="176798"/>
              </a:xfrm>
              <a:custGeom>
                <a:avLst/>
                <a:gdLst>
                  <a:gd name="T0" fmla="*/ 99 w 105"/>
                  <a:gd name="T1" fmla="*/ 15 h 112"/>
                  <a:gd name="T2" fmla="*/ 95 w 105"/>
                  <a:gd name="T3" fmla="*/ 19 h 112"/>
                  <a:gd name="T4" fmla="*/ 92 w 105"/>
                  <a:gd name="T5" fmla="*/ 23 h 112"/>
                  <a:gd name="T6" fmla="*/ 88 w 105"/>
                  <a:gd name="T7" fmla="*/ 28 h 112"/>
                  <a:gd name="T8" fmla="*/ 90 w 105"/>
                  <a:gd name="T9" fmla="*/ 38 h 112"/>
                  <a:gd name="T10" fmla="*/ 88 w 105"/>
                  <a:gd name="T11" fmla="*/ 47 h 112"/>
                  <a:gd name="T12" fmla="*/ 80 w 105"/>
                  <a:gd name="T13" fmla="*/ 49 h 112"/>
                  <a:gd name="T14" fmla="*/ 71 w 105"/>
                  <a:gd name="T15" fmla="*/ 59 h 112"/>
                  <a:gd name="T16" fmla="*/ 65 w 105"/>
                  <a:gd name="T17" fmla="*/ 63 h 112"/>
                  <a:gd name="T18" fmla="*/ 57 w 105"/>
                  <a:gd name="T19" fmla="*/ 66 h 112"/>
                  <a:gd name="T20" fmla="*/ 53 w 105"/>
                  <a:gd name="T21" fmla="*/ 74 h 112"/>
                  <a:gd name="T22" fmla="*/ 52 w 105"/>
                  <a:gd name="T23" fmla="*/ 76 h 112"/>
                  <a:gd name="T24" fmla="*/ 53 w 105"/>
                  <a:gd name="T25" fmla="*/ 82 h 112"/>
                  <a:gd name="T26" fmla="*/ 63 w 105"/>
                  <a:gd name="T27" fmla="*/ 89 h 112"/>
                  <a:gd name="T28" fmla="*/ 63 w 105"/>
                  <a:gd name="T29" fmla="*/ 97 h 112"/>
                  <a:gd name="T30" fmla="*/ 55 w 105"/>
                  <a:gd name="T31" fmla="*/ 99 h 112"/>
                  <a:gd name="T32" fmla="*/ 42 w 105"/>
                  <a:gd name="T33" fmla="*/ 105 h 112"/>
                  <a:gd name="T34" fmla="*/ 36 w 105"/>
                  <a:gd name="T35" fmla="*/ 108 h 112"/>
                  <a:gd name="T36" fmla="*/ 31 w 105"/>
                  <a:gd name="T37" fmla="*/ 110 h 112"/>
                  <a:gd name="T38" fmla="*/ 27 w 105"/>
                  <a:gd name="T39" fmla="*/ 105 h 112"/>
                  <a:gd name="T40" fmla="*/ 23 w 105"/>
                  <a:gd name="T41" fmla="*/ 107 h 112"/>
                  <a:gd name="T42" fmla="*/ 21 w 105"/>
                  <a:gd name="T43" fmla="*/ 108 h 112"/>
                  <a:gd name="T44" fmla="*/ 19 w 105"/>
                  <a:gd name="T45" fmla="*/ 108 h 112"/>
                  <a:gd name="T46" fmla="*/ 19 w 105"/>
                  <a:gd name="T47" fmla="*/ 108 h 112"/>
                  <a:gd name="T48" fmla="*/ 13 w 105"/>
                  <a:gd name="T49" fmla="*/ 107 h 112"/>
                  <a:gd name="T50" fmla="*/ 17 w 105"/>
                  <a:gd name="T51" fmla="*/ 103 h 112"/>
                  <a:gd name="T52" fmla="*/ 8 w 105"/>
                  <a:gd name="T53" fmla="*/ 103 h 112"/>
                  <a:gd name="T54" fmla="*/ 12 w 105"/>
                  <a:gd name="T55" fmla="*/ 101 h 112"/>
                  <a:gd name="T56" fmla="*/ 15 w 105"/>
                  <a:gd name="T57" fmla="*/ 93 h 112"/>
                  <a:gd name="T58" fmla="*/ 17 w 105"/>
                  <a:gd name="T59" fmla="*/ 89 h 112"/>
                  <a:gd name="T60" fmla="*/ 17 w 105"/>
                  <a:gd name="T61" fmla="*/ 84 h 112"/>
                  <a:gd name="T62" fmla="*/ 19 w 105"/>
                  <a:gd name="T63" fmla="*/ 76 h 112"/>
                  <a:gd name="T64" fmla="*/ 17 w 105"/>
                  <a:gd name="T65" fmla="*/ 72 h 112"/>
                  <a:gd name="T66" fmla="*/ 13 w 105"/>
                  <a:gd name="T67" fmla="*/ 70 h 112"/>
                  <a:gd name="T68" fmla="*/ 8 w 105"/>
                  <a:gd name="T69" fmla="*/ 70 h 112"/>
                  <a:gd name="T70" fmla="*/ 2 w 105"/>
                  <a:gd name="T71" fmla="*/ 68 h 112"/>
                  <a:gd name="T72" fmla="*/ 4 w 105"/>
                  <a:gd name="T73" fmla="*/ 61 h 112"/>
                  <a:gd name="T74" fmla="*/ 12 w 105"/>
                  <a:gd name="T75" fmla="*/ 55 h 112"/>
                  <a:gd name="T76" fmla="*/ 19 w 105"/>
                  <a:gd name="T77" fmla="*/ 49 h 112"/>
                  <a:gd name="T78" fmla="*/ 29 w 105"/>
                  <a:gd name="T79" fmla="*/ 45 h 112"/>
                  <a:gd name="T80" fmla="*/ 34 w 105"/>
                  <a:gd name="T81" fmla="*/ 38 h 112"/>
                  <a:gd name="T82" fmla="*/ 38 w 105"/>
                  <a:gd name="T83" fmla="*/ 30 h 112"/>
                  <a:gd name="T84" fmla="*/ 44 w 105"/>
                  <a:gd name="T85" fmla="*/ 26 h 112"/>
                  <a:gd name="T86" fmla="*/ 46 w 105"/>
                  <a:gd name="T87" fmla="*/ 32 h 112"/>
                  <a:gd name="T88" fmla="*/ 53 w 105"/>
                  <a:gd name="T89" fmla="*/ 34 h 112"/>
                  <a:gd name="T90" fmla="*/ 63 w 105"/>
                  <a:gd name="T91" fmla="*/ 34 h 112"/>
                  <a:gd name="T92" fmla="*/ 63 w 105"/>
                  <a:gd name="T93" fmla="*/ 26 h 112"/>
                  <a:gd name="T94" fmla="*/ 71 w 105"/>
                  <a:gd name="T95" fmla="*/ 23 h 112"/>
                  <a:gd name="T96" fmla="*/ 78 w 105"/>
                  <a:gd name="T97" fmla="*/ 19 h 112"/>
                  <a:gd name="T98" fmla="*/ 82 w 105"/>
                  <a:gd name="T99" fmla="*/ 13 h 112"/>
                  <a:gd name="T100" fmla="*/ 90 w 105"/>
                  <a:gd name="T101" fmla="*/ 11 h 112"/>
                  <a:gd name="T102" fmla="*/ 92 w 105"/>
                  <a:gd name="T103" fmla="*/ 2 h 112"/>
                  <a:gd name="T104" fmla="*/ 97 w 105"/>
                  <a:gd name="T105" fmla="*/ 2 h 112"/>
                  <a:gd name="T106" fmla="*/ 101 w 105"/>
                  <a:gd name="T107" fmla="*/ 11 h 112"/>
                  <a:gd name="T108" fmla="*/ 12 w 105"/>
                  <a:gd name="T109" fmla="*/ 74 h 112"/>
                  <a:gd name="T110" fmla="*/ 10 w 105"/>
                  <a:gd name="T111" fmla="*/ 93 h 112"/>
                  <a:gd name="T112" fmla="*/ 63 w 105"/>
                  <a:gd name="T113" fmla="*/ 63 h 112"/>
                  <a:gd name="T114" fmla="*/ 15 w 105"/>
                  <a:gd name="T115" fmla="*/ 108 h 112"/>
                  <a:gd name="T116" fmla="*/ 27 w 105"/>
                  <a:gd name="T117" fmla="*/ 108 h 112"/>
                  <a:gd name="T118" fmla="*/ 15 w 105"/>
                  <a:gd name="T119" fmla="*/ 7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5" h="112">
                    <a:moveTo>
                      <a:pt x="103" y="13"/>
                    </a:moveTo>
                    <a:lnTo>
                      <a:pt x="103" y="15"/>
                    </a:lnTo>
                    <a:lnTo>
                      <a:pt x="105" y="15"/>
                    </a:lnTo>
                    <a:lnTo>
                      <a:pt x="103" y="17"/>
                    </a:lnTo>
                    <a:lnTo>
                      <a:pt x="103" y="15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9" y="17"/>
                    </a:lnTo>
                    <a:lnTo>
                      <a:pt x="97" y="17"/>
                    </a:lnTo>
                    <a:lnTo>
                      <a:pt x="97" y="19"/>
                    </a:lnTo>
                    <a:lnTo>
                      <a:pt x="97" y="17"/>
                    </a:lnTo>
                    <a:lnTo>
                      <a:pt x="95" y="19"/>
                    </a:lnTo>
                    <a:lnTo>
                      <a:pt x="95" y="21"/>
                    </a:lnTo>
                    <a:lnTo>
                      <a:pt x="95" y="19"/>
                    </a:lnTo>
                    <a:lnTo>
                      <a:pt x="94" y="21"/>
                    </a:lnTo>
                    <a:lnTo>
                      <a:pt x="94" y="23"/>
                    </a:lnTo>
                    <a:lnTo>
                      <a:pt x="94" y="21"/>
                    </a:lnTo>
                    <a:lnTo>
                      <a:pt x="94" y="23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2" y="23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88" y="28"/>
                    </a:lnTo>
                    <a:lnTo>
                      <a:pt x="88" y="32"/>
                    </a:lnTo>
                    <a:lnTo>
                      <a:pt x="88" y="34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88" y="42"/>
                    </a:lnTo>
                    <a:lnTo>
                      <a:pt x="90" y="42"/>
                    </a:lnTo>
                    <a:lnTo>
                      <a:pt x="88" y="42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88" y="47"/>
                    </a:lnTo>
                    <a:lnTo>
                      <a:pt x="88" y="45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4" y="47"/>
                    </a:lnTo>
                    <a:lnTo>
                      <a:pt x="82" y="47"/>
                    </a:lnTo>
                    <a:lnTo>
                      <a:pt x="82" y="49"/>
                    </a:lnTo>
                    <a:lnTo>
                      <a:pt x="80" y="49"/>
                    </a:lnTo>
                    <a:lnTo>
                      <a:pt x="80" y="51"/>
                    </a:lnTo>
                    <a:lnTo>
                      <a:pt x="78" y="53"/>
                    </a:lnTo>
                    <a:lnTo>
                      <a:pt x="76" y="55"/>
                    </a:lnTo>
                    <a:lnTo>
                      <a:pt x="74" y="57"/>
                    </a:lnTo>
                    <a:lnTo>
                      <a:pt x="73" y="57"/>
                    </a:lnTo>
                    <a:lnTo>
                      <a:pt x="71" y="57"/>
                    </a:lnTo>
                    <a:lnTo>
                      <a:pt x="71" y="59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1" y="59"/>
                    </a:lnTo>
                    <a:lnTo>
                      <a:pt x="71" y="61"/>
                    </a:lnTo>
                    <a:lnTo>
                      <a:pt x="69" y="61"/>
                    </a:lnTo>
                    <a:lnTo>
                      <a:pt x="67" y="63"/>
                    </a:lnTo>
                    <a:lnTo>
                      <a:pt x="65" y="63"/>
                    </a:lnTo>
                    <a:lnTo>
                      <a:pt x="63" y="63"/>
                    </a:lnTo>
                    <a:lnTo>
                      <a:pt x="63" y="65"/>
                    </a:lnTo>
                    <a:lnTo>
                      <a:pt x="63" y="63"/>
                    </a:lnTo>
                    <a:lnTo>
                      <a:pt x="61" y="63"/>
                    </a:lnTo>
                    <a:lnTo>
                      <a:pt x="59" y="65"/>
                    </a:lnTo>
                    <a:lnTo>
                      <a:pt x="59" y="66"/>
                    </a:lnTo>
                    <a:lnTo>
                      <a:pt x="57" y="66"/>
                    </a:lnTo>
                    <a:lnTo>
                      <a:pt x="55" y="68"/>
                    </a:lnTo>
                    <a:lnTo>
                      <a:pt x="55" y="66"/>
                    </a:lnTo>
                    <a:lnTo>
                      <a:pt x="55" y="68"/>
                    </a:lnTo>
                    <a:lnTo>
                      <a:pt x="53" y="68"/>
                    </a:lnTo>
                    <a:lnTo>
                      <a:pt x="53" y="70"/>
                    </a:lnTo>
                    <a:lnTo>
                      <a:pt x="53" y="72"/>
                    </a:lnTo>
                    <a:lnTo>
                      <a:pt x="53" y="74"/>
                    </a:lnTo>
                    <a:lnTo>
                      <a:pt x="53" y="78"/>
                    </a:lnTo>
                    <a:lnTo>
                      <a:pt x="53" y="76"/>
                    </a:lnTo>
                    <a:lnTo>
                      <a:pt x="52" y="76"/>
                    </a:lnTo>
                    <a:lnTo>
                      <a:pt x="53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53" y="78"/>
                    </a:lnTo>
                    <a:lnTo>
                      <a:pt x="52" y="78"/>
                    </a:lnTo>
                    <a:lnTo>
                      <a:pt x="52" y="80"/>
                    </a:lnTo>
                    <a:lnTo>
                      <a:pt x="52" y="82"/>
                    </a:lnTo>
                    <a:lnTo>
                      <a:pt x="53" y="82"/>
                    </a:lnTo>
                    <a:lnTo>
                      <a:pt x="53" y="80"/>
                    </a:lnTo>
                    <a:lnTo>
                      <a:pt x="53" y="82"/>
                    </a:lnTo>
                    <a:lnTo>
                      <a:pt x="55" y="82"/>
                    </a:lnTo>
                    <a:lnTo>
                      <a:pt x="57" y="82"/>
                    </a:lnTo>
                    <a:lnTo>
                      <a:pt x="59" y="86"/>
                    </a:lnTo>
                    <a:lnTo>
                      <a:pt x="61" y="86"/>
                    </a:lnTo>
                    <a:lnTo>
                      <a:pt x="61" y="87"/>
                    </a:lnTo>
                    <a:lnTo>
                      <a:pt x="63" y="87"/>
                    </a:lnTo>
                    <a:lnTo>
                      <a:pt x="63" y="89"/>
                    </a:lnTo>
                    <a:lnTo>
                      <a:pt x="65" y="89"/>
                    </a:lnTo>
                    <a:lnTo>
                      <a:pt x="67" y="91"/>
                    </a:lnTo>
                    <a:lnTo>
                      <a:pt x="67" y="93"/>
                    </a:lnTo>
                    <a:lnTo>
                      <a:pt x="67" y="95"/>
                    </a:lnTo>
                    <a:lnTo>
                      <a:pt x="65" y="95"/>
                    </a:lnTo>
                    <a:lnTo>
                      <a:pt x="65" y="97"/>
                    </a:lnTo>
                    <a:lnTo>
                      <a:pt x="63" y="97"/>
                    </a:lnTo>
                    <a:lnTo>
                      <a:pt x="63" y="99"/>
                    </a:lnTo>
                    <a:lnTo>
                      <a:pt x="61" y="99"/>
                    </a:lnTo>
                    <a:lnTo>
                      <a:pt x="59" y="99"/>
                    </a:lnTo>
                    <a:lnTo>
                      <a:pt x="57" y="97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55" y="99"/>
                    </a:lnTo>
                    <a:lnTo>
                      <a:pt x="53" y="99"/>
                    </a:lnTo>
                    <a:lnTo>
                      <a:pt x="52" y="99"/>
                    </a:lnTo>
                    <a:lnTo>
                      <a:pt x="50" y="99"/>
                    </a:lnTo>
                    <a:lnTo>
                      <a:pt x="48" y="99"/>
                    </a:lnTo>
                    <a:lnTo>
                      <a:pt x="44" y="101"/>
                    </a:lnTo>
                    <a:lnTo>
                      <a:pt x="44" y="103"/>
                    </a:lnTo>
                    <a:lnTo>
                      <a:pt x="42" y="105"/>
                    </a:lnTo>
                    <a:lnTo>
                      <a:pt x="40" y="105"/>
                    </a:lnTo>
                    <a:lnTo>
                      <a:pt x="40" y="107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10"/>
                    </a:lnTo>
                    <a:lnTo>
                      <a:pt x="38" y="108"/>
                    </a:lnTo>
                    <a:lnTo>
                      <a:pt x="36" y="108"/>
                    </a:lnTo>
                    <a:lnTo>
                      <a:pt x="36" y="107"/>
                    </a:lnTo>
                    <a:lnTo>
                      <a:pt x="34" y="108"/>
                    </a:lnTo>
                    <a:lnTo>
                      <a:pt x="33" y="108"/>
                    </a:lnTo>
                    <a:lnTo>
                      <a:pt x="33" y="107"/>
                    </a:lnTo>
                    <a:lnTo>
                      <a:pt x="33" y="108"/>
                    </a:lnTo>
                    <a:lnTo>
                      <a:pt x="33" y="110"/>
                    </a:lnTo>
                    <a:lnTo>
                      <a:pt x="31" y="110"/>
                    </a:lnTo>
                    <a:lnTo>
                      <a:pt x="31" y="108"/>
                    </a:lnTo>
                    <a:lnTo>
                      <a:pt x="29" y="107"/>
                    </a:lnTo>
                    <a:lnTo>
                      <a:pt x="29" y="108"/>
                    </a:lnTo>
                    <a:lnTo>
                      <a:pt x="27" y="107"/>
                    </a:lnTo>
                    <a:lnTo>
                      <a:pt x="27" y="108"/>
                    </a:lnTo>
                    <a:lnTo>
                      <a:pt x="27" y="107"/>
                    </a:lnTo>
                    <a:lnTo>
                      <a:pt x="27" y="105"/>
                    </a:lnTo>
                    <a:lnTo>
                      <a:pt x="25" y="105"/>
                    </a:lnTo>
                    <a:lnTo>
                      <a:pt x="23" y="105"/>
                    </a:lnTo>
                    <a:lnTo>
                      <a:pt x="25" y="105"/>
                    </a:lnTo>
                    <a:lnTo>
                      <a:pt x="25" y="107"/>
                    </a:lnTo>
                    <a:lnTo>
                      <a:pt x="25" y="105"/>
                    </a:lnTo>
                    <a:lnTo>
                      <a:pt x="25" y="107"/>
                    </a:lnTo>
                    <a:lnTo>
                      <a:pt x="23" y="107"/>
                    </a:lnTo>
                    <a:lnTo>
                      <a:pt x="23" y="108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1" y="108"/>
                    </a:lnTo>
                    <a:lnTo>
                      <a:pt x="23" y="110"/>
                    </a:lnTo>
                    <a:lnTo>
                      <a:pt x="21" y="110"/>
                    </a:lnTo>
                    <a:lnTo>
                      <a:pt x="21" y="108"/>
                    </a:lnTo>
                    <a:lnTo>
                      <a:pt x="21" y="110"/>
                    </a:lnTo>
                    <a:lnTo>
                      <a:pt x="19" y="110"/>
                    </a:lnTo>
                    <a:lnTo>
                      <a:pt x="19" y="112"/>
                    </a:lnTo>
                    <a:lnTo>
                      <a:pt x="19" y="110"/>
                    </a:lnTo>
                    <a:lnTo>
                      <a:pt x="21" y="108"/>
                    </a:lnTo>
                    <a:lnTo>
                      <a:pt x="19" y="110"/>
                    </a:lnTo>
                    <a:lnTo>
                      <a:pt x="19" y="108"/>
                    </a:lnTo>
                    <a:lnTo>
                      <a:pt x="21" y="108"/>
                    </a:lnTo>
                    <a:lnTo>
                      <a:pt x="21" y="107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8"/>
                    </a:lnTo>
                    <a:lnTo>
                      <a:pt x="19" y="107"/>
                    </a:lnTo>
                    <a:lnTo>
                      <a:pt x="19" y="108"/>
                    </a:lnTo>
                    <a:lnTo>
                      <a:pt x="17" y="108"/>
                    </a:lnTo>
                    <a:lnTo>
                      <a:pt x="19" y="108"/>
                    </a:lnTo>
                    <a:lnTo>
                      <a:pt x="17" y="108"/>
                    </a:lnTo>
                    <a:lnTo>
                      <a:pt x="19" y="107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3" y="107"/>
                    </a:lnTo>
                    <a:lnTo>
                      <a:pt x="13" y="105"/>
                    </a:lnTo>
                    <a:lnTo>
                      <a:pt x="13" y="107"/>
                    </a:lnTo>
                    <a:lnTo>
                      <a:pt x="13" y="105"/>
                    </a:lnTo>
                    <a:lnTo>
                      <a:pt x="15" y="105"/>
                    </a:lnTo>
                    <a:lnTo>
                      <a:pt x="15" y="107"/>
                    </a:lnTo>
                    <a:lnTo>
                      <a:pt x="15" y="105"/>
                    </a:lnTo>
                    <a:lnTo>
                      <a:pt x="17" y="103"/>
                    </a:lnTo>
                    <a:lnTo>
                      <a:pt x="17" y="105"/>
                    </a:lnTo>
                    <a:lnTo>
                      <a:pt x="17" y="103"/>
                    </a:lnTo>
                    <a:lnTo>
                      <a:pt x="15" y="103"/>
                    </a:lnTo>
                    <a:lnTo>
                      <a:pt x="13" y="103"/>
                    </a:lnTo>
                    <a:lnTo>
                      <a:pt x="12" y="103"/>
                    </a:lnTo>
                    <a:lnTo>
                      <a:pt x="10" y="103"/>
                    </a:lnTo>
                    <a:lnTo>
                      <a:pt x="8" y="103"/>
                    </a:lnTo>
                    <a:lnTo>
                      <a:pt x="10" y="103"/>
                    </a:lnTo>
                    <a:lnTo>
                      <a:pt x="10" y="101"/>
                    </a:lnTo>
                    <a:lnTo>
                      <a:pt x="12" y="101"/>
                    </a:lnTo>
                    <a:lnTo>
                      <a:pt x="10" y="101"/>
                    </a:lnTo>
                    <a:lnTo>
                      <a:pt x="12" y="101"/>
                    </a:lnTo>
                    <a:lnTo>
                      <a:pt x="13" y="101"/>
                    </a:lnTo>
                    <a:lnTo>
                      <a:pt x="12" y="101"/>
                    </a:lnTo>
                    <a:lnTo>
                      <a:pt x="13" y="101"/>
                    </a:lnTo>
                    <a:lnTo>
                      <a:pt x="12" y="101"/>
                    </a:lnTo>
                    <a:lnTo>
                      <a:pt x="12" y="99"/>
                    </a:lnTo>
                    <a:lnTo>
                      <a:pt x="12" y="97"/>
                    </a:lnTo>
                    <a:lnTo>
                      <a:pt x="13" y="95"/>
                    </a:lnTo>
                    <a:lnTo>
                      <a:pt x="13" y="93"/>
                    </a:lnTo>
                    <a:lnTo>
                      <a:pt x="15" y="93"/>
                    </a:lnTo>
                    <a:lnTo>
                      <a:pt x="15" y="91"/>
                    </a:lnTo>
                    <a:lnTo>
                      <a:pt x="15" y="93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7" y="89"/>
                    </a:lnTo>
                    <a:lnTo>
                      <a:pt x="17" y="87"/>
                    </a:lnTo>
                    <a:lnTo>
                      <a:pt x="17" y="89"/>
                    </a:lnTo>
                    <a:lnTo>
                      <a:pt x="17" y="87"/>
                    </a:lnTo>
                    <a:lnTo>
                      <a:pt x="17" y="89"/>
                    </a:lnTo>
                    <a:lnTo>
                      <a:pt x="15" y="89"/>
                    </a:lnTo>
                    <a:lnTo>
                      <a:pt x="15" y="87"/>
                    </a:lnTo>
                    <a:lnTo>
                      <a:pt x="17" y="84"/>
                    </a:lnTo>
                    <a:lnTo>
                      <a:pt x="17" y="82"/>
                    </a:lnTo>
                    <a:lnTo>
                      <a:pt x="19" y="82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21" y="78"/>
                    </a:lnTo>
                    <a:lnTo>
                      <a:pt x="19" y="78"/>
                    </a:lnTo>
                    <a:lnTo>
                      <a:pt x="19" y="76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4"/>
                    </a:lnTo>
                    <a:lnTo>
                      <a:pt x="21" y="72"/>
                    </a:lnTo>
                    <a:lnTo>
                      <a:pt x="19" y="72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15" y="72"/>
                    </a:lnTo>
                    <a:lnTo>
                      <a:pt x="13" y="72"/>
                    </a:lnTo>
                    <a:lnTo>
                      <a:pt x="13" y="70"/>
                    </a:lnTo>
                    <a:lnTo>
                      <a:pt x="13" y="72"/>
                    </a:lnTo>
                    <a:lnTo>
                      <a:pt x="13" y="70"/>
                    </a:lnTo>
                    <a:lnTo>
                      <a:pt x="12" y="70"/>
                    </a:lnTo>
                    <a:lnTo>
                      <a:pt x="10" y="70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8" y="70"/>
                    </a:lnTo>
                    <a:lnTo>
                      <a:pt x="8" y="72"/>
                    </a:lnTo>
                    <a:lnTo>
                      <a:pt x="8" y="70"/>
                    </a:lnTo>
                    <a:lnTo>
                      <a:pt x="6" y="70"/>
                    </a:lnTo>
                    <a:lnTo>
                      <a:pt x="6" y="68"/>
                    </a:lnTo>
                    <a:lnTo>
                      <a:pt x="4" y="68"/>
                    </a:lnTo>
                    <a:lnTo>
                      <a:pt x="4" y="66"/>
                    </a:lnTo>
                    <a:lnTo>
                      <a:pt x="2" y="66"/>
                    </a:lnTo>
                    <a:lnTo>
                      <a:pt x="2" y="65"/>
                    </a:lnTo>
                    <a:lnTo>
                      <a:pt x="2" y="68"/>
                    </a:lnTo>
                    <a:lnTo>
                      <a:pt x="0" y="68"/>
                    </a:lnTo>
                    <a:lnTo>
                      <a:pt x="2" y="66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3"/>
                    </a:lnTo>
                    <a:lnTo>
                      <a:pt x="2" y="63"/>
                    </a:lnTo>
                    <a:lnTo>
                      <a:pt x="4" y="61"/>
                    </a:lnTo>
                    <a:lnTo>
                      <a:pt x="6" y="61"/>
                    </a:lnTo>
                    <a:lnTo>
                      <a:pt x="6" y="59"/>
                    </a:lnTo>
                    <a:lnTo>
                      <a:pt x="8" y="59"/>
                    </a:lnTo>
                    <a:lnTo>
                      <a:pt x="10" y="57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13" y="53"/>
                    </a:lnTo>
                    <a:lnTo>
                      <a:pt x="13" y="55"/>
                    </a:lnTo>
                    <a:lnTo>
                      <a:pt x="13" y="53"/>
                    </a:lnTo>
                    <a:lnTo>
                      <a:pt x="17" y="51"/>
                    </a:lnTo>
                    <a:lnTo>
                      <a:pt x="17" y="49"/>
                    </a:lnTo>
                    <a:lnTo>
                      <a:pt x="19" y="51"/>
                    </a:lnTo>
                    <a:lnTo>
                      <a:pt x="19" y="49"/>
                    </a:lnTo>
                    <a:lnTo>
                      <a:pt x="21" y="49"/>
                    </a:lnTo>
                    <a:lnTo>
                      <a:pt x="23" y="47"/>
                    </a:lnTo>
                    <a:lnTo>
                      <a:pt x="25" y="47"/>
                    </a:lnTo>
                    <a:lnTo>
                      <a:pt x="23" y="47"/>
                    </a:lnTo>
                    <a:lnTo>
                      <a:pt x="25" y="45"/>
                    </a:lnTo>
                    <a:lnTo>
                      <a:pt x="27" y="45"/>
                    </a:lnTo>
                    <a:lnTo>
                      <a:pt x="29" y="45"/>
                    </a:lnTo>
                    <a:lnTo>
                      <a:pt x="29" y="44"/>
                    </a:lnTo>
                    <a:lnTo>
                      <a:pt x="31" y="44"/>
                    </a:lnTo>
                    <a:lnTo>
                      <a:pt x="31" y="42"/>
                    </a:lnTo>
                    <a:lnTo>
                      <a:pt x="33" y="42"/>
                    </a:lnTo>
                    <a:lnTo>
                      <a:pt x="33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38" y="28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42" y="28"/>
                    </a:lnTo>
                    <a:lnTo>
                      <a:pt x="42" y="26"/>
                    </a:lnTo>
                    <a:lnTo>
                      <a:pt x="42" y="28"/>
                    </a:lnTo>
                    <a:lnTo>
                      <a:pt x="44" y="26"/>
                    </a:lnTo>
                    <a:lnTo>
                      <a:pt x="46" y="26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52" y="34"/>
                    </a:lnTo>
                    <a:lnTo>
                      <a:pt x="52" y="32"/>
                    </a:lnTo>
                    <a:lnTo>
                      <a:pt x="52" y="34"/>
                    </a:lnTo>
                    <a:lnTo>
                      <a:pt x="53" y="32"/>
                    </a:lnTo>
                    <a:lnTo>
                      <a:pt x="53" y="34"/>
                    </a:lnTo>
                    <a:lnTo>
                      <a:pt x="55" y="34"/>
                    </a:lnTo>
                    <a:lnTo>
                      <a:pt x="57" y="34"/>
                    </a:lnTo>
                    <a:lnTo>
                      <a:pt x="59" y="34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3" y="36"/>
                    </a:lnTo>
                    <a:lnTo>
                      <a:pt x="63" y="34"/>
                    </a:lnTo>
                    <a:lnTo>
                      <a:pt x="65" y="34"/>
                    </a:lnTo>
                    <a:lnTo>
                      <a:pt x="65" y="32"/>
                    </a:lnTo>
                    <a:lnTo>
                      <a:pt x="67" y="30"/>
                    </a:lnTo>
                    <a:lnTo>
                      <a:pt x="65" y="30"/>
                    </a:lnTo>
                    <a:lnTo>
                      <a:pt x="65" y="28"/>
                    </a:lnTo>
                    <a:lnTo>
                      <a:pt x="63" y="28"/>
                    </a:lnTo>
                    <a:lnTo>
                      <a:pt x="63" y="26"/>
                    </a:lnTo>
                    <a:lnTo>
                      <a:pt x="63" y="23"/>
                    </a:lnTo>
                    <a:lnTo>
                      <a:pt x="61" y="23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9" y="21"/>
                    </a:lnTo>
                    <a:lnTo>
                      <a:pt x="69" y="23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73" y="21"/>
                    </a:lnTo>
                    <a:lnTo>
                      <a:pt x="74" y="21"/>
                    </a:lnTo>
                    <a:lnTo>
                      <a:pt x="76" y="21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80" y="19"/>
                    </a:lnTo>
                    <a:lnTo>
                      <a:pt x="80" y="17"/>
                    </a:lnTo>
                    <a:lnTo>
                      <a:pt x="80" y="15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2" y="11"/>
                    </a:lnTo>
                    <a:lnTo>
                      <a:pt x="82" y="13"/>
                    </a:lnTo>
                    <a:lnTo>
                      <a:pt x="84" y="13"/>
                    </a:lnTo>
                    <a:lnTo>
                      <a:pt x="84" y="11"/>
                    </a:lnTo>
                    <a:lnTo>
                      <a:pt x="84" y="13"/>
                    </a:lnTo>
                    <a:lnTo>
                      <a:pt x="86" y="13"/>
                    </a:lnTo>
                    <a:lnTo>
                      <a:pt x="86" y="11"/>
                    </a:lnTo>
                    <a:lnTo>
                      <a:pt x="88" y="13"/>
                    </a:lnTo>
                    <a:lnTo>
                      <a:pt x="90" y="11"/>
                    </a:lnTo>
                    <a:lnTo>
                      <a:pt x="88" y="9"/>
                    </a:lnTo>
                    <a:lnTo>
                      <a:pt x="90" y="9"/>
                    </a:lnTo>
                    <a:lnTo>
                      <a:pt x="90" y="7"/>
                    </a:lnTo>
                    <a:lnTo>
                      <a:pt x="90" y="5"/>
                    </a:lnTo>
                    <a:lnTo>
                      <a:pt x="90" y="4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2" y="0"/>
                    </a:lnTo>
                    <a:lnTo>
                      <a:pt x="94" y="2"/>
                    </a:lnTo>
                    <a:lnTo>
                      <a:pt x="95" y="0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7" y="5"/>
                    </a:lnTo>
                    <a:lnTo>
                      <a:pt x="97" y="7"/>
                    </a:lnTo>
                    <a:lnTo>
                      <a:pt x="99" y="7"/>
                    </a:lnTo>
                    <a:lnTo>
                      <a:pt x="99" y="9"/>
                    </a:lnTo>
                    <a:lnTo>
                      <a:pt x="101" y="9"/>
                    </a:lnTo>
                    <a:lnTo>
                      <a:pt x="101" y="11"/>
                    </a:lnTo>
                    <a:lnTo>
                      <a:pt x="103" y="11"/>
                    </a:lnTo>
                    <a:lnTo>
                      <a:pt x="101" y="11"/>
                    </a:lnTo>
                    <a:lnTo>
                      <a:pt x="101" y="13"/>
                    </a:lnTo>
                    <a:lnTo>
                      <a:pt x="103" y="13"/>
                    </a:lnTo>
                    <a:close/>
                    <a:moveTo>
                      <a:pt x="10" y="72"/>
                    </a:moveTo>
                    <a:lnTo>
                      <a:pt x="12" y="72"/>
                    </a:lnTo>
                    <a:lnTo>
                      <a:pt x="12" y="74"/>
                    </a:lnTo>
                    <a:lnTo>
                      <a:pt x="10" y="74"/>
                    </a:lnTo>
                    <a:lnTo>
                      <a:pt x="10" y="72"/>
                    </a:lnTo>
                    <a:close/>
                    <a:moveTo>
                      <a:pt x="10" y="93"/>
                    </a:moveTo>
                    <a:lnTo>
                      <a:pt x="12" y="93"/>
                    </a:lnTo>
                    <a:lnTo>
                      <a:pt x="12" y="95"/>
                    </a:lnTo>
                    <a:lnTo>
                      <a:pt x="10" y="95"/>
                    </a:lnTo>
                    <a:lnTo>
                      <a:pt x="10" y="93"/>
                    </a:lnTo>
                    <a:close/>
                    <a:moveTo>
                      <a:pt x="17" y="110"/>
                    </a:moveTo>
                    <a:lnTo>
                      <a:pt x="19" y="110"/>
                    </a:lnTo>
                    <a:lnTo>
                      <a:pt x="17" y="110"/>
                    </a:lnTo>
                    <a:close/>
                    <a:moveTo>
                      <a:pt x="8" y="72"/>
                    </a:moveTo>
                    <a:lnTo>
                      <a:pt x="8" y="74"/>
                    </a:lnTo>
                    <a:lnTo>
                      <a:pt x="8" y="72"/>
                    </a:lnTo>
                    <a:close/>
                    <a:moveTo>
                      <a:pt x="63" y="63"/>
                    </a:moveTo>
                    <a:lnTo>
                      <a:pt x="65" y="63"/>
                    </a:lnTo>
                    <a:lnTo>
                      <a:pt x="65" y="65"/>
                    </a:lnTo>
                    <a:lnTo>
                      <a:pt x="63" y="65"/>
                    </a:lnTo>
                    <a:lnTo>
                      <a:pt x="63" y="63"/>
                    </a:lnTo>
                    <a:close/>
                    <a:moveTo>
                      <a:pt x="15" y="108"/>
                    </a:moveTo>
                    <a:lnTo>
                      <a:pt x="17" y="108"/>
                    </a:lnTo>
                    <a:lnTo>
                      <a:pt x="15" y="108"/>
                    </a:lnTo>
                    <a:close/>
                    <a:moveTo>
                      <a:pt x="8" y="74"/>
                    </a:moveTo>
                    <a:lnTo>
                      <a:pt x="10" y="74"/>
                    </a:lnTo>
                    <a:lnTo>
                      <a:pt x="8" y="74"/>
                    </a:lnTo>
                    <a:close/>
                    <a:moveTo>
                      <a:pt x="8" y="74"/>
                    </a:moveTo>
                    <a:lnTo>
                      <a:pt x="8" y="76"/>
                    </a:lnTo>
                    <a:lnTo>
                      <a:pt x="8" y="74"/>
                    </a:lnTo>
                    <a:close/>
                    <a:moveTo>
                      <a:pt x="27" y="108"/>
                    </a:moveTo>
                    <a:lnTo>
                      <a:pt x="29" y="108"/>
                    </a:lnTo>
                    <a:lnTo>
                      <a:pt x="29" y="110"/>
                    </a:lnTo>
                    <a:lnTo>
                      <a:pt x="27" y="110"/>
                    </a:lnTo>
                    <a:lnTo>
                      <a:pt x="27" y="108"/>
                    </a:lnTo>
                    <a:close/>
                    <a:moveTo>
                      <a:pt x="15" y="72"/>
                    </a:moveTo>
                    <a:lnTo>
                      <a:pt x="15" y="74"/>
                    </a:lnTo>
                    <a:lnTo>
                      <a:pt x="15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4" name="Freeform 151">
                <a:extLst>
                  <a:ext uri="{FF2B5EF4-FFF2-40B4-BE49-F238E27FC236}">
                    <a16:creationId xmlns:a16="http://schemas.microsoft.com/office/drawing/2014/main" id="{9C11B3C7-393D-57F8-6C29-27559231E1E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174687" y="-3196266"/>
                <a:ext cx="573513" cy="659831"/>
              </a:xfrm>
              <a:custGeom>
                <a:avLst/>
                <a:gdLst>
                  <a:gd name="T0" fmla="*/ 271 w 364"/>
                  <a:gd name="T1" fmla="*/ 210 h 418"/>
                  <a:gd name="T2" fmla="*/ 257 w 364"/>
                  <a:gd name="T3" fmla="*/ 216 h 418"/>
                  <a:gd name="T4" fmla="*/ 233 w 364"/>
                  <a:gd name="T5" fmla="*/ 226 h 418"/>
                  <a:gd name="T6" fmla="*/ 221 w 364"/>
                  <a:gd name="T7" fmla="*/ 220 h 418"/>
                  <a:gd name="T8" fmla="*/ 214 w 364"/>
                  <a:gd name="T9" fmla="*/ 235 h 418"/>
                  <a:gd name="T10" fmla="*/ 196 w 364"/>
                  <a:gd name="T11" fmla="*/ 245 h 418"/>
                  <a:gd name="T12" fmla="*/ 198 w 364"/>
                  <a:gd name="T13" fmla="*/ 227 h 418"/>
                  <a:gd name="T14" fmla="*/ 185 w 364"/>
                  <a:gd name="T15" fmla="*/ 226 h 418"/>
                  <a:gd name="T16" fmla="*/ 168 w 364"/>
                  <a:gd name="T17" fmla="*/ 231 h 418"/>
                  <a:gd name="T18" fmla="*/ 147 w 364"/>
                  <a:gd name="T19" fmla="*/ 241 h 418"/>
                  <a:gd name="T20" fmla="*/ 132 w 364"/>
                  <a:gd name="T21" fmla="*/ 231 h 418"/>
                  <a:gd name="T22" fmla="*/ 164 w 364"/>
                  <a:gd name="T23" fmla="*/ 208 h 418"/>
                  <a:gd name="T24" fmla="*/ 193 w 364"/>
                  <a:gd name="T25" fmla="*/ 206 h 418"/>
                  <a:gd name="T26" fmla="*/ 208 w 364"/>
                  <a:gd name="T27" fmla="*/ 205 h 418"/>
                  <a:gd name="T28" fmla="*/ 229 w 364"/>
                  <a:gd name="T29" fmla="*/ 170 h 418"/>
                  <a:gd name="T30" fmla="*/ 250 w 364"/>
                  <a:gd name="T31" fmla="*/ 172 h 418"/>
                  <a:gd name="T32" fmla="*/ 271 w 364"/>
                  <a:gd name="T33" fmla="*/ 122 h 418"/>
                  <a:gd name="T34" fmla="*/ 288 w 364"/>
                  <a:gd name="T35" fmla="*/ 101 h 418"/>
                  <a:gd name="T36" fmla="*/ 299 w 364"/>
                  <a:gd name="T37" fmla="*/ 117 h 418"/>
                  <a:gd name="T38" fmla="*/ 299 w 364"/>
                  <a:gd name="T39" fmla="*/ 140 h 418"/>
                  <a:gd name="T40" fmla="*/ 294 w 364"/>
                  <a:gd name="T41" fmla="*/ 153 h 418"/>
                  <a:gd name="T42" fmla="*/ 277 w 364"/>
                  <a:gd name="T43" fmla="*/ 50 h 418"/>
                  <a:gd name="T44" fmla="*/ 311 w 364"/>
                  <a:gd name="T45" fmla="*/ 12 h 418"/>
                  <a:gd name="T46" fmla="*/ 355 w 364"/>
                  <a:gd name="T47" fmla="*/ 42 h 418"/>
                  <a:gd name="T48" fmla="*/ 347 w 364"/>
                  <a:gd name="T49" fmla="*/ 58 h 418"/>
                  <a:gd name="T50" fmla="*/ 284 w 364"/>
                  <a:gd name="T51" fmla="*/ 65 h 418"/>
                  <a:gd name="T52" fmla="*/ 269 w 364"/>
                  <a:gd name="T53" fmla="*/ 73 h 418"/>
                  <a:gd name="T54" fmla="*/ 141 w 364"/>
                  <a:gd name="T55" fmla="*/ 262 h 418"/>
                  <a:gd name="T56" fmla="*/ 128 w 364"/>
                  <a:gd name="T57" fmla="*/ 294 h 418"/>
                  <a:gd name="T58" fmla="*/ 116 w 364"/>
                  <a:gd name="T59" fmla="*/ 290 h 418"/>
                  <a:gd name="T60" fmla="*/ 120 w 364"/>
                  <a:gd name="T61" fmla="*/ 260 h 418"/>
                  <a:gd name="T62" fmla="*/ 109 w 364"/>
                  <a:gd name="T63" fmla="*/ 264 h 418"/>
                  <a:gd name="T64" fmla="*/ 107 w 364"/>
                  <a:gd name="T65" fmla="*/ 252 h 418"/>
                  <a:gd name="T66" fmla="*/ 122 w 364"/>
                  <a:gd name="T67" fmla="*/ 241 h 418"/>
                  <a:gd name="T68" fmla="*/ 179 w 364"/>
                  <a:gd name="T69" fmla="*/ 233 h 418"/>
                  <a:gd name="T70" fmla="*/ 166 w 364"/>
                  <a:gd name="T71" fmla="*/ 250 h 418"/>
                  <a:gd name="T72" fmla="*/ 151 w 364"/>
                  <a:gd name="T73" fmla="*/ 258 h 418"/>
                  <a:gd name="T74" fmla="*/ 154 w 364"/>
                  <a:gd name="T75" fmla="*/ 245 h 418"/>
                  <a:gd name="T76" fmla="*/ 174 w 364"/>
                  <a:gd name="T77" fmla="*/ 233 h 418"/>
                  <a:gd name="T78" fmla="*/ 74 w 364"/>
                  <a:gd name="T79" fmla="*/ 384 h 418"/>
                  <a:gd name="T80" fmla="*/ 114 w 364"/>
                  <a:gd name="T81" fmla="*/ 269 h 418"/>
                  <a:gd name="T82" fmla="*/ 103 w 364"/>
                  <a:gd name="T83" fmla="*/ 348 h 418"/>
                  <a:gd name="T84" fmla="*/ 187 w 364"/>
                  <a:gd name="T85" fmla="*/ 233 h 418"/>
                  <a:gd name="T86" fmla="*/ 101 w 364"/>
                  <a:gd name="T87" fmla="*/ 233 h 418"/>
                  <a:gd name="T88" fmla="*/ 92 w 364"/>
                  <a:gd name="T89" fmla="*/ 266 h 418"/>
                  <a:gd name="T90" fmla="*/ 164 w 364"/>
                  <a:gd name="T91" fmla="*/ 195 h 418"/>
                  <a:gd name="T92" fmla="*/ 19 w 364"/>
                  <a:gd name="T93" fmla="*/ 412 h 418"/>
                  <a:gd name="T94" fmla="*/ 103 w 364"/>
                  <a:gd name="T95" fmla="*/ 254 h 418"/>
                  <a:gd name="T96" fmla="*/ 149 w 364"/>
                  <a:gd name="T97" fmla="*/ 241 h 418"/>
                  <a:gd name="T98" fmla="*/ 269 w 364"/>
                  <a:gd name="T99" fmla="*/ 258 h 418"/>
                  <a:gd name="T100" fmla="*/ 109 w 364"/>
                  <a:gd name="T101" fmla="*/ 279 h 418"/>
                  <a:gd name="T102" fmla="*/ 114 w 364"/>
                  <a:gd name="T103" fmla="*/ 308 h 418"/>
                  <a:gd name="T104" fmla="*/ 97 w 364"/>
                  <a:gd name="T105" fmla="*/ 252 h 418"/>
                  <a:gd name="T106" fmla="*/ 160 w 364"/>
                  <a:gd name="T107" fmla="*/ 235 h 418"/>
                  <a:gd name="T108" fmla="*/ 149 w 364"/>
                  <a:gd name="T109" fmla="*/ 245 h 418"/>
                  <a:gd name="T110" fmla="*/ 69 w 364"/>
                  <a:gd name="T111" fmla="*/ 384 h 418"/>
                  <a:gd name="T112" fmla="*/ 179 w 364"/>
                  <a:gd name="T113" fmla="*/ 226 h 418"/>
                  <a:gd name="T114" fmla="*/ 101 w 364"/>
                  <a:gd name="T115" fmla="*/ 235 h 418"/>
                  <a:gd name="T116" fmla="*/ 172 w 364"/>
                  <a:gd name="T117" fmla="*/ 231 h 418"/>
                  <a:gd name="T118" fmla="*/ 153 w 364"/>
                  <a:gd name="T119" fmla="*/ 241 h 418"/>
                  <a:gd name="T120" fmla="*/ 267 w 364"/>
                  <a:gd name="T121" fmla="*/ 256 h 418"/>
                  <a:gd name="T122" fmla="*/ 174 w 364"/>
                  <a:gd name="T123" fmla="*/ 231 h 418"/>
                  <a:gd name="T124" fmla="*/ 267 w 364"/>
                  <a:gd name="T125" fmla="*/ 206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64" h="418">
                    <a:moveTo>
                      <a:pt x="282" y="203"/>
                    </a:moveTo>
                    <a:lnTo>
                      <a:pt x="282" y="205"/>
                    </a:lnTo>
                    <a:lnTo>
                      <a:pt x="284" y="206"/>
                    </a:lnTo>
                    <a:lnTo>
                      <a:pt x="282" y="205"/>
                    </a:lnTo>
                    <a:lnTo>
                      <a:pt x="284" y="206"/>
                    </a:lnTo>
                    <a:lnTo>
                      <a:pt x="282" y="206"/>
                    </a:lnTo>
                    <a:lnTo>
                      <a:pt x="280" y="206"/>
                    </a:lnTo>
                    <a:lnTo>
                      <a:pt x="278" y="208"/>
                    </a:lnTo>
                    <a:lnTo>
                      <a:pt x="277" y="212"/>
                    </a:lnTo>
                    <a:lnTo>
                      <a:pt x="277" y="214"/>
                    </a:lnTo>
                    <a:lnTo>
                      <a:pt x="278" y="214"/>
                    </a:lnTo>
                    <a:lnTo>
                      <a:pt x="277" y="216"/>
                    </a:lnTo>
                    <a:lnTo>
                      <a:pt x="277" y="218"/>
                    </a:lnTo>
                    <a:lnTo>
                      <a:pt x="275" y="218"/>
                    </a:lnTo>
                    <a:lnTo>
                      <a:pt x="273" y="218"/>
                    </a:lnTo>
                    <a:lnTo>
                      <a:pt x="273" y="220"/>
                    </a:lnTo>
                    <a:lnTo>
                      <a:pt x="271" y="220"/>
                    </a:lnTo>
                    <a:lnTo>
                      <a:pt x="271" y="222"/>
                    </a:lnTo>
                    <a:lnTo>
                      <a:pt x="269" y="222"/>
                    </a:lnTo>
                    <a:lnTo>
                      <a:pt x="267" y="222"/>
                    </a:lnTo>
                    <a:lnTo>
                      <a:pt x="267" y="220"/>
                    </a:lnTo>
                    <a:lnTo>
                      <a:pt x="269" y="220"/>
                    </a:lnTo>
                    <a:lnTo>
                      <a:pt x="269" y="218"/>
                    </a:lnTo>
                    <a:lnTo>
                      <a:pt x="269" y="216"/>
                    </a:lnTo>
                    <a:lnTo>
                      <a:pt x="269" y="214"/>
                    </a:lnTo>
                    <a:lnTo>
                      <a:pt x="267" y="214"/>
                    </a:lnTo>
                    <a:lnTo>
                      <a:pt x="269" y="214"/>
                    </a:lnTo>
                    <a:lnTo>
                      <a:pt x="269" y="212"/>
                    </a:lnTo>
                    <a:lnTo>
                      <a:pt x="269" y="214"/>
                    </a:lnTo>
                    <a:lnTo>
                      <a:pt x="269" y="212"/>
                    </a:lnTo>
                    <a:lnTo>
                      <a:pt x="269" y="210"/>
                    </a:lnTo>
                    <a:lnTo>
                      <a:pt x="269" y="212"/>
                    </a:lnTo>
                    <a:lnTo>
                      <a:pt x="271" y="212"/>
                    </a:lnTo>
                    <a:lnTo>
                      <a:pt x="271" y="210"/>
                    </a:lnTo>
                    <a:lnTo>
                      <a:pt x="271" y="212"/>
                    </a:lnTo>
                    <a:lnTo>
                      <a:pt x="271" y="210"/>
                    </a:lnTo>
                    <a:lnTo>
                      <a:pt x="273" y="210"/>
                    </a:lnTo>
                    <a:lnTo>
                      <a:pt x="273" y="208"/>
                    </a:lnTo>
                    <a:lnTo>
                      <a:pt x="271" y="208"/>
                    </a:lnTo>
                    <a:lnTo>
                      <a:pt x="271" y="206"/>
                    </a:lnTo>
                    <a:lnTo>
                      <a:pt x="269" y="208"/>
                    </a:lnTo>
                    <a:lnTo>
                      <a:pt x="271" y="208"/>
                    </a:lnTo>
                    <a:lnTo>
                      <a:pt x="269" y="208"/>
                    </a:lnTo>
                    <a:lnTo>
                      <a:pt x="269" y="206"/>
                    </a:lnTo>
                    <a:lnTo>
                      <a:pt x="269" y="208"/>
                    </a:lnTo>
                    <a:lnTo>
                      <a:pt x="267" y="208"/>
                    </a:lnTo>
                    <a:lnTo>
                      <a:pt x="267" y="206"/>
                    </a:lnTo>
                    <a:lnTo>
                      <a:pt x="267" y="208"/>
                    </a:lnTo>
                    <a:lnTo>
                      <a:pt x="267" y="210"/>
                    </a:lnTo>
                    <a:lnTo>
                      <a:pt x="267" y="208"/>
                    </a:lnTo>
                    <a:lnTo>
                      <a:pt x="267" y="210"/>
                    </a:lnTo>
                    <a:lnTo>
                      <a:pt x="269" y="210"/>
                    </a:lnTo>
                    <a:lnTo>
                      <a:pt x="267" y="210"/>
                    </a:lnTo>
                    <a:lnTo>
                      <a:pt x="265" y="210"/>
                    </a:lnTo>
                    <a:lnTo>
                      <a:pt x="267" y="210"/>
                    </a:lnTo>
                    <a:lnTo>
                      <a:pt x="265" y="212"/>
                    </a:lnTo>
                    <a:lnTo>
                      <a:pt x="267" y="212"/>
                    </a:lnTo>
                    <a:lnTo>
                      <a:pt x="265" y="210"/>
                    </a:lnTo>
                    <a:lnTo>
                      <a:pt x="265" y="212"/>
                    </a:lnTo>
                    <a:lnTo>
                      <a:pt x="267" y="212"/>
                    </a:lnTo>
                    <a:lnTo>
                      <a:pt x="265" y="212"/>
                    </a:lnTo>
                    <a:lnTo>
                      <a:pt x="265" y="214"/>
                    </a:lnTo>
                    <a:lnTo>
                      <a:pt x="267" y="216"/>
                    </a:lnTo>
                    <a:lnTo>
                      <a:pt x="265" y="216"/>
                    </a:lnTo>
                    <a:lnTo>
                      <a:pt x="265" y="218"/>
                    </a:lnTo>
                    <a:lnTo>
                      <a:pt x="265" y="216"/>
                    </a:lnTo>
                    <a:lnTo>
                      <a:pt x="263" y="216"/>
                    </a:lnTo>
                    <a:lnTo>
                      <a:pt x="265" y="214"/>
                    </a:lnTo>
                    <a:lnTo>
                      <a:pt x="263" y="214"/>
                    </a:lnTo>
                    <a:lnTo>
                      <a:pt x="261" y="214"/>
                    </a:lnTo>
                    <a:lnTo>
                      <a:pt x="259" y="214"/>
                    </a:lnTo>
                    <a:lnTo>
                      <a:pt x="257" y="216"/>
                    </a:lnTo>
                    <a:lnTo>
                      <a:pt x="257" y="218"/>
                    </a:lnTo>
                    <a:lnTo>
                      <a:pt x="256" y="218"/>
                    </a:lnTo>
                    <a:lnTo>
                      <a:pt x="256" y="220"/>
                    </a:lnTo>
                    <a:lnTo>
                      <a:pt x="257" y="220"/>
                    </a:lnTo>
                    <a:lnTo>
                      <a:pt x="256" y="220"/>
                    </a:lnTo>
                    <a:lnTo>
                      <a:pt x="257" y="220"/>
                    </a:lnTo>
                    <a:lnTo>
                      <a:pt x="257" y="222"/>
                    </a:lnTo>
                    <a:lnTo>
                      <a:pt x="257" y="224"/>
                    </a:lnTo>
                    <a:lnTo>
                      <a:pt x="256" y="224"/>
                    </a:lnTo>
                    <a:lnTo>
                      <a:pt x="256" y="226"/>
                    </a:lnTo>
                    <a:lnTo>
                      <a:pt x="256" y="227"/>
                    </a:lnTo>
                    <a:lnTo>
                      <a:pt x="254" y="227"/>
                    </a:lnTo>
                    <a:lnTo>
                      <a:pt x="252" y="227"/>
                    </a:lnTo>
                    <a:lnTo>
                      <a:pt x="252" y="226"/>
                    </a:lnTo>
                    <a:lnTo>
                      <a:pt x="252" y="224"/>
                    </a:lnTo>
                    <a:lnTo>
                      <a:pt x="252" y="222"/>
                    </a:lnTo>
                    <a:lnTo>
                      <a:pt x="252" y="220"/>
                    </a:lnTo>
                    <a:lnTo>
                      <a:pt x="252" y="222"/>
                    </a:lnTo>
                    <a:lnTo>
                      <a:pt x="252" y="220"/>
                    </a:lnTo>
                    <a:lnTo>
                      <a:pt x="254" y="220"/>
                    </a:lnTo>
                    <a:lnTo>
                      <a:pt x="254" y="218"/>
                    </a:lnTo>
                    <a:lnTo>
                      <a:pt x="252" y="218"/>
                    </a:lnTo>
                    <a:lnTo>
                      <a:pt x="250" y="218"/>
                    </a:lnTo>
                    <a:lnTo>
                      <a:pt x="248" y="218"/>
                    </a:lnTo>
                    <a:lnTo>
                      <a:pt x="248" y="220"/>
                    </a:lnTo>
                    <a:lnTo>
                      <a:pt x="246" y="220"/>
                    </a:lnTo>
                    <a:lnTo>
                      <a:pt x="248" y="220"/>
                    </a:lnTo>
                    <a:lnTo>
                      <a:pt x="244" y="222"/>
                    </a:lnTo>
                    <a:lnTo>
                      <a:pt x="244" y="224"/>
                    </a:lnTo>
                    <a:lnTo>
                      <a:pt x="242" y="226"/>
                    </a:lnTo>
                    <a:lnTo>
                      <a:pt x="242" y="227"/>
                    </a:lnTo>
                    <a:lnTo>
                      <a:pt x="238" y="227"/>
                    </a:lnTo>
                    <a:lnTo>
                      <a:pt x="238" y="226"/>
                    </a:lnTo>
                    <a:lnTo>
                      <a:pt x="238" y="227"/>
                    </a:lnTo>
                    <a:lnTo>
                      <a:pt x="236" y="227"/>
                    </a:lnTo>
                    <a:lnTo>
                      <a:pt x="233" y="226"/>
                    </a:lnTo>
                    <a:lnTo>
                      <a:pt x="229" y="227"/>
                    </a:lnTo>
                    <a:lnTo>
                      <a:pt x="225" y="227"/>
                    </a:lnTo>
                    <a:lnTo>
                      <a:pt x="223" y="229"/>
                    </a:lnTo>
                    <a:lnTo>
                      <a:pt x="225" y="227"/>
                    </a:lnTo>
                    <a:lnTo>
                      <a:pt x="227" y="227"/>
                    </a:lnTo>
                    <a:lnTo>
                      <a:pt x="227" y="226"/>
                    </a:lnTo>
                    <a:lnTo>
                      <a:pt x="229" y="226"/>
                    </a:lnTo>
                    <a:lnTo>
                      <a:pt x="227" y="227"/>
                    </a:lnTo>
                    <a:lnTo>
                      <a:pt x="229" y="226"/>
                    </a:lnTo>
                    <a:lnTo>
                      <a:pt x="229" y="224"/>
                    </a:lnTo>
                    <a:lnTo>
                      <a:pt x="227" y="224"/>
                    </a:lnTo>
                    <a:lnTo>
                      <a:pt x="227" y="226"/>
                    </a:lnTo>
                    <a:lnTo>
                      <a:pt x="225" y="224"/>
                    </a:lnTo>
                    <a:lnTo>
                      <a:pt x="225" y="226"/>
                    </a:lnTo>
                    <a:lnTo>
                      <a:pt x="225" y="224"/>
                    </a:lnTo>
                    <a:lnTo>
                      <a:pt x="223" y="226"/>
                    </a:lnTo>
                    <a:lnTo>
                      <a:pt x="223" y="224"/>
                    </a:lnTo>
                    <a:lnTo>
                      <a:pt x="223" y="222"/>
                    </a:lnTo>
                    <a:lnTo>
                      <a:pt x="223" y="224"/>
                    </a:lnTo>
                    <a:lnTo>
                      <a:pt x="223" y="222"/>
                    </a:lnTo>
                    <a:lnTo>
                      <a:pt x="223" y="224"/>
                    </a:lnTo>
                    <a:lnTo>
                      <a:pt x="221" y="224"/>
                    </a:lnTo>
                    <a:lnTo>
                      <a:pt x="223" y="224"/>
                    </a:lnTo>
                    <a:lnTo>
                      <a:pt x="221" y="224"/>
                    </a:lnTo>
                    <a:lnTo>
                      <a:pt x="223" y="226"/>
                    </a:lnTo>
                    <a:lnTo>
                      <a:pt x="221" y="226"/>
                    </a:lnTo>
                    <a:lnTo>
                      <a:pt x="221" y="224"/>
                    </a:lnTo>
                    <a:lnTo>
                      <a:pt x="221" y="222"/>
                    </a:lnTo>
                    <a:lnTo>
                      <a:pt x="221" y="224"/>
                    </a:lnTo>
                    <a:lnTo>
                      <a:pt x="221" y="222"/>
                    </a:lnTo>
                    <a:lnTo>
                      <a:pt x="219" y="222"/>
                    </a:lnTo>
                    <a:lnTo>
                      <a:pt x="221" y="220"/>
                    </a:lnTo>
                    <a:lnTo>
                      <a:pt x="221" y="218"/>
                    </a:lnTo>
                    <a:lnTo>
                      <a:pt x="221" y="220"/>
                    </a:lnTo>
                    <a:lnTo>
                      <a:pt x="221" y="218"/>
                    </a:lnTo>
                    <a:lnTo>
                      <a:pt x="221" y="220"/>
                    </a:lnTo>
                    <a:lnTo>
                      <a:pt x="219" y="220"/>
                    </a:lnTo>
                    <a:lnTo>
                      <a:pt x="217" y="220"/>
                    </a:lnTo>
                    <a:lnTo>
                      <a:pt x="217" y="222"/>
                    </a:lnTo>
                    <a:lnTo>
                      <a:pt x="216" y="224"/>
                    </a:lnTo>
                    <a:lnTo>
                      <a:pt x="216" y="226"/>
                    </a:lnTo>
                    <a:lnTo>
                      <a:pt x="216" y="227"/>
                    </a:lnTo>
                    <a:lnTo>
                      <a:pt x="217" y="227"/>
                    </a:lnTo>
                    <a:lnTo>
                      <a:pt x="217" y="229"/>
                    </a:lnTo>
                    <a:lnTo>
                      <a:pt x="219" y="229"/>
                    </a:lnTo>
                    <a:lnTo>
                      <a:pt x="221" y="229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21" y="235"/>
                    </a:lnTo>
                    <a:lnTo>
                      <a:pt x="221" y="233"/>
                    </a:lnTo>
                    <a:lnTo>
                      <a:pt x="219" y="233"/>
                    </a:lnTo>
                    <a:lnTo>
                      <a:pt x="221" y="233"/>
                    </a:lnTo>
                    <a:lnTo>
                      <a:pt x="219" y="233"/>
                    </a:lnTo>
                    <a:lnTo>
                      <a:pt x="217" y="233"/>
                    </a:lnTo>
                    <a:lnTo>
                      <a:pt x="219" y="233"/>
                    </a:lnTo>
                    <a:lnTo>
                      <a:pt x="217" y="233"/>
                    </a:lnTo>
                    <a:lnTo>
                      <a:pt x="219" y="233"/>
                    </a:lnTo>
                    <a:lnTo>
                      <a:pt x="217" y="233"/>
                    </a:lnTo>
                    <a:lnTo>
                      <a:pt x="217" y="235"/>
                    </a:lnTo>
                    <a:lnTo>
                      <a:pt x="216" y="235"/>
                    </a:lnTo>
                    <a:lnTo>
                      <a:pt x="217" y="233"/>
                    </a:lnTo>
                    <a:lnTo>
                      <a:pt x="217" y="235"/>
                    </a:lnTo>
                    <a:lnTo>
                      <a:pt x="217" y="233"/>
                    </a:lnTo>
                    <a:lnTo>
                      <a:pt x="216" y="233"/>
                    </a:lnTo>
                    <a:lnTo>
                      <a:pt x="216" y="235"/>
                    </a:lnTo>
                    <a:lnTo>
                      <a:pt x="216" y="233"/>
                    </a:lnTo>
                    <a:lnTo>
                      <a:pt x="216" y="235"/>
                    </a:lnTo>
                    <a:lnTo>
                      <a:pt x="214" y="235"/>
                    </a:lnTo>
                    <a:lnTo>
                      <a:pt x="216" y="235"/>
                    </a:lnTo>
                    <a:lnTo>
                      <a:pt x="214" y="235"/>
                    </a:lnTo>
                    <a:lnTo>
                      <a:pt x="212" y="235"/>
                    </a:lnTo>
                    <a:lnTo>
                      <a:pt x="214" y="235"/>
                    </a:lnTo>
                    <a:lnTo>
                      <a:pt x="214" y="237"/>
                    </a:lnTo>
                    <a:lnTo>
                      <a:pt x="212" y="235"/>
                    </a:lnTo>
                    <a:lnTo>
                      <a:pt x="212" y="237"/>
                    </a:lnTo>
                    <a:lnTo>
                      <a:pt x="212" y="239"/>
                    </a:lnTo>
                    <a:lnTo>
                      <a:pt x="212" y="237"/>
                    </a:lnTo>
                    <a:lnTo>
                      <a:pt x="210" y="239"/>
                    </a:lnTo>
                    <a:lnTo>
                      <a:pt x="212" y="239"/>
                    </a:lnTo>
                    <a:lnTo>
                      <a:pt x="210" y="239"/>
                    </a:lnTo>
                    <a:lnTo>
                      <a:pt x="212" y="239"/>
                    </a:lnTo>
                    <a:lnTo>
                      <a:pt x="212" y="241"/>
                    </a:lnTo>
                    <a:lnTo>
                      <a:pt x="212" y="239"/>
                    </a:lnTo>
                    <a:lnTo>
                      <a:pt x="212" y="241"/>
                    </a:lnTo>
                    <a:lnTo>
                      <a:pt x="210" y="241"/>
                    </a:lnTo>
                    <a:lnTo>
                      <a:pt x="212" y="241"/>
                    </a:lnTo>
                    <a:lnTo>
                      <a:pt x="210" y="241"/>
                    </a:lnTo>
                    <a:lnTo>
                      <a:pt x="210" y="243"/>
                    </a:lnTo>
                    <a:lnTo>
                      <a:pt x="210" y="241"/>
                    </a:lnTo>
                    <a:lnTo>
                      <a:pt x="210" y="243"/>
                    </a:lnTo>
                    <a:lnTo>
                      <a:pt x="208" y="246"/>
                    </a:lnTo>
                    <a:lnTo>
                      <a:pt x="206" y="246"/>
                    </a:lnTo>
                    <a:lnTo>
                      <a:pt x="208" y="246"/>
                    </a:lnTo>
                    <a:lnTo>
                      <a:pt x="206" y="246"/>
                    </a:lnTo>
                    <a:lnTo>
                      <a:pt x="206" y="248"/>
                    </a:lnTo>
                    <a:lnTo>
                      <a:pt x="204" y="248"/>
                    </a:lnTo>
                    <a:lnTo>
                      <a:pt x="204" y="250"/>
                    </a:lnTo>
                    <a:lnTo>
                      <a:pt x="202" y="250"/>
                    </a:lnTo>
                    <a:lnTo>
                      <a:pt x="202" y="248"/>
                    </a:lnTo>
                    <a:lnTo>
                      <a:pt x="202" y="250"/>
                    </a:lnTo>
                    <a:lnTo>
                      <a:pt x="202" y="248"/>
                    </a:lnTo>
                    <a:lnTo>
                      <a:pt x="200" y="248"/>
                    </a:lnTo>
                    <a:lnTo>
                      <a:pt x="198" y="248"/>
                    </a:lnTo>
                    <a:lnTo>
                      <a:pt x="198" y="246"/>
                    </a:lnTo>
                    <a:lnTo>
                      <a:pt x="196" y="246"/>
                    </a:lnTo>
                    <a:lnTo>
                      <a:pt x="196" y="245"/>
                    </a:lnTo>
                    <a:lnTo>
                      <a:pt x="196" y="246"/>
                    </a:lnTo>
                    <a:lnTo>
                      <a:pt x="198" y="246"/>
                    </a:lnTo>
                    <a:lnTo>
                      <a:pt x="198" y="245"/>
                    </a:lnTo>
                    <a:lnTo>
                      <a:pt x="196" y="245"/>
                    </a:lnTo>
                    <a:lnTo>
                      <a:pt x="195" y="245"/>
                    </a:lnTo>
                    <a:lnTo>
                      <a:pt x="195" y="243"/>
                    </a:lnTo>
                    <a:lnTo>
                      <a:pt x="193" y="241"/>
                    </a:lnTo>
                    <a:lnTo>
                      <a:pt x="193" y="243"/>
                    </a:lnTo>
                    <a:lnTo>
                      <a:pt x="193" y="241"/>
                    </a:lnTo>
                    <a:lnTo>
                      <a:pt x="195" y="239"/>
                    </a:lnTo>
                    <a:lnTo>
                      <a:pt x="193" y="239"/>
                    </a:lnTo>
                    <a:lnTo>
                      <a:pt x="193" y="237"/>
                    </a:lnTo>
                    <a:lnTo>
                      <a:pt x="195" y="237"/>
                    </a:lnTo>
                    <a:lnTo>
                      <a:pt x="193" y="237"/>
                    </a:lnTo>
                    <a:lnTo>
                      <a:pt x="195" y="237"/>
                    </a:lnTo>
                    <a:lnTo>
                      <a:pt x="195" y="235"/>
                    </a:lnTo>
                    <a:lnTo>
                      <a:pt x="195" y="237"/>
                    </a:lnTo>
                    <a:lnTo>
                      <a:pt x="195" y="235"/>
                    </a:lnTo>
                    <a:lnTo>
                      <a:pt x="193" y="235"/>
                    </a:lnTo>
                    <a:lnTo>
                      <a:pt x="193" y="233"/>
                    </a:lnTo>
                    <a:lnTo>
                      <a:pt x="195" y="233"/>
                    </a:lnTo>
                    <a:lnTo>
                      <a:pt x="196" y="231"/>
                    </a:lnTo>
                    <a:lnTo>
                      <a:pt x="195" y="231"/>
                    </a:lnTo>
                    <a:lnTo>
                      <a:pt x="196" y="231"/>
                    </a:lnTo>
                    <a:lnTo>
                      <a:pt x="195" y="231"/>
                    </a:lnTo>
                    <a:lnTo>
                      <a:pt x="196" y="231"/>
                    </a:lnTo>
                    <a:lnTo>
                      <a:pt x="196" y="229"/>
                    </a:lnTo>
                    <a:lnTo>
                      <a:pt x="198" y="231"/>
                    </a:lnTo>
                    <a:lnTo>
                      <a:pt x="198" y="229"/>
                    </a:lnTo>
                    <a:lnTo>
                      <a:pt x="198" y="227"/>
                    </a:lnTo>
                    <a:lnTo>
                      <a:pt x="198" y="229"/>
                    </a:lnTo>
                    <a:lnTo>
                      <a:pt x="198" y="227"/>
                    </a:lnTo>
                    <a:lnTo>
                      <a:pt x="198" y="229"/>
                    </a:lnTo>
                    <a:lnTo>
                      <a:pt x="198" y="227"/>
                    </a:lnTo>
                    <a:lnTo>
                      <a:pt x="198" y="226"/>
                    </a:lnTo>
                    <a:lnTo>
                      <a:pt x="198" y="227"/>
                    </a:lnTo>
                    <a:lnTo>
                      <a:pt x="198" y="226"/>
                    </a:lnTo>
                    <a:lnTo>
                      <a:pt x="198" y="227"/>
                    </a:lnTo>
                    <a:lnTo>
                      <a:pt x="198" y="226"/>
                    </a:lnTo>
                    <a:lnTo>
                      <a:pt x="196" y="226"/>
                    </a:lnTo>
                    <a:lnTo>
                      <a:pt x="198" y="226"/>
                    </a:lnTo>
                    <a:lnTo>
                      <a:pt x="196" y="226"/>
                    </a:lnTo>
                    <a:lnTo>
                      <a:pt x="196" y="227"/>
                    </a:lnTo>
                    <a:lnTo>
                      <a:pt x="195" y="226"/>
                    </a:lnTo>
                    <a:lnTo>
                      <a:pt x="196" y="226"/>
                    </a:lnTo>
                    <a:lnTo>
                      <a:pt x="195" y="226"/>
                    </a:lnTo>
                    <a:lnTo>
                      <a:pt x="195" y="227"/>
                    </a:lnTo>
                    <a:lnTo>
                      <a:pt x="195" y="226"/>
                    </a:lnTo>
                    <a:lnTo>
                      <a:pt x="195" y="227"/>
                    </a:lnTo>
                    <a:lnTo>
                      <a:pt x="195" y="226"/>
                    </a:lnTo>
                    <a:lnTo>
                      <a:pt x="195" y="227"/>
                    </a:lnTo>
                    <a:lnTo>
                      <a:pt x="193" y="227"/>
                    </a:lnTo>
                    <a:lnTo>
                      <a:pt x="191" y="227"/>
                    </a:lnTo>
                    <a:lnTo>
                      <a:pt x="189" y="226"/>
                    </a:lnTo>
                    <a:lnTo>
                      <a:pt x="187" y="226"/>
                    </a:lnTo>
                    <a:lnTo>
                      <a:pt x="189" y="226"/>
                    </a:lnTo>
                    <a:lnTo>
                      <a:pt x="187" y="226"/>
                    </a:lnTo>
                    <a:lnTo>
                      <a:pt x="187" y="224"/>
                    </a:lnTo>
                    <a:lnTo>
                      <a:pt x="187" y="226"/>
                    </a:lnTo>
                    <a:lnTo>
                      <a:pt x="187" y="224"/>
                    </a:lnTo>
                    <a:lnTo>
                      <a:pt x="187" y="226"/>
                    </a:lnTo>
                    <a:lnTo>
                      <a:pt x="187" y="224"/>
                    </a:lnTo>
                    <a:lnTo>
                      <a:pt x="185" y="226"/>
                    </a:lnTo>
                    <a:lnTo>
                      <a:pt x="187" y="224"/>
                    </a:lnTo>
                    <a:lnTo>
                      <a:pt x="185" y="226"/>
                    </a:lnTo>
                    <a:lnTo>
                      <a:pt x="187" y="224"/>
                    </a:lnTo>
                    <a:lnTo>
                      <a:pt x="185" y="224"/>
                    </a:lnTo>
                    <a:lnTo>
                      <a:pt x="185" y="226"/>
                    </a:lnTo>
                    <a:lnTo>
                      <a:pt x="185" y="224"/>
                    </a:lnTo>
                    <a:lnTo>
                      <a:pt x="185" y="226"/>
                    </a:lnTo>
                    <a:lnTo>
                      <a:pt x="185" y="224"/>
                    </a:lnTo>
                    <a:lnTo>
                      <a:pt x="185" y="226"/>
                    </a:lnTo>
                    <a:lnTo>
                      <a:pt x="185" y="224"/>
                    </a:lnTo>
                    <a:lnTo>
                      <a:pt x="185" y="226"/>
                    </a:lnTo>
                    <a:lnTo>
                      <a:pt x="185" y="224"/>
                    </a:lnTo>
                    <a:lnTo>
                      <a:pt x="185" y="226"/>
                    </a:lnTo>
                    <a:lnTo>
                      <a:pt x="183" y="224"/>
                    </a:lnTo>
                    <a:lnTo>
                      <a:pt x="183" y="226"/>
                    </a:lnTo>
                    <a:lnTo>
                      <a:pt x="183" y="224"/>
                    </a:lnTo>
                    <a:lnTo>
                      <a:pt x="183" y="226"/>
                    </a:lnTo>
                    <a:lnTo>
                      <a:pt x="181" y="226"/>
                    </a:lnTo>
                    <a:lnTo>
                      <a:pt x="179" y="226"/>
                    </a:lnTo>
                    <a:lnTo>
                      <a:pt x="179" y="227"/>
                    </a:lnTo>
                    <a:lnTo>
                      <a:pt x="177" y="227"/>
                    </a:lnTo>
                    <a:lnTo>
                      <a:pt x="179" y="227"/>
                    </a:lnTo>
                    <a:lnTo>
                      <a:pt x="177" y="227"/>
                    </a:lnTo>
                    <a:lnTo>
                      <a:pt x="175" y="227"/>
                    </a:lnTo>
                    <a:lnTo>
                      <a:pt x="177" y="227"/>
                    </a:lnTo>
                    <a:lnTo>
                      <a:pt x="175" y="227"/>
                    </a:lnTo>
                    <a:lnTo>
                      <a:pt x="174" y="227"/>
                    </a:lnTo>
                    <a:lnTo>
                      <a:pt x="175" y="229"/>
                    </a:lnTo>
                    <a:lnTo>
                      <a:pt x="175" y="227"/>
                    </a:lnTo>
                    <a:lnTo>
                      <a:pt x="175" y="229"/>
                    </a:lnTo>
                    <a:lnTo>
                      <a:pt x="175" y="231"/>
                    </a:lnTo>
                    <a:lnTo>
                      <a:pt x="174" y="231"/>
                    </a:lnTo>
                    <a:lnTo>
                      <a:pt x="175" y="231"/>
                    </a:lnTo>
                    <a:lnTo>
                      <a:pt x="174" y="231"/>
                    </a:lnTo>
                    <a:lnTo>
                      <a:pt x="172" y="231"/>
                    </a:lnTo>
                    <a:lnTo>
                      <a:pt x="174" y="231"/>
                    </a:lnTo>
                    <a:lnTo>
                      <a:pt x="172" y="231"/>
                    </a:lnTo>
                    <a:lnTo>
                      <a:pt x="172" y="229"/>
                    </a:lnTo>
                    <a:lnTo>
                      <a:pt x="172" y="231"/>
                    </a:lnTo>
                    <a:lnTo>
                      <a:pt x="172" y="229"/>
                    </a:lnTo>
                    <a:lnTo>
                      <a:pt x="170" y="229"/>
                    </a:lnTo>
                    <a:lnTo>
                      <a:pt x="170" y="231"/>
                    </a:lnTo>
                    <a:lnTo>
                      <a:pt x="168" y="231"/>
                    </a:lnTo>
                    <a:lnTo>
                      <a:pt x="168" y="229"/>
                    </a:lnTo>
                    <a:lnTo>
                      <a:pt x="168" y="231"/>
                    </a:lnTo>
                    <a:lnTo>
                      <a:pt x="166" y="229"/>
                    </a:lnTo>
                    <a:lnTo>
                      <a:pt x="166" y="231"/>
                    </a:lnTo>
                    <a:lnTo>
                      <a:pt x="166" y="229"/>
                    </a:lnTo>
                    <a:lnTo>
                      <a:pt x="166" y="231"/>
                    </a:lnTo>
                    <a:lnTo>
                      <a:pt x="166" y="233"/>
                    </a:lnTo>
                    <a:lnTo>
                      <a:pt x="164" y="233"/>
                    </a:lnTo>
                    <a:lnTo>
                      <a:pt x="164" y="231"/>
                    </a:lnTo>
                    <a:lnTo>
                      <a:pt x="162" y="231"/>
                    </a:lnTo>
                    <a:lnTo>
                      <a:pt x="160" y="231"/>
                    </a:lnTo>
                    <a:lnTo>
                      <a:pt x="162" y="233"/>
                    </a:lnTo>
                    <a:lnTo>
                      <a:pt x="160" y="233"/>
                    </a:lnTo>
                    <a:lnTo>
                      <a:pt x="158" y="233"/>
                    </a:lnTo>
                    <a:lnTo>
                      <a:pt x="156" y="233"/>
                    </a:lnTo>
                    <a:lnTo>
                      <a:pt x="156" y="235"/>
                    </a:lnTo>
                    <a:lnTo>
                      <a:pt x="154" y="235"/>
                    </a:lnTo>
                    <a:lnTo>
                      <a:pt x="153" y="235"/>
                    </a:lnTo>
                    <a:lnTo>
                      <a:pt x="153" y="237"/>
                    </a:lnTo>
                    <a:lnTo>
                      <a:pt x="153" y="239"/>
                    </a:lnTo>
                    <a:lnTo>
                      <a:pt x="153" y="237"/>
                    </a:lnTo>
                    <a:lnTo>
                      <a:pt x="151" y="239"/>
                    </a:lnTo>
                    <a:lnTo>
                      <a:pt x="151" y="237"/>
                    </a:lnTo>
                    <a:lnTo>
                      <a:pt x="153" y="237"/>
                    </a:lnTo>
                    <a:lnTo>
                      <a:pt x="153" y="235"/>
                    </a:lnTo>
                    <a:lnTo>
                      <a:pt x="151" y="233"/>
                    </a:lnTo>
                    <a:lnTo>
                      <a:pt x="153" y="233"/>
                    </a:lnTo>
                    <a:lnTo>
                      <a:pt x="151" y="233"/>
                    </a:lnTo>
                    <a:lnTo>
                      <a:pt x="149" y="233"/>
                    </a:lnTo>
                    <a:lnTo>
                      <a:pt x="149" y="235"/>
                    </a:lnTo>
                    <a:lnTo>
                      <a:pt x="147" y="235"/>
                    </a:lnTo>
                    <a:lnTo>
                      <a:pt x="147" y="237"/>
                    </a:lnTo>
                    <a:lnTo>
                      <a:pt x="149" y="237"/>
                    </a:lnTo>
                    <a:lnTo>
                      <a:pt x="147" y="237"/>
                    </a:lnTo>
                    <a:lnTo>
                      <a:pt x="149" y="237"/>
                    </a:lnTo>
                    <a:lnTo>
                      <a:pt x="147" y="237"/>
                    </a:lnTo>
                    <a:lnTo>
                      <a:pt x="147" y="239"/>
                    </a:lnTo>
                    <a:lnTo>
                      <a:pt x="147" y="241"/>
                    </a:lnTo>
                    <a:lnTo>
                      <a:pt x="145" y="241"/>
                    </a:lnTo>
                    <a:lnTo>
                      <a:pt x="147" y="243"/>
                    </a:lnTo>
                    <a:lnTo>
                      <a:pt x="145" y="243"/>
                    </a:lnTo>
                    <a:lnTo>
                      <a:pt x="145" y="241"/>
                    </a:lnTo>
                    <a:lnTo>
                      <a:pt x="143" y="241"/>
                    </a:lnTo>
                    <a:lnTo>
                      <a:pt x="141" y="239"/>
                    </a:lnTo>
                    <a:lnTo>
                      <a:pt x="141" y="241"/>
                    </a:lnTo>
                    <a:lnTo>
                      <a:pt x="139" y="241"/>
                    </a:lnTo>
                    <a:lnTo>
                      <a:pt x="141" y="239"/>
                    </a:lnTo>
                    <a:lnTo>
                      <a:pt x="139" y="239"/>
                    </a:lnTo>
                    <a:lnTo>
                      <a:pt x="137" y="239"/>
                    </a:lnTo>
                    <a:lnTo>
                      <a:pt x="135" y="239"/>
                    </a:lnTo>
                    <a:lnTo>
                      <a:pt x="134" y="241"/>
                    </a:lnTo>
                    <a:lnTo>
                      <a:pt x="135" y="239"/>
                    </a:lnTo>
                    <a:lnTo>
                      <a:pt x="134" y="239"/>
                    </a:lnTo>
                    <a:lnTo>
                      <a:pt x="134" y="241"/>
                    </a:lnTo>
                    <a:lnTo>
                      <a:pt x="132" y="241"/>
                    </a:lnTo>
                    <a:lnTo>
                      <a:pt x="130" y="241"/>
                    </a:lnTo>
                    <a:lnTo>
                      <a:pt x="130" y="239"/>
                    </a:lnTo>
                    <a:lnTo>
                      <a:pt x="132" y="239"/>
                    </a:lnTo>
                    <a:lnTo>
                      <a:pt x="130" y="239"/>
                    </a:lnTo>
                    <a:lnTo>
                      <a:pt x="128" y="239"/>
                    </a:lnTo>
                    <a:lnTo>
                      <a:pt x="126" y="241"/>
                    </a:lnTo>
                    <a:lnTo>
                      <a:pt x="126" y="239"/>
                    </a:lnTo>
                    <a:lnTo>
                      <a:pt x="126" y="237"/>
                    </a:lnTo>
                    <a:lnTo>
                      <a:pt x="126" y="235"/>
                    </a:lnTo>
                    <a:lnTo>
                      <a:pt x="126" y="233"/>
                    </a:lnTo>
                    <a:lnTo>
                      <a:pt x="128" y="233"/>
                    </a:lnTo>
                    <a:lnTo>
                      <a:pt x="128" y="231"/>
                    </a:lnTo>
                    <a:lnTo>
                      <a:pt x="126" y="231"/>
                    </a:lnTo>
                    <a:lnTo>
                      <a:pt x="128" y="231"/>
                    </a:lnTo>
                    <a:lnTo>
                      <a:pt x="130" y="231"/>
                    </a:lnTo>
                    <a:lnTo>
                      <a:pt x="130" y="233"/>
                    </a:lnTo>
                    <a:lnTo>
                      <a:pt x="132" y="231"/>
                    </a:lnTo>
                    <a:lnTo>
                      <a:pt x="132" y="233"/>
                    </a:lnTo>
                    <a:lnTo>
                      <a:pt x="132" y="231"/>
                    </a:lnTo>
                    <a:lnTo>
                      <a:pt x="134" y="231"/>
                    </a:lnTo>
                    <a:lnTo>
                      <a:pt x="135" y="231"/>
                    </a:lnTo>
                    <a:lnTo>
                      <a:pt x="134" y="231"/>
                    </a:lnTo>
                    <a:lnTo>
                      <a:pt x="135" y="231"/>
                    </a:lnTo>
                    <a:lnTo>
                      <a:pt x="135" y="229"/>
                    </a:lnTo>
                    <a:lnTo>
                      <a:pt x="137" y="229"/>
                    </a:lnTo>
                    <a:lnTo>
                      <a:pt x="137" y="227"/>
                    </a:lnTo>
                    <a:lnTo>
                      <a:pt x="139" y="227"/>
                    </a:lnTo>
                    <a:lnTo>
                      <a:pt x="141" y="226"/>
                    </a:lnTo>
                    <a:lnTo>
                      <a:pt x="143" y="224"/>
                    </a:lnTo>
                    <a:lnTo>
                      <a:pt x="145" y="224"/>
                    </a:lnTo>
                    <a:lnTo>
                      <a:pt x="145" y="222"/>
                    </a:lnTo>
                    <a:lnTo>
                      <a:pt x="145" y="224"/>
                    </a:lnTo>
                    <a:lnTo>
                      <a:pt x="145" y="222"/>
                    </a:lnTo>
                    <a:lnTo>
                      <a:pt x="147" y="220"/>
                    </a:lnTo>
                    <a:lnTo>
                      <a:pt x="149" y="220"/>
                    </a:lnTo>
                    <a:lnTo>
                      <a:pt x="149" y="218"/>
                    </a:lnTo>
                    <a:lnTo>
                      <a:pt x="151" y="218"/>
                    </a:lnTo>
                    <a:lnTo>
                      <a:pt x="151" y="216"/>
                    </a:lnTo>
                    <a:lnTo>
                      <a:pt x="153" y="216"/>
                    </a:lnTo>
                    <a:lnTo>
                      <a:pt x="154" y="214"/>
                    </a:lnTo>
                    <a:lnTo>
                      <a:pt x="154" y="212"/>
                    </a:lnTo>
                    <a:lnTo>
                      <a:pt x="156" y="212"/>
                    </a:lnTo>
                    <a:lnTo>
                      <a:pt x="154" y="210"/>
                    </a:lnTo>
                    <a:lnTo>
                      <a:pt x="156" y="210"/>
                    </a:lnTo>
                    <a:lnTo>
                      <a:pt x="158" y="210"/>
                    </a:lnTo>
                    <a:lnTo>
                      <a:pt x="160" y="210"/>
                    </a:lnTo>
                    <a:lnTo>
                      <a:pt x="158" y="210"/>
                    </a:lnTo>
                    <a:lnTo>
                      <a:pt x="160" y="210"/>
                    </a:lnTo>
                    <a:lnTo>
                      <a:pt x="160" y="208"/>
                    </a:lnTo>
                    <a:lnTo>
                      <a:pt x="162" y="208"/>
                    </a:lnTo>
                    <a:lnTo>
                      <a:pt x="160" y="208"/>
                    </a:lnTo>
                    <a:lnTo>
                      <a:pt x="162" y="208"/>
                    </a:lnTo>
                    <a:lnTo>
                      <a:pt x="162" y="210"/>
                    </a:lnTo>
                    <a:lnTo>
                      <a:pt x="162" y="208"/>
                    </a:lnTo>
                    <a:lnTo>
                      <a:pt x="164" y="208"/>
                    </a:lnTo>
                    <a:lnTo>
                      <a:pt x="164" y="210"/>
                    </a:lnTo>
                    <a:lnTo>
                      <a:pt x="162" y="210"/>
                    </a:lnTo>
                    <a:lnTo>
                      <a:pt x="162" y="212"/>
                    </a:lnTo>
                    <a:lnTo>
                      <a:pt x="164" y="212"/>
                    </a:lnTo>
                    <a:lnTo>
                      <a:pt x="164" y="210"/>
                    </a:lnTo>
                    <a:lnTo>
                      <a:pt x="162" y="210"/>
                    </a:lnTo>
                    <a:lnTo>
                      <a:pt x="164" y="210"/>
                    </a:lnTo>
                    <a:lnTo>
                      <a:pt x="166" y="212"/>
                    </a:lnTo>
                    <a:lnTo>
                      <a:pt x="166" y="210"/>
                    </a:lnTo>
                    <a:lnTo>
                      <a:pt x="168" y="210"/>
                    </a:lnTo>
                    <a:lnTo>
                      <a:pt x="170" y="210"/>
                    </a:lnTo>
                    <a:lnTo>
                      <a:pt x="172" y="210"/>
                    </a:lnTo>
                    <a:lnTo>
                      <a:pt x="174" y="210"/>
                    </a:lnTo>
                    <a:lnTo>
                      <a:pt x="175" y="210"/>
                    </a:lnTo>
                    <a:lnTo>
                      <a:pt x="177" y="210"/>
                    </a:lnTo>
                    <a:lnTo>
                      <a:pt x="179" y="210"/>
                    </a:lnTo>
                    <a:lnTo>
                      <a:pt x="179" y="208"/>
                    </a:lnTo>
                    <a:lnTo>
                      <a:pt x="181" y="208"/>
                    </a:lnTo>
                    <a:lnTo>
                      <a:pt x="183" y="208"/>
                    </a:lnTo>
                    <a:lnTo>
                      <a:pt x="185" y="206"/>
                    </a:lnTo>
                    <a:lnTo>
                      <a:pt x="185" y="208"/>
                    </a:lnTo>
                    <a:lnTo>
                      <a:pt x="187" y="206"/>
                    </a:lnTo>
                    <a:lnTo>
                      <a:pt x="187" y="208"/>
                    </a:lnTo>
                    <a:lnTo>
                      <a:pt x="187" y="206"/>
                    </a:lnTo>
                    <a:lnTo>
                      <a:pt x="187" y="208"/>
                    </a:lnTo>
                    <a:lnTo>
                      <a:pt x="187" y="206"/>
                    </a:lnTo>
                    <a:lnTo>
                      <a:pt x="189" y="206"/>
                    </a:lnTo>
                    <a:lnTo>
                      <a:pt x="189" y="208"/>
                    </a:lnTo>
                    <a:lnTo>
                      <a:pt x="189" y="206"/>
                    </a:lnTo>
                    <a:lnTo>
                      <a:pt x="191" y="208"/>
                    </a:lnTo>
                    <a:lnTo>
                      <a:pt x="189" y="208"/>
                    </a:lnTo>
                    <a:lnTo>
                      <a:pt x="191" y="208"/>
                    </a:lnTo>
                    <a:lnTo>
                      <a:pt x="189" y="208"/>
                    </a:lnTo>
                    <a:lnTo>
                      <a:pt x="191" y="208"/>
                    </a:lnTo>
                    <a:lnTo>
                      <a:pt x="191" y="206"/>
                    </a:lnTo>
                    <a:lnTo>
                      <a:pt x="193" y="206"/>
                    </a:lnTo>
                    <a:lnTo>
                      <a:pt x="195" y="205"/>
                    </a:lnTo>
                    <a:lnTo>
                      <a:pt x="196" y="206"/>
                    </a:lnTo>
                    <a:lnTo>
                      <a:pt x="195" y="210"/>
                    </a:lnTo>
                    <a:lnTo>
                      <a:pt x="195" y="208"/>
                    </a:lnTo>
                    <a:lnTo>
                      <a:pt x="195" y="210"/>
                    </a:lnTo>
                    <a:lnTo>
                      <a:pt x="196" y="208"/>
                    </a:lnTo>
                    <a:lnTo>
                      <a:pt x="195" y="208"/>
                    </a:lnTo>
                    <a:lnTo>
                      <a:pt x="196" y="210"/>
                    </a:lnTo>
                    <a:lnTo>
                      <a:pt x="195" y="210"/>
                    </a:lnTo>
                    <a:lnTo>
                      <a:pt x="196" y="210"/>
                    </a:lnTo>
                    <a:lnTo>
                      <a:pt x="196" y="212"/>
                    </a:lnTo>
                    <a:lnTo>
                      <a:pt x="196" y="210"/>
                    </a:lnTo>
                    <a:lnTo>
                      <a:pt x="198" y="210"/>
                    </a:lnTo>
                    <a:lnTo>
                      <a:pt x="196" y="210"/>
                    </a:lnTo>
                    <a:lnTo>
                      <a:pt x="198" y="210"/>
                    </a:lnTo>
                    <a:lnTo>
                      <a:pt x="196" y="210"/>
                    </a:lnTo>
                    <a:lnTo>
                      <a:pt x="198" y="208"/>
                    </a:lnTo>
                    <a:lnTo>
                      <a:pt x="198" y="210"/>
                    </a:lnTo>
                    <a:lnTo>
                      <a:pt x="200" y="210"/>
                    </a:lnTo>
                    <a:lnTo>
                      <a:pt x="202" y="210"/>
                    </a:lnTo>
                    <a:lnTo>
                      <a:pt x="200" y="210"/>
                    </a:lnTo>
                    <a:lnTo>
                      <a:pt x="202" y="210"/>
                    </a:lnTo>
                    <a:lnTo>
                      <a:pt x="204" y="210"/>
                    </a:lnTo>
                    <a:lnTo>
                      <a:pt x="202" y="210"/>
                    </a:lnTo>
                    <a:lnTo>
                      <a:pt x="202" y="208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08"/>
                    </a:lnTo>
                    <a:lnTo>
                      <a:pt x="206" y="208"/>
                    </a:lnTo>
                    <a:lnTo>
                      <a:pt x="204" y="208"/>
                    </a:lnTo>
                    <a:lnTo>
                      <a:pt x="206" y="208"/>
                    </a:lnTo>
                    <a:lnTo>
                      <a:pt x="208" y="208"/>
                    </a:lnTo>
                    <a:lnTo>
                      <a:pt x="206" y="208"/>
                    </a:lnTo>
                    <a:lnTo>
                      <a:pt x="208" y="206"/>
                    </a:lnTo>
                    <a:lnTo>
                      <a:pt x="206" y="206"/>
                    </a:lnTo>
                    <a:lnTo>
                      <a:pt x="208" y="205"/>
                    </a:lnTo>
                    <a:lnTo>
                      <a:pt x="208" y="206"/>
                    </a:lnTo>
                    <a:lnTo>
                      <a:pt x="208" y="208"/>
                    </a:lnTo>
                    <a:lnTo>
                      <a:pt x="208" y="206"/>
                    </a:lnTo>
                    <a:lnTo>
                      <a:pt x="210" y="205"/>
                    </a:lnTo>
                    <a:lnTo>
                      <a:pt x="208" y="205"/>
                    </a:lnTo>
                    <a:lnTo>
                      <a:pt x="208" y="203"/>
                    </a:lnTo>
                    <a:lnTo>
                      <a:pt x="208" y="201"/>
                    </a:lnTo>
                    <a:lnTo>
                      <a:pt x="206" y="201"/>
                    </a:lnTo>
                    <a:lnTo>
                      <a:pt x="208" y="201"/>
                    </a:lnTo>
                    <a:lnTo>
                      <a:pt x="208" y="199"/>
                    </a:lnTo>
                    <a:lnTo>
                      <a:pt x="210" y="197"/>
                    </a:lnTo>
                    <a:lnTo>
                      <a:pt x="210" y="195"/>
                    </a:lnTo>
                    <a:lnTo>
                      <a:pt x="212" y="195"/>
                    </a:lnTo>
                    <a:lnTo>
                      <a:pt x="212" y="193"/>
                    </a:lnTo>
                    <a:lnTo>
                      <a:pt x="214" y="193"/>
                    </a:lnTo>
                    <a:lnTo>
                      <a:pt x="217" y="189"/>
                    </a:lnTo>
                    <a:lnTo>
                      <a:pt x="217" y="187"/>
                    </a:lnTo>
                    <a:lnTo>
                      <a:pt x="219" y="187"/>
                    </a:lnTo>
                    <a:lnTo>
                      <a:pt x="217" y="187"/>
                    </a:lnTo>
                    <a:lnTo>
                      <a:pt x="219" y="187"/>
                    </a:lnTo>
                    <a:lnTo>
                      <a:pt x="217" y="187"/>
                    </a:lnTo>
                    <a:lnTo>
                      <a:pt x="219" y="185"/>
                    </a:lnTo>
                    <a:lnTo>
                      <a:pt x="219" y="184"/>
                    </a:lnTo>
                    <a:lnTo>
                      <a:pt x="219" y="182"/>
                    </a:lnTo>
                    <a:lnTo>
                      <a:pt x="219" y="180"/>
                    </a:lnTo>
                    <a:lnTo>
                      <a:pt x="219" y="178"/>
                    </a:lnTo>
                    <a:lnTo>
                      <a:pt x="217" y="178"/>
                    </a:lnTo>
                    <a:lnTo>
                      <a:pt x="217" y="176"/>
                    </a:lnTo>
                    <a:lnTo>
                      <a:pt x="219" y="176"/>
                    </a:lnTo>
                    <a:lnTo>
                      <a:pt x="219" y="174"/>
                    </a:lnTo>
                    <a:lnTo>
                      <a:pt x="221" y="174"/>
                    </a:lnTo>
                    <a:lnTo>
                      <a:pt x="221" y="172"/>
                    </a:lnTo>
                    <a:lnTo>
                      <a:pt x="223" y="172"/>
                    </a:lnTo>
                    <a:lnTo>
                      <a:pt x="225" y="170"/>
                    </a:lnTo>
                    <a:lnTo>
                      <a:pt x="227" y="170"/>
                    </a:lnTo>
                    <a:lnTo>
                      <a:pt x="229" y="170"/>
                    </a:lnTo>
                    <a:lnTo>
                      <a:pt x="229" y="172"/>
                    </a:lnTo>
                    <a:lnTo>
                      <a:pt x="227" y="172"/>
                    </a:lnTo>
                    <a:lnTo>
                      <a:pt x="227" y="174"/>
                    </a:lnTo>
                    <a:lnTo>
                      <a:pt x="227" y="176"/>
                    </a:lnTo>
                    <a:lnTo>
                      <a:pt x="225" y="174"/>
                    </a:lnTo>
                    <a:lnTo>
                      <a:pt x="225" y="176"/>
                    </a:lnTo>
                    <a:lnTo>
                      <a:pt x="223" y="176"/>
                    </a:lnTo>
                    <a:lnTo>
                      <a:pt x="223" y="178"/>
                    </a:lnTo>
                    <a:lnTo>
                      <a:pt x="223" y="176"/>
                    </a:lnTo>
                    <a:lnTo>
                      <a:pt x="221" y="176"/>
                    </a:lnTo>
                    <a:lnTo>
                      <a:pt x="221" y="178"/>
                    </a:lnTo>
                    <a:lnTo>
                      <a:pt x="221" y="180"/>
                    </a:lnTo>
                    <a:lnTo>
                      <a:pt x="223" y="180"/>
                    </a:lnTo>
                    <a:lnTo>
                      <a:pt x="225" y="178"/>
                    </a:lnTo>
                    <a:lnTo>
                      <a:pt x="223" y="180"/>
                    </a:lnTo>
                    <a:lnTo>
                      <a:pt x="225" y="182"/>
                    </a:lnTo>
                    <a:lnTo>
                      <a:pt x="223" y="184"/>
                    </a:lnTo>
                    <a:lnTo>
                      <a:pt x="225" y="185"/>
                    </a:lnTo>
                    <a:lnTo>
                      <a:pt x="223" y="185"/>
                    </a:lnTo>
                    <a:lnTo>
                      <a:pt x="225" y="185"/>
                    </a:lnTo>
                    <a:lnTo>
                      <a:pt x="227" y="185"/>
                    </a:lnTo>
                    <a:lnTo>
                      <a:pt x="229" y="185"/>
                    </a:lnTo>
                    <a:lnTo>
                      <a:pt x="229" y="184"/>
                    </a:lnTo>
                    <a:lnTo>
                      <a:pt x="231" y="184"/>
                    </a:lnTo>
                    <a:lnTo>
                      <a:pt x="229" y="184"/>
                    </a:lnTo>
                    <a:lnTo>
                      <a:pt x="231" y="182"/>
                    </a:lnTo>
                    <a:lnTo>
                      <a:pt x="238" y="180"/>
                    </a:lnTo>
                    <a:lnTo>
                      <a:pt x="238" y="178"/>
                    </a:lnTo>
                    <a:lnTo>
                      <a:pt x="240" y="178"/>
                    </a:lnTo>
                    <a:lnTo>
                      <a:pt x="242" y="178"/>
                    </a:lnTo>
                    <a:lnTo>
                      <a:pt x="244" y="176"/>
                    </a:lnTo>
                    <a:lnTo>
                      <a:pt x="244" y="178"/>
                    </a:lnTo>
                    <a:lnTo>
                      <a:pt x="244" y="176"/>
                    </a:lnTo>
                    <a:lnTo>
                      <a:pt x="246" y="174"/>
                    </a:lnTo>
                    <a:lnTo>
                      <a:pt x="248" y="174"/>
                    </a:lnTo>
                    <a:lnTo>
                      <a:pt x="250" y="172"/>
                    </a:lnTo>
                    <a:lnTo>
                      <a:pt x="250" y="170"/>
                    </a:lnTo>
                    <a:lnTo>
                      <a:pt x="252" y="168"/>
                    </a:lnTo>
                    <a:lnTo>
                      <a:pt x="252" y="164"/>
                    </a:lnTo>
                    <a:lnTo>
                      <a:pt x="256" y="163"/>
                    </a:lnTo>
                    <a:lnTo>
                      <a:pt x="257" y="161"/>
                    </a:lnTo>
                    <a:lnTo>
                      <a:pt x="257" y="163"/>
                    </a:lnTo>
                    <a:lnTo>
                      <a:pt x="257" y="161"/>
                    </a:lnTo>
                    <a:lnTo>
                      <a:pt x="259" y="161"/>
                    </a:lnTo>
                    <a:lnTo>
                      <a:pt x="261" y="159"/>
                    </a:lnTo>
                    <a:lnTo>
                      <a:pt x="261" y="157"/>
                    </a:lnTo>
                    <a:lnTo>
                      <a:pt x="263" y="157"/>
                    </a:lnTo>
                    <a:lnTo>
                      <a:pt x="263" y="153"/>
                    </a:lnTo>
                    <a:lnTo>
                      <a:pt x="263" y="149"/>
                    </a:lnTo>
                    <a:lnTo>
                      <a:pt x="265" y="147"/>
                    </a:lnTo>
                    <a:lnTo>
                      <a:pt x="267" y="145"/>
                    </a:lnTo>
                    <a:lnTo>
                      <a:pt x="267" y="143"/>
                    </a:lnTo>
                    <a:lnTo>
                      <a:pt x="267" y="142"/>
                    </a:lnTo>
                    <a:lnTo>
                      <a:pt x="269" y="142"/>
                    </a:lnTo>
                    <a:lnTo>
                      <a:pt x="267" y="142"/>
                    </a:lnTo>
                    <a:lnTo>
                      <a:pt x="269" y="142"/>
                    </a:lnTo>
                    <a:lnTo>
                      <a:pt x="267" y="142"/>
                    </a:lnTo>
                    <a:lnTo>
                      <a:pt x="269" y="142"/>
                    </a:lnTo>
                    <a:lnTo>
                      <a:pt x="269" y="140"/>
                    </a:lnTo>
                    <a:lnTo>
                      <a:pt x="269" y="138"/>
                    </a:lnTo>
                    <a:lnTo>
                      <a:pt x="269" y="136"/>
                    </a:lnTo>
                    <a:lnTo>
                      <a:pt x="269" y="134"/>
                    </a:lnTo>
                    <a:lnTo>
                      <a:pt x="271" y="134"/>
                    </a:lnTo>
                    <a:lnTo>
                      <a:pt x="271" y="132"/>
                    </a:lnTo>
                    <a:lnTo>
                      <a:pt x="271" y="130"/>
                    </a:lnTo>
                    <a:lnTo>
                      <a:pt x="273" y="126"/>
                    </a:lnTo>
                    <a:lnTo>
                      <a:pt x="271" y="124"/>
                    </a:lnTo>
                    <a:lnTo>
                      <a:pt x="273" y="126"/>
                    </a:lnTo>
                    <a:lnTo>
                      <a:pt x="271" y="124"/>
                    </a:lnTo>
                    <a:lnTo>
                      <a:pt x="271" y="122"/>
                    </a:lnTo>
                    <a:lnTo>
                      <a:pt x="271" y="121"/>
                    </a:lnTo>
                    <a:lnTo>
                      <a:pt x="271" y="122"/>
                    </a:lnTo>
                    <a:lnTo>
                      <a:pt x="273" y="122"/>
                    </a:lnTo>
                    <a:lnTo>
                      <a:pt x="271" y="121"/>
                    </a:lnTo>
                    <a:lnTo>
                      <a:pt x="271" y="122"/>
                    </a:lnTo>
                    <a:lnTo>
                      <a:pt x="269" y="122"/>
                    </a:lnTo>
                    <a:lnTo>
                      <a:pt x="267" y="122"/>
                    </a:lnTo>
                    <a:lnTo>
                      <a:pt x="267" y="121"/>
                    </a:lnTo>
                    <a:lnTo>
                      <a:pt x="269" y="121"/>
                    </a:lnTo>
                    <a:lnTo>
                      <a:pt x="271" y="117"/>
                    </a:lnTo>
                    <a:lnTo>
                      <a:pt x="271" y="115"/>
                    </a:lnTo>
                    <a:lnTo>
                      <a:pt x="271" y="113"/>
                    </a:lnTo>
                    <a:lnTo>
                      <a:pt x="271" y="111"/>
                    </a:lnTo>
                    <a:lnTo>
                      <a:pt x="271" y="109"/>
                    </a:lnTo>
                    <a:lnTo>
                      <a:pt x="269" y="107"/>
                    </a:lnTo>
                    <a:lnTo>
                      <a:pt x="271" y="105"/>
                    </a:lnTo>
                    <a:lnTo>
                      <a:pt x="271" y="103"/>
                    </a:lnTo>
                    <a:lnTo>
                      <a:pt x="273" y="103"/>
                    </a:lnTo>
                    <a:lnTo>
                      <a:pt x="273" y="105"/>
                    </a:lnTo>
                    <a:lnTo>
                      <a:pt x="275" y="103"/>
                    </a:lnTo>
                    <a:lnTo>
                      <a:pt x="277" y="101"/>
                    </a:lnTo>
                    <a:lnTo>
                      <a:pt x="277" y="98"/>
                    </a:lnTo>
                    <a:lnTo>
                      <a:pt x="275" y="96"/>
                    </a:lnTo>
                    <a:lnTo>
                      <a:pt x="277" y="96"/>
                    </a:lnTo>
                    <a:lnTo>
                      <a:pt x="277" y="94"/>
                    </a:lnTo>
                    <a:lnTo>
                      <a:pt x="278" y="94"/>
                    </a:lnTo>
                    <a:lnTo>
                      <a:pt x="278" y="96"/>
                    </a:lnTo>
                    <a:lnTo>
                      <a:pt x="280" y="94"/>
                    </a:lnTo>
                    <a:lnTo>
                      <a:pt x="280" y="96"/>
                    </a:lnTo>
                    <a:lnTo>
                      <a:pt x="280" y="98"/>
                    </a:lnTo>
                    <a:lnTo>
                      <a:pt x="282" y="100"/>
                    </a:lnTo>
                    <a:lnTo>
                      <a:pt x="282" y="101"/>
                    </a:lnTo>
                    <a:lnTo>
                      <a:pt x="282" y="103"/>
                    </a:lnTo>
                    <a:lnTo>
                      <a:pt x="284" y="101"/>
                    </a:lnTo>
                    <a:lnTo>
                      <a:pt x="284" y="100"/>
                    </a:lnTo>
                    <a:lnTo>
                      <a:pt x="284" y="98"/>
                    </a:lnTo>
                    <a:lnTo>
                      <a:pt x="286" y="100"/>
                    </a:lnTo>
                    <a:lnTo>
                      <a:pt x="288" y="101"/>
                    </a:lnTo>
                    <a:lnTo>
                      <a:pt x="290" y="101"/>
                    </a:lnTo>
                    <a:lnTo>
                      <a:pt x="290" y="100"/>
                    </a:lnTo>
                    <a:lnTo>
                      <a:pt x="290" y="98"/>
                    </a:lnTo>
                    <a:lnTo>
                      <a:pt x="292" y="96"/>
                    </a:lnTo>
                    <a:lnTo>
                      <a:pt x="290" y="94"/>
                    </a:lnTo>
                    <a:lnTo>
                      <a:pt x="288" y="96"/>
                    </a:lnTo>
                    <a:lnTo>
                      <a:pt x="286" y="94"/>
                    </a:lnTo>
                    <a:lnTo>
                      <a:pt x="286" y="96"/>
                    </a:lnTo>
                    <a:lnTo>
                      <a:pt x="284" y="96"/>
                    </a:lnTo>
                    <a:lnTo>
                      <a:pt x="282" y="96"/>
                    </a:lnTo>
                    <a:lnTo>
                      <a:pt x="284" y="92"/>
                    </a:lnTo>
                    <a:lnTo>
                      <a:pt x="284" y="90"/>
                    </a:lnTo>
                    <a:lnTo>
                      <a:pt x="286" y="88"/>
                    </a:lnTo>
                    <a:lnTo>
                      <a:pt x="288" y="88"/>
                    </a:lnTo>
                    <a:lnTo>
                      <a:pt x="288" y="90"/>
                    </a:lnTo>
                    <a:lnTo>
                      <a:pt x="290" y="92"/>
                    </a:lnTo>
                    <a:lnTo>
                      <a:pt x="292" y="92"/>
                    </a:lnTo>
                    <a:lnTo>
                      <a:pt x="294" y="90"/>
                    </a:lnTo>
                    <a:lnTo>
                      <a:pt x="294" y="96"/>
                    </a:lnTo>
                    <a:lnTo>
                      <a:pt x="294" y="98"/>
                    </a:lnTo>
                    <a:lnTo>
                      <a:pt x="294" y="100"/>
                    </a:lnTo>
                    <a:lnTo>
                      <a:pt x="292" y="100"/>
                    </a:lnTo>
                    <a:lnTo>
                      <a:pt x="294" y="100"/>
                    </a:lnTo>
                    <a:lnTo>
                      <a:pt x="292" y="100"/>
                    </a:lnTo>
                    <a:lnTo>
                      <a:pt x="294" y="100"/>
                    </a:lnTo>
                    <a:lnTo>
                      <a:pt x="294" y="101"/>
                    </a:lnTo>
                    <a:lnTo>
                      <a:pt x="294" y="105"/>
                    </a:lnTo>
                    <a:lnTo>
                      <a:pt x="294" y="107"/>
                    </a:lnTo>
                    <a:lnTo>
                      <a:pt x="296" y="109"/>
                    </a:lnTo>
                    <a:lnTo>
                      <a:pt x="296" y="107"/>
                    </a:lnTo>
                    <a:lnTo>
                      <a:pt x="294" y="109"/>
                    </a:lnTo>
                    <a:lnTo>
                      <a:pt x="296" y="109"/>
                    </a:lnTo>
                    <a:lnTo>
                      <a:pt x="298" y="109"/>
                    </a:lnTo>
                    <a:lnTo>
                      <a:pt x="298" y="111"/>
                    </a:lnTo>
                    <a:lnTo>
                      <a:pt x="299" y="115"/>
                    </a:lnTo>
                    <a:lnTo>
                      <a:pt x="299" y="117"/>
                    </a:lnTo>
                    <a:lnTo>
                      <a:pt x="301" y="117"/>
                    </a:lnTo>
                    <a:lnTo>
                      <a:pt x="299" y="117"/>
                    </a:lnTo>
                    <a:lnTo>
                      <a:pt x="299" y="119"/>
                    </a:lnTo>
                    <a:lnTo>
                      <a:pt x="301" y="121"/>
                    </a:lnTo>
                    <a:lnTo>
                      <a:pt x="301" y="122"/>
                    </a:lnTo>
                    <a:lnTo>
                      <a:pt x="303" y="122"/>
                    </a:lnTo>
                    <a:lnTo>
                      <a:pt x="303" y="124"/>
                    </a:lnTo>
                    <a:lnTo>
                      <a:pt x="303" y="126"/>
                    </a:lnTo>
                    <a:lnTo>
                      <a:pt x="301" y="126"/>
                    </a:lnTo>
                    <a:lnTo>
                      <a:pt x="303" y="126"/>
                    </a:lnTo>
                    <a:lnTo>
                      <a:pt x="301" y="128"/>
                    </a:lnTo>
                    <a:lnTo>
                      <a:pt x="303" y="128"/>
                    </a:lnTo>
                    <a:lnTo>
                      <a:pt x="301" y="128"/>
                    </a:lnTo>
                    <a:lnTo>
                      <a:pt x="303" y="126"/>
                    </a:lnTo>
                    <a:lnTo>
                      <a:pt x="303" y="128"/>
                    </a:lnTo>
                    <a:lnTo>
                      <a:pt x="303" y="130"/>
                    </a:lnTo>
                    <a:lnTo>
                      <a:pt x="301" y="130"/>
                    </a:lnTo>
                    <a:lnTo>
                      <a:pt x="303" y="132"/>
                    </a:lnTo>
                    <a:lnTo>
                      <a:pt x="303" y="130"/>
                    </a:lnTo>
                    <a:lnTo>
                      <a:pt x="303" y="132"/>
                    </a:lnTo>
                    <a:lnTo>
                      <a:pt x="301" y="132"/>
                    </a:lnTo>
                    <a:lnTo>
                      <a:pt x="301" y="134"/>
                    </a:lnTo>
                    <a:lnTo>
                      <a:pt x="303" y="134"/>
                    </a:lnTo>
                    <a:lnTo>
                      <a:pt x="301" y="134"/>
                    </a:lnTo>
                    <a:lnTo>
                      <a:pt x="301" y="136"/>
                    </a:lnTo>
                    <a:lnTo>
                      <a:pt x="303" y="136"/>
                    </a:lnTo>
                    <a:lnTo>
                      <a:pt x="301" y="136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301" y="138"/>
                    </a:lnTo>
                    <a:lnTo>
                      <a:pt x="301" y="140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299" y="140"/>
                    </a:lnTo>
                    <a:lnTo>
                      <a:pt x="301" y="140"/>
                    </a:lnTo>
                    <a:lnTo>
                      <a:pt x="299" y="140"/>
                    </a:lnTo>
                    <a:lnTo>
                      <a:pt x="298" y="140"/>
                    </a:lnTo>
                    <a:lnTo>
                      <a:pt x="299" y="140"/>
                    </a:lnTo>
                    <a:lnTo>
                      <a:pt x="299" y="142"/>
                    </a:lnTo>
                    <a:lnTo>
                      <a:pt x="298" y="140"/>
                    </a:lnTo>
                    <a:lnTo>
                      <a:pt x="298" y="142"/>
                    </a:lnTo>
                    <a:lnTo>
                      <a:pt x="298" y="140"/>
                    </a:lnTo>
                    <a:lnTo>
                      <a:pt x="298" y="142"/>
                    </a:lnTo>
                    <a:lnTo>
                      <a:pt x="298" y="143"/>
                    </a:lnTo>
                    <a:lnTo>
                      <a:pt x="298" y="142"/>
                    </a:lnTo>
                    <a:lnTo>
                      <a:pt x="296" y="143"/>
                    </a:lnTo>
                    <a:lnTo>
                      <a:pt x="296" y="142"/>
                    </a:lnTo>
                    <a:lnTo>
                      <a:pt x="296" y="143"/>
                    </a:lnTo>
                    <a:lnTo>
                      <a:pt x="296" y="145"/>
                    </a:lnTo>
                    <a:lnTo>
                      <a:pt x="296" y="147"/>
                    </a:lnTo>
                    <a:lnTo>
                      <a:pt x="296" y="145"/>
                    </a:lnTo>
                    <a:lnTo>
                      <a:pt x="296" y="147"/>
                    </a:lnTo>
                    <a:lnTo>
                      <a:pt x="294" y="147"/>
                    </a:lnTo>
                    <a:lnTo>
                      <a:pt x="296" y="147"/>
                    </a:lnTo>
                    <a:lnTo>
                      <a:pt x="296" y="149"/>
                    </a:lnTo>
                    <a:lnTo>
                      <a:pt x="294" y="149"/>
                    </a:lnTo>
                    <a:lnTo>
                      <a:pt x="296" y="149"/>
                    </a:lnTo>
                    <a:lnTo>
                      <a:pt x="296" y="151"/>
                    </a:lnTo>
                    <a:lnTo>
                      <a:pt x="294" y="151"/>
                    </a:lnTo>
                    <a:lnTo>
                      <a:pt x="296" y="151"/>
                    </a:lnTo>
                    <a:lnTo>
                      <a:pt x="294" y="151"/>
                    </a:lnTo>
                    <a:lnTo>
                      <a:pt x="296" y="151"/>
                    </a:lnTo>
                    <a:lnTo>
                      <a:pt x="294" y="151"/>
                    </a:lnTo>
                    <a:lnTo>
                      <a:pt x="294" y="153"/>
                    </a:lnTo>
                    <a:lnTo>
                      <a:pt x="296" y="153"/>
                    </a:lnTo>
                    <a:lnTo>
                      <a:pt x="294" y="153"/>
                    </a:lnTo>
                    <a:lnTo>
                      <a:pt x="296" y="153"/>
                    </a:lnTo>
                    <a:lnTo>
                      <a:pt x="296" y="155"/>
                    </a:lnTo>
                    <a:lnTo>
                      <a:pt x="294" y="155"/>
                    </a:lnTo>
                    <a:lnTo>
                      <a:pt x="294" y="153"/>
                    </a:lnTo>
                    <a:lnTo>
                      <a:pt x="292" y="153"/>
                    </a:lnTo>
                    <a:lnTo>
                      <a:pt x="294" y="153"/>
                    </a:lnTo>
                    <a:lnTo>
                      <a:pt x="294" y="151"/>
                    </a:lnTo>
                    <a:lnTo>
                      <a:pt x="294" y="153"/>
                    </a:lnTo>
                    <a:lnTo>
                      <a:pt x="292" y="153"/>
                    </a:lnTo>
                    <a:lnTo>
                      <a:pt x="290" y="153"/>
                    </a:lnTo>
                    <a:lnTo>
                      <a:pt x="290" y="155"/>
                    </a:lnTo>
                    <a:lnTo>
                      <a:pt x="290" y="153"/>
                    </a:lnTo>
                    <a:lnTo>
                      <a:pt x="288" y="153"/>
                    </a:lnTo>
                    <a:lnTo>
                      <a:pt x="288" y="155"/>
                    </a:lnTo>
                    <a:lnTo>
                      <a:pt x="286" y="155"/>
                    </a:lnTo>
                    <a:lnTo>
                      <a:pt x="288" y="155"/>
                    </a:lnTo>
                    <a:lnTo>
                      <a:pt x="286" y="157"/>
                    </a:lnTo>
                    <a:lnTo>
                      <a:pt x="286" y="159"/>
                    </a:lnTo>
                    <a:lnTo>
                      <a:pt x="286" y="161"/>
                    </a:lnTo>
                    <a:lnTo>
                      <a:pt x="286" y="163"/>
                    </a:lnTo>
                    <a:lnTo>
                      <a:pt x="286" y="164"/>
                    </a:lnTo>
                    <a:lnTo>
                      <a:pt x="288" y="168"/>
                    </a:lnTo>
                    <a:lnTo>
                      <a:pt x="288" y="172"/>
                    </a:lnTo>
                    <a:lnTo>
                      <a:pt x="288" y="174"/>
                    </a:lnTo>
                    <a:lnTo>
                      <a:pt x="288" y="176"/>
                    </a:lnTo>
                    <a:lnTo>
                      <a:pt x="286" y="178"/>
                    </a:lnTo>
                    <a:lnTo>
                      <a:pt x="286" y="180"/>
                    </a:lnTo>
                    <a:lnTo>
                      <a:pt x="286" y="182"/>
                    </a:lnTo>
                    <a:lnTo>
                      <a:pt x="284" y="182"/>
                    </a:lnTo>
                    <a:lnTo>
                      <a:pt x="284" y="184"/>
                    </a:lnTo>
                    <a:lnTo>
                      <a:pt x="282" y="185"/>
                    </a:lnTo>
                    <a:lnTo>
                      <a:pt x="282" y="187"/>
                    </a:lnTo>
                    <a:lnTo>
                      <a:pt x="282" y="189"/>
                    </a:lnTo>
                    <a:lnTo>
                      <a:pt x="280" y="191"/>
                    </a:lnTo>
                    <a:lnTo>
                      <a:pt x="280" y="193"/>
                    </a:lnTo>
                    <a:lnTo>
                      <a:pt x="280" y="195"/>
                    </a:lnTo>
                    <a:lnTo>
                      <a:pt x="280" y="199"/>
                    </a:lnTo>
                    <a:lnTo>
                      <a:pt x="282" y="201"/>
                    </a:lnTo>
                    <a:lnTo>
                      <a:pt x="282" y="203"/>
                    </a:lnTo>
                    <a:close/>
                    <a:moveTo>
                      <a:pt x="278" y="54"/>
                    </a:moveTo>
                    <a:lnTo>
                      <a:pt x="277" y="52"/>
                    </a:lnTo>
                    <a:lnTo>
                      <a:pt x="277" y="50"/>
                    </a:lnTo>
                    <a:lnTo>
                      <a:pt x="277" y="48"/>
                    </a:lnTo>
                    <a:lnTo>
                      <a:pt x="278" y="48"/>
                    </a:lnTo>
                    <a:lnTo>
                      <a:pt x="280" y="50"/>
                    </a:lnTo>
                    <a:lnTo>
                      <a:pt x="284" y="52"/>
                    </a:lnTo>
                    <a:lnTo>
                      <a:pt x="288" y="50"/>
                    </a:lnTo>
                    <a:lnTo>
                      <a:pt x="288" y="52"/>
                    </a:lnTo>
                    <a:lnTo>
                      <a:pt x="290" y="54"/>
                    </a:lnTo>
                    <a:lnTo>
                      <a:pt x="292" y="52"/>
                    </a:lnTo>
                    <a:lnTo>
                      <a:pt x="294" y="48"/>
                    </a:lnTo>
                    <a:lnTo>
                      <a:pt x="294" y="46"/>
                    </a:lnTo>
                    <a:lnTo>
                      <a:pt x="292" y="44"/>
                    </a:lnTo>
                    <a:lnTo>
                      <a:pt x="294" y="42"/>
                    </a:lnTo>
                    <a:lnTo>
                      <a:pt x="292" y="40"/>
                    </a:lnTo>
                    <a:lnTo>
                      <a:pt x="294" y="39"/>
                    </a:lnTo>
                    <a:lnTo>
                      <a:pt x="296" y="39"/>
                    </a:lnTo>
                    <a:lnTo>
                      <a:pt x="296" y="37"/>
                    </a:lnTo>
                    <a:lnTo>
                      <a:pt x="298" y="37"/>
                    </a:lnTo>
                    <a:lnTo>
                      <a:pt x="298" y="35"/>
                    </a:lnTo>
                    <a:lnTo>
                      <a:pt x="298" y="33"/>
                    </a:lnTo>
                    <a:lnTo>
                      <a:pt x="298" y="27"/>
                    </a:lnTo>
                    <a:lnTo>
                      <a:pt x="299" y="25"/>
                    </a:lnTo>
                    <a:lnTo>
                      <a:pt x="299" y="19"/>
                    </a:lnTo>
                    <a:lnTo>
                      <a:pt x="299" y="14"/>
                    </a:lnTo>
                    <a:lnTo>
                      <a:pt x="296" y="8"/>
                    </a:lnTo>
                    <a:lnTo>
                      <a:pt x="296" y="6"/>
                    </a:lnTo>
                    <a:lnTo>
                      <a:pt x="298" y="6"/>
                    </a:lnTo>
                    <a:lnTo>
                      <a:pt x="298" y="4"/>
                    </a:lnTo>
                    <a:lnTo>
                      <a:pt x="298" y="2"/>
                    </a:lnTo>
                    <a:lnTo>
                      <a:pt x="299" y="2"/>
                    </a:lnTo>
                    <a:lnTo>
                      <a:pt x="301" y="2"/>
                    </a:lnTo>
                    <a:lnTo>
                      <a:pt x="301" y="0"/>
                    </a:lnTo>
                    <a:lnTo>
                      <a:pt x="303" y="2"/>
                    </a:lnTo>
                    <a:lnTo>
                      <a:pt x="305" y="4"/>
                    </a:lnTo>
                    <a:lnTo>
                      <a:pt x="309" y="10"/>
                    </a:lnTo>
                    <a:lnTo>
                      <a:pt x="311" y="10"/>
                    </a:lnTo>
                    <a:lnTo>
                      <a:pt x="311" y="12"/>
                    </a:lnTo>
                    <a:lnTo>
                      <a:pt x="313" y="12"/>
                    </a:lnTo>
                    <a:lnTo>
                      <a:pt x="313" y="14"/>
                    </a:lnTo>
                    <a:lnTo>
                      <a:pt x="313" y="16"/>
                    </a:lnTo>
                    <a:lnTo>
                      <a:pt x="315" y="18"/>
                    </a:lnTo>
                    <a:lnTo>
                      <a:pt x="317" y="19"/>
                    </a:lnTo>
                    <a:lnTo>
                      <a:pt x="318" y="21"/>
                    </a:lnTo>
                    <a:lnTo>
                      <a:pt x="324" y="25"/>
                    </a:lnTo>
                    <a:lnTo>
                      <a:pt x="324" y="27"/>
                    </a:lnTo>
                    <a:lnTo>
                      <a:pt x="326" y="27"/>
                    </a:lnTo>
                    <a:lnTo>
                      <a:pt x="332" y="31"/>
                    </a:lnTo>
                    <a:lnTo>
                      <a:pt x="338" y="31"/>
                    </a:lnTo>
                    <a:lnTo>
                      <a:pt x="336" y="33"/>
                    </a:lnTo>
                    <a:lnTo>
                      <a:pt x="336" y="35"/>
                    </a:lnTo>
                    <a:lnTo>
                      <a:pt x="338" y="33"/>
                    </a:lnTo>
                    <a:lnTo>
                      <a:pt x="338" y="31"/>
                    </a:lnTo>
                    <a:lnTo>
                      <a:pt x="339" y="33"/>
                    </a:lnTo>
                    <a:lnTo>
                      <a:pt x="339" y="35"/>
                    </a:lnTo>
                    <a:lnTo>
                      <a:pt x="343" y="37"/>
                    </a:lnTo>
                    <a:lnTo>
                      <a:pt x="345" y="37"/>
                    </a:lnTo>
                    <a:lnTo>
                      <a:pt x="347" y="37"/>
                    </a:lnTo>
                    <a:lnTo>
                      <a:pt x="349" y="35"/>
                    </a:lnTo>
                    <a:lnTo>
                      <a:pt x="349" y="33"/>
                    </a:lnTo>
                    <a:lnTo>
                      <a:pt x="351" y="33"/>
                    </a:lnTo>
                    <a:lnTo>
                      <a:pt x="353" y="29"/>
                    </a:lnTo>
                    <a:lnTo>
                      <a:pt x="355" y="27"/>
                    </a:lnTo>
                    <a:lnTo>
                      <a:pt x="357" y="27"/>
                    </a:lnTo>
                    <a:lnTo>
                      <a:pt x="357" y="29"/>
                    </a:lnTo>
                    <a:lnTo>
                      <a:pt x="355" y="31"/>
                    </a:lnTo>
                    <a:lnTo>
                      <a:pt x="355" y="33"/>
                    </a:lnTo>
                    <a:lnTo>
                      <a:pt x="353" y="35"/>
                    </a:lnTo>
                    <a:lnTo>
                      <a:pt x="353" y="37"/>
                    </a:lnTo>
                    <a:lnTo>
                      <a:pt x="353" y="39"/>
                    </a:lnTo>
                    <a:lnTo>
                      <a:pt x="351" y="39"/>
                    </a:lnTo>
                    <a:lnTo>
                      <a:pt x="351" y="40"/>
                    </a:lnTo>
                    <a:lnTo>
                      <a:pt x="353" y="42"/>
                    </a:lnTo>
                    <a:lnTo>
                      <a:pt x="355" y="42"/>
                    </a:lnTo>
                    <a:lnTo>
                      <a:pt x="357" y="42"/>
                    </a:lnTo>
                    <a:lnTo>
                      <a:pt x="357" y="44"/>
                    </a:lnTo>
                    <a:lnTo>
                      <a:pt x="355" y="44"/>
                    </a:lnTo>
                    <a:lnTo>
                      <a:pt x="357" y="44"/>
                    </a:lnTo>
                    <a:lnTo>
                      <a:pt x="357" y="42"/>
                    </a:lnTo>
                    <a:lnTo>
                      <a:pt x="355" y="44"/>
                    </a:lnTo>
                    <a:lnTo>
                      <a:pt x="357" y="42"/>
                    </a:lnTo>
                    <a:lnTo>
                      <a:pt x="355" y="42"/>
                    </a:lnTo>
                    <a:lnTo>
                      <a:pt x="353" y="42"/>
                    </a:lnTo>
                    <a:lnTo>
                      <a:pt x="355" y="44"/>
                    </a:lnTo>
                    <a:lnTo>
                      <a:pt x="355" y="48"/>
                    </a:lnTo>
                    <a:lnTo>
                      <a:pt x="357" y="50"/>
                    </a:lnTo>
                    <a:lnTo>
                      <a:pt x="355" y="48"/>
                    </a:lnTo>
                    <a:lnTo>
                      <a:pt x="355" y="50"/>
                    </a:lnTo>
                    <a:lnTo>
                      <a:pt x="357" y="50"/>
                    </a:lnTo>
                    <a:lnTo>
                      <a:pt x="355" y="50"/>
                    </a:lnTo>
                    <a:lnTo>
                      <a:pt x="357" y="50"/>
                    </a:lnTo>
                    <a:lnTo>
                      <a:pt x="359" y="50"/>
                    </a:lnTo>
                    <a:lnTo>
                      <a:pt x="360" y="48"/>
                    </a:lnTo>
                    <a:lnTo>
                      <a:pt x="362" y="48"/>
                    </a:lnTo>
                    <a:lnTo>
                      <a:pt x="364" y="48"/>
                    </a:lnTo>
                    <a:lnTo>
                      <a:pt x="362" y="48"/>
                    </a:lnTo>
                    <a:lnTo>
                      <a:pt x="360" y="50"/>
                    </a:lnTo>
                    <a:lnTo>
                      <a:pt x="359" y="52"/>
                    </a:lnTo>
                    <a:lnTo>
                      <a:pt x="357" y="52"/>
                    </a:lnTo>
                    <a:lnTo>
                      <a:pt x="355" y="52"/>
                    </a:lnTo>
                    <a:lnTo>
                      <a:pt x="353" y="54"/>
                    </a:lnTo>
                    <a:lnTo>
                      <a:pt x="351" y="56"/>
                    </a:lnTo>
                    <a:lnTo>
                      <a:pt x="349" y="56"/>
                    </a:lnTo>
                    <a:lnTo>
                      <a:pt x="347" y="56"/>
                    </a:lnTo>
                    <a:lnTo>
                      <a:pt x="349" y="56"/>
                    </a:lnTo>
                    <a:lnTo>
                      <a:pt x="349" y="54"/>
                    </a:lnTo>
                    <a:lnTo>
                      <a:pt x="349" y="56"/>
                    </a:lnTo>
                    <a:lnTo>
                      <a:pt x="347" y="56"/>
                    </a:lnTo>
                    <a:lnTo>
                      <a:pt x="345" y="58"/>
                    </a:lnTo>
                    <a:lnTo>
                      <a:pt x="347" y="58"/>
                    </a:lnTo>
                    <a:lnTo>
                      <a:pt x="345" y="58"/>
                    </a:lnTo>
                    <a:lnTo>
                      <a:pt x="341" y="58"/>
                    </a:lnTo>
                    <a:lnTo>
                      <a:pt x="339" y="58"/>
                    </a:lnTo>
                    <a:lnTo>
                      <a:pt x="341" y="56"/>
                    </a:lnTo>
                    <a:lnTo>
                      <a:pt x="339" y="56"/>
                    </a:lnTo>
                    <a:lnTo>
                      <a:pt x="336" y="58"/>
                    </a:lnTo>
                    <a:lnTo>
                      <a:pt x="334" y="60"/>
                    </a:lnTo>
                    <a:lnTo>
                      <a:pt x="328" y="63"/>
                    </a:lnTo>
                    <a:lnTo>
                      <a:pt x="324" y="69"/>
                    </a:lnTo>
                    <a:lnTo>
                      <a:pt x="324" y="73"/>
                    </a:lnTo>
                    <a:lnTo>
                      <a:pt x="324" y="77"/>
                    </a:lnTo>
                    <a:lnTo>
                      <a:pt x="322" y="79"/>
                    </a:lnTo>
                    <a:lnTo>
                      <a:pt x="320" y="79"/>
                    </a:lnTo>
                    <a:lnTo>
                      <a:pt x="320" y="77"/>
                    </a:lnTo>
                    <a:lnTo>
                      <a:pt x="318" y="77"/>
                    </a:lnTo>
                    <a:lnTo>
                      <a:pt x="318" y="75"/>
                    </a:lnTo>
                    <a:lnTo>
                      <a:pt x="317" y="75"/>
                    </a:lnTo>
                    <a:lnTo>
                      <a:pt x="315" y="75"/>
                    </a:lnTo>
                    <a:lnTo>
                      <a:pt x="313" y="73"/>
                    </a:lnTo>
                    <a:lnTo>
                      <a:pt x="311" y="71"/>
                    </a:lnTo>
                    <a:lnTo>
                      <a:pt x="309" y="71"/>
                    </a:lnTo>
                    <a:lnTo>
                      <a:pt x="307" y="69"/>
                    </a:lnTo>
                    <a:lnTo>
                      <a:pt x="305" y="67"/>
                    </a:lnTo>
                    <a:lnTo>
                      <a:pt x="303" y="67"/>
                    </a:lnTo>
                    <a:lnTo>
                      <a:pt x="301" y="65"/>
                    </a:lnTo>
                    <a:lnTo>
                      <a:pt x="299" y="65"/>
                    </a:lnTo>
                    <a:lnTo>
                      <a:pt x="298" y="63"/>
                    </a:lnTo>
                    <a:lnTo>
                      <a:pt x="298" y="65"/>
                    </a:lnTo>
                    <a:lnTo>
                      <a:pt x="298" y="63"/>
                    </a:lnTo>
                    <a:lnTo>
                      <a:pt x="294" y="65"/>
                    </a:lnTo>
                    <a:lnTo>
                      <a:pt x="292" y="65"/>
                    </a:lnTo>
                    <a:lnTo>
                      <a:pt x="288" y="69"/>
                    </a:lnTo>
                    <a:lnTo>
                      <a:pt x="286" y="71"/>
                    </a:lnTo>
                    <a:lnTo>
                      <a:pt x="286" y="69"/>
                    </a:lnTo>
                    <a:lnTo>
                      <a:pt x="284" y="67"/>
                    </a:lnTo>
                    <a:lnTo>
                      <a:pt x="284" y="65"/>
                    </a:lnTo>
                    <a:lnTo>
                      <a:pt x="282" y="65"/>
                    </a:lnTo>
                    <a:lnTo>
                      <a:pt x="280" y="65"/>
                    </a:lnTo>
                    <a:lnTo>
                      <a:pt x="278" y="65"/>
                    </a:lnTo>
                    <a:lnTo>
                      <a:pt x="277" y="67"/>
                    </a:lnTo>
                    <a:lnTo>
                      <a:pt x="277" y="69"/>
                    </a:lnTo>
                    <a:lnTo>
                      <a:pt x="275" y="71"/>
                    </a:lnTo>
                    <a:lnTo>
                      <a:pt x="275" y="73"/>
                    </a:lnTo>
                    <a:lnTo>
                      <a:pt x="277" y="73"/>
                    </a:lnTo>
                    <a:lnTo>
                      <a:pt x="280" y="75"/>
                    </a:lnTo>
                    <a:lnTo>
                      <a:pt x="282" y="75"/>
                    </a:lnTo>
                    <a:lnTo>
                      <a:pt x="284" y="77"/>
                    </a:lnTo>
                    <a:lnTo>
                      <a:pt x="286" y="79"/>
                    </a:lnTo>
                    <a:lnTo>
                      <a:pt x="290" y="80"/>
                    </a:lnTo>
                    <a:lnTo>
                      <a:pt x="290" y="82"/>
                    </a:lnTo>
                    <a:lnTo>
                      <a:pt x="288" y="82"/>
                    </a:lnTo>
                    <a:lnTo>
                      <a:pt x="288" y="84"/>
                    </a:lnTo>
                    <a:lnTo>
                      <a:pt x="286" y="84"/>
                    </a:lnTo>
                    <a:lnTo>
                      <a:pt x="286" y="82"/>
                    </a:lnTo>
                    <a:lnTo>
                      <a:pt x="284" y="82"/>
                    </a:lnTo>
                    <a:lnTo>
                      <a:pt x="282" y="82"/>
                    </a:lnTo>
                    <a:lnTo>
                      <a:pt x="280" y="82"/>
                    </a:lnTo>
                    <a:lnTo>
                      <a:pt x="278" y="84"/>
                    </a:lnTo>
                    <a:lnTo>
                      <a:pt x="278" y="88"/>
                    </a:lnTo>
                    <a:lnTo>
                      <a:pt x="277" y="88"/>
                    </a:lnTo>
                    <a:lnTo>
                      <a:pt x="275" y="88"/>
                    </a:lnTo>
                    <a:lnTo>
                      <a:pt x="275" y="90"/>
                    </a:lnTo>
                    <a:lnTo>
                      <a:pt x="273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71" y="84"/>
                    </a:lnTo>
                    <a:lnTo>
                      <a:pt x="273" y="82"/>
                    </a:lnTo>
                    <a:lnTo>
                      <a:pt x="273" y="80"/>
                    </a:lnTo>
                    <a:lnTo>
                      <a:pt x="273" y="79"/>
                    </a:lnTo>
                    <a:lnTo>
                      <a:pt x="271" y="75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67" y="73"/>
                    </a:lnTo>
                    <a:lnTo>
                      <a:pt x="267" y="71"/>
                    </a:lnTo>
                    <a:lnTo>
                      <a:pt x="267" y="69"/>
                    </a:lnTo>
                    <a:lnTo>
                      <a:pt x="269" y="69"/>
                    </a:lnTo>
                    <a:lnTo>
                      <a:pt x="269" y="67"/>
                    </a:lnTo>
                    <a:lnTo>
                      <a:pt x="269" y="65"/>
                    </a:lnTo>
                    <a:lnTo>
                      <a:pt x="269" y="63"/>
                    </a:lnTo>
                    <a:lnTo>
                      <a:pt x="273" y="63"/>
                    </a:lnTo>
                    <a:lnTo>
                      <a:pt x="273" y="61"/>
                    </a:lnTo>
                    <a:lnTo>
                      <a:pt x="275" y="60"/>
                    </a:lnTo>
                    <a:lnTo>
                      <a:pt x="275" y="61"/>
                    </a:lnTo>
                    <a:lnTo>
                      <a:pt x="277" y="61"/>
                    </a:lnTo>
                    <a:lnTo>
                      <a:pt x="277" y="60"/>
                    </a:lnTo>
                    <a:lnTo>
                      <a:pt x="277" y="58"/>
                    </a:lnTo>
                    <a:lnTo>
                      <a:pt x="278" y="56"/>
                    </a:lnTo>
                    <a:lnTo>
                      <a:pt x="278" y="54"/>
                    </a:lnTo>
                    <a:close/>
                    <a:moveTo>
                      <a:pt x="137" y="254"/>
                    </a:moveTo>
                    <a:lnTo>
                      <a:pt x="139" y="254"/>
                    </a:lnTo>
                    <a:lnTo>
                      <a:pt x="141" y="254"/>
                    </a:lnTo>
                    <a:lnTo>
                      <a:pt x="143" y="254"/>
                    </a:lnTo>
                    <a:lnTo>
                      <a:pt x="141" y="254"/>
                    </a:lnTo>
                    <a:lnTo>
                      <a:pt x="141" y="256"/>
                    </a:lnTo>
                    <a:lnTo>
                      <a:pt x="143" y="256"/>
                    </a:lnTo>
                    <a:lnTo>
                      <a:pt x="141" y="256"/>
                    </a:lnTo>
                    <a:lnTo>
                      <a:pt x="141" y="258"/>
                    </a:lnTo>
                    <a:lnTo>
                      <a:pt x="143" y="258"/>
                    </a:lnTo>
                    <a:lnTo>
                      <a:pt x="143" y="256"/>
                    </a:lnTo>
                    <a:lnTo>
                      <a:pt x="143" y="258"/>
                    </a:lnTo>
                    <a:lnTo>
                      <a:pt x="143" y="256"/>
                    </a:lnTo>
                    <a:lnTo>
                      <a:pt x="143" y="258"/>
                    </a:lnTo>
                    <a:lnTo>
                      <a:pt x="141" y="258"/>
                    </a:lnTo>
                    <a:lnTo>
                      <a:pt x="143" y="260"/>
                    </a:lnTo>
                    <a:lnTo>
                      <a:pt x="145" y="260"/>
                    </a:lnTo>
                    <a:lnTo>
                      <a:pt x="143" y="260"/>
                    </a:lnTo>
                    <a:lnTo>
                      <a:pt x="143" y="262"/>
                    </a:lnTo>
                    <a:lnTo>
                      <a:pt x="141" y="262"/>
                    </a:lnTo>
                    <a:lnTo>
                      <a:pt x="143" y="264"/>
                    </a:lnTo>
                    <a:lnTo>
                      <a:pt x="141" y="264"/>
                    </a:lnTo>
                    <a:lnTo>
                      <a:pt x="143" y="264"/>
                    </a:lnTo>
                    <a:lnTo>
                      <a:pt x="141" y="264"/>
                    </a:lnTo>
                    <a:lnTo>
                      <a:pt x="141" y="262"/>
                    </a:lnTo>
                    <a:lnTo>
                      <a:pt x="141" y="264"/>
                    </a:lnTo>
                    <a:lnTo>
                      <a:pt x="141" y="266"/>
                    </a:lnTo>
                    <a:lnTo>
                      <a:pt x="139" y="266"/>
                    </a:lnTo>
                    <a:lnTo>
                      <a:pt x="139" y="267"/>
                    </a:lnTo>
                    <a:lnTo>
                      <a:pt x="139" y="269"/>
                    </a:lnTo>
                    <a:lnTo>
                      <a:pt x="139" y="267"/>
                    </a:lnTo>
                    <a:lnTo>
                      <a:pt x="139" y="269"/>
                    </a:lnTo>
                    <a:lnTo>
                      <a:pt x="137" y="269"/>
                    </a:lnTo>
                    <a:lnTo>
                      <a:pt x="139" y="269"/>
                    </a:lnTo>
                    <a:lnTo>
                      <a:pt x="137" y="269"/>
                    </a:lnTo>
                    <a:lnTo>
                      <a:pt x="139" y="269"/>
                    </a:lnTo>
                    <a:lnTo>
                      <a:pt x="137" y="269"/>
                    </a:lnTo>
                    <a:lnTo>
                      <a:pt x="137" y="271"/>
                    </a:lnTo>
                    <a:lnTo>
                      <a:pt x="135" y="279"/>
                    </a:lnTo>
                    <a:lnTo>
                      <a:pt x="135" y="281"/>
                    </a:lnTo>
                    <a:lnTo>
                      <a:pt x="135" y="283"/>
                    </a:lnTo>
                    <a:lnTo>
                      <a:pt x="135" y="285"/>
                    </a:lnTo>
                    <a:lnTo>
                      <a:pt x="134" y="287"/>
                    </a:lnTo>
                    <a:lnTo>
                      <a:pt x="134" y="285"/>
                    </a:lnTo>
                    <a:lnTo>
                      <a:pt x="134" y="287"/>
                    </a:lnTo>
                    <a:lnTo>
                      <a:pt x="134" y="288"/>
                    </a:lnTo>
                    <a:lnTo>
                      <a:pt x="132" y="288"/>
                    </a:lnTo>
                    <a:lnTo>
                      <a:pt x="130" y="288"/>
                    </a:lnTo>
                    <a:lnTo>
                      <a:pt x="130" y="287"/>
                    </a:lnTo>
                    <a:lnTo>
                      <a:pt x="130" y="288"/>
                    </a:lnTo>
                    <a:lnTo>
                      <a:pt x="128" y="288"/>
                    </a:lnTo>
                    <a:lnTo>
                      <a:pt x="128" y="290"/>
                    </a:lnTo>
                    <a:lnTo>
                      <a:pt x="130" y="290"/>
                    </a:lnTo>
                    <a:lnTo>
                      <a:pt x="130" y="292"/>
                    </a:lnTo>
                    <a:lnTo>
                      <a:pt x="128" y="292"/>
                    </a:lnTo>
                    <a:lnTo>
                      <a:pt x="128" y="294"/>
                    </a:lnTo>
                    <a:lnTo>
                      <a:pt x="126" y="294"/>
                    </a:lnTo>
                    <a:lnTo>
                      <a:pt x="124" y="294"/>
                    </a:lnTo>
                    <a:lnTo>
                      <a:pt x="124" y="296"/>
                    </a:lnTo>
                    <a:lnTo>
                      <a:pt x="122" y="296"/>
                    </a:lnTo>
                    <a:lnTo>
                      <a:pt x="122" y="294"/>
                    </a:lnTo>
                    <a:lnTo>
                      <a:pt x="124" y="294"/>
                    </a:lnTo>
                    <a:lnTo>
                      <a:pt x="124" y="292"/>
                    </a:lnTo>
                    <a:lnTo>
                      <a:pt x="124" y="290"/>
                    </a:lnTo>
                    <a:lnTo>
                      <a:pt x="124" y="288"/>
                    </a:lnTo>
                    <a:lnTo>
                      <a:pt x="122" y="287"/>
                    </a:lnTo>
                    <a:lnTo>
                      <a:pt x="124" y="287"/>
                    </a:lnTo>
                    <a:lnTo>
                      <a:pt x="122" y="287"/>
                    </a:lnTo>
                    <a:lnTo>
                      <a:pt x="122" y="285"/>
                    </a:lnTo>
                    <a:lnTo>
                      <a:pt x="124" y="285"/>
                    </a:lnTo>
                    <a:lnTo>
                      <a:pt x="124" y="287"/>
                    </a:lnTo>
                    <a:lnTo>
                      <a:pt x="124" y="285"/>
                    </a:lnTo>
                    <a:lnTo>
                      <a:pt x="126" y="285"/>
                    </a:lnTo>
                    <a:lnTo>
                      <a:pt x="124" y="283"/>
                    </a:lnTo>
                    <a:lnTo>
                      <a:pt x="122" y="283"/>
                    </a:lnTo>
                    <a:lnTo>
                      <a:pt x="122" y="285"/>
                    </a:lnTo>
                    <a:lnTo>
                      <a:pt x="120" y="285"/>
                    </a:lnTo>
                    <a:lnTo>
                      <a:pt x="120" y="287"/>
                    </a:lnTo>
                    <a:lnTo>
                      <a:pt x="120" y="288"/>
                    </a:lnTo>
                    <a:lnTo>
                      <a:pt x="120" y="290"/>
                    </a:lnTo>
                    <a:lnTo>
                      <a:pt x="122" y="290"/>
                    </a:lnTo>
                    <a:lnTo>
                      <a:pt x="122" y="292"/>
                    </a:lnTo>
                    <a:lnTo>
                      <a:pt x="122" y="294"/>
                    </a:lnTo>
                    <a:lnTo>
                      <a:pt x="120" y="292"/>
                    </a:lnTo>
                    <a:lnTo>
                      <a:pt x="118" y="292"/>
                    </a:lnTo>
                    <a:lnTo>
                      <a:pt x="116" y="290"/>
                    </a:lnTo>
                    <a:lnTo>
                      <a:pt x="116" y="292"/>
                    </a:lnTo>
                    <a:lnTo>
                      <a:pt x="116" y="290"/>
                    </a:lnTo>
                    <a:lnTo>
                      <a:pt x="114" y="292"/>
                    </a:lnTo>
                    <a:lnTo>
                      <a:pt x="116" y="290"/>
                    </a:lnTo>
                    <a:lnTo>
                      <a:pt x="114" y="290"/>
                    </a:lnTo>
                    <a:lnTo>
                      <a:pt x="116" y="290"/>
                    </a:lnTo>
                    <a:lnTo>
                      <a:pt x="114" y="290"/>
                    </a:lnTo>
                    <a:lnTo>
                      <a:pt x="116" y="290"/>
                    </a:lnTo>
                    <a:lnTo>
                      <a:pt x="114" y="290"/>
                    </a:lnTo>
                    <a:lnTo>
                      <a:pt x="114" y="288"/>
                    </a:lnTo>
                    <a:lnTo>
                      <a:pt x="116" y="288"/>
                    </a:lnTo>
                    <a:lnTo>
                      <a:pt x="116" y="287"/>
                    </a:lnTo>
                    <a:lnTo>
                      <a:pt x="116" y="285"/>
                    </a:lnTo>
                    <a:lnTo>
                      <a:pt x="116" y="283"/>
                    </a:lnTo>
                    <a:lnTo>
                      <a:pt x="114" y="283"/>
                    </a:lnTo>
                    <a:lnTo>
                      <a:pt x="114" y="281"/>
                    </a:lnTo>
                    <a:lnTo>
                      <a:pt x="116" y="279"/>
                    </a:lnTo>
                    <a:lnTo>
                      <a:pt x="114" y="277"/>
                    </a:lnTo>
                    <a:lnTo>
                      <a:pt x="114" y="275"/>
                    </a:lnTo>
                    <a:lnTo>
                      <a:pt x="114" y="277"/>
                    </a:lnTo>
                    <a:lnTo>
                      <a:pt x="114" y="275"/>
                    </a:lnTo>
                    <a:lnTo>
                      <a:pt x="116" y="275"/>
                    </a:lnTo>
                    <a:lnTo>
                      <a:pt x="118" y="275"/>
                    </a:lnTo>
                    <a:lnTo>
                      <a:pt x="118" y="273"/>
                    </a:lnTo>
                    <a:lnTo>
                      <a:pt x="118" y="271"/>
                    </a:lnTo>
                    <a:lnTo>
                      <a:pt x="120" y="273"/>
                    </a:lnTo>
                    <a:lnTo>
                      <a:pt x="120" y="271"/>
                    </a:lnTo>
                    <a:lnTo>
                      <a:pt x="120" y="269"/>
                    </a:lnTo>
                    <a:lnTo>
                      <a:pt x="122" y="267"/>
                    </a:lnTo>
                    <a:lnTo>
                      <a:pt x="120" y="267"/>
                    </a:lnTo>
                    <a:lnTo>
                      <a:pt x="122" y="266"/>
                    </a:lnTo>
                    <a:lnTo>
                      <a:pt x="120" y="266"/>
                    </a:lnTo>
                    <a:lnTo>
                      <a:pt x="120" y="267"/>
                    </a:lnTo>
                    <a:lnTo>
                      <a:pt x="120" y="266"/>
                    </a:lnTo>
                    <a:lnTo>
                      <a:pt x="118" y="266"/>
                    </a:lnTo>
                    <a:lnTo>
                      <a:pt x="120" y="266"/>
                    </a:lnTo>
                    <a:lnTo>
                      <a:pt x="120" y="264"/>
                    </a:lnTo>
                    <a:lnTo>
                      <a:pt x="122" y="264"/>
                    </a:lnTo>
                    <a:lnTo>
                      <a:pt x="122" y="262"/>
                    </a:lnTo>
                    <a:lnTo>
                      <a:pt x="122" y="264"/>
                    </a:lnTo>
                    <a:lnTo>
                      <a:pt x="120" y="262"/>
                    </a:lnTo>
                    <a:lnTo>
                      <a:pt x="120" y="260"/>
                    </a:lnTo>
                    <a:lnTo>
                      <a:pt x="120" y="262"/>
                    </a:lnTo>
                    <a:lnTo>
                      <a:pt x="118" y="260"/>
                    </a:lnTo>
                    <a:lnTo>
                      <a:pt x="118" y="258"/>
                    </a:lnTo>
                    <a:lnTo>
                      <a:pt x="118" y="256"/>
                    </a:lnTo>
                    <a:lnTo>
                      <a:pt x="116" y="256"/>
                    </a:lnTo>
                    <a:lnTo>
                      <a:pt x="116" y="254"/>
                    </a:lnTo>
                    <a:lnTo>
                      <a:pt x="114" y="254"/>
                    </a:lnTo>
                    <a:lnTo>
                      <a:pt x="116" y="256"/>
                    </a:lnTo>
                    <a:lnTo>
                      <a:pt x="114" y="256"/>
                    </a:lnTo>
                    <a:lnTo>
                      <a:pt x="114" y="258"/>
                    </a:lnTo>
                    <a:lnTo>
                      <a:pt x="116" y="260"/>
                    </a:lnTo>
                    <a:lnTo>
                      <a:pt x="114" y="260"/>
                    </a:lnTo>
                    <a:lnTo>
                      <a:pt x="113" y="262"/>
                    </a:lnTo>
                    <a:lnTo>
                      <a:pt x="114" y="262"/>
                    </a:lnTo>
                    <a:lnTo>
                      <a:pt x="116" y="262"/>
                    </a:lnTo>
                    <a:lnTo>
                      <a:pt x="118" y="264"/>
                    </a:lnTo>
                    <a:lnTo>
                      <a:pt x="118" y="266"/>
                    </a:lnTo>
                    <a:lnTo>
                      <a:pt x="116" y="266"/>
                    </a:lnTo>
                    <a:lnTo>
                      <a:pt x="114" y="266"/>
                    </a:lnTo>
                    <a:lnTo>
                      <a:pt x="114" y="264"/>
                    </a:lnTo>
                    <a:lnTo>
                      <a:pt x="114" y="266"/>
                    </a:lnTo>
                    <a:lnTo>
                      <a:pt x="114" y="264"/>
                    </a:lnTo>
                    <a:lnTo>
                      <a:pt x="114" y="262"/>
                    </a:lnTo>
                    <a:lnTo>
                      <a:pt x="113" y="262"/>
                    </a:lnTo>
                    <a:lnTo>
                      <a:pt x="113" y="264"/>
                    </a:lnTo>
                    <a:lnTo>
                      <a:pt x="111" y="264"/>
                    </a:lnTo>
                    <a:lnTo>
                      <a:pt x="111" y="266"/>
                    </a:lnTo>
                    <a:lnTo>
                      <a:pt x="109" y="266"/>
                    </a:lnTo>
                    <a:lnTo>
                      <a:pt x="109" y="267"/>
                    </a:lnTo>
                    <a:lnTo>
                      <a:pt x="107" y="267"/>
                    </a:lnTo>
                    <a:lnTo>
                      <a:pt x="109" y="266"/>
                    </a:lnTo>
                    <a:lnTo>
                      <a:pt x="109" y="264"/>
                    </a:lnTo>
                    <a:lnTo>
                      <a:pt x="109" y="266"/>
                    </a:lnTo>
                    <a:lnTo>
                      <a:pt x="109" y="264"/>
                    </a:lnTo>
                    <a:lnTo>
                      <a:pt x="111" y="264"/>
                    </a:lnTo>
                    <a:lnTo>
                      <a:pt x="109" y="264"/>
                    </a:lnTo>
                    <a:lnTo>
                      <a:pt x="109" y="262"/>
                    </a:lnTo>
                    <a:lnTo>
                      <a:pt x="107" y="262"/>
                    </a:lnTo>
                    <a:lnTo>
                      <a:pt x="107" y="260"/>
                    </a:lnTo>
                    <a:lnTo>
                      <a:pt x="107" y="258"/>
                    </a:lnTo>
                    <a:lnTo>
                      <a:pt x="107" y="256"/>
                    </a:lnTo>
                    <a:lnTo>
                      <a:pt x="107" y="258"/>
                    </a:lnTo>
                    <a:lnTo>
                      <a:pt x="109" y="258"/>
                    </a:lnTo>
                    <a:lnTo>
                      <a:pt x="107" y="258"/>
                    </a:lnTo>
                    <a:lnTo>
                      <a:pt x="109" y="258"/>
                    </a:lnTo>
                    <a:lnTo>
                      <a:pt x="109" y="260"/>
                    </a:lnTo>
                    <a:lnTo>
                      <a:pt x="109" y="262"/>
                    </a:lnTo>
                    <a:lnTo>
                      <a:pt x="109" y="260"/>
                    </a:lnTo>
                    <a:lnTo>
                      <a:pt x="109" y="262"/>
                    </a:lnTo>
                    <a:lnTo>
                      <a:pt x="111" y="262"/>
                    </a:lnTo>
                    <a:lnTo>
                      <a:pt x="113" y="262"/>
                    </a:lnTo>
                    <a:lnTo>
                      <a:pt x="111" y="262"/>
                    </a:lnTo>
                    <a:lnTo>
                      <a:pt x="111" y="260"/>
                    </a:lnTo>
                    <a:lnTo>
                      <a:pt x="111" y="258"/>
                    </a:lnTo>
                    <a:lnTo>
                      <a:pt x="109" y="258"/>
                    </a:lnTo>
                    <a:lnTo>
                      <a:pt x="109" y="256"/>
                    </a:lnTo>
                    <a:lnTo>
                      <a:pt x="109" y="258"/>
                    </a:lnTo>
                    <a:lnTo>
                      <a:pt x="109" y="256"/>
                    </a:lnTo>
                    <a:lnTo>
                      <a:pt x="109" y="258"/>
                    </a:lnTo>
                    <a:lnTo>
                      <a:pt x="107" y="256"/>
                    </a:lnTo>
                    <a:lnTo>
                      <a:pt x="109" y="256"/>
                    </a:lnTo>
                    <a:lnTo>
                      <a:pt x="107" y="256"/>
                    </a:lnTo>
                    <a:lnTo>
                      <a:pt x="107" y="254"/>
                    </a:lnTo>
                    <a:lnTo>
                      <a:pt x="105" y="254"/>
                    </a:lnTo>
                    <a:lnTo>
                      <a:pt x="107" y="254"/>
                    </a:lnTo>
                    <a:lnTo>
                      <a:pt x="105" y="254"/>
                    </a:lnTo>
                    <a:lnTo>
                      <a:pt x="105" y="252"/>
                    </a:lnTo>
                    <a:lnTo>
                      <a:pt x="107" y="252"/>
                    </a:lnTo>
                    <a:lnTo>
                      <a:pt x="105" y="252"/>
                    </a:lnTo>
                    <a:lnTo>
                      <a:pt x="107" y="252"/>
                    </a:lnTo>
                    <a:lnTo>
                      <a:pt x="107" y="250"/>
                    </a:lnTo>
                    <a:lnTo>
                      <a:pt x="107" y="252"/>
                    </a:lnTo>
                    <a:lnTo>
                      <a:pt x="109" y="252"/>
                    </a:lnTo>
                    <a:lnTo>
                      <a:pt x="109" y="254"/>
                    </a:lnTo>
                    <a:lnTo>
                      <a:pt x="111" y="254"/>
                    </a:lnTo>
                    <a:lnTo>
                      <a:pt x="109" y="252"/>
                    </a:lnTo>
                    <a:lnTo>
                      <a:pt x="111" y="250"/>
                    </a:lnTo>
                    <a:lnTo>
                      <a:pt x="109" y="250"/>
                    </a:lnTo>
                    <a:lnTo>
                      <a:pt x="111" y="250"/>
                    </a:lnTo>
                    <a:lnTo>
                      <a:pt x="109" y="250"/>
                    </a:lnTo>
                    <a:lnTo>
                      <a:pt x="109" y="248"/>
                    </a:lnTo>
                    <a:lnTo>
                      <a:pt x="111" y="248"/>
                    </a:lnTo>
                    <a:lnTo>
                      <a:pt x="109" y="248"/>
                    </a:lnTo>
                    <a:lnTo>
                      <a:pt x="111" y="248"/>
                    </a:lnTo>
                    <a:lnTo>
                      <a:pt x="111" y="250"/>
                    </a:lnTo>
                    <a:lnTo>
                      <a:pt x="113" y="250"/>
                    </a:lnTo>
                    <a:lnTo>
                      <a:pt x="113" y="248"/>
                    </a:lnTo>
                    <a:lnTo>
                      <a:pt x="114" y="248"/>
                    </a:lnTo>
                    <a:lnTo>
                      <a:pt x="113" y="248"/>
                    </a:lnTo>
                    <a:lnTo>
                      <a:pt x="114" y="246"/>
                    </a:lnTo>
                    <a:lnTo>
                      <a:pt x="116" y="246"/>
                    </a:lnTo>
                    <a:lnTo>
                      <a:pt x="116" y="248"/>
                    </a:lnTo>
                    <a:lnTo>
                      <a:pt x="116" y="246"/>
                    </a:lnTo>
                    <a:lnTo>
                      <a:pt x="118" y="246"/>
                    </a:lnTo>
                    <a:lnTo>
                      <a:pt x="118" y="245"/>
                    </a:lnTo>
                    <a:lnTo>
                      <a:pt x="118" y="246"/>
                    </a:lnTo>
                    <a:lnTo>
                      <a:pt x="116" y="246"/>
                    </a:lnTo>
                    <a:lnTo>
                      <a:pt x="116" y="245"/>
                    </a:lnTo>
                    <a:lnTo>
                      <a:pt x="116" y="246"/>
                    </a:lnTo>
                    <a:lnTo>
                      <a:pt x="118" y="246"/>
                    </a:lnTo>
                    <a:lnTo>
                      <a:pt x="118" y="245"/>
                    </a:lnTo>
                    <a:lnTo>
                      <a:pt x="120" y="245"/>
                    </a:lnTo>
                    <a:lnTo>
                      <a:pt x="120" y="243"/>
                    </a:lnTo>
                    <a:lnTo>
                      <a:pt x="118" y="243"/>
                    </a:lnTo>
                    <a:lnTo>
                      <a:pt x="120" y="243"/>
                    </a:lnTo>
                    <a:lnTo>
                      <a:pt x="120" y="241"/>
                    </a:lnTo>
                    <a:lnTo>
                      <a:pt x="122" y="243"/>
                    </a:lnTo>
                    <a:lnTo>
                      <a:pt x="122" y="241"/>
                    </a:lnTo>
                    <a:lnTo>
                      <a:pt x="124" y="241"/>
                    </a:lnTo>
                    <a:lnTo>
                      <a:pt x="124" y="243"/>
                    </a:lnTo>
                    <a:lnTo>
                      <a:pt x="124" y="241"/>
                    </a:lnTo>
                    <a:lnTo>
                      <a:pt x="124" y="243"/>
                    </a:lnTo>
                    <a:lnTo>
                      <a:pt x="124" y="241"/>
                    </a:lnTo>
                    <a:lnTo>
                      <a:pt x="124" y="243"/>
                    </a:lnTo>
                    <a:lnTo>
                      <a:pt x="124" y="241"/>
                    </a:lnTo>
                    <a:lnTo>
                      <a:pt x="126" y="241"/>
                    </a:lnTo>
                    <a:lnTo>
                      <a:pt x="128" y="241"/>
                    </a:lnTo>
                    <a:lnTo>
                      <a:pt x="128" y="243"/>
                    </a:lnTo>
                    <a:lnTo>
                      <a:pt x="128" y="241"/>
                    </a:lnTo>
                    <a:lnTo>
                      <a:pt x="128" y="243"/>
                    </a:lnTo>
                    <a:lnTo>
                      <a:pt x="128" y="245"/>
                    </a:lnTo>
                    <a:lnTo>
                      <a:pt x="128" y="243"/>
                    </a:lnTo>
                    <a:lnTo>
                      <a:pt x="128" y="245"/>
                    </a:lnTo>
                    <a:lnTo>
                      <a:pt x="130" y="246"/>
                    </a:lnTo>
                    <a:lnTo>
                      <a:pt x="132" y="246"/>
                    </a:lnTo>
                    <a:lnTo>
                      <a:pt x="132" y="248"/>
                    </a:lnTo>
                    <a:lnTo>
                      <a:pt x="134" y="248"/>
                    </a:lnTo>
                    <a:lnTo>
                      <a:pt x="135" y="248"/>
                    </a:lnTo>
                    <a:lnTo>
                      <a:pt x="135" y="246"/>
                    </a:lnTo>
                    <a:lnTo>
                      <a:pt x="137" y="245"/>
                    </a:lnTo>
                    <a:lnTo>
                      <a:pt x="137" y="246"/>
                    </a:lnTo>
                    <a:lnTo>
                      <a:pt x="137" y="245"/>
                    </a:lnTo>
                    <a:lnTo>
                      <a:pt x="137" y="246"/>
                    </a:lnTo>
                    <a:lnTo>
                      <a:pt x="139" y="246"/>
                    </a:lnTo>
                    <a:lnTo>
                      <a:pt x="139" y="248"/>
                    </a:lnTo>
                    <a:lnTo>
                      <a:pt x="139" y="250"/>
                    </a:lnTo>
                    <a:lnTo>
                      <a:pt x="137" y="250"/>
                    </a:lnTo>
                    <a:lnTo>
                      <a:pt x="137" y="252"/>
                    </a:lnTo>
                    <a:lnTo>
                      <a:pt x="135" y="252"/>
                    </a:lnTo>
                    <a:lnTo>
                      <a:pt x="135" y="254"/>
                    </a:lnTo>
                    <a:lnTo>
                      <a:pt x="137" y="254"/>
                    </a:lnTo>
                    <a:close/>
                    <a:moveTo>
                      <a:pt x="177" y="231"/>
                    </a:moveTo>
                    <a:lnTo>
                      <a:pt x="177" y="233"/>
                    </a:lnTo>
                    <a:lnTo>
                      <a:pt x="179" y="233"/>
                    </a:lnTo>
                    <a:lnTo>
                      <a:pt x="181" y="235"/>
                    </a:lnTo>
                    <a:lnTo>
                      <a:pt x="183" y="235"/>
                    </a:lnTo>
                    <a:lnTo>
                      <a:pt x="185" y="235"/>
                    </a:lnTo>
                    <a:lnTo>
                      <a:pt x="185" y="237"/>
                    </a:lnTo>
                    <a:lnTo>
                      <a:pt x="185" y="239"/>
                    </a:lnTo>
                    <a:lnTo>
                      <a:pt x="187" y="241"/>
                    </a:lnTo>
                    <a:lnTo>
                      <a:pt x="187" y="243"/>
                    </a:lnTo>
                    <a:lnTo>
                      <a:pt x="187" y="241"/>
                    </a:lnTo>
                    <a:lnTo>
                      <a:pt x="187" y="243"/>
                    </a:lnTo>
                    <a:lnTo>
                      <a:pt x="185" y="243"/>
                    </a:lnTo>
                    <a:lnTo>
                      <a:pt x="187" y="243"/>
                    </a:lnTo>
                    <a:lnTo>
                      <a:pt x="185" y="243"/>
                    </a:lnTo>
                    <a:lnTo>
                      <a:pt x="185" y="245"/>
                    </a:lnTo>
                    <a:lnTo>
                      <a:pt x="185" y="243"/>
                    </a:lnTo>
                    <a:lnTo>
                      <a:pt x="185" y="245"/>
                    </a:lnTo>
                    <a:lnTo>
                      <a:pt x="183" y="245"/>
                    </a:lnTo>
                    <a:lnTo>
                      <a:pt x="185" y="245"/>
                    </a:lnTo>
                    <a:lnTo>
                      <a:pt x="183" y="245"/>
                    </a:lnTo>
                    <a:lnTo>
                      <a:pt x="183" y="246"/>
                    </a:lnTo>
                    <a:lnTo>
                      <a:pt x="181" y="246"/>
                    </a:lnTo>
                    <a:lnTo>
                      <a:pt x="181" y="248"/>
                    </a:lnTo>
                    <a:lnTo>
                      <a:pt x="179" y="248"/>
                    </a:lnTo>
                    <a:lnTo>
                      <a:pt x="179" y="250"/>
                    </a:lnTo>
                    <a:lnTo>
                      <a:pt x="179" y="254"/>
                    </a:lnTo>
                    <a:lnTo>
                      <a:pt x="177" y="252"/>
                    </a:lnTo>
                    <a:lnTo>
                      <a:pt x="175" y="252"/>
                    </a:lnTo>
                    <a:lnTo>
                      <a:pt x="175" y="250"/>
                    </a:lnTo>
                    <a:lnTo>
                      <a:pt x="174" y="248"/>
                    </a:lnTo>
                    <a:lnTo>
                      <a:pt x="172" y="248"/>
                    </a:lnTo>
                    <a:lnTo>
                      <a:pt x="170" y="248"/>
                    </a:lnTo>
                    <a:lnTo>
                      <a:pt x="168" y="248"/>
                    </a:lnTo>
                    <a:lnTo>
                      <a:pt x="170" y="248"/>
                    </a:lnTo>
                    <a:lnTo>
                      <a:pt x="168" y="250"/>
                    </a:lnTo>
                    <a:lnTo>
                      <a:pt x="166" y="250"/>
                    </a:lnTo>
                    <a:lnTo>
                      <a:pt x="168" y="250"/>
                    </a:lnTo>
                    <a:lnTo>
                      <a:pt x="166" y="250"/>
                    </a:lnTo>
                    <a:lnTo>
                      <a:pt x="164" y="252"/>
                    </a:lnTo>
                    <a:lnTo>
                      <a:pt x="164" y="250"/>
                    </a:lnTo>
                    <a:lnTo>
                      <a:pt x="164" y="252"/>
                    </a:lnTo>
                    <a:lnTo>
                      <a:pt x="164" y="254"/>
                    </a:lnTo>
                    <a:lnTo>
                      <a:pt x="162" y="256"/>
                    </a:lnTo>
                    <a:lnTo>
                      <a:pt x="164" y="256"/>
                    </a:lnTo>
                    <a:lnTo>
                      <a:pt x="162" y="256"/>
                    </a:lnTo>
                    <a:lnTo>
                      <a:pt x="162" y="258"/>
                    </a:lnTo>
                    <a:lnTo>
                      <a:pt x="160" y="258"/>
                    </a:lnTo>
                    <a:lnTo>
                      <a:pt x="160" y="260"/>
                    </a:lnTo>
                    <a:lnTo>
                      <a:pt x="160" y="262"/>
                    </a:lnTo>
                    <a:lnTo>
                      <a:pt x="158" y="262"/>
                    </a:lnTo>
                    <a:lnTo>
                      <a:pt x="160" y="262"/>
                    </a:lnTo>
                    <a:lnTo>
                      <a:pt x="160" y="264"/>
                    </a:lnTo>
                    <a:lnTo>
                      <a:pt x="158" y="264"/>
                    </a:lnTo>
                    <a:lnTo>
                      <a:pt x="158" y="262"/>
                    </a:lnTo>
                    <a:lnTo>
                      <a:pt x="158" y="264"/>
                    </a:lnTo>
                    <a:lnTo>
                      <a:pt x="158" y="262"/>
                    </a:lnTo>
                    <a:lnTo>
                      <a:pt x="158" y="264"/>
                    </a:lnTo>
                    <a:lnTo>
                      <a:pt x="158" y="262"/>
                    </a:lnTo>
                    <a:lnTo>
                      <a:pt x="156" y="264"/>
                    </a:lnTo>
                    <a:lnTo>
                      <a:pt x="154" y="262"/>
                    </a:lnTo>
                    <a:lnTo>
                      <a:pt x="154" y="264"/>
                    </a:lnTo>
                    <a:lnTo>
                      <a:pt x="154" y="262"/>
                    </a:lnTo>
                    <a:lnTo>
                      <a:pt x="154" y="260"/>
                    </a:lnTo>
                    <a:lnTo>
                      <a:pt x="154" y="262"/>
                    </a:lnTo>
                    <a:lnTo>
                      <a:pt x="154" y="260"/>
                    </a:lnTo>
                    <a:lnTo>
                      <a:pt x="153" y="260"/>
                    </a:lnTo>
                    <a:lnTo>
                      <a:pt x="151" y="260"/>
                    </a:lnTo>
                    <a:lnTo>
                      <a:pt x="153" y="260"/>
                    </a:lnTo>
                    <a:lnTo>
                      <a:pt x="151" y="260"/>
                    </a:lnTo>
                    <a:lnTo>
                      <a:pt x="153" y="260"/>
                    </a:lnTo>
                    <a:lnTo>
                      <a:pt x="151" y="260"/>
                    </a:lnTo>
                    <a:lnTo>
                      <a:pt x="153" y="260"/>
                    </a:lnTo>
                    <a:lnTo>
                      <a:pt x="153" y="258"/>
                    </a:lnTo>
                    <a:lnTo>
                      <a:pt x="151" y="258"/>
                    </a:lnTo>
                    <a:lnTo>
                      <a:pt x="151" y="256"/>
                    </a:lnTo>
                    <a:lnTo>
                      <a:pt x="153" y="256"/>
                    </a:lnTo>
                    <a:lnTo>
                      <a:pt x="151" y="256"/>
                    </a:lnTo>
                    <a:lnTo>
                      <a:pt x="151" y="254"/>
                    </a:lnTo>
                    <a:lnTo>
                      <a:pt x="151" y="256"/>
                    </a:lnTo>
                    <a:lnTo>
                      <a:pt x="151" y="254"/>
                    </a:lnTo>
                    <a:lnTo>
                      <a:pt x="151" y="256"/>
                    </a:lnTo>
                    <a:lnTo>
                      <a:pt x="151" y="254"/>
                    </a:lnTo>
                    <a:lnTo>
                      <a:pt x="151" y="256"/>
                    </a:lnTo>
                    <a:lnTo>
                      <a:pt x="153" y="256"/>
                    </a:lnTo>
                    <a:lnTo>
                      <a:pt x="151" y="256"/>
                    </a:lnTo>
                    <a:lnTo>
                      <a:pt x="153" y="256"/>
                    </a:lnTo>
                    <a:lnTo>
                      <a:pt x="153" y="254"/>
                    </a:lnTo>
                    <a:lnTo>
                      <a:pt x="151" y="254"/>
                    </a:lnTo>
                    <a:lnTo>
                      <a:pt x="153" y="254"/>
                    </a:lnTo>
                    <a:lnTo>
                      <a:pt x="151" y="254"/>
                    </a:lnTo>
                    <a:lnTo>
                      <a:pt x="151" y="252"/>
                    </a:lnTo>
                    <a:lnTo>
                      <a:pt x="153" y="252"/>
                    </a:lnTo>
                    <a:lnTo>
                      <a:pt x="151" y="252"/>
                    </a:lnTo>
                    <a:lnTo>
                      <a:pt x="149" y="252"/>
                    </a:lnTo>
                    <a:lnTo>
                      <a:pt x="151" y="252"/>
                    </a:lnTo>
                    <a:lnTo>
                      <a:pt x="151" y="250"/>
                    </a:lnTo>
                    <a:lnTo>
                      <a:pt x="149" y="248"/>
                    </a:lnTo>
                    <a:lnTo>
                      <a:pt x="149" y="250"/>
                    </a:lnTo>
                    <a:lnTo>
                      <a:pt x="147" y="250"/>
                    </a:lnTo>
                    <a:lnTo>
                      <a:pt x="147" y="252"/>
                    </a:lnTo>
                    <a:lnTo>
                      <a:pt x="145" y="252"/>
                    </a:lnTo>
                    <a:lnTo>
                      <a:pt x="145" y="250"/>
                    </a:lnTo>
                    <a:lnTo>
                      <a:pt x="143" y="252"/>
                    </a:lnTo>
                    <a:lnTo>
                      <a:pt x="145" y="250"/>
                    </a:lnTo>
                    <a:lnTo>
                      <a:pt x="147" y="250"/>
                    </a:lnTo>
                    <a:lnTo>
                      <a:pt x="149" y="250"/>
                    </a:lnTo>
                    <a:lnTo>
                      <a:pt x="151" y="248"/>
                    </a:lnTo>
                    <a:lnTo>
                      <a:pt x="151" y="246"/>
                    </a:lnTo>
                    <a:lnTo>
                      <a:pt x="153" y="246"/>
                    </a:lnTo>
                    <a:lnTo>
                      <a:pt x="154" y="245"/>
                    </a:lnTo>
                    <a:lnTo>
                      <a:pt x="154" y="243"/>
                    </a:lnTo>
                    <a:lnTo>
                      <a:pt x="154" y="245"/>
                    </a:lnTo>
                    <a:lnTo>
                      <a:pt x="154" y="243"/>
                    </a:lnTo>
                    <a:lnTo>
                      <a:pt x="154" y="241"/>
                    </a:lnTo>
                    <a:lnTo>
                      <a:pt x="156" y="241"/>
                    </a:lnTo>
                    <a:lnTo>
                      <a:pt x="156" y="239"/>
                    </a:lnTo>
                    <a:lnTo>
                      <a:pt x="158" y="239"/>
                    </a:lnTo>
                    <a:lnTo>
                      <a:pt x="156" y="239"/>
                    </a:lnTo>
                    <a:lnTo>
                      <a:pt x="158" y="239"/>
                    </a:lnTo>
                    <a:lnTo>
                      <a:pt x="158" y="237"/>
                    </a:lnTo>
                    <a:lnTo>
                      <a:pt x="160" y="237"/>
                    </a:lnTo>
                    <a:lnTo>
                      <a:pt x="160" y="239"/>
                    </a:lnTo>
                    <a:lnTo>
                      <a:pt x="160" y="241"/>
                    </a:lnTo>
                    <a:lnTo>
                      <a:pt x="162" y="241"/>
                    </a:lnTo>
                    <a:lnTo>
                      <a:pt x="160" y="241"/>
                    </a:lnTo>
                    <a:lnTo>
                      <a:pt x="162" y="241"/>
                    </a:lnTo>
                    <a:lnTo>
                      <a:pt x="164" y="241"/>
                    </a:lnTo>
                    <a:lnTo>
                      <a:pt x="164" y="239"/>
                    </a:lnTo>
                    <a:lnTo>
                      <a:pt x="166" y="241"/>
                    </a:lnTo>
                    <a:lnTo>
                      <a:pt x="166" y="239"/>
                    </a:lnTo>
                    <a:lnTo>
                      <a:pt x="166" y="241"/>
                    </a:lnTo>
                    <a:lnTo>
                      <a:pt x="166" y="239"/>
                    </a:lnTo>
                    <a:lnTo>
                      <a:pt x="168" y="241"/>
                    </a:lnTo>
                    <a:lnTo>
                      <a:pt x="168" y="239"/>
                    </a:lnTo>
                    <a:lnTo>
                      <a:pt x="170" y="239"/>
                    </a:lnTo>
                    <a:lnTo>
                      <a:pt x="170" y="237"/>
                    </a:lnTo>
                    <a:lnTo>
                      <a:pt x="170" y="235"/>
                    </a:lnTo>
                    <a:lnTo>
                      <a:pt x="168" y="235"/>
                    </a:lnTo>
                    <a:lnTo>
                      <a:pt x="170" y="235"/>
                    </a:lnTo>
                    <a:lnTo>
                      <a:pt x="172" y="235"/>
                    </a:lnTo>
                    <a:lnTo>
                      <a:pt x="172" y="233"/>
                    </a:lnTo>
                    <a:lnTo>
                      <a:pt x="172" y="235"/>
                    </a:lnTo>
                    <a:lnTo>
                      <a:pt x="172" y="233"/>
                    </a:lnTo>
                    <a:lnTo>
                      <a:pt x="174" y="233"/>
                    </a:lnTo>
                    <a:lnTo>
                      <a:pt x="174" y="231"/>
                    </a:lnTo>
                    <a:lnTo>
                      <a:pt x="174" y="233"/>
                    </a:lnTo>
                    <a:lnTo>
                      <a:pt x="174" y="231"/>
                    </a:lnTo>
                    <a:lnTo>
                      <a:pt x="175" y="233"/>
                    </a:lnTo>
                    <a:lnTo>
                      <a:pt x="177" y="233"/>
                    </a:lnTo>
                    <a:lnTo>
                      <a:pt x="177" y="231"/>
                    </a:lnTo>
                    <a:lnTo>
                      <a:pt x="177" y="233"/>
                    </a:lnTo>
                    <a:lnTo>
                      <a:pt x="177" y="231"/>
                    </a:lnTo>
                    <a:close/>
                    <a:moveTo>
                      <a:pt x="84" y="371"/>
                    </a:moveTo>
                    <a:lnTo>
                      <a:pt x="84" y="372"/>
                    </a:lnTo>
                    <a:lnTo>
                      <a:pt x="86" y="372"/>
                    </a:lnTo>
                    <a:lnTo>
                      <a:pt x="86" y="374"/>
                    </a:lnTo>
                    <a:lnTo>
                      <a:pt x="84" y="374"/>
                    </a:lnTo>
                    <a:lnTo>
                      <a:pt x="86" y="374"/>
                    </a:lnTo>
                    <a:lnTo>
                      <a:pt x="84" y="374"/>
                    </a:lnTo>
                    <a:lnTo>
                      <a:pt x="84" y="376"/>
                    </a:lnTo>
                    <a:lnTo>
                      <a:pt x="82" y="376"/>
                    </a:lnTo>
                    <a:lnTo>
                      <a:pt x="82" y="378"/>
                    </a:lnTo>
                    <a:lnTo>
                      <a:pt x="80" y="376"/>
                    </a:lnTo>
                    <a:lnTo>
                      <a:pt x="80" y="378"/>
                    </a:lnTo>
                    <a:lnTo>
                      <a:pt x="78" y="378"/>
                    </a:lnTo>
                    <a:lnTo>
                      <a:pt x="78" y="380"/>
                    </a:lnTo>
                    <a:lnTo>
                      <a:pt x="78" y="378"/>
                    </a:lnTo>
                    <a:lnTo>
                      <a:pt x="78" y="380"/>
                    </a:lnTo>
                    <a:lnTo>
                      <a:pt x="80" y="380"/>
                    </a:lnTo>
                    <a:lnTo>
                      <a:pt x="78" y="380"/>
                    </a:lnTo>
                    <a:lnTo>
                      <a:pt x="78" y="382"/>
                    </a:lnTo>
                    <a:lnTo>
                      <a:pt x="78" y="380"/>
                    </a:lnTo>
                    <a:lnTo>
                      <a:pt x="78" y="382"/>
                    </a:lnTo>
                    <a:lnTo>
                      <a:pt x="76" y="382"/>
                    </a:lnTo>
                    <a:lnTo>
                      <a:pt x="76" y="384"/>
                    </a:lnTo>
                    <a:lnTo>
                      <a:pt x="78" y="384"/>
                    </a:lnTo>
                    <a:lnTo>
                      <a:pt x="76" y="384"/>
                    </a:lnTo>
                    <a:lnTo>
                      <a:pt x="76" y="386"/>
                    </a:lnTo>
                    <a:lnTo>
                      <a:pt x="74" y="386"/>
                    </a:lnTo>
                    <a:lnTo>
                      <a:pt x="74" y="384"/>
                    </a:lnTo>
                    <a:lnTo>
                      <a:pt x="74" y="382"/>
                    </a:lnTo>
                    <a:lnTo>
                      <a:pt x="74" y="384"/>
                    </a:lnTo>
                    <a:lnTo>
                      <a:pt x="74" y="382"/>
                    </a:lnTo>
                    <a:lnTo>
                      <a:pt x="76" y="382"/>
                    </a:lnTo>
                    <a:lnTo>
                      <a:pt x="76" y="380"/>
                    </a:lnTo>
                    <a:lnTo>
                      <a:pt x="76" y="378"/>
                    </a:lnTo>
                    <a:lnTo>
                      <a:pt x="76" y="380"/>
                    </a:lnTo>
                    <a:lnTo>
                      <a:pt x="76" y="378"/>
                    </a:lnTo>
                    <a:lnTo>
                      <a:pt x="78" y="378"/>
                    </a:lnTo>
                    <a:lnTo>
                      <a:pt x="78" y="376"/>
                    </a:lnTo>
                    <a:lnTo>
                      <a:pt x="80" y="376"/>
                    </a:lnTo>
                    <a:lnTo>
                      <a:pt x="78" y="376"/>
                    </a:lnTo>
                    <a:lnTo>
                      <a:pt x="78" y="374"/>
                    </a:lnTo>
                    <a:lnTo>
                      <a:pt x="78" y="376"/>
                    </a:lnTo>
                    <a:lnTo>
                      <a:pt x="78" y="374"/>
                    </a:lnTo>
                    <a:lnTo>
                      <a:pt x="80" y="374"/>
                    </a:lnTo>
                    <a:lnTo>
                      <a:pt x="80" y="376"/>
                    </a:lnTo>
                    <a:lnTo>
                      <a:pt x="82" y="374"/>
                    </a:lnTo>
                    <a:lnTo>
                      <a:pt x="84" y="374"/>
                    </a:lnTo>
                    <a:lnTo>
                      <a:pt x="84" y="372"/>
                    </a:lnTo>
                    <a:lnTo>
                      <a:pt x="84" y="371"/>
                    </a:lnTo>
                    <a:close/>
                    <a:moveTo>
                      <a:pt x="248" y="155"/>
                    </a:moveTo>
                    <a:lnTo>
                      <a:pt x="246" y="159"/>
                    </a:lnTo>
                    <a:lnTo>
                      <a:pt x="248" y="159"/>
                    </a:lnTo>
                    <a:lnTo>
                      <a:pt x="248" y="163"/>
                    </a:lnTo>
                    <a:lnTo>
                      <a:pt x="244" y="164"/>
                    </a:lnTo>
                    <a:lnTo>
                      <a:pt x="242" y="164"/>
                    </a:lnTo>
                    <a:lnTo>
                      <a:pt x="244" y="164"/>
                    </a:lnTo>
                    <a:lnTo>
                      <a:pt x="244" y="163"/>
                    </a:lnTo>
                    <a:lnTo>
                      <a:pt x="244" y="161"/>
                    </a:lnTo>
                    <a:lnTo>
                      <a:pt x="242" y="161"/>
                    </a:lnTo>
                    <a:lnTo>
                      <a:pt x="242" y="159"/>
                    </a:lnTo>
                    <a:lnTo>
                      <a:pt x="244" y="159"/>
                    </a:lnTo>
                    <a:lnTo>
                      <a:pt x="244" y="157"/>
                    </a:lnTo>
                    <a:lnTo>
                      <a:pt x="246" y="155"/>
                    </a:lnTo>
                    <a:lnTo>
                      <a:pt x="248" y="155"/>
                    </a:lnTo>
                    <a:close/>
                    <a:moveTo>
                      <a:pt x="114" y="267"/>
                    </a:moveTo>
                    <a:lnTo>
                      <a:pt x="114" y="269"/>
                    </a:lnTo>
                    <a:lnTo>
                      <a:pt x="116" y="267"/>
                    </a:lnTo>
                    <a:lnTo>
                      <a:pt x="118" y="267"/>
                    </a:lnTo>
                    <a:lnTo>
                      <a:pt x="120" y="267"/>
                    </a:lnTo>
                    <a:lnTo>
                      <a:pt x="118" y="269"/>
                    </a:lnTo>
                    <a:lnTo>
                      <a:pt x="118" y="271"/>
                    </a:lnTo>
                    <a:lnTo>
                      <a:pt x="118" y="269"/>
                    </a:lnTo>
                    <a:lnTo>
                      <a:pt x="118" y="271"/>
                    </a:lnTo>
                    <a:lnTo>
                      <a:pt x="118" y="269"/>
                    </a:lnTo>
                    <a:lnTo>
                      <a:pt x="116" y="269"/>
                    </a:lnTo>
                    <a:lnTo>
                      <a:pt x="114" y="269"/>
                    </a:lnTo>
                    <a:lnTo>
                      <a:pt x="116" y="269"/>
                    </a:lnTo>
                    <a:lnTo>
                      <a:pt x="114" y="271"/>
                    </a:lnTo>
                    <a:lnTo>
                      <a:pt x="116" y="271"/>
                    </a:lnTo>
                    <a:lnTo>
                      <a:pt x="114" y="271"/>
                    </a:lnTo>
                    <a:lnTo>
                      <a:pt x="114" y="273"/>
                    </a:lnTo>
                    <a:lnTo>
                      <a:pt x="113" y="273"/>
                    </a:lnTo>
                    <a:lnTo>
                      <a:pt x="114" y="273"/>
                    </a:lnTo>
                    <a:lnTo>
                      <a:pt x="113" y="273"/>
                    </a:lnTo>
                    <a:lnTo>
                      <a:pt x="113" y="275"/>
                    </a:lnTo>
                    <a:lnTo>
                      <a:pt x="113" y="273"/>
                    </a:lnTo>
                    <a:lnTo>
                      <a:pt x="111" y="273"/>
                    </a:lnTo>
                    <a:lnTo>
                      <a:pt x="113" y="271"/>
                    </a:lnTo>
                    <a:lnTo>
                      <a:pt x="113" y="273"/>
                    </a:lnTo>
                    <a:lnTo>
                      <a:pt x="113" y="271"/>
                    </a:lnTo>
                    <a:lnTo>
                      <a:pt x="113" y="273"/>
                    </a:lnTo>
                    <a:lnTo>
                      <a:pt x="113" y="271"/>
                    </a:lnTo>
                    <a:lnTo>
                      <a:pt x="111" y="271"/>
                    </a:lnTo>
                    <a:lnTo>
                      <a:pt x="113" y="269"/>
                    </a:lnTo>
                    <a:lnTo>
                      <a:pt x="113" y="267"/>
                    </a:lnTo>
                    <a:lnTo>
                      <a:pt x="114" y="267"/>
                    </a:lnTo>
                    <a:close/>
                    <a:moveTo>
                      <a:pt x="107" y="342"/>
                    </a:moveTo>
                    <a:lnTo>
                      <a:pt x="107" y="344"/>
                    </a:lnTo>
                    <a:lnTo>
                      <a:pt x="105" y="344"/>
                    </a:lnTo>
                    <a:lnTo>
                      <a:pt x="105" y="346"/>
                    </a:lnTo>
                    <a:lnTo>
                      <a:pt x="103" y="346"/>
                    </a:lnTo>
                    <a:lnTo>
                      <a:pt x="103" y="348"/>
                    </a:lnTo>
                    <a:lnTo>
                      <a:pt x="101" y="348"/>
                    </a:lnTo>
                    <a:lnTo>
                      <a:pt x="101" y="350"/>
                    </a:lnTo>
                    <a:lnTo>
                      <a:pt x="101" y="348"/>
                    </a:lnTo>
                    <a:lnTo>
                      <a:pt x="101" y="350"/>
                    </a:lnTo>
                    <a:lnTo>
                      <a:pt x="101" y="348"/>
                    </a:lnTo>
                    <a:lnTo>
                      <a:pt x="99" y="348"/>
                    </a:lnTo>
                    <a:lnTo>
                      <a:pt x="99" y="346"/>
                    </a:lnTo>
                    <a:lnTo>
                      <a:pt x="99" y="348"/>
                    </a:lnTo>
                    <a:lnTo>
                      <a:pt x="97" y="346"/>
                    </a:lnTo>
                    <a:lnTo>
                      <a:pt x="99" y="346"/>
                    </a:lnTo>
                    <a:lnTo>
                      <a:pt x="101" y="346"/>
                    </a:lnTo>
                    <a:lnTo>
                      <a:pt x="99" y="346"/>
                    </a:lnTo>
                    <a:lnTo>
                      <a:pt x="101" y="346"/>
                    </a:lnTo>
                    <a:lnTo>
                      <a:pt x="101" y="344"/>
                    </a:lnTo>
                    <a:lnTo>
                      <a:pt x="103" y="344"/>
                    </a:lnTo>
                    <a:lnTo>
                      <a:pt x="105" y="344"/>
                    </a:lnTo>
                    <a:lnTo>
                      <a:pt x="105" y="342"/>
                    </a:lnTo>
                    <a:lnTo>
                      <a:pt x="105" y="344"/>
                    </a:lnTo>
                    <a:lnTo>
                      <a:pt x="105" y="342"/>
                    </a:lnTo>
                    <a:lnTo>
                      <a:pt x="107" y="342"/>
                    </a:lnTo>
                    <a:lnTo>
                      <a:pt x="105" y="342"/>
                    </a:lnTo>
                    <a:lnTo>
                      <a:pt x="105" y="344"/>
                    </a:lnTo>
                    <a:lnTo>
                      <a:pt x="107" y="344"/>
                    </a:lnTo>
                    <a:lnTo>
                      <a:pt x="107" y="342"/>
                    </a:lnTo>
                    <a:lnTo>
                      <a:pt x="107" y="344"/>
                    </a:lnTo>
                    <a:lnTo>
                      <a:pt x="107" y="342"/>
                    </a:lnTo>
                    <a:close/>
                    <a:moveTo>
                      <a:pt x="191" y="227"/>
                    </a:moveTo>
                    <a:lnTo>
                      <a:pt x="193" y="229"/>
                    </a:lnTo>
                    <a:lnTo>
                      <a:pt x="191" y="229"/>
                    </a:lnTo>
                    <a:lnTo>
                      <a:pt x="191" y="231"/>
                    </a:lnTo>
                    <a:lnTo>
                      <a:pt x="189" y="233"/>
                    </a:lnTo>
                    <a:lnTo>
                      <a:pt x="191" y="233"/>
                    </a:lnTo>
                    <a:lnTo>
                      <a:pt x="191" y="235"/>
                    </a:lnTo>
                    <a:lnTo>
                      <a:pt x="189" y="235"/>
                    </a:lnTo>
                    <a:lnTo>
                      <a:pt x="187" y="235"/>
                    </a:lnTo>
                    <a:lnTo>
                      <a:pt x="187" y="233"/>
                    </a:lnTo>
                    <a:lnTo>
                      <a:pt x="187" y="231"/>
                    </a:lnTo>
                    <a:lnTo>
                      <a:pt x="189" y="231"/>
                    </a:lnTo>
                    <a:lnTo>
                      <a:pt x="189" y="229"/>
                    </a:lnTo>
                    <a:lnTo>
                      <a:pt x="191" y="229"/>
                    </a:lnTo>
                    <a:lnTo>
                      <a:pt x="191" y="227"/>
                    </a:lnTo>
                    <a:close/>
                    <a:moveTo>
                      <a:pt x="120" y="306"/>
                    </a:moveTo>
                    <a:lnTo>
                      <a:pt x="122" y="308"/>
                    </a:lnTo>
                    <a:lnTo>
                      <a:pt x="122" y="309"/>
                    </a:lnTo>
                    <a:lnTo>
                      <a:pt x="120" y="309"/>
                    </a:lnTo>
                    <a:lnTo>
                      <a:pt x="120" y="311"/>
                    </a:lnTo>
                    <a:lnTo>
                      <a:pt x="120" y="309"/>
                    </a:lnTo>
                    <a:lnTo>
                      <a:pt x="118" y="309"/>
                    </a:lnTo>
                    <a:lnTo>
                      <a:pt x="118" y="308"/>
                    </a:lnTo>
                    <a:lnTo>
                      <a:pt x="120" y="308"/>
                    </a:lnTo>
                    <a:lnTo>
                      <a:pt x="120" y="306"/>
                    </a:lnTo>
                    <a:close/>
                    <a:moveTo>
                      <a:pt x="103" y="226"/>
                    </a:moveTo>
                    <a:lnTo>
                      <a:pt x="103" y="227"/>
                    </a:lnTo>
                    <a:lnTo>
                      <a:pt x="103" y="226"/>
                    </a:lnTo>
                    <a:lnTo>
                      <a:pt x="103" y="227"/>
                    </a:lnTo>
                    <a:lnTo>
                      <a:pt x="103" y="229"/>
                    </a:lnTo>
                    <a:lnTo>
                      <a:pt x="101" y="231"/>
                    </a:lnTo>
                    <a:lnTo>
                      <a:pt x="103" y="231"/>
                    </a:lnTo>
                    <a:lnTo>
                      <a:pt x="101" y="231"/>
                    </a:lnTo>
                    <a:lnTo>
                      <a:pt x="103" y="231"/>
                    </a:lnTo>
                    <a:lnTo>
                      <a:pt x="101" y="231"/>
                    </a:lnTo>
                    <a:lnTo>
                      <a:pt x="103" y="231"/>
                    </a:lnTo>
                    <a:lnTo>
                      <a:pt x="101" y="231"/>
                    </a:lnTo>
                    <a:lnTo>
                      <a:pt x="101" y="233"/>
                    </a:lnTo>
                    <a:lnTo>
                      <a:pt x="103" y="233"/>
                    </a:lnTo>
                    <a:lnTo>
                      <a:pt x="101" y="233"/>
                    </a:lnTo>
                    <a:lnTo>
                      <a:pt x="103" y="233"/>
                    </a:lnTo>
                    <a:lnTo>
                      <a:pt x="101" y="233"/>
                    </a:lnTo>
                    <a:lnTo>
                      <a:pt x="103" y="233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1" y="233"/>
                    </a:lnTo>
                    <a:lnTo>
                      <a:pt x="99" y="233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1" y="229"/>
                    </a:lnTo>
                    <a:lnTo>
                      <a:pt x="101" y="227"/>
                    </a:lnTo>
                    <a:lnTo>
                      <a:pt x="103" y="227"/>
                    </a:lnTo>
                    <a:lnTo>
                      <a:pt x="103" y="226"/>
                    </a:lnTo>
                    <a:close/>
                    <a:moveTo>
                      <a:pt x="130" y="300"/>
                    </a:moveTo>
                    <a:lnTo>
                      <a:pt x="130" y="302"/>
                    </a:lnTo>
                    <a:lnTo>
                      <a:pt x="128" y="302"/>
                    </a:lnTo>
                    <a:lnTo>
                      <a:pt x="128" y="304"/>
                    </a:lnTo>
                    <a:lnTo>
                      <a:pt x="128" y="306"/>
                    </a:lnTo>
                    <a:lnTo>
                      <a:pt x="128" y="308"/>
                    </a:lnTo>
                    <a:lnTo>
                      <a:pt x="126" y="308"/>
                    </a:lnTo>
                    <a:lnTo>
                      <a:pt x="126" y="306"/>
                    </a:lnTo>
                    <a:lnTo>
                      <a:pt x="128" y="304"/>
                    </a:lnTo>
                    <a:lnTo>
                      <a:pt x="128" y="302"/>
                    </a:lnTo>
                    <a:lnTo>
                      <a:pt x="128" y="300"/>
                    </a:lnTo>
                    <a:lnTo>
                      <a:pt x="130" y="300"/>
                    </a:lnTo>
                    <a:close/>
                    <a:moveTo>
                      <a:pt x="93" y="262"/>
                    </a:moveTo>
                    <a:lnTo>
                      <a:pt x="93" y="264"/>
                    </a:lnTo>
                    <a:lnTo>
                      <a:pt x="93" y="266"/>
                    </a:lnTo>
                    <a:lnTo>
                      <a:pt x="92" y="266"/>
                    </a:lnTo>
                    <a:lnTo>
                      <a:pt x="93" y="266"/>
                    </a:lnTo>
                    <a:lnTo>
                      <a:pt x="92" y="267"/>
                    </a:lnTo>
                    <a:lnTo>
                      <a:pt x="92" y="266"/>
                    </a:lnTo>
                    <a:lnTo>
                      <a:pt x="90" y="266"/>
                    </a:lnTo>
                    <a:lnTo>
                      <a:pt x="92" y="266"/>
                    </a:lnTo>
                    <a:lnTo>
                      <a:pt x="90" y="266"/>
                    </a:lnTo>
                    <a:lnTo>
                      <a:pt x="92" y="266"/>
                    </a:lnTo>
                    <a:lnTo>
                      <a:pt x="90" y="266"/>
                    </a:lnTo>
                    <a:lnTo>
                      <a:pt x="92" y="266"/>
                    </a:lnTo>
                    <a:lnTo>
                      <a:pt x="90" y="266"/>
                    </a:lnTo>
                    <a:lnTo>
                      <a:pt x="90" y="264"/>
                    </a:lnTo>
                    <a:lnTo>
                      <a:pt x="92" y="264"/>
                    </a:lnTo>
                    <a:lnTo>
                      <a:pt x="90" y="264"/>
                    </a:lnTo>
                    <a:lnTo>
                      <a:pt x="92" y="262"/>
                    </a:lnTo>
                    <a:lnTo>
                      <a:pt x="92" y="264"/>
                    </a:lnTo>
                    <a:lnTo>
                      <a:pt x="93" y="264"/>
                    </a:lnTo>
                    <a:lnTo>
                      <a:pt x="92" y="264"/>
                    </a:lnTo>
                    <a:lnTo>
                      <a:pt x="93" y="264"/>
                    </a:lnTo>
                    <a:lnTo>
                      <a:pt x="93" y="262"/>
                    </a:lnTo>
                    <a:close/>
                    <a:moveTo>
                      <a:pt x="13" y="414"/>
                    </a:moveTo>
                    <a:lnTo>
                      <a:pt x="15" y="414"/>
                    </a:lnTo>
                    <a:lnTo>
                      <a:pt x="15" y="416"/>
                    </a:lnTo>
                    <a:lnTo>
                      <a:pt x="15" y="418"/>
                    </a:lnTo>
                    <a:lnTo>
                      <a:pt x="13" y="416"/>
                    </a:lnTo>
                    <a:lnTo>
                      <a:pt x="11" y="416"/>
                    </a:lnTo>
                    <a:lnTo>
                      <a:pt x="13" y="416"/>
                    </a:lnTo>
                    <a:lnTo>
                      <a:pt x="13" y="414"/>
                    </a:lnTo>
                    <a:close/>
                    <a:moveTo>
                      <a:pt x="99" y="233"/>
                    </a:moveTo>
                    <a:lnTo>
                      <a:pt x="101" y="233"/>
                    </a:lnTo>
                    <a:lnTo>
                      <a:pt x="101" y="235"/>
                    </a:lnTo>
                    <a:lnTo>
                      <a:pt x="101" y="233"/>
                    </a:lnTo>
                    <a:lnTo>
                      <a:pt x="101" y="235"/>
                    </a:lnTo>
                    <a:lnTo>
                      <a:pt x="101" y="233"/>
                    </a:lnTo>
                    <a:lnTo>
                      <a:pt x="101" y="235"/>
                    </a:lnTo>
                    <a:lnTo>
                      <a:pt x="101" y="233"/>
                    </a:lnTo>
                    <a:lnTo>
                      <a:pt x="101" y="235"/>
                    </a:lnTo>
                    <a:lnTo>
                      <a:pt x="101" y="237"/>
                    </a:lnTo>
                    <a:lnTo>
                      <a:pt x="99" y="237"/>
                    </a:lnTo>
                    <a:lnTo>
                      <a:pt x="101" y="237"/>
                    </a:lnTo>
                    <a:lnTo>
                      <a:pt x="99" y="237"/>
                    </a:lnTo>
                    <a:lnTo>
                      <a:pt x="99" y="239"/>
                    </a:lnTo>
                    <a:lnTo>
                      <a:pt x="99" y="237"/>
                    </a:lnTo>
                    <a:lnTo>
                      <a:pt x="99" y="233"/>
                    </a:lnTo>
                    <a:close/>
                    <a:moveTo>
                      <a:pt x="164" y="193"/>
                    </a:moveTo>
                    <a:lnTo>
                      <a:pt x="164" y="195"/>
                    </a:lnTo>
                    <a:lnTo>
                      <a:pt x="166" y="195"/>
                    </a:lnTo>
                    <a:lnTo>
                      <a:pt x="166" y="197"/>
                    </a:lnTo>
                    <a:lnTo>
                      <a:pt x="164" y="197"/>
                    </a:lnTo>
                    <a:lnTo>
                      <a:pt x="166" y="197"/>
                    </a:lnTo>
                    <a:lnTo>
                      <a:pt x="164" y="197"/>
                    </a:lnTo>
                    <a:lnTo>
                      <a:pt x="162" y="197"/>
                    </a:lnTo>
                    <a:lnTo>
                      <a:pt x="162" y="195"/>
                    </a:lnTo>
                    <a:lnTo>
                      <a:pt x="164" y="195"/>
                    </a:lnTo>
                    <a:lnTo>
                      <a:pt x="162" y="195"/>
                    </a:lnTo>
                    <a:lnTo>
                      <a:pt x="164" y="195"/>
                    </a:lnTo>
                    <a:lnTo>
                      <a:pt x="164" y="193"/>
                    </a:lnTo>
                    <a:close/>
                    <a:moveTo>
                      <a:pt x="95" y="353"/>
                    </a:moveTo>
                    <a:lnTo>
                      <a:pt x="97" y="355"/>
                    </a:lnTo>
                    <a:lnTo>
                      <a:pt x="95" y="357"/>
                    </a:lnTo>
                    <a:lnTo>
                      <a:pt x="93" y="355"/>
                    </a:lnTo>
                    <a:lnTo>
                      <a:pt x="95" y="355"/>
                    </a:lnTo>
                    <a:lnTo>
                      <a:pt x="93" y="353"/>
                    </a:lnTo>
                    <a:lnTo>
                      <a:pt x="95" y="353"/>
                    </a:lnTo>
                    <a:close/>
                    <a:moveTo>
                      <a:pt x="290" y="6"/>
                    </a:moveTo>
                    <a:lnTo>
                      <a:pt x="292" y="6"/>
                    </a:lnTo>
                    <a:lnTo>
                      <a:pt x="292" y="8"/>
                    </a:lnTo>
                    <a:lnTo>
                      <a:pt x="292" y="10"/>
                    </a:lnTo>
                    <a:lnTo>
                      <a:pt x="290" y="10"/>
                    </a:lnTo>
                    <a:lnTo>
                      <a:pt x="290" y="8"/>
                    </a:lnTo>
                    <a:lnTo>
                      <a:pt x="288" y="8"/>
                    </a:lnTo>
                    <a:lnTo>
                      <a:pt x="290" y="8"/>
                    </a:lnTo>
                    <a:lnTo>
                      <a:pt x="290" y="6"/>
                    </a:lnTo>
                    <a:close/>
                    <a:moveTo>
                      <a:pt x="21" y="411"/>
                    </a:moveTo>
                    <a:lnTo>
                      <a:pt x="21" y="412"/>
                    </a:lnTo>
                    <a:lnTo>
                      <a:pt x="21" y="414"/>
                    </a:lnTo>
                    <a:lnTo>
                      <a:pt x="21" y="416"/>
                    </a:lnTo>
                    <a:lnTo>
                      <a:pt x="19" y="416"/>
                    </a:lnTo>
                    <a:lnTo>
                      <a:pt x="19" y="414"/>
                    </a:lnTo>
                    <a:lnTo>
                      <a:pt x="17" y="414"/>
                    </a:lnTo>
                    <a:lnTo>
                      <a:pt x="19" y="414"/>
                    </a:lnTo>
                    <a:lnTo>
                      <a:pt x="19" y="412"/>
                    </a:lnTo>
                    <a:lnTo>
                      <a:pt x="19" y="414"/>
                    </a:lnTo>
                    <a:lnTo>
                      <a:pt x="21" y="414"/>
                    </a:lnTo>
                    <a:lnTo>
                      <a:pt x="21" y="412"/>
                    </a:lnTo>
                    <a:lnTo>
                      <a:pt x="21" y="411"/>
                    </a:lnTo>
                    <a:close/>
                    <a:moveTo>
                      <a:pt x="97" y="258"/>
                    </a:moveTo>
                    <a:lnTo>
                      <a:pt x="97" y="260"/>
                    </a:lnTo>
                    <a:lnTo>
                      <a:pt x="97" y="258"/>
                    </a:lnTo>
                    <a:lnTo>
                      <a:pt x="99" y="258"/>
                    </a:lnTo>
                    <a:lnTo>
                      <a:pt x="99" y="260"/>
                    </a:lnTo>
                    <a:lnTo>
                      <a:pt x="97" y="260"/>
                    </a:lnTo>
                    <a:lnTo>
                      <a:pt x="97" y="262"/>
                    </a:lnTo>
                    <a:lnTo>
                      <a:pt x="97" y="260"/>
                    </a:lnTo>
                    <a:lnTo>
                      <a:pt x="97" y="262"/>
                    </a:lnTo>
                    <a:lnTo>
                      <a:pt x="97" y="260"/>
                    </a:lnTo>
                    <a:lnTo>
                      <a:pt x="95" y="260"/>
                    </a:lnTo>
                    <a:lnTo>
                      <a:pt x="97" y="260"/>
                    </a:lnTo>
                    <a:lnTo>
                      <a:pt x="97" y="258"/>
                    </a:lnTo>
                    <a:lnTo>
                      <a:pt x="97" y="260"/>
                    </a:lnTo>
                    <a:lnTo>
                      <a:pt x="97" y="258"/>
                    </a:lnTo>
                    <a:lnTo>
                      <a:pt x="97" y="256"/>
                    </a:lnTo>
                    <a:lnTo>
                      <a:pt x="97" y="258"/>
                    </a:lnTo>
                    <a:lnTo>
                      <a:pt x="97" y="260"/>
                    </a:lnTo>
                    <a:lnTo>
                      <a:pt x="97" y="258"/>
                    </a:lnTo>
                    <a:close/>
                    <a:moveTo>
                      <a:pt x="103" y="254"/>
                    </a:moveTo>
                    <a:lnTo>
                      <a:pt x="105" y="254"/>
                    </a:lnTo>
                    <a:lnTo>
                      <a:pt x="103" y="254"/>
                    </a:lnTo>
                    <a:lnTo>
                      <a:pt x="101" y="256"/>
                    </a:lnTo>
                    <a:lnTo>
                      <a:pt x="101" y="254"/>
                    </a:lnTo>
                    <a:lnTo>
                      <a:pt x="103" y="256"/>
                    </a:lnTo>
                    <a:lnTo>
                      <a:pt x="103" y="254"/>
                    </a:lnTo>
                    <a:lnTo>
                      <a:pt x="103" y="252"/>
                    </a:lnTo>
                    <a:lnTo>
                      <a:pt x="105" y="252"/>
                    </a:lnTo>
                    <a:lnTo>
                      <a:pt x="105" y="250"/>
                    </a:lnTo>
                    <a:lnTo>
                      <a:pt x="105" y="252"/>
                    </a:lnTo>
                    <a:lnTo>
                      <a:pt x="103" y="252"/>
                    </a:lnTo>
                    <a:lnTo>
                      <a:pt x="103" y="254"/>
                    </a:lnTo>
                    <a:close/>
                    <a:moveTo>
                      <a:pt x="263" y="73"/>
                    </a:moveTo>
                    <a:lnTo>
                      <a:pt x="263" y="75"/>
                    </a:lnTo>
                    <a:lnTo>
                      <a:pt x="261" y="77"/>
                    </a:lnTo>
                    <a:lnTo>
                      <a:pt x="261" y="75"/>
                    </a:lnTo>
                    <a:lnTo>
                      <a:pt x="261" y="73"/>
                    </a:lnTo>
                    <a:lnTo>
                      <a:pt x="263" y="73"/>
                    </a:lnTo>
                    <a:close/>
                    <a:moveTo>
                      <a:pt x="181" y="229"/>
                    </a:moveTo>
                    <a:lnTo>
                      <a:pt x="181" y="231"/>
                    </a:lnTo>
                    <a:lnTo>
                      <a:pt x="179" y="231"/>
                    </a:lnTo>
                    <a:lnTo>
                      <a:pt x="181" y="231"/>
                    </a:lnTo>
                    <a:lnTo>
                      <a:pt x="179" y="231"/>
                    </a:lnTo>
                    <a:lnTo>
                      <a:pt x="179" y="229"/>
                    </a:lnTo>
                    <a:lnTo>
                      <a:pt x="177" y="231"/>
                    </a:lnTo>
                    <a:lnTo>
                      <a:pt x="177" y="229"/>
                    </a:lnTo>
                    <a:lnTo>
                      <a:pt x="179" y="229"/>
                    </a:lnTo>
                    <a:lnTo>
                      <a:pt x="177" y="229"/>
                    </a:lnTo>
                    <a:lnTo>
                      <a:pt x="179" y="229"/>
                    </a:lnTo>
                    <a:lnTo>
                      <a:pt x="181" y="229"/>
                    </a:lnTo>
                    <a:close/>
                    <a:moveTo>
                      <a:pt x="36" y="407"/>
                    </a:moveTo>
                    <a:lnTo>
                      <a:pt x="38" y="407"/>
                    </a:lnTo>
                    <a:lnTo>
                      <a:pt x="38" y="409"/>
                    </a:lnTo>
                    <a:lnTo>
                      <a:pt x="40" y="409"/>
                    </a:lnTo>
                    <a:lnTo>
                      <a:pt x="38" y="409"/>
                    </a:lnTo>
                    <a:lnTo>
                      <a:pt x="36" y="409"/>
                    </a:lnTo>
                    <a:lnTo>
                      <a:pt x="36" y="407"/>
                    </a:lnTo>
                    <a:close/>
                    <a:moveTo>
                      <a:pt x="107" y="243"/>
                    </a:moveTo>
                    <a:lnTo>
                      <a:pt x="109" y="243"/>
                    </a:lnTo>
                    <a:lnTo>
                      <a:pt x="109" y="245"/>
                    </a:lnTo>
                    <a:lnTo>
                      <a:pt x="107" y="245"/>
                    </a:lnTo>
                    <a:lnTo>
                      <a:pt x="107" y="243"/>
                    </a:lnTo>
                    <a:close/>
                    <a:moveTo>
                      <a:pt x="147" y="241"/>
                    </a:moveTo>
                    <a:lnTo>
                      <a:pt x="149" y="241"/>
                    </a:lnTo>
                    <a:lnTo>
                      <a:pt x="151" y="241"/>
                    </a:lnTo>
                    <a:lnTo>
                      <a:pt x="149" y="241"/>
                    </a:lnTo>
                    <a:lnTo>
                      <a:pt x="149" y="243"/>
                    </a:lnTo>
                    <a:lnTo>
                      <a:pt x="149" y="241"/>
                    </a:lnTo>
                    <a:lnTo>
                      <a:pt x="149" y="243"/>
                    </a:lnTo>
                    <a:lnTo>
                      <a:pt x="147" y="243"/>
                    </a:lnTo>
                    <a:lnTo>
                      <a:pt x="147" y="241"/>
                    </a:lnTo>
                    <a:close/>
                    <a:moveTo>
                      <a:pt x="113" y="273"/>
                    </a:moveTo>
                    <a:lnTo>
                      <a:pt x="114" y="273"/>
                    </a:lnTo>
                    <a:lnTo>
                      <a:pt x="114" y="275"/>
                    </a:lnTo>
                    <a:lnTo>
                      <a:pt x="113" y="275"/>
                    </a:lnTo>
                    <a:lnTo>
                      <a:pt x="113" y="273"/>
                    </a:lnTo>
                    <a:close/>
                    <a:moveTo>
                      <a:pt x="286" y="2"/>
                    </a:moveTo>
                    <a:lnTo>
                      <a:pt x="288" y="2"/>
                    </a:lnTo>
                    <a:lnTo>
                      <a:pt x="288" y="6"/>
                    </a:lnTo>
                    <a:lnTo>
                      <a:pt x="288" y="4"/>
                    </a:lnTo>
                    <a:lnTo>
                      <a:pt x="286" y="4"/>
                    </a:lnTo>
                    <a:lnTo>
                      <a:pt x="286" y="2"/>
                    </a:lnTo>
                    <a:close/>
                    <a:moveTo>
                      <a:pt x="149" y="233"/>
                    </a:moveTo>
                    <a:lnTo>
                      <a:pt x="153" y="233"/>
                    </a:lnTo>
                    <a:lnTo>
                      <a:pt x="153" y="237"/>
                    </a:lnTo>
                    <a:lnTo>
                      <a:pt x="149" y="237"/>
                    </a:lnTo>
                    <a:lnTo>
                      <a:pt x="149" y="233"/>
                    </a:lnTo>
                    <a:close/>
                    <a:moveTo>
                      <a:pt x="261" y="224"/>
                    </a:moveTo>
                    <a:lnTo>
                      <a:pt x="261" y="226"/>
                    </a:lnTo>
                    <a:lnTo>
                      <a:pt x="261" y="224"/>
                    </a:lnTo>
                    <a:close/>
                    <a:moveTo>
                      <a:pt x="92" y="361"/>
                    </a:moveTo>
                    <a:lnTo>
                      <a:pt x="90" y="363"/>
                    </a:lnTo>
                    <a:lnTo>
                      <a:pt x="88" y="363"/>
                    </a:lnTo>
                    <a:lnTo>
                      <a:pt x="88" y="361"/>
                    </a:lnTo>
                    <a:lnTo>
                      <a:pt x="90" y="361"/>
                    </a:lnTo>
                    <a:lnTo>
                      <a:pt x="92" y="361"/>
                    </a:lnTo>
                    <a:close/>
                    <a:moveTo>
                      <a:pt x="99" y="348"/>
                    </a:moveTo>
                    <a:lnTo>
                      <a:pt x="101" y="348"/>
                    </a:lnTo>
                    <a:lnTo>
                      <a:pt x="101" y="350"/>
                    </a:lnTo>
                    <a:lnTo>
                      <a:pt x="99" y="350"/>
                    </a:lnTo>
                    <a:lnTo>
                      <a:pt x="99" y="348"/>
                    </a:lnTo>
                    <a:close/>
                    <a:moveTo>
                      <a:pt x="267" y="256"/>
                    </a:moveTo>
                    <a:lnTo>
                      <a:pt x="269" y="256"/>
                    </a:lnTo>
                    <a:lnTo>
                      <a:pt x="269" y="258"/>
                    </a:lnTo>
                    <a:lnTo>
                      <a:pt x="267" y="258"/>
                    </a:lnTo>
                    <a:lnTo>
                      <a:pt x="267" y="256"/>
                    </a:lnTo>
                    <a:close/>
                    <a:moveTo>
                      <a:pt x="158" y="233"/>
                    </a:moveTo>
                    <a:lnTo>
                      <a:pt x="160" y="233"/>
                    </a:lnTo>
                    <a:lnTo>
                      <a:pt x="160" y="235"/>
                    </a:lnTo>
                    <a:lnTo>
                      <a:pt x="158" y="235"/>
                    </a:lnTo>
                    <a:lnTo>
                      <a:pt x="158" y="233"/>
                    </a:lnTo>
                    <a:close/>
                    <a:moveTo>
                      <a:pt x="107" y="281"/>
                    </a:moveTo>
                    <a:lnTo>
                      <a:pt x="109" y="281"/>
                    </a:lnTo>
                    <a:lnTo>
                      <a:pt x="109" y="285"/>
                    </a:lnTo>
                    <a:lnTo>
                      <a:pt x="107" y="285"/>
                    </a:lnTo>
                    <a:lnTo>
                      <a:pt x="107" y="281"/>
                    </a:lnTo>
                    <a:close/>
                    <a:moveTo>
                      <a:pt x="158" y="199"/>
                    </a:moveTo>
                    <a:lnTo>
                      <a:pt x="160" y="199"/>
                    </a:lnTo>
                    <a:lnTo>
                      <a:pt x="160" y="201"/>
                    </a:lnTo>
                    <a:lnTo>
                      <a:pt x="158" y="201"/>
                    </a:lnTo>
                    <a:lnTo>
                      <a:pt x="158" y="199"/>
                    </a:lnTo>
                    <a:close/>
                    <a:moveTo>
                      <a:pt x="59" y="380"/>
                    </a:moveTo>
                    <a:lnTo>
                      <a:pt x="61" y="380"/>
                    </a:lnTo>
                    <a:lnTo>
                      <a:pt x="61" y="382"/>
                    </a:lnTo>
                    <a:lnTo>
                      <a:pt x="59" y="382"/>
                    </a:lnTo>
                    <a:lnTo>
                      <a:pt x="59" y="380"/>
                    </a:lnTo>
                    <a:close/>
                    <a:moveTo>
                      <a:pt x="263" y="237"/>
                    </a:moveTo>
                    <a:lnTo>
                      <a:pt x="263" y="239"/>
                    </a:lnTo>
                    <a:lnTo>
                      <a:pt x="263" y="237"/>
                    </a:lnTo>
                    <a:close/>
                    <a:moveTo>
                      <a:pt x="111" y="344"/>
                    </a:moveTo>
                    <a:lnTo>
                      <a:pt x="113" y="344"/>
                    </a:lnTo>
                    <a:lnTo>
                      <a:pt x="113" y="346"/>
                    </a:lnTo>
                    <a:lnTo>
                      <a:pt x="111" y="346"/>
                    </a:lnTo>
                    <a:lnTo>
                      <a:pt x="111" y="344"/>
                    </a:lnTo>
                    <a:close/>
                    <a:moveTo>
                      <a:pt x="221" y="178"/>
                    </a:moveTo>
                    <a:lnTo>
                      <a:pt x="225" y="178"/>
                    </a:lnTo>
                    <a:lnTo>
                      <a:pt x="225" y="180"/>
                    </a:lnTo>
                    <a:lnTo>
                      <a:pt x="221" y="180"/>
                    </a:lnTo>
                    <a:lnTo>
                      <a:pt x="221" y="178"/>
                    </a:lnTo>
                    <a:close/>
                    <a:moveTo>
                      <a:pt x="109" y="279"/>
                    </a:moveTo>
                    <a:lnTo>
                      <a:pt x="111" y="279"/>
                    </a:lnTo>
                    <a:lnTo>
                      <a:pt x="111" y="281"/>
                    </a:lnTo>
                    <a:lnTo>
                      <a:pt x="109" y="281"/>
                    </a:lnTo>
                    <a:lnTo>
                      <a:pt x="109" y="279"/>
                    </a:lnTo>
                    <a:close/>
                    <a:moveTo>
                      <a:pt x="160" y="235"/>
                    </a:moveTo>
                    <a:lnTo>
                      <a:pt x="162" y="235"/>
                    </a:lnTo>
                    <a:lnTo>
                      <a:pt x="162" y="237"/>
                    </a:lnTo>
                    <a:lnTo>
                      <a:pt x="160" y="237"/>
                    </a:lnTo>
                    <a:lnTo>
                      <a:pt x="160" y="235"/>
                    </a:lnTo>
                    <a:close/>
                    <a:moveTo>
                      <a:pt x="156" y="233"/>
                    </a:moveTo>
                    <a:lnTo>
                      <a:pt x="158" y="233"/>
                    </a:lnTo>
                    <a:lnTo>
                      <a:pt x="158" y="235"/>
                    </a:lnTo>
                    <a:lnTo>
                      <a:pt x="156" y="235"/>
                    </a:lnTo>
                    <a:lnTo>
                      <a:pt x="156" y="233"/>
                    </a:lnTo>
                    <a:close/>
                    <a:moveTo>
                      <a:pt x="93" y="262"/>
                    </a:moveTo>
                    <a:lnTo>
                      <a:pt x="95" y="262"/>
                    </a:lnTo>
                    <a:lnTo>
                      <a:pt x="95" y="264"/>
                    </a:lnTo>
                    <a:lnTo>
                      <a:pt x="93" y="264"/>
                    </a:lnTo>
                    <a:lnTo>
                      <a:pt x="93" y="262"/>
                    </a:lnTo>
                    <a:close/>
                    <a:moveTo>
                      <a:pt x="34" y="407"/>
                    </a:moveTo>
                    <a:lnTo>
                      <a:pt x="36" y="407"/>
                    </a:lnTo>
                    <a:lnTo>
                      <a:pt x="36" y="409"/>
                    </a:lnTo>
                    <a:lnTo>
                      <a:pt x="34" y="409"/>
                    </a:lnTo>
                    <a:lnTo>
                      <a:pt x="34" y="407"/>
                    </a:lnTo>
                    <a:close/>
                    <a:moveTo>
                      <a:pt x="95" y="260"/>
                    </a:moveTo>
                    <a:lnTo>
                      <a:pt x="97" y="260"/>
                    </a:lnTo>
                    <a:lnTo>
                      <a:pt x="97" y="262"/>
                    </a:lnTo>
                    <a:lnTo>
                      <a:pt x="95" y="262"/>
                    </a:lnTo>
                    <a:lnTo>
                      <a:pt x="95" y="260"/>
                    </a:lnTo>
                    <a:close/>
                    <a:moveTo>
                      <a:pt x="162" y="233"/>
                    </a:moveTo>
                    <a:lnTo>
                      <a:pt x="162" y="235"/>
                    </a:lnTo>
                    <a:lnTo>
                      <a:pt x="162" y="233"/>
                    </a:lnTo>
                    <a:close/>
                    <a:moveTo>
                      <a:pt x="114" y="306"/>
                    </a:moveTo>
                    <a:lnTo>
                      <a:pt x="116" y="306"/>
                    </a:lnTo>
                    <a:lnTo>
                      <a:pt x="116" y="308"/>
                    </a:lnTo>
                    <a:lnTo>
                      <a:pt x="114" y="308"/>
                    </a:lnTo>
                    <a:lnTo>
                      <a:pt x="114" y="306"/>
                    </a:lnTo>
                    <a:close/>
                    <a:moveTo>
                      <a:pt x="109" y="317"/>
                    </a:moveTo>
                    <a:lnTo>
                      <a:pt x="111" y="317"/>
                    </a:lnTo>
                    <a:lnTo>
                      <a:pt x="109" y="317"/>
                    </a:lnTo>
                    <a:close/>
                    <a:moveTo>
                      <a:pt x="160" y="199"/>
                    </a:moveTo>
                    <a:lnTo>
                      <a:pt x="162" y="199"/>
                    </a:lnTo>
                    <a:lnTo>
                      <a:pt x="162" y="201"/>
                    </a:lnTo>
                    <a:lnTo>
                      <a:pt x="160" y="201"/>
                    </a:lnTo>
                    <a:lnTo>
                      <a:pt x="160" y="199"/>
                    </a:lnTo>
                    <a:close/>
                    <a:moveTo>
                      <a:pt x="160" y="233"/>
                    </a:moveTo>
                    <a:lnTo>
                      <a:pt x="162" y="233"/>
                    </a:lnTo>
                    <a:lnTo>
                      <a:pt x="162" y="235"/>
                    </a:lnTo>
                    <a:lnTo>
                      <a:pt x="160" y="235"/>
                    </a:lnTo>
                    <a:lnTo>
                      <a:pt x="160" y="233"/>
                    </a:lnTo>
                    <a:close/>
                    <a:moveTo>
                      <a:pt x="149" y="233"/>
                    </a:moveTo>
                    <a:lnTo>
                      <a:pt x="149" y="235"/>
                    </a:lnTo>
                    <a:lnTo>
                      <a:pt x="149" y="233"/>
                    </a:lnTo>
                    <a:close/>
                    <a:moveTo>
                      <a:pt x="118" y="266"/>
                    </a:moveTo>
                    <a:lnTo>
                      <a:pt x="120" y="266"/>
                    </a:lnTo>
                    <a:lnTo>
                      <a:pt x="120" y="267"/>
                    </a:lnTo>
                    <a:lnTo>
                      <a:pt x="118" y="267"/>
                    </a:lnTo>
                    <a:lnTo>
                      <a:pt x="118" y="266"/>
                    </a:lnTo>
                    <a:close/>
                    <a:moveTo>
                      <a:pt x="154" y="235"/>
                    </a:moveTo>
                    <a:lnTo>
                      <a:pt x="156" y="235"/>
                    </a:lnTo>
                    <a:lnTo>
                      <a:pt x="156" y="237"/>
                    </a:lnTo>
                    <a:lnTo>
                      <a:pt x="154" y="237"/>
                    </a:lnTo>
                    <a:lnTo>
                      <a:pt x="154" y="235"/>
                    </a:lnTo>
                    <a:close/>
                    <a:moveTo>
                      <a:pt x="107" y="321"/>
                    </a:moveTo>
                    <a:lnTo>
                      <a:pt x="109" y="321"/>
                    </a:lnTo>
                    <a:lnTo>
                      <a:pt x="109" y="323"/>
                    </a:lnTo>
                    <a:lnTo>
                      <a:pt x="107" y="323"/>
                    </a:lnTo>
                    <a:lnTo>
                      <a:pt x="107" y="321"/>
                    </a:lnTo>
                    <a:close/>
                    <a:moveTo>
                      <a:pt x="0" y="414"/>
                    </a:moveTo>
                    <a:lnTo>
                      <a:pt x="2" y="414"/>
                    </a:lnTo>
                    <a:lnTo>
                      <a:pt x="0" y="414"/>
                    </a:lnTo>
                    <a:close/>
                    <a:moveTo>
                      <a:pt x="97" y="252"/>
                    </a:moveTo>
                    <a:lnTo>
                      <a:pt x="99" y="252"/>
                    </a:lnTo>
                    <a:lnTo>
                      <a:pt x="99" y="254"/>
                    </a:lnTo>
                    <a:lnTo>
                      <a:pt x="97" y="254"/>
                    </a:lnTo>
                    <a:lnTo>
                      <a:pt x="97" y="252"/>
                    </a:lnTo>
                    <a:close/>
                    <a:moveTo>
                      <a:pt x="93" y="260"/>
                    </a:moveTo>
                    <a:lnTo>
                      <a:pt x="95" y="260"/>
                    </a:lnTo>
                    <a:lnTo>
                      <a:pt x="95" y="262"/>
                    </a:lnTo>
                    <a:lnTo>
                      <a:pt x="93" y="262"/>
                    </a:lnTo>
                    <a:lnTo>
                      <a:pt x="93" y="260"/>
                    </a:lnTo>
                    <a:close/>
                    <a:moveTo>
                      <a:pt x="259" y="231"/>
                    </a:moveTo>
                    <a:lnTo>
                      <a:pt x="259" y="233"/>
                    </a:lnTo>
                    <a:lnTo>
                      <a:pt x="259" y="231"/>
                    </a:lnTo>
                    <a:close/>
                    <a:moveTo>
                      <a:pt x="162" y="231"/>
                    </a:moveTo>
                    <a:lnTo>
                      <a:pt x="164" y="231"/>
                    </a:lnTo>
                    <a:lnTo>
                      <a:pt x="164" y="233"/>
                    </a:lnTo>
                    <a:lnTo>
                      <a:pt x="162" y="233"/>
                    </a:lnTo>
                    <a:lnTo>
                      <a:pt x="162" y="231"/>
                    </a:lnTo>
                    <a:close/>
                    <a:moveTo>
                      <a:pt x="305" y="367"/>
                    </a:moveTo>
                    <a:lnTo>
                      <a:pt x="307" y="367"/>
                    </a:lnTo>
                    <a:lnTo>
                      <a:pt x="307" y="369"/>
                    </a:lnTo>
                    <a:lnTo>
                      <a:pt x="305" y="369"/>
                    </a:lnTo>
                    <a:lnTo>
                      <a:pt x="305" y="367"/>
                    </a:lnTo>
                    <a:close/>
                    <a:moveTo>
                      <a:pt x="76" y="374"/>
                    </a:moveTo>
                    <a:lnTo>
                      <a:pt x="78" y="374"/>
                    </a:lnTo>
                    <a:lnTo>
                      <a:pt x="76" y="374"/>
                    </a:lnTo>
                    <a:close/>
                    <a:moveTo>
                      <a:pt x="292" y="407"/>
                    </a:moveTo>
                    <a:lnTo>
                      <a:pt x="292" y="409"/>
                    </a:lnTo>
                    <a:lnTo>
                      <a:pt x="292" y="407"/>
                    </a:lnTo>
                    <a:close/>
                    <a:moveTo>
                      <a:pt x="153" y="239"/>
                    </a:moveTo>
                    <a:lnTo>
                      <a:pt x="154" y="239"/>
                    </a:lnTo>
                    <a:lnTo>
                      <a:pt x="154" y="241"/>
                    </a:lnTo>
                    <a:lnTo>
                      <a:pt x="153" y="241"/>
                    </a:lnTo>
                    <a:lnTo>
                      <a:pt x="153" y="239"/>
                    </a:lnTo>
                    <a:close/>
                    <a:moveTo>
                      <a:pt x="160" y="235"/>
                    </a:moveTo>
                    <a:lnTo>
                      <a:pt x="162" y="235"/>
                    </a:lnTo>
                    <a:lnTo>
                      <a:pt x="160" y="235"/>
                    </a:lnTo>
                    <a:close/>
                    <a:moveTo>
                      <a:pt x="265" y="241"/>
                    </a:moveTo>
                    <a:lnTo>
                      <a:pt x="265" y="243"/>
                    </a:lnTo>
                    <a:lnTo>
                      <a:pt x="265" y="241"/>
                    </a:lnTo>
                    <a:close/>
                    <a:moveTo>
                      <a:pt x="78" y="367"/>
                    </a:moveTo>
                    <a:lnTo>
                      <a:pt x="80" y="367"/>
                    </a:lnTo>
                    <a:lnTo>
                      <a:pt x="80" y="369"/>
                    </a:lnTo>
                    <a:lnTo>
                      <a:pt x="78" y="369"/>
                    </a:lnTo>
                    <a:lnTo>
                      <a:pt x="78" y="367"/>
                    </a:lnTo>
                    <a:close/>
                    <a:moveTo>
                      <a:pt x="86" y="369"/>
                    </a:moveTo>
                    <a:lnTo>
                      <a:pt x="88" y="369"/>
                    </a:lnTo>
                    <a:lnTo>
                      <a:pt x="86" y="369"/>
                    </a:lnTo>
                    <a:close/>
                    <a:moveTo>
                      <a:pt x="105" y="258"/>
                    </a:moveTo>
                    <a:lnTo>
                      <a:pt x="107" y="258"/>
                    </a:lnTo>
                    <a:lnTo>
                      <a:pt x="105" y="258"/>
                    </a:lnTo>
                    <a:close/>
                    <a:moveTo>
                      <a:pt x="305" y="374"/>
                    </a:moveTo>
                    <a:lnTo>
                      <a:pt x="305" y="376"/>
                    </a:lnTo>
                    <a:lnTo>
                      <a:pt x="305" y="374"/>
                    </a:lnTo>
                    <a:close/>
                    <a:moveTo>
                      <a:pt x="27" y="411"/>
                    </a:moveTo>
                    <a:lnTo>
                      <a:pt x="29" y="411"/>
                    </a:lnTo>
                    <a:lnTo>
                      <a:pt x="27" y="411"/>
                    </a:lnTo>
                    <a:close/>
                    <a:moveTo>
                      <a:pt x="116" y="271"/>
                    </a:moveTo>
                    <a:lnTo>
                      <a:pt x="118" y="271"/>
                    </a:lnTo>
                    <a:lnTo>
                      <a:pt x="116" y="271"/>
                    </a:lnTo>
                    <a:close/>
                    <a:moveTo>
                      <a:pt x="156" y="235"/>
                    </a:moveTo>
                    <a:lnTo>
                      <a:pt x="158" y="235"/>
                    </a:lnTo>
                    <a:lnTo>
                      <a:pt x="158" y="237"/>
                    </a:lnTo>
                    <a:lnTo>
                      <a:pt x="156" y="237"/>
                    </a:lnTo>
                    <a:lnTo>
                      <a:pt x="156" y="235"/>
                    </a:lnTo>
                    <a:close/>
                    <a:moveTo>
                      <a:pt x="114" y="271"/>
                    </a:moveTo>
                    <a:lnTo>
                      <a:pt x="116" y="271"/>
                    </a:lnTo>
                    <a:lnTo>
                      <a:pt x="116" y="273"/>
                    </a:lnTo>
                    <a:lnTo>
                      <a:pt x="114" y="273"/>
                    </a:lnTo>
                    <a:lnTo>
                      <a:pt x="114" y="271"/>
                    </a:lnTo>
                    <a:close/>
                    <a:moveTo>
                      <a:pt x="147" y="243"/>
                    </a:moveTo>
                    <a:lnTo>
                      <a:pt x="149" y="243"/>
                    </a:lnTo>
                    <a:lnTo>
                      <a:pt x="149" y="245"/>
                    </a:lnTo>
                    <a:lnTo>
                      <a:pt x="147" y="245"/>
                    </a:lnTo>
                    <a:lnTo>
                      <a:pt x="147" y="243"/>
                    </a:lnTo>
                    <a:close/>
                    <a:moveTo>
                      <a:pt x="109" y="250"/>
                    </a:moveTo>
                    <a:lnTo>
                      <a:pt x="111" y="250"/>
                    </a:lnTo>
                    <a:lnTo>
                      <a:pt x="111" y="252"/>
                    </a:lnTo>
                    <a:lnTo>
                      <a:pt x="109" y="252"/>
                    </a:lnTo>
                    <a:lnTo>
                      <a:pt x="109" y="250"/>
                    </a:lnTo>
                    <a:close/>
                    <a:moveTo>
                      <a:pt x="103" y="250"/>
                    </a:moveTo>
                    <a:lnTo>
                      <a:pt x="103" y="252"/>
                    </a:lnTo>
                    <a:lnTo>
                      <a:pt x="103" y="250"/>
                    </a:lnTo>
                    <a:close/>
                    <a:moveTo>
                      <a:pt x="107" y="250"/>
                    </a:moveTo>
                    <a:lnTo>
                      <a:pt x="109" y="250"/>
                    </a:lnTo>
                    <a:lnTo>
                      <a:pt x="107" y="250"/>
                    </a:lnTo>
                    <a:close/>
                    <a:moveTo>
                      <a:pt x="219" y="235"/>
                    </a:moveTo>
                    <a:lnTo>
                      <a:pt x="221" y="235"/>
                    </a:lnTo>
                    <a:lnTo>
                      <a:pt x="219" y="235"/>
                    </a:lnTo>
                    <a:close/>
                    <a:moveTo>
                      <a:pt x="103" y="248"/>
                    </a:moveTo>
                    <a:lnTo>
                      <a:pt x="105" y="248"/>
                    </a:lnTo>
                    <a:lnTo>
                      <a:pt x="105" y="250"/>
                    </a:lnTo>
                    <a:lnTo>
                      <a:pt x="103" y="250"/>
                    </a:lnTo>
                    <a:lnTo>
                      <a:pt x="103" y="248"/>
                    </a:lnTo>
                    <a:close/>
                    <a:moveTo>
                      <a:pt x="130" y="231"/>
                    </a:moveTo>
                    <a:lnTo>
                      <a:pt x="132" y="231"/>
                    </a:lnTo>
                    <a:lnTo>
                      <a:pt x="130" y="231"/>
                    </a:lnTo>
                    <a:close/>
                    <a:moveTo>
                      <a:pt x="111" y="298"/>
                    </a:moveTo>
                    <a:lnTo>
                      <a:pt x="111" y="300"/>
                    </a:lnTo>
                    <a:lnTo>
                      <a:pt x="111" y="298"/>
                    </a:lnTo>
                    <a:close/>
                    <a:moveTo>
                      <a:pt x="175" y="229"/>
                    </a:moveTo>
                    <a:lnTo>
                      <a:pt x="177" y="229"/>
                    </a:lnTo>
                    <a:lnTo>
                      <a:pt x="177" y="231"/>
                    </a:lnTo>
                    <a:lnTo>
                      <a:pt x="175" y="231"/>
                    </a:lnTo>
                    <a:lnTo>
                      <a:pt x="175" y="229"/>
                    </a:lnTo>
                    <a:close/>
                    <a:moveTo>
                      <a:pt x="69" y="382"/>
                    </a:moveTo>
                    <a:lnTo>
                      <a:pt x="71" y="382"/>
                    </a:lnTo>
                    <a:lnTo>
                      <a:pt x="71" y="384"/>
                    </a:lnTo>
                    <a:lnTo>
                      <a:pt x="69" y="384"/>
                    </a:lnTo>
                    <a:lnTo>
                      <a:pt x="69" y="382"/>
                    </a:lnTo>
                    <a:close/>
                    <a:moveTo>
                      <a:pt x="95" y="254"/>
                    </a:moveTo>
                    <a:lnTo>
                      <a:pt x="97" y="254"/>
                    </a:lnTo>
                    <a:lnTo>
                      <a:pt x="97" y="256"/>
                    </a:lnTo>
                    <a:lnTo>
                      <a:pt x="95" y="256"/>
                    </a:lnTo>
                    <a:lnTo>
                      <a:pt x="95" y="254"/>
                    </a:lnTo>
                    <a:close/>
                    <a:moveTo>
                      <a:pt x="78" y="371"/>
                    </a:moveTo>
                    <a:lnTo>
                      <a:pt x="80" y="371"/>
                    </a:lnTo>
                    <a:lnTo>
                      <a:pt x="78" y="371"/>
                    </a:lnTo>
                    <a:close/>
                    <a:moveTo>
                      <a:pt x="99" y="350"/>
                    </a:moveTo>
                    <a:lnTo>
                      <a:pt x="101" y="350"/>
                    </a:lnTo>
                    <a:lnTo>
                      <a:pt x="101" y="351"/>
                    </a:lnTo>
                    <a:lnTo>
                      <a:pt x="99" y="351"/>
                    </a:lnTo>
                    <a:lnTo>
                      <a:pt x="99" y="350"/>
                    </a:lnTo>
                    <a:close/>
                    <a:moveTo>
                      <a:pt x="170" y="231"/>
                    </a:moveTo>
                    <a:lnTo>
                      <a:pt x="172" y="231"/>
                    </a:lnTo>
                    <a:lnTo>
                      <a:pt x="172" y="233"/>
                    </a:lnTo>
                    <a:lnTo>
                      <a:pt x="170" y="233"/>
                    </a:lnTo>
                    <a:lnTo>
                      <a:pt x="170" y="231"/>
                    </a:lnTo>
                    <a:close/>
                    <a:moveTo>
                      <a:pt x="141" y="239"/>
                    </a:moveTo>
                    <a:lnTo>
                      <a:pt x="141" y="241"/>
                    </a:lnTo>
                    <a:lnTo>
                      <a:pt x="141" y="239"/>
                    </a:lnTo>
                    <a:close/>
                    <a:moveTo>
                      <a:pt x="162" y="233"/>
                    </a:moveTo>
                    <a:lnTo>
                      <a:pt x="164" y="233"/>
                    </a:lnTo>
                    <a:lnTo>
                      <a:pt x="164" y="235"/>
                    </a:lnTo>
                    <a:lnTo>
                      <a:pt x="162" y="235"/>
                    </a:lnTo>
                    <a:lnTo>
                      <a:pt x="162" y="233"/>
                    </a:lnTo>
                    <a:close/>
                    <a:moveTo>
                      <a:pt x="217" y="187"/>
                    </a:moveTo>
                    <a:lnTo>
                      <a:pt x="217" y="189"/>
                    </a:lnTo>
                    <a:lnTo>
                      <a:pt x="217" y="187"/>
                    </a:lnTo>
                    <a:close/>
                    <a:moveTo>
                      <a:pt x="132" y="388"/>
                    </a:moveTo>
                    <a:lnTo>
                      <a:pt x="134" y="388"/>
                    </a:lnTo>
                    <a:lnTo>
                      <a:pt x="132" y="388"/>
                    </a:lnTo>
                    <a:close/>
                    <a:moveTo>
                      <a:pt x="179" y="226"/>
                    </a:moveTo>
                    <a:lnTo>
                      <a:pt x="181" y="226"/>
                    </a:lnTo>
                    <a:lnTo>
                      <a:pt x="179" y="226"/>
                    </a:lnTo>
                    <a:close/>
                    <a:moveTo>
                      <a:pt x="204" y="250"/>
                    </a:moveTo>
                    <a:lnTo>
                      <a:pt x="206" y="250"/>
                    </a:lnTo>
                    <a:lnTo>
                      <a:pt x="204" y="250"/>
                    </a:lnTo>
                    <a:close/>
                    <a:moveTo>
                      <a:pt x="296" y="143"/>
                    </a:moveTo>
                    <a:lnTo>
                      <a:pt x="298" y="143"/>
                    </a:lnTo>
                    <a:lnTo>
                      <a:pt x="296" y="143"/>
                    </a:lnTo>
                    <a:close/>
                    <a:moveTo>
                      <a:pt x="160" y="233"/>
                    </a:moveTo>
                    <a:lnTo>
                      <a:pt x="162" y="233"/>
                    </a:lnTo>
                    <a:lnTo>
                      <a:pt x="160" y="233"/>
                    </a:lnTo>
                    <a:close/>
                    <a:moveTo>
                      <a:pt x="99" y="350"/>
                    </a:moveTo>
                    <a:lnTo>
                      <a:pt x="99" y="351"/>
                    </a:lnTo>
                    <a:lnTo>
                      <a:pt x="99" y="350"/>
                    </a:lnTo>
                    <a:close/>
                    <a:moveTo>
                      <a:pt x="164" y="233"/>
                    </a:moveTo>
                    <a:lnTo>
                      <a:pt x="166" y="233"/>
                    </a:lnTo>
                    <a:lnTo>
                      <a:pt x="164" y="233"/>
                    </a:lnTo>
                    <a:close/>
                    <a:moveTo>
                      <a:pt x="120" y="267"/>
                    </a:moveTo>
                    <a:lnTo>
                      <a:pt x="122" y="267"/>
                    </a:lnTo>
                    <a:lnTo>
                      <a:pt x="122" y="269"/>
                    </a:lnTo>
                    <a:lnTo>
                      <a:pt x="120" y="269"/>
                    </a:lnTo>
                    <a:lnTo>
                      <a:pt x="120" y="267"/>
                    </a:lnTo>
                    <a:close/>
                    <a:moveTo>
                      <a:pt x="95" y="262"/>
                    </a:moveTo>
                    <a:lnTo>
                      <a:pt x="95" y="264"/>
                    </a:lnTo>
                    <a:lnTo>
                      <a:pt x="95" y="262"/>
                    </a:lnTo>
                    <a:close/>
                    <a:moveTo>
                      <a:pt x="126" y="300"/>
                    </a:moveTo>
                    <a:lnTo>
                      <a:pt x="126" y="302"/>
                    </a:lnTo>
                    <a:lnTo>
                      <a:pt x="126" y="300"/>
                    </a:lnTo>
                    <a:close/>
                    <a:moveTo>
                      <a:pt x="154" y="241"/>
                    </a:moveTo>
                    <a:lnTo>
                      <a:pt x="154" y="243"/>
                    </a:lnTo>
                    <a:lnTo>
                      <a:pt x="154" y="241"/>
                    </a:lnTo>
                    <a:close/>
                    <a:moveTo>
                      <a:pt x="124" y="241"/>
                    </a:moveTo>
                    <a:lnTo>
                      <a:pt x="126" y="241"/>
                    </a:lnTo>
                    <a:lnTo>
                      <a:pt x="124" y="241"/>
                    </a:lnTo>
                    <a:close/>
                    <a:moveTo>
                      <a:pt x="101" y="233"/>
                    </a:moveTo>
                    <a:lnTo>
                      <a:pt x="103" y="233"/>
                    </a:lnTo>
                    <a:lnTo>
                      <a:pt x="103" y="235"/>
                    </a:lnTo>
                    <a:lnTo>
                      <a:pt x="101" y="235"/>
                    </a:lnTo>
                    <a:lnTo>
                      <a:pt x="101" y="233"/>
                    </a:lnTo>
                    <a:close/>
                    <a:moveTo>
                      <a:pt x="130" y="224"/>
                    </a:moveTo>
                    <a:lnTo>
                      <a:pt x="130" y="226"/>
                    </a:lnTo>
                    <a:lnTo>
                      <a:pt x="130" y="224"/>
                    </a:lnTo>
                    <a:close/>
                    <a:moveTo>
                      <a:pt x="168" y="231"/>
                    </a:moveTo>
                    <a:lnTo>
                      <a:pt x="168" y="233"/>
                    </a:lnTo>
                    <a:lnTo>
                      <a:pt x="168" y="231"/>
                    </a:lnTo>
                    <a:close/>
                    <a:moveTo>
                      <a:pt x="143" y="243"/>
                    </a:moveTo>
                    <a:lnTo>
                      <a:pt x="143" y="245"/>
                    </a:lnTo>
                    <a:lnTo>
                      <a:pt x="143" y="243"/>
                    </a:lnTo>
                    <a:close/>
                    <a:moveTo>
                      <a:pt x="305" y="367"/>
                    </a:moveTo>
                    <a:lnTo>
                      <a:pt x="307" y="367"/>
                    </a:lnTo>
                    <a:lnTo>
                      <a:pt x="305" y="367"/>
                    </a:lnTo>
                    <a:close/>
                    <a:moveTo>
                      <a:pt x="137" y="245"/>
                    </a:moveTo>
                    <a:lnTo>
                      <a:pt x="139" y="245"/>
                    </a:lnTo>
                    <a:lnTo>
                      <a:pt x="137" y="245"/>
                    </a:lnTo>
                    <a:close/>
                    <a:moveTo>
                      <a:pt x="67" y="376"/>
                    </a:moveTo>
                    <a:lnTo>
                      <a:pt x="69" y="376"/>
                    </a:lnTo>
                    <a:lnTo>
                      <a:pt x="67" y="376"/>
                    </a:lnTo>
                    <a:close/>
                    <a:moveTo>
                      <a:pt x="15" y="416"/>
                    </a:moveTo>
                    <a:lnTo>
                      <a:pt x="17" y="416"/>
                    </a:lnTo>
                    <a:lnTo>
                      <a:pt x="15" y="416"/>
                    </a:lnTo>
                    <a:close/>
                    <a:moveTo>
                      <a:pt x="97" y="254"/>
                    </a:moveTo>
                    <a:lnTo>
                      <a:pt x="99" y="254"/>
                    </a:lnTo>
                    <a:lnTo>
                      <a:pt x="99" y="256"/>
                    </a:lnTo>
                    <a:lnTo>
                      <a:pt x="97" y="256"/>
                    </a:lnTo>
                    <a:lnTo>
                      <a:pt x="97" y="254"/>
                    </a:lnTo>
                    <a:close/>
                    <a:moveTo>
                      <a:pt x="294" y="155"/>
                    </a:moveTo>
                    <a:lnTo>
                      <a:pt x="296" y="155"/>
                    </a:lnTo>
                    <a:lnTo>
                      <a:pt x="294" y="155"/>
                    </a:lnTo>
                    <a:close/>
                    <a:moveTo>
                      <a:pt x="357" y="50"/>
                    </a:moveTo>
                    <a:lnTo>
                      <a:pt x="359" y="50"/>
                    </a:lnTo>
                    <a:lnTo>
                      <a:pt x="357" y="50"/>
                    </a:lnTo>
                    <a:close/>
                    <a:moveTo>
                      <a:pt x="172" y="231"/>
                    </a:moveTo>
                    <a:lnTo>
                      <a:pt x="172" y="233"/>
                    </a:lnTo>
                    <a:lnTo>
                      <a:pt x="172" y="231"/>
                    </a:lnTo>
                    <a:close/>
                    <a:moveTo>
                      <a:pt x="120" y="266"/>
                    </a:moveTo>
                    <a:lnTo>
                      <a:pt x="120" y="267"/>
                    </a:lnTo>
                    <a:lnTo>
                      <a:pt x="120" y="266"/>
                    </a:lnTo>
                    <a:close/>
                    <a:moveTo>
                      <a:pt x="105" y="260"/>
                    </a:moveTo>
                    <a:lnTo>
                      <a:pt x="107" y="260"/>
                    </a:lnTo>
                    <a:lnTo>
                      <a:pt x="105" y="260"/>
                    </a:lnTo>
                    <a:close/>
                    <a:moveTo>
                      <a:pt x="219" y="222"/>
                    </a:moveTo>
                    <a:lnTo>
                      <a:pt x="221" y="222"/>
                    </a:lnTo>
                    <a:lnTo>
                      <a:pt x="221" y="224"/>
                    </a:lnTo>
                    <a:lnTo>
                      <a:pt x="219" y="224"/>
                    </a:lnTo>
                    <a:lnTo>
                      <a:pt x="219" y="222"/>
                    </a:lnTo>
                    <a:close/>
                    <a:moveTo>
                      <a:pt x="156" y="235"/>
                    </a:moveTo>
                    <a:lnTo>
                      <a:pt x="156" y="237"/>
                    </a:lnTo>
                    <a:lnTo>
                      <a:pt x="156" y="235"/>
                    </a:lnTo>
                    <a:close/>
                    <a:moveTo>
                      <a:pt x="267" y="208"/>
                    </a:moveTo>
                    <a:lnTo>
                      <a:pt x="269" y="208"/>
                    </a:lnTo>
                    <a:lnTo>
                      <a:pt x="267" y="208"/>
                    </a:lnTo>
                    <a:close/>
                    <a:moveTo>
                      <a:pt x="143" y="258"/>
                    </a:moveTo>
                    <a:lnTo>
                      <a:pt x="143" y="260"/>
                    </a:lnTo>
                    <a:lnTo>
                      <a:pt x="143" y="258"/>
                    </a:lnTo>
                    <a:close/>
                    <a:moveTo>
                      <a:pt x="99" y="258"/>
                    </a:moveTo>
                    <a:lnTo>
                      <a:pt x="101" y="258"/>
                    </a:lnTo>
                    <a:lnTo>
                      <a:pt x="99" y="258"/>
                    </a:lnTo>
                    <a:close/>
                    <a:moveTo>
                      <a:pt x="183" y="226"/>
                    </a:moveTo>
                    <a:lnTo>
                      <a:pt x="185" y="226"/>
                    </a:lnTo>
                    <a:lnTo>
                      <a:pt x="185" y="227"/>
                    </a:lnTo>
                    <a:lnTo>
                      <a:pt x="183" y="227"/>
                    </a:lnTo>
                    <a:lnTo>
                      <a:pt x="183" y="226"/>
                    </a:lnTo>
                    <a:close/>
                    <a:moveTo>
                      <a:pt x="305" y="365"/>
                    </a:moveTo>
                    <a:lnTo>
                      <a:pt x="305" y="367"/>
                    </a:lnTo>
                    <a:lnTo>
                      <a:pt x="305" y="365"/>
                    </a:lnTo>
                    <a:close/>
                    <a:moveTo>
                      <a:pt x="139" y="239"/>
                    </a:moveTo>
                    <a:lnTo>
                      <a:pt x="139" y="241"/>
                    </a:lnTo>
                    <a:lnTo>
                      <a:pt x="139" y="239"/>
                    </a:lnTo>
                    <a:close/>
                    <a:moveTo>
                      <a:pt x="153" y="239"/>
                    </a:moveTo>
                    <a:lnTo>
                      <a:pt x="153" y="241"/>
                    </a:lnTo>
                    <a:lnTo>
                      <a:pt x="153" y="239"/>
                    </a:lnTo>
                    <a:close/>
                    <a:moveTo>
                      <a:pt x="275" y="306"/>
                    </a:moveTo>
                    <a:lnTo>
                      <a:pt x="277" y="306"/>
                    </a:lnTo>
                    <a:lnTo>
                      <a:pt x="275" y="306"/>
                    </a:lnTo>
                    <a:close/>
                    <a:moveTo>
                      <a:pt x="221" y="229"/>
                    </a:moveTo>
                    <a:lnTo>
                      <a:pt x="221" y="231"/>
                    </a:lnTo>
                    <a:lnTo>
                      <a:pt x="221" y="229"/>
                    </a:lnTo>
                    <a:close/>
                    <a:moveTo>
                      <a:pt x="217" y="220"/>
                    </a:moveTo>
                    <a:lnTo>
                      <a:pt x="217" y="222"/>
                    </a:lnTo>
                    <a:lnTo>
                      <a:pt x="217" y="220"/>
                    </a:lnTo>
                    <a:close/>
                    <a:moveTo>
                      <a:pt x="145" y="245"/>
                    </a:moveTo>
                    <a:lnTo>
                      <a:pt x="147" y="245"/>
                    </a:lnTo>
                    <a:lnTo>
                      <a:pt x="145" y="245"/>
                    </a:lnTo>
                    <a:close/>
                    <a:moveTo>
                      <a:pt x="196" y="227"/>
                    </a:moveTo>
                    <a:lnTo>
                      <a:pt x="198" y="227"/>
                    </a:lnTo>
                    <a:lnTo>
                      <a:pt x="196" y="227"/>
                    </a:lnTo>
                    <a:close/>
                    <a:moveTo>
                      <a:pt x="257" y="233"/>
                    </a:moveTo>
                    <a:lnTo>
                      <a:pt x="259" y="233"/>
                    </a:lnTo>
                    <a:lnTo>
                      <a:pt x="257" y="233"/>
                    </a:lnTo>
                    <a:close/>
                    <a:moveTo>
                      <a:pt x="170" y="233"/>
                    </a:moveTo>
                    <a:lnTo>
                      <a:pt x="170" y="235"/>
                    </a:lnTo>
                    <a:lnTo>
                      <a:pt x="170" y="233"/>
                    </a:lnTo>
                    <a:close/>
                    <a:moveTo>
                      <a:pt x="162" y="233"/>
                    </a:moveTo>
                    <a:lnTo>
                      <a:pt x="162" y="235"/>
                    </a:lnTo>
                    <a:lnTo>
                      <a:pt x="162" y="233"/>
                    </a:lnTo>
                    <a:close/>
                    <a:moveTo>
                      <a:pt x="179" y="226"/>
                    </a:moveTo>
                    <a:lnTo>
                      <a:pt x="179" y="227"/>
                    </a:lnTo>
                    <a:lnTo>
                      <a:pt x="179" y="226"/>
                    </a:lnTo>
                    <a:close/>
                    <a:moveTo>
                      <a:pt x="164" y="231"/>
                    </a:moveTo>
                    <a:lnTo>
                      <a:pt x="164" y="233"/>
                    </a:lnTo>
                    <a:lnTo>
                      <a:pt x="164" y="231"/>
                    </a:lnTo>
                    <a:close/>
                    <a:moveTo>
                      <a:pt x="158" y="235"/>
                    </a:moveTo>
                    <a:lnTo>
                      <a:pt x="158" y="237"/>
                    </a:lnTo>
                    <a:lnTo>
                      <a:pt x="158" y="235"/>
                    </a:lnTo>
                    <a:close/>
                    <a:moveTo>
                      <a:pt x="265" y="256"/>
                    </a:moveTo>
                    <a:lnTo>
                      <a:pt x="267" y="256"/>
                    </a:lnTo>
                    <a:lnTo>
                      <a:pt x="265" y="256"/>
                    </a:lnTo>
                    <a:close/>
                    <a:moveTo>
                      <a:pt x="134" y="229"/>
                    </a:moveTo>
                    <a:lnTo>
                      <a:pt x="135" y="229"/>
                    </a:lnTo>
                    <a:lnTo>
                      <a:pt x="134" y="229"/>
                    </a:lnTo>
                    <a:close/>
                    <a:moveTo>
                      <a:pt x="105" y="254"/>
                    </a:moveTo>
                    <a:lnTo>
                      <a:pt x="105" y="256"/>
                    </a:lnTo>
                    <a:lnTo>
                      <a:pt x="105" y="254"/>
                    </a:lnTo>
                    <a:close/>
                    <a:moveTo>
                      <a:pt x="109" y="246"/>
                    </a:moveTo>
                    <a:lnTo>
                      <a:pt x="111" y="246"/>
                    </a:lnTo>
                    <a:lnTo>
                      <a:pt x="111" y="248"/>
                    </a:lnTo>
                    <a:lnTo>
                      <a:pt x="109" y="248"/>
                    </a:lnTo>
                    <a:lnTo>
                      <a:pt x="109" y="246"/>
                    </a:lnTo>
                    <a:close/>
                    <a:moveTo>
                      <a:pt x="149" y="254"/>
                    </a:moveTo>
                    <a:lnTo>
                      <a:pt x="151" y="254"/>
                    </a:lnTo>
                    <a:lnTo>
                      <a:pt x="149" y="254"/>
                    </a:lnTo>
                    <a:close/>
                    <a:moveTo>
                      <a:pt x="151" y="239"/>
                    </a:moveTo>
                    <a:lnTo>
                      <a:pt x="153" y="239"/>
                    </a:lnTo>
                    <a:lnTo>
                      <a:pt x="153" y="241"/>
                    </a:lnTo>
                    <a:lnTo>
                      <a:pt x="151" y="241"/>
                    </a:lnTo>
                    <a:lnTo>
                      <a:pt x="151" y="239"/>
                    </a:lnTo>
                    <a:close/>
                    <a:moveTo>
                      <a:pt x="175" y="231"/>
                    </a:moveTo>
                    <a:lnTo>
                      <a:pt x="177" y="231"/>
                    </a:lnTo>
                    <a:lnTo>
                      <a:pt x="177" y="233"/>
                    </a:lnTo>
                    <a:lnTo>
                      <a:pt x="175" y="233"/>
                    </a:lnTo>
                    <a:lnTo>
                      <a:pt x="175" y="231"/>
                    </a:lnTo>
                    <a:close/>
                    <a:moveTo>
                      <a:pt x="175" y="229"/>
                    </a:moveTo>
                    <a:lnTo>
                      <a:pt x="175" y="231"/>
                    </a:lnTo>
                    <a:lnTo>
                      <a:pt x="175" y="229"/>
                    </a:lnTo>
                    <a:close/>
                    <a:moveTo>
                      <a:pt x="162" y="231"/>
                    </a:moveTo>
                    <a:lnTo>
                      <a:pt x="162" y="233"/>
                    </a:lnTo>
                    <a:lnTo>
                      <a:pt x="162" y="231"/>
                    </a:lnTo>
                    <a:close/>
                    <a:moveTo>
                      <a:pt x="177" y="227"/>
                    </a:moveTo>
                    <a:lnTo>
                      <a:pt x="179" y="227"/>
                    </a:lnTo>
                    <a:lnTo>
                      <a:pt x="177" y="227"/>
                    </a:lnTo>
                    <a:close/>
                    <a:moveTo>
                      <a:pt x="172" y="231"/>
                    </a:moveTo>
                    <a:lnTo>
                      <a:pt x="174" y="231"/>
                    </a:lnTo>
                    <a:lnTo>
                      <a:pt x="174" y="233"/>
                    </a:lnTo>
                    <a:lnTo>
                      <a:pt x="172" y="233"/>
                    </a:lnTo>
                    <a:lnTo>
                      <a:pt x="172" y="231"/>
                    </a:lnTo>
                    <a:close/>
                    <a:moveTo>
                      <a:pt x="158" y="233"/>
                    </a:moveTo>
                    <a:lnTo>
                      <a:pt x="158" y="235"/>
                    </a:lnTo>
                    <a:lnTo>
                      <a:pt x="158" y="233"/>
                    </a:lnTo>
                    <a:close/>
                    <a:moveTo>
                      <a:pt x="134" y="287"/>
                    </a:moveTo>
                    <a:lnTo>
                      <a:pt x="135" y="287"/>
                    </a:lnTo>
                    <a:lnTo>
                      <a:pt x="134" y="287"/>
                    </a:lnTo>
                    <a:close/>
                    <a:moveTo>
                      <a:pt x="267" y="208"/>
                    </a:moveTo>
                    <a:lnTo>
                      <a:pt x="269" y="208"/>
                    </a:lnTo>
                    <a:lnTo>
                      <a:pt x="267" y="208"/>
                    </a:lnTo>
                    <a:close/>
                    <a:moveTo>
                      <a:pt x="80" y="380"/>
                    </a:moveTo>
                    <a:lnTo>
                      <a:pt x="80" y="382"/>
                    </a:lnTo>
                    <a:lnTo>
                      <a:pt x="80" y="380"/>
                    </a:lnTo>
                    <a:close/>
                    <a:moveTo>
                      <a:pt x="143" y="243"/>
                    </a:moveTo>
                    <a:lnTo>
                      <a:pt x="145" y="243"/>
                    </a:lnTo>
                    <a:lnTo>
                      <a:pt x="143" y="243"/>
                    </a:lnTo>
                    <a:close/>
                    <a:moveTo>
                      <a:pt x="158" y="235"/>
                    </a:moveTo>
                    <a:lnTo>
                      <a:pt x="158" y="237"/>
                    </a:lnTo>
                    <a:lnTo>
                      <a:pt x="158" y="235"/>
                    </a:lnTo>
                    <a:close/>
                    <a:moveTo>
                      <a:pt x="78" y="382"/>
                    </a:moveTo>
                    <a:lnTo>
                      <a:pt x="80" y="382"/>
                    </a:lnTo>
                    <a:lnTo>
                      <a:pt x="78" y="382"/>
                    </a:lnTo>
                    <a:close/>
                    <a:moveTo>
                      <a:pt x="168" y="233"/>
                    </a:moveTo>
                    <a:lnTo>
                      <a:pt x="170" y="233"/>
                    </a:lnTo>
                    <a:lnTo>
                      <a:pt x="168" y="233"/>
                    </a:lnTo>
                    <a:close/>
                    <a:moveTo>
                      <a:pt x="71" y="382"/>
                    </a:moveTo>
                    <a:lnTo>
                      <a:pt x="71" y="384"/>
                    </a:lnTo>
                    <a:lnTo>
                      <a:pt x="71" y="382"/>
                    </a:lnTo>
                    <a:close/>
                    <a:moveTo>
                      <a:pt x="288" y="153"/>
                    </a:moveTo>
                    <a:lnTo>
                      <a:pt x="290" y="153"/>
                    </a:lnTo>
                    <a:lnTo>
                      <a:pt x="290" y="155"/>
                    </a:lnTo>
                    <a:lnTo>
                      <a:pt x="288" y="155"/>
                    </a:lnTo>
                    <a:lnTo>
                      <a:pt x="288" y="153"/>
                    </a:lnTo>
                    <a:close/>
                    <a:moveTo>
                      <a:pt x="267" y="206"/>
                    </a:moveTo>
                    <a:lnTo>
                      <a:pt x="267" y="208"/>
                    </a:lnTo>
                    <a:lnTo>
                      <a:pt x="267" y="206"/>
                    </a:lnTo>
                    <a:close/>
                    <a:moveTo>
                      <a:pt x="191" y="233"/>
                    </a:moveTo>
                    <a:lnTo>
                      <a:pt x="193" y="233"/>
                    </a:lnTo>
                    <a:lnTo>
                      <a:pt x="193" y="235"/>
                    </a:lnTo>
                    <a:lnTo>
                      <a:pt x="191" y="235"/>
                    </a:lnTo>
                    <a:lnTo>
                      <a:pt x="191" y="233"/>
                    </a:lnTo>
                    <a:close/>
                    <a:moveTo>
                      <a:pt x="95" y="258"/>
                    </a:moveTo>
                    <a:lnTo>
                      <a:pt x="97" y="258"/>
                    </a:lnTo>
                    <a:lnTo>
                      <a:pt x="95" y="258"/>
                    </a:lnTo>
                    <a:close/>
                    <a:moveTo>
                      <a:pt x="267" y="206"/>
                    </a:moveTo>
                    <a:lnTo>
                      <a:pt x="267" y="208"/>
                    </a:lnTo>
                    <a:lnTo>
                      <a:pt x="267" y="206"/>
                    </a:lnTo>
                    <a:close/>
                    <a:moveTo>
                      <a:pt x="97" y="258"/>
                    </a:moveTo>
                    <a:lnTo>
                      <a:pt x="97" y="260"/>
                    </a:lnTo>
                    <a:lnTo>
                      <a:pt x="97" y="258"/>
                    </a:lnTo>
                    <a:close/>
                    <a:moveTo>
                      <a:pt x="223" y="226"/>
                    </a:moveTo>
                    <a:lnTo>
                      <a:pt x="223" y="227"/>
                    </a:lnTo>
                    <a:lnTo>
                      <a:pt x="223" y="226"/>
                    </a:lnTo>
                    <a:close/>
                    <a:moveTo>
                      <a:pt x="69" y="382"/>
                    </a:moveTo>
                    <a:lnTo>
                      <a:pt x="69" y="384"/>
                    </a:lnTo>
                    <a:lnTo>
                      <a:pt x="69" y="382"/>
                    </a:lnTo>
                    <a:close/>
                    <a:moveTo>
                      <a:pt x="191" y="233"/>
                    </a:moveTo>
                    <a:lnTo>
                      <a:pt x="191" y="235"/>
                    </a:lnTo>
                    <a:lnTo>
                      <a:pt x="191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3" name="Freeform 152">
                <a:extLst>
                  <a:ext uri="{FF2B5EF4-FFF2-40B4-BE49-F238E27FC236}">
                    <a16:creationId xmlns:a16="http://schemas.microsoft.com/office/drawing/2014/main" id="{51414058-9E9B-B0B7-0E4A-6932279F600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17229" y="-2961065"/>
                <a:ext cx="155983" cy="165748"/>
              </a:xfrm>
              <a:custGeom>
                <a:avLst/>
                <a:gdLst>
                  <a:gd name="T0" fmla="*/ 76 w 99"/>
                  <a:gd name="T1" fmla="*/ 44 h 105"/>
                  <a:gd name="T2" fmla="*/ 76 w 99"/>
                  <a:gd name="T3" fmla="*/ 48 h 105"/>
                  <a:gd name="T4" fmla="*/ 76 w 99"/>
                  <a:gd name="T5" fmla="*/ 61 h 105"/>
                  <a:gd name="T6" fmla="*/ 70 w 99"/>
                  <a:gd name="T7" fmla="*/ 71 h 105"/>
                  <a:gd name="T8" fmla="*/ 65 w 99"/>
                  <a:gd name="T9" fmla="*/ 71 h 105"/>
                  <a:gd name="T10" fmla="*/ 61 w 99"/>
                  <a:gd name="T11" fmla="*/ 71 h 105"/>
                  <a:gd name="T12" fmla="*/ 59 w 99"/>
                  <a:gd name="T13" fmla="*/ 73 h 105"/>
                  <a:gd name="T14" fmla="*/ 49 w 99"/>
                  <a:gd name="T15" fmla="*/ 73 h 105"/>
                  <a:gd name="T16" fmla="*/ 45 w 99"/>
                  <a:gd name="T17" fmla="*/ 77 h 105"/>
                  <a:gd name="T18" fmla="*/ 45 w 99"/>
                  <a:gd name="T19" fmla="*/ 80 h 105"/>
                  <a:gd name="T20" fmla="*/ 42 w 99"/>
                  <a:gd name="T21" fmla="*/ 78 h 105"/>
                  <a:gd name="T22" fmla="*/ 36 w 99"/>
                  <a:gd name="T23" fmla="*/ 82 h 105"/>
                  <a:gd name="T24" fmla="*/ 28 w 99"/>
                  <a:gd name="T25" fmla="*/ 82 h 105"/>
                  <a:gd name="T26" fmla="*/ 28 w 99"/>
                  <a:gd name="T27" fmla="*/ 77 h 105"/>
                  <a:gd name="T28" fmla="*/ 26 w 99"/>
                  <a:gd name="T29" fmla="*/ 77 h 105"/>
                  <a:gd name="T30" fmla="*/ 26 w 99"/>
                  <a:gd name="T31" fmla="*/ 73 h 105"/>
                  <a:gd name="T32" fmla="*/ 28 w 99"/>
                  <a:gd name="T33" fmla="*/ 69 h 105"/>
                  <a:gd name="T34" fmla="*/ 30 w 99"/>
                  <a:gd name="T35" fmla="*/ 57 h 105"/>
                  <a:gd name="T36" fmla="*/ 34 w 99"/>
                  <a:gd name="T37" fmla="*/ 52 h 105"/>
                  <a:gd name="T38" fmla="*/ 28 w 99"/>
                  <a:gd name="T39" fmla="*/ 42 h 105"/>
                  <a:gd name="T40" fmla="*/ 26 w 99"/>
                  <a:gd name="T41" fmla="*/ 38 h 105"/>
                  <a:gd name="T42" fmla="*/ 26 w 99"/>
                  <a:gd name="T43" fmla="*/ 35 h 105"/>
                  <a:gd name="T44" fmla="*/ 34 w 99"/>
                  <a:gd name="T45" fmla="*/ 35 h 105"/>
                  <a:gd name="T46" fmla="*/ 32 w 99"/>
                  <a:gd name="T47" fmla="*/ 29 h 105"/>
                  <a:gd name="T48" fmla="*/ 30 w 99"/>
                  <a:gd name="T49" fmla="*/ 29 h 105"/>
                  <a:gd name="T50" fmla="*/ 32 w 99"/>
                  <a:gd name="T51" fmla="*/ 23 h 105"/>
                  <a:gd name="T52" fmla="*/ 36 w 99"/>
                  <a:gd name="T53" fmla="*/ 8 h 105"/>
                  <a:gd name="T54" fmla="*/ 57 w 99"/>
                  <a:gd name="T55" fmla="*/ 2 h 105"/>
                  <a:gd name="T56" fmla="*/ 70 w 99"/>
                  <a:gd name="T57" fmla="*/ 17 h 105"/>
                  <a:gd name="T58" fmla="*/ 25 w 99"/>
                  <a:gd name="T59" fmla="*/ 103 h 105"/>
                  <a:gd name="T60" fmla="*/ 63 w 99"/>
                  <a:gd name="T61" fmla="*/ 75 h 105"/>
                  <a:gd name="T62" fmla="*/ 65 w 99"/>
                  <a:gd name="T63" fmla="*/ 71 h 105"/>
                  <a:gd name="T64" fmla="*/ 26 w 99"/>
                  <a:gd name="T65" fmla="*/ 84 h 105"/>
                  <a:gd name="T66" fmla="*/ 28 w 99"/>
                  <a:gd name="T67" fmla="*/ 19 h 105"/>
                  <a:gd name="T68" fmla="*/ 51 w 99"/>
                  <a:gd name="T69" fmla="*/ 77 h 105"/>
                  <a:gd name="T70" fmla="*/ 32 w 99"/>
                  <a:gd name="T71" fmla="*/ 82 h 105"/>
                  <a:gd name="T72" fmla="*/ 53 w 99"/>
                  <a:gd name="T73" fmla="*/ 73 h 105"/>
                  <a:gd name="T74" fmla="*/ 21 w 99"/>
                  <a:gd name="T75" fmla="*/ 73 h 105"/>
                  <a:gd name="T76" fmla="*/ 23 w 99"/>
                  <a:gd name="T77" fmla="*/ 77 h 105"/>
                  <a:gd name="T78" fmla="*/ 26 w 99"/>
                  <a:gd name="T79" fmla="*/ 17 h 105"/>
                  <a:gd name="T80" fmla="*/ 23 w 99"/>
                  <a:gd name="T81" fmla="*/ 73 h 105"/>
                  <a:gd name="T82" fmla="*/ 23 w 99"/>
                  <a:gd name="T83" fmla="*/ 80 h 105"/>
                  <a:gd name="T84" fmla="*/ 25 w 99"/>
                  <a:gd name="T85" fmla="*/ 78 h 105"/>
                  <a:gd name="T86" fmla="*/ 21 w 99"/>
                  <a:gd name="T87" fmla="*/ 84 h 105"/>
                  <a:gd name="T88" fmla="*/ 23 w 99"/>
                  <a:gd name="T89" fmla="*/ 80 h 105"/>
                  <a:gd name="T90" fmla="*/ 23 w 99"/>
                  <a:gd name="T91" fmla="*/ 77 h 105"/>
                  <a:gd name="T92" fmla="*/ 0 w 99"/>
                  <a:gd name="T93" fmla="*/ 15 h 105"/>
                  <a:gd name="T94" fmla="*/ 7 w 99"/>
                  <a:gd name="T95" fmla="*/ 88 h 105"/>
                  <a:gd name="T96" fmla="*/ 26 w 99"/>
                  <a:gd name="T97" fmla="*/ 21 h 105"/>
                  <a:gd name="T98" fmla="*/ 9 w 99"/>
                  <a:gd name="T99" fmla="*/ 78 h 105"/>
                  <a:gd name="T100" fmla="*/ 26 w 99"/>
                  <a:gd name="T101" fmla="*/ 77 h 105"/>
                  <a:gd name="T102" fmla="*/ 36 w 99"/>
                  <a:gd name="T103" fmla="*/ 92 h 105"/>
                  <a:gd name="T104" fmla="*/ 49 w 99"/>
                  <a:gd name="T105" fmla="*/ 80 h 105"/>
                  <a:gd name="T106" fmla="*/ 26 w 99"/>
                  <a:gd name="T107" fmla="*/ 44 h 105"/>
                  <a:gd name="T108" fmla="*/ 25 w 99"/>
                  <a:gd name="T109" fmla="*/ 71 h 105"/>
                  <a:gd name="T110" fmla="*/ 32 w 99"/>
                  <a:gd name="T111" fmla="*/ 23 h 105"/>
                  <a:gd name="T112" fmla="*/ 45 w 99"/>
                  <a:gd name="T113" fmla="*/ 75 h 105"/>
                  <a:gd name="T114" fmla="*/ 9 w 99"/>
                  <a:gd name="T115" fmla="*/ 84 h 105"/>
                  <a:gd name="T116" fmla="*/ 38 w 99"/>
                  <a:gd name="T117" fmla="*/ 78 h 105"/>
                  <a:gd name="T118" fmla="*/ 23 w 99"/>
                  <a:gd name="T119" fmla="*/ 67 h 105"/>
                  <a:gd name="T120" fmla="*/ 23 w 99"/>
                  <a:gd name="T121" fmla="*/ 84 h 105"/>
                  <a:gd name="T122" fmla="*/ 68 w 99"/>
                  <a:gd name="T123" fmla="*/ 71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9" h="105">
                    <a:moveTo>
                      <a:pt x="72" y="23"/>
                    </a:moveTo>
                    <a:lnTo>
                      <a:pt x="72" y="25"/>
                    </a:lnTo>
                    <a:lnTo>
                      <a:pt x="74" y="25"/>
                    </a:lnTo>
                    <a:lnTo>
                      <a:pt x="74" y="27"/>
                    </a:lnTo>
                    <a:lnTo>
                      <a:pt x="74" y="29"/>
                    </a:lnTo>
                    <a:lnTo>
                      <a:pt x="74" y="31"/>
                    </a:lnTo>
                    <a:lnTo>
                      <a:pt x="76" y="31"/>
                    </a:lnTo>
                    <a:lnTo>
                      <a:pt x="76" y="33"/>
                    </a:lnTo>
                    <a:lnTo>
                      <a:pt x="76" y="35"/>
                    </a:lnTo>
                    <a:lnTo>
                      <a:pt x="76" y="36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2"/>
                    </a:lnTo>
                    <a:lnTo>
                      <a:pt x="76" y="44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6" y="46"/>
                    </a:lnTo>
                    <a:lnTo>
                      <a:pt x="74" y="46"/>
                    </a:lnTo>
                    <a:lnTo>
                      <a:pt x="76" y="46"/>
                    </a:lnTo>
                    <a:lnTo>
                      <a:pt x="76" y="48"/>
                    </a:lnTo>
                    <a:lnTo>
                      <a:pt x="74" y="48"/>
                    </a:lnTo>
                    <a:lnTo>
                      <a:pt x="76" y="48"/>
                    </a:lnTo>
                    <a:lnTo>
                      <a:pt x="76" y="50"/>
                    </a:lnTo>
                    <a:lnTo>
                      <a:pt x="74" y="52"/>
                    </a:lnTo>
                    <a:lnTo>
                      <a:pt x="76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6"/>
                    </a:lnTo>
                    <a:lnTo>
                      <a:pt x="76" y="56"/>
                    </a:lnTo>
                    <a:lnTo>
                      <a:pt x="76" y="57"/>
                    </a:lnTo>
                    <a:lnTo>
                      <a:pt x="76" y="59"/>
                    </a:lnTo>
                    <a:lnTo>
                      <a:pt x="76" y="61"/>
                    </a:lnTo>
                    <a:lnTo>
                      <a:pt x="74" y="61"/>
                    </a:lnTo>
                    <a:lnTo>
                      <a:pt x="76" y="61"/>
                    </a:lnTo>
                    <a:lnTo>
                      <a:pt x="74" y="61"/>
                    </a:lnTo>
                    <a:lnTo>
                      <a:pt x="76" y="61"/>
                    </a:lnTo>
                    <a:lnTo>
                      <a:pt x="74" y="61"/>
                    </a:lnTo>
                    <a:lnTo>
                      <a:pt x="74" y="63"/>
                    </a:lnTo>
                    <a:lnTo>
                      <a:pt x="74" y="61"/>
                    </a:lnTo>
                    <a:lnTo>
                      <a:pt x="74" y="63"/>
                    </a:lnTo>
                    <a:lnTo>
                      <a:pt x="74" y="65"/>
                    </a:lnTo>
                    <a:lnTo>
                      <a:pt x="72" y="65"/>
                    </a:lnTo>
                    <a:lnTo>
                      <a:pt x="74" y="65"/>
                    </a:lnTo>
                    <a:lnTo>
                      <a:pt x="72" y="67"/>
                    </a:lnTo>
                    <a:lnTo>
                      <a:pt x="72" y="69"/>
                    </a:lnTo>
                    <a:lnTo>
                      <a:pt x="70" y="69"/>
                    </a:lnTo>
                    <a:lnTo>
                      <a:pt x="68" y="69"/>
                    </a:lnTo>
                    <a:lnTo>
                      <a:pt x="70" y="71"/>
                    </a:lnTo>
                    <a:lnTo>
                      <a:pt x="68" y="71"/>
                    </a:lnTo>
                    <a:lnTo>
                      <a:pt x="68" y="69"/>
                    </a:lnTo>
                    <a:lnTo>
                      <a:pt x="68" y="71"/>
                    </a:lnTo>
                    <a:lnTo>
                      <a:pt x="68" y="69"/>
                    </a:lnTo>
                    <a:lnTo>
                      <a:pt x="66" y="69"/>
                    </a:lnTo>
                    <a:lnTo>
                      <a:pt x="66" y="71"/>
                    </a:lnTo>
                    <a:lnTo>
                      <a:pt x="66" y="69"/>
                    </a:lnTo>
                    <a:lnTo>
                      <a:pt x="66" y="71"/>
                    </a:lnTo>
                    <a:lnTo>
                      <a:pt x="66" y="69"/>
                    </a:lnTo>
                    <a:lnTo>
                      <a:pt x="65" y="69"/>
                    </a:lnTo>
                    <a:lnTo>
                      <a:pt x="66" y="69"/>
                    </a:lnTo>
                    <a:lnTo>
                      <a:pt x="65" y="71"/>
                    </a:lnTo>
                    <a:lnTo>
                      <a:pt x="65" y="69"/>
                    </a:lnTo>
                    <a:lnTo>
                      <a:pt x="65" y="71"/>
                    </a:lnTo>
                    <a:lnTo>
                      <a:pt x="65" y="69"/>
                    </a:lnTo>
                    <a:lnTo>
                      <a:pt x="63" y="69"/>
                    </a:lnTo>
                    <a:lnTo>
                      <a:pt x="63" y="67"/>
                    </a:lnTo>
                    <a:lnTo>
                      <a:pt x="63" y="69"/>
                    </a:lnTo>
                    <a:lnTo>
                      <a:pt x="63" y="71"/>
                    </a:lnTo>
                    <a:lnTo>
                      <a:pt x="63" y="69"/>
                    </a:lnTo>
                    <a:lnTo>
                      <a:pt x="61" y="69"/>
                    </a:lnTo>
                    <a:lnTo>
                      <a:pt x="61" y="71"/>
                    </a:lnTo>
                    <a:lnTo>
                      <a:pt x="59" y="71"/>
                    </a:lnTo>
                    <a:lnTo>
                      <a:pt x="61" y="71"/>
                    </a:lnTo>
                    <a:lnTo>
                      <a:pt x="61" y="69"/>
                    </a:lnTo>
                    <a:lnTo>
                      <a:pt x="61" y="71"/>
                    </a:lnTo>
                    <a:lnTo>
                      <a:pt x="59" y="71"/>
                    </a:lnTo>
                    <a:lnTo>
                      <a:pt x="61" y="71"/>
                    </a:lnTo>
                    <a:lnTo>
                      <a:pt x="59" y="73"/>
                    </a:lnTo>
                    <a:lnTo>
                      <a:pt x="61" y="75"/>
                    </a:lnTo>
                    <a:lnTo>
                      <a:pt x="61" y="73"/>
                    </a:lnTo>
                    <a:lnTo>
                      <a:pt x="61" y="75"/>
                    </a:lnTo>
                    <a:lnTo>
                      <a:pt x="61" y="73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5" y="73"/>
                    </a:lnTo>
                    <a:lnTo>
                      <a:pt x="53" y="73"/>
                    </a:lnTo>
                    <a:lnTo>
                      <a:pt x="53" y="71"/>
                    </a:lnTo>
                    <a:lnTo>
                      <a:pt x="55" y="69"/>
                    </a:lnTo>
                    <a:lnTo>
                      <a:pt x="53" y="69"/>
                    </a:lnTo>
                    <a:lnTo>
                      <a:pt x="53" y="71"/>
                    </a:lnTo>
                    <a:lnTo>
                      <a:pt x="51" y="71"/>
                    </a:lnTo>
                    <a:lnTo>
                      <a:pt x="53" y="71"/>
                    </a:lnTo>
                    <a:lnTo>
                      <a:pt x="51" y="71"/>
                    </a:lnTo>
                    <a:lnTo>
                      <a:pt x="51" y="73"/>
                    </a:lnTo>
                    <a:lnTo>
                      <a:pt x="49" y="73"/>
                    </a:lnTo>
                    <a:lnTo>
                      <a:pt x="49" y="71"/>
                    </a:lnTo>
                    <a:lnTo>
                      <a:pt x="49" y="73"/>
                    </a:lnTo>
                    <a:lnTo>
                      <a:pt x="47" y="73"/>
                    </a:lnTo>
                    <a:lnTo>
                      <a:pt x="45" y="73"/>
                    </a:lnTo>
                    <a:lnTo>
                      <a:pt x="47" y="73"/>
                    </a:lnTo>
                    <a:lnTo>
                      <a:pt x="47" y="75"/>
                    </a:lnTo>
                    <a:lnTo>
                      <a:pt x="49" y="75"/>
                    </a:lnTo>
                    <a:lnTo>
                      <a:pt x="49" y="77"/>
                    </a:lnTo>
                    <a:lnTo>
                      <a:pt x="47" y="77"/>
                    </a:lnTo>
                    <a:lnTo>
                      <a:pt x="47" y="78"/>
                    </a:lnTo>
                    <a:lnTo>
                      <a:pt x="45" y="78"/>
                    </a:lnTo>
                    <a:lnTo>
                      <a:pt x="47" y="78"/>
                    </a:lnTo>
                    <a:lnTo>
                      <a:pt x="45" y="78"/>
                    </a:lnTo>
                    <a:lnTo>
                      <a:pt x="45" y="77"/>
                    </a:lnTo>
                    <a:lnTo>
                      <a:pt x="47" y="77"/>
                    </a:lnTo>
                    <a:lnTo>
                      <a:pt x="45" y="77"/>
                    </a:lnTo>
                    <a:lnTo>
                      <a:pt x="47" y="77"/>
                    </a:lnTo>
                    <a:lnTo>
                      <a:pt x="45" y="77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5"/>
                    </a:lnTo>
                    <a:lnTo>
                      <a:pt x="44" y="75"/>
                    </a:lnTo>
                    <a:lnTo>
                      <a:pt x="44" y="77"/>
                    </a:lnTo>
                    <a:lnTo>
                      <a:pt x="44" y="78"/>
                    </a:lnTo>
                    <a:lnTo>
                      <a:pt x="45" y="78"/>
                    </a:lnTo>
                    <a:lnTo>
                      <a:pt x="45" y="80"/>
                    </a:lnTo>
                    <a:lnTo>
                      <a:pt x="45" y="78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4" y="82"/>
                    </a:lnTo>
                    <a:lnTo>
                      <a:pt x="44" y="80"/>
                    </a:lnTo>
                    <a:lnTo>
                      <a:pt x="44" y="82"/>
                    </a:lnTo>
                    <a:lnTo>
                      <a:pt x="44" y="80"/>
                    </a:lnTo>
                    <a:lnTo>
                      <a:pt x="42" y="82"/>
                    </a:lnTo>
                    <a:lnTo>
                      <a:pt x="42" y="80"/>
                    </a:lnTo>
                    <a:lnTo>
                      <a:pt x="40" y="80"/>
                    </a:lnTo>
                    <a:lnTo>
                      <a:pt x="40" y="78"/>
                    </a:lnTo>
                    <a:lnTo>
                      <a:pt x="42" y="78"/>
                    </a:lnTo>
                    <a:lnTo>
                      <a:pt x="42" y="77"/>
                    </a:lnTo>
                    <a:lnTo>
                      <a:pt x="42" y="78"/>
                    </a:lnTo>
                    <a:lnTo>
                      <a:pt x="44" y="77"/>
                    </a:lnTo>
                    <a:lnTo>
                      <a:pt x="42" y="77"/>
                    </a:lnTo>
                    <a:lnTo>
                      <a:pt x="40" y="77"/>
                    </a:lnTo>
                    <a:lnTo>
                      <a:pt x="38" y="78"/>
                    </a:lnTo>
                    <a:lnTo>
                      <a:pt x="36" y="78"/>
                    </a:lnTo>
                    <a:lnTo>
                      <a:pt x="38" y="78"/>
                    </a:lnTo>
                    <a:lnTo>
                      <a:pt x="36" y="80"/>
                    </a:lnTo>
                    <a:lnTo>
                      <a:pt x="38" y="80"/>
                    </a:lnTo>
                    <a:lnTo>
                      <a:pt x="36" y="80"/>
                    </a:lnTo>
                    <a:lnTo>
                      <a:pt x="36" y="82"/>
                    </a:lnTo>
                    <a:lnTo>
                      <a:pt x="36" y="80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4" y="78"/>
                    </a:lnTo>
                    <a:lnTo>
                      <a:pt x="34" y="80"/>
                    </a:lnTo>
                    <a:lnTo>
                      <a:pt x="32" y="80"/>
                    </a:lnTo>
                    <a:lnTo>
                      <a:pt x="34" y="80"/>
                    </a:lnTo>
                    <a:lnTo>
                      <a:pt x="34" y="82"/>
                    </a:lnTo>
                    <a:lnTo>
                      <a:pt x="32" y="82"/>
                    </a:lnTo>
                    <a:lnTo>
                      <a:pt x="30" y="82"/>
                    </a:lnTo>
                    <a:lnTo>
                      <a:pt x="30" y="84"/>
                    </a:lnTo>
                    <a:lnTo>
                      <a:pt x="28" y="84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28" y="82"/>
                    </a:lnTo>
                    <a:lnTo>
                      <a:pt x="28" y="80"/>
                    </a:lnTo>
                    <a:lnTo>
                      <a:pt x="26" y="80"/>
                    </a:lnTo>
                    <a:lnTo>
                      <a:pt x="28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5" y="78"/>
                    </a:lnTo>
                    <a:lnTo>
                      <a:pt x="25" y="77"/>
                    </a:lnTo>
                    <a:lnTo>
                      <a:pt x="26" y="77"/>
                    </a:lnTo>
                    <a:lnTo>
                      <a:pt x="26" y="78"/>
                    </a:lnTo>
                    <a:lnTo>
                      <a:pt x="28" y="78"/>
                    </a:lnTo>
                    <a:lnTo>
                      <a:pt x="26" y="78"/>
                    </a:lnTo>
                    <a:lnTo>
                      <a:pt x="28" y="77"/>
                    </a:lnTo>
                    <a:lnTo>
                      <a:pt x="26" y="77"/>
                    </a:lnTo>
                    <a:lnTo>
                      <a:pt x="28" y="77"/>
                    </a:lnTo>
                    <a:lnTo>
                      <a:pt x="28" y="78"/>
                    </a:lnTo>
                    <a:lnTo>
                      <a:pt x="30" y="78"/>
                    </a:lnTo>
                    <a:lnTo>
                      <a:pt x="28" y="78"/>
                    </a:lnTo>
                    <a:lnTo>
                      <a:pt x="28" y="77"/>
                    </a:lnTo>
                    <a:lnTo>
                      <a:pt x="30" y="78"/>
                    </a:lnTo>
                    <a:lnTo>
                      <a:pt x="32" y="78"/>
                    </a:lnTo>
                    <a:lnTo>
                      <a:pt x="30" y="78"/>
                    </a:lnTo>
                    <a:lnTo>
                      <a:pt x="30" y="77"/>
                    </a:lnTo>
                    <a:lnTo>
                      <a:pt x="30" y="78"/>
                    </a:lnTo>
                    <a:lnTo>
                      <a:pt x="30" y="77"/>
                    </a:lnTo>
                    <a:lnTo>
                      <a:pt x="28" y="77"/>
                    </a:lnTo>
                    <a:lnTo>
                      <a:pt x="30" y="77"/>
                    </a:lnTo>
                    <a:lnTo>
                      <a:pt x="28" y="77"/>
                    </a:lnTo>
                    <a:lnTo>
                      <a:pt x="26" y="77"/>
                    </a:lnTo>
                    <a:lnTo>
                      <a:pt x="26" y="75"/>
                    </a:lnTo>
                    <a:lnTo>
                      <a:pt x="26" y="77"/>
                    </a:lnTo>
                    <a:lnTo>
                      <a:pt x="28" y="77"/>
                    </a:lnTo>
                    <a:lnTo>
                      <a:pt x="28" y="75"/>
                    </a:lnTo>
                    <a:lnTo>
                      <a:pt x="26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8" y="71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8" y="71"/>
                    </a:lnTo>
                    <a:lnTo>
                      <a:pt x="26" y="71"/>
                    </a:lnTo>
                    <a:lnTo>
                      <a:pt x="26" y="69"/>
                    </a:lnTo>
                    <a:lnTo>
                      <a:pt x="26" y="71"/>
                    </a:lnTo>
                    <a:lnTo>
                      <a:pt x="25" y="71"/>
                    </a:lnTo>
                    <a:lnTo>
                      <a:pt x="26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6" y="69"/>
                    </a:lnTo>
                    <a:lnTo>
                      <a:pt x="26" y="71"/>
                    </a:lnTo>
                    <a:lnTo>
                      <a:pt x="28" y="69"/>
                    </a:lnTo>
                    <a:lnTo>
                      <a:pt x="28" y="71"/>
                    </a:lnTo>
                    <a:lnTo>
                      <a:pt x="28" y="69"/>
                    </a:lnTo>
                    <a:lnTo>
                      <a:pt x="26" y="69"/>
                    </a:lnTo>
                    <a:lnTo>
                      <a:pt x="26" y="67"/>
                    </a:lnTo>
                    <a:lnTo>
                      <a:pt x="26" y="65"/>
                    </a:lnTo>
                    <a:lnTo>
                      <a:pt x="28" y="63"/>
                    </a:lnTo>
                    <a:lnTo>
                      <a:pt x="28" y="65"/>
                    </a:lnTo>
                    <a:lnTo>
                      <a:pt x="28" y="63"/>
                    </a:lnTo>
                    <a:lnTo>
                      <a:pt x="28" y="61"/>
                    </a:lnTo>
                    <a:lnTo>
                      <a:pt x="30" y="61"/>
                    </a:lnTo>
                    <a:lnTo>
                      <a:pt x="32" y="59"/>
                    </a:lnTo>
                    <a:lnTo>
                      <a:pt x="32" y="61"/>
                    </a:lnTo>
                    <a:lnTo>
                      <a:pt x="32" y="59"/>
                    </a:lnTo>
                    <a:lnTo>
                      <a:pt x="30" y="59"/>
                    </a:lnTo>
                    <a:lnTo>
                      <a:pt x="28" y="59"/>
                    </a:lnTo>
                    <a:lnTo>
                      <a:pt x="30" y="57"/>
                    </a:lnTo>
                    <a:lnTo>
                      <a:pt x="30" y="56"/>
                    </a:lnTo>
                    <a:lnTo>
                      <a:pt x="32" y="56"/>
                    </a:lnTo>
                    <a:lnTo>
                      <a:pt x="32" y="54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28" y="56"/>
                    </a:lnTo>
                    <a:lnTo>
                      <a:pt x="30" y="57"/>
                    </a:lnTo>
                    <a:lnTo>
                      <a:pt x="28" y="56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32" y="52"/>
                    </a:lnTo>
                    <a:lnTo>
                      <a:pt x="34" y="52"/>
                    </a:lnTo>
                    <a:lnTo>
                      <a:pt x="32" y="52"/>
                    </a:lnTo>
                    <a:lnTo>
                      <a:pt x="30" y="50"/>
                    </a:lnTo>
                    <a:lnTo>
                      <a:pt x="32" y="50"/>
                    </a:lnTo>
                    <a:lnTo>
                      <a:pt x="30" y="50"/>
                    </a:lnTo>
                    <a:lnTo>
                      <a:pt x="30" y="48"/>
                    </a:lnTo>
                    <a:lnTo>
                      <a:pt x="28" y="50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0" y="46"/>
                    </a:lnTo>
                    <a:lnTo>
                      <a:pt x="30" y="44"/>
                    </a:lnTo>
                    <a:lnTo>
                      <a:pt x="28" y="44"/>
                    </a:lnTo>
                    <a:lnTo>
                      <a:pt x="30" y="42"/>
                    </a:lnTo>
                    <a:lnTo>
                      <a:pt x="28" y="44"/>
                    </a:lnTo>
                    <a:lnTo>
                      <a:pt x="28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28" y="42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5" y="38"/>
                    </a:lnTo>
                    <a:lnTo>
                      <a:pt x="23" y="38"/>
                    </a:lnTo>
                    <a:lnTo>
                      <a:pt x="25" y="38"/>
                    </a:lnTo>
                    <a:lnTo>
                      <a:pt x="25" y="36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5" y="35"/>
                    </a:lnTo>
                    <a:lnTo>
                      <a:pt x="25" y="36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3"/>
                    </a:lnTo>
                    <a:lnTo>
                      <a:pt x="26" y="35"/>
                    </a:lnTo>
                    <a:lnTo>
                      <a:pt x="26" y="36"/>
                    </a:lnTo>
                    <a:lnTo>
                      <a:pt x="26" y="35"/>
                    </a:lnTo>
                    <a:lnTo>
                      <a:pt x="28" y="35"/>
                    </a:lnTo>
                    <a:lnTo>
                      <a:pt x="28" y="33"/>
                    </a:lnTo>
                    <a:lnTo>
                      <a:pt x="26" y="33"/>
                    </a:lnTo>
                    <a:lnTo>
                      <a:pt x="28" y="33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28" y="33"/>
                    </a:lnTo>
                    <a:lnTo>
                      <a:pt x="28" y="31"/>
                    </a:lnTo>
                    <a:lnTo>
                      <a:pt x="30" y="31"/>
                    </a:lnTo>
                    <a:lnTo>
                      <a:pt x="32" y="33"/>
                    </a:lnTo>
                    <a:lnTo>
                      <a:pt x="34" y="33"/>
                    </a:lnTo>
                    <a:lnTo>
                      <a:pt x="34" y="35"/>
                    </a:lnTo>
                    <a:lnTo>
                      <a:pt x="36" y="35"/>
                    </a:lnTo>
                    <a:lnTo>
                      <a:pt x="36" y="33"/>
                    </a:lnTo>
                    <a:lnTo>
                      <a:pt x="36" y="35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34" y="35"/>
                    </a:lnTo>
                    <a:lnTo>
                      <a:pt x="36" y="35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34" y="31"/>
                    </a:lnTo>
                    <a:lnTo>
                      <a:pt x="32" y="31"/>
                    </a:lnTo>
                    <a:lnTo>
                      <a:pt x="32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2" y="25"/>
                    </a:lnTo>
                    <a:lnTo>
                      <a:pt x="30" y="25"/>
                    </a:lnTo>
                    <a:lnTo>
                      <a:pt x="30" y="27"/>
                    </a:lnTo>
                    <a:lnTo>
                      <a:pt x="32" y="27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0" y="27"/>
                    </a:lnTo>
                    <a:lnTo>
                      <a:pt x="30" y="29"/>
                    </a:lnTo>
                    <a:lnTo>
                      <a:pt x="30" y="27"/>
                    </a:lnTo>
                    <a:lnTo>
                      <a:pt x="30" y="29"/>
                    </a:lnTo>
                    <a:lnTo>
                      <a:pt x="30" y="27"/>
                    </a:lnTo>
                    <a:lnTo>
                      <a:pt x="30" y="25"/>
                    </a:lnTo>
                    <a:lnTo>
                      <a:pt x="30" y="27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2" y="25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0" y="25"/>
                    </a:lnTo>
                    <a:lnTo>
                      <a:pt x="32" y="23"/>
                    </a:lnTo>
                    <a:lnTo>
                      <a:pt x="30" y="23"/>
                    </a:lnTo>
                    <a:lnTo>
                      <a:pt x="32" y="23"/>
                    </a:lnTo>
                    <a:lnTo>
                      <a:pt x="30" y="23"/>
                    </a:lnTo>
                    <a:lnTo>
                      <a:pt x="32" y="23"/>
                    </a:lnTo>
                    <a:lnTo>
                      <a:pt x="32" y="21"/>
                    </a:lnTo>
                    <a:lnTo>
                      <a:pt x="30" y="21"/>
                    </a:lnTo>
                    <a:lnTo>
                      <a:pt x="30" y="19"/>
                    </a:lnTo>
                    <a:lnTo>
                      <a:pt x="30" y="17"/>
                    </a:lnTo>
                    <a:lnTo>
                      <a:pt x="32" y="15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5" y="6"/>
                    </a:lnTo>
                    <a:lnTo>
                      <a:pt x="47" y="6"/>
                    </a:lnTo>
                    <a:lnTo>
                      <a:pt x="49" y="4"/>
                    </a:lnTo>
                    <a:lnTo>
                      <a:pt x="49" y="6"/>
                    </a:lnTo>
                    <a:lnTo>
                      <a:pt x="49" y="4"/>
                    </a:lnTo>
                    <a:lnTo>
                      <a:pt x="51" y="6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55" y="4"/>
                    </a:lnTo>
                    <a:lnTo>
                      <a:pt x="57" y="4"/>
                    </a:lnTo>
                    <a:lnTo>
                      <a:pt x="57" y="2"/>
                    </a:lnTo>
                    <a:lnTo>
                      <a:pt x="59" y="2"/>
                    </a:lnTo>
                    <a:lnTo>
                      <a:pt x="59" y="0"/>
                    </a:lnTo>
                    <a:lnTo>
                      <a:pt x="61" y="2"/>
                    </a:lnTo>
                    <a:lnTo>
                      <a:pt x="61" y="4"/>
                    </a:lnTo>
                    <a:lnTo>
                      <a:pt x="61" y="6"/>
                    </a:lnTo>
                    <a:lnTo>
                      <a:pt x="63" y="6"/>
                    </a:lnTo>
                    <a:lnTo>
                      <a:pt x="63" y="8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12"/>
                    </a:lnTo>
                    <a:lnTo>
                      <a:pt x="66" y="14"/>
                    </a:lnTo>
                    <a:lnTo>
                      <a:pt x="66" y="15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0" y="19"/>
                    </a:lnTo>
                    <a:lnTo>
                      <a:pt x="70" y="21"/>
                    </a:lnTo>
                    <a:lnTo>
                      <a:pt x="72" y="21"/>
                    </a:lnTo>
                    <a:lnTo>
                      <a:pt x="70" y="21"/>
                    </a:lnTo>
                    <a:lnTo>
                      <a:pt x="70" y="23"/>
                    </a:lnTo>
                    <a:lnTo>
                      <a:pt x="72" y="21"/>
                    </a:lnTo>
                    <a:lnTo>
                      <a:pt x="70" y="23"/>
                    </a:lnTo>
                    <a:lnTo>
                      <a:pt x="72" y="21"/>
                    </a:lnTo>
                    <a:lnTo>
                      <a:pt x="72" y="23"/>
                    </a:lnTo>
                    <a:close/>
                    <a:moveTo>
                      <a:pt x="30" y="105"/>
                    </a:moveTo>
                    <a:lnTo>
                      <a:pt x="28" y="105"/>
                    </a:lnTo>
                    <a:lnTo>
                      <a:pt x="26" y="105"/>
                    </a:lnTo>
                    <a:lnTo>
                      <a:pt x="25" y="105"/>
                    </a:lnTo>
                    <a:lnTo>
                      <a:pt x="25" y="103"/>
                    </a:lnTo>
                    <a:lnTo>
                      <a:pt x="25" y="101"/>
                    </a:lnTo>
                    <a:lnTo>
                      <a:pt x="26" y="101"/>
                    </a:lnTo>
                    <a:lnTo>
                      <a:pt x="28" y="99"/>
                    </a:lnTo>
                    <a:lnTo>
                      <a:pt x="32" y="99"/>
                    </a:lnTo>
                    <a:lnTo>
                      <a:pt x="34" y="99"/>
                    </a:lnTo>
                    <a:lnTo>
                      <a:pt x="36" y="99"/>
                    </a:lnTo>
                    <a:lnTo>
                      <a:pt x="36" y="101"/>
                    </a:lnTo>
                    <a:lnTo>
                      <a:pt x="36" y="103"/>
                    </a:lnTo>
                    <a:lnTo>
                      <a:pt x="34" y="103"/>
                    </a:lnTo>
                    <a:lnTo>
                      <a:pt x="34" y="105"/>
                    </a:lnTo>
                    <a:lnTo>
                      <a:pt x="32" y="105"/>
                    </a:lnTo>
                    <a:lnTo>
                      <a:pt x="30" y="105"/>
                    </a:lnTo>
                    <a:close/>
                    <a:moveTo>
                      <a:pt x="65" y="75"/>
                    </a:moveTo>
                    <a:lnTo>
                      <a:pt x="63" y="75"/>
                    </a:lnTo>
                    <a:lnTo>
                      <a:pt x="63" y="77"/>
                    </a:lnTo>
                    <a:lnTo>
                      <a:pt x="65" y="77"/>
                    </a:lnTo>
                    <a:lnTo>
                      <a:pt x="63" y="77"/>
                    </a:lnTo>
                    <a:lnTo>
                      <a:pt x="63" y="75"/>
                    </a:lnTo>
                    <a:lnTo>
                      <a:pt x="63" y="77"/>
                    </a:lnTo>
                    <a:lnTo>
                      <a:pt x="63" y="75"/>
                    </a:lnTo>
                    <a:lnTo>
                      <a:pt x="63" y="77"/>
                    </a:lnTo>
                    <a:lnTo>
                      <a:pt x="61" y="75"/>
                    </a:lnTo>
                    <a:lnTo>
                      <a:pt x="63" y="75"/>
                    </a:lnTo>
                    <a:lnTo>
                      <a:pt x="61" y="75"/>
                    </a:lnTo>
                    <a:lnTo>
                      <a:pt x="61" y="73"/>
                    </a:lnTo>
                    <a:lnTo>
                      <a:pt x="63" y="73"/>
                    </a:lnTo>
                    <a:lnTo>
                      <a:pt x="63" y="71"/>
                    </a:lnTo>
                    <a:lnTo>
                      <a:pt x="65" y="71"/>
                    </a:lnTo>
                    <a:lnTo>
                      <a:pt x="65" y="73"/>
                    </a:lnTo>
                    <a:lnTo>
                      <a:pt x="65" y="75"/>
                    </a:lnTo>
                    <a:lnTo>
                      <a:pt x="65" y="73"/>
                    </a:lnTo>
                    <a:lnTo>
                      <a:pt x="65" y="75"/>
                    </a:lnTo>
                    <a:lnTo>
                      <a:pt x="65" y="73"/>
                    </a:lnTo>
                    <a:lnTo>
                      <a:pt x="65" y="75"/>
                    </a:lnTo>
                    <a:close/>
                    <a:moveTo>
                      <a:pt x="25" y="78"/>
                    </a:moveTo>
                    <a:lnTo>
                      <a:pt x="26" y="78"/>
                    </a:lnTo>
                    <a:lnTo>
                      <a:pt x="26" y="80"/>
                    </a:lnTo>
                    <a:lnTo>
                      <a:pt x="28" y="80"/>
                    </a:lnTo>
                    <a:lnTo>
                      <a:pt x="26" y="82"/>
                    </a:lnTo>
                    <a:lnTo>
                      <a:pt x="26" y="84"/>
                    </a:lnTo>
                    <a:lnTo>
                      <a:pt x="26" y="82"/>
                    </a:lnTo>
                    <a:lnTo>
                      <a:pt x="26" y="84"/>
                    </a:lnTo>
                    <a:lnTo>
                      <a:pt x="25" y="84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5" y="80"/>
                    </a:lnTo>
                    <a:lnTo>
                      <a:pt x="25" y="78"/>
                    </a:lnTo>
                    <a:close/>
                    <a:moveTo>
                      <a:pt x="28" y="15"/>
                    </a:moveTo>
                    <a:lnTo>
                      <a:pt x="30" y="15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28" y="19"/>
                    </a:lnTo>
                    <a:lnTo>
                      <a:pt x="26" y="19"/>
                    </a:lnTo>
                    <a:lnTo>
                      <a:pt x="28" y="19"/>
                    </a:lnTo>
                    <a:lnTo>
                      <a:pt x="28" y="17"/>
                    </a:lnTo>
                    <a:lnTo>
                      <a:pt x="26" y="17"/>
                    </a:lnTo>
                    <a:lnTo>
                      <a:pt x="26" y="15"/>
                    </a:lnTo>
                    <a:lnTo>
                      <a:pt x="28" y="15"/>
                    </a:lnTo>
                    <a:close/>
                    <a:moveTo>
                      <a:pt x="51" y="73"/>
                    </a:moveTo>
                    <a:lnTo>
                      <a:pt x="51" y="75"/>
                    </a:lnTo>
                    <a:lnTo>
                      <a:pt x="53" y="75"/>
                    </a:lnTo>
                    <a:lnTo>
                      <a:pt x="55" y="75"/>
                    </a:lnTo>
                    <a:lnTo>
                      <a:pt x="53" y="75"/>
                    </a:lnTo>
                    <a:lnTo>
                      <a:pt x="53" y="77"/>
                    </a:lnTo>
                    <a:lnTo>
                      <a:pt x="55" y="77"/>
                    </a:lnTo>
                    <a:lnTo>
                      <a:pt x="53" y="77"/>
                    </a:lnTo>
                    <a:lnTo>
                      <a:pt x="53" y="75"/>
                    </a:lnTo>
                    <a:lnTo>
                      <a:pt x="51" y="77"/>
                    </a:lnTo>
                    <a:lnTo>
                      <a:pt x="51" y="75"/>
                    </a:lnTo>
                    <a:lnTo>
                      <a:pt x="49" y="75"/>
                    </a:lnTo>
                    <a:lnTo>
                      <a:pt x="51" y="73"/>
                    </a:lnTo>
                    <a:close/>
                    <a:moveTo>
                      <a:pt x="30" y="21"/>
                    </a:moveTo>
                    <a:lnTo>
                      <a:pt x="30" y="23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8" y="21"/>
                    </a:lnTo>
                    <a:lnTo>
                      <a:pt x="30" y="21"/>
                    </a:lnTo>
                    <a:close/>
                    <a:moveTo>
                      <a:pt x="32" y="82"/>
                    </a:moveTo>
                    <a:lnTo>
                      <a:pt x="34" y="82"/>
                    </a:lnTo>
                    <a:lnTo>
                      <a:pt x="34" y="84"/>
                    </a:lnTo>
                    <a:lnTo>
                      <a:pt x="32" y="84"/>
                    </a:lnTo>
                    <a:lnTo>
                      <a:pt x="32" y="82"/>
                    </a:lnTo>
                    <a:close/>
                    <a:moveTo>
                      <a:pt x="97" y="21"/>
                    </a:moveTo>
                    <a:lnTo>
                      <a:pt x="99" y="21"/>
                    </a:lnTo>
                    <a:lnTo>
                      <a:pt x="99" y="23"/>
                    </a:lnTo>
                    <a:lnTo>
                      <a:pt x="97" y="23"/>
                    </a:lnTo>
                    <a:lnTo>
                      <a:pt x="97" y="21"/>
                    </a:lnTo>
                    <a:close/>
                    <a:moveTo>
                      <a:pt x="49" y="77"/>
                    </a:moveTo>
                    <a:lnTo>
                      <a:pt x="49" y="78"/>
                    </a:lnTo>
                    <a:lnTo>
                      <a:pt x="49" y="77"/>
                    </a:lnTo>
                    <a:close/>
                    <a:moveTo>
                      <a:pt x="38" y="80"/>
                    </a:moveTo>
                    <a:lnTo>
                      <a:pt x="42" y="80"/>
                    </a:lnTo>
                    <a:lnTo>
                      <a:pt x="42" y="82"/>
                    </a:lnTo>
                    <a:lnTo>
                      <a:pt x="38" y="82"/>
                    </a:lnTo>
                    <a:lnTo>
                      <a:pt x="38" y="80"/>
                    </a:lnTo>
                    <a:close/>
                    <a:moveTo>
                      <a:pt x="53" y="73"/>
                    </a:moveTo>
                    <a:lnTo>
                      <a:pt x="55" y="73"/>
                    </a:lnTo>
                    <a:lnTo>
                      <a:pt x="55" y="75"/>
                    </a:lnTo>
                    <a:lnTo>
                      <a:pt x="53" y="75"/>
                    </a:lnTo>
                    <a:lnTo>
                      <a:pt x="53" y="73"/>
                    </a:lnTo>
                    <a:close/>
                    <a:moveTo>
                      <a:pt x="0" y="12"/>
                    </a:move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2"/>
                    </a:lnTo>
                    <a:close/>
                    <a:moveTo>
                      <a:pt x="21" y="73"/>
                    </a:moveTo>
                    <a:lnTo>
                      <a:pt x="23" y="73"/>
                    </a:lnTo>
                    <a:lnTo>
                      <a:pt x="23" y="75"/>
                    </a:lnTo>
                    <a:lnTo>
                      <a:pt x="21" y="75"/>
                    </a:lnTo>
                    <a:lnTo>
                      <a:pt x="21" y="73"/>
                    </a:lnTo>
                    <a:close/>
                    <a:moveTo>
                      <a:pt x="25" y="15"/>
                    </a:moveTo>
                    <a:lnTo>
                      <a:pt x="26" y="15"/>
                    </a:lnTo>
                    <a:lnTo>
                      <a:pt x="26" y="17"/>
                    </a:lnTo>
                    <a:lnTo>
                      <a:pt x="25" y="17"/>
                    </a:lnTo>
                    <a:lnTo>
                      <a:pt x="25" y="15"/>
                    </a:lnTo>
                    <a:close/>
                    <a:moveTo>
                      <a:pt x="25" y="73"/>
                    </a:moveTo>
                    <a:lnTo>
                      <a:pt x="26" y="73"/>
                    </a:lnTo>
                    <a:lnTo>
                      <a:pt x="26" y="75"/>
                    </a:lnTo>
                    <a:lnTo>
                      <a:pt x="25" y="75"/>
                    </a:lnTo>
                    <a:lnTo>
                      <a:pt x="25" y="73"/>
                    </a:lnTo>
                    <a:close/>
                    <a:moveTo>
                      <a:pt x="23" y="75"/>
                    </a:moveTo>
                    <a:lnTo>
                      <a:pt x="25" y="75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5"/>
                    </a:lnTo>
                    <a:close/>
                    <a:moveTo>
                      <a:pt x="19" y="75"/>
                    </a:moveTo>
                    <a:lnTo>
                      <a:pt x="21" y="75"/>
                    </a:lnTo>
                    <a:lnTo>
                      <a:pt x="21" y="77"/>
                    </a:lnTo>
                    <a:lnTo>
                      <a:pt x="19" y="77"/>
                    </a:lnTo>
                    <a:lnTo>
                      <a:pt x="19" y="75"/>
                    </a:lnTo>
                    <a:close/>
                    <a:moveTo>
                      <a:pt x="34" y="82"/>
                    </a:moveTo>
                    <a:lnTo>
                      <a:pt x="36" y="82"/>
                    </a:lnTo>
                    <a:lnTo>
                      <a:pt x="36" y="84"/>
                    </a:lnTo>
                    <a:lnTo>
                      <a:pt x="34" y="84"/>
                    </a:lnTo>
                    <a:lnTo>
                      <a:pt x="34" y="82"/>
                    </a:lnTo>
                    <a:close/>
                    <a:moveTo>
                      <a:pt x="26" y="17"/>
                    </a:moveTo>
                    <a:lnTo>
                      <a:pt x="26" y="19"/>
                    </a:lnTo>
                    <a:lnTo>
                      <a:pt x="26" y="17"/>
                    </a:lnTo>
                    <a:close/>
                    <a:moveTo>
                      <a:pt x="21" y="77"/>
                    </a:moveTo>
                    <a:lnTo>
                      <a:pt x="21" y="78"/>
                    </a:lnTo>
                    <a:lnTo>
                      <a:pt x="21" y="77"/>
                    </a:lnTo>
                    <a:close/>
                    <a:moveTo>
                      <a:pt x="23" y="69"/>
                    </a:moveTo>
                    <a:lnTo>
                      <a:pt x="25" y="69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69"/>
                    </a:lnTo>
                    <a:close/>
                    <a:moveTo>
                      <a:pt x="59" y="75"/>
                    </a:moveTo>
                    <a:lnTo>
                      <a:pt x="61" y="75"/>
                    </a:lnTo>
                    <a:lnTo>
                      <a:pt x="61" y="77"/>
                    </a:lnTo>
                    <a:lnTo>
                      <a:pt x="59" y="77"/>
                    </a:lnTo>
                    <a:lnTo>
                      <a:pt x="59" y="75"/>
                    </a:lnTo>
                    <a:close/>
                    <a:moveTo>
                      <a:pt x="23" y="73"/>
                    </a:moveTo>
                    <a:lnTo>
                      <a:pt x="25" y="73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3"/>
                    </a:lnTo>
                    <a:close/>
                    <a:moveTo>
                      <a:pt x="34" y="86"/>
                    </a:moveTo>
                    <a:lnTo>
                      <a:pt x="36" y="86"/>
                    </a:lnTo>
                    <a:lnTo>
                      <a:pt x="36" y="88"/>
                    </a:lnTo>
                    <a:lnTo>
                      <a:pt x="34" y="88"/>
                    </a:lnTo>
                    <a:lnTo>
                      <a:pt x="34" y="86"/>
                    </a:lnTo>
                    <a:close/>
                    <a:moveTo>
                      <a:pt x="34" y="84"/>
                    </a:moveTo>
                    <a:lnTo>
                      <a:pt x="36" y="84"/>
                    </a:lnTo>
                    <a:lnTo>
                      <a:pt x="34" y="84"/>
                    </a:lnTo>
                    <a:close/>
                    <a:moveTo>
                      <a:pt x="23" y="78"/>
                    </a:moveTo>
                    <a:lnTo>
                      <a:pt x="23" y="80"/>
                    </a:lnTo>
                    <a:lnTo>
                      <a:pt x="23" y="78"/>
                    </a:lnTo>
                    <a:close/>
                    <a:moveTo>
                      <a:pt x="36" y="82"/>
                    </a:moveTo>
                    <a:lnTo>
                      <a:pt x="36" y="84"/>
                    </a:lnTo>
                    <a:lnTo>
                      <a:pt x="36" y="82"/>
                    </a:lnTo>
                    <a:close/>
                    <a:moveTo>
                      <a:pt x="23" y="71"/>
                    </a:moveTo>
                    <a:lnTo>
                      <a:pt x="25" y="71"/>
                    </a:lnTo>
                    <a:lnTo>
                      <a:pt x="25" y="73"/>
                    </a:lnTo>
                    <a:lnTo>
                      <a:pt x="23" y="73"/>
                    </a:lnTo>
                    <a:lnTo>
                      <a:pt x="23" y="71"/>
                    </a:lnTo>
                    <a:close/>
                    <a:moveTo>
                      <a:pt x="44" y="82"/>
                    </a:moveTo>
                    <a:lnTo>
                      <a:pt x="45" y="82"/>
                    </a:lnTo>
                    <a:lnTo>
                      <a:pt x="44" y="82"/>
                    </a:lnTo>
                    <a:close/>
                    <a:moveTo>
                      <a:pt x="23" y="78"/>
                    </a:moveTo>
                    <a:lnTo>
                      <a:pt x="25" y="78"/>
                    </a:lnTo>
                    <a:lnTo>
                      <a:pt x="23" y="78"/>
                    </a:lnTo>
                    <a:close/>
                    <a:moveTo>
                      <a:pt x="28" y="27"/>
                    </a:moveTo>
                    <a:lnTo>
                      <a:pt x="30" y="27"/>
                    </a:lnTo>
                    <a:lnTo>
                      <a:pt x="28" y="27"/>
                    </a:lnTo>
                    <a:close/>
                    <a:moveTo>
                      <a:pt x="30" y="86"/>
                    </a:moveTo>
                    <a:lnTo>
                      <a:pt x="32" y="86"/>
                    </a:lnTo>
                    <a:lnTo>
                      <a:pt x="32" y="88"/>
                    </a:lnTo>
                    <a:lnTo>
                      <a:pt x="30" y="88"/>
                    </a:lnTo>
                    <a:lnTo>
                      <a:pt x="30" y="86"/>
                    </a:lnTo>
                    <a:close/>
                    <a:moveTo>
                      <a:pt x="21" y="84"/>
                    </a:moveTo>
                    <a:lnTo>
                      <a:pt x="23" y="84"/>
                    </a:lnTo>
                    <a:lnTo>
                      <a:pt x="23" y="86"/>
                    </a:lnTo>
                    <a:lnTo>
                      <a:pt x="21" y="86"/>
                    </a:lnTo>
                    <a:lnTo>
                      <a:pt x="21" y="84"/>
                    </a:lnTo>
                    <a:close/>
                    <a:moveTo>
                      <a:pt x="32" y="86"/>
                    </a:moveTo>
                    <a:lnTo>
                      <a:pt x="32" y="88"/>
                    </a:lnTo>
                    <a:lnTo>
                      <a:pt x="32" y="86"/>
                    </a:lnTo>
                    <a:close/>
                    <a:moveTo>
                      <a:pt x="11" y="77"/>
                    </a:moveTo>
                    <a:lnTo>
                      <a:pt x="13" y="77"/>
                    </a:lnTo>
                    <a:lnTo>
                      <a:pt x="13" y="78"/>
                    </a:lnTo>
                    <a:lnTo>
                      <a:pt x="11" y="78"/>
                    </a:lnTo>
                    <a:lnTo>
                      <a:pt x="11" y="77"/>
                    </a:lnTo>
                    <a:close/>
                    <a:moveTo>
                      <a:pt x="23" y="27"/>
                    </a:moveTo>
                    <a:lnTo>
                      <a:pt x="25" y="27"/>
                    </a:lnTo>
                    <a:lnTo>
                      <a:pt x="23" y="27"/>
                    </a:lnTo>
                    <a:close/>
                    <a:moveTo>
                      <a:pt x="21" y="78"/>
                    </a:moveTo>
                    <a:lnTo>
                      <a:pt x="23" y="78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21" y="78"/>
                    </a:lnTo>
                    <a:close/>
                    <a:moveTo>
                      <a:pt x="44" y="80"/>
                    </a:moveTo>
                    <a:lnTo>
                      <a:pt x="45" y="80"/>
                    </a:lnTo>
                    <a:lnTo>
                      <a:pt x="45" y="82"/>
                    </a:lnTo>
                    <a:lnTo>
                      <a:pt x="44" y="82"/>
                    </a:lnTo>
                    <a:lnTo>
                      <a:pt x="44" y="80"/>
                    </a:lnTo>
                    <a:close/>
                    <a:moveTo>
                      <a:pt x="38" y="84"/>
                    </a:moveTo>
                    <a:lnTo>
                      <a:pt x="40" y="84"/>
                    </a:lnTo>
                    <a:lnTo>
                      <a:pt x="38" y="84"/>
                    </a:lnTo>
                    <a:close/>
                    <a:moveTo>
                      <a:pt x="23" y="75"/>
                    </a:moveTo>
                    <a:lnTo>
                      <a:pt x="25" y="75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5"/>
                    </a:lnTo>
                    <a:close/>
                    <a:moveTo>
                      <a:pt x="61" y="75"/>
                    </a:moveTo>
                    <a:lnTo>
                      <a:pt x="61" y="77"/>
                    </a:lnTo>
                    <a:lnTo>
                      <a:pt x="61" y="75"/>
                    </a:lnTo>
                    <a:close/>
                    <a:moveTo>
                      <a:pt x="23" y="71"/>
                    </a:moveTo>
                    <a:lnTo>
                      <a:pt x="25" y="71"/>
                    </a:lnTo>
                    <a:lnTo>
                      <a:pt x="23" y="71"/>
                    </a:lnTo>
                    <a:close/>
                    <a:moveTo>
                      <a:pt x="70" y="69"/>
                    </a:moveTo>
                    <a:lnTo>
                      <a:pt x="70" y="71"/>
                    </a:lnTo>
                    <a:lnTo>
                      <a:pt x="70" y="69"/>
                    </a:lnTo>
                    <a:close/>
                    <a:moveTo>
                      <a:pt x="36" y="84"/>
                    </a:moveTo>
                    <a:lnTo>
                      <a:pt x="38" y="84"/>
                    </a:lnTo>
                    <a:lnTo>
                      <a:pt x="36" y="84"/>
                    </a:lnTo>
                    <a:close/>
                    <a:moveTo>
                      <a:pt x="0" y="15"/>
                    </a:moveTo>
                    <a:lnTo>
                      <a:pt x="2" y="15"/>
                    </a:lnTo>
                    <a:lnTo>
                      <a:pt x="0" y="15"/>
                    </a:lnTo>
                    <a:close/>
                    <a:moveTo>
                      <a:pt x="25" y="59"/>
                    </a:moveTo>
                    <a:lnTo>
                      <a:pt x="26" y="59"/>
                    </a:lnTo>
                    <a:lnTo>
                      <a:pt x="25" y="59"/>
                    </a:lnTo>
                    <a:close/>
                    <a:moveTo>
                      <a:pt x="28" y="23"/>
                    </a:moveTo>
                    <a:lnTo>
                      <a:pt x="28" y="25"/>
                    </a:lnTo>
                    <a:lnTo>
                      <a:pt x="28" y="23"/>
                    </a:lnTo>
                    <a:close/>
                    <a:moveTo>
                      <a:pt x="55" y="75"/>
                    </a:moveTo>
                    <a:lnTo>
                      <a:pt x="57" y="75"/>
                    </a:lnTo>
                    <a:lnTo>
                      <a:pt x="55" y="75"/>
                    </a:lnTo>
                    <a:close/>
                    <a:moveTo>
                      <a:pt x="7" y="88"/>
                    </a:moveTo>
                    <a:lnTo>
                      <a:pt x="7" y="90"/>
                    </a:lnTo>
                    <a:lnTo>
                      <a:pt x="7" y="88"/>
                    </a:lnTo>
                    <a:close/>
                    <a:moveTo>
                      <a:pt x="47" y="78"/>
                    </a:moveTo>
                    <a:lnTo>
                      <a:pt x="49" y="78"/>
                    </a:lnTo>
                    <a:lnTo>
                      <a:pt x="49" y="80"/>
                    </a:lnTo>
                    <a:lnTo>
                      <a:pt x="47" y="80"/>
                    </a:lnTo>
                    <a:lnTo>
                      <a:pt x="47" y="78"/>
                    </a:lnTo>
                    <a:close/>
                    <a:moveTo>
                      <a:pt x="47" y="73"/>
                    </a:moveTo>
                    <a:lnTo>
                      <a:pt x="49" y="73"/>
                    </a:lnTo>
                    <a:lnTo>
                      <a:pt x="49" y="75"/>
                    </a:lnTo>
                    <a:lnTo>
                      <a:pt x="47" y="75"/>
                    </a:lnTo>
                    <a:lnTo>
                      <a:pt x="47" y="73"/>
                    </a:lnTo>
                    <a:close/>
                    <a:moveTo>
                      <a:pt x="63" y="71"/>
                    </a:moveTo>
                    <a:lnTo>
                      <a:pt x="63" y="73"/>
                    </a:lnTo>
                    <a:lnTo>
                      <a:pt x="63" y="71"/>
                    </a:lnTo>
                    <a:close/>
                    <a:moveTo>
                      <a:pt x="26" y="21"/>
                    </a:moveTo>
                    <a:lnTo>
                      <a:pt x="28" y="21"/>
                    </a:lnTo>
                    <a:lnTo>
                      <a:pt x="26" y="21"/>
                    </a:lnTo>
                    <a:close/>
                    <a:moveTo>
                      <a:pt x="17" y="17"/>
                    </a:moveTo>
                    <a:lnTo>
                      <a:pt x="17" y="19"/>
                    </a:lnTo>
                    <a:lnTo>
                      <a:pt x="17" y="17"/>
                    </a:lnTo>
                    <a:close/>
                    <a:moveTo>
                      <a:pt x="25" y="17"/>
                    </a:moveTo>
                    <a:lnTo>
                      <a:pt x="25" y="19"/>
                    </a:lnTo>
                    <a:lnTo>
                      <a:pt x="25" y="17"/>
                    </a:lnTo>
                    <a:close/>
                    <a:moveTo>
                      <a:pt x="25" y="73"/>
                    </a:moveTo>
                    <a:lnTo>
                      <a:pt x="26" y="73"/>
                    </a:lnTo>
                    <a:lnTo>
                      <a:pt x="25" y="73"/>
                    </a:lnTo>
                    <a:close/>
                    <a:moveTo>
                      <a:pt x="7" y="77"/>
                    </a:moveTo>
                    <a:lnTo>
                      <a:pt x="9" y="77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7" y="77"/>
                    </a:lnTo>
                    <a:close/>
                    <a:moveTo>
                      <a:pt x="23" y="80"/>
                    </a:moveTo>
                    <a:lnTo>
                      <a:pt x="23" y="82"/>
                    </a:lnTo>
                    <a:lnTo>
                      <a:pt x="23" y="80"/>
                    </a:lnTo>
                    <a:close/>
                    <a:moveTo>
                      <a:pt x="61" y="71"/>
                    </a:moveTo>
                    <a:lnTo>
                      <a:pt x="61" y="73"/>
                    </a:lnTo>
                    <a:lnTo>
                      <a:pt x="61" y="71"/>
                    </a:lnTo>
                    <a:close/>
                    <a:moveTo>
                      <a:pt x="25" y="71"/>
                    </a:moveTo>
                    <a:lnTo>
                      <a:pt x="26" y="71"/>
                    </a:lnTo>
                    <a:lnTo>
                      <a:pt x="25" y="71"/>
                    </a:lnTo>
                    <a:close/>
                    <a:moveTo>
                      <a:pt x="26" y="77"/>
                    </a:moveTo>
                    <a:lnTo>
                      <a:pt x="26" y="78"/>
                    </a:lnTo>
                    <a:lnTo>
                      <a:pt x="26" y="77"/>
                    </a:lnTo>
                    <a:close/>
                    <a:moveTo>
                      <a:pt x="55" y="77"/>
                    </a:moveTo>
                    <a:lnTo>
                      <a:pt x="57" y="77"/>
                    </a:lnTo>
                    <a:lnTo>
                      <a:pt x="55" y="77"/>
                    </a:lnTo>
                    <a:close/>
                    <a:moveTo>
                      <a:pt x="21" y="65"/>
                    </a:moveTo>
                    <a:lnTo>
                      <a:pt x="23" y="65"/>
                    </a:lnTo>
                    <a:lnTo>
                      <a:pt x="21" y="65"/>
                    </a:lnTo>
                    <a:close/>
                    <a:moveTo>
                      <a:pt x="25" y="19"/>
                    </a:moveTo>
                    <a:lnTo>
                      <a:pt x="26" y="19"/>
                    </a:lnTo>
                    <a:lnTo>
                      <a:pt x="25" y="19"/>
                    </a:lnTo>
                    <a:close/>
                    <a:moveTo>
                      <a:pt x="30" y="88"/>
                    </a:moveTo>
                    <a:lnTo>
                      <a:pt x="32" y="88"/>
                    </a:lnTo>
                    <a:lnTo>
                      <a:pt x="30" y="88"/>
                    </a:lnTo>
                    <a:close/>
                    <a:moveTo>
                      <a:pt x="36" y="90"/>
                    </a:moveTo>
                    <a:lnTo>
                      <a:pt x="36" y="92"/>
                    </a:lnTo>
                    <a:lnTo>
                      <a:pt x="36" y="90"/>
                    </a:lnTo>
                    <a:close/>
                    <a:moveTo>
                      <a:pt x="34" y="86"/>
                    </a:moveTo>
                    <a:lnTo>
                      <a:pt x="34" y="88"/>
                    </a:lnTo>
                    <a:lnTo>
                      <a:pt x="34" y="86"/>
                    </a:lnTo>
                    <a:close/>
                    <a:moveTo>
                      <a:pt x="23" y="29"/>
                    </a:moveTo>
                    <a:lnTo>
                      <a:pt x="23" y="31"/>
                    </a:lnTo>
                    <a:lnTo>
                      <a:pt x="23" y="29"/>
                    </a:lnTo>
                    <a:close/>
                    <a:moveTo>
                      <a:pt x="26" y="75"/>
                    </a:moveTo>
                    <a:lnTo>
                      <a:pt x="26" y="77"/>
                    </a:lnTo>
                    <a:lnTo>
                      <a:pt x="26" y="75"/>
                    </a:lnTo>
                    <a:close/>
                    <a:moveTo>
                      <a:pt x="61" y="77"/>
                    </a:moveTo>
                    <a:lnTo>
                      <a:pt x="63" y="77"/>
                    </a:lnTo>
                    <a:lnTo>
                      <a:pt x="61" y="77"/>
                    </a:lnTo>
                    <a:close/>
                    <a:moveTo>
                      <a:pt x="49" y="80"/>
                    </a:moveTo>
                    <a:lnTo>
                      <a:pt x="51" y="80"/>
                    </a:lnTo>
                    <a:lnTo>
                      <a:pt x="51" y="82"/>
                    </a:lnTo>
                    <a:lnTo>
                      <a:pt x="49" y="82"/>
                    </a:lnTo>
                    <a:lnTo>
                      <a:pt x="49" y="80"/>
                    </a:lnTo>
                    <a:close/>
                    <a:moveTo>
                      <a:pt x="38" y="80"/>
                    </a:moveTo>
                    <a:lnTo>
                      <a:pt x="40" y="80"/>
                    </a:lnTo>
                    <a:lnTo>
                      <a:pt x="38" y="80"/>
                    </a:lnTo>
                    <a:close/>
                    <a:moveTo>
                      <a:pt x="42" y="82"/>
                    </a:moveTo>
                    <a:lnTo>
                      <a:pt x="42" y="84"/>
                    </a:lnTo>
                    <a:lnTo>
                      <a:pt x="42" y="82"/>
                    </a:lnTo>
                    <a:close/>
                    <a:moveTo>
                      <a:pt x="23" y="65"/>
                    </a:moveTo>
                    <a:lnTo>
                      <a:pt x="25" y="65"/>
                    </a:lnTo>
                    <a:lnTo>
                      <a:pt x="23" y="65"/>
                    </a:lnTo>
                    <a:close/>
                    <a:moveTo>
                      <a:pt x="26" y="44"/>
                    </a:moveTo>
                    <a:lnTo>
                      <a:pt x="26" y="46"/>
                    </a:lnTo>
                    <a:lnTo>
                      <a:pt x="26" y="44"/>
                    </a:lnTo>
                    <a:close/>
                    <a:moveTo>
                      <a:pt x="30" y="86"/>
                    </a:moveTo>
                    <a:lnTo>
                      <a:pt x="32" y="86"/>
                    </a:lnTo>
                    <a:lnTo>
                      <a:pt x="30" y="86"/>
                    </a:lnTo>
                    <a:close/>
                    <a:moveTo>
                      <a:pt x="25" y="27"/>
                    </a:moveTo>
                    <a:lnTo>
                      <a:pt x="25" y="29"/>
                    </a:lnTo>
                    <a:lnTo>
                      <a:pt x="25" y="27"/>
                    </a:lnTo>
                    <a:close/>
                    <a:moveTo>
                      <a:pt x="2" y="15"/>
                    </a:moveTo>
                    <a:lnTo>
                      <a:pt x="2" y="17"/>
                    </a:lnTo>
                    <a:lnTo>
                      <a:pt x="2" y="15"/>
                    </a:lnTo>
                    <a:close/>
                    <a:moveTo>
                      <a:pt x="25" y="71"/>
                    </a:moveTo>
                    <a:lnTo>
                      <a:pt x="25" y="73"/>
                    </a:lnTo>
                    <a:lnTo>
                      <a:pt x="25" y="71"/>
                    </a:lnTo>
                    <a:close/>
                    <a:moveTo>
                      <a:pt x="44" y="84"/>
                    </a:moveTo>
                    <a:lnTo>
                      <a:pt x="44" y="86"/>
                    </a:lnTo>
                    <a:lnTo>
                      <a:pt x="44" y="84"/>
                    </a:lnTo>
                    <a:close/>
                    <a:moveTo>
                      <a:pt x="25" y="29"/>
                    </a:moveTo>
                    <a:lnTo>
                      <a:pt x="26" y="29"/>
                    </a:lnTo>
                    <a:lnTo>
                      <a:pt x="25" y="29"/>
                    </a:lnTo>
                    <a:close/>
                    <a:moveTo>
                      <a:pt x="21" y="69"/>
                    </a:moveTo>
                    <a:lnTo>
                      <a:pt x="23" y="69"/>
                    </a:lnTo>
                    <a:lnTo>
                      <a:pt x="21" y="69"/>
                    </a:lnTo>
                    <a:close/>
                    <a:moveTo>
                      <a:pt x="61" y="75"/>
                    </a:moveTo>
                    <a:lnTo>
                      <a:pt x="63" y="75"/>
                    </a:lnTo>
                    <a:lnTo>
                      <a:pt x="61" y="75"/>
                    </a:lnTo>
                    <a:close/>
                    <a:moveTo>
                      <a:pt x="30" y="23"/>
                    </a:moveTo>
                    <a:lnTo>
                      <a:pt x="32" y="23"/>
                    </a:lnTo>
                    <a:lnTo>
                      <a:pt x="30" y="23"/>
                    </a:lnTo>
                    <a:close/>
                    <a:moveTo>
                      <a:pt x="53" y="71"/>
                    </a:moveTo>
                    <a:lnTo>
                      <a:pt x="53" y="73"/>
                    </a:lnTo>
                    <a:lnTo>
                      <a:pt x="53" y="71"/>
                    </a:lnTo>
                    <a:close/>
                    <a:moveTo>
                      <a:pt x="21" y="77"/>
                    </a:moveTo>
                    <a:lnTo>
                      <a:pt x="23" y="77"/>
                    </a:lnTo>
                    <a:lnTo>
                      <a:pt x="21" y="77"/>
                    </a:lnTo>
                    <a:close/>
                    <a:moveTo>
                      <a:pt x="28" y="86"/>
                    </a:moveTo>
                    <a:lnTo>
                      <a:pt x="30" y="86"/>
                    </a:lnTo>
                    <a:lnTo>
                      <a:pt x="30" y="88"/>
                    </a:lnTo>
                    <a:lnTo>
                      <a:pt x="28" y="88"/>
                    </a:lnTo>
                    <a:lnTo>
                      <a:pt x="28" y="86"/>
                    </a:lnTo>
                    <a:close/>
                    <a:moveTo>
                      <a:pt x="44" y="75"/>
                    </a:moveTo>
                    <a:lnTo>
                      <a:pt x="45" y="75"/>
                    </a:lnTo>
                    <a:lnTo>
                      <a:pt x="44" y="75"/>
                    </a:lnTo>
                    <a:close/>
                    <a:moveTo>
                      <a:pt x="38" y="82"/>
                    </a:moveTo>
                    <a:lnTo>
                      <a:pt x="38" y="84"/>
                    </a:lnTo>
                    <a:lnTo>
                      <a:pt x="38" y="82"/>
                    </a:lnTo>
                    <a:close/>
                    <a:moveTo>
                      <a:pt x="19" y="86"/>
                    </a:moveTo>
                    <a:lnTo>
                      <a:pt x="21" y="86"/>
                    </a:lnTo>
                    <a:lnTo>
                      <a:pt x="19" y="86"/>
                    </a:lnTo>
                    <a:close/>
                    <a:moveTo>
                      <a:pt x="44" y="84"/>
                    </a:moveTo>
                    <a:lnTo>
                      <a:pt x="44" y="86"/>
                    </a:lnTo>
                    <a:lnTo>
                      <a:pt x="44" y="84"/>
                    </a:lnTo>
                    <a:close/>
                    <a:moveTo>
                      <a:pt x="9" y="82"/>
                    </a:moveTo>
                    <a:lnTo>
                      <a:pt x="11" y="82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9" y="82"/>
                    </a:lnTo>
                    <a:close/>
                    <a:moveTo>
                      <a:pt x="11" y="77"/>
                    </a:moveTo>
                    <a:lnTo>
                      <a:pt x="11" y="78"/>
                    </a:lnTo>
                    <a:lnTo>
                      <a:pt x="11" y="77"/>
                    </a:lnTo>
                    <a:close/>
                    <a:moveTo>
                      <a:pt x="30" y="19"/>
                    </a:moveTo>
                    <a:lnTo>
                      <a:pt x="30" y="21"/>
                    </a:lnTo>
                    <a:lnTo>
                      <a:pt x="30" y="19"/>
                    </a:lnTo>
                    <a:close/>
                    <a:moveTo>
                      <a:pt x="21" y="27"/>
                    </a:moveTo>
                    <a:lnTo>
                      <a:pt x="21" y="29"/>
                    </a:lnTo>
                    <a:lnTo>
                      <a:pt x="21" y="27"/>
                    </a:lnTo>
                    <a:close/>
                    <a:moveTo>
                      <a:pt x="30" y="84"/>
                    </a:moveTo>
                    <a:lnTo>
                      <a:pt x="30" y="86"/>
                    </a:lnTo>
                    <a:lnTo>
                      <a:pt x="30" y="84"/>
                    </a:lnTo>
                    <a:close/>
                    <a:moveTo>
                      <a:pt x="38" y="78"/>
                    </a:moveTo>
                    <a:lnTo>
                      <a:pt x="40" y="78"/>
                    </a:lnTo>
                    <a:lnTo>
                      <a:pt x="38" y="78"/>
                    </a:lnTo>
                    <a:close/>
                    <a:moveTo>
                      <a:pt x="28" y="78"/>
                    </a:moveTo>
                    <a:lnTo>
                      <a:pt x="30" y="78"/>
                    </a:lnTo>
                    <a:lnTo>
                      <a:pt x="28" y="78"/>
                    </a:lnTo>
                    <a:close/>
                    <a:moveTo>
                      <a:pt x="21" y="78"/>
                    </a:moveTo>
                    <a:lnTo>
                      <a:pt x="21" y="80"/>
                    </a:lnTo>
                    <a:lnTo>
                      <a:pt x="21" y="78"/>
                    </a:lnTo>
                    <a:close/>
                    <a:moveTo>
                      <a:pt x="57" y="77"/>
                    </a:moveTo>
                    <a:lnTo>
                      <a:pt x="57" y="78"/>
                    </a:lnTo>
                    <a:lnTo>
                      <a:pt x="57" y="77"/>
                    </a:lnTo>
                    <a:close/>
                    <a:moveTo>
                      <a:pt x="23" y="67"/>
                    </a:moveTo>
                    <a:lnTo>
                      <a:pt x="25" y="67"/>
                    </a:lnTo>
                    <a:lnTo>
                      <a:pt x="23" y="67"/>
                    </a:lnTo>
                    <a:close/>
                    <a:moveTo>
                      <a:pt x="49" y="78"/>
                    </a:moveTo>
                    <a:lnTo>
                      <a:pt x="49" y="80"/>
                    </a:lnTo>
                    <a:lnTo>
                      <a:pt x="49" y="78"/>
                    </a:lnTo>
                    <a:close/>
                    <a:moveTo>
                      <a:pt x="30" y="29"/>
                    </a:moveTo>
                    <a:lnTo>
                      <a:pt x="32" y="29"/>
                    </a:lnTo>
                    <a:lnTo>
                      <a:pt x="30" y="29"/>
                    </a:lnTo>
                    <a:close/>
                    <a:moveTo>
                      <a:pt x="23" y="77"/>
                    </a:moveTo>
                    <a:lnTo>
                      <a:pt x="23" y="78"/>
                    </a:lnTo>
                    <a:lnTo>
                      <a:pt x="23" y="77"/>
                    </a:lnTo>
                    <a:close/>
                    <a:moveTo>
                      <a:pt x="26" y="73"/>
                    </a:moveTo>
                    <a:lnTo>
                      <a:pt x="26" y="75"/>
                    </a:lnTo>
                    <a:lnTo>
                      <a:pt x="26" y="73"/>
                    </a:lnTo>
                    <a:close/>
                    <a:moveTo>
                      <a:pt x="21" y="84"/>
                    </a:moveTo>
                    <a:lnTo>
                      <a:pt x="23" y="84"/>
                    </a:lnTo>
                    <a:lnTo>
                      <a:pt x="21" y="84"/>
                    </a:lnTo>
                    <a:close/>
                    <a:moveTo>
                      <a:pt x="26" y="56"/>
                    </a:moveTo>
                    <a:lnTo>
                      <a:pt x="28" y="56"/>
                    </a:lnTo>
                    <a:lnTo>
                      <a:pt x="26" y="56"/>
                    </a:lnTo>
                    <a:close/>
                    <a:moveTo>
                      <a:pt x="26" y="54"/>
                    </a:moveTo>
                    <a:lnTo>
                      <a:pt x="28" y="54"/>
                    </a:lnTo>
                    <a:lnTo>
                      <a:pt x="28" y="56"/>
                    </a:lnTo>
                    <a:lnTo>
                      <a:pt x="26" y="56"/>
                    </a:lnTo>
                    <a:lnTo>
                      <a:pt x="26" y="54"/>
                    </a:lnTo>
                    <a:close/>
                    <a:moveTo>
                      <a:pt x="59" y="77"/>
                    </a:moveTo>
                    <a:lnTo>
                      <a:pt x="61" y="77"/>
                    </a:lnTo>
                    <a:lnTo>
                      <a:pt x="59" y="77"/>
                    </a:lnTo>
                    <a:close/>
                    <a:moveTo>
                      <a:pt x="66" y="71"/>
                    </a:moveTo>
                    <a:lnTo>
                      <a:pt x="68" y="71"/>
                    </a:lnTo>
                    <a:lnTo>
                      <a:pt x="66" y="71"/>
                    </a:lnTo>
                    <a:close/>
                    <a:moveTo>
                      <a:pt x="30" y="29"/>
                    </a:moveTo>
                    <a:lnTo>
                      <a:pt x="30" y="31"/>
                    </a:lnTo>
                    <a:lnTo>
                      <a:pt x="30" y="29"/>
                    </a:lnTo>
                    <a:close/>
                    <a:moveTo>
                      <a:pt x="32" y="29"/>
                    </a:moveTo>
                    <a:lnTo>
                      <a:pt x="32" y="31"/>
                    </a:lnTo>
                    <a:lnTo>
                      <a:pt x="32" y="29"/>
                    </a:lnTo>
                    <a:close/>
                    <a:moveTo>
                      <a:pt x="28" y="52"/>
                    </a:moveTo>
                    <a:lnTo>
                      <a:pt x="30" y="52"/>
                    </a:lnTo>
                    <a:lnTo>
                      <a:pt x="28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9" name="Freeform 153">
                <a:extLst>
                  <a:ext uri="{FF2B5EF4-FFF2-40B4-BE49-F238E27FC236}">
                    <a16:creationId xmlns:a16="http://schemas.microsoft.com/office/drawing/2014/main" id="{708194AD-734A-04B2-069F-A2E9C3CDEC0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33126" y="-3508817"/>
                <a:ext cx="1536197" cy="1134971"/>
              </a:xfrm>
              <a:custGeom>
                <a:avLst/>
                <a:gdLst>
                  <a:gd name="T0" fmla="*/ 870 w 975"/>
                  <a:gd name="T1" fmla="*/ 288 h 719"/>
                  <a:gd name="T2" fmla="*/ 813 w 975"/>
                  <a:gd name="T3" fmla="*/ 313 h 719"/>
                  <a:gd name="T4" fmla="*/ 767 w 975"/>
                  <a:gd name="T5" fmla="*/ 340 h 719"/>
                  <a:gd name="T6" fmla="*/ 771 w 975"/>
                  <a:gd name="T7" fmla="*/ 319 h 719"/>
                  <a:gd name="T8" fmla="*/ 750 w 975"/>
                  <a:gd name="T9" fmla="*/ 311 h 719"/>
                  <a:gd name="T10" fmla="*/ 704 w 975"/>
                  <a:gd name="T11" fmla="*/ 340 h 719"/>
                  <a:gd name="T12" fmla="*/ 723 w 975"/>
                  <a:gd name="T13" fmla="*/ 372 h 719"/>
                  <a:gd name="T14" fmla="*/ 778 w 975"/>
                  <a:gd name="T15" fmla="*/ 370 h 719"/>
                  <a:gd name="T16" fmla="*/ 756 w 975"/>
                  <a:gd name="T17" fmla="*/ 385 h 719"/>
                  <a:gd name="T18" fmla="*/ 727 w 975"/>
                  <a:gd name="T19" fmla="*/ 420 h 719"/>
                  <a:gd name="T20" fmla="*/ 771 w 975"/>
                  <a:gd name="T21" fmla="*/ 481 h 719"/>
                  <a:gd name="T22" fmla="*/ 752 w 975"/>
                  <a:gd name="T23" fmla="*/ 511 h 719"/>
                  <a:gd name="T24" fmla="*/ 765 w 975"/>
                  <a:gd name="T25" fmla="*/ 528 h 719"/>
                  <a:gd name="T26" fmla="*/ 750 w 975"/>
                  <a:gd name="T27" fmla="*/ 553 h 719"/>
                  <a:gd name="T28" fmla="*/ 740 w 975"/>
                  <a:gd name="T29" fmla="*/ 570 h 719"/>
                  <a:gd name="T30" fmla="*/ 733 w 975"/>
                  <a:gd name="T31" fmla="*/ 590 h 719"/>
                  <a:gd name="T32" fmla="*/ 717 w 975"/>
                  <a:gd name="T33" fmla="*/ 610 h 719"/>
                  <a:gd name="T34" fmla="*/ 693 w 975"/>
                  <a:gd name="T35" fmla="*/ 628 h 719"/>
                  <a:gd name="T36" fmla="*/ 658 w 975"/>
                  <a:gd name="T37" fmla="*/ 643 h 719"/>
                  <a:gd name="T38" fmla="*/ 637 w 975"/>
                  <a:gd name="T39" fmla="*/ 637 h 719"/>
                  <a:gd name="T40" fmla="*/ 620 w 975"/>
                  <a:gd name="T41" fmla="*/ 654 h 719"/>
                  <a:gd name="T42" fmla="*/ 590 w 975"/>
                  <a:gd name="T43" fmla="*/ 670 h 719"/>
                  <a:gd name="T44" fmla="*/ 578 w 975"/>
                  <a:gd name="T45" fmla="*/ 664 h 719"/>
                  <a:gd name="T46" fmla="*/ 552 w 975"/>
                  <a:gd name="T47" fmla="*/ 662 h 719"/>
                  <a:gd name="T48" fmla="*/ 506 w 975"/>
                  <a:gd name="T49" fmla="*/ 631 h 719"/>
                  <a:gd name="T50" fmla="*/ 449 w 975"/>
                  <a:gd name="T51" fmla="*/ 651 h 719"/>
                  <a:gd name="T52" fmla="*/ 410 w 975"/>
                  <a:gd name="T53" fmla="*/ 649 h 719"/>
                  <a:gd name="T54" fmla="*/ 384 w 975"/>
                  <a:gd name="T55" fmla="*/ 607 h 719"/>
                  <a:gd name="T56" fmla="*/ 384 w 975"/>
                  <a:gd name="T57" fmla="*/ 540 h 719"/>
                  <a:gd name="T58" fmla="*/ 330 w 975"/>
                  <a:gd name="T59" fmla="*/ 528 h 719"/>
                  <a:gd name="T60" fmla="*/ 256 w 975"/>
                  <a:gd name="T61" fmla="*/ 549 h 719"/>
                  <a:gd name="T62" fmla="*/ 201 w 975"/>
                  <a:gd name="T63" fmla="*/ 548 h 719"/>
                  <a:gd name="T64" fmla="*/ 145 w 975"/>
                  <a:gd name="T65" fmla="*/ 515 h 719"/>
                  <a:gd name="T66" fmla="*/ 90 w 975"/>
                  <a:gd name="T67" fmla="*/ 486 h 719"/>
                  <a:gd name="T68" fmla="*/ 105 w 975"/>
                  <a:gd name="T69" fmla="*/ 424 h 719"/>
                  <a:gd name="T70" fmla="*/ 42 w 975"/>
                  <a:gd name="T71" fmla="*/ 395 h 719"/>
                  <a:gd name="T72" fmla="*/ 6 w 975"/>
                  <a:gd name="T73" fmla="*/ 345 h 719"/>
                  <a:gd name="T74" fmla="*/ 46 w 975"/>
                  <a:gd name="T75" fmla="*/ 309 h 719"/>
                  <a:gd name="T76" fmla="*/ 111 w 975"/>
                  <a:gd name="T77" fmla="*/ 256 h 719"/>
                  <a:gd name="T78" fmla="*/ 140 w 975"/>
                  <a:gd name="T79" fmla="*/ 195 h 719"/>
                  <a:gd name="T80" fmla="*/ 212 w 975"/>
                  <a:gd name="T81" fmla="*/ 118 h 719"/>
                  <a:gd name="T82" fmla="*/ 275 w 975"/>
                  <a:gd name="T83" fmla="*/ 162 h 719"/>
                  <a:gd name="T84" fmla="*/ 365 w 975"/>
                  <a:gd name="T85" fmla="*/ 259 h 719"/>
                  <a:gd name="T86" fmla="*/ 605 w 975"/>
                  <a:gd name="T87" fmla="*/ 221 h 719"/>
                  <a:gd name="T88" fmla="*/ 723 w 975"/>
                  <a:gd name="T89" fmla="*/ 170 h 719"/>
                  <a:gd name="T90" fmla="*/ 706 w 975"/>
                  <a:gd name="T91" fmla="*/ 103 h 719"/>
                  <a:gd name="T92" fmla="*/ 752 w 975"/>
                  <a:gd name="T93" fmla="*/ 34 h 719"/>
                  <a:gd name="T94" fmla="*/ 820 w 975"/>
                  <a:gd name="T95" fmla="*/ 9 h 719"/>
                  <a:gd name="T96" fmla="*/ 864 w 975"/>
                  <a:gd name="T97" fmla="*/ 101 h 719"/>
                  <a:gd name="T98" fmla="*/ 925 w 975"/>
                  <a:gd name="T99" fmla="*/ 147 h 719"/>
                  <a:gd name="T100" fmla="*/ 962 w 975"/>
                  <a:gd name="T101" fmla="*/ 179 h 719"/>
                  <a:gd name="T102" fmla="*/ 920 w 975"/>
                  <a:gd name="T103" fmla="*/ 250 h 719"/>
                  <a:gd name="T104" fmla="*/ 565 w 975"/>
                  <a:gd name="T105" fmla="*/ 715 h 719"/>
                  <a:gd name="T106" fmla="*/ 767 w 975"/>
                  <a:gd name="T107" fmla="*/ 485 h 719"/>
                  <a:gd name="T108" fmla="*/ 626 w 975"/>
                  <a:gd name="T109" fmla="*/ 662 h 719"/>
                  <a:gd name="T110" fmla="*/ 624 w 975"/>
                  <a:gd name="T111" fmla="*/ 662 h 719"/>
                  <a:gd name="T112" fmla="*/ 771 w 975"/>
                  <a:gd name="T113" fmla="*/ 515 h 719"/>
                  <a:gd name="T114" fmla="*/ 759 w 975"/>
                  <a:gd name="T115" fmla="*/ 549 h 719"/>
                  <a:gd name="T116" fmla="*/ 632 w 975"/>
                  <a:gd name="T117" fmla="*/ 656 h 719"/>
                  <a:gd name="T118" fmla="*/ 735 w 975"/>
                  <a:gd name="T119" fmla="*/ 591 h 719"/>
                  <a:gd name="T120" fmla="*/ 799 w 975"/>
                  <a:gd name="T121" fmla="*/ 322 h 719"/>
                  <a:gd name="T122" fmla="*/ 782 w 975"/>
                  <a:gd name="T123" fmla="*/ 496 h 719"/>
                  <a:gd name="T124" fmla="*/ 597 w 975"/>
                  <a:gd name="T125" fmla="*/ 664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75" h="719">
                    <a:moveTo>
                      <a:pt x="910" y="267"/>
                    </a:moveTo>
                    <a:lnTo>
                      <a:pt x="908" y="267"/>
                    </a:lnTo>
                    <a:lnTo>
                      <a:pt x="908" y="265"/>
                    </a:lnTo>
                    <a:lnTo>
                      <a:pt x="910" y="265"/>
                    </a:lnTo>
                    <a:lnTo>
                      <a:pt x="908" y="265"/>
                    </a:lnTo>
                    <a:lnTo>
                      <a:pt x="908" y="263"/>
                    </a:lnTo>
                    <a:lnTo>
                      <a:pt x="906" y="263"/>
                    </a:lnTo>
                    <a:lnTo>
                      <a:pt x="906" y="261"/>
                    </a:lnTo>
                    <a:lnTo>
                      <a:pt x="904" y="261"/>
                    </a:lnTo>
                    <a:lnTo>
                      <a:pt x="904" y="259"/>
                    </a:lnTo>
                    <a:lnTo>
                      <a:pt x="904" y="258"/>
                    </a:lnTo>
                    <a:lnTo>
                      <a:pt x="904" y="256"/>
                    </a:lnTo>
                    <a:lnTo>
                      <a:pt x="902" y="256"/>
                    </a:lnTo>
                    <a:lnTo>
                      <a:pt x="902" y="254"/>
                    </a:lnTo>
                    <a:lnTo>
                      <a:pt x="901" y="256"/>
                    </a:lnTo>
                    <a:lnTo>
                      <a:pt x="899" y="254"/>
                    </a:lnTo>
                    <a:lnTo>
                      <a:pt x="899" y="256"/>
                    </a:lnTo>
                    <a:lnTo>
                      <a:pt x="897" y="256"/>
                    </a:lnTo>
                    <a:lnTo>
                      <a:pt x="899" y="256"/>
                    </a:lnTo>
                    <a:lnTo>
                      <a:pt x="897" y="256"/>
                    </a:lnTo>
                    <a:lnTo>
                      <a:pt x="897" y="258"/>
                    </a:lnTo>
                    <a:lnTo>
                      <a:pt x="897" y="259"/>
                    </a:lnTo>
                    <a:lnTo>
                      <a:pt x="897" y="261"/>
                    </a:lnTo>
                    <a:lnTo>
                      <a:pt x="897" y="263"/>
                    </a:lnTo>
                    <a:lnTo>
                      <a:pt x="895" y="263"/>
                    </a:lnTo>
                    <a:lnTo>
                      <a:pt x="897" y="265"/>
                    </a:lnTo>
                    <a:lnTo>
                      <a:pt x="895" y="267"/>
                    </a:lnTo>
                    <a:lnTo>
                      <a:pt x="893" y="265"/>
                    </a:lnTo>
                    <a:lnTo>
                      <a:pt x="893" y="267"/>
                    </a:lnTo>
                    <a:lnTo>
                      <a:pt x="891" y="267"/>
                    </a:lnTo>
                    <a:lnTo>
                      <a:pt x="891" y="265"/>
                    </a:lnTo>
                    <a:lnTo>
                      <a:pt x="891" y="267"/>
                    </a:lnTo>
                    <a:lnTo>
                      <a:pt x="889" y="267"/>
                    </a:lnTo>
                    <a:lnTo>
                      <a:pt x="889" y="265"/>
                    </a:lnTo>
                    <a:lnTo>
                      <a:pt x="889" y="267"/>
                    </a:lnTo>
                    <a:lnTo>
                      <a:pt x="887" y="267"/>
                    </a:lnTo>
                    <a:lnTo>
                      <a:pt x="887" y="269"/>
                    </a:lnTo>
                    <a:lnTo>
                      <a:pt x="887" y="271"/>
                    </a:lnTo>
                    <a:lnTo>
                      <a:pt x="887" y="273"/>
                    </a:lnTo>
                    <a:lnTo>
                      <a:pt x="885" y="273"/>
                    </a:lnTo>
                    <a:lnTo>
                      <a:pt x="883" y="275"/>
                    </a:lnTo>
                    <a:lnTo>
                      <a:pt x="883" y="273"/>
                    </a:lnTo>
                    <a:lnTo>
                      <a:pt x="883" y="275"/>
                    </a:lnTo>
                    <a:lnTo>
                      <a:pt x="881" y="275"/>
                    </a:lnTo>
                    <a:lnTo>
                      <a:pt x="880" y="275"/>
                    </a:lnTo>
                    <a:lnTo>
                      <a:pt x="878" y="275"/>
                    </a:lnTo>
                    <a:lnTo>
                      <a:pt x="878" y="277"/>
                    </a:lnTo>
                    <a:lnTo>
                      <a:pt x="876" y="277"/>
                    </a:lnTo>
                    <a:lnTo>
                      <a:pt x="876" y="275"/>
                    </a:lnTo>
                    <a:lnTo>
                      <a:pt x="872" y="275"/>
                    </a:lnTo>
                    <a:lnTo>
                      <a:pt x="870" y="275"/>
                    </a:lnTo>
                    <a:lnTo>
                      <a:pt x="868" y="277"/>
                    </a:lnTo>
                    <a:lnTo>
                      <a:pt x="870" y="277"/>
                    </a:lnTo>
                    <a:lnTo>
                      <a:pt x="870" y="280"/>
                    </a:lnTo>
                    <a:lnTo>
                      <a:pt x="870" y="282"/>
                    </a:lnTo>
                    <a:lnTo>
                      <a:pt x="872" y="282"/>
                    </a:lnTo>
                    <a:lnTo>
                      <a:pt x="872" y="284"/>
                    </a:lnTo>
                    <a:lnTo>
                      <a:pt x="874" y="284"/>
                    </a:lnTo>
                    <a:lnTo>
                      <a:pt x="872" y="286"/>
                    </a:lnTo>
                    <a:lnTo>
                      <a:pt x="872" y="288"/>
                    </a:lnTo>
                    <a:lnTo>
                      <a:pt x="870" y="288"/>
                    </a:lnTo>
                    <a:lnTo>
                      <a:pt x="870" y="290"/>
                    </a:lnTo>
                    <a:lnTo>
                      <a:pt x="870" y="288"/>
                    </a:lnTo>
                    <a:lnTo>
                      <a:pt x="868" y="288"/>
                    </a:lnTo>
                    <a:lnTo>
                      <a:pt x="866" y="288"/>
                    </a:lnTo>
                    <a:lnTo>
                      <a:pt x="864" y="288"/>
                    </a:lnTo>
                    <a:lnTo>
                      <a:pt x="862" y="288"/>
                    </a:lnTo>
                    <a:lnTo>
                      <a:pt x="860" y="288"/>
                    </a:lnTo>
                    <a:lnTo>
                      <a:pt x="860" y="286"/>
                    </a:lnTo>
                    <a:lnTo>
                      <a:pt x="859" y="288"/>
                    </a:lnTo>
                    <a:lnTo>
                      <a:pt x="859" y="286"/>
                    </a:lnTo>
                    <a:lnTo>
                      <a:pt x="859" y="288"/>
                    </a:lnTo>
                    <a:lnTo>
                      <a:pt x="857" y="286"/>
                    </a:lnTo>
                    <a:lnTo>
                      <a:pt x="855" y="286"/>
                    </a:lnTo>
                    <a:lnTo>
                      <a:pt x="853" y="286"/>
                    </a:lnTo>
                    <a:lnTo>
                      <a:pt x="855" y="284"/>
                    </a:lnTo>
                    <a:lnTo>
                      <a:pt x="853" y="284"/>
                    </a:lnTo>
                    <a:lnTo>
                      <a:pt x="855" y="284"/>
                    </a:lnTo>
                    <a:lnTo>
                      <a:pt x="853" y="284"/>
                    </a:lnTo>
                    <a:lnTo>
                      <a:pt x="853" y="282"/>
                    </a:lnTo>
                    <a:lnTo>
                      <a:pt x="853" y="280"/>
                    </a:lnTo>
                    <a:lnTo>
                      <a:pt x="851" y="280"/>
                    </a:lnTo>
                    <a:lnTo>
                      <a:pt x="849" y="282"/>
                    </a:lnTo>
                    <a:lnTo>
                      <a:pt x="849" y="280"/>
                    </a:lnTo>
                    <a:lnTo>
                      <a:pt x="849" y="282"/>
                    </a:lnTo>
                    <a:lnTo>
                      <a:pt x="847" y="280"/>
                    </a:lnTo>
                    <a:lnTo>
                      <a:pt x="847" y="282"/>
                    </a:lnTo>
                    <a:lnTo>
                      <a:pt x="845" y="282"/>
                    </a:lnTo>
                    <a:lnTo>
                      <a:pt x="845" y="284"/>
                    </a:lnTo>
                    <a:lnTo>
                      <a:pt x="845" y="286"/>
                    </a:lnTo>
                    <a:lnTo>
                      <a:pt x="845" y="288"/>
                    </a:lnTo>
                    <a:lnTo>
                      <a:pt x="845" y="290"/>
                    </a:lnTo>
                    <a:lnTo>
                      <a:pt x="843" y="290"/>
                    </a:lnTo>
                    <a:lnTo>
                      <a:pt x="845" y="290"/>
                    </a:lnTo>
                    <a:lnTo>
                      <a:pt x="843" y="290"/>
                    </a:lnTo>
                    <a:lnTo>
                      <a:pt x="841" y="292"/>
                    </a:lnTo>
                    <a:lnTo>
                      <a:pt x="841" y="294"/>
                    </a:lnTo>
                    <a:lnTo>
                      <a:pt x="840" y="294"/>
                    </a:lnTo>
                    <a:lnTo>
                      <a:pt x="840" y="296"/>
                    </a:lnTo>
                    <a:lnTo>
                      <a:pt x="838" y="296"/>
                    </a:lnTo>
                    <a:lnTo>
                      <a:pt x="838" y="298"/>
                    </a:lnTo>
                    <a:lnTo>
                      <a:pt x="836" y="298"/>
                    </a:lnTo>
                    <a:lnTo>
                      <a:pt x="836" y="299"/>
                    </a:lnTo>
                    <a:lnTo>
                      <a:pt x="834" y="299"/>
                    </a:lnTo>
                    <a:lnTo>
                      <a:pt x="832" y="299"/>
                    </a:lnTo>
                    <a:lnTo>
                      <a:pt x="830" y="301"/>
                    </a:lnTo>
                    <a:lnTo>
                      <a:pt x="832" y="301"/>
                    </a:lnTo>
                    <a:lnTo>
                      <a:pt x="830" y="301"/>
                    </a:lnTo>
                    <a:lnTo>
                      <a:pt x="828" y="303"/>
                    </a:lnTo>
                    <a:lnTo>
                      <a:pt x="826" y="303"/>
                    </a:lnTo>
                    <a:lnTo>
                      <a:pt x="826" y="305"/>
                    </a:lnTo>
                    <a:lnTo>
                      <a:pt x="824" y="303"/>
                    </a:lnTo>
                    <a:lnTo>
                      <a:pt x="824" y="305"/>
                    </a:lnTo>
                    <a:lnTo>
                      <a:pt x="820" y="307"/>
                    </a:lnTo>
                    <a:lnTo>
                      <a:pt x="820" y="309"/>
                    </a:lnTo>
                    <a:lnTo>
                      <a:pt x="820" y="307"/>
                    </a:lnTo>
                    <a:lnTo>
                      <a:pt x="819" y="309"/>
                    </a:lnTo>
                    <a:lnTo>
                      <a:pt x="819" y="307"/>
                    </a:lnTo>
                    <a:lnTo>
                      <a:pt x="819" y="309"/>
                    </a:lnTo>
                    <a:lnTo>
                      <a:pt x="817" y="311"/>
                    </a:lnTo>
                    <a:lnTo>
                      <a:pt x="815" y="313"/>
                    </a:lnTo>
                    <a:lnTo>
                      <a:pt x="813" y="313"/>
                    </a:lnTo>
                    <a:lnTo>
                      <a:pt x="813" y="315"/>
                    </a:lnTo>
                    <a:lnTo>
                      <a:pt x="811" y="315"/>
                    </a:lnTo>
                    <a:lnTo>
                      <a:pt x="809" y="317"/>
                    </a:lnTo>
                    <a:lnTo>
                      <a:pt x="811" y="317"/>
                    </a:lnTo>
                    <a:lnTo>
                      <a:pt x="811" y="319"/>
                    </a:lnTo>
                    <a:lnTo>
                      <a:pt x="809" y="319"/>
                    </a:lnTo>
                    <a:lnTo>
                      <a:pt x="809" y="320"/>
                    </a:lnTo>
                    <a:lnTo>
                      <a:pt x="807" y="320"/>
                    </a:lnTo>
                    <a:lnTo>
                      <a:pt x="807" y="322"/>
                    </a:lnTo>
                    <a:lnTo>
                      <a:pt x="805" y="322"/>
                    </a:lnTo>
                    <a:lnTo>
                      <a:pt x="807" y="320"/>
                    </a:lnTo>
                    <a:lnTo>
                      <a:pt x="805" y="322"/>
                    </a:lnTo>
                    <a:lnTo>
                      <a:pt x="807" y="320"/>
                    </a:lnTo>
                    <a:lnTo>
                      <a:pt x="805" y="322"/>
                    </a:lnTo>
                    <a:lnTo>
                      <a:pt x="803" y="322"/>
                    </a:lnTo>
                    <a:lnTo>
                      <a:pt x="801" y="320"/>
                    </a:lnTo>
                    <a:lnTo>
                      <a:pt x="799" y="322"/>
                    </a:lnTo>
                    <a:lnTo>
                      <a:pt x="799" y="320"/>
                    </a:lnTo>
                    <a:lnTo>
                      <a:pt x="799" y="322"/>
                    </a:lnTo>
                    <a:lnTo>
                      <a:pt x="798" y="322"/>
                    </a:lnTo>
                    <a:lnTo>
                      <a:pt x="796" y="322"/>
                    </a:lnTo>
                    <a:lnTo>
                      <a:pt x="796" y="324"/>
                    </a:lnTo>
                    <a:lnTo>
                      <a:pt x="796" y="322"/>
                    </a:lnTo>
                    <a:lnTo>
                      <a:pt x="794" y="322"/>
                    </a:lnTo>
                    <a:lnTo>
                      <a:pt x="792" y="322"/>
                    </a:lnTo>
                    <a:lnTo>
                      <a:pt x="794" y="324"/>
                    </a:lnTo>
                    <a:lnTo>
                      <a:pt x="792" y="324"/>
                    </a:lnTo>
                    <a:lnTo>
                      <a:pt x="794" y="324"/>
                    </a:lnTo>
                    <a:lnTo>
                      <a:pt x="792" y="324"/>
                    </a:lnTo>
                    <a:lnTo>
                      <a:pt x="790" y="324"/>
                    </a:lnTo>
                    <a:lnTo>
                      <a:pt x="790" y="326"/>
                    </a:lnTo>
                    <a:lnTo>
                      <a:pt x="788" y="324"/>
                    </a:lnTo>
                    <a:lnTo>
                      <a:pt x="788" y="326"/>
                    </a:lnTo>
                    <a:lnTo>
                      <a:pt x="788" y="324"/>
                    </a:lnTo>
                    <a:lnTo>
                      <a:pt x="788" y="326"/>
                    </a:lnTo>
                    <a:lnTo>
                      <a:pt x="788" y="324"/>
                    </a:lnTo>
                    <a:lnTo>
                      <a:pt x="788" y="326"/>
                    </a:lnTo>
                    <a:lnTo>
                      <a:pt x="786" y="326"/>
                    </a:lnTo>
                    <a:lnTo>
                      <a:pt x="784" y="328"/>
                    </a:lnTo>
                    <a:lnTo>
                      <a:pt x="782" y="328"/>
                    </a:lnTo>
                    <a:lnTo>
                      <a:pt x="782" y="330"/>
                    </a:lnTo>
                    <a:lnTo>
                      <a:pt x="780" y="330"/>
                    </a:lnTo>
                    <a:lnTo>
                      <a:pt x="778" y="330"/>
                    </a:lnTo>
                    <a:lnTo>
                      <a:pt x="778" y="332"/>
                    </a:lnTo>
                    <a:lnTo>
                      <a:pt x="778" y="330"/>
                    </a:lnTo>
                    <a:lnTo>
                      <a:pt x="778" y="332"/>
                    </a:lnTo>
                    <a:lnTo>
                      <a:pt x="777" y="332"/>
                    </a:lnTo>
                    <a:lnTo>
                      <a:pt x="778" y="332"/>
                    </a:lnTo>
                    <a:lnTo>
                      <a:pt x="777" y="332"/>
                    </a:lnTo>
                    <a:lnTo>
                      <a:pt x="775" y="334"/>
                    </a:lnTo>
                    <a:lnTo>
                      <a:pt x="775" y="336"/>
                    </a:lnTo>
                    <a:lnTo>
                      <a:pt x="773" y="336"/>
                    </a:lnTo>
                    <a:lnTo>
                      <a:pt x="773" y="338"/>
                    </a:lnTo>
                    <a:lnTo>
                      <a:pt x="771" y="338"/>
                    </a:lnTo>
                    <a:lnTo>
                      <a:pt x="771" y="340"/>
                    </a:lnTo>
                    <a:lnTo>
                      <a:pt x="769" y="340"/>
                    </a:lnTo>
                    <a:lnTo>
                      <a:pt x="769" y="338"/>
                    </a:lnTo>
                    <a:lnTo>
                      <a:pt x="767" y="338"/>
                    </a:lnTo>
                    <a:lnTo>
                      <a:pt x="769" y="338"/>
                    </a:lnTo>
                    <a:lnTo>
                      <a:pt x="767" y="338"/>
                    </a:lnTo>
                    <a:lnTo>
                      <a:pt x="767" y="340"/>
                    </a:lnTo>
                    <a:lnTo>
                      <a:pt x="769" y="340"/>
                    </a:lnTo>
                    <a:lnTo>
                      <a:pt x="767" y="341"/>
                    </a:lnTo>
                    <a:lnTo>
                      <a:pt x="765" y="341"/>
                    </a:lnTo>
                    <a:lnTo>
                      <a:pt x="763" y="341"/>
                    </a:lnTo>
                    <a:lnTo>
                      <a:pt x="761" y="341"/>
                    </a:lnTo>
                    <a:lnTo>
                      <a:pt x="761" y="343"/>
                    </a:lnTo>
                    <a:lnTo>
                      <a:pt x="759" y="343"/>
                    </a:lnTo>
                    <a:lnTo>
                      <a:pt x="761" y="343"/>
                    </a:lnTo>
                    <a:lnTo>
                      <a:pt x="759" y="343"/>
                    </a:lnTo>
                    <a:lnTo>
                      <a:pt x="759" y="341"/>
                    </a:lnTo>
                    <a:lnTo>
                      <a:pt x="759" y="343"/>
                    </a:lnTo>
                    <a:lnTo>
                      <a:pt x="759" y="341"/>
                    </a:lnTo>
                    <a:lnTo>
                      <a:pt x="758" y="341"/>
                    </a:lnTo>
                    <a:lnTo>
                      <a:pt x="758" y="340"/>
                    </a:lnTo>
                    <a:lnTo>
                      <a:pt x="759" y="340"/>
                    </a:lnTo>
                    <a:lnTo>
                      <a:pt x="761" y="340"/>
                    </a:lnTo>
                    <a:lnTo>
                      <a:pt x="761" y="338"/>
                    </a:lnTo>
                    <a:lnTo>
                      <a:pt x="763" y="338"/>
                    </a:lnTo>
                    <a:lnTo>
                      <a:pt x="765" y="338"/>
                    </a:lnTo>
                    <a:lnTo>
                      <a:pt x="767" y="336"/>
                    </a:lnTo>
                    <a:lnTo>
                      <a:pt x="765" y="336"/>
                    </a:lnTo>
                    <a:lnTo>
                      <a:pt x="767" y="336"/>
                    </a:lnTo>
                    <a:lnTo>
                      <a:pt x="767" y="338"/>
                    </a:lnTo>
                    <a:lnTo>
                      <a:pt x="767" y="336"/>
                    </a:lnTo>
                    <a:lnTo>
                      <a:pt x="765" y="334"/>
                    </a:lnTo>
                    <a:lnTo>
                      <a:pt x="767" y="334"/>
                    </a:lnTo>
                    <a:lnTo>
                      <a:pt x="767" y="332"/>
                    </a:lnTo>
                    <a:lnTo>
                      <a:pt x="769" y="332"/>
                    </a:lnTo>
                    <a:lnTo>
                      <a:pt x="769" y="330"/>
                    </a:lnTo>
                    <a:lnTo>
                      <a:pt x="771" y="330"/>
                    </a:lnTo>
                    <a:lnTo>
                      <a:pt x="769" y="330"/>
                    </a:lnTo>
                    <a:lnTo>
                      <a:pt x="767" y="330"/>
                    </a:lnTo>
                    <a:lnTo>
                      <a:pt x="769" y="330"/>
                    </a:lnTo>
                    <a:lnTo>
                      <a:pt x="767" y="332"/>
                    </a:lnTo>
                    <a:lnTo>
                      <a:pt x="765" y="332"/>
                    </a:lnTo>
                    <a:lnTo>
                      <a:pt x="765" y="330"/>
                    </a:lnTo>
                    <a:lnTo>
                      <a:pt x="763" y="330"/>
                    </a:lnTo>
                    <a:lnTo>
                      <a:pt x="763" y="332"/>
                    </a:lnTo>
                    <a:lnTo>
                      <a:pt x="763" y="330"/>
                    </a:lnTo>
                    <a:lnTo>
                      <a:pt x="761" y="330"/>
                    </a:lnTo>
                    <a:lnTo>
                      <a:pt x="763" y="330"/>
                    </a:lnTo>
                    <a:lnTo>
                      <a:pt x="761" y="330"/>
                    </a:lnTo>
                    <a:lnTo>
                      <a:pt x="763" y="328"/>
                    </a:lnTo>
                    <a:lnTo>
                      <a:pt x="761" y="328"/>
                    </a:lnTo>
                    <a:lnTo>
                      <a:pt x="759" y="328"/>
                    </a:lnTo>
                    <a:lnTo>
                      <a:pt x="761" y="326"/>
                    </a:lnTo>
                    <a:lnTo>
                      <a:pt x="763" y="326"/>
                    </a:lnTo>
                    <a:lnTo>
                      <a:pt x="763" y="324"/>
                    </a:lnTo>
                    <a:lnTo>
                      <a:pt x="765" y="324"/>
                    </a:lnTo>
                    <a:lnTo>
                      <a:pt x="765" y="326"/>
                    </a:lnTo>
                    <a:lnTo>
                      <a:pt x="765" y="324"/>
                    </a:lnTo>
                    <a:lnTo>
                      <a:pt x="763" y="322"/>
                    </a:lnTo>
                    <a:lnTo>
                      <a:pt x="765" y="322"/>
                    </a:lnTo>
                    <a:lnTo>
                      <a:pt x="765" y="320"/>
                    </a:lnTo>
                    <a:lnTo>
                      <a:pt x="767" y="320"/>
                    </a:lnTo>
                    <a:lnTo>
                      <a:pt x="767" y="319"/>
                    </a:lnTo>
                    <a:lnTo>
                      <a:pt x="769" y="320"/>
                    </a:lnTo>
                    <a:lnTo>
                      <a:pt x="769" y="319"/>
                    </a:lnTo>
                    <a:lnTo>
                      <a:pt x="771" y="319"/>
                    </a:lnTo>
                    <a:lnTo>
                      <a:pt x="771" y="317"/>
                    </a:lnTo>
                    <a:lnTo>
                      <a:pt x="771" y="319"/>
                    </a:lnTo>
                    <a:lnTo>
                      <a:pt x="771" y="317"/>
                    </a:lnTo>
                    <a:lnTo>
                      <a:pt x="773" y="315"/>
                    </a:lnTo>
                    <a:lnTo>
                      <a:pt x="773" y="313"/>
                    </a:lnTo>
                    <a:lnTo>
                      <a:pt x="773" y="315"/>
                    </a:lnTo>
                    <a:lnTo>
                      <a:pt x="773" y="313"/>
                    </a:lnTo>
                    <a:lnTo>
                      <a:pt x="775" y="313"/>
                    </a:lnTo>
                    <a:lnTo>
                      <a:pt x="773" y="313"/>
                    </a:lnTo>
                    <a:lnTo>
                      <a:pt x="775" y="313"/>
                    </a:lnTo>
                    <a:lnTo>
                      <a:pt x="775" y="311"/>
                    </a:lnTo>
                    <a:lnTo>
                      <a:pt x="773" y="311"/>
                    </a:lnTo>
                    <a:lnTo>
                      <a:pt x="775" y="311"/>
                    </a:lnTo>
                    <a:lnTo>
                      <a:pt x="777" y="311"/>
                    </a:lnTo>
                    <a:lnTo>
                      <a:pt x="775" y="311"/>
                    </a:lnTo>
                    <a:lnTo>
                      <a:pt x="777" y="311"/>
                    </a:lnTo>
                    <a:lnTo>
                      <a:pt x="777" y="309"/>
                    </a:lnTo>
                    <a:lnTo>
                      <a:pt x="777" y="307"/>
                    </a:lnTo>
                    <a:lnTo>
                      <a:pt x="775" y="305"/>
                    </a:lnTo>
                    <a:lnTo>
                      <a:pt x="775" y="303"/>
                    </a:lnTo>
                    <a:lnTo>
                      <a:pt x="773" y="303"/>
                    </a:lnTo>
                    <a:lnTo>
                      <a:pt x="773" y="301"/>
                    </a:lnTo>
                    <a:lnTo>
                      <a:pt x="773" y="303"/>
                    </a:lnTo>
                    <a:lnTo>
                      <a:pt x="771" y="301"/>
                    </a:lnTo>
                    <a:lnTo>
                      <a:pt x="773" y="301"/>
                    </a:lnTo>
                    <a:lnTo>
                      <a:pt x="771" y="301"/>
                    </a:lnTo>
                    <a:lnTo>
                      <a:pt x="771" y="299"/>
                    </a:lnTo>
                    <a:lnTo>
                      <a:pt x="771" y="301"/>
                    </a:lnTo>
                    <a:lnTo>
                      <a:pt x="771" y="299"/>
                    </a:lnTo>
                    <a:lnTo>
                      <a:pt x="769" y="298"/>
                    </a:lnTo>
                    <a:lnTo>
                      <a:pt x="771" y="296"/>
                    </a:lnTo>
                    <a:lnTo>
                      <a:pt x="769" y="296"/>
                    </a:lnTo>
                    <a:lnTo>
                      <a:pt x="771" y="296"/>
                    </a:lnTo>
                    <a:lnTo>
                      <a:pt x="769" y="298"/>
                    </a:lnTo>
                    <a:lnTo>
                      <a:pt x="769" y="299"/>
                    </a:lnTo>
                    <a:lnTo>
                      <a:pt x="767" y="299"/>
                    </a:lnTo>
                    <a:lnTo>
                      <a:pt x="767" y="301"/>
                    </a:lnTo>
                    <a:lnTo>
                      <a:pt x="767" y="299"/>
                    </a:lnTo>
                    <a:lnTo>
                      <a:pt x="767" y="301"/>
                    </a:lnTo>
                    <a:lnTo>
                      <a:pt x="767" y="299"/>
                    </a:lnTo>
                    <a:lnTo>
                      <a:pt x="765" y="299"/>
                    </a:lnTo>
                    <a:lnTo>
                      <a:pt x="763" y="299"/>
                    </a:lnTo>
                    <a:lnTo>
                      <a:pt x="761" y="299"/>
                    </a:lnTo>
                    <a:lnTo>
                      <a:pt x="759" y="299"/>
                    </a:lnTo>
                    <a:lnTo>
                      <a:pt x="759" y="298"/>
                    </a:lnTo>
                    <a:lnTo>
                      <a:pt x="759" y="299"/>
                    </a:lnTo>
                    <a:lnTo>
                      <a:pt x="758" y="299"/>
                    </a:lnTo>
                    <a:lnTo>
                      <a:pt x="758" y="301"/>
                    </a:lnTo>
                    <a:lnTo>
                      <a:pt x="758" y="299"/>
                    </a:lnTo>
                    <a:lnTo>
                      <a:pt x="756" y="301"/>
                    </a:lnTo>
                    <a:lnTo>
                      <a:pt x="758" y="301"/>
                    </a:lnTo>
                    <a:lnTo>
                      <a:pt x="756" y="301"/>
                    </a:lnTo>
                    <a:lnTo>
                      <a:pt x="756" y="303"/>
                    </a:lnTo>
                    <a:lnTo>
                      <a:pt x="758" y="301"/>
                    </a:lnTo>
                    <a:lnTo>
                      <a:pt x="758" y="303"/>
                    </a:lnTo>
                    <a:lnTo>
                      <a:pt x="756" y="303"/>
                    </a:lnTo>
                    <a:lnTo>
                      <a:pt x="754" y="303"/>
                    </a:lnTo>
                    <a:lnTo>
                      <a:pt x="754" y="305"/>
                    </a:lnTo>
                    <a:lnTo>
                      <a:pt x="752" y="307"/>
                    </a:lnTo>
                    <a:lnTo>
                      <a:pt x="750" y="309"/>
                    </a:lnTo>
                    <a:lnTo>
                      <a:pt x="750" y="311"/>
                    </a:lnTo>
                    <a:lnTo>
                      <a:pt x="748" y="311"/>
                    </a:lnTo>
                    <a:lnTo>
                      <a:pt x="750" y="311"/>
                    </a:lnTo>
                    <a:lnTo>
                      <a:pt x="748" y="313"/>
                    </a:lnTo>
                    <a:lnTo>
                      <a:pt x="750" y="313"/>
                    </a:lnTo>
                    <a:lnTo>
                      <a:pt x="748" y="313"/>
                    </a:lnTo>
                    <a:lnTo>
                      <a:pt x="746" y="315"/>
                    </a:lnTo>
                    <a:lnTo>
                      <a:pt x="742" y="317"/>
                    </a:lnTo>
                    <a:lnTo>
                      <a:pt x="740" y="317"/>
                    </a:lnTo>
                    <a:lnTo>
                      <a:pt x="740" y="319"/>
                    </a:lnTo>
                    <a:lnTo>
                      <a:pt x="738" y="319"/>
                    </a:lnTo>
                    <a:lnTo>
                      <a:pt x="737" y="319"/>
                    </a:lnTo>
                    <a:lnTo>
                      <a:pt x="735" y="319"/>
                    </a:lnTo>
                    <a:lnTo>
                      <a:pt x="735" y="320"/>
                    </a:lnTo>
                    <a:lnTo>
                      <a:pt x="733" y="320"/>
                    </a:lnTo>
                    <a:lnTo>
                      <a:pt x="733" y="322"/>
                    </a:lnTo>
                    <a:lnTo>
                      <a:pt x="731" y="324"/>
                    </a:lnTo>
                    <a:lnTo>
                      <a:pt x="729" y="328"/>
                    </a:lnTo>
                    <a:lnTo>
                      <a:pt x="729" y="330"/>
                    </a:lnTo>
                    <a:lnTo>
                      <a:pt x="729" y="332"/>
                    </a:lnTo>
                    <a:lnTo>
                      <a:pt x="727" y="330"/>
                    </a:lnTo>
                    <a:lnTo>
                      <a:pt x="727" y="332"/>
                    </a:lnTo>
                    <a:lnTo>
                      <a:pt x="725" y="334"/>
                    </a:lnTo>
                    <a:lnTo>
                      <a:pt x="725" y="336"/>
                    </a:lnTo>
                    <a:lnTo>
                      <a:pt x="725" y="334"/>
                    </a:lnTo>
                    <a:lnTo>
                      <a:pt x="723" y="336"/>
                    </a:lnTo>
                    <a:lnTo>
                      <a:pt x="725" y="334"/>
                    </a:lnTo>
                    <a:lnTo>
                      <a:pt x="723" y="336"/>
                    </a:lnTo>
                    <a:lnTo>
                      <a:pt x="721" y="336"/>
                    </a:lnTo>
                    <a:lnTo>
                      <a:pt x="719" y="336"/>
                    </a:lnTo>
                    <a:lnTo>
                      <a:pt x="717" y="336"/>
                    </a:lnTo>
                    <a:lnTo>
                      <a:pt x="717" y="338"/>
                    </a:lnTo>
                    <a:lnTo>
                      <a:pt x="717" y="340"/>
                    </a:lnTo>
                    <a:lnTo>
                      <a:pt x="719" y="338"/>
                    </a:lnTo>
                    <a:lnTo>
                      <a:pt x="719" y="340"/>
                    </a:lnTo>
                    <a:lnTo>
                      <a:pt x="717" y="340"/>
                    </a:lnTo>
                    <a:lnTo>
                      <a:pt x="716" y="338"/>
                    </a:lnTo>
                    <a:lnTo>
                      <a:pt x="716" y="340"/>
                    </a:lnTo>
                    <a:lnTo>
                      <a:pt x="716" y="338"/>
                    </a:lnTo>
                    <a:lnTo>
                      <a:pt x="716" y="340"/>
                    </a:lnTo>
                    <a:lnTo>
                      <a:pt x="716" y="338"/>
                    </a:lnTo>
                    <a:lnTo>
                      <a:pt x="714" y="338"/>
                    </a:lnTo>
                    <a:lnTo>
                      <a:pt x="712" y="338"/>
                    </a:lnTo>
                    <a:lnTo>
                      <a:pt x="714" y="338"/>
                    </a:lnTo>
                    <a:lnTo>
                      <a:pt x="712" y="338"/>
                    </a:lnTo>
                    <a:lnTo>
                      <a:pt x="712" y="334"/>
                    </a:lnTo>
                    <a:lnTo>
                      <a:pt x="710" y="334"/>
                    </a:lnTo>
                    <a:lnTo>
                      <a:pt x="708" y="334"/>
                    </a:lnTo>
                    <a:lnTo>
                      <a:pt x="708" y="336"/>
                    </a:lnTo>
                    <a:lnTo>
                      <a:pt x="708" y="334"/>
                    </a:lnTo>
                    <a:lnTo>
                      <a:pt x="708" y="336"/>
                    </a:lnTo>
                    <a:lnTo>
                      <a:pt x="706" y="336"/>
                    </a:lnTo>
                    <a:lnTo>
                      <a:pt x="706" y="338"/>
                    </a:lnTo>
                    <a:lnTo>
                      <a:pt x="704" y="336"/>
                    </a:lnTo>
                    <a:lnTo>
                      <a:pt x="702" y="336"/>
                    </a:lnTo>
                    <a:lnTo>
                      <a:pt x="704" y="336"/>
                    </a:lnTo>
                    <a:lnTo>
                      <a:pt x="704" y="338"/>
                    </a:lnTo>
                    <a:lnTo>
                      <a:pt x="706" y="338"/>
                    </a:lnTo>
                    <a:lnTo>
                      <a:pt x="706" y="340"/>
                    </a:lnTo>
                    <a:lnTo>
                      <a:pt x="706" y="338"/>
                    </a:lnTo>
                    <a:lnTo>
                      <a:pt x="706" y="340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4" y="340"/>
                    </a:lnTo>
                    <a:lnTo>
                      <a:pt x="704" y="338"/>
                    </a:lnTo>
                    <a:lnTo>
                      <a:pt x="704" y="340"/>
                    </a:lnTo>
                    <a:lnTo>
                      <a:pt x="706" y="340"/>
                    </a:lnTo>
                    <a:lnTo>
                      <a:pt x="706" y="341"/>
                    </a:lnTo>
                    <a:lnTo>
                      <a:pt x="704" y="341"/>
                    </a:lnTo>
                    <a:lnTo>
                      <a:pt x="706" y="341"/>
                    </a:lnTo>
                    <a:lnTo>
                      <a:pt x="704" y="341"/>
                    </a:lnTo>
                    <a:lnTo>
                      <a:pt x="702" y="341"/>
                    </a:lnTo>
                    <a:lnTo>
                      <a:pt x="702" y="343"/>
                    </a:lnTo>
                    <a:lnTo>
                      <a:pt x="704" y="343"/>
                    </a:lnTo>
                    <a:lnTo>
                      <a:pt x="704" y="345"/>
                    </a:lnTo>
                    <a:lnTo>
                      <a:pt x="702" y="345"/>
                    </a:lnTo>
                    <a:lnTo>
                      <a:pt x="702" y="347"/>
                    </a:lnTo>
                    <a:lnTo>
                      <a:pt x="704" y="347"/>
                    </a:lnTo>
                    <a:lnTo>
                      <a:pt x="704" y="349"/>
                    </a:lnTo>
                    <a:lnTo>
                      <a:pt x="706" y="353"/>
                    </a:lnTo>
                    <a:lnTo>
                      <a:pt x="706" y="351"/>
                    </a:lnTo>
                    <a:lnTo>
                      <a:pt x="706" y="353"/>
                    </a:lnTo>
                    <a:lnTo>
                      <a:pt x="708" y="351"/>
                    </a:lnTo>
                    <a:lnTo>
                      <a:pt x="706" y="353"/>
                    </a:lnTo>
                    <a:lnTo>
                      <a:pt x="708" y="353"/>
                    </a:lnTo>
                    <a:lnTo>
                      <a:pt x="708" y="355"/>
                    </a:lnTo>
                    <a:lnTo>
                      <a:pt x="710" y="355"/>
                    </a:lnTo>
                    <a:lnTo>
                      <a:pt x="710" y="353"/>
                    </a:lnTo>
                    <a:lnTo>
                      <a:pt x="710" y="355"/>
                    </a:lnTo>
                    <a:lnTo>
                      <a:pt x="710" y="357"/>
                    </a:lnTo>
                    <a:lnTo>
                      <a:pt x="710" y="355"/>
                    </a:lnTo>
                    <a:lnTo>
                      <a:pt x="710" y="357"/>
                    </a:lnTo>
                    <a:lnTo>
                      <a:pt x="712" y="357"/>
                    </a:lnTo>
                    <a:lnTo>
                      <a:pt x="714" y="357"/>
                    </a:lnTo>
                    <a:lnTo>
                      <a:pt x="716" y="357"/>
                    </a:lnTo>
                    <a:lnTo>
                      <a:pt x="717" y="357"/>
                    </a:lnTo>
                    <a:lnTo>
                      <a:pt x="717" y="359"/>
                    </a:lnTo>
                    <a:lnTo>
                      <a:pt x="719" y="359"/>
                    </a:lnTo>
                    <a:lnTo>
                      <a:pt x="717" y="357"/>
                    </a:lnTo>
                    <a:lnTo>
                      <a:pt x="719" y="357"/>
                    </a:lnTo>
                    <a:lnTo>
                      <a:pt x="721" y="357"/>
                    </a:lnTo>
                    <a:lnTo>
                      <a:pt x="723" y="357"/>
                    </a:lnTo>
                    <a:lnTo>
                      <a:pt x="725" y="357"/>
                    </a:lnTo>
                    <a:lnTo>
                      <a:pt x="723" y="357"/>
                    </a:lnTo>
                    <a:lnTo>
                      <a:pt x="725" y="357"/>
                    </a:lnTo>
                    <a:lnTo>
                      <a:pt x="723" y="359"/>
                    </a:lnTo>
                    <a:lnTo>
                      <a:pt x="725" y="359"/>
                    </a:lnTo>
                    <a:lnTo>
                      <a:pt x="725" y="361"/>
                    </a:lnTo>
                    <a:lnTo>
                      <a:pt x="727" y="361"/>
                    </a:lnTo>
                    <a:lnTo>
                      <a:pt x="727" y="362"/>
                    </a:lnTo>
                    <a:lnTo>
                      <a:pt x="729" y="362"/>
                    </a:lnTo>
                    <a:lnTo>
                      <a:pt x="731" y="362"/>
                    </a:lnTo>
                    <a:lnTo>
                      <a:pt x="729" y="362"/>
                    </a:lnTo>
                    <a:lnTo>
                      <a:pt x="731" y="362"/>
                    </a:lnTo>
                    <a:lnTo>
                      <a:pt x="729" y="364"/>
                    </a:lnTo>
                    <a:lnTo>
                      <a:pt x="729" y="366"/>
                    </a:lnTo>
                    <a:lnTo>
                      <a:pt x="729" y="364"/>
                    </a:lnTo>
                    <a:lnTo>
                      <a:pt x="727" y="364"/>
                    </a:lnTo>
                    <a:lnTo>
                      <a:pt x="725" y="364"/>
                    </a:lnTo>
                    <a:lnTo>
                      <a:pt x="725" y="366"/>
                    </a:lnTo>
                    <a:lnTo>
                      <a:pt x="723" y="368"/>
                    </a:lnTo>
                    <a:lnTo>
                      <a:pt x="723" y="370"/>
                    </a:lnTo>
                    <a:lnTo>
                      <a:pt x="723" y="372"/>
                    </a:lnTo>
                    <a:lnTo>
                      <a:pt x="725" y="372"/>
                    </a:lnTo>
                    <a:lnTo>
                      <a:pt x="723" y="372"/>
                    </a:lnTo>
                    <a:lnTo>
                      <a:pt x="725" y="372"/>
                    </a:lnTo>
                    <a:lnTo>
                      <a:pt x="723" y="372"/>
                    </a:lnTo>
                    <a:lnTo>
                      <a:pt x="725" y="374"/>
                    </a:lnTo>
                    <a:lnTo>
                      <a:pt x="725" y="376"/>
                    </a:lnTo>
                    <a:lnTo>
                      <a:pt x="725" y="374"/>
                    </a:lnTo>
                    <a:lnTo>
                      <a:pt x="727" y="374"/>
                    </a:lnTo>
                    <a:lnTo>
                      <a:pt x="727" y="376"/>
                    </a:lnTo>
                    <a:lnTo>
                      <a:pt x="727" y="374"/>
                    </a:lnTo>
                    <a:lnTo>
                      <a:pt x="729" y="374"/>
                    </a:lnTo>
                    <a:lnTo>
                      <a:pt x="727" y="378"/>
                    </a:lnTo>
                    <a:lnTo>
                      <a:pt x="729" y="376"/>
                    </a:lnTo>
                    <a:lnTo>
                      <a:pt x="731" y="378"/>
                    </a:lnTo>
                    <a:lnTo>
                      <a:pt x="731" y="376"/>
                    </a:lnTo>
                    <a:lnTo>
                      <a:pt x="733" y="376"/>
                    </a:lnTo>
                    <a:lnTo>
                      <a:pt x="733" y="378"/>
                    </a:lnTo>
                    <a:lnTo>
                      <a:pt x="733" y="376"/>
                    </a:lnTo>
                    <a:lnTo>
                      <a:pt x="735" y="376"/>
                    </a:lnTo>
                    <a:lnTo>
                      <a:pt x="735" y="378"/>
                    </a:lnTo>
                    <a:lnTo>
                      <a:pt x="735" y="376"/>
                    </a:lnTo>
                    <a:lnTo>
                      <a:pt x="737" y="376"/>
                    </a:lnTo>
                    <a:lnTo>
                      <a:pt x="738" y="376"/>
                    </a:lnTo>
                    <a:lnTo>
                      <a:pt x="738" y="374"/>
                    </a:lnTo>
                    <a:lnTo>
                      <a:pt x="738" y="372"/>
                    </a:lnTo>
                    <a:lnTo>
                      <a:pt x="740" y="372"/>
                    </a:lnTo>
                    <a:lnTo>
                      <a:pt x="740" y="370"/>
                    </a:lnTo>
                    <a:lnTo>
                      <a:pt x="742" y="370"/>
                    </a:lnTo>
                    <a:lnTo>
                      <a:pt x="744" y="370"/>
                    </a:lnTo>
                    <a:lnTo>
                      <a:pt x="744" y="368"/>
                    </a:lnTo>
                    <a:lnTo>
                      <a:pt x="746" y="368"/>
                    </a:lnTo>
                    <a:lnTo>
                      <a:pt x="744" y="368"/>
                    </a:lnTo>
                    <a:lnTo>
                      <a:pt x="744" y="366"/>
                    </a:lnTo>
                    <a:lnTo>
                      <a:pt x="746" y="366"/>
                    </a:lnTo>
                    <a:lnTo>
                      <a:pt x="744" y="366"/>
                    </a:lnTo>
                    <a:lnTo>
                      <a:pt x="744" y="364"/>
                    </a:lnTo>
                    <a:lnTo>
                      <a:pt x="746" y="364"/>
                    </a:lnTo>
                    <a:lnTo>
                      <a:pt x="748" y="364"/>
                    </a:lnTo>
                    <a:lnTo>
                      <a:pt x="750" y="364"/>
                    </a:lnTo>
                    <a:lnTo>
                      <a:pt x="752" y="362"/>
                    </a:lnTo>
                    <a:lnTo>
                      <a:pt x="754" y="362"/>
                    </a:lnTo>
                    <a:lnTo>
                      <a:pt x="756" y="362"/>
                    </a:lnTo>
                    <a:lnTo>
                      <a:pt x="758" y="364"/>
                    </a:lnTo>
                    <a:lnTo>
                      <a:pt x="759" y="364"/>
                    </a:lnTo>
                    <a:lnTo>
                      <a:pt x="759" y="366"/>
                    </a:lnTo>
                    <a:lnTo>
                      <a:pt x="761" y="368"/>
                    </a:lnTo>
                    <a:lnTo>
                      <a:pt x="763" y="366"/>
                    </a:lnTo>
                    <a:lnTo>
                      <a:pt x="761" y="366"/>
                    </a:lnTo>
                    <a:lnTo>
                      <a:pt x="763" y="366"/>
                    </a:lnTo>
                    <a:lnTo>
                      <a:pt x="763" y="368"/>
                    </a:lnTo>
                    <a:lnTo>
                      <a:pt x="765" y="370"/>
                    </a:lnTo>
                    <a:lnTo>
                      <a:pt x="767" y="370"/>
                    </a:lnTo>
                    <a:lnTo>
                      <a:pt x="765" y="370"/>
                    </a:lnTo>
                    <a:lnTo>
                      <a:pt x="767" y="370"/>
                    </a:lnTo>
                    <a:lnTo>
                      <a:pt x="769" y="370"/>
                    </a:lnTo>
                    <a:lnTo>
                      <a:pt x="773" y="370"/>
                    </a:lnTo>
                    <a:lnTo>
                      <a:pt x="773" y="368"/>
                    </a:lnTo>
                    <a:lnTo>
                      <a:pt x="775" y="368"/>
                    </a:lnTo>
                    <a:lnTo>
                      <a:pt x="773" y="368"/>
                    </a:lnTo>
                    <a:lnTo>
                      <a:pt x="775" y="368"/>
                    </a:lnTo>
                    <a:lnTo>
                      <a:pt x="775" y="370"/>
                    </a:lnTo>
                    <a:lnTo>
                      <a:pt x="777" y="370"/>
                    </a:lnTo>
                    <a:lnTo>
                      <a:pt x="778" y="370"/>
                    </a:lnTo>
                    <a:lnTo>
                      <a:pt x="780" y="370"/>
                    </a:lnTo>
                    <a:lnTo>
                      <a:pt x="782" y="370"/>
                    </a:lnTo>
                    <a:lnTo>
                      <a:pt x="784" y="370"/>
                    </a:lnTo>
                    <a:lnTo>
                      <a:pt x="784" y="372"/>
                    </a:lnTo>
                    <a:lnTo>
                      <a:pt x="782" y="370"/>
                    </a:lnTo>
                    <a:lnTo>
                      <a:pt x="782" y="372"/>
                    </a:lnTo>
                    <a:lnTo>
                      <a:pt x="782" y="374"/>
                    </a:lnTo>
                    <a:lnTo>
                      <a:pt x="782" y="376"/>
                    </a:lnTo>
                    <a:lnTo>
                      <a:pt x="780" y="376"/>
                    </a:lnTo>
                    <a:lnTo>
                      <a:pt x="780" y="378"/>
                    </a:lnTo>
                    <a:lnTo>
                      <a:pt x="782" y="378"/>
                    </a:lnTo>
                    <a:lnTo>
                      <a:pt x="780" y="378"/>
                    </a:lnTo>
                    <a:lnTo>
                      <a:pt x="782" y="380"/>
                    </a:lnTo>
                    <a:lnTo>
                      <a:pt x="780" y="380"/>
                    </a:lnTo>
                    <a:lnTo>
                      <a:pt x="780" y="382"/>
                    </a:lnTo>
                    <a:lnTo>
                      <a:pt x="780" y="380"/>
                    </a:lnTo>
                    <a:lnTo>
                      <a:pt x="778" y="382"/>
                    </a:lnTo>
                    <a:lnTo>
                      <a:pt x="780" y="382"/>
                    </a:lnTo>
                    <a:lnTo>
                      <a:pt x="778" y="382"/>
                    </a:lnTo>
                    <a:lnTo>
                      <a:pt x="777" y="382"/>
                    </a:lnTo>
                    <a:lnTo>
                      <a:pt x="775" y="382"/>
                    </a:lnTo>
                    <a:lnTo>
                      <a:pt x="777" y="382"/>
                    </a:lnTo>
                    <a:lnTo>
                      <a:pt x="775" y="382"/>
                    </a:lnTo>
                    <a:lnTo>
                      <a:pt x="777" y="382"/>
                    </a:lnTo>
                    <a:lnTo>
                      <a:pt x="777" y="380"/>
                    </a:lnTo>
                    <a:lnTo>
                      <a:pt x="775" y="382"/>
                    </a:lnTo>
                    <a:lnTo>
                      <a:pt x="775" y="380"/>
                    </a:lnTo>
                    <a:lnTo>
                      <a:pt x="777" y="380"/>
                    </a:lnTo>
                    <a:lnTo>
                      <a:pt x="777" y="378"/>
                    </a:lnTo>
                    <a:lnTo>
                      <a:pt x="775" y="378"/>
                    </a:lnTo>
                    <a:lnTo>
                      <a:pt x="777" y="378"/>
                    </a:lnTo>
                    <a:lnTo>
                      <a:pt x="775" y="380"/>
                    </a:lnTo>
                    <a:lnTo>
                      <a:pt x="773" y="382"/>
                    </a:lnTo>
                    <a:lnTo>
                      <a:pt x="773" y="380"/>
                    </a:lnTo>
                    <a:lnTo>
                      <a:pt x="769" y="382"/>
                    </a:lnTo>
                    <a:lnTo>
                      <a:pt x="767" y="383"/>
                    </a:lnTo>
                    <a:lnTo>
                      <a:pt x="767" y="382"/>
                    </a:lnTo>
                    <a:lnTo>
                      <a:pt x="767" y="383"/>
                    </a:lnTo>
                    <a:lnTo>
                      <a:pt x="765" y="383"/>
                    </a:lnTo>
                    <a:lnTo>
                      <a:pt x="765" y="382"/>
                    </a:lnTo>
                    <a:lnTo>
                      <a:pt x="765" y="383"/>
                    </a:lnTo>
                    <a:lnTo>
                      <a:pt x="765" y="382"/>
                    </a:lnTo>
                    <a:lnTo>
                      <a:pt x="763" y="382"/>
                    </a:lnTo>
                    <a:lnTo>
                      <a:pt x="765" y="383"/>
                    </a:lnTo>
                    <a:lnTo>
                      <a:pt x="763" y="383"/>
                    </a:lnTo>
                    <a:lnTo>
                      <a:pt x="763" y="385"/>
                    </a:lnTo>
                    <a:lnTo>
                      <a:pt x="761" y="385"/>
                    </a:lnTo>
                    <a:lnTo>
                      <a:pt x="759" y="385"/>
                    </a:lnTo>
                    <a:lnTo>
                      <a:pt x="758" y="387"/>
                    </a:lnTo>
                    <a:lnTo>
                      <a:pt x="758" y="385"/>
                    </a:lnTo>
                    <a:lnTo>
                      <a:pt x="758" y="387"/>
                    </a:lnTo>
                    <a:lnTo>
                      <a:pt x="758" y="385"/>
                    </a:lnTo>
                    <a:lnTo>
                      <a:pt x="758" y="387"/>
                    </a:lnTo>
                    <a:lnTo>
                      <a:pt x="756" y="387"/>
                    </a:lnTo>
                    <a:lnTo>
                      <a:pt x="756" y="385"/>
                    </a:lnTo>
                    <a:lnTo>
                      <a:pt x="756" y="387"/>
                    </a:lnTo>
                    <a:lnTo>
                      <a:pt x="756" y="385"/>
                    </a:lnTo>
                    <a:lnTo>
                      <a:pt x="756" y="387"/>
                    </a:lnTo>
                    <a:lnTo>
                      <a:pt x="756" y="385"/>
                    </a:lnTo>
                    <a:lnTo>
                      <a:pt x="756" y="387"/>
                    </a:lnTo>
                    <a:lnTo>
                      <a:pt x="756" y="385"/>
                    </a:lnTo>
                    <a:lnTo>
                      <a:pt x="754" y="385"/>
                    </a:lnTo>
                    <a:lnTo>
                      <a:pt x="756" y="385"/>
                    </a:lnTo>
                    <a:lnTo>
                      <a:pt x="754" y="385"/>
                    </a:lnTo>
                    <a:lnTo>
                      <a:pt x="754" y="387"/>
                    </a:lnTo>
                    <a:lnTo>
                      <a:pt x="754" y="385"/>
                    </a:lnTo>
                    <a:lnTo>
                      <a:pt x="754" y="387"/>
                    </a:lnTo>
                    <a:lnTo>
                      <a:pt x="756" y="387"/>
                    </a:lnTo>
                    <a:lnTo>
                      <a:pt x="756" y="389"/>
                    </a:lnTo>
                    <a:lnTo>
                      <a:pt x="756" y="391"/>
                    </a:lnTo>
                    <a:lnTo>
                      <a:pt x="754" y="391"/>
                    </a:lnTo>
                    <a:lnTo>
                      <a:pt x="754" y="389"/>
                    </a:lnTo>
                    <a:lnTo>
                      <a:pt x="752" y="391"/>
                    </a:lnTo>
                    <a:lnTo>
                      <a:pt x="752" y="393"/>
                    </a:lnTo>
                    <a:lnTo>
                      <a:pt x="752" y="391"/>
                    </a:lnTo>
                    <a:lnTo>
                      <a:pt x="752" y="393"/>
                    </a:lnTo>
                    <a:lnTo>
                      <a:pt x="752" y="395"/>
                    </a:lnTo>
                    <a:lnTo>
                      <a:pt x="752" y="397"/>
                    </a:lnTo>
                    <a:lnTo>
                      <a:pt x="750" y="397"/>
                    </a:lnTo>
                    <a:lnTo>
                      <a:pt x="748" y="397"/>
                    </a:lnTo>
                    <a:lnTo>
                      <a:pt x="746" y="397"/>
                    </a:lnTo>
                    <a:lnTo>
                      <a:pt x="746" y="399"/>
                    </a:lnTo>
                    <a:lnTo>
                      <a:pt x="746" y="397"/>
                    </a:lnTo>
                    <a:lnTo>
                      <a:pt x="746" y="399"/>
                    </a:lnTo>
                    <a:lnTo>
                      <a:pt x="746" y="397"/>
                    </a:lnTo>
                    <a:lnTo>
                      <a:pt x="746" y="395"/>
                    </a:lnTo>
                    <a:lnTo>
                      <a:pt x="746" y="393"/>
                    </a:lnTo>
                    <a:lnTo>
                      <a:pt x="746" y="395"/>
                    </a:lnTo>
                    <a:lnTo>
                      <a:pt x="744" y="395"/>
                    </a:lnTo>
                    <a:lnTo>
                      <a:pt x="742" y="395"/>
                    </a:lnTo>
                    <a:lnTo>
                      <a:pt x="742" y="397"/>
                    </a:lnTo>
                    <a:lnTo>
                      <a:pt x="744" y="397"/>
                    </a:lnTo>
                    <a:lnTo>
                      <a:pt x="744" y="399"/>
                    </a:lnTo>
                    <a:lnTo>
                      <a:pt x="746" y="399"/>
                    </a:lnTo>
                    <a:lnTo>
                      <a:pt x="744" y="399"/>
                    </a:lnTo>
                    <a:lnTo>
                      <a:pt x="744" y="401"/>
                    </a:lnTo>
                    <a:lnTo>
                      <a:pt x="742" y="401"/>
                    </a:lnTo>
                    <a:lnTo>
                      <a:pt x="740" y="401"/>
                    </a:lnTo>
                    <a:lnTo>
                      <a:pt x="742" y="401"/>
                    </a:lnTo>
                    <a:lnTo>
                      <a:pt x="740" y="403"/>
                    </a:lnTo>
                    <a:lnTo>
                      <a:pt x="742" y="403"/>
                    </a:lnTo>
                    <a:lnTo>
                      <a:pt x="740" y="404"/>
                    </a:lnTo>
                    <a:lnTo>
                      <a:pt x="740" y="403"/>
                    </a:lnTo>
                    <a:lnTo>
                      <a:pt x="740" y="404"/>
                    </a:lnTo>
                    <a:lnTo>
                      <a:pt x="738" y="404"/>
                    </a:lnTo>
                    <a:lnTo>
                      <a:pt x="740" y="406"/>
                    </a:lnTo>
                    <a:lnTo>
                      <a:pt x="738" y="406"/>
                    </a:lnTo>
                    <a:lnTo>
                      <a:pt x="737" y="406"/>
                    </a:lnTo>
                    <a:lnTo>
                      <a:pt x="738" y="406"/>
                    </a:lnTo>
                    <a:lnTo>
                      <a:pt x="737" y="406"/>
                    </a:lnTo>
                    <a:lnTo>
                      <a:pt x="735" y="406"/>
                    </a:lnTo>
                    <a:lnTo>
                      <a:pt x="735" y="410"/>
                    </a:lnTo>
                    <a:lnTo>
                      <a:pt x="735" y="412"/>
                    </a:lnTo>
                    <a:lnTo>
                      <a:pt x="735" y="410"/>
                    </a:lnTo>
                    <a:lnTo>
                      <a:pt x="733" y="410"/>
                    </a:lnTo>
                    <a:lnTo>
                      <a:pt x="733" y="412"/>
                    </a:lnTo>
                    <a:lnTo>
                      <a:pt x="731" y="414"/>
                    </a:lnTo>
                    <a:lnTo>
                      <a:pt x="731" y="416"/>
                    </a:lnTo>
                    <a:lnTo>
                      <a:pt x="729" y="416"/>
                    </a:lnTo>
                    <a:lnTo>
                      <a:pt x="729" y="418"/>
                    </a:lnTo>
                    <a:lnTo>
                      <a:pt x="729" y="420"/>
                    </a:lnTo>
                    <a:lnTo>
                      <a:pt x="727" y="420"/>
                    </a:lnTo>
                    <a:lnTo>
                      <a:pt x="729" y="420"/>
                    </a:lnTo>
                    <a:lnTo>
                      <a:pt x="729" y="422"/>
                    </a:lnTo>
                    <a:lnTo>
                      <a:pt x="727" y="422"/>
                    </a:lnTo>
                    <a:lnTo>
                      <a:pt x="729" y="422"/>
                    </a:lnTo>
                    <a:lnTo>
                      <a:pt x="731" y="424"/>
                    </a:lnTo>
                    <a:lnTo>
                      <a:pt x="733" y="424"/>
                    </a:lnTo>
                    <a:lnTo>
                      <a:pt x="733" y="422"/>
                    </a:lnTo>
                    <a:lnTo>
                      <a:pt x="733" y="424"/>
                    </a:lnTo>
                    <a:lnTo>
                      <a:pt x="731" y="424"/>
                    </a:lnTo>
                    <a:lnTo>
                      <a:pt x="733" y="424"/>
                    </a:lnTo>
                    <a:lnTo>
                      <a:pt x="733" y="425"/>
                    </a:lnTo>
                    <a:lnTo>
                      <a:pt x="735" y="425"/>
                    </a:lnTo>
                    <a:lnTo>
                      <a:pt x="735" y="427"/>
                    </a:lnTo>
                    <a:lnTo>
                      <a:pt x="737" y="427"/>
                    </a:lnTo>
                    <a:lnTo>
                      <a:pt x="738" y="427"/>
                    </a:lnTo>
                    <a:lnTo>
                      <a:pt x="738" y="429"/>
                    </a:lnTo>
                    <a:lnTo>
                      <a:pt x="740" y="429"/>
                    </a:lnTo>
                    <a:lnTo>
                      <a:pt x="742" y="431"/>
                    </a:lnTo>
                    <a:lnTo>
                      <a:pt x="746" y="431"/>
                    </a:lnTo>
                    <a:lnTo>
                      <a:pt x="746" y="433"/>
                    </a:lnTo>
                    <a:lnTo>
                      <a:pt x="746" y="435"/>
                    </a:lnTo>
                    <a:lnTo>
                      <a:pt x="748" y="441"/>
                    </a:lnTo>
                    <a:lnTo>
                      <a:pt x="750" y="443"/>
                    </a:lnTo>
                    <a:lnTo>
                      <a:pt x="750" y="444"/>
                    </a:lnTo>
                    <a:lnTo>
                      <a:pt x="750" y="446"/>
                    </a:lnTo>
                    <a:lnTo>
                      <a:pt x="752" y="446"/>
                    </a:lnTo>
                    <a:lnTo>
                      <a:pt x="752" y="448"/>
                    </a:lnTo>
                    <a:lnTo>
                      <a:pt x="752" y="450"/>
                    </a:lnTo>
                    <a:lnTo>
                      <a:pt x="754" y="450"/>
                    </a:lnTo>
                    <a:lnTo>
                      <a:pt x="754" y="452"/>
                    </a:lnTo>
                    <a:lnTo>
                      <a:pt x="754" y="454"/>
                    </a:lnTo>
                    <a:lnTo>
                      <a:pt x="754" y="456"/>
                    </a:lnTo>
                    <a:lnTo>
                      <a:pt x="756" y="456"/>
                    </a:lnTo>
                    <a:lnTo>
                      <a:pt x="756" y="458"/>
                    </a:lnTo>
                    <a:lnTo>
                      <a:pt x="756" y="460"/>
                    </a:lnTo>
                    <a:lnTo>
                      <a:pt x="756" y="462"/>
                    </a:lnTo>
                    <a:lnTo>
                      <a:pt x="756" y="464"/>
                    </a:lnTo>
                    <a:lnTo>
                      <a:pt x="758" y="464"/>
                    </a:lnTo>
                    <a:lnTo>
                      <a:pt x="758" y="465"/>
                    </a:lnTo>
                    <a:lnTo>
                      <a:pt x="759" y="465"/>
                    </a:lnTo>
                    <a:lnTo>
                      <a:pt x="759" y="467"/>
                    </a:lnTo>
                    <a:lnTo>
                      <a:pt x="761" y="465"/>
                    </a:lnTo>
                    <a:lnTo>
                      <a:pt x="761" y="467"/>
                    </a:lnTo>
                    <a:lnTo>
                      <a:pt x="763" y="467"/>
                    </a:lnTo>
                    <a:lnTo>
                      <a:pt x="763" y="469"/>
                    </a:lnTo>
                    <a:lnTo>
                      <a:pt x="763" y="471"/>
                    </a:lnTo>
                    <a:lnTo>
                      <a:pt x="765" y="471"/>
                    </a:lnTo>
                    <a:lnTo>
                      <a:pt x="763" y="471"/>
                    </a:lnTo>
                    <a:lnTo>
                      <a:pt x="763" y="473"/>
                    </a:lnTo>
                    <a:lnTo>
                      <a:pt x="765" y="473"/>
                    </a:lnTo>
                    <a:lnTo>
                      <a:pt x="767" y="473"/>
                    </a:lnTo>
                    <a:lnTo>
                      <a:pt x="767" y="475"/>
                    </a:lnTo>
                    <a:lnTo>
                      <a:pt x="767" y="473"/>
                    </a:lnTo>
                    <a:lnTo>
                      <a:pt x="769" y="475"/>
                    </a:lnTo>
                    <a:lnTo>
                      <a:pt x="771" y="477"/>
                    </a:lnTo>
                    <a:lnTo>
                      <a:pt x="769" y="477"/>
                    </a:lnTo>
                    <a:lnTo>
                      <a:pt x="771" y="477"/>
                    </a:lnTo>
                    <a:lnTo>
                      <a:pt x="771" y="479"/>
                    </a:lnTo>
                    <a:lnTo>
                      <a:pt x="771" y="481"/>
                    </a:lnTo>
                    <a:lnTo>
                      <a:pt x="773" y="481"/>
                    </a:lnTo>
                    <a:lnTo>
                      <a:pt x="771" y="481"/>
                    </a:lnTo>
                    <a:lnTo>
                      <a:pt x="769" y="481"/>
                    </a:lnTo>
                    <a:lnTo>
                      <a:pt x="767" y="481"/>
                    </a:lnTo>
                    <a:lnTo>
                      <a:pt x="763" y="479"/>
                    </a:lnTo>
                    <a:lnTo>
                      <a:pt x="761" y="477"/>
                    </a:lnTo>
                    <a:lnTo>
                      <a:pt x="759" y="479"/>
                    </a:lnTo>
                    <a:lnTo>
                      <a:pt x="758" y="479"/>
                    </a:lnTo>
                    <a:lnTo>
                      <a:pt x="756" y="479"/>
                    </a:lnTo>
                    <a:lnTo>
                      <a:pt x="756" y="477"/>
                    </a:lnTo>
                    <a:lnTo>
                      <a:pt x="754" y="475"/>
                    </a:lnTo>
                    <a:lnTo>
                      <a:pt x="752" y="475"/>
                    </a:lnTo>
                    <a:lnTo>
                      <a:pt x="750" y="473"/>
                    </a:lnTo>
                    <a:lnTo>
                      <a:pt x="750" y="475"/>
                    </a:lnTo>
                    <a:lnTo>
                      <a:pt x="750" y="473"/>
                    </a:lnTo>
                    <a:lnTo>
                      <a:pt x="750" y="475"/>
                    </a:lnTo>
                    <a:lnTo>
                      <a:pt x="750" y="473"/>
                    </a:lnTo>
                    <a:lnTo>
                      <a:pt x="748" y="475"/>
                    </a:lnTo>
                    <a:lnTo>
                      <a:pt x="744" y="477"/>
                    </a:lnTo>
                    <a:lnTo>
                      <a:pt x="746" y="477"/>
                    </a:lnTo>
                    <a:lnTo>
                      <a:pt x="748" y="477"/>
                    </a:lnTo>
                    <a:lnTo>
                      <a:pt x="748" y="475"/>
                    </a:lnTo>
                    <a:lnTo>
                      <a:pt x="750" y="475"/>
                    </a:lnTo>
                    <a:lnTo>
                      <a:pt x="752" y="475"/>
                    </a:lnTo>
                    <a:lnTo>
                      <a:pt x="754" y="477"/>
                    </a:lnTo>
                    <a:lnTo>
                      <a:pt x="754" y="479"/>
                    </a:lnTo>
                    <a:lnTo>
                      <a:pt x="754" y="481"/>
                    </a:lnTo>
                    <a:lnTo>
                      <a:pt x="758" y="481"/>
                    </a:lnTo>
                    <a:lnTo>
                      <a:pt x="759" y="483"/>
                    </a:lnTo>
                    <a:lnTo>
                      <a:pt x="761" y="485"/>
                    </a:lnTo>
                    <a:lnTo>
                      <a:pt x="763" y="485"/>
                    </a:lnTo>
                    <a:lnTo>
                      <a:pt x="765" y="486"/>
                    </a:lnTo>
                    <a:lnTo>
                      <a:pt x="765" y="488"/>
                    </a:lnTo>
                    <a:lnTo>
                      <a:pt x="765" y="490"/>
                    </a:lnTo>
                    <a:lnTo>
                      <a:pt x="765" y="488"/>
                    </a:lnTo>
                    <a:lnTo>
                      <a:pt x="765" y="486"/>
                    </a:lnTo>
                    <a:lnTo>
                      <a:pt x="767" y="488"/>
                    </a:lnTo>
                    <a:lnTo>
                      <a:pt x="771" y="492"/>
                    </a:lnTo>
                    <a:lnTo>
                      <a:pt x="773" y="494"/>
                    </a:lnTo>
                    <a:lnTo>
                      <a:pt x="773" y="496"/>
                    </a:lnTo>
                    <a:lnTo>
                      <a:pt x="771" y="496"/>
                    </a:lnTo>
                    <a:lnTo>
                      <a:pt x="769" y="496"/>
                    </a:lnTo>
                    <a:lnTo>
                      <a:pt x="765" y="498"/>
                    </a:lnTo>
                    <a:lnTo>
                      <a:pt x="763" y="500"/>
                    </a:lnTo>
                    <a:lnTo>
                      <a:pt x="761" y="500"/>
                    </a:lnTo>
                    <a:lnTo>
                      <a:pt x="759" y="500"/>
                    </a:lnTo>
                    <a:lnTo>
                      <a:pt x="759" y="502"/>
                    </a:lnTo>
                    <a:lnTo>
                      <a:pt x="758" y="502"/>
                    </a:lnTo>
                    <a:lnTo>
                      <a:pt x="756" y="504"/>
                    </a:lnTo>
                    <a:lnTo>
                      <a:pt x="756" y="506"/>
                    </a:lnTo>
                    <a:lnTo>
                      <a:pt x="754" y="507"/>
                    </a:lnTo>
                    <a:lnTo>
                      <a:pt x="752" y="506"/>
                    </a:lnTo>
                    <a:lnTo>
                      <a:pt x="748" y="506"/>
                    </a:lnTo>
                    <a:lnTo>
                      <a:pt x="746" y="507"/>
                    </a:lnTo>
                    <a:lnTo>
                      <a:pt x="742" y="509"/>
                    </a:lnTo>
                    <a:lnTo>
                      <a:pt x="744" y="509"/>
                    </a:lnTo>
                    <a:lnTo>
                      <a:pt x="746" y="507"/>
                    </a:lnTo>
                    <a:lnTo>
                      <a:pt x="748" y="506"/>
                    </a:lnTo>
                    <a:lnTo>
                      <a:pt x="750" y="506"/>
                    </a:lnTo>
                    <a:lnTo>
                      <a:pt x="752" y="506"/>
                    </a:lnTo>
                    <a:lnTo>
                      <a:pt x="752" y="507"/>
                    </a:lnTo>
                    <a:lnTo>
                      <a:pt x="752" y="509"/>
                    </a:lnTo>
                    <a:lnTo>
                      <a:pt x="752" y="511"/>
                    </a:lnTo>
                    <a:lnTo>
                      <a:pt x="754" y="511"/>
                    </a:lnTo>
                    <a:lnTo>
                      <a:pt x="752" y="511"/>
                    </a:lnTo>
                    <a:lnTo>
                      <a:pt x="752" y="509"/>
                    </a:lnTo>
                    <a:lnTo>
                      <a:pt x="754" y="509"/>
                    </a:lnTo>
                    <a:lnTo>
                      <a:pt x="756" y="509"/>
                    </a:lnTo>
                    <a:lnTo>
                      <a:pt x="756" y="507"/>
                    </a:lnTo>
                    <a:lnTo>
                      <a:pt x="758" y="507"/>
                    </a:lnTo>
                    <a:lnTo>
                      <a:pt x="759" y="507"/>
                    </a:lnTo>
                    <a:lnTo>
                      <a:pt x="759" y="506"/>
                    </a:lnTo>
                    <a:lnTo>
                      <a:pt x="761" y="506"/>
                    </a:lnTo>
                    <a:lnTo>
                      <a:pt x="765" y="507"/>
                    </a:lnTo>
                    <a:lnTo>
                      <a:pt x="767" y="511"/>
                    </a:lnTo>
                    <a:lnTo>
                      <a:pt x="767" y="513"/>
                    </a:lnTo>
                    <a:lnTo>
                      <a:pt x="769" y="513"/>
                    </a:lnTo>
                    <a:lnTo>
                      <a:pt x="771" y="513"/>
                    </a:lnTo>
                    <a:lnTo>
                      <a:pt x="771" y="515"/>
                    </a:lnTo>
                    <a:lnTo>
                      <a:pt x="775" y="515"/>
                    </a:lnTo>
                    <a:lnTo>
                      <a:pt x="771" y="517"/>
                    </a:lnTo>
                    <a:lnTo>
                      <a:pt x="769" y="519"/>
                    </a:lnTo>
                    <a:lnTo>
                      <a:pt x="767" y="521"/>
                    </a:lnTo>
                    <a:lnTo>
                      <a:pt x="765" y="521"/>
                    </a:lnTo>
                    <a:lnTo>
                      <a:pt x="763" y="521"/>
                    </a:lnTo>
                    <a:lnTo>
                      <a:pt x="763" y="523"/>
                    </a:lnTo>
                    <a:lnTo>
                      <a:pt x="765" y="523"/>
                    </a:lnTo>
                    <a:lnTo>
                      <a:pt x="765" y="525"/>
                    </a:lnTo>
                    <a:lnTo>
                      <a:pt x="765" y="523"/>
                    </a:lnTo>
                    <a:lnTo>
                      <a:pt x="769" y="521"/>
                    </a:lnTo>
                    <a:lnTo>
                      <a:pt x="769" y="523"/>
                    </a:lnTo>
                    <a:lnTo>
                      <a:pt x="771" y="521"/>
                    </a:lnTo>
                    <a:lnTo>
                      <a:pt x="769" y="521"/>
                    </a:lnTo>
                    <a:lnTo>
                      <a:pt x="769" y="519"/>
                    </a:lnTo>
                    <a:lnTo>
                      <a:pt x="771" y="519"/>
                    </a:lnTo>
                    <a:lnTo>
                      <a:pt x="773" y="519"/>
                    </a:lnTo>
                    <a:lnTo>
                      <a:pt x="773" y="521"/>
                    </a:lnTo>
                    <a:lnTo>
                      <a:pt x="771" y="521"/>
                    </a:lnTo>
                    <a:lnTo>
                      <a:pt x="773" y="523"/>
                    </a:lnTo>
                    <a:lnTo>
                      <a:pt x="771" y="523"/>
                    </a:lnTo>
                    <a:lnTo>
                      <a:pt x="771" y="525"/>
                    </a:lnTo>
                    <a:lnTo>
                      <a:pt x="773" y="525"/>
                    </a:lnTo>
                    <a:lnTo>
                      <a:pt x="771" y="525"/>
                    </a:lnTo>
                    <a:lnTo>
                      <a:pt x="771" y="527"/>
                    </a:lnTo>
                    <a:lnTo>
                      <a:pt x="773" y="527"/>
                    </a:lnTo>
                    <a:lnTo>
                      <a:pt x="771" y="527"/>
                    </a:lnTo>
                    <a:lnTo>
                      <a:pt x="771" y="528"/>
                    </a:lnTo>
                    <a:lnTo>
                      <a:pt x="769" y="528"/>
                    </a:lnTo>
                    <a:lnTo>
                      <a:pt x="769" y="527"/>
                    </a:lnTo>
                    <a:lnTo>
                      <a:pt x="769" y="525"/>
                    </a:lnTo>
                    <a:lnTo>
                      <a:pt x="771" y="525"/>
                    </a:lnTo>
                    <a:lnTo>
                      <a:pt x="769" y="525"/>
                    </a:lnTo>
                    <a:lnTo>
                      <a:pt x="769" y="527"/>
                    </a:lnTo>
                    <a:lnTo>
                      <a:pt x="769" y="528"/>
                    </a:lnTo>
                    <a:lnTo>
                      <a:pt x="767" y="528"/>
                    </a:lnTo>
                    <a:lnTo>
                      <a:pt x="765" y="527"/>
                    </a:lnTo>
                    <a:lnTo>
                      <a:pt x="767" y="527"/>
                    </a:lnTo>
                    <a:lnTo>
                      <a:pt x="767" y="528"/>
                    </a:lnTo>
                    <a:lnTo>
                      <a:pt x="765" y="527"/>
                    </a:lnTo>
                    <a:lnTo>
                      <a:pt x="765" y="528"/>
                    </a:lnTo>
                    <a:lnTo>
                      <a:pt x="767" y="528"/>
                    </a:lnTo>
                    <a:lnTo>
                      <a:pt x="765" y="528"/>
                    </a:lnTo>
                    <a:lnTo>
                      <a:pt x="763" y="528"/>
                    </a:lnTo>
                    <a:lnTo>
                      <a:pt x="765" y="528"/>
                    </a:lnTo>
                    <a:lnTo>
                      <a:pt x="763" y="528"/>
                    </a:lnTo>
                    <a:lnTo>
                      <a:pt x="765" y="528"/>
                    </a:lnTo>
                    <a:lnTo>
                      <a:pt x="767" y="528"/>
                    </a:lnTo>
                    <a:lnTo>
                      <a:pt x="767" y="530"/>
                    </a:lnTo>
                    <a:lnTo>
                      <a:pt x="769" y="530"/>
                    </a:lnTo>
                    <a:lnTo>
                      <a:pt x="767" y="530"/>
                    </a:lnTo>
                    <a:lnTo>
                      <a:pt x="769" y="532"/>
                    </a:lnTo>
                    <a:lnTo>
                      <a:pt x="767" y="532"/>
                    </a:lnTo>
                    <a:lnTo>
                      <a:pt x="765" y="532"/>
                    </a:lnTo>
                    <a:lnTo>
                      <a:pt x="767" y="532"/>
                    </a:lnTo>
                    <a:lnTo>
                      <a:pt x="767" y="534"/>
                    </a:lnTo>
                    <a:lnTo>
                      <a:pt x="767" y="536"/>
                    </a:lnTo>
                    <a:lnTo>
                      <a:pt x="765" y="536"/>
                    </a:lnTo>
                    <a:lnTo>
                      <a:pt x="761" y="536"/>
                    </a:lnTo>
                    <a:lnTo>
                      <a:pt x="761" y="534"/>
                    </a:lnTo>
                    <a:lnTo>
                      <a:pt x="759" y="534"/>
                    </a:lnTo>
                    <a:lnTo>
                      <a:pt x="761" y="534"/>
                    </a:lnTo>
                    <a:lnTo>
                      <a:pt x="761" y="536"/>
                    </a:lnTo>
                    <a:lnTo>
                      <a:pt x="763" y="536"/>
                    </a:lnTo>
                    <a:lnTo>
                      <a:pt x="765" y="538"/>
                    </a:lnTo>
                    <a:lnTo>
                      <a:pt x="767" y="538"/>
                    </a:lnTo>
                    <a:lnTo>
                      <a:pt x="767" y="540"/>
                    </a:lnTo>
                    <a:lnTo>
                      <a:pt x="767" y="542"/>
                    </a:lnTo>
                    <a:lnTo>
                      <a:pt x="767" y="544"/>
                    </a:lnTo>
                    <a:lnTo>
                      <a:pt x="767" y="542"/>
                    </a:lnTo>
                    <a:lnTo>
                      <a:pt x="767" y="544"/>
                    </a:lnTo>
                    <a:lnTo>
                      <a:pt x="765" y="544"/>
                    </a:lnTo>
                    <a:lnTo>
                      <a:pt x="763" y="544"/>
                    </a:lnTo>
                    <a:lnTo>
                      <a:pt x="763" y="546"/>
                    </a:lnTo>
                    <a:lnTo>
                      <a:pt x="761" y="546"/>
                    </a:lnTo>
                    <a:lnTo>
                      <a:pt x="761" y="548"/>
                    </a:lnTo>
                    <a:lnTo>
                      <a:pt x="761" y="546"/>
                    </a:lnTo>
                    <a:lnTo>
                      <a:pt x="761" y="548"/>
                    </a:lnTo>
                    <a:lnTo>
                      <a:pt x="759" y="548"/>
                    </a:lnTo>
                    <a:lnTo>
                      <a:pt x="759" y="546"/>
                    </a:lnTo>
                    <a:lnTo>
                      <a:pt x="761" y="544"/>
                    </a:lnTo>
                    <a:lnTo>
                      <a:pt x="759" y="544"/>
                    </a:lnTo>
                    <a:lnTo>
                      <a:pt x="761" y="542"/>
                    </a:lnTo>
                    <a:lnTo>
                      <a:pt x="759" y="544"/>
                    </a:lnTo>
                    <a:lnTo>
                      <a:pt x="759" y="542"/>
                    </a:lnTo>
                    <a:lnTo>
                      <a:pt x="759" y="544"/>
                    </a:lnTo>
                    <a:lnTo>
                      <a:pt x="758" y="544"/>
                    </a:lnTo>
                    <a:lnTo>
                      <a:pt x="759" y="544"/>
                    </a:lnTo>
                    <a:lnTo>
                      <a:pt x="759" y="546"/>
                    </a:lnTo>
                    <a:lnTo>
                      <a:pt x="758" y="546"/>
                    </a:lnTo>
                    <a:lnTo>
                      <a:pt x="758" y="548"/>
                    </a:lnTo>
                    <a:lnTo>
                      <a:pt x="758" y="549"/>
                    </a:lnTo>
                    <a:lnTo>
                      <a:pt x="756" y="549"/>
                    </a:lnTo>
                    <a:lnTo>
                      <a:pt x="754" y="549"/>
                    </a:lnTo>
                    <a:lnTo>
                      <a:pt x="752" y="548"/>
                    </a:lnTo>
                    <a:lnTo>
                      <a:pt x="750" y="548"/>
                    </a:lnTo>
                    <a:lnTo>
                      <a:pt x="750" y="549"/>
                    </a:lnTo>
                    <a:lnTo>
                      <a:pt x="752" y="549"/>
                    </a:lnTo>
                    <a:lnTo>
                      <a:pt x="754" y="549"/>
                    </a:lnTo>
                    <a:lnTo>
                      <a:pt x="756" y="551"/>
                    </a:lnTo>
                    <a:lnTo>
                      <a:pt x="754" y="553"/>
                    </a:lnTo>
                    <a:lnTo>
                      <a:pt x="752" y="555"/>
                    </a:lnTo>
                    <a:lnTo>
                      <a:pt x="752" y="553"/>
                    </a:lnTo>
                    <a:lnTo>
                      <a:pt x="750" y="553"/>
                    </a:lnTo>
                    <a:lnTo>
                      <a:pt x="750" y="551"/>
                    </a:lnTo>
                    <a:lnTo>
                      <a:pt x="750" y="553"/>
                    </a:lnTo>
                    <a:lnTo>
                      <a:pt x="750" y="551"/>
                    </a:lnTo>
                    <a:lnTo>
                      <a:pt x="750" y="553"/>
                    </a:lnTo>
                    <a:lnTo>
                      <a:pt x="752" y="555"/>
                    </a:lnTo>
                    <a:lnTo>
                      <a:pt x="752" y="557"/>
                    </a:lnTo>
                    <a:lnTo>
                      <a:pt x="750" y="557"/>
                    </a:lnTo>
                    <a:lnTo>
                      <a:pt x="752" y="557"/>
                    </a:lnTo>
                    <a:lnTo>
                      <a:pt x="752" y="559"/>
                    </a:lnTo>
                    <a:lnTo>
                      <a:pt x="752" y="557"/>
                    </a:lnTo>
                    <a:lnTo>
                      <a:pt x="752" y="559"/>
                    </a:lnTo>
                    <a:lnTo>
                      <a:pt x="752" y="561"/>
                    </a:lnTo>
                    <a:lnTo>
                      <a:pt x="750" y="561"/>
                    </a:lnTo>
                    <a:lnTo>
                      <a:pt x="750" y="559"/>
                    </a:lnTo>
                    <a:lnTo>
                      <a:pt x="750" y="561"/>
                    </a:lnTo>
                    <a:lnTo>
                      <a:pt x="750" y="563"/>
                    </a:lnTo>
                    <a:lnTo>
                      <a:pt x="748" y="563"/>
                    </a:lnTo>
                    <a:lnTo>
                      <a:pt x="748" y="565"/>
                    </a:lnTo>
                    <a:lnTo>
                      <a:pt x="748" y="563"/>
                    </a:lnTo>
                    <a:lnTo>
                      <a:pt x="748" y="565"/>
                    </a:lnTo>
                    <a:lnTo>
                      <a:pt x="748" y="563"/>
                    </a:lnTo>
                    <a:lnTo>
                      <a:pt x="746" y="563"/>
                    </a:lnTo>
                    <a:lnTo>
                      <a:pt x="746" y="561"/>
                    </a:lnTo>
                    <a:lnTo>
                      <a:pt x="746" y="563"/>
                    </a:lnTo>
                    <a:lnTo>
                      <a:pt x="744" y="561"/>
                    </a:lnTo>
                    <a:lnTo>
                      <a:pt x="744" y="563"/>
                    </a:lnTo>
                    <a:lnTo>
                      <a:pt x="744" y="561"/>
                    </a:lnTo>
                    <a:lnTo>
                      <a:pt x="744" y="563"/>
                    </a:lnTo>
                    <a:lnTo>
                      <a:pt x="746" y="563"/>
                    </a:lnTo>
                    <a:lnTo>
                      <a:pt x="748" y="565"/>
                    </a:lnTo>
                    <a:lnTo>
                      <a:pt x="746" y="565"/>
                    </a:lnTo>
                    <a:lnTo>
                      <a:pt x="748" y="565"/>
                    </a:lnTo>
                    <a:lnTo>
                      <a:pt x="746" y="565"/>
                    </a:lnTo>
                    <a:lnTo>
                      <a:pt x="748" y="565"/>
                    </a:lnTo>
                    <a:lnTo>
                      <a:pt x="746" y="565"/>
                    </a:lnTo>
                    <a:lnTo>
                      <a:pt x="748" y="565"/>
                    </a:lnTo>
                    <a:lnTo>
                      <a:pt x="746" y="565"/>
                    </a:lnTo>
                    <a:lnTo>
                      <a:pt x="744" y="565"/>
                    </a:lnTo>
                    <a:lnTo>
                      <a:pt x="746" y="567"/>
                    </a:lnTo>
                    <a:lnTo>
                      <a:pt x="744" y="567"/>
                    </a:lnTo>
                    <a:lnTo>
                      <a:pt x="744" y="569"/>
                    </a:lnTo>
                    <a:lnTo>
                      <a:pt x="744" y="567"/>
                    </a:lnTo>
                    <a:lnTo>
                      <a:pt x="744" y="569"/>
                    </a:lnTo>
                    <a:lnTo>
                      <a:pt x="742" y="569"/>
                    </a:lnTo>
                    <a:lnTo>
                      <a:pt x="742" y="570"/>
                    </a:lnTo>
                    <a:lnTo>
                      <a:pt x="742" y="569"/>
                    </a:lnTo>
                    <a:lnTo>
                      <a:pt x="740" y="570"/>
                    </a:lnTo>
                    <a:lnTo>
                      <a:pt x="742" y="570"/>
                    </a:lnTo>
                    <a:lnTo>
                      <a:pt x="742" y="572"/>
                    </a:lnTo>
                    <a:lnTo>
                      <a:pt x="744" y="572"/>
                    </a:lnTo>
                    <a:lnTo>
                      <a:pt x="742" y="572"/>
                    </a:lnTo>
                    <a:lnTo>
                      <a:pt x="742" y="574"/>
                    </a:lnTo>
                    <a:lnTo>
                      <a:pt x="742" y="572"/>
                    </a:lnTo>
                    <a:lnTo>
                      <a:pt x="742" y="574"/>
                    </a:lnTo>
                    <a:lnTo>
                      <a:pt x="742" y="572"/>
                    </a:lnTo>
                    <a:lnTo>
                      <a:pt x="740" y="574"/>
                    </a:lnTo>
                    <a:lnTo>
                      <a:pt x="738" y="576"/>
                    </a:lnTo>
                    <a:lnTo>
                      <a:pt x="738" y="574"/>
                    </a:lnTo>
                    <a:lnTo>
                      <a:pt x="740" y="574"/>
                    </a:lnTo>
                    <a:lnTo>
                      <a:pt x="740" y="572"/>
                    </a:lnTo>
                    <a:lnTo>
                      <a:pt x="742" y="572"/>
                    </a:lnTo>
                    <a:lnTo>
                      <a:pt x="742" y="570"/>
                    </a:lnTo>
                    <a:lnTo>
                      <a:pt x="740" y="570"/>
                    </a:lnTo>
                    <a:lnTo>
                      <a:pt x="740" y="572"/>
                    </a:lnTo>
                    <a:lnTo>
                      <a:pt x="738" y="572"/>
                    </a:lnTo>
                    <a:lnTo>
                      <a:pt x="737" y="572"/>
                    </a:lnTo>
                    <a:lnTo>
                      <a:pt x="738" y="572"/>
                    </a:lnTo>
                    <a:lnTo>
                      <a:pt x="738" y="570"/>
                    </a:lnTo>
                    <a:lnTo>
                      <a:pt x="737" y="570"/>
                    </a:lnTo>
                    <a:lnTo>
                      <a:pt x="738" y="570"/>
                    </a:lnTo>
                    <a:lnTo>
                      <a:pt x="737" y="570"/>
                    </a:lnTo>
                    <a:lnTo>
                      <a:pt x="737" y="572"/>
                    </a:lnTo>
                    <a:lnTo>
                      <a:pt x="737" y="569"/>
                    </a:lnTo>
                    <a:lnTo>
                      <a:pt x="735" y="569"/>
                    </a:lnTo>
                    <a:lnTo>
                      <a:pt x="737" y="569"/>
                    </a:lnTo>
                    <a:lnTo>
                      <a:pt x="737" y="567"/>
                    </a:lnTo>
                    <a:lnTo>
                      <a:pt x="735" y="569"/>
                    </a:lnTo>
                    <a:lnTo>
                      <a:pt x="737" y="570"/>
                    </a:lnTo>
                    <a:lnTo>
                      <a:pt x="737" y="572"/>
                    </a:lnTo>
                    <a:lnTo>
                      <a:pt x="735" y="572"/>
                    </a:lnTo>
                    <a:lnTo>
                      <a:pt x="735" y="570"/>
                    </a:lnTo>
                    <a:lnTo>
                      <a:pt x="735" y="572"/>
                    </a:lnTo>
                    <a:lnTo>
                      <a:pt x="735" y="570"/>
                    </a:lnTo>
                    <a:lnTo>
                      <a:pt x="735" y="572"/>
                    </a:lnTo>
                    <a:lnTo>
                      <a:pt x="735" y="574"/>
                    </a:lnTo>
                    <a:lnTo>
                      <a:pt x="737" y="574"/>
                    </a:lnTo>
                    <a:lnTo>
                      <a:pt x="738" y="574"/>
                    </a:lnTo>
                    <a:lnTo>
                      <a:pt x="737" y="574"/>
                    </a:lnTo>
                    <a:lnTo>
                      <a:pt x="738" y="576"/>
                    </a:lnTo>
                    <a:lnTo>
                      <a:pt x="737" y="576"/>
                    </a:lnTo>
                    <a:lnTo>
                      <a:pt x="738" y="576"/>
                    </a:lnTo>
                    <a:lnTo>
                      <a:pt x="737" y="576"/>
                    </a:lnTo>
                    <a:lnTo>
                      <a:pt x="738" y="576"/>
                    </a:lnTo>
                    <a:lnTo>
                      <a:pt x="737" y="578"/>
                    </a:lnTo>
                    <a:lnTo>
                      <a:pt x="737" y="576"/>
                    </a:lnTo>
                    <a:lnTo>
                      <a:pt x="735" y="576"/>
                    </a:lnTo>
                    <a:lnTo>
                      <a:pt x="737" y="578"/>
                    </a:lnTo>
                    <a:lnTo>
                      <a:pt x="735" y="578"/>
                    </a:lnTo>
                    <a:lnTo>
                      <a:pt x="737" y="578"/>
                    </a:lnTo>
                    <a:lnTo>
                      <a:pt x="738" y="578"/>
                    </a:lnTo>
                    <a:lnTo>
                      <a:pt x="740" y="578"/>
                    </a:lnTo>
                    <a:lnTo>
                      <a:pt x="738" y="578"/>
                    </a:lnTo>
                    <a:lnTo>
                      <a:pt x="738" y="580"/>
                    </a:lnTo>
                    <a:lnTo>
                      <a:pt x="738" y="578"/>
                    </a:lnTo>
                    <a:lnTo>
                      <a:pt x="738" y="580"/>
                    </a:lnTo>
                    <a:lnTo>
                      <a:pt x="738" y="578"/>
                    </a:lnTo>
                    <a:lnTo>
                      <a:pt x="738" y="580"/>
                    </a:lnTo>
                    <a:lnTo>
                      <a:pt x="737" y="580"/>
                    </a:lnTo>
                    <a:lnTo>
                      <a:pt x="735" y="580"/>
                    </a:lnTo>
                    <a:lnTo>
                      <a:pt x="733" y="582"/>
                    </a:lnTo>
                    <a:lnTo>
                      <a:pt x="735" y="582"/>
                    </a:lnTo>
                    <a:lnTo>
                      <a:pt x="735" y="580"/>
                    </a:lnTo>
                    <a:lnTo>
                      <a:pt x="737" y="580"/>
                    </a:lnTo>
                    <a:lnTo>
                      <a:pt x="735" y="582"/>
                    </a:lnTo>
                    <a:lnTo>
                      <a:pt x="733" y="584"/>
                    </a:lnTo>
                    <a:lnTo>
                      <a:pt x="735" y="584"/>
                    </a:lnTo>
                    <a:lnTo>
                      <a:pt x="737" y="584"/>
                    </a:lnTo>
                    <a:lnTo>
                      <a:pt x="737" y="586"/>
                    </a:lnTo>
                    <a:lnTo>
                      <a:pt x="735" y="586"/>
                    </a:lnTo>
                    <a:lnTo>
                      <a:pt x="735" y="588"/>
                    </a:lnTo>
                    <a:lnTo>
                      <a:pt x="735" y="590"/>
                    </a:lnTo>
                    <a:lnTo>
                      <a:pt x="733" y="590"/>
                    </a:lnTo>
                    <a:lnTo>
                      <a:pt x="733" y="591"/>
                    </a:lnTo>
                    <a:lnTo>
                      <a:pt x="733" y="590"/>
                    </a:lnTo>
                    <a:lnTo>
                      <a:pt x="733" y="591"/>
                    </a:lnTo>
                    <a:lnTo>
                      <a:pt x="735" y="591"/>
                    </a:lnTo>
                    <a:lnTo>
                      <a:pt x="735" y="593"/>
                    </a:lnTo>
                    <a:lnTo>
                      <a:pt x="735" y="595"/>
                    </a:lnTo>
                    <a:lnTo>
                      <a:pt x="735" y="597"/>
                    </a:lnTo>
                    <a:lnTo>
                      <a:pt x="735" y="595"/>
                    </a:lnTo>
                    <a:lnTo>
                      <a:pt x="735" y="593"/>
                    </a:lnTo>
                    <a:lnTo>
                      <a:pt x="735" y="595"/>
                    </a:lnTo>
                    <a:lnTo>
                      <a:pt x="733" y="595"/>
                    </a:lnTo>
                    <a:lnTo>
                      <a:pt x="735" y="595"/>
                    </a:lnTo>
                    <a:lnTo>
                      <a:pt x="733" y="595"/>
                    </a:lnTo>
                    <a:lnTo>
                      <a:pt x="733" y="593"/>
                    </a:lnTo>
                    <a:lnTo>
                      <a:pt x="731" y="593"/>
                    </a:lnTo>
                    <a:lnTo>
                      <a:pt x="731" y="595"/>
                    </a:lnTo>
                    <a:lnTo>
                      <a:pt x="729" y="595"/>
                    </a:lnTo>
                    <a:lnTo>
                      <a:pt x="729" y="593"/>
                    </a:lnTo>
                    <a:lnTo>
                      <a:pt x="727" y="595"/>
                    </a:lnTo>
                    <a:lnTo>
                      <a:pt x="729" y="595"/>
                    </a:lnTo>
                    <a:lnTo>
                      <a:pt x="729" y="597"/>
                    </a:lnTo>
                    <a:lnTo>
                      <a:pt x="731" y="597"/>
                    </a:lnTo>
                    <a:lnTo>
                      <a:pt x="731" y="599"/>
                    </a:lnTo>
                    <a:lnTo>
                      <a:pt x="729" y="599"/>
                    </a:lnTo>
                    <a:lnTo>
                      <a:pt x="731" y="599"/>
                    </a:lnTo>
                    <a:lnTo>
                      <a:pt x="729" y="599"/>
                    </a:lnTo>
                    <a:lnTo>
                      <a:pt x="727" y="599"/>
                    </a:lnTo>
                    <a:lnTo>
                      <a:pt x="727" y="601"/>
                    </a:lnTo>
                    <a:lnTo>
                      <a:pt x="725" y="601"/>
                    </a:lnTo>
                    <a:lnTo>
                      <a:pt x="725" y="599"/>
                    </a:lnTo>
                    <a:lnTo>
                      <a:pt x="727" y="599"/>
                    </a:lnTo>
                    <a:lnTo>
                      <a:pt x="725" y="599"/>
                    </a:lnTo>
                    <a:lnTo>
                      <a:pt x="725" y="597"/>
                    </a:lnTo>
                    <a:lnTo>
                      <a:pt x="725" y="599"/>
                    </a:lnTo>
                    <a:lnTo>
                      <a:pt x="725" y="597"/>
                    </a:lnTo>
                    <a:lnTo>
                      <a:pt x="723" y="597"/>
                    </a:lnTo>
                    <a:lnTo>
                      <a:pt x="723" y="599"/>
                    </a:lnTo>
                    <a:lnTo>
                      <a:pt x="725" y="599"/>
                    </a:lnTo>
                    <a:lnTo>
                      <a:pt x="723" y="599"/>
                    </a:lnTo>
                    <a:lnTo>
                      <a:pt x="725" y="601"/>
                    </a:lnTo>
                    <a:lnTo>
                      <a:pt x="723" y="601"/>
                    </a:lnTo>
                    <a:lnTo>
                      <a:pt x="723" y="603"/>
                    </a:lnTo>
                    <a:lnTo>
                      <a:pt x="725" y="603"/>
                    </a:lnTo>
                    <a:lnTo>
                      <a:pt x="723" y="601"/>
                    </a:lnTo>
                    <a:lnTo>
                      <a:pt x="725" y="603"/>
                    </a:lnTo>
                    <a:lnTo>
                      <a:pt x="725" y="601"/>
                    </a:lnTo>
                    <a:lnTo>
                      <a:pt x="725" y="603"/>
                    </a:lnTo>
                    <a:lnTo>
                      <a:pt x="723" y="603"/>
                    </a:lnTo>
                    <a:lnTo>
                      <a:pt x="723" y="605"/>
                    </a:lnTo>
                    <a:lnTo>
                      <a:pt x="725" y="605"/>
                    </a:lnTo>
                    <a:lnTo>
                      <a:pt x="723" y="605"/>
                    </a:lnTo>
                    <a:lnTo>
                      <a:pt x="721" y="605"/>
                    </a:lnTo>
                    <a:lnTo>
                      <a:pt x="719" y="605"/>
                    </a:lnTo>
                    <a:lnTo>
                      <a:pt x="717" y="603"/>
                    </a:lnTo>
                    <a:lnTo>
                      <a:pt x="717" y="605"/>
                    </a:lnTo>
                    <a:lnTo>
                      <a:pt x="719" y="605"/>
                    </a:lnTo>
                    <a:lnTo>
                      <a:pt x="719" y="607"/>
                    </a:lnTo>
                    <a:lnTo>
                      <a:pt x="721" y="605"/>
                    </a:lnTo>
                    <a:lnTo>
                      <a:pt x="721" y="607"/>
                    </a:lnTo>
                    <a:lnTo>
                      <a:pt x="721" y="609"/>
                    </a:lnTo>
                    <a:lnTo>
                      <a:pt x="719" y="609"/>
                    </a:lnTo>
                    <a:lnTo>
                      <a:pt x="719" y="610"/>
                    </a:lnTo>
                    <a:lnTo>
                      <a:pt x="717" y="610"/>
                    </a:lnTo>
                    <a:lnTo>
                      <a:pt x="717" y="609"/>
                    </a:lnTo>
                    <a:lnTo>
                      <a:pt x="716" y="609"/>
                    </a:lnTo>
                    <a:lnTo>
                      <a:pt x="716" y="607"/>
                    </a:lnTo>
                    <a:lnTo>
                      <a:pt x="716" y="609"/>
                    </a:lnTo>
                    <a:lnTo>
                      <a:pt x="716" y="610"/>
                    </a:lnTo>
                    <a:lnTo>
                      <a:pt x="714" y="610"/>
                    </a:lnTo>
                    <a:lnTo>
                      <a:pt x="712" y="610"/>
                    </a:lnTo>
                    <a:lnTo>
                      <a:pt x="712" y="609"/>
                    </a:lnTo>
                    <a:lnTo>
                      <a:pt x="712" y="607"/>
                    </a:lnTo>
                    <a:lnTo>
                      <a:pt x="712" y="609"/>
                    </a:lnTo>
                    <a:lnTo>
                      <a:pt x="712" y="607"/>
                    </a:lnTo>
                    <a:lnTo>
                      <a:pt x="712" y="609"/>
                    </a:lnTo>
                    <a:lnTo>
                      <a:pt x="712" y="610"/>
                    </a:lnTo>
                    <a:lnTo>
                      <a:pt x="710" y="610"/>
                    </a:lnTo>
                    <a:lnTo>
                      <a:pt x="710" y="612"/>
                    </a:lnTo>
                    <a:lnTo>
                      <a:pt x="708" y="610"/>
                    </a:lnTo>
                    <a:lnTo>
                      <a:pt x="706" y="610"/>
                    </a:lnTo>
                    <a:lnTo>
                      <a:pt x="706" y="612"/>
                    </a:lnTo>
                    <a:lnTo>
                      <a:pt x="706" y="610"/>
                    </a:lnTo>
                    <a:lnTo>
                      <a:pt x="704" y="612"/>
                    </a:lnTo>
                    <a:lnTo>
                      <a:pt x="706" y="610"/>
                    </a:lnTo>
                    <a:lnTo>
                      <a:pt x="706" y="612"/>
                    </a:lnTo>
                    <a:lnTo>
                      <a:pt x="708" y="612"/>
                    </a:lnTo>
                    <a:lnTo>
                      <a:pt x="710" y="612"/>
                    </a:lnTo>
                    <a:lnTo>
                      <a:pt x="710" y="614"/>
                    </a:lnTo>
                    <a:lnTo>
                      <a:pt x="710" y="612"/>
                    </a:lnTo>
                    <a:lnTo>
                      <a:pt x="710" y="614"/>
                    </a:lnTo>
                    <a:lnTo>
                      <a:pt x="712" y="614"/>
                    </a:lnTo>
                    <a:lnTo>
                      <a:pt x="710" y="616"/>
                    </a:lnTo>
                    <a:lnTo>
                      <a:pt x="708" y="616"/>
                    </a:lnTo>
                    <a:lnTo>
                      <a:pt x="708" y="618"/>
                    </a:lnTo>
                    <a:lnTo>
                      <a:pt x="708" y="620"/>
                    </a:lnTo>
                    <a:lnTo>
                      <a:pt x="706" y="620"/>
                    </a:lnTo>
                    <a:lnTo>
                      <a:pt x="706" y="622"/>
                    </a:lnTo>
                    <a:lnTo>
                      <a:pt x="704" y="622"/>
                    </a:lnTo>
                    <a:lnTo>
                      <a:pt x="704" y="620"/>
                    </a:lnTo>
                    <a:lnTo>
                      <a:pt x="706" y="620"/>
                    </a:lnTo>
                    <a:lnTo>
                      <a:pt x="704" y="620"/>
                    </a:lnTo>
                    <a:lnTo>
                      <a:pt x="704" y="618"/>
                    </a:lnTo>
                    <a:lnTo>
                      <a:pt x="704" y="620"/>
                    </a:lnTo>
                    <a:lnTo>
                      <a:pt x="704" y="622"/>
                    </a:lnTo>
                    <a:lnTo>
                      <a:pt x="702" y="622"/>
                    </a:lnTo>
                    <a:lnTo>
                      <a:pt x="704" y="624"/>
                    </a:lnTo>
                    <a:lnTo>
                      <a:pt x="702" y="624"/>
                    </a:lnTo>
                    <a:lnTo>
                      <a:pt x="702" y="622"/>
                    </a:lnTo>
                    <a:lnTo>
                      <a:pt x="700" y="622"/>
                    </a:lnTo>
                    <a:lnTo>
                      <a:pt x="700" y="620"/>
                    </a:lnTo>
                    <a:lnTo>
                      <a:pt x="700" y="622"/>
                    </a:lnTo>
                    <a:lnTo>
                      <a:pt x="700" y="624"/>
                    </a:lnTo>
                    <a:lnTo>
                      <a:pt x="698" y="624"/>
                    </a:lnTo>
                    <a:lnTo>
                      <a:pt x="698" y="626"/>
                    </a:lnTo>
                    <a:lnTo>
                      <a:pt x="696" y="626"/>
                    </a:lnTo>
                    <a:lnTo>
                      <a:pt x="698" y="626"/>
                    </a:lnTo>
                    <a:lnTo>
                      <a:pt x="696" y="628"/>
                    </a:lnTo>
                    <a:lnTo>
                      <a:pt x="696" y="626"/>
                    </a:lnTo>
                    <a:lnTo>
                      <a:pt x="695" y="628"/>
                    </a:lnTo>
                    <a:lnTo>
                      <a:pt x="695" y="626"/>
                    </a:lnTo>
                    <a:lnTo>
                      <a:pt x="693" y="626"/>
                    </a:lnTo>
                    <a:lnTo>
                      <a:pt x="695" y="626"/>
                    </a:lnTo>
                    <a:lnTo>
                      <a:pt x="693" y="626"/>
                    </a:lnTo>
                    <a:lnTo>
                      <a:pt x="693" y="628"/>
                    </a:lnTo>
                    <a:lnTo>
                      <a:pt x="691" y="628"/>
                    </a:lnTo>
                    <a:lnTo>
                      <a:pt x="691" y="630"/>
                    </a:lnTo>
                    <a:lnTo>
                      <a:pt x="691" y="631"/>
                    </a:lnTo>
                    <a:lnTo>
                      <a:pt x="689" y="631"/>
                    </a:lnTo>
                    <a:lnTo>
                      <a:pt x="687" y="631"/>
                    </a:lnTo>
                    <a:lnTo>
                      <a:pt x="687" y="630"/>
                    </a:lnTo>
                    <a:lnTo>
                      <a:pt x="685" y="630"/>
                    </a:lnTo>
                    <a:lnTo>
                      <a:pt x="687" y="631"/>
                    </a:lnTo>
                    <a:lnTo>
                      <a:pt x="689" y="631"/>
                    </a:lnTo>
                    <a:lnTo>
                      <a:pt x="689" y="633"/>
                    </a:lnTo>
                    <a:lnTo>
                      <a:pt x="689" y="631"/>
                    </a:lnTo>
                    <a:lnTo>
                      <a:pt x="689" y="633"/>
                    </a:lnTo>
                    <a:lnTo>
                      <a:pt x="687" y="635"/>
                    </a:lnTo>
                    <a:lnTo>
                      <a:pt x="687" y="633"/>
                    </a:lnTo>
                    <a:lnTo>
                      <a:pt x="685" y="635"/>
                    </a:lnTo>
                    <a:lnTo>
                      <a:pt x="687" y="635"/>
                    </a:lnTo>
                    <a:lnTo>
                      <a:pt x="685" y="635"/>
                    </a:lnTo>
                    <a:lnTo>
                      <a:pt x="687" y="637"/>
                    </a:lnTo>
                    <a:lnTo>
                      <a:pt x="685" y="637"/>
                    </a:lnTo>
                    <a:lnTo>
                      <a:pt x="685" y="639"/>
                    </a:lnTo>
                    <a:lnTo>
                      <a:pt x="685" y="637"/>
                    </a:lnTo>
                    <a:lnTo>
                      <a:pt x="683" y="639"/>
                    </a:lnTo>
                    <a:lnTo>
                      <a:pt x="683" y="637"/>
                    </a:lnTo>
                    <a:lnTo>
                      <a:pt x="681" y="637"/>
                    </a:lnTo>
                    <a:lnTo>
                      <a:pt x="681" y="639"/>
                    </a:lnTo>
                    <a:lnTo>
                      <a:pt x="679" y="639"/>
                    </a:lnTo>
                    <a:lnTo>
                      <a:pt x="679" y="641"/>
                    </a:lnTo>
                    <a:lnTo>
                      <a:pt x="679" y="639"/>
                    </a:lnTo>
                    <a:lnTo>
                      <a:pt x="677" y="639"/>
                    </a:lnTo>
                    <a:lnTo>
                      <a:pt x="677" y="641"/>
                    </a:lnTo>
                    <a:lnTo>
                      <a:pt x="676" y="641"/>
                    </a:lnTo>
                    <a:lnTo>
                      <a:pt x="674" y="641"/>
                    </a:lnTo>
                    <a:lnTo>
                      <a:pt x="674" y="639"/>
                    </a:lnTo>
                    <a:lnTo>
                      <a:pt x="672" y="639"/>
                    </a:lnTo>
                    <a:lnTo>
                      <a:pt x="670" y="639"/>
                    </a:lnTo>
                    <a:lnTo>
                      <a:pt x="672" y="639"/>
                    </a:lnTo>
                    <a:lnTo>
                      <a:pt x="670" y="641"/>
                    </a:lnTo>
                    <a:lnTo>
                      <a:pt x="670" y="643"/>
                    </a:lnTo>
                    <a:lnTo>
                      <a:pt x="670" y="641"/>
                    </a:lnTo>
                    <a:lnTo>
                      <a:pt x="672" y="641"/>
                    </a:lnTo>
                    <a:lnTo>
                      <a:pt x="670" y="643"/>
                    </a:lnTo>
                    <a:lnTo>
                      <a:pt x="668" y="643"/>
                    </a:lnTo>
                    <a:lnTo>
                      <a:pt x="666" y="641"/>
                    </a:lnTo>
                    <a:lnTo>
                      <a:pt x="668" y="641"/>
                    </a:lnTo>
                    <a:lnTo>
                      <a:pt x="666" y="641"/>
                    </a:lnTo>
                    <a:lnTo>
                      <a:pt x="664" y="641"/>
                    </a:lnTo>
                    <a:lnTo>
                      <a:pt x="662" y="641"/>
                    </a:lnTo>
                    <a:lnTo>
                      <a:pt x="662" y="643"/>
                    </a:lnTo>
                    <a:lnTo>
                      <a:pt x="660" y="643"/>
                    </a:lnTo>
                    <a:lnTo>
                      <a:pt x="660" y="641"/>
                    </a:lnTo>
                    <a:lnTo>
                      <a:pt x="658" y="641"/>
                    </a:lnTo>
                    <a:lnTo>
                      <a:pt x="660" y="641"/>
                    </a:lnTo>
                    <a:lnTo>
                      <a:pt x="660" y="643"/>
                    </a:lnTo>
                    <a:lnTo>
                      <a:pt x="660" y="645"/>
                    </a:lnTo>
                    <a:lnTo>
                      <a:pt x="660" y="643"/>
                    </a:lnTo>
                    <a:lnTo>
                      <a:pt x="660" y="645"/>
                    </a:lnTo>
                    <a:lnTo>
                      <a:pt x="658" y="645"/>
                    </a:lnTo>
                    <a:lnTo>
                      <a:pt x="656" y="645"/>
                    </a:lnTo>
                    <a:lnTo>
                      <a:pt x="658" y="643"/>
                    </a:lnTo>
                    <a:lnTo>
                      <a:pt x="656" y="643"/>
                    </a:lnTo>
                    <a:lnTo>
                      <a:pt x="658" y="643"/>
                    </a:lnTo>
                    <a:lnTo>
                      <a:pt x="656" y="643"/>
                    </a:lnTo>
                    <a:lnTo>
                      <a:pt x="656" y="641"/>
                    </a:lnTo>
                    <a:lnTo>
                      <a:pt x="658" y="641"/>
                    </a:lnTo>
                    <a:lnTo>
                      <a:pt x="658" y="639"/>
                    </a:lnTo>
                    <a:lnTo>
                      <a:pt x="658" y="641"/>
                    </a:lnTo>
                    <a:lnTo>
                      <a:pt x="656" y="641"/>
                    </a:lnTo>
                    <a:lnTo>
                      <a:pt x="655" y="641"/>
                    </a:lnTo>
                    <a:lnTo>
                      <a:pt x="655" y="643"/>
                    </a:lnTo>
                    <a:lnTo>
                      <a:pt x="653" y="643"/>
                    </a:lnTo>
                    <a:lnTo>
                      <a:pt x="655" y="643"/>
                    </a:lnTo>
                    <a:lnTo>
                      <a:pt x="655" y="645"/>
                    </a:lnTo>
                    <a:lnTo>
                      <a:pt x="653" y="645"/>
                    </a:lnTo>
                    <a:lnTo>
                      <a:pt x="655" y="645"/>
                    </a:lnTo>
                    <a:lnTo>
                      <a:pt x="655" y="647"/>
                    </a:lnTo>
                    <a:lnTo>
                      <a:pt x="653" y="647"/>
                    </a:lnTo>
                    <a:lnTo>
                      <a:pt x="653" y="645"/>
                    </a:lnTo>
                    <a:lnTo>
                      <a:pt x="651" y="643"/>
                    </a:lnTo>
                    <a:lnTo>
                      <a:pt x="651" y="645"/>
                    </a:lnTo>
                    <a:lnTo>
                      <a:pt x="649" y="645"/>
                    </a:lnTo>
                    <a:lnTo>
                      <a:pt x="651" y="645"/>
                    </a:lnTo>
                    <a:lnTo>
                      <a:pt x="649" y="645"/>
                    </a:lnTo>
                    <a:lnTo>
                      <a:pt x="651" y="645"/>
                    </a:lnTo>
                    <a:lnTo>
                      <a:pt x="651" y="647"/>
                    </a:lnTo>
                    <a:lnTo>
                      <a:pt x="651" y="645"/>
                    </a:lnTo>
                    <a:lnTo>
                      <a:pt x="649" y="647"/>
                    </a:lnTo>
                    <a:lnTo>
                      <a:pt x="651" y="647"/>
                    </a:lnTo>
                    <a:lnTo>
                      <a:pt x="653" y="647"/>
                    </a:lnTo>
                    <a:lnTo>
                      <a:pt x="651" y="647"/>
                    </a:lnTo>
                    <a:lnTo>
                      <a:pt x="653" y="649"/>
                    </a:lnTo>
                    <a:lnTo>
                      <a:pt x="651" y="649"/>
                    </a:lnTo>
                    <a:lnTo>
                      <a:pt x="651" y="647"/>
                    </a:lnTo>
                    <a:lnTo>
                      <a:pt x="651" y="649"/>
                    </a:lnTo>
                    <a:lnTo>
                      <a:pt x="651" y="647"/>
                    </a:lnTo>
                    <a:lnTo>
                      <a:pt x="651" y="649"/>
                    </a:lnTo>
                    <a:lnTo>
                      <a:pt x="649" y="649"/>
                    </a:lnTo>
                    <a:lnTo>
                      <a:pt x="651" y="649"/>
                    </a:lnTo>
                    <a:lnTo>
                      <a:pt x="651" y="651"/>
                    </a:lnTo>
                    <a:lnTo>
                      <a:pt x="649" y="651"/>
                    </a:lnTo>
                    <a:lnTo>
                      <a:pt x="649" y="649"/>
                    </a:lnTo>
                    <a:lnTo>
                      <a:pt x="647" y="649"/>
                    </a:lnTo>
                    <a:lnTo>
                      <a:pt x="645" y="649"/>
                    </a:lnTo>
                    <a:lnTo>
                      <a:pt x="643" y="647"/>
                    </a:lnTo>
                    <a:lnTo>
                      <a:pt x="645" y="647"/>
                    </a:lnTo>
                    <a:lnTo>
                      <a:pt x="647" y="647"/>
                    </a:lnTo>
                    <a:lnTo>
                      <a:pt x="645" y="647"/>
                    </a:lnTo>
                    <a:lnTo>
                      <a:pt x="647" y="645"/>
                    </a:lnTo>
                    <a:lnTo>
                      <a:pt x="645" y="645"/>
                    </a:lnTo>
                    <a:lnTo>
                      <a:pt x="645" y="647"/>
                    </a:lnTo>
                    <a:lnTo>
                      <a:pt x="643" y="647"/>
                    </a:lnTo>
                    <a:lnTo>
                      <a:pt x="643" y="645"/>
                    </a:lnTo>
                    <a:lnTo>
                      <a:pt x="641" y="643"/>
                    </a:lnTo>
                    <a:lnTo>
                      <a:pt x="641" y="641"/>
                    </a:lnTo>
                    <a:lnTo>
                      <a:pt x="639" y="641"/>
                    </a:lnTo>
                    <a:lnTo>
                      <a:pt x="639" y="639"/>
                    </a:lnTo>
                    <a:lnTo>
                      <a:pt x="639" y="641"/>
                    </a:lnTo>
                    <a:lnTo>
                      <a:pt x="639" y="639"/>
                    </a:lnTo>
                    <a:lnTo>
                      <a:pt x="639" y="637"/>
                    </a:lnTo>
                    <a:lnTo>
                      <a:pt x="639" y="639"/>
                    </a:lnTo>
                    <a:lnTo>
                      <a:pt x="639" y="637"/>
                    </a:lnTo>
                    <a:lnTo>
                      <a:pt x="639" y="639"/>
                    </a:lnTo>
                    <a:lnTo>
                      <a:pt x="637" y="637"/>
                    </a:lnTo>
                    <a:lnTo>
                      <a:pt x="639" y="637"/>
                    </a:lnTo>
                    <a:lnTo>
                      <a:pt x="637" y="637"/>
                    </a:lnTo>
                    <a:lnTo>
                      <a:pt x="637" y="635"/>
                    </a:lnTo>
                    <a:lnTo>
                      <a:pt x="637" y="637"/>
                    </a:lnTo>
                    <a:lnTo>
                      <a:pt x="637" y="635"/>
                    </a:lnTo>
                    <a:lnTo>
                      <a:pt x="637" y="637"/>
                    </a:lnTo>
                    <a:lnTo>
                      <a:pt x="637" y="639"/>
                    </a:lnTo>
                    <a:lnTo>
                      <a:pt x="639" y="641"/>
                    </a:lnTo>
                    <a:lnTo>
                      <a:pt x="637" y="641"/>
                    </a:lnTo>
                    <a:lnTo>
                      <a:pt x="635" y="641"/>
                    </a:lnTo>
                    <a:lnTo>
                      <a:pt x="637" y="641"/>
                    </a:lnTo>
                    <a:lnTo>
                      <a:pt x="635" y="641"/>
                    </a:lnTo>
                    <a:lnTo>
                      <a:pt x="637" y="643"/>
                    </a:lnTo>
                    <a:lnTo>
                      <a:pt x="639" y="645"/>
                    </a:lnTo>
                    <a:lnTo>
                      <a:pt x="637" y="645"/>
                    </a:lnTo>
                    <a:lnTo>
                      <a:pt x="637" y="643"/>
                    </a:lnTo>
                    <a:lnTo>
                      <a:pt x="635" y="643"/>
                    </a:lnTo>
                    <a:lnTo>
                      <a:pt x="637" y="645"/>
                    </a:lnTo>
                    <a:lnTo>
                      <a:pt x="635" y="643"/>
                    </a:lnTo>
                    <a:lnTo>
                      <a:pt x="637" y="645"/>
                    </a:lnTo>
                    <a:lnTo>
                      <a:pt x="639" y="645"/>
                    </a:lnTo>
                    <a:lnTo>
                      <a:pt x="639" y="647"/>
                    </a:lnTo>
                    <a:lnTo>
                      <a:pt x="639" y="649"/>
                    </a:lnTo>
                    <a:lnTo>
                      <a:pt x="639" y="651"/>
                    </a:lnTo>
                    <a:lnTo>
                      <a:pt x="637" y="651"/>
                    </a:lnTo>
                    <a:lnTo>
                      <a:pt x="637" y="652"/>
                    </a:lnTo>
                    <a:lnTo>
                      <a:pt x="635" y="651"/>
                    </a:lnTo>
                    <a:lnTo>
                      <a:pt x="635" y="649"/>
                    </a:lnTo>
                    <a:lnTo>
                      <a:pt x="634" y="649"/>
                    </a:lnTo>
                    <a:lnTo>
                      <a:pt x="635" y="651"/>
                    </a:lnTo>
                    <a:lnTo>
                      <a:pt x="637" y="652"/>
                    </a:lnTo>
                    <a:lnTo>
                      <a:pt x="635" y="652"/>
                    </a:lnTo>
                    <a:lnTo>
                      <a:pt x="637" y="652"/>
                    </a:lnTo>
                    <a:lnTo>
                      <a:pt x="635" y="652"/>
                    </a:lnTo>
                    <a:lnTo>
                      <a:pt x="635" y="654"/>
                    </a:lnTo>
                    <a:lnTo>
                      <a:pt x="634" y="654"/>
                    </a:lnTo>
                    <a:lnTo>
                      <a:pt x="634" y="652"/>
                    </a:lnTo>
                    <a:lnTo>
                      <a:pt x="634" y="654"/>
                    </a:lnTo>
                    <a:lnTo>
                      <a:pt x="634" y="656"/>
                    </a:lnTo>
                    <a:lnTo>
                      <a:pt x="634" y="654"/>
                    </a:lnTo>
                    <a:lnTo>
                      <a:pt x="632" y="654"/>
                    </a:lnTo>
                    <a:lnTo>
                      <a:pt x="632" y="652"/>
                    </a:lnTo>
                    <a:lnTo>
                      <a:pt x="632" y="651"/>
                    </a:lnTo>
                    <a:lnTo>
                      <a:pt x="632" y="652"/>
                    </a:lnTo>
                    <a:lnTo>
                      <a:pt x="630" y="652"/>
                    </a:lnTo>
                    <a:lnTo>
                      <a:pt x="630" y="654"/>
                    </a:lnTo>
                    <a:lnTo>
                      <a:pt x="630" y="656"/>
                    </a:lnTo>
                    <a:lnTo>
                      <a:pt x="628" y="656"/>
                    </a:lnTo>
                    <a:lnTo>
                      <a:pt x="626" y="654"/>
                    </a:lnTo>
                    <a:lnTo>
                      <a:pt x="628" y="654"/>
                    </a:lnTo>
                    <a:lnTo>
                      <a:pt x="626" y="654"/>
                    </a:lnTo>
                    <a:lnTo>
                      <a:pt x="628" y="654"/>
                    </a:lnTo>
                    <a:lnTo>
                      <a:pt x="626" y="654"/>
                    </a:lnTo>
                    <a:lnTo>
                      <a:pt x="626" y="656"/>
                    </a:lnTo>
                    <a:lnTo>
                      <a:pt x="624" y="656"/>
                    </a:lnTo>
                    <a:lnTo>
                      <a:pt x="624" y="658"/>
                    </a:lnTo>
                    <a:lnTo>
                      <a:pt x="622" y="658"/>
                    </a:lnTo>
                    <a:lnTo>
                      <a:pt x="620" y="658"/>
                    </a:lnTo>
                    <a:lnTo>
                      <a:pt x="620" y="656"/>
                    </a:lnTo>
                    <a:lnTo>
                      <a:pt x="622" y="656"/>
                    </a:lnTo>
                    <a:lnTo>
                      <a:pt x="620" y="654"/>
                    </a:lnTo>
                    <a:lnTo>
                      <a:pt x="620" y="656"/>
                    </a:lnTo>
                    <a:lnTo>
                      <a:pt x="620" y="654"/>
                    </a:lnTo>
                    <a:lnTo>
                      <a:pt x="620" y="652"/>
                    </a:lnTo>
                    <a:lnTo>
                      <a:pt x="620" y="654"/>
                    </a:lnTo>
                    <a:lnTo>
                      <a:pt x="620" y="656"/>
                    </a:lnTo>
                    <a:lnTo>
                      <a:pt x="620" y="658"/>
                    </a:lnTo>
                    <a:lnTo>
                      <a:pt x="618" y="660"/>
                    </a:lnTo>
                    <a:lnTo>
                      <a:pt x="618" y="658"/>
                    </a:lnTo>
                    <a:lnTo>
                      <a:pt x="616" y="658"/>
                    </a:lnTo>
                    <a:lnTo>
                      <a:pt x="614" y="658"/>
                    </a:lnTo>
                    <a:lnTo>
                      <a:pt x="613" y="660"/>
                    </a:lnTo>
                    <a:lnTo>
                      <a:pt x="614" y="660"/>
                    </a:lnTo>
                    <a:lnTo>
                      <a:pt x="613" y="662"/>
                    </a:lnTo>
                    <a:lnTo>
                      <a:pt x="611" y="662"/>
                    </a:lnTo>
                    <a:lnTo>
                      <a:pt x="611" y="660"/>
                    </a:lnTo>
                    <a:lnTo>
                      <a:pt x="613" y="660"/>
                    </a:lnTo>
                    <a:lnTo>
                      <a:pt x="611" y="660"/>
                    </a:lnTo>
                    <a:lnTo>
                      <a:pt x="611" y="658"/>
                    </a:lnTo>
                    <a:lnTo>
                      <a:pt x="609" y="658"/>
                    </a:lnTo>
                    <a:lnTo>
                      <a:pt x="611" y="660"/>
                    </a:lnTo>
                    <a:lnTo>
                      <a:pt x="609" y="660"/>
                    </a:lnTo>
                    <a:lnTo>
                      <a:pt x="609" y="662"/>
                    </a:lnTo>
                    <a:lnTo>
                      <a:pt x="607" y="662"/>
                    </a:lnTo>
                    <a:lnTo>
                      <a:pt x="605" y="662"/>
                    </a:lnTo>
                    <a:lnTo>
                      <a:pt x="601" y="664"/>
                    </a:lnTo>
                    <a:lnTo>
                      <a:pt x="603" y="664"/>
                    </a:lnTo>
                    <a:lnTo>
                      <a:pt x="601" y="664"/>
                    </a:lnTo>
                    <a:lnTo>
                      <a:pt x="601" y="662"/>
                    </a:lnTo>
                    <a:lnTo>
                      <a:pt x="601" y="664"/>
                    </a:lnTo>
                    <a:lnTo>
                      <a:pt x="599" y="664"/>
                    </a:lnTo>
                    <a:lnTo>
                      <a:pt x="599" y="662"/>
                    </a:lnTo>
                    <a:lnTo>
                      <a:pt x="597" y="662"/>
                    </a:lnTo>
                    <a:lnTo>
                      <a:pt x="597" y="664"/>
                    </a:lnTo>
                    <a:lnTo>
                      <a:pt x="599" y="664"/>
                    </a:lnTo>
                    <a:lnTo>
                      <a:pt x="597" y="664"/>
                    </a:lnTo>
                    <a:lnTo>
                      <a:pt x="595" y="666"/>
                    </a:lnTo>
                    <a:lnTo>
                      <a:pt x="595" y="664"/>
                    </a:lnTo>
                    <a:lnTo>
                      <a:pt x="594" y="666"/>
                    </a:lnTo>
                    <a:lnTo>
                      <a:pt x="592" y="668"/>
                    </a:lnTo>
                    <a:lnTo>
                      <a:pt x="592" y="666"/>
                    </a:lnTo>
                    <a:lnTo>
                      <a:pt x="592" y="668"/>
                    </a:lnTo>
                    <a:lnTo>
                      <a:pt x="590" y="668"/>
                    </a:lnTo>
                    <a:lnTo>
                      <a:pt x="588" y="668"/>
                    </a:lnTo>
                    <a:lnTo>
                      <a:pt x="590" y="668"/>
                    </a:lnTo>
                    <a:lnTo>
                      <a:pt x="588" y="668"/>
                    </a:lnTo>
                    <a:lnTo>
                      <a:pt x="588" y="666"/>
                    </a:lnTo>
                    <a:lnTo>
                      <a:pt x="590" y="666"/>
                    </a:lnTo>
                    <a:lnTo>
                      <a:pt x="588" y="666"/>
                    </a:lnTo>
                    <a:lnTo>
                      <a:pt x="590" y="666"/>
                    </a:lnTo>
                    <a:lnTo>
                      <a:pt x="588" y="666"/>
                    </a:lnTo>
                    <a:lnTo>
                      <a:pt x="588" y="664"/>
                    </a:lnTo>
                    <a:lnTo>
                      <a:pt x="588" y="666"/>
                    </a:lnTo>
                    <a:lnTo>
                      <a:pt x="588" y="668"/>
                    </a:lnTo>
                    <a:lnTo>
                      <a:pt x="588" y="670"/>
                    </a:lnTo>
                    <a:lnTo>
                      <a:pt x="586" y="670"/>
                    </a:lnTo>
                    <a:lnTo>
                      <a:pt x="588" y="670"/>
                    </a:lnTo>
                    <a:lnTo>
                      <a:pt x="590" y="670"/>
                    </a:lnTo>
                    <a:lnTo>
                      <a:pt x="588" y="670"/>
                    </a:lnTo>
                    <a:lnTo>
                      <a:pt x="588" y="672"/>
                    </a:lnTo>
                    <a:lnTo>
                      <a:pt x="590" y="672"/>
                    </a:lnTo>
                    <a:lnTo>
                      <a:pt x="590" y="670"/>
                    </a:lnTo>
                    <a:lnTo>
                      <a:pt x="590" y="673"/>
                    </a:lnTo>
                    <a:lnTo>
                      <a:pt x="590" y="672"/>
                    </a:lnTo>
                    <a:lnTo>
                      <a:pt x="588" y="672"/>
                    </a:lnTo>
                    <a:lnTo>
                      <a:pt x="586" y="672"/>
                    </a:lnTo>
                    <a:lnTo>
                      <a:pt x="586" y="670"/>
                    </a:lnTo>
                    <a:lnTo>
                      <a:pt x="588" y="670"/>
                    </a:lnTo>
                    <a:lnTo>
                      <a:pt x="586" y="670"/>
                    </a:lnTo>
                    <a:lnTo>
                      <a:pt x="586" y="672"/>
                    </a:lnTo>
                    <a:lnTo>
                      <a:pt x="586" y="670"/>
                    </a:lnTo>
                    <a:lnTo>
                      <a:pt x="584" y="670"/>
                    </a:lnTo>
                    <a:lnTo>
                      <a:pt x="586" y="670"/>
                    </a:lnTo>
                    <a:lnTo>
                      <a:pt x="586" y="672"/>
                    </a:lnTo>
                    <a:lnTo>
                      <a:pt x="584" y="672"/>
                    </a:lnTo>
                    <a:lnTo>
                      <a:pt x="586" y="672"/>
                    </a:lnTo>
                    <a:lnTo>
                      <a:pt x="584" y="672"/>
                    </a:lnTo>
                    <a:lnTo>
                      <a:pt x="584" y="673"/>
                    </a:lnTo>
                    <a:lnTo>
                      <a:pt x="586" y="673"/>
                    </a:lnTo>
                    <a:lnTo>
                      <a:pt x="584" y="673"/>
                    </a:lnTo>
                    <a:lnTo>
                      <a:pt x="586" y="673"/>
                    </a:lnTo>
                    <a:lnTo>
                      <a:pt x="588" y="673"/>
                    </a:lnTo>
                    <a:lnTo>
                      <a:pt x="588" y="675"/>
                    </a:lnTo>
                    <a:lnTo>
                      <a:pt x="588" y="677"/>
                    </a:lnTo>
                    <a:lnTo>
                      <a:pt x="588" y="675"/>
                    </a:lnTo>
                    <a:lnTo>
                      <a:pt x="588" y="677"/>
                    </a:lnTo>
                    <a:lnTo>
                      <a:pt x="586" y="677"/>
                    </a:lnTo>
                    <a:lnTo>
                      <a:pt x="588" y="677"/>
                    </a:lnTo>
                    <a:lnTo>
                      <a:pt x="590" y="677"/>
                    </a:lnTo>
                    <a:lnTo>
                      <a:pt x="590" y="679"/>
                    </a:lnTo>
                    <a:lnTo>
                      <a:pt x="590" y="681"/>
                    </a:lnTo>
                    <a:lnTo>
                      <a:pt x="590" y="683"/>
                    </a:lnTo>
                    <a:lnTo>
                      <a:pt x="588" y="683"/>
                    </a:lnTo>
                    <a:lnTo>
                      <a:pt x="588" y="685"/>
                    </a:lnTo>
                    <a:lnTo>
                      <a:pt x="586" y="685"/>
                    </a:lnTo>
                    <a:lnTo>
                      <a:pt x="586" y="683"/>
                    </a:lnTo>
                    <a:lnTo>
                      <a:pt x="586" y="685"/>
                    </a:lnTo>
                    <a:lnTo>
                      <a:pt x="586" y="683"/>
                    </a:lnTo>
                    <a:lnTo>
                      <a:pt x="584" y="685"/>
                    </a:lnTo>
                    <a:lnTo>
                      <a:pt x="582" y="683"/>
                    </a:lnTo>
                    <a:lnTo>
                      <a:pt x="582" y="685"/>
                    </a:lnTo>
                    <a:lnTo>
                      <a:pt x="582" y="683"/>
                    </a:lnTo>
                    <a:lnTo>
                      <a:pt x="580" y="685"/>
                    </a:lnTo>
                    <a:lnTo>
                      <a:pt x="580" y="683"/>
                    </a:lnTo>
                    <a:lnTo>
                      <a:pt x="580" y="681"/>
                    </a:lnTo>
                    <a:lnTo>
                      <a:pt x="582" y="681"/>
                    </a:lnTo>
                    <a:lnTo>
                      <a:pt x="582" y="683"/>
                    </a:lnTo>
                    <a:lnTo>
                      <a:pt x="582" y="681"/>
                    </a:lnTo>
                    <a:lnTo>
                      <a:pt x="580" y="681"/>
                    </a:lnTo>
                    <a:lnTo>
                      <a:pt x="580" y="679"/>
                    </a:lnTo>
                    <a:lnTo>
                      <a:pt x="580" y="681"/>
                    </a:lnTo>
                    <a:lnTo>
                      <a:pt x="578" y="679"/>
                    </a:lnTo>
                    <a:lnTo>
                      <a:pt x="578" y="677"/>
                    </a:lnTo>
                    <a:lnTo>
                      <a:pt x="578" y="675"/>
                    </a:lnTo>
                    <a:lnTo>
                      <a:pt x="576" y="673"/>
                    </a:lnTo>
                    <a:lnTo>
                      <a:pt x="576" y="670"/>
                    </a:lnTo>
                    <a:lnTo>
                      <a:pt x="578" y="668"/>
                    </a:lnTo>
                    <a:lnTo>
                      <a:pt x="578" y="666"/>
                    </a:lnTo>
                    <a:lnTo>
                      <a:pt x="580" y="666"/>
                    </a:lnTo>
                    <a:lnTo>
                      <a:pt x="580" y="664"/>
                    </a:lnTo>
                    <a:lnTo>
                      <a:pt x="578" y="664"/>
                    </a:lnTo>
                    <a:lnTo>
                      <a:pt x="578" y="662"/>
                    </a:lnTo>
                    <a:lnTo>
                      <a:pt x="578" y="664"/>
                    </a:lnTo>
                    <a:lnTo>
                      <a:pt x="576" y="662"/>
                    </a:lnTo>
                    <a:lnTo>
                      <a:pt x="576" y="660"/>
                    </a:lnTo>
                    <a:lnTo>
                      <a:pt x="574" y="660"/>
                    </a:lnTo>
                    <a:lnTo>
                      <a:pt x="576" y="658"/>
                    </a:lnTo>
                    <a:lnTo>
                      <a:pt x="574" y="658"/>
                    </a:lnTo>
                    <a:lnTo>
                      <a:pt x="574" y="660"/>
                    </a:lnTo>
                    <a:lnTo>
                      <a:pt x="574" y="662"/>
                    </a:lnTo>
                    <a:lnTo>
                      <a:pt x="574" y="664"/>
                    </a:lnTo>
                    <a:lnTo>
                      <a:pt x="573" y="664"/>
                    </a:lnTo>
                    <a:lnTo>
                      <a:pt x="571" y="664"/>
                    </a:lnTo>
                    <a:lnTo>
                      <a:pt x="569" y="664"/>
                    </a:lnTo>
                    <a:lnTo>
                      <a:pt x="567" y="664"/>
                    </a:lnTo>
                    <a:lnTo>
                      <a:pt x="569" y="664"/>
                    </a:lnTo>
                    <a:lnTo>
                      <a:pt x="569" y="662"/>
                    </a:lnTo>
                    <a:lnTo>
                      <a:pt x="567" y="662"/>
                    </a:lnTo>
                    <a:lnTo>
                      <a:pt x="567" y="660"/>
                    </a:lnTo>
                    <a:lnTo>
                      <a:pt x="565" y="662"/>
                    </a:lnTo>
                    <a:lnTo>
                      <a:pt x="565" y="660"/>
                    </a:lnTo>
                    <a:lnTo>
                      <a:pt x="563" y="660"/>
                    </a:lnTo>
                    <a:lnTo>
                      <a:pt x="563" y="658"/>
                    </a:lnTo>
                    <a:lnTo>
                      <a:pt x="565" y="658"/>
                    </a:lnTo>
                    <a:lnTo>
                      <a:pt x="563" y="658"/>
                    </a:lnTo>
                    <a:lnTo>
                      <a:pt x="563" y="660"/>
                    </a:lnTo>
                    <a:lnTo>
                      <a:pt x="563" y="658"/>
                    </a:lnTo>
                    <a:lnTo>
                      <a:pt x="563" y="660"/>
                    </a:lnTo>
                    <a:lnTo>
                      <a:pt x="561" y="660"/>
                    </a:lnTo>
                    <a:lnTo>
                      <a:pt x="561" y="662"/>
                    </a:lnTo>
                    <a:lnTo>
                      <a:pt x="561" y="660"/>
                    </a:lnTo>
                    <a:lnTo>
                      <a:pt x="561" y="658"/>
                    </a:lnTo>
                    <a:lnTo>
                      <a:pt x="561" y="660"/>
                    </a:lnTo>
                    <a:lnTo>
                      <a:pt x="561" y="662"/>
                    </a:lnTo>
                    <a:lnTo>
                      <a:pt x="561" y="660"/>
                    </a:lnTo>
                    <a:lnTo>
                      <a:pt x="561" y="658"/>
                    </a:lnTo>
                    <a:lnTo>
                      <a:pt x="559" y="660"/>
                    </a:lnTo>
                    <a:lnTo>
                      <a:pt x="559" y="658"/>
                    </a:lnTo>
                    <a:lnTo>
                      <a:pt x="559" y="660"/>
                    </a:lnTo>
                    <a:lnTo>
                      <a:pt x="559" y="658"/>
                    </a:lnTo>
                    <a:lnTo>
                      <a:pt x="559" y="656"/>
                    </a:lnTo>
                    <a:lnTo>
                      <a:pt x="561" y="656"/>
                    </a:lnTo>
                    <a:lnTo>
                      <a:pt x="559" y="656"/>
                    </a:lnTo>
                    <a:lnTo>
                      <a:pt x="557" y="656"/>
                    </a:lnTo>
                    <a:lnTo>
                      <a:pt x="557" y="658"/>
                    </a:lnTo>
                    <a:lnTo>
                      <a:pt x="559" y="658"/>
                    </a:lnTo>
                    <a:lnTo>
                      <a:pt x="559" y="660"/>
                    </a:lnTo>
                    <a:lnTo>
                      <a:pt x="559" y="662"/>
                    </a:lnTo>
                    <a:lnTo>
                      <a:pt x="557" y="662"/>
                    </a:lnTo>
                    <a:lnTo>
                      <a:pt x="555" y="662"/>
                    </a:lnTo>
                    <a:lnTo>
                      <a:pt x="557" y="662"/>
                    </a:lnTo>
                    <a:lnTo>
                      <a:pt x="555" y="662"/>
                    </a:lnTo>
                    <a:lnTo>
                      <a:pt x="557" y="662"/>
                    </a:lnTo>
                    <a:lnTo>
                      <a:pt x="557" y="660"/>
                    </a:lnTo>
                    <a:lnTo>
                      <a:pt x="557" y="662"/>
                    </a:lnTo>
                    <a:lnTo>
                      <a:pt x="557" y="660"/>
                    </a:lnTo>
                    <a:lnTo>
                      <a:pt x="555" y="660"/>
                    </a:lnTo>
                    <a:lnTo>
                      <a:pt x="555" y="658"/>
                    </a:lnTo>
                    <a:lnTo>
                      <a:pt x="555" y="660"/>
                    </a:lnTo>
                    <a:lnTo>
                      <a:pt x="555" y="662"/>
                    </a:lnTo>
                    <a:lnTo>
                      <a:pt x="553" y="662"/>
                    </a:lnTo>
                    <a:lnTo>
                      <a:pt x="553" y="660"/>
                    </a:lnTo>
                    <a:lnTo>
                      <a:pt x="553" y="662"/>
                    </a:lnTo>
                    <a:lnTo>
                      <a:pt x="552" y="662"/>
                    </a:lnTo>
                    <a:lnTo>
                      <a:pt x="553" y="662"/>
                    </a:lnTo>
                    <a:lnTo>
                      <a:pt x="552" y="662"/>
                    </a:lnTo>
                    <a:lnTo>
                      <a:pt x="553" y="662"/>
                    </a:lnTo>
                    <a:lnTo>
                      <a:pt x="552" y="662"/>
                    </a:lnTo>
                    <a:lnTo>
                      <a:pt x="550" y="662"/>
                    </a:lnTo>
                    <a:lnTo>
                      <a:pt x="548" y="662"/>
                    </a:lnTo>
                    <a:lnTo>
                      <a:pt x="548" y="660"/>
                    </a:lnTo>
                    <a:lnTo>
                      <a:pt x="546" y="662"/>
                    </a:lnTo>
                    <a:lnTo>
                      <a:pt x="544" y="662"/>
                    </a:lnTo>
                    <a:lnTo>
                      <a:pt x="544" y="660"/>
                    </a:lnTo>
                    <a:lnTo>
                      <a:pt x="542" y="662"/>
                    </a:lnTo>
                    <a:lnTo>
                      <a:pt x="542" y="660"/>
                    </a:lnTo>
                    <a:lnTo>
                      <a:pt x="540" y="660"/>
                    </a:lnTo>
                    <a:lnTo>
                      <a:pt x="540" y="662"/>
                    </a:lnTo>
                    <a:lnTo>
                      <a:pt x="540" y="660"/>
                    </a:lnTo>
                    <a:lnTo>
                      <a:pt x="538" y="658"/>
                    </a:lnTo>
                    <a:lnTo>
                      <a:pt x="538" y="660"/>
                    </a:lnTo>
                    <a:lnTo>
                      <a:pt x="536" y="658"/>
                    </a:lnTo>
                    <a:lnTo>
                      <a:pt x="534" y="658"/>
                    </a:lnTo>
                    <a:lnTo>
                      <a:pt x="534" y="656"/>
                    </a:lnTo>
                    <a:lnTo>
                      <a:pt x="534" y="654"/>
                    </a:lnTo>
                    <a:lnTo>
                      <a:pt x="534" y="656"/>
                    </a:lnTo>
                    <a:lnTo>
                      <a:pt x="533" y="656"/>
                    </a:lnTo>
                    <a:lnTo>
                      <a:pt x="533" y="654"/>
                    </a:lnTo>
                    <a:lnTo>
                      <a:pt x="531" y="654"/>
                    </a:lnTo>
                    <a:lnTo>
                      <a:pt x="529" y="654"/>
                    </a:lnTo>
                    <a:lnTo>
                      <a:pt x="529" y="652"/>
                    </a:lnTo>
                    <a:lnTo>
                      <a:pt x="529" y="651"/>
                    </a:lnTo>
                    <a:lnTo>
                      <a:pt x="529" y="649"/>
                    </a:lnTo>
                    <a:lnTo>
                      <a:pt x="527" y="649"/>
                    </a:lnTo>
                    <a:lnTo>
                      <a:pt x="527" y="647"/>
                    </a:lnTo>
                    <a:lnTo>
                      <a:pt x="527" y="645"/>
                    </a:lnTo>
                    <a:lnTo>
                      <a:pt x="529" y="645"/>
                    </a:lnTo>
                    <a:lnTo>
                      <a:pt x="531" y="645"/>
                    </a:lnTo>
                    <a:lnTo>
                      <a:pt x="529" y="643"/>
                    </a:lnTo>
                    <a:lnTo>
                      <a:pt x="531" y="643"/>
                    </a:lnTo>
                    <a:lnTo>
                      <a:pt x="531" y="641"/>
                    </a:lnTo>
                    <a:lnTo>
                      <a:pt x="529" y="639"/>
                    </a:lnTo>
                    <a:lnTo>
                      <a:pt x="527" y="639"/>
                    </a:lnTo>
                    <a:lnTo>
                      <a:pt x="527" y="637"/>
                    </a:lnTo>
                    <a:lnTo>
                      <a:pt x="527" y="639"/>
                    </a:lnTo>
                    <a:lnTo>
                      <a:pt x="525" y="639"/>
                    </a:lnTo>
                    <a:lnTo>
                      <a:pt x="523" y="639"/>
                    </a:lnTo>
                    <a:lnTo>
                      <a:pt x="521" y="637"/>
                    </a:lnTo>
                    <a:lnTo>
                      <a:pt x="519" y="637"/>
                    </a:lnTo>
                    <a:lnTo>
                      <a:pt x="519" y="639"/>
                    </a:lnTo>
                    <a:lnTo>
                      <a:pt x="517" y="637"/>
                    </a:lnTo>
                    <a:lnTo>
                      <a:pt x="517" y="639"/>
                    </a:lnTo>
                    <a:lnTo>
                      <a:pt x="515" y="637"/>
                    </a:lnTo>
                    <a:lnTo>
                      <a:pt x="513" y="637"/>
                    </a:lnTo>
                    <a:lnTo>
                      <a:pt x="513" y="635"/>
                    </a:lnTo>
                    <a:lnTo>
                      <a:pt x="512" y="635"/>
                    </a:lnTo>
                    <a:lnTo>
                      <a:pt x="512" y="633"/>
                    </a:lnTo>
                    <a:lnTo>
                      <a:pt x="510" y="633"/>
                    </a:lnTo>
                    <a:lnTo>
                      <a:pt x="510" y="631"/>
                    </a:lnTo>
                    <a:lnTo>
                      <a:pt x="508" y="631"/>
                    </a:lnTo>
                    <a:lnTo>
                      <a:pt x="508" y="630"/>
                    </a:lnTo>
                    <a:lnTo>
                      <a:pt x="508" y="631"/>
                    </a:lnTo>
                    <a:lnTo>
                      <a:pt x="506" y="631"/>
                    </a:lnTo>
                    <a:lnTo>
                      <a:pt x="506" y="633"/>
                    </a:lnTo>
                    <a:lnTo>
                      <a:pt x="506" y="631"/>
                    </a:lnTo>
                    <a:lnTo>
                      <a:pt x="504" y="633"/>
                    </a:lnTo>
                    <a:lnTo>
                      <a:pt x="502" y="633"/>
                    </a:lnTo>
                    <a:lnTo>
                      <a:pt x="502" y="635"/>
                    </a:lnTo>
                    <a:lnTo>
                      <a:pt x="500" y="633"/>
                    </a:lnTo>
                    <a:lnTo>
                      <a:pt x="500" y="635"/>
                    </a:lnTo>
                    <a:lnTo>
                      <a:pt x="500" y="637"/>
                    </a:lnTo>
                    <a:lnTo>
                      <a:pt x="500" y="639"/>
                    </a:lnTo>
                    <a:lnTo>
                      <a:pt x="498" y="639"/>
                    </a:lnTo>
                    <a:lnTo>
                      <a:pt x="498" y="641"/>
                    </a:lnTo>
                    <a:lnTo>
                      <a:pt x="496" y="641"/>
                    </a:lnTo>
                    <a:lnTo>
                      <a:pt x="496" y="639"/>
                    </a:lnTo>
                    <a:lnTo>
                      <a:pt x="496" y="641"/>
                    </a:lnTo>
                    <a:lnTo>
                      <a:pt x="496" y="639"/>
                    </a:lnTo>
                    <a:lnTo>
                      <a:pt x="494" y="639"/>
                    </a:lnTo>
                    <a:lnTo>
                      <a:pt x="494" y="641"/>
                    </a:lnTo>
                    <a:lnTo>
                      <a:pt x="492" y="641"/>
                    </a:lnTo>
                    <a:lnTo>
                      <a:pt x="492" y="643"/>
                    </a:lnTo>
                    <a:lnTo>
                      <a:pt x="492" y="641"/>
                    </a:lnTo>
                    <a:lnTo>
                      <a:pt x="491" y="641"/>
                    </a:lnTo>
                    <a:lnTo>
                      <a:pt x="491" y="639"/>
                    </a:lnTo>
                    <a:lnTo>
                      <a:pt x="489" y="641"/>
                    </a:lnTo>
                    <a:lnTo>
                      <a:pt x="487" y="641"/>
                    </a:lnTo>
                    <a:lnTo>
                      <a:pt x="487" y="643"/>
                    </a:lnTo>
                    <a:lnTo>
                      <a:pt x="487" y="645"/>
                    </a:lnTo>
                    <a:lnTo>
                      <a:pt x="485" y="645"/>
                    </a:lnTo>
                    <a:lnTo>
                      <a:pt x="483" y="643"/>
                    </a:lnTo>
                    <a:lnTo>
                      <a:pt x="481" y="641"/>
                    </a:lnTo>
                    <a:lnTo>
                      <a:pt x="479" y="643"/>
                    </a:lnTo>
                    <a:lnTo>
                      <a:pt x="479" y="645"/>
                    </a:lnTo>
                    <a:lnTo>
                      <a:pt x="477" y="643"/>
                    </a:lnTo>
                    <a:lnTo>
                      <a:pt x="477" y="641"/>
                    </a:lnTo>
                    <a:lnTo>
                      <a:pt x="475" y="641"/>
                    </a:lnTo>
                    <a:lnTo>
                      <a:pt x="475" y="643"/>
                    </a:lnTo>
                    <a:lnTo>
                      <a:pt x="473" y="643"/>
                    </a:lnTo>
                    <a:lnTo>
                      <a:pt x="473" y="645"/>
                    </a:lnTo>
                    <a:lnTo>
                      <a:pt x="471" y="645"/>
                    </a:lnTo>
                    <a:lnTo>
                      <a:pt x="471" y="647"/>
                    </a:lnTo>
                    <a:lnTo>
                      <a:pt x="470" y="647"/>
                    </a:lnTo>
                    <a:lnTo>
                      <a:pt x="470" y="645"/>
                    </a:lnTo>
                    <a:lnTo>
                      <a:pt x="468" y="645"/>
                    </a:lnTo>
                    <a:lnTo>
                      <a:pt x="468" y="643"/>
                    </a:lnTo>
                    <a:lnTo>
                      <a:pt x="466" y="643"/>
                    </a:lnTo>
                    <a:lnTo>
                      <a:pt x="464" y="641"/>
                    </a:lnTo>
                    <a:lnTo>
                      <a:pt x="464" y="643"/>
                    </a:lnTo>
                    <a:lnTo>
                      <a:pt x="464" y="641"/>
                    </a:lnTo>
                    <a:lnTo>
                      <a:pt x="462" y="641"/>
                    </a:lnTo>
                    <a:lnTo>
                      <a:pt x="462" y="643"/>
                    </a:lnTo>
                    <a:lnTo>
                      <a:pt x="460" y="643"/>
                    </a:lnTo>
                    <a:lnTo>
                      <a:pt x="462" y="643"/>
                    </a:lnTo>
                    <a:lnTo>
                      <a:pt x="460" y="645"/>
                    </a:lnTo>
                    <a:lnTo>
                      <a:pt x="458" y="647"/>
                    </a:lnTo>
                    <a:lnTo>
                      <a:pt x="456" y="647"/>
                    </a:lnTo>
                    <a:lnTo>
                      <a:pt x="454" y="647"/>
                    </a:lnTo>
                    <a:lnTo>
                      <a:pt x="452" y="647"/>
                    </a:lnTo>
                    <a:lnTo>
                      <a:pt x="452" y="649"/>
                    </a:lnTo>
                    <a:lnTo>
                      <a:pt x="452" y="647"/>
                    </a:lnTo>
                    <a:lnTo>
                      <a:pt x="451" y="645"/>
                    </a:lnTo>
                    <a:lnTo>
                      <a:pt x="451" y="647"/>
                    </a:lnTo>
                    <a:lnTo>
                      <a:pt x="449" y="647"/>
                    </a:lnTo>
                    <a:lnTo>
                      <a:pt x="449" y="649"/>
                    </a:lnTo>
                    <a:lnTo>
                      <a:pt x="449" y="651"/>
                    </a:lnTo>
                    <a:lnTo>
                      <a:pt x="447" y="651"/>
                    </a:lnTo>
                    <a:lnTo>
                      <a:pt x="449" y="652"/>
                    </a:lnTo>
                    <a:lnTo>
                      <a:pt x="449" y="654"/>
                    </a:lnTo>
                    <a:lnTo>
                      <a:pt x="449" y="656"/>
                    </a:lnTo>
                    <a:lnTo>
                      <a:pt x="451" y="656"/>
                    </a:lnTo>
                    <a:lnTo>
                      <a:pt x="451" y="658"/>
                    </a:lnTo>
                    <a:lnTo>
                      <a:pt x="451" y="660"/>
                    </a:lnTo>
                    <a:lnTo>
                      <a:pt x="452" y="660"/>
                    </a:lnTo>
                    <a:lnTo>
                      <a:pt x="452" y="662"/>
                    </a:lnTo>
                    <a:lnTo>
                      <a:pt x="451" y="662"/>
                    </a:lnTo>
                    <a:lnTo>
                      <a:pt x="451" y="664"/>
                    </a:lnTo>
                    <a:lnTo>
                      <a:pt x="451" y="666"/>
                    </a:lnTo>
                    <a:lnTo>
                      <a:pt x="452" y="668"/>
                    </a:lnTo>
                    <a:lnTo>
                      <a:pt x="451" y="668"/>
                    </a:lnTo>
                    <a:lnTo>
                      <a:pt x="451" y="670"/>
                    </a:lnTo>
                    <a:lnTo>
                      <a:pt x="451" y="668"/>
                    </a:lnTo>
                    <a:lnTo>
                      <a:pt x="449" y="668"/>
                    </a:lnTo>
                    <a:lnTo>
                      <a:pt x="447" y="668"/>
                    </a:lnTo>
                    <a:lnTo>
                      <a:pt x="445" y="668"/>
                    </a:lnTo>
                    <a:lnTo>
                      <a:pt x="443" y="668"/>
                    </a:lnTo>
                    <a:lnTo>
                      <a:pt x="443" y="666"/>
                    </a:lnTo>
                    <a:lnTo>
                      <a:pt x="441" y="666"/>
                    </a:lnTo>
                    <a:lnTo>
                      <a:pt x="441" y="664"/>
                    </a:lnTo>
                    <a:lnTo>
                      <a:pt x="443" y="662"/>
                    </a:lnTo>
                    <a:lnTo>
                      <a:pt x="441" y="662"/>
                    </a:lnTo>
                    <a:lnTo>
                      <a:pt x="441" y="660"/>
                    </a:lnTo>
                    <a:lnTo>
                      <a:pt x="441" y="658"/>
                    </a:lnTo>
                    <a:lnTo>
                      <a:pt x="439" y="660"/>
                    </a:lnTo>
                    <a:lnTo>
                      <a:pt x="437" y="660"/>
                    </a:lnTo>
                    <a:lnTo>
                      <a:pt x="435" y="660"/>
                    </a:lnTo>
                    <a:lnTo>
                      <a:pt x="435" y="662"/>
                    </a:lnTo>
                    <a:lnTo>
                      <a:pt x="433" y="662"/>
                    </a:lnTo>
                    <a:lnTo>
                      <a:pt x="433" y="664"/>
                    </a:lnTo>
                    <a:lnTo>
                      <a:pt x="431" y="664"/>
                    </a:lnTo>
                    <a:lnTo>
                      <a:pt x="430" y="664"/>
                    </a:lnTo>
                    <a:lnTo>
                      <a:pt x="430" y="662"/>
                    </a:lnTo>
                    <a:lnTo>
                      <a:pt x="428" y="662"/>
                    </a:lnTo>
                    <a:lnTo>
                      <a:pt x="428" y="664"/>
                    </a:lnTo>
                    <a:lnTo>
                      <a:pt x="426" y="662"/>
                    </a:lnTo>
                    <a:lnTo>
                      <a:pt x="426" y="664"/>
                    </a:lnTo>
                    <a:lnTo>
                      <a:pt x="426" y="662"/>
                    </a:lnTo>
                    <a:lnTo>
                      <a:pt x="424" y="662"/>
                    </a:lnTo>
                    <a:lnTo>
                      <a:pt x="426" y="660"/>
                    </a:lnTo>
                    <a:lnTo>
                      <a:pt x="424" y="660"/>
                    </a:lnTo>
                    <a:lnTo>
                      <a:pt x="422" y="660"/>
                    </a:lnTo>
                    <a:lnTo>
                      <a:pt x="422" y="658"/>
                    </a:lnTo>
                    <a:lnTo>
                      <a:pt x="422" y="656"/>
                    </a:lnTo>
                    <a:lnTo>
                      <a:pt x="422" y="654"/>
                    </a:lnTo>
                    <a:lnTo>
                      <a:pt x="422" y="652"/>
                    </a:lnTo>
                    <a:lnTo>
                      <a:pt x="420" y="652"/>
                    </a:lnTo>
                    <a:lnTo>
                      <a:pt x="420" y="654"/>
                    </a:lnTo>
                    <a:lnTo>
                      <a:pt x="418" y="652"/>
                    </a:lnTo>
                    <a:lnTo>
                      <a:pt x="418" y="654"/>
                    </a:lnTo>
                    <a:lnTo>
                      <a:pt x="418" y="652"/>
                    </a:lnTo>
                    <a:lnTo>
                      <a:pt x="416" y="652"/>
                    </a:lnTo>
                    <a:lnTo>
                      <a:pt x="414" y="652"/>
                    </a:lnTo>
                    <a:lnTo>
                      <a:pt x="412" y="652"/>
                    </a:lnTo>
                    <a:lnTo>
                      <a:pt x="410" y="652"/>
                    </a:lnTo>
                    <a:lnTo>
                      <a:pt x="409" y="651"/>
                    </a:lnTo>
                    <a:lnTo>
                      <a:pt x="410" y="651"/>
                    </a:lnTo>
                    <a:lnTo>
                      <a:pt x="410" y="649"/>
                    </a:lnTo>
                    <a:lnTo>
                      <a:pt x="410" y="647"/>
                    </a:lnTo>
                    <a:lnTo>
                      <a:pt x="412" y="647"/>
                    </a:lnTo>
                    <a:lnTo>
                      <a:pt x="412" y="645"/>
                    </a:lnTo>
                    <a:lnTo>
                      <a:pt x="412" y="641"/>
                    </a:lnTo>
                    <a:lnTo>
                      <a:pt x="414" y="639"/>
                    </a:lnTo>
                    <a:lnTo>
                      <a:pt x="416" y="639"/>
                    </a:lnTo>
                    <a:lnTo>
                      <a:pt x="416" y="637"/>
                    </a:lnTo>
                    <a:lnTo>
                      <a:pt x="414" y="637"/>
                    </a:lnTo>
                    <a:lnTo>
                      <a:pt x="416" y="635"/>
                    </a:lnTo>
                    <a:lnTo>
                      <a:pt x="414" y="635"/>
                    </a:lnTo>
                    <a:lnTo>
                      <a:pt x="412" y="635"/>
                    </a:lnTo>
                    <a:lnTo>
                      <a:pt x="410" y="635"/>
                    </a:lnTo>
                    <a:lnTo>
                      <a:pt x="409" y="635"/>
                    </a:lnTo>
                    <a:lnTo>
                      <a:pt x="409" y="633"/>
                    </a:lnTo>
                    <a:lnTo>
                      <a:pt x="407" y="635"/>
                    </a:lnTo>
                    <a:lnTo>
                      <a:pt x="407" y="633"/>
                    </a:lnTo>
                    <a:lnTo>
                      <a:pt x="405" y="633"/>
                    </a:lnTo>
                    <a:lnTo>
                      <a:pt x="407" y="633"/>
                    </a:lnTo>
                    <a:lnTo>
                      <a:pt x="407" y="631"/>
                    </a:lnTo>
                    <a:lnTo>
                      <a:pt x="405" y="631"/>
                    </a:lnTo>
                    <a:lnTo>
                      <a:pt x="405" y="630"/>
                    </a:lnTo>
                    <a:lnTo>
                      <a:pt x="403" y="628"/>
                    </a:lnTo>
                    <a:lnTo>
                      <a:pt x="405" y="626"/>
                    </a:lnTo>
                    <a:lnTo>
                      <a:pt x="405" y="624"/>
                    </a:lnTo>
                    <a:lnTo>
                      <a:pt x="403" y="624"/>
                    </a:lnTo>
                    <a:lnTo>
                      <a:pt x="401" y="624"/>
                    </a:lnTo>
                    <a:lnTo>
                      <a:pt x="403" y="624"/>
                    </a:lnTo>
                    <a:lnTo>
                      <a:pt x="403" y="622"/>
                    </a:lnTo>
                    <a:lnTo>
                      <a:pt x="401" y="622"/>
                    </a:lnTo>
                    <a:lnTo>
                      <a:pt x="403" y="620"/>
                    </a:lnTo>
                    <a:lnTo>
                      <a:pt x="401" y="620"/>
                    </a:lnTo>
                    <a:lnTo>
                      <a:pt x="403" y="620"/>
                    </a:lnTo>
                    <a:lnTo>
                      <a:pt x="405" y="620"/>
                    </a:lnTo>
                    <a:lnTo>
                      <a:pt x="405" y="618"/>
                    </a:lnTo>
                    <a:lnTo>
                      <a:pt x="405" y="616"/>
                    </a:lnTo>
                    <a:lnTo>
                      <a:pt x="405" y="618"/>
                    </a:lnTo>
                    <a:lnTo>
                      <a:pt x="403" y="618"/>
                    </a:lnTo>
                    <a:lnTo>
                      <a:pt x="401" y="618"/>
                    </a:lnTo>
                    <a:lnTo>
                      <a:pt x="399" y="618"/>
                    </a:lnTo>
                    <a:lnTo>
                      <a:pt x="397" y="618"/>
                    </a:lnTo>
                    <a:lnTo>
                      <a:pt x="395" y="618"/>
                    </a:lnTo>
                    <a:lnTo>
                      <a:pt x="393" y="618"/>
                    </a:lnTo>
                    <a:lnTo>
                      <a:pt x="391" y="618"/>
                    </a:lnTo>
                    <a:lnTo>
                      <a:pt x="391" y="620"/>
                    </a:lnTo>
                    <a:lnTo>
                      <a:pt x="389" y="620"/>
                    </a:lnTo>
                    <a:lnTo>
                      <a:pt x="388" y="620"/>
                    </a:lnTo>
                    <a:lnTo>
                      <a:pt x="388" y="622"/>
                    </a:lnTo>
                    <a:lnTo>
                      <a:pt x="386" y="622"/>
                    </a:lnTo>
                    <a:lnTo>
                      <a:pt x="384" y="622"/>
                    </a:lnTo>
                    <a:lnTo>
                      <a:pt x="384" y="620"/>
                    </a:lnTo>
                    <a:lnTo>
                      <a:pt x="386" y="620"/>
                    </a:lnTo>
                    <a:lnTo>
                      <a:pt x="386" y="618"/>
                    </a:lnTo>
                    <a:lnTo>
                      <a:pt x="388" y="618"/>
                    </a:lnTo>
                    <a:lnTo>
                      <a:pt x="388" y="616"/>
                    </a:lnTo>
                    <a:lnTo>
                      <a:pt x="388" y="614"/>
                    </a:lnTo>
                    <a:lnTo>
                      <a:pt x="386" y="614"/>
                    </a:lnTo>
                    <a:lnTo>
                      <a:pt x="386" y="612"/>
                    </a:lnTo>
                    <a:lnTo>
                      <a:pt x="384" y="612"/>
                    </a:lnTo>
                    <a:lnTo>
                      <a:pt x="384" y="610"/>
                    </a:lnTo>
                    <a:lnTo>
                      <a:pt x="384" y="609"/>
                    </a:lnTo>
                    <a:lnTo>
                      <a:pt x="384" y="607"/>
                    </a:lnTo>
                    <a:lnTo>
                      <a:pt x="386" y="607"/>
                    </a:lnTo>
                    <a:lnTo>
                      <a:pt x="386" y="605"/>
                    </a:lnTo>
                    <a:lnTo>
                      <a:pt x="388" y="605"/>
                    </a:lnTo>
                    <a:lnTo>
                      <a:pt x="386" y="601"/>
                    </a:lnTo>
                    <a:lnTo>
                      <a:pt x="388" y="601"/>
                    </a:lnTo>
                    <a:lnTo>
                      <a:pt x="388" y="597"/>
                    </a:lnTo>
                    <a:lnTo>
                      <a:pt x="389" y="597"/>
                    </a:lnTo>
                    <a:lnTo>
                      <a:pt x="389" y="599"/>
                    </a:lnTo>
                    <a:lnTo>
                      <a:pt x="391" y="597"/>
                    </a:lnTo>
                    <a:lnTo>
                      <a:pt x="393" y="595"/>
                    </a:lnTo>
                    <a:lnTo>
                      <a:pt x="393" y="593"/>
                    </a:lnTo>
                    <a:lnTo>
                      <a:pt x="393" y="591"/>
                    </a:lnTo>
                    <a:lnTo>
                      <a:pt x="395" y="591"/>
                    </a:lnTo>
                    <a:lnTo>
                      <a:pt x="395" y="593"/>
                    </a:lnTo>
                    <a:lnTo>
                      <a:pt x="397" y="591"/>
                    </a:lnTo>
                    <a:lnTo>
                      <a:pt x="399" y="590"/>
                    </a:lnTo>
                    <a:lnTo>
                      <a:pt x="399" y="588"/>
                    </a:lnTo>
                    <a:lnTo>
                      <a:pt x="401" y="588"/>
                    </a:lnTo>
                    <a:lnTo>
                      <a:pt x="403" y="588"/>
                    </a:lnTo>
                    <a:lnTo>
                      <a:pt x="403" y="586"/>
                    </a:lnTo>
                    <a:lnTo>
                      <a:pt x="401" y="586"/>
                    </a:lnTo>
                    <a:lnTo>
                      <a:pt x="401" y="584"/>
                    </a:lnTo>
                    <a:lnTo>
                      <a:pt x="401" y="582"/>
                    </a:lnTo>
                    <a:lnTo>
                      <a:pt x="401" y="584"/>
                    </a:lnTo>
                    <a:lnTo>
                      <a:pt x="403" y="582"/>
                    </a:lnTo>
                    <a:lnTo>
                      <a:pt x="403" y="580"/>
                    </a:lnTo>
                    <a:lnTo>
                      <a:pt x="401" y="580"/>
                    </a:lnTo>
                    <a:lnTo>
                      <a:pt x="403" y="578"/>
                    </a:lnTo>
                    <a:lnTo>
                      <a:pt x="403" y="576"/>
                    </a:lnTo>
                    <a:lnTo>
                      <a:pt x="403" y="574"/>
                    </a:lnTo>
                    <a:lnTo>
                      <a:pt x="403" y="572"/>
                    </a:lnTo>
                    <a:lnTo>
                      <a:pt x="403" y="570"/>
                    </a:lnTo>
                    <a:lnTo>
                      <a:pt x="403" y="569"/>
                    </a:lnTo>
                    <a:lnTo>
                      <a:pt x="403" y="567"/>
                    </a:lnTo>
                    <a:lnTo>
                      <a:pt x="403" y="565"/>
                    </a:lnTo>
                    <a:lnTo>
                      <a:pt x="403" y="563"/>
                    </a:lnTo>
                    <a:lnTo>
                      <a:pt x="403" y="561"/>
                    </a:lnTo>
                    <a:lnTo>
                      <a:pt x="403" y="559"/>
                    </a:lnTo>
                    <a:lnTo>
                      <a:pt x="403" y="557"/>
                    </a:lnTo>
                    <a:lnTo>
                      <a:pt x="401" y="557"/>
                    </a:lnTo>
                    <a:lnTo>
                      <a:pt x="399" y="555"/>
                    </a:lnTo>
                    <a:lnTo>
                      <a:pt x="397" y="555"/>
                    </a:lnTo>
                    <a:lnTo>
                      <a:pt x="397" y="557"/>
                    </a:lnTo>
                    <a:lnTo>
                      <a:pt x="395" y="557"/>
                    </a:lnTo>
                    <a:lnTo>
                      <a:pt x="395" y="555"/>
                    </a:lnTo>
                    <a:lnTo>
                      <a:pt x="395" y="553"/>
                    </a:lnTo>
                    <a:lnTo>
                      <a:pt x="393" y="551"/>
                    </a:lnTo>
                    <a:lnTo>
                      <a:pt x="395" y="551"/>
                    </a:lnTo>
                    <a:lnTo>
                      <a:pt x="393" y="549"/>
                    </a:lnTo>
                    <a:lnTo>
                      <a:pt x="393" y="548"/>
                    </a:lnTo>
                    <a:lnTo>
                      <a:pt x="393" y="546"/>
                    </a:lnTo>
                    <a:lnTo>
                      <a:pt x="391" y="546"/>
                    </a:lnTo>
                    <a:lnTo>
                      <a:pt x="391" y="544"/>
                    </a:lnTo>
                    <a:lnTo>
                      <a:pt x="389" y="544"/>
                    </a:lnTo>
                    <a:lnTo>
                      <a:pt x="389" y="542"/>
                    </a:lnTo>
                    <a:lnTo>
                      <a:pt x="389" y="544"/>
                    </a:lnTo>
                    <a:lnTo>
                      <a:pt x="388" y="544"/>
                    </a:lnTo>
                    <a:lnTo>
                      <a:pt x="388" y="542"/>
                    </a:lnTo>
                    <a:lnTo>
                      <a:pt x="388" y="540"/>
                    </a:lnTo>
                    <a:lnTo>
                      <a:pt x="386" y="540"/>
                    </a:lnTo>
                    <a:lnTo>
                      <a:pt x="384" y="540"/>
                    </a:lnTo>
                    <a:lnTo>
                      <a:pt x="384" y="542"/>
                    </a:lnTo>
                    <a:lnTo>
                      <a:pt x="382" y="542"/>
                    </a:lnTo>
                    <a:lnTo>
                      <a:pt x="384" y="542"/>
                    </a:lnTo>
                    <a:lnTo>
                      <a:pt x="384" y="544"/>
                    </a:lnTo>
                    <a:lnTo>
                      <a:pt x="382" y="544"/>
                    </a:lnTo>
                    <a:lnTo>
                      <a:pt x="380" y="546"/>
                    </a:lnTo>
                    <a:lnTo>
                      <a:pt x="380" y="544"/>
                    </a:lnTo>
                    <a:lnTo>
                      <a:pt x="380" y="546"/>
                    </a:lnTo>
                    <a:lnTo>
                      <a:pt x="378" y="544"/>
                    </a:lnTo>
                    <a:lnTo>
                      <a:pt x="376" y="544"/>
                    </a:lnTo>
                    <a:lnTo>
                      <a:pt x="374" y="544"/>
                    </a:lnTo>
                    <a:lnTo>
                      <a:pt x="374" y="542"/>
                    </a:lnTo>
                    <a:lnTo>
                      <a:pt x="372" y="544"/>
                    </a:lnTo>
                    <a:lnTo>
                      <a:pt x="370" y="542"/>
                    </a:lnTo>
                    <a:lnTo>
                      <a:pt x="369" y="542"/>
                    </a:lnTo>
                    <a:lnTo>
                      <a:pt x="367" y="542"/>
                    </a:lnTo>
                    <a:lnTo>
                      <a:pt x="367" y="544"/>
                    </a:lnTo>
                    <a:lnTo>
                      <a:pt x="365" y="542"/>
                    </a:lnTo>
                    <a:lnTo>
                      <a:pt x="363" y="542"/>
                    </a:lnTo>
                    <a:lnTo>
                      <a:pt x="365" y="540"/>
                    </a:lnTo>
                    <a:lnTo>
                      <a:pt x="367" y="540"/>
                    </a:lnTo>
                    <a:lnTo>
                      <a:pt x="367" y="538"/>
                    </a:lnTo>
                    <a:lnTo>
                      <a:pt x="369" y="536"/>
                    </a:lnTo>
                    <a:lnTo>
                      <a:pt x="369" y="534"/>
                    </a:lnTo>
                    <a:lnTo>
                      <a:pt x="369" y="532"/>
                    </a:lnTo>
                    <a:lnTo>
                      <a:pt x="367" y="532"/>
                    </a:lnTo>
                    <a:lnTo>
                      <a:pt x="369" y="530"/>
                    </a:lnTo>
                    <a:lnTo>
                      <a:pt x="367" y="530"/>
                    </a:lnTo>
                    <a:lnTo>
                      <a:pt x="365" y="530"/>
                    </a:lnTo>
                    <a:lnTo>
                      <a:pt x="363" y="532"/>
                    </a:lnTo>
                    <a:lnTo>
                      <a:pt x="363" y="530"/>
                    </a:lnTo>
                    <a:lnTo>
                      <a:pt x="361" y="530"/>
                    </a:lnTo>
                    <a:lnTo>
                      <a:pt x="363" y="530"/>
                    </a:lnTo>
                    <a:lnTo>
                      <a:pt x="363" y="528"/>
                    </a:lnTo>
                    <a:lnTo>
                      <a:pt x="365" y="528"/>
                    </a:lnTo>
                    <a:lnTo>
                      <a:pt x="367" y="527"/>
                    </a:lnTo>
                    <a:lnTo>
                      <a:pt x="365" y="527"/>
                    </a:lnTo>
                    <a:lnTo>
                      <a:pt x="363" y="527"/>
                    </a:lnTo>
                    <a:lnTo>
                      <a:pt x="363" y="525"/>
                    </a:lnTo>
                    <a:lnTo>
                      <a:pt x="361" y="523"/>
                    </a:lnTo>
                    <a:lnTo>
                      <a:pt x="359" y="525"/>
                    </a:lnTo>
                    <a:lnTo>
                      <a:pt x="357" y="525"/>
                    </a:lnTo>
                    <a:lnTo>
                      <a:pt x="355" y="525"/>
                    </a:lnTo>
                    <a:lnTo>
                      <a:pt x="353" y="527"/>
                    </a:lnTo>
                    <a:lnTo>
                      <a:pt x="351" y="527"/>
                    </a:lnTo>
                    <a:lnTo>
                      <a:pt x="351" y="528"/>
                    </a:lnTo>
                    <a:lnTo>
                      <a:pt x="351" y="530"/>
                    </a:lnTo>
                    <a:lnTo>
                      <a:pt x="349" y="530"/>
                    </a:lnTo>
                    <a:lnTo>
                      <a:pt x="348" y="530"/>
                    </a:lnTo>
                    <a:lnTo>
                      <a:pt x="348" y="528"/>
                    </a:lnTo>
                    <a:lnTo>
                      <a:pt x="346" y="528"/>
                    </a:lnTo>
                    <a:lnTo>
                      <a:pt x="344" y="528"/>
                    </a:lnTo>
                    <a:lnTo>
                      <a:pt x="342" y="528"/>
                    </a:lnTo>
                    <a:lnTo>
                      <a:pt x="340" y="528"/>
                    </a:lnTo>
                    <a:lnTo>
                      <a:pt x="340" y="527"/>
                    </a:lnTo>
                    <a:lnTo>
                      <a:pt x="338" y="525"/>
                    </a:lnTo>
                    <a:lnTo>
                      <a:pt x="336" y="527"/>
                    </a:lnTo>
                    <a:lnTo>
                      <a:pt x="334" y="527"/>
                    </a:lnTo>
                    <a:lnTo>
                      <a:pt x="334" y="528"/>
                    </a:lnTo>
                    <a:lnTo>
                      <a:pt x="332" y="528"/>
                    </a:lnTo>
                    <a:lnTo>
                      <a:pt x="330" y="528"/>
                    </a:lnTo>
                    <a:lnTo>
                      <a:pt x="330" y="532"/>
                    </a:lnTo>
                    <a:lnTo>
                      <a:pt x="328" y="534"/>
                    </a:lnTo>
                    <a:lnTo>
                      <a:pt x="327" y="536"/>
                    </a:lnTo>
                    <a:lnTo>
                      <a:pt x="325" y="536"/>
                    </a:lnTo>
                    <a:lnTo>
                      <a:pt x="323" y="536"/>
                    </a:lnTo>
                    <a:lnTo>
                      <a:pt x="323" y="538"/>
                    </a:lnTo>
                    <a:lnTo>
                      <a:pt x="321" y="538"/>
                    </a:lnTo>
                    <a:lnTo>
                      <a:pt x="319" y="536"/>
                    </a:lnTo>
                    <a:lnTo>
                      <a:pt x="319" y="538"/>
                    </a:lnTo>
                    <a:lnTo>
                      <a:pt x="319" y="536"/>
                    </a:lnTo>
                    <a:lnTo>
                      <a:pt x="317" y="538"/>
                    </a:lnTo>
                    <a:lnTo>
                      <a:pt x="317" y="540"/>
                    </a:lnTo>
                    <a:lnTo>
                      <a:pt x="315" y="542"/>
                    </a:lnTo>
                    <a:lnTo>
                      <a:pt x="315" y="544"/>
                    </a:lnTo>
                    <a:lnTo>
                      <a:pt x="313" y="544"/>
                    </a:lnTo>
                    <a:lnTo>
                      <a:pt x="311" y="544"/>
                    </a:lnTo>
                    <a:lnTo>
                      <a:pt x="313" y="544"/>
                    </a:lnTo>
                    <a:lnTo>
                      <a:pt x="311" y="544"/>
                    </a:lnTo>
                    <a:lnTo>
                      <a:pt x="309" y="546"/>
                    </a:lnTo>
                    <a:lnTo>
                      <a:pt x="307" y="546"/>
                    </a:lnTo>
                    <a:lnTo>
                      <a:pt x="306" y="548"/>
                    </a:lnTo>
                    <a:lnTo>
                      <a:pt x="307" y="548"/>
                    </a:lnTo>
                    <a:lnTo>
                      <a:pt x="307" y="549"/>
                    </a:lnTo>
                    <a:lnTo>
                      <a:pt x="306" y="549"/>
                    </a:lnTo>
                    <a:lnTo>
                      <a:pt x="306" y="551"/>
                    </a:lnTo>
                    <a:lnTo>
                      <a:pt x="304" y="551"/>
                    </a:lnTo>
                    <a:lnTo>
                      <a:pt x="302" y="551"/>
                    </a:lnTo>
                    <a:lnTo>
                      <a:pt x="300" y="553"/>
                    </a:lnTo>
                    <a:lnTo>
                      <a:pt x="300" y="551"/>
                    </a:lnTo>
                    <a:lnTo>
                      <a:pt x="296" y="553"/>
                    </a:lnTo>
                    <a:lnTo>
                      <a:pt x="294" y="553"/>
                    </a:lnTo>
                    <a:lnTo>
                      <a:pt x="292" y="551"/>
                    </a:lnTo>
                    <a:lnTo>
                      <a:pt x="292" y="553"/>
                    </a:lnTo>
                    <a:lnTo>
                      <a:pt x="290" y="551"/>
                    </a:lnTo>
                    <a:lnTo>
                      <a:pt x="288" y="551"/>
                    </a:lnTo>
                    <a:lnTo>
                      <a:pt x="287" y="549"/>
                    </a:lnTo>
                    <a:lnTo>
                      <a:pt x="288" y="549"/>
                    </a:lnTo>
                    <a:lnTo>
                      <a:pt x="287" y="549"/>
                    </a:lnTo>
                    <a:lnTo>
                      <a:pt x="285" y="548"/>
                    </a:lnTo>
                    <a:lnTo>
                      <a:pt x="283" y="548"/>
                    </a:lnTo>
                    <a:lnTo>
                      <a:pt x="283" y="549"/>
                    </a:lnTo>
                    <a:lnTo>
                      <a:pt x="281" y="549"/>
                    </a:lnTo>
                    <a:lnTo>
                      <a:pt x="279" y="549"/>
                    </a:lnTo>
                    <a:lnTo>
                      <a:pt x="279" y="548"/>
                    </a:lnTo>
                    <a:lnTo>
                      <a:pt x="279" y="549"/>
                    </a:lnTo>
                    <a:lnTo>
                      <a:pt x="277" y="548"/>
                    </a:lnTo>
                    <a:lnTo>
                      <a:pt x="275" y="548"/>
                    </a:lnTo>
                    <a:lnTo>
                      <a:pt x="273" y="549"/>
                    </a:lnTo>
                    <a:lnTo>
                      <a:pt x="273" y="548"/>
                    </a:lnTo>
                    <a:lnTo>
                      <a:pt x="271" y="548"/>
                    </a:lnTo>
                    <a:lnTo>
                      <a:pt x="269" y="548"/>
                    </a:lnTo>
                    <a:lnTo>
                      <a:pt x="269" y="546"/>
                    </a:lnTo>
                    <a:lnTo>
                      <a:pt x="267" y="546"/>
                    </a:lnTo>
                    <a:lnTo>
                      <a:pt x="266" y="546"/>
                    </a:lnTo>
                    <a:lnTo>
                      <a:pt x="264" y="546"/>
                    </a:lnTo>
                    <a:lnTo>
                      <a:pt x="262" y="546"/>
                    </a:lnTo>
                    <a:lnTo>
                      <a:pt x="260" y="544"/>
                    </a:lnTo>
                    <a:lnTo>
                      <a:pt x="260" y="546"/>
                    </a:lnTo>
                    <a:lnTo>
                      <a:pt x="258" y="546"/>
                    </a:lnTo>
                    <a:lnTo>
                      <a:pt x="256" y="548"/>
                    </a:lnTo>
                    <a:lnTo>
                      <a:pt x="256" y="549"/>
                    </a:lnTo>
                    <a:lnTo>
                      <a:pt x="254" y="549"/>
                    </a:lnTo>
                    <a:lnTo>
                      <a:pt x="256" y="549"/>
                    </a:lnTo>
                    <a:lnTo>
                      <a:pt x="254" y="551"/>
                    </a:lnTo>
                    <a:lnTo>
                      <a:pt x="252" y="551"/>
                    </a:lnTo>
                    <a:lnTo>
                      <a:pt x="252" y="553"/>
                    </a:lnTo>
                    <a:lnTo>
                      <a:pt x="250" y="553"/>
                    </a:lnTo>
                    <a:lnTo>
                      <a:pt x="250" y="555"/>
                    </a:lnTo>
                    <a:lnTo>
                      <a:pt x="248" y="555"/>
                    </a:lnTo>
                    <a:lnTo>
                      <a:pt x="248" y="557"/>
                    </a:lnTo>
                    <a:lnTo>
                      <a:pt x="248" y="559"/>
                    </a:lnTo>
                    <a:lnTo>
                      <a:pt x="246" y="559"/>
                    </a:lnTo>
                    <a:lnTo>
                      <a:pt x="248" y="561"/>
                    </a:lnTo>
                    <a:lnTo>
                      <a:pt x="246" y="561"/>
                    </a:lnTo>
                    <a:lnTo>
                      <a:pt x="245" y="559"/>
                    </a:lnTo>
                    <a:lnTo>
                      <a:pt x="245" y="557"/>
                    </a:lnTo>
                    <a:lnTo>
                      <a:pt x="245" y="555"/>
                    </a:lnTo>
                    <a:lnTo>
                      <a:pt x="246" y="555"/>
                    </a:lnTo>
                    <a:lnTo>
                      <a:pt x="246" y="553"/>
                    </a:lnTo>
                    <a:lnTo>
                      <a:pt x="246" y="551"/>
                    </a:lnTo>
                    <a:lnTo>
                      <a:pt x="245" y="549"/>
                    </a:lnTo>
                    <a:lnTo>
                      <a:pt x="245" y="548"/>
                    </a:lnTo>
                    <a:lnTo>
                      <a:pt x="243" y="548"/>
                    </a:lnTo>
                    <a:lnTo>
                      <a:pt x="241" y="548"/>
                    </a:lnTo>
                    <a:lnTo>
                      <a:pt x="241" y="549"/>
                    </a:lnTo>
                    <a:lnTo>
                      <a:pt x="239" y="549"/>
                    </a:lnTo>
                    <a:lnTo>
                      <a:pt x="237" y="549"/>
                    </a:lnTo>
                    <a:lnTo>
                      <a:pt x="237" y="551"/>
                    </a:lnTo>
                    <a:lnTo>
                      <a:pt x="235" y="549"/>
                    </a:lnTo>
                    <a:lnTo>
                      <a:pt x="235" y="551"/>
                    </a:lnTo>
                    <a:lnTo>
                      <a:pt x="235" y="549"/>
                    </a:lnTo>
                    <a:lnTo>
                      <a:pt x="235" y="551"/>
                    </a:lnTo>
                    <a:lnTo>
                      <a:pt x="233" y="551"/>
                    </a:lnTo>
                    <a:lnTo>
                      <a:pt x="231" y="551"/>
                    </a:lnTo>
                    <a:lnTo>
                      <a:pt x="229" y="551"/>
                    </a:lnTo>
                    <a:lnTo>
                      <a:pt x="229" y="549"/>
                    </a:lnTo>
                    <a:lnTo>
                      <a:pt x="229" y="551"/>
                    </a:lnTo>
                    <a:lnTo>
                      <a:pt x="227" y="553"/>
                    </a:lnTo>
                    <a:lnTo>
                      <a:pt x="227" y="551"/>
                    </a:lnTo>
                    <a:lnTo>
                      <a:pt x="225" y="551"/>
                    </a:lnTo>
                    <a:lnTo>
                      <a:pt x="225" y="553"/>
                    </a:lnTo>
                    <a:lnTo>
                      <a:pt x="225" y="551"/>
                    </a:lnTo>
                    <a:lnTo>
                      <a:pt x="224" y="551"/>
                    </a:lnTo>
                    <a:lnTo>
                      <a:pt x="222" y="551"/>
                    </a:lnTo>
                    <a:lnTo>
                      <a:pt x="224" y="551"/>
                    </a:lnTo>
                    <a:lnTo>
                      <a:pt x="222" y="551"/>
                    </a:lnTo>
                    <a:lnTo>
                      <a:pt x="220" y="551"/>
                    </a:lnTo>
                    <a:lnTo>
                      <a:pt x="218" y="551"/>
                    </a:lnTo>
                    <a:lnTo>
                      <a:pt x="216" y="549"/>
                    </a:lnTo>
                    <a:lnTo>
                      <a:pt x="214" y="549"/>
                    </a:lnTo>
                    <a:lnTo>
                      <a:pt x="212" y="548"/>
                    </a:lnTo>
                    <a:lnTo>
                      <a:pt x="210" y="548"/>
                    </a:lnTo>
                    <a:lnTo>
                      <a:pt x="208" y="548"/>
                    </a:lnTo>
                    <a:lnTo>
                      <a:pt x="208" y="549"/>
                    </a:lnTo>
                    <a:lnTo>
                      <a:pt x="206" y="551"/>
                    </a:lnTo>
                    <a:lnTo>
                      <a:pt x="206" y="549"/>
                    </a:lnTo>
                    <a:lnTo>
                      <a:pt x="205" y="549"/>
                    </a:lnTo>
                    <a:lnTo>
                      <a:pt x="203" y="548"/>
                    </a:lnTo>
                    <a:lnTo>
                      <a:pt x="205" y="548"/>
                    </a:lnTo>
                    <a:lnTo>
                      <a:pt x="203" y="546"/>
                    </a:lnTo>
                    <a:lnTo>
                      <a:pt x="203" y="548"/>
                    </a:lnTo>
                    <a:lnTo>
                      <a:pt x="201" y="548"/>
                    </a:lnTo>
                    <a:lnTo>
                      <a:pt x="203" y="548"/>
                    </a:lnTo>
                    <a:lnTo>
                      <a:pt x="201" y="549"/>
                    </a:lnTo>
                    <a:lnTo>
                      <a:pt x="203" y="549"/>
                    </a:lnTo>
                    <a:lnTo>
                      <a:pt x="201" y="551"/>
                    </a:lnTo>
                    <a:lnTo>
                      <a:pt x="199" y="549"/>
                    </a:lnTo>
                    <a:lnTo>
                      <a:pt x="201" y="549"/>
                    </a:lnTo>
                    <a:lnTo>
                      <a:pt x="199" y="548"/>
                    </a:lnTo>
                    <a:lnTo>
                      <a:pt x="197" y="546"/>
                    </a:lnTo>
                    <a:lnTo>
                      <a:pt x="195" y="542"/>
                    </a:lnTo>
                    <a:lnTo>
                      <a:pt x="195" y="544"/>
                    </a:lnTo>
                    <a:lnTo>
                      <a:pt x="193" y="544"/>
                    </a:lnTo>
                    <a:lnTo>
                      <a:pt x="191" y="544"/>
                    </a:lnTo>
                    <a:lnTo>
                      <a:pt x="189" y="544"/>
                    </a:lnTo>
                    <a:lnTo>
                      <a:pt x="187" y="544"/>
                    </a:lnTo>
                    <a:lnTo>
                      <a:pt x="185" y="544"/>
                    </a:lnTo>
                    <a:lnTo>
                      <a:pt x="185" y="542"/>
                    </a:lnTo>
                    <a:lnTo>
                      <a:pt x="185" y="540"/>
                    </a:lnTo>
                    <a:lnTo>
                      <a:pt x="187" y="540"/>
                    </a:lnTo>
                    <a:lnTo>
                      <a:pt x="187" y="538"/>
                    </a:lnTo>
                    <a:lnTo>
                      <a:pt x="185" y="536"/>
                    </a:lnTo>
                    <a:lnTo>
                      <a:pt x="184" y="538"/>
                    </a:lnTo>
                    <a:lnTo>
                      <a:pt x="182" y="538"/>
                    </a:lnTo>
                    <a:lnTo>
                      <a:pt x="180" y="538"/>
                    </a:lnTo>
                    <a:lnTo>
                      <a:pt x="180" y="536"/>
                    </a:lnTo>
                    <a:lnTo>
                      <a:pt x="178" y="536"/>
                    </a:lnTo>
                    <a:lnTo>
                      <a:pt x="176" y="536"/>
                    </a:lnTo>
                    <a:lnTo>
                      <a:pt x="176" y="534"/>
                    </a:lnTo>
                    <a:lnTo>
                      <a:pt x="174" y="534"/>
                    </a:lnTo>
                    <a:lnTo>
                      <a:pt x="174" y="532"/>
                    </a:lnTo>
                    <a:lnTo>
                      <a:pt x="174" y="534"/>
                    </a:lnTo>
                    <a:lnTo>
                      <a:pt x="172" y="532"/>
                    </a:lnTo>
                    <a:lnTo>
                      <a:pt x="172" y="530"/>
                    </a:lnTo>
                    <a:lnTo>
                      <a:pt x="172" y="528"/>
                    </a:lnTo>
                    <a:lnTo>
                      <a:pt x="170" y="528"/>
                    </a:lnTo>
                    <a:lnTo>
                      <a:pt x="172" y="527"/>
                    </a:lnTo>
                    <a:lnTo>
                      <a:pt x="170" y="527"/>
                    </a:lnTo>
                    <a:lnTo>
                      <a:pt x="170" y="525"/>
                    </a:lnTo>
                    <a:lnTo>
                      <a:pt x="170" y="527"/>
                    </a:lnTo>
                    <a:lnTo>
                      <a:pt x="168" y="525"/>
                    </a:lnTo>
                    <a:lnTo>
                      <a:pt x="168" y="527"/>
                    </a:lnTo>
                    <a:lnTo>
                      <a:pt x="168" y="525"/>
                    </a:lnTo>
                    <a:lnTo>
                      <a:pt x="166" y="525"/>
                    </a:lnTo>
                    <a:lnTo>
                      <a:pt x="164" y="525"/>
                    </a:lnTo>
                    <a:lnTo>
                      <a:pt x="164" y="527"/>
                    </a:lnTo>
                    <a:lnTo>
                      <a:pt x="163" y="527"/>
                    </a:lnTo>
                    <a:lnTo>
                      <a:pt x="163" y="528"/>
                    </a:lnTo>
                    <a:lnTo>
                      <a:pt x="161" y="527"/>
                    </a:lnTo>
                    <a:lnTo>
                      <a:pt x="159" y="525"/>
                    </a:lnTo>
                    <a:lnTo>
                      <a:pt x="159" y="523"/>
                    </a:lnTo>
                    <a:lnTo>
                      <a:pt x="157" y="521"/>
                    </a:lnTo>
                    <a:lnTo>
                      <a:pt x="155" y="519"/>
                    </a:lnTo>
                    <a:lnTo>
                      <a:pt x="155" y="521"/>
                    </a:lnTo>
                    <a:lnTo>
                      <a:pt x="155" y="519"/>
                    </a:lnTo>
                    <a:lnTo>
                      <a:pt x="153" y="519"/>
                    </a:lnTo>
                    <a:lnTo>
                      <a:pt x="151" y="519"/>
                    </a:lnTo>
                    <a:lnTo>
                      <a:pt x="149" y="519"/>
                    </a:lnTo>
                    <a:lnTo>
                      <a:pt x="149" y="517"/>
                    </a:lnTo>
                    <a:lnTo>
                      <a:pt x="147" y="517"/>
                    </a:lnTo>
                    <a:lnTo>
                      <a:pt x="149" y="515"/>
                    </a:lnTo>
                    <a:lnTo>
                      <a:pt x="147" y="515"/>
                    </a:lnTo>
                    <a:lnTo>
                      <a:pt x="145" y="515"/>
                    </a:lnTo>
                    <a:lnTo>
                      <a:pt x="145" y="513"/>
                    </a:lnTo>
                    <a:lnTo>
                      <a:pt x="143" y="513"/>
                    </a:lnTo>
                    <a:lnTo>
                      <a:pt x="143" y="511"/>
                    </a:lnTo>
                    <a:lnTo>
                      <a:pt x="142" y="513"/>
                    </a:lnTo>
                    <a:lnTo>
                      <a:pt x="142" y="511"/>
                    </a:lnTo>
                    <a:lnTo>
                      <a:pt x="140" y="511"/>
                    </a:lnTo>
                    <a:lnTo>
                      <a:pt x="140" y="509"/>
                    </a:lnTo>
                    <a:lnTo>
                      <a:pt x="138" y="509"/>
                    </a:lnTo>
                    <a:lnTo>
                      <a:pt x="138" y="507"/>
                    </a:lnTo>
                    <a:lnTo>
                      <a:pt x="138" y="506"/>
                    </a:lnTo>
                    <a:lnTo>
                      <a:pt x="136" y="506"/>
                    </a:lnTo>
                    <a:lnTo>
                      <a:pt x="136" y="507"/>
                    </a:lnTo>
                    <a:lnTo>
                      <a:pt x="136" y="506"/>
                    </a:lnTo>
                    <a:lnTo>
                      <a:pt x="134" y="506"/>
                    </a:lnTo>
                    <a:lnTo>
                      <a:pt x="132" y="506"/>
                    </a:lnTo>
                    <a:lnTo>
                      <a:pt x="130" y="504"/>
                    </a:lnTo>
                    <a:lnTo>
                      <a:pt x="130" y="506"/>
                    </a:lnTo>
                    <a:lnTo>
                      <a:pt x="128" y="506"/>
                    </a:lnTo>
                    <a:lnTo>
                      <a:pt x="126" y="506"/>
                    </a:lnTo>
                    <a:lnTo>
                      <a:pt x="128" y="506"/>
                    </a:lnTo>
                    <a:lnTo>
                      <a:pt x="126" y="506"/>
                    </a:lnTo>
                    <a:lnTo>
                      <a:pt x="126" y="507"/>
                    </a:lnTo>
                    <a:lnTo>
                      <a:pt x="128" y="507"/>
                    </a:lnTo>
                    <a:lnTo>
                      <a:pt x="126" y="507"/>
                    </a:lnTo>
                    <a:lnTo>
                      <a:pt x="126" y="509"/>
                    </a:lnTo>
                    <a:lnTo>
                      <a:pt x="124" y="509"/>
                    </a:lnTo>
                    <a:lnTo>
                      <a:pt x="124" y="511"/>
                    </a:lnTo>
                    <a:lnTo>
                      <a:pt x="124" y="513"/>
                    </a:lnTo>
                    <a:lnTo>
                      <a:pt x="124" y="511"/>
                    </a:lnTo>
                    <a:lnTo>
                      <a:pt x="124" y="513"/>
                    </a:lnTo>
                    <a:lnTo>
                      <a:pt x="123" y="513"/>
                    </a:lnTo>
                    <a:lnTo>
                      <a:pt x="123" y="511"/>
                    </a:lnTo>
                    <a:lnTo>
                      <a:pt x="123" y="509"/>
                    </a:lnTo>
                    <a:lnTo>
                      <a:pt x="121" y="509"/>
                    </a:lnTo>
                    <a:lnTo>
                      <a:pt x="121" y="507"/>
                    </a:lnTo>
                    <a:lnTo>
                      <a:pt x="119" y="507"/>
                    </a:lnTo>
                    <a:lnTo>
                      <a:pt x="117" y="506"/>
                    </a:lnTo>
                    <a:lnTo>
                      <a:pt x="115" y="504"/>
                    </a:lnTo>
                    <a:lnTo>
                      <a:pt x="113" y="504"/>
                    </a:lnTo>
                    <a:lnTo>
                      <a:pt x="111" y="504"/>
                    </a:lnTo>
                    <a:lnTo>
                      <a:pt x="109" y="502"/>
                    </a:lnTo>
                    <a:lnTo>
                      <a:pt x="107" y="500"/>
                    </a:lnTo>
                    <a:lnTo>
                      <a:pt x="109" y="500"/>
                    </a:lnTo>
                    <a:lnTo>
                      <a:pt x="109" y="498"/>
                    </a:lnTo>
                    <a:lnTo>
                      <a:pt x="107" y="498"/>
                    </a:lnTo>
                    <a:lnTo>
                      <a:pt x="105" y="498"/>
                    </a:lnTo>
                    <a:lnTo>
                      <a:pt x="105" y="496"/>
                    </a:lnTo>
                    <a:lnTo>
                      <a:pt x="103" y="496"/>
                    </a:lnTo>
                    <a:lnTo>
                      <a:pt x="103" y="494"/>
                    </a:lnTo>
                    <a:lnTo>
                      <a:pt x="102" y="494"/>
                    </a:lnTo>
                    <a:lnTo>
                      <a:pt x="100" y="494"/>
                    </a:lnTo>
                    <a:lnTo>
                      <a:pt x="98" y="496"/>
                    </a:lnTo>
                    <a:lnTo>
                      <a:pt x="98" y="494"/>
                    </a:lnTo>
                    <a:lnTo>
                      <a:pt x="96" y="494"/>
                    </a:lnTo>
                    <a:lnTo>
                      <a:pt x="96" y="492"/>
                    </a:lnTo>
                    <a:lnTo>
                      <a:pt x="94" y="492"/>
                    </a:lnTo>
                    <a:lnTo>
                      <a:pt x="94" y="490"/>
                    </a:lnTo>
                    <a:lnTo>
                      <a:pt x="92" y="490"/>
                    </a:lnTo>
                    <a:lnTo>
                      <a:pt x="94" y="488"/>
                    </a:lnTo>
                    <a:lnTo>
                      <a:pt x="92" y="488"/>
                    </a:lnTo>
                    <a:lnTo>
                      <a:pt x="90" y="486"/>
                    </a:lnTo>
                    <a:lnTo>
                      <a:pt x="88" y="488"/>
                    </a:lnTo>
                    <a:lnTo>
                      <a:pt x="88" y="490"/>
                    </a:lnTo>
                    <a:lnTo>
                      <a:pt x="86" y="488"/>
                    </a:lnTo>
                    <a:lnTo>
                      <a:pt x="86" y="486"/>
                    </a:lnTo>
                    <a:lnTo>
                      <a:pt x="84" y="485"/>
                    </a:lnTo>
                    <a:lnTo>
                      <a:pt x="86" y="483"/>
                    </a:lnTo>
                    <a:lnTo>
                      <a:pt x="86" y="481"/>
                    </a:lnTo>
                    <a:lnTo>
                      <a:pt x="84" y="481"/>
                    </a:lnTo>
                    <a:lnTo>
                      <a:pt x="84" y="479"/>
                    </a:lnTo>
                    <a:lnTo>
                      <a:pt x="84" y="475"/>
                    </a:lnTo>
                    <a:lnTo>
                      <a:pt x="82" y="473"/>
                    </a:lnTo>
                    <a:lnTo>
                      <a:pt x="82" y="471"/>
                    </a:lnTo>
                    <a:lnTo>
                      <a:pt x="81" y="471"/>
                    </a:lnTo>
                    <a:lnTo>
                      <a:pt x="81" y="469"/>
                    </a:lnTo>
                    <a:lnTo>
                      <a:pt x="81" y="467"/>
                    </a:lnTo>
                    <a:lnTo>
                      <a:pt x="81" y="465"/>
                    </a:lnTo>
                    <a:lnTo>
                      <a:pt x="79" y="465"/>
                    </a:lnTo>
                    <a:lnTo>
                      <a:pt x="81" y="464"/>
                    </a:lnTo>
                    <a:lnTo>
                      <a:pt x="82" y="464"/>
                    </a:lnTo>
                    <a:lnTo>
                      <a:pt x="84" y="464"/>
                    </a:lnTo>
                    <a:lnTo>
                      <a:pt x="84" y="462"/>
                    </a:lnTo>
                    <a:lnTo>
                      <a:pt x="86" y="464"/>
                    </a:lnTo>
                    <a:lnTo>
                      <a:pt x="84" y="465"/>
                    </a:lnTo>
                    <a:lnTo>
                      <a:pt x="86" y="467"/>
                    </a:lnTo>
                    <a:lnTo>
                      <a:pt x="88" y="469"/>
                    </a:lnTo>
                    <a:lnTo>
                      <a:pt x="90" y="467"/>
                    </a:lnTo>
                    <a:lnTo>
                      <a:pt x="92" y="465"/>
                    </a:lnTo>
                    <a:lnTo>
                      <a:pt x="94" y="465"/>
                    </a:lnTo>
                    <a:lnTo>
                      <a:pt x="94" y="464"/>
                    </a:lnTo>
                    <a:lnTo>
                      <a:pt x="96" y="465"/>
                    </a:lnTo>
                    <a:lnTo>
                      <a:pt x="98" y="462"/>
                    </a:lnTo>
                    <a:lnTo>
                      <a:pt x="94" y="456"/>
                    </a:lnTo>
                    <a:lnTo>
                      <a:pt x="96" y="456"/>
                    </a:lnTo>
                    <a:lnTo>
                      <a:pt x="94" y="454"/>
                    </a:lnTo>
                    <a:lnTo>
                      <a:pt x="96" y="452"/>
                    </a:lnTo>
                    <a:lnTo>
                      <a:pt x="96" y="450"/>
                    </a:lnTo>
                    <a:lnTo>
                      <a:pt x="94" y="450"/>
                    </a:lnTo>
                    <a:lnTo>
                      <a:pt x="92" y="450"/>
                    </a:lnTo>
                    <a:lnTo>
                      <a:pt x="90" y="450"/>
                    </a:lnTo>
                    <a:lnTo>
                      <a:pt x="88" y="450"/>
                    </a:lnTo>
                    <a:lnTo>
                      <a:pt x="88" y="448"/>
                    </a:lnTo>
                    <a:lnTo>
                      <a:pt x="88" y="446"/>
                    </a:lnTo>
                    <a:lnTo>
                      <a:pt x="88" y="444"/>
                    </a:lnTo>
                    <a:lnTo>
                      <a:pt x="90" y="444"/>
                    </a:lnTo>
                    <a:lnTo>
                      <a:pt x="90" y="443"/>
                    </a:lnTo>
                    <a:lnTo>
                      <a:pt x="88" y="441"/>
                    </a:lnTo>
                    <a:lnTo>
                      <a:pt x="88" y="439"/>
                    </a:lnTo>
                    <a:lnTo>
                      <a:pt x="88" y="437"/>
                    </a:lnTo>
                    <a:lnTo>
                      <a:pt x="90" y="437"/>
                    </a:lnTo>
                    <a:lnTo>
                      <a:pt x="92" y="437"/>
                    </a:lnTo>
                    <a:lnTo>
                      <a:pt x="96" y="437"/>
                    </a:lnTo>
                    <a:lnTo>
                      <a:pt x="96" y="435"/>
                    </a:lnTo>
                    <a:lnTo>
                      <a:pt x="98" y="433"/>
                    </a:lnTo>
                    <a:lnTo>
                      <a:pt x="98" y="431"/>
                    </a:lnTo>
                    <a:lnTo>
                      <a:pt x="98" y="429"/>
                    </a:lnTo>
                    <a:lnTo>
                      <a:pt x="98" y="427"/>
                    </a:lnTo>
                    <a:lnTo>
                      <a:pt x="102" y="429"/>
                    </a:lnTo>
                    <a:lnTo>
                      <a:pt x="102" y="427"/>
                    </a:lnTo>
                    <a:lnTo>
                      <a:pt x="102" y="425"/>
                    </a:lnTo>
                    <a:lnTo>
                      <a:pt x="103" y="424"/>
                    </a:lnTo>
                    <a:lnTo>
                      <a:pt x="105" y="424"/>
                    </a:lnTo>
                    <a:lnTo>
                      <a:pt x="105" y="422"/>
                    </a:lnTo>
                    <a:lnTo>
                      <a:pt x="107" y="420"/>
                    </a:lnTo>
                    <a:lnTo>
                      <a:pt x="107" y="416"/>
                    </a:lnTo>
                    <a:lnTo>
                      <a:pt x="107" y="414"/>
                    </a:lnTo>
                    <a:lnTo>
                      <a:pt x="109" y="414"/>
                    </a:lnTo>
                    <a:lnTo>
                      <a:pt x="109" y="410"/>
                    </a:lnTo>
                    <a:lnTo>
                      <a:pt x="111" y="410"/>
                    </a:lnTo>
                    <a:lnTo>
                      <a:pt x="111" y="408"/>
                    </a:lnTo>
                    <a:lnTo>
                      <a:pt x="109" y="406"/>
                    </a:lnTo>
                    <a:lnTo>
                      <a:pt x="107" y="406"/>
                    </a:lnTo>
                    <a:lnTo>
                      <a:pt x="105" y="404"/>
                    </a:lnTo>
                    <a:lnTo>
                      <a:pt x="105" y="403"/>
                    </a:lnTo>
                    <a:lnTo>
                      <a:pt x="103" y="403"/>
                    </a:lnTo>
                    <a:lnTo>
                      <a:pt x="102" y="403"/>
                    </a:lnTo>
                    <a:lnTo>
                      <a:pt x="98" y="401"/>
                    </a:lnTo>
                    <a:lnTo>
                      <a:pt x="96" y="401"/>
                    </a:lnTo>
                    <a:lnTo>
                      <a:pt x="96" y="399"/>
                    </a:lnTo>
                    <a:lnTo>
                      <a:pt x="92" y="399"/>
                    </a:lnTo>
                    <a:lnTo>
                      <a:pt x="92" y="401"/>
                    </a:lnTo>
                    <a:lnTo>
                      <a:pt x="88" y="403"/>
                    </a:lnTo>
                    <a:lnTo>
                      <a:pt x="88" y="401"/>
                    </a:lnTo>
                    <a:lnTo>
                      <a:pt x="84" y="403"/>
                    </a:lnTo>
                    <a:lnTo>
                      <a:pt x="82" y="403"/>
                    </a:lnTo>
                    <a:lnTo>
                      <a:pt x="81" y="403"/>
                    </a:lnTo>
                    <a:lnTo>
                      <a:pt x="79" y="404"/>
                    </a:lnTo>
                    <a:lnTo>
                      <a:pt x="77" y="404"/>
                    </a:lnTo>
                    <a:lnTo>
                      <a:pt x="77" y="406"/>
                    </a:lnTo>
                    <a:lnTo>
                      <a:pt x="75" y="406"/>
                    </a:lnTo>
                    <a:lnTo>
                      <a:pt x="75" y="408"/>
                    </a:lnTo>
                    <a:lnTo>
                      <a:pt x="75" y="406"/>
                    </a:lnTo>
                    <a:lnTo>
                      <a:pt x="73" y="406"/>
                    </a:lnTo>
                    <a:lnTo>
                      <a:pt x="71" y="408"/>
                    </a:lnTo>
                    <a:lnTo>
                      <a:pt x="71" y="410"/>
                    </a:lnTo>
                    <a:lnTo>
                      <a:pt x="71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5" y="408"/>
                    </a:lnTo>
                    <a:lnTo>
                      <a:pt x="65" y="410"/>
                    </a:lnTo>
                    <a:lnTo>
                      <a:pt x="63" y="408"/>
                    </a:lnTo>
                    <a:lnTo>
                      <a:pt x="61" y="408"/>
                    </a:lnTo>
                    <a:lnTo>
                      <a:pt x="63" y="408"/>
                    </a:lnTo>
                    <a:lnTo>
                      <a:pt x="61" y="406"/>
                    </a:lnTo>
                    <a:lnTo>
                      <a:pt x="61" y="408"/>
                    </a:lnTo>
                    <a:lnTo>
                      <a:pt x="58" y="406"/>
                    </a:lnTo>
                    <a:lnTo>
                      <a:pt x="56" y="406"/>
                    </a:lnTo>
                    <a:lnTo>
                      <a:pt x="56" y="404"/>
                    </a:lnTo>
                    <a:lnTo>
                      <a:pt x="54" y="404"/>
                    </a:lnTo>
                    <a:lnTo>
                      <a:pt x="52" y="404"/>
                    </a:lnTo>
                    <a:lnTo>
                      <a:pt x="52" y="403"/>
                    </a:lnTo>
                    <a:lnTo>
                      <a:pt x="50" y="403"/>
                    </a:lnTo>
                    <a:lnTo>
                      <a:pt x="50" y="401"/>
                    </a:lnTo>
                    <a:lnTo>
                      <a:pt x="48" y="401"/>
                    </a:lnTo>
                    <a:lnTo>
                      <a:pt x="46" y="403"/>
                    </a:lnTo>
                    <a:lnTo>
                      <a:pt x="44" y="403"/>
                    </a:lnTo>
                    <a:lnTo>
                      <a:pt x="42" y="401"/>
                    </a:lnTo>
                    <a:lnTo>
                      <a:pt x="44" y="401"/>
                    </a:lnTo>
                    <a:lnTo>
                      <a:pt x="42" y="399"/>
                    </a:lnTo>
                    <a:lnTo>
                      <a:pt x="41" y="397"/>
                    </a:lnTo>
                    <a:lnTo>
                      <a:pt x="41" y="395"/>
                    </a:lnTo>
                    <a:lnTo>
                      <a:pt x="42" y="395"/>
                    </a:lnTo>
                    <a:lnTo>
                      <a:pt x="41" y="391"/>
                    </a:lnTo>
                    <a:lnTo>
                      <a:pt x="42" y="391"/>
                    </a:lnTo>
                    <a:lnTo>
                      <a:pt x="41" y="389"/>
                    </a:lnTo>
                    <a:lnTo>
                      <a:pt x="41" y="387"/>
                    </a:lnTo>
                    <a:lnTo>
                      <a:pt x="39" y="385"/>
                    </a:lnTo>
                    <a:lnTo>
                      <a:pt x="37" y="383"/>
                    </a:lnTo>
                    <a:lnTo>
                      <a:pt x="35" y="383"/>
                    </a:lnTo>
                    <a:lnTo>
                      <a:pt x="33" y="383"/>
                    </a:lnTo>
                    <a:lnTo>
                      <a:pt x="33" y="382"/>
                    </a:lnTo>
                    <a:lnTo>
                      <a:pt x="31" y="382"/>
                    </a:lnTo>
                    <a:lnTo>
                      <a:pt x="31" y="380"/>
                    </a:lnTo>
                    <a:lnTo>
                      <a:pt x="29" y="380"/>
                    </a:lnTo>
                    <a:lnTo>
                      <a:pt x="27" y="380"/>
                    </a:lnTo>
                    <a:lnTo>
                      <a:pt x="27" y="378"/>
                    </a:lnTo>
                    <a:lnTo>
                      <a:pt x="27" y="380"/>
                    </a:lnTo>
                    <a:lnTo>
                      <a:pt x="25" y="378"/>
                    </a:lnTo>
                    <a:lnTo>
                      <a:pt x="25" y="380"/>
                    </a:lnTo>
                    <a:lnTo>
                      <a:pt x="23" y="380"/>
                    </a:lnTo>
                    <a:lnTo>
                      <a:pt x="23" y="378"/>
                    </a:lnTo>
                    <a:lnTo>
                      <a:pt x="21" y="378"/>
                    </a:lnTo>
                    <a:lnTo>
                      <a:pt x="20" y="378"/>
                    </a:lnTo>
                    <a:lnTo>
                      <a:pt x="18" y="378"/>
                    </a:lnTo>
                    <a:lnTo>
                      <a:pt x="18" y="376"/>
                    </a:lnTo>
                    <a:lnTo>
                      <a:pt x="16" y="376"/>
                    </a:lnTo>
                    <a:lnTo>
                      <a:pt x="18" y="376"/>
                    </a:lnTo>
                    <a:lnTo>
                      <a:pt x="18" y="374"/>
                    </a:lnTo>
                    <a:lnTo>
                      <a:pt x="20" y="374"/>
                    </a:lnTo>
                    <a:lnTo>
                      <a:pt x="21" y="374"/>
                    </a:lnTo>
                    <a:lnTo>
                      <a:pt x="23" y="374"/>
                    </a:lnTo>
                    <a:lnTo>
                      <a:pt x="27" y="372"/>
                    </a:lnTo>
                    <a:lnTo>
                      <a:pt x="27" y="370"/>
                    </a:lnTo>
                    <a:lnTo>
                      <a:pt x="27" y="368"/>
                    </a:lnTo>
                    <a:lnTo>
                      <a:pt x="25" y="368"/>
                    </a:lnTo>
                    <a:lnTo>
                      <a:pt x="23" y="368"/>
                    </a:lnTo>
                    <a:lnTo>
                      <a:pt x="23" y="366"/>
                    </a:lnTo>
                    <a:lnTo>
                      <a:pt x="23" y="364"/>
                    </a:lnTo>
                    <a:lnTo>
                      <a:pt x="25" y="362"/>
                    </a:lnTo>
                    <a:lnTo>
                      <a:pt x="23" y="362"/>
                    </a:lnTo>
                    <a:lnTo>
                      <a:pt x="23" y="361"/>
                    </a:lnTo>
                    <a:lnTo>
                      <a:pt x="23" y="359"/>
                    </a:lnTo>
                    <a:lnTo>
                      <a:pt x="23" y="357"/>
                    </a:lnTo>
                    <a:lnTo>
                      <a:pt x="21" y="357"/>
                    </a:lnTo>
                    <a:lnTo>
                      <a:pt x="21" y="355"/>
                    </a:lnTo>
                    <a:lnTo>
                      <a:pt x="21" y="353"/>
                    </a:lnTo>
                    <a:lnTo>
                      <a:pt x="21" y="351"/>
                    </a:lnTo>
                    <a:lnTo>
                      <a:pt x="23" y="351"/>
                    </a:lnTo>
                    <a:lnTo>
                      <a:pt x="23" y="349"/>
                    </a:lnTo>
                    <a:lnTo>
                      <a:pt x="21" y="349"/>
                    </a:lnTo>
                    <a:lnTo>
                      <a:pt x="21" y="347"/>
                    </a:lnTo>
                    <a:lnTo>
                      <a:pt x="20" y="347"/>
                    </a:lnTo>
                    <a:lnTo>
                      <a:pt x="18" y="347"/>
                    </a:lnTo>
                    <a:lnTo>
                      <a:pt x="18" y="345"/>
                    </a:lnTo>
                    <a:lnTo>
                      <a:pt x="16" y="345"/>
                    </a:lnTo>
                    <a:lnTo>
                      <a:pt x="14" y="345"/>
                    </a:lnTo>
                    <a:lnTo>
                      <a:pt x="12" y="345"/>
                    </a:lnTo>
                    <a:lnTo>
                      <a:pt x="12" y="347"/>
                    </a:lnTo>
                    <a:lnTo>
                      <a:pt x="10" y="347"/>
                    </a:lnTo>
                    <a:lnTo>
                      <a:pt x="10" y="349"/>
                    </a:lnTo>
                    <a:lnTo>
                      <a:pt x="8" y="347"/>
                    </a:lnTo>
                    <a:lnTo>
                      <a:pt x="6" y="347"/>
                    </a:lnTo>
                    <a:lnTo>
                      <a:pt x="6" y="345"/>
                    </a:lnTo>
                    <a:lnTo>
                      <a:pt x="6" y="343"/>
                    </a:lnTo>
                    <a:lnTo>
                      <a:pt x="4" y="341"/>
                    </a:lnTo>
                    <a:lnTo>
                      <a:pt x="6" y="340"/>
                    </a:lnTo>
                    <a:lnTo>
                      <a:pt x="6" y="338"/>
                    </a:lnTo>
                    <a:lnTo>
                      <a:pt x="4" y="338"/>
                    </a:lnTo>
                    <a:lnTo>
                      <a:pt x="4" y="336"/>
                    </a:lnTo>
                    <a:lnTo>
                      <a:pt x="4" y="334"/>
                    </a:lnTo>
                    <a:lnTo>
                      <a:pt x="2" y="334"/>
                    </a:lnTo>
                    <a:lnTo>
                      <a:pt x="2" y="332"/>
                    </a:lnTo>
                    <a:lnTo>
                      <a:pt x="0" y="330"/>
                    </a:lnTo>
                    <a:lnTo>
                      <a:pt x="2" y="330"/>
                    </a:lnTo>
                    <a:lnTo>
                      <a:pt x="4" y="328"/>
                    </a:lnTo>
                    <a:lnTo>
                      <a:pt x="6" y="328"/>
                    </a:lnTo>
                    <a:lnTo>
                      <a:pt x="8" y="328"/>
                    </a:lnTo>
                    <a:lnTo>
                      <a:pt x="8" y="326"/>
                    </a:lnTo>
                    <a:lnTo>
                      <a:pt x="8" y="324"/>
                    </a:lnTo>
                    <a:lnTo>
                      <a:pt x="8" y="322"/>
                    </a:lnTo>
                    <a:lnTo>
                      <a:pt x="6" y="322"/>
                    </a:lnTo>
                    <a:lnTo>
                      <a:pt x="6" y="320"/>
                    </a:lnTo>
                    <a:lnTo>
                      <a:pt x="8" y="320"/>
                    </a:lnTo>
                    <a:lnTo>
                      <a:pt x="8" y="319"/>
                    </a:lnTo>
                    <a:lnTo>
                      <a:pt x="10" y="319"/>
                    </a:lnTo>
                    <a:lnTo>
                      <a:pt x="8" y="317"/>
                    </a:lnTo>
                    <a:lnTo>
                      <a:pt x="10" y="317"/>
                    </a:lnTo>
                    <a:lnTo>
                      <a:pt x="12" y="315"/>
                    </a:lnTo>
                    <a:lnTo>
                      <a:pt x="12" y="317"/>
                    </a:lnTo>
                    <a:lnTo>
                      <a:pt x="12" y="315"/>
                    </a:lnTo>
                    <a:lnTo>
                      <a:pt x="14" y="315"/>
                    </a:lnTo>
                    <a:lnTo>
                      <a:pt x="16" y="317"/>
                    </a:lnTo>
                    <a:lnTo>
                      <a:pt x="16" y="315"/>
                    </a:lnTo>
                    <a:lnTo>
                      <a:pt x="18" y="313"/>
                    </a:lnTo>
                    <a:lnTo>
                      <a:pt x="20" y="313"/>
                    </a:lnTo>
                    <a:lnTo>
                      <a:pt x="20" y="311"/>
                    </a:lnTo>
                    <a:lnTo>
                      <a:pt x="21" y="311"/>
                    </a:lnTo>
                    <a:lnTo>
                      <a:pt x="23" y="311"/>
                    </a:lnTo>
                    <a:lnTo>
                      <a:pt x="21" y="309"/>
                    </a:lnTo>
                    <a:lnTo>
                      <a:pt x="21" y="307"/>
                    </a:lnTo>
                    <a:lnTo>
                      <a:pt x="23" y="307"/>
                    </a:lnTo>
                    <a:lnTo>
                      <a:pt x="25" y="309"/>
                    </a:lnTo>
                    <a:lnTo>
                      <a:pt x="27" y="309"/>
                    </a:lnTo>
                    <a:lnTo>
                      <a:pt x="29" y="309"/>
                    </a:lnTo>
                    <a:lnTo>
                      <a:pt x="29" y="307"/>
                    </a:lnTo>
                    <a:lnTo>
                      <a:pt x="31" y="307"/>
                    </a:lnTo>
                    <a:lnTo>
                      <a:pt x="33" y="305"/>
                    </a:lnTo>
                    <a:lnTo>
                      <a:pt x="35" y="303"/>
                    </a:lnTo>
                    <a:lnTo>
                      <a:pt x="35" y="305"/>
                    </a:lnTo>
                    <a:lnTo>
                      <a:pt x="35" y="307"/>
                    </a:lnTo>
                    <a:lnTo>
                      <a:pt x="37" y="307"/>
                    </a:lnTo>
                    <a:lnTo>
                      <a:pt x="37" y="309"/>
                    </a:lnTo>
                    <a:lnTo>
                      <a:pt x="37" y="311"/>
                    </a:lnTo>
                    <a:lnTo>
                      <a:pt x="37" y="313"/>
                    </a:lnTo>
                    <a:lnTo>
                      <a:pt x="37" y="311"/>
                    </a:lnTo>
                    <a:lnTo>
                      <a:pt x="39" y="311"/>
                    </a:lnTo>
                    <a:lnTo>
                      <a:pt x="41" y="311"/>
                    </a:lnTo>
                    <a:lnTo>
                      <a:pt x="41" y="309"/>
                    </a:lnTo>
                    <a:lnTo>
                      <a:pt x="42" y="311"/>
                    </a:lnTo>
                    <a:lnTo>
                      <a:pt x="42" y="309"/>
                    </a:lnTo>
                    <a:lnTo>
                      <a:pt x="44" y="309"/>
                    </a:lnTo>
                    <a:lnTo>
                      <a:pt x="46" y="309"/>
                    </a:lnTo>
                    <a:lnTo>
                      <a:pt x="46" y="311"/>
                    </a:lnTo>
                    <a:lnTo>
                      <a:pt x="46" y="309"/>
                    </a:lnTo>
                    <a:lnTo>
                      <a:pt x="48" y="309"/>
                    </a:lnTo>
                    <a:lnTo>
                      <a:pt x="50" y="309"/>
                    </a:lnTo>
                    <a:lnTo>
                      <a:pt x="50" y="307"/>
                    </a:lnTo>
                    <a:lnTo>
                      <a:pt x="50" y="305"/>
                    </a:lnTo>
                    <a:lnTo>
                      <a:pt x="52" y="305"/>
                    </a:lnTo>
                    <a:lnTo>
                      <a:pt x="52" y="303"/>
                    </a:lnTo>
                    <a:lnTo>
                      <a:pt x="52" y="301"/>
                    </a:lnTo>
                    <a:lnTo>
                      <a:pt x="52" y="299"/>
                    </a:lnTo>
                    <a:lnTo>
                      <a:pt x="54" y="298"/>
                    </a:lnTo>
                    <a:lnTo>
                      <a:pt x="56" y="296"/>
                    </a:lnTo>
                    <a:lnTo>
                      <a:pt x="58" y="296"/>
                    </a:lnTo>
                    <a:lnTo>
                      <a:pt x="60" y="296"/>
                    </a:lnTo>
                    <a:lnTo>
                      <a:pt x="60" y="298"/>
                    </a:lnTo>
                    <a:lnTo>
                      <a:pt x="61" y="296"/>
                    </a:lnTo>
                    <a:lnTo>
                      <a:pt x="61" y="298"/>
                    </a:lnTo>
                    <a:lnTo>
                      <a:pt x="63" y="296"/>
                    </a:lnTo>
                    <a:lnTo>
                      <a:pt x="65" y="296"/>
                    </a:lnTo>
                    <a:lnTo>
                      <a:pt x="65" y="298"/>
                    </a:lnTo>
                    <a:lnTo>
                      <a:pt x="67" y="298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69" y="294"/>
                    </a:lnTo>
                    <a:lnTo>
                      <a:pt x="71" y="294"/>
                    </a:lnTo>
                    <a:lnTo>
                      <a:pt x="73" y="294"/>
                    </a:lnTo>
                    <a:lnTo>
                      <a:pt x="75" y="292"/>
                    </a:lnTo>
                    <a:lnTo>
                      <a:pt x="75" y="288"/>
                    </a:lnTo>
                    <a:lnTo>
                      <a:pt x="77" y="288"/>
                    </a:lnTo>
                    <a:lnTo>
                      <a:pt x="79" y="288"/>
                    </a:lnTo>
                    <a:lnTo>
                      <a:pt x="81" y="288"/>
                    </a:lnTo>
                    <a:lnTo>
                      <a:pt x="82" y="286"/>
                    </a:lnTo>
                    <a:lnTo>
                      <a:pt x="84" y="286"/>
                    </a:lnTo>
                    <a:lnTo>
                      <a:pt x="86" y="284"/>
                    </a:lnTo>
                    <a:lnTo>
                      <a:pt x="88" y="284"/>
                    </a:lnTo>
                    <a:lnTo>
                      <a:pt x="88" y="282"/>
                    </a:lnTo>
                    <a:lnTo>
                      <a:pt x="90" y="282"/>
                    </a:lnTo>
                    <a:lnTo>
                      <a:pt x="92" y="282"/>
                    </a:lnTo>
                    <a:lnTo>
                      <a:pt x="94" y="280"/>
                    </a:lnTo>
                    <a:lnTo>
                      <a:pt x="96" y="278"/>
                    </a:lnTo>
                    <a:lnTo>
                      <a:pt x="98" y="278"/>
                    </a:lnTo>
                    <a:lnTo>
                      <a:pt x="100" y="278"/>
                    </a:lnTo>
                    <a:lnTo>
                      <a:pt x="102" y="278"/>
                    </a:lnTo>
                    <a:lnTo>
                      <a:pt x="102" y="277"/>
                    </a:lnTo>
                    <a:lnTo>
                      <a:pt x="102" y="275"/>
                    </a:lnTo>
                    <a:lnTo>
                      <a:pt x="103" y="275"/>
                    </a:lnTo>
                    <a:lnTo>
                      <a:pt x="105" y="275"/>
                    </a:lnTo>
                    <a:lnTo>
                      <a:pt x="107" y="275"/>
                    </a:lnTo>
                    <a:lnTo>
                      <a:pt x="107" y="273"/>
                    </a:lnTo>
                    <a:lnTo>
                      <a:pt x="107" y="271"/>
                    </a:lnTo>
                    <a:lnTo>
                      <a:pt x="109" y="271"/>
                    </a:lnTo>
                    <a:lnTo>
                      <a:pt x="109" y="269"/>
                    </a:lnTo>
                    <a:lnTo>
                      <a:pt x="109" y="267"/>
                    </a:lnTo>
                    <a:lnTo>
                      <a:pt x="107" y="267"/>
                    </a:lnTo>
                    <a:lnTo>
                      <a:pt x="107" y="265"/>
                    </a:lnTo>
                    <a:lnTo>
                      <a:pt x="109" y="265"/>
                    </a:lnTo>
                    <a:lnTo>
                      <a:pt x="107" y="261"/>
                    </a:lnTo>
                    <a:lnTo>
                      <a:pt x="109" y="261"/>
                    </a:lnTo>
                    <a:lnTo>
                      <a:pt x="109" y="258"/>
                    </a:lnTo>
                    <a:lnTo>
                      <a:pt x="111" y="258"/>
                    </a:lnTo>
                    <a:lnTo>
                      <a:pt x="113" y="258"/>
                    </a:lnTo>
                    <a:lnTo>
                      <a:pt x="115" y="256"/>
                    </a:lnTo>
                    <a:lnTo>
                      <a:pt x="111" y="256"/>
                    </a:lnTo>
                    <a:lnTo>
                      <a:pt x="111" y="254"/>
                    </a:lnTo>
                    <a:lnTo>
                      <a:pt x="113" y="252"/>
                    </a:lnTo>
                    <a:lnTo>
                      <a:pt x="115" y="252"/>
                    </a:lnTo>
                    <a:lnTo>
                      <a:pt x="117" y="252"/>
                    </a:lnTo>
                    <a:lnTo>
                      <a:pt x="117" y="250"/>
                    </a:lnTo>
                    <a:lnTo>
                      <a:pt x="117" y="248"/>
                    </a:lnTo>
                    <a:lnTo>
                      <a:pt x="115" y="246"/>
                    </a:lnTo>
                    <a:lnTo>
                      <a:pt x="117" y="246"/>
                    </a:lnTo>
                    <a:lnTo>
                      <a:pt x="117" y="244"/>
                    </a:lnTo>
                    <a:lnTo>
                      <a:pt x="113" y="237"/>
                    </a:lnTo>
                    <a:lnTo>
                      <a:pt x="113" y="235"/>
                    </a:lnTo>
                    <a:lnTo>
                      <a:pt x="113" y="233"/>
                    </a:lnTo>
                    <a:lnTo>
                      <a:pt x="111" y="233"/>
                    </a:lnTo>
                    <a:lnTo>
                      <a:pt x="111" y="231"/>
                    </a:lnTo>
                    <a:lnTo>
                      <a:pt x="111" y="229"/>
                    </a:lnTo>
                    <a:lnTo>
                      <a:pt x="111" y="225"/>
                    </a:lnTo>
                    <a:lnTo>
                      <a:pt x="111" y="221"/>
                    </a:lnTo>
                    <a:lnTo>
                      <a:pt x="111" y="219"/>
                    </a:lnTo>
                    <a:lnTo>
                      <a:pt x="109" y="217"/>
                    </a:lnTo>
                    <a:lnTo>
                      <a:pt x="109" y="216"/>
                    </a:lnTo>
                    <a:lnTo>
                      <a:pt x="107" y="216"/>
                    </a:lnTo>
                    <a:lnTo>
                      <a:pt x="107" y="214"/>
                    </a:lnTo>
                    <a:lnTo>
                      <a:pt x="105" y="216"/>
                    </a:lnTo>
                    <a:lnTo>
                      <a:pt x="105" y="214"/>
                    </a:lnTo>
                    <a:lnTo>
                      <a:pt x="103" y="214"/>
                    </a:lnTo>
                    <a:lnTo>
                      <a:pt x="103" y="212"/>
                    </a:lnTo>
                    <a:lnTo>
                      <a:pt x="105" y="210"/>
                    </a:lnTo>
                    <a:lnTo>
                      <a:pt x="105" y="208"/>
                    </a:lnTo>
                    <a:lnTo>
                      <a:pt x="107" y="210"/>
                    </a:lnTo>
                    <a:lnTo>
                      <a:pt x="107" y="208"/>
                    </a:lnTo>
                    <a:lnTo>
                      <a:pt x="109" y="210"/>
                    </a:lnTo>
                    <a:lnTo>
                      <a:pt x="109" y="208"/>
                    </a:lnTo>
                    <a:lnTo>
                      <a:pt x="111" y="210"/>
                    </a:lnTo>
                    <a:lnTo>
                      <a:pt x="113" y="208"/>
                    </a:lnTo>
                    <a:lnTo>
                      <a:pt x="115" y="208"/>
                    </a:lnTo>
                    <a:lnTo>
                      <a:pt x="117" y="206"/>
                    </a:lnTo>
                    <a:lnTo>
                      <a:pt x="119" y="208"/>
                    </a:lnTo>
                    <a:lnTo>
                      <a:pt x="121" y="206"/>
                    </a:lnTo>
                    <a:lnTo>
                      <a:pt x="123" y="206"/>
                    </a:lnTo>
                    <a:lnTo>
                      <a:pt x="123" y="204"/>
                    </a:lnTo>
                    <a:lnTo>
                      <a:pt x="123" y="206"/>
                    </a:lnTo>
                    <a:lnTo>
                      <a:pt x="123" y="204"/>
                    </a:lnTo>
                    <a:lnTo>
                      <a:pt x="124" y="204"/>
                    </a:lnTo>
                    <a:lnTo>
                      <a:pt x="126" y="204"/>
                    </a:lnTo>
                    <a:lnTo>
                      <a:pt x="128" y="204"/>
                    </a:lnTo>
                    <a:lnTo>
                      <a:pt x="128" y="202"/>
                    </a:lnTo>
                    <a:lnTo>
                      <a:pt x="130" y="202"/>
                    </a:lnTo>
                    <a:lnTo>
                      <a:pt x="132" y="202"/>
                    </a:lnTo>
                    <a:lnTo>
                      <a:pt x="132" y="200"/>
                    </a:lnTo>
                    <a:lnTo>
                      <a:pt x="136" y="204"/>
                    </a:lnTo>
                    <a:lnTo>
                      <a:pt x="138" y="204"/>
                    </a:lnTo>
                    <a:lnTo>
                      <a:pt x="138" y="206"/>
                    </a:lnTo>
                    <a:lnTo>
                      <a:pt x="142" y="204"/>
                    </a:lnTo>
                    <a:lnTo>
                      <a:pt x="142" y="206"/>
                    </a:lnTo>
                    <a:lnTo>
                      <a:pt x="143" y="206"/>
                    </a:lnTo>
                    <a:lnTo>
                      <a:pt x="145" y="206"/>
                    </a:lnTo>
                    <a:lnTo>
                      <a:pt x="145" y="204"/>
                    </a:lnTo>
                    <a:lnTo>
                      <a:pt x="145" y="202"/>
                    </a:lnTo>
                    <a:lnTo>
                      <a:pt x="145" y="200"/>
                    </a:lnTo>
                    <a:lnTo>
                      <a:pt x="142" y="198"/>
                    </a:lnTo>
                    <a:lnTo>
                      <a:pt x="140" y="195"/>
                    </a:lnTo>
                    <a:lnTo>
                      <a:pt x="142" y="193"/>
                    </a:lnTo>
                    <a:lnTo>
                      <a:pt x="142" y="191"/>
                    </a:lnTo>
                    <a:lnTo>
                      <a:pt x="142" y="189"/>
                    </a:lnTo>
                    <a:lnTo>
                      <a:pt x="143" y="187"/>
                    </a:lnTo>
                    <a:lnTo>
                      <a:pt x="143" y="185"/>
                    </a:lnTo>
                    <a:lnTo>
                      <a:pt x="143" y="183"/>
                    </a:lnTo>
                    <a:lnTo>
                      <a:pt x="145" y="183"/>
                    </a:lnTo>
                    <a:lnTo>
                      <a:pt x="143" y="183"/>
                    </a:lnTo>
                    <a:lnTo>
                      <a:pt x="145" y="181"/>
                    </a:lnTo>
                    <a:lnTo>
                      <a:pt x="145" y="179"/>
                    </a:lnTo>
                    <a:lnTo>
                      <a:pt x="147" y="175"/>
                    </a:lnTo>
                    <a:lnTo>
                      <a:pt x="149" y="170"/>
                    </a:lnTo>
                    <a:lnTo>
                      <a:pt x="149" y="168"/>
                    </a:lnTo>
                    <a:lnTo>
                      <a:pt x="151" y="166"/>
                    </a:lnTo>
                    <a:lnTo>
                      <a:pt x="151" y="164"/>
                    </a:lnTo>
                    <a:lnTo>
                      <a:pt x="153" y="162"/>
                    </a:lnTo>
                    <a:lnTo>
                      <a:pt x="153" y="160"/>
                    </a:lnTo>
                    <a:lnTo>
                      <a:pt x="153" y="158"/>
                    </a:lnTo>
                    <a:lnTo>
                      <a:pt x="155" y="158"/>
                    </a:lnTo>
                    <a:lnTo>
                      <a:pt x="157" y="160"/>
                    </a:lnTo>
                    <a:lnTo>
                      <a:pt x="159" y="160"/>
                    </a:lnTo>
                    <a:lnTo>
                      <a:pt x="159" y="162"/>
                    </a:lnTo>
                    <a:lnTo>
                      <a:pt x="161" y="160"/>
                    </a:lnTo>
                    <a:lnTo>
                      <a:pt x="161" y="162"/>
                    </a:lnTo>
                    <a:lnTo>
                      <a:pt x="164" y="164"/>
                    </a:lnTo>
                    <a:lnTo>
                      <a:pt x="166" y="164"/>
                    </a:lnTo>
                    <a:lnTo>
                      <a:pt x="168" y="164"/>
                    </a:lnTo>
                    <a:lnTo>
                      <a:pt x="170" y="164"/>
                    </a:lnTo>
                    <a:lnTo>
                      <a:pt x="172" y="164"/>
                    </a:lnTo>
                    <a:lnTo>
                      <a:pt x="176" y="164"/>
                    </a:lnTo>
                    <a:lnTo>
                      <a:pt x="178" y="164"/>
                    </a:lnTo>
                    <a:lnTo>
                      <a:pt x="180" y="164"/>
                    </a:lnTo>
                    <a:lnTo>
                      <a:pt x="182" y="164"/>
                    </a:lnTo>
                    <a:lnTo>
                      <a:pt x="182" y="166"/>
                    </a:lnTo>
                    <a:lnTo>
                      <a:pt x="184" y="168"/>
                    </a:lnTo>
                    <a:lnTo>
                      <a:pt x="184" y="166"/>
                    </a:lnTo>
                    <a:lnTo>
                      <a:pt x="185" y="166"/>
                    </a:lnTo>
                    <a:lnTo>
                      <a:pt x="187" y="164"/>
                    </a:lnTo>
                    <a:lnTo>
                      <a:pt x="187" y="162"/>
                    </a:lnTo>
                    <a:lnTo>
                      <a:pt x="189" y="162"/>
                    </a:lnTo>
                    <a:lnTo>
                      <a:pt x="191" y="162"/>
                    </a:lnTo>
                    <a:lnTo>
                      <a:pt x="193" y="162"/>
                    </a:lnTo>
                    <a:lnTo>
                      <a:pt x="195" y="158"/>
                    </a:lnTo>
                    <a:lnTo>
                      <a:pt x="195" y="156"/>
                    </a:lnTo>
                    <a:lnTo>
                      <a:pt x="195" y="154"/>
                    </a:lnTo>
                    <a:lnTo>
                      <a:pt x="193" y="153"/>
                    </a:lnTo>
                    <a:lnTo>
                      <a:pt x="193" y="139"/>
                    </a:lnTo>
                    <a:lnTo>
                      <a:pt x="193" y="137"/>
                    </a:lnTo>
                    <a:lnTo>
                      <a:pt x="195" y="133"/>
                    </a:lnTo>
                    <a:lnTo>
                      <a:pt x="195" y="132"/>
                    </a:lnTo>
                    <a:lnTo>
                      <a:pt x="197" y="130"/>
                    </a:lnTo>
                    <a:lnTo>
                      <a:pt x="199" y="130"/>
                    </a:lnTo>
                    <a:lnTo>
                      <a:pt x="205" y="130"/>
                    </a:lnTo>
                    <a:lnTo>
                      <a:pt x="206" y="128"/>
                    </a:lnTo>
                    <a:lnTo>
                      <a:pt x="206" y="130"/>
                    </a:lnTo>
                    <a:lnTo>
                      <a:pt x="210" y="128"/>
                    </a:lnTo>
                    <a:lnTo>
                      <a:pt x="210" y="126"/>
                    </a:lnTo>
                    <a:lnTo>
                      <a:pt x="212" y="124"/>
                    </a:lnTo>
                    <a:lnTo>
                      <a:pt x="212" y="122"/>
                    </a:lnTo>
                    <a:lnTo>
                      <a:pt x="214" y="120"/>
                    </a:lnTo>
                    <a:lnTo>
                      <a:pt x="212" y="118"/>
                    </a:lnTo>
                    <a:lnTo>
                      <a:pt x="212" y="116"/>
                    </a:lnTo>
                    <a:lnTo>
                      <a:pt x="214" y="114"/>
                    </a:lnTo>
                    <a:lnTo>
                      <a:pt x="214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20" y="112"/>
                    </a:lnTo>
                    <a:lnTo>
                      <a:pt x="220" y="114"/>
                    </a:lnTo>
                    <a:lnTo>
                      <a:pt x="224" y="114"/>
                    </a:lnTo>
                    <a:lnTo>
                      <a:pt x="224" y="112"/>
                    </a:lnTo>
                    <a:lnTo>
                      <a:pt x="227" y="112"/>
                    </a:lnTo>
                    <a:lnTo>
                      <a:pt x="229" y="112"/>
                    </a:lnTo>
                    <a:lnTo>
                      <a:pt x="229" y="114"/>
                    </a:lnTo>
                    <a:lnTo>
                      <a:pt x="229" y="116"/>
                    </a:lnTo>
                    <a:lnTo>
                      <a:pt x="231" y="116"/>
                    </a:lnTo>
                    <a:lnTo>
                      <a:pt x="229" y="118"/>
                    </a:lnTo>
                    <a:lnTo>
                      <a:pt x="227" y="118"/>
                    </a:lnTo>
                    <a:lnTo>
                      <a:pt x="227" y="120"/>
                    </a:lnTo>
                    <a:lnTo>
                      <a:pt x="229" y="120"/>
                    </a:lnTo>
                    <a:lnTo>
                      <a:pt x="229" y="122"/>
                    </a:lnTo>
                    <a:lnTo>
                      <a:pt x="231" y="122"/>
                    </a:lnTo>
                    <a:lnTo>
                      <a:pt x="233" y="122"/>
                    </a:lnTo>
                    <a:lnTo>
                      <a:pt x="233" y="124"/>
                    </a:lnTo>
                    <a:lnTo>
                      <a:pt x="231" y="126"/>
                    </a:lnTo>
                    <a:lnTo>
                      <a:pt x="233" y="126"/>
                    </a:lnTo>
                    <a:lnTo>
                      <a:pt x="231" y="126"/>
                    </a:lnTo>
                    <a:lnTo>
                      <a:pt x="233" y="128"/>
                    </a:lnTo>
                    <a:lnTo>
                      <a:pt x="235" y="128"/>
                    </a:lnTo>
                    <a:lnTo>
                      <a:pt x="237" y="130"/>
                    </a:lnTo>
                    <a:lnTo>
                      <a:pt x="239" y="132"/>
                    </a:lnTo>
                    <a:lnTo>
                      <a:pt x="241" y="132"/>
                    </a:lnTo>
                    <a:lnTo>
                      <a:pt x="241" y="133"/>
                    </a:lnTo>
                    <a:lnTo>
                      <a:pt x="241" y="135"/>
                    </a:lnTo>
                    <a:lnTo>
                      <a:pt x="243" y="135"/>
                    </a:lnTo>
                    <a:lnTo>
                      <a:pt x="243" y="137"/>
                    </a:lnTo>
                    <a:lnTo>
                      <a:pt x="245" y="137"/>
                    </a:lnTo>
                    <a:lnTo>
                      <a:pt x="246" y="137"/>
                    </a:lnTo>
                    <a:lnTo>
                      <a:pt x="248" y="141"/>
                    </a:lnTo>
                    <a:lnTo>
                      <a:pt x="250" y="141"/>
                    </a:lnTo>
                    <a:lnTo>
                      <a:pt x="252" y="141"/>
                    </a:lnTo>
                    <a:lnTo>
                      <a:pt x="252" y="139"/>
                    </a:lnTo>
                    <a:lnTo>
                      <a:pt x="254" y="139"/>
                    </a:lnTo>
                    <a:lnTo>
                      <a:pt x="256" y="139"/>
                    </a:lnTo>
                    <a:lnTo>
                      <a:pt x="258" y="139"/>
                    </a:lnTo>
                    <a:lnTo>
                      <a:pt x="258" y="141"/>
                    </a:lnTo>
                    <a:lnTo>
                      <a:pt x="258" y="143"/>
                    </a:lnTo>
                    <a:lnTo>
                      <a:pt x="260" y="143"/>
                    </a:lnTo>
                    <a:lnTo>
                      <a:pt x="260" y="145"/>
                    </a:lnTo>
                    <a:lnTo>
                      <a:pt x="264" y="145"/>
                    </a:lnTo>
                    <a:lnTo>
                      <a:pt x="264" y="143"/>
                    </a:lnTo>
                    <a:lnTo>
                      <a:pt x="266" y="143"/>
                    </a:lnTo>
                    <a:lnTo>
                      <a:pt x="266" y="145"/>
                    </a:lnTo>
                    <a:lnTo>
                      <a:pt x="266" y="147"/>
                    </a:lnTo>
                    <a:lnTo>
                      <a:pt x="267" y="147"/>
                    </a:lnTo>
                    <a:lnTo>
                      <a:pt x="269" y="149"/>
                    </a:lnTo>
                    <a:lnTo>
                      <a:pt x="269" y="151"/>
                    </a:lnTo>
                    <a:lnTo>
                      <a:pt x="271" y="153"/>
                    </a:lnTo>
                    <a:lnTo>
                      <a:pt x="271" y="154"/>
                    </a:lnTo>
                    <a:lnTo>
                      <a:pt x="271" y="156"/>
                    </a:lnTo>
                    <a:lnTo>
                      <a:pt x="273" y="158"/>
                    </a:lnTo>
                    <a:lnTo>
                      <a:pt x="275" y="160"/>
                    </a:lnTo>
                    <a:lnTo>
                      <a:pt x="275" y="162"/>
                    </a:lnTo>
                    <a:lnTo>
                      <a:pt x="275" y="164"/>
                    </a:lnTo>
                    <a:lnTo>
                      <a:pt x="277" y="164"/>
                    </a:lnTo>
                    <a:lnTo>
                      <a:pt x="279" y="166"/>
                    </a:lnTo>
                    <a:lnTo>
                      <a:pt x="279" y="168"/>
                    </a:lnTo>
                    <a:lnTo>
                      <a:pt x="281" y="170"/>
                    </a:lnTo>
                    <a:lnTo>
                      <a:pt x="281" y="174"/>
                    </a:lnTo>
                    <a:lnTo>
                      <a:pt x="279" y="179"/>
                    </a:lnTo>
                    <a:lnTo>
                      <a:pt x="281" y="185"/>
                    </a:lnTo>
                    <a:lnTo>
                      <a:pt x="281" y="187"/>
                    </a:lnTo>
                    <a:lnTo>
                      <a:pt x="277" y="191"/>
                    </a:lnTo>
                    <a:lnTo>
                      <a:pt x="275" y="193"/>
                    </a:lnTo>
                    <a:lnTo>
                      <a:pt x="275" y="198"/>
                    </a:lnTo>
                    <a:lnTo>
                      <a:pt x="277" y="200"/>
                    </a:lnTo>
                    <a:lnTo>
                      <a:pt x="277" y="202"/>
                    </a:lnTo>
                    <a:lnTo>
                      <a:pt x="277" y="204"/>
                    </a:lnTo>
                    <a:lnTo>
                      <a:pt x="279" y="204"/>
                    </a:lnTo>
                    <a:lnTo>
                      <a:pt x="277" y="206"/>
                    </a:lnTo>
                    <a:lnTo>
                      <a:pt x="279" y="204"/>
                    </a:lnTo>
                    <a:lnTo>
                      <a:pt x="281" y="206"/>
                    </a:lnTo>
                    <a:lnTo>
                      <a:pt x="283" y="206"/>
                    </a:lnTo>
                    <a:lnTo>
                      <a:pt x="285" y="208"/>
                    </a:lnTo>
                    <a:lnTo>
                      <a:pt x="287" y="208"/>
                    </a:lnTo>
                    <a:lnTo>
                      <a:pt x="287" y="206"/>
                    </a:lnTo>
                    <a:lnTo>
                      <a:pt x="288" y="208"/>
                    </a:lnTo>
                    <a:lnTo>
                      <a:pt x="290" y="208"/>
                    </a:lnTo>
                    <a:lnTo>
                      <a:pt x="292" y="208"/>
                    </a:lnTo>
                    <a:lnTo>
                      <a:pt x="296" y="208"/>
                    </a:lnTo>
                    <a:lnTo>
                      <a:pt x="300" y="210"/>
                    </a:lnTo>
                    <a:lnTo>
                      <a:pt x="304" y="210"/>
                    </a:lnTo>
                    <a:lnTo>
                      <a:pt x="306" y="210"/>
                    </a:lnTo>
                    <a:lnTo>
                      <a:pt x="307" y="208"/>
                    </a:lnTo>
                    <a:lnTo>
                      <a:pt x="309" y="210"/>
                    </a:lnTo>
                    <a:lnTo>
                      <a:pt x="311" y="210"/>
                    </a:lnTo>
                    <a:lnTo>
                      <a:pt x="315" y="210"/>
                    </a:lnTo>
                    <a:lnTo>
                      <a:pt x="317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23" y="212"/>
                    </a:lnTo>
                    <a:lnTo>
                      <a:pt x="323" y="214"/>
                    </a:lnTo>
                    <a:lnTo>
                      <a:pt x="330" y="217"/>
                    </a:lnTo>
                    <a:lnTo>
                      <a:pt x="332" y="219"/>
                    </a:lnTo>
                    <a:lnTo>
                      <a:pt x="332" y="221"/>
                    </a:lnTo>
                    <a:lnTo>
                      <a:pt x="334" y="221"/>
                    </a:lnTo>
                    <a:lnTo>
                      <a:pt x="336" y="223"/>
                    </a:lnTo>
                    <a:lnTo>
                      <a:pt x="338" y="225"/>
                    </a:lnTo>
                    <a:lnTo>
                      <a:pt x="340" y="225"/>
                    </a:lnTo>
                    <a:lnTo>
                      <a:pt x="342" y="225"/>
                    </a:lnTo>
                    <a:lnTo>
                      <a:pt x="344" y="227"/>
                    </a:lnTo>
                    <a:lnTo>
                      <a:pt x="349" y="225"/>
                    </a:lnTo>
                    <a:lnTo>
                      <a:pt x="349" y="227"/>
                    </a:lnTo>
                    <a:lnTo>
                      <a:pt x="348" y="231"/>
                    </a:lnTo>
                    <a:lnTo>
                      <a:pt x="351" y="233"/>
                    </a:lnTo>
                    <a:lnTo>
                      <a:pt x="353" y="235"/>
                    </a:lnTo>
                    <a:lnTo>
                      <a:pt x="355" y="240"/>
                    </a:lnTo>
                    <a:lnTo>
                      <a:pt x="357" y="244"/>
                    </a:lnTo>
                    <a:lnTo>
                      <a:pt x="357" y="248"/>
                    </a:lnTo>
                    <a:lnTo>
                      <a:pt x="357" y="250"/>
                    </a:lnTo>
                    <a:lnTo>
                      <a:pt x="365" y="256"/>
                    </a:lnTo>
                    <a:lnTo>
                      <a:pt x="365" y="259"/>
                    </a:lnTo>
                    <a:lnTo>
                      <a:pt x="370" y="259"/>
                    </a:lnTo>
                    <a:lnTo>
                      <a:pt x="374" y="259"/>
                    </a:lnTo>
                    <a:lnTo>
                      <a:pt x="378" y="259"/>
                    </a:lnTo>
                    <a:lnTo>
                      <a:pt x="393" y="261"/>
                    </a:lnTo>
                    <a:lnTo>
                      <a:pt x="414" y="263"/>
                    </a:lnTo>
                    <a:lnTo>
                      <a:pt x="422" y="261"/>
                    </a:lnTo>
                    <a:lnTo>
                      <a:pt x="428" y="261"/>
                    </a:lnTo>
                    <a:lnTo>
                      <a:pt x="437" y="261"/>
                    </a:lnTo>
                    <a:lnTo>
                      <a:pt x="449" y="265"/>
                    </a:lnTo>
                    <a:lnTo>
                      <a:pt x="451" y="265"/>
                    </a:lnTo>
                    <a:lnTo>
                      <a:pt x="456" y="271"/>
                    </a:lnTo>
                    <a:lnTo>
                      <a:pt x="462" y="273"/>
                    </a:lnTo>
                    <a:lnTo>
                      <a:pt x="464" y="273"/>
                    </a:lnTo>
                    <a:lnTo>
                      <a:pt x="466" y="273"/>
                    </a:lnTo>
                    <a:lnTo>
                      <a:pt x="477" y="278"/>
                    </a:lnTo>
                    <a:lnTo>
                      <a:pt x="485" y="280"/>
                    </a:lnTo>
                    <a:lnTo>
                      <a:pt x="487" y="280"/>
                    </a:lnTo>
                    <a:lnTo>
                      <a:pt x="494" y="278"/>
                    </a:lnTo>
                    <a:lnTo>
                      <a:pt x="494" y="282"/>
                    </a:lnTo>
                    <a:lnTo>
                      <a:pt x="498" y="282"/>
                    </a:lnTo>
                    <a:lnTo>
                      <a:pt x="500" y="282"/>
                    </a:lnTo>
                    <a:lnTo>
                      <a:pt x="502" y="284"/>
                    </a:lnTo>
                    <a:lnTo>
                      <a:pt x="506" y="280"/>
                    </a:lnTo>
                    <a:lnTo>
                      <a:pt x="508" y="280"/>
                    </a:lnTo>
                    <a:lnTo>
                      <a:pt x="513" y="277"/>
                    </a:lnTo>
                    <a:lnTo>
                      <a:pt x="531" y="269"/>
                    </a:lnTo>
                    <a:lnTo>
                      <a:pt x="534" y="269"/>
                    </a:lnTo>
                    <a:lnTo>
                      <a:pt x="538" y="267"/>
                    </a:lnTo>
                    <a:lnTo>
                      <a:pt x="542" y="265"/>
                    </a:lnTo>
                    <a:lnTo>
                      <a:pt x="544" y="267"/>
                    </a:lnTo>
                    <a:lnTo>
                      <a:pt x="550" y="267"/>
                    </a:lnTo>
                    <a:lnTo>
                      <a:pt x="553" y="265"/>
                    </a:lnTo>
                    <a:lnTo>
                      <a:pt x="555" y="267"/>
                    </a:lnTo>
                    <a:lnTo>
                      <a:pt x="559" y="267"/>
                    </a:lnTo>
                    <a:lnTo>
                      <a:pt x="561" y="267"/>
                    </a:lnTo>
                    <a:lnTo>
                      <a:pt x="563" y="267"/>
                    </a:lnTo>
                    <a:lnTo>
                      <a:pt x="567" y="265"/>
                    </a:lnTo>
                    <a:lnTo>
                      <a:pt x="571" y="267"/>
                    </a:lnTo>
                    <a:lnTo>
                      <a:pt x="574" y="265"/>
                    </a:lnTo>
                    <a:lnTo>
                      <a:pt x="576" y="263"/>
                    </a:lnTo>
                    <a:lnTo>
                      <a:pt x="580" y="261"/>
                    </a:lnTo>
                    <a:lnTo>
                      <a:pt x="584" y="261"/>
                    </a:lnTo>
                    <a:lnTo>
                      <a:pt x="588" y="259"/>
                    </a:lnTo>
                    <a:lnTo>
                      <a:pt x="590" y="258"/>
                    </a:lnTo>
                    <a:lnTo>
                      <a:pt x="592" y="256"/>
                    </a:lnTo>
                    <a:lnTo>
                      <a:pt x="594" y="254"/>
                    </a:lnTo>
                    <a:lnTo>
                      <a:pt x="594" y="252"/>
                    </a:lnTo>
                    <a:lnTo>
                      <a:pt x="597" y="248"/>
                    </a:lnTo>
                    <a:lnTo>
                      <a:pt x="599" y="246"/>
                    </a:lnTo>
                    <a:lnTo>
                      <a:pt x="603" y="244"/>
                    </a:lnTo>
                    <a:lnTo>
                      <a:pt x="605" y="244"/>
                    </a:lnTo>
                    <a:lnTo>
                      <a:pt x="607" y="244"/>
                    </a:lnTo>
                    <a:lnTo>
                      <a:pt x="611" y="240"/>
                    </a:lnTo>
                    <a:lnTo>
                      <a:pt x="613" y="238"/>
                    </a:lnTo>
                    <a:lnTo>
                      <a:pt x="613" y="237"/>
                    </a:lnTo>
                    <a:lnTo>
                      <a:pt x="611" y="233"/>
                    </a:lnTo>
                    <a:lnTo>
                      <a:pt x="609" y="231"/>
                    </a:lnTo>
                    <a:lnTo>
                      <a:pt x="607" y="229"/>
                    </a:lnTo>
                    <a:lnTo>
                      <a:pt x="607" y="227"/>
                    </a:lnTo>
                    <a:lnTo>
                      <a:pt x="605" y="225"/>
                    </a:lnTo>
                    <a:lnTo>
                      <a:pt x="605" y="221"/>
                    </a:lnTo>
                    <a:lnTo>
                      <a:pt x="607" y="219"/>
                    </a:lnTo>
                    <a:lnTo>
                      <a:pt x="607" y="217"/>
                    </a:lnTo>
                    <a:lnTo>
                      <a:pt x="609" y="212"/>
                    </a:lnTo>
                    <a:lnTo>
                      <a:pt x="611" y="210"/>
                    </a:lnTo>
                    <a:lnTo>
                      <a:pt x="613" y="208"/>
                    </a:lnTo>
                    <a:lnTo>
                      <a:pt x="614" y="208"/>
                    </a:lnTo>
                    <a:lnTo>
                      <a:pt x="620" y="208"/>
                    </a:lnTo>
                    <a:lnTo>
                      <a:pt x="622" y="210"/>
                    </a:lnTo>
                    <a:lnTo>
                      <a:pt x="624" y="212"/>
                    </a:lnTo>
                    <a:lnTo>
                      <a:pt x="626" y="214"/>
                    </a:lnTo>
                    <a:lnTo>
                      <a:pt x="630" y="214"/>
                    </a:lnTo>
                    <a:lnTo>
                      <a:pt x="632" y="214"/>
                    </a:lnTo>
                    <a:lnTo>
                      <a:pt x="637" y="216"/>
                    </a:lnTo>
                    <a:lnTo>
                      <a:pt x="639" y="216"/>
                    </a:lnTo>
                    <a:lnTo>
                      <a:pt x="643" y="214"/>
                    </a:lnTo>
                    <a:lnTo>
                      <a:pt x="643" y="212"/>
                    </a:lnTo>
                    <a:lnTo>
                      <a:pt x="647" y="212"/>
                    </a:lnTo>
                    <a:lnTo>
                      <a:pt x="649" y="210"/>
                    </a:lnTo>
                    <a:lnTo>
                      <a:pt x="651" y="208"/>
                    </a:lnTo>
                    <a:lnTo>
                      <a:pt x="653" y="204"/>
                    </a:lnTo>
                    <a:lnTo>
                      <a:pt x="655" y="204"/>
                    </a:lnTo>
                    <a:lnTo>
                      <a:pt x="655" y="200"/>
                    </a:lnTo>
                    <a:lnTo>
                      <a:pt x="656" y="200"/>
                    </a:lnTo>
                    <a:lnTo>
                      <a:pt x="660" y="202"/>
                    </a:lnTo>
                    <a:lnTo>
                      <a:pt x="664" y="200"/>
                    </a:lnTo>
                    <a:lnTo>
                      <a:pt x="668" y="200"/>
                    </a:lnTo>
                    <a:lnTo>
                      <a:pt x="672" y="200"/>
                    </a:lnTo>
                    <a:lnTo>
                      <a:pt x="676" y="196"/>
                    </a:lnTo>
                    <a:lnTo>
                      <a:pt x="677" y="195"/>
                    </a:lnTo>
                    <a:lnTo>
                      <a:pt x="679" y="195"/>
                    </a:lnTo>
                    <a:lnTo>
                      <a:pt x="681" y="193"/>
                    </a:lnTo>
                    <a:lnTo>
                      <a:pt x="681" y="191"/>
                    </a:lnTo>
                    <a:lnTo>
                      <a:pt x="681" y="189"/>
                    </a:lnTo>
                    <a:lnTo>
                      <a:pt x="683" y="185"/>
                    </a:lnTo>
                    <a:lnTo>
                      <a:pt x="685" y="183"/>
                    </a:lnTo>
                    <a:lnTo>
                      <a:pt x="687" y="181"/>
                    </a:lnTo>
                    <a:lnTo>
                      <a:pt x="687" y="179"/>
                    </a:lnTo>
                    <a:lnTo>
                      <a:pt x="689" y="179"/>
                    </a:lnTo>
                    <a:lnTo>
                      <a:pt x="691" y="179"/>
                    </a:lnTo>
                    <a:lnTo>
                      <a:pt x="695" y="179"/>
                    </a:lnTo>
                    <a:lnTo>
                      <a:pt x="698" y="179"/>
                    </a:lnTo>
                    <a:lnTo>
                      <a:pt x="700" y="175"/>
                    </a:lnTo>
                    <a:lnTo>
                      <a:pt x="700" y="174"/>
                    </a:lnTo>
                    <a:lnTo>
                      <a:pt x="702" y="174"/>
                    </a:lnTo>
                    <a:lnTo>
                      <a:pt x="704" y="174"/>
                    </a:lnTo>
                    <a:lnTo>
                      <a:pt x="704" y="175"/>
                    </a:lnTo>
                    <a:lnTo>
                      <a:pt x="706" y="175"/>
                    </a:lnTo>
                    <a:lnTo>
                      <a:pt x="706" y="174"/>
                    </a:lnTo>
                    <a:lnTo>
                      <a:pt x="708" y="174"/>
                    </a:lnTo>
                    <a:lnTo>
                      <a:pt x="710" y="174"/>
                    </a:lnTo>
                    <a:lnTo>
                      <a:pt x="712" y="172"/>
                    </a:lnTo>
                    <a:lnTo>
                      <a:pt x="714" y="172"/>
                    </a:lnTo>
                    <a:lnTo>
                      <a:pt x="714" y="170"/>
                    </a:lnTo>
                    <a:lnTo>
                      <a:pt x="716" y="170"/>
                    </a:lnTo>
                    <a:lnTo>
                      <a:pt x="716" y="172"/>
                    </a:lnTo>
                    <a:lnTo>
                      <a:pt x="717" y="172"/>
                    </a:lnTo>
                    <a:lnTo>
                      <a:pt x="719" y="170"/>
                    </a:lnTo>
                    <a:lnTo>
                      <a:pt x="719" y="172"/>
                    </a:lnTo>
                    <a:lnTo>
                      <a:pt x="721" y="172"/>
                    </a:lnTo>
                    <a:lnTo>
                      <a:pt x="721" y="170"/>
                    </a:lnTo>
                    <a:lnTo>
                      <a:pt x="723" y="170"/>
                    </a:lnTo>
                    <a:lnTo>
                      <a:pt x="725" y="170"/>
                    </a:lnTo>
                    <a:lnTo>
                      <a:pt x="727" y="172"/>
                    </a:lnTo>
                    <a:lnTo>
                      <a:pt x="729" y="172"/>
                    </a:lnTo>
                    <a:lnTo>
                      <a:pt x="729" y="174"/>
                    </a:lnTo>
                    <a:lnTo>
                      <a:pt x="731" y="174"/>
                    </a:lnTo>
                    <a:lnTo>
                      <a:pt x="733" y="172"/>
                    </a:lnTo>
                    <a:lnTo>
                      <a:pt x="733" y="174"/>
                    </a:lnTo>
                    <a:lnTo>
                      <a:pt x="735" y="172"/>
                    </a:lnTo>
                    <a:lnTo>
                      <a:pt x="735" y="174"/>
                    </a:lnTo>
                    <a:lnTo>
                      <a:pt x="737" y="174"/>
                    </a:lnTo>
                    <a:lnTo>
                      <a:pt x="738" y="172"/>
                    </a:lnTo>
                    <a:lnTo>
                      <a:pt x="740" y="170"/>
                    </a:lnTo>
                    <a:lnTo>
                      <a:pt x="738" y="170"/>
                    </a:lnTo>
                    <a:lnTo>
                      <a:pt x="740" y="170"/>
                    </a:lnTo>
                    <a:lnTo>
                      <a:pt x="740" y="168"/>
                    </a:lnTo>
                    <a:lnTo>
                      <a:pt x="738" y="168"/>
                    </a:lnTo>
                    <a:lnTo>
                      <a:pt x="740" y="166"/>
                    </a:lnTo>
                    <a:lnTo>
                      <a:pt x="738" y="166"/>
                    </a:lnTo>
                    <a:lnTo>
                      <a:pt x="738" y="164"/>
                    </a:lnTo>
                    <a:lnTo>
                      <a:pt x="738" y="162"/>
                    </a:lnTo>
                    <a:lnTo>
                      <a:pt x="737" y="160"/>
                    </a:lnTo>
                    <a:lnTo>
                      <a:pt x="735" y="158"/>
                    </a:lnTo>
                    <a:lnTo>
                      <a:pt x="735" y="156"/>
                    </a:lnTo>
                    <a:lnTo>
                      <a:pt x="733" y="156"/>
                    </a:lnTo>
                    <a:lnTo>
                      <a:pt x="733" y="154"/>
                    </a:lnTo>
                    <a:lnTo>
                      <a:pt x="731" y="154"/>
                    </a:lnTo>
                    <a:lnTo>
                      <a:pt x="731" y="153"/>
                    </a:lnTo>
                    <a:lnTo>
                      <a:pt x="727" y="151"/>
                    </a:lnTo>
                    <a:lnTo>
                      <a:pt x="727" y="149"/>
                    </a:lnTo>
                    <a:lnTo>
                      <a:pt x="721" y="145"/>
                    </a:lnTo>
                    <a:lnTo>
                      <a:pt x="717" y="141"/>
                    </a:lnTo>
                    <a:lnTo>
                      <a:pt x="716" y="141"/>
                    </a:lnTo>
                    <a:lnTo>
                      <a:pt x="716" y="139"/>
                    </a:lnTo>
                    <a:lnTo>
                      <a:pt x="714" y="141"/>
                    </a:lnTo>
                    <a:lnTo>
                      <a:pt x="714" y="139"/>
                    </a:lnTo>
                    <a:lnTo>
                      <a:pt x="712" y="139"/>
                    </a:lnTo>
                    <a:lnTo>
                      <a:pt x="710" y="141"/>
                    </a:lnTo>
                    <a:lnTo>
                      <a:pt x="708" y="141"/>
                    </a:lnTo>
                    <a:lnTo>
                      <a:pt x="708" y="139"/>
                    </a:lnTo>
                    <a:lnTo>
                      <a:pt x="706" y="139"/>
                    </a:lnTo>
                    <a:lnTo>
                      <a:pt x="702" y="147"/>
                    </a:lnTo>
                    <a:lnTo>
                      <a:pt x="700" y="147"/>
                    </a:lnTo>
                    <a:lnTo>
                      <a:pt x="698" y="149"/>
                    </a:lnTo>
                    <a:lnTo>
                      <a:pt x="695" y="145"/>
                    </a:lnTo>
                    <a:lnTo>
                      <a:pt x="691" y="143"/>
                    </a:lnTo>
                    <a:lnTo>
                      <a:pt x="689" y="143"/>
                    </a:lnTo>
                    <a:lnTo>
                      <a:pt x="685" y="145"/>
                    </a:lnTo>
                    <a:lnTo>
                      <a:pt x="681" y="143"/>
                    </a:lnTo>
                    <a:lnTo>
                      <a:pt x="679" y="145"/>
                    </a:lnTo>
                    <a:lnTo>
                      <a:pt x="676" y="149"/>
                    </a:lnTo>
                    <a:lnTo>
                      <a:pt x="670" y="143"/>
                    </a:lnTo>
                    <a:lnTo>
                      <a:pt x="670" y="137"/>
                    </a:lnTo>
                    <a:lnTo>
                      <a:pt x="674" y="133"/>
                    </a:lnTo>
                    <a:lnTo>
                      <a:pt x="674" y="128"/>
                    </a:lnTo>
                    <a:lnTo>
                      <a:pt x="679" y="120"/>
                    </a:lnTo>
                    <a:lnTo>
                      <a:pt x="677" y="120"/>
                    </a:lnTo>
                    <a:lnTo>
                      <a:pt x="689" y="95"/>
                    </a:lnTo>
                    <a:lnTo>
                      <a:pt x="695" y="99"/>
                    </a:lnTo>
                    <a:lnTo>
                      <a:pt x="698" y="101"/>
                    </a:lnTo>
                    <a:lnTo>
                      <a:pt x="700" y="101"/>
                    </a:lnTo>
                    <a:lnTo>
                      <a:pt x="706" y="103"/>
                    </a:lnTo>
                    <a:lnTo>
                      <a:pt x="708" y="101"/>
                    </a:lnTo>
                    <a:lnTo>
                      <a:pt x="710" y="101"/>
                    </a:lnTo>
                    <a:lnTo>
                      <a:pt x="712" y="101"/>
                    </a:lnTo>
                    <a:lnTo>
                      <a:pt x="714" y="99"/>
                    </a:lnTo>
                    <a:lnTo>
                      <a:pt x="716" y="97"/>
                    </a:lnTo>
                    <a:lnTo>
                      <a:pt x="716" y="95"/>
                    </a:lnTo>
                    <a:lnTo>
                      <a:pt x="716" y="97"/>
                    </a:lnTo>
                    <a:lnTo>
                      <a:pt x="717" y="95"/>
                    </a:lnTo>
                    <a:lnTo>
                      <a:pt x="717" y="93"/>
                    </a:lnTo>
                    <a:lnTo>
                      <a:pt x="719" y="93"/>
                    </a:lnTo>
                    <a:lnTo>
                      <a:pt x="721" y="93"/>
                    </a:lnTo>
                    <a:lnTo>
                      <a:pt x="725" y="93"/>
                    </a:lnTo>
                    <a:lnTo>
                      <a:pt x="727" y="92"/>
                    </a:lnTo>
                    <a:lnTo>
                      <a:pt x="727" y="90"/>
                    </a:lnTo>
                    <a:lnTo>
                      <a:pt x="729" y="90"/>
                    </a:lnTo>
                    <a:lnTo>
                      <a:pt x="729" y="88"/>
                    </a:lnTo>
                    <a:lnTo>
                      <a:pt x="731" y="88"/>
                    </a:lnTo>
                    <a:lnTo>
                      <a:pt x="731" y="86"/>
                    </a:lnTo>
                    <a:lnTo>
                      <a:pt x="731" y="84"/>
                    </a:lnTo>
                    <a:lnTo>
                      <a:pt x="729" y="84"/>
                    </a:lnTo>
                    <a:lnTo>
                      <a:pt x="727" y="84"/>
                    </a:lnTo>
                    <a:lnTo>
                      <a:pt x="727" y="82"/>
                    </a:lnTo>
                    <a:lnTo>
                      <a:pt x="729" y="82"/>
                    </a:lnTo>
                    <a:lnTo>
                      <a:pt x="729" y="80"/>
                    </a:lnTo>
                    <a:lnTo>
                      <a:pt x="729" y="78"/>
                    </a:lnTo>
                    <a:lnTo>
                      <a:pt x="729" y="76"/>
                    </a:lnTo>
                    <a:lnTo>
                      <a:pt x="731" y="76"/>
                    </a:lnTo>
                    <a:lnTo>
                      <a:pt x="731" y="74"/>
                    </a:lnTo>
                    <a:lnTo>
                      <a:pt x="733" y="74"/>
                    </a:lnTo>
                    <a:lnTo>
                      <a:pt x="733" y="72"/>
                    </a:lnTo>
                    <a:lnTo>
                      <a:pt x="733" y="71"/>
                    </a:lnTo>
                    <a:lnTo>
                      <a:pt x="735" y="69"/>
                    </a:lnTo>
                    <a:lnTo>
                      <a:pt x="735" y="67"/>
                    </a:lnTo>
                    <a:lnTo>
                      <a:pt x="737" y="67"/>
                    </a:lnTo>
                    <a:lnTo>
                      <a:pt x="737" y="65"/>
                    </a:lnTo>
                    <a:lnTo>
                      <a:pt x="737" y="63"/>
                    </a:lnTo>
                    <a:lnTo>
                      <a:pt x="737" y="61"/>
                    </a:lnTo>
                    <a:lnTo>
                      <a:pt x="738" y="61"/>
                    </a:lnTo>
                    <a:lnTo>
                      <a:pt x="738" y="59"/>
                    </a:lnTo>
                    <a:lnTo>
                      <a:pt x="740" y="57"/>
                    </a:lnTo>
                    <a:lnTo>
                      <a:pt x="738" y="57"/>
                    </a:lnTo>
                    <a:lnTo>
                      <a:pt x="740" y="57"/>
                    </a:lnTo>
                    <a:lnTo>
                      <a:pt x="740" y="55"/>
                    </a:lnTo>
                    <a:lnTo>
                      <a:pt x="740" y="53"/>
                    </a:lnTo>
                    <a:lnTo>
                      <a:pt x="742" y="53"/>
                    </a:lnTo>
                    <a:lnTo>
                      <a:pt x="742" y="51"/>
                    </a:lnTo>
                    <a:lnTo>
                      <a:pt x="742" y="50"/>
                    </a:lnTo>
                    <a:lnTo>
                      <a:pt x="744" y="50"/>
                    </a:lnTo>
                    <a:lnTo>
                      <a:pt x="744" y="48"/>
                    </a:lnTo>
                    <a:lnTo>
                      <a:pt x="746" y="48"/>
                    </a:lnTo>
                    <a:lnTo>
                      <a:pt x="748" y="46"/>
                    </a:lnTo>
                    <a:lnTo>
                      <a:pt x="748" y="44"/>
                    </a:lnTo>
                    <a:lnTo>
                      <a:pt x="750" y="44"/>
                    </a:lnTo>
                    <a:lnTo>
                      <a:pt x="752" y="44"/>
                    </a:lnTo>
                    <a:lnTo>
                      <a:pt x="752" y="42"/>
                    </a:lnTo>
                    <a:lnTo>
                      <a:pt x="752" y="40"/>
                    </a:lnTo>
                    <a:lnTo>
                      <a:pt x="754" y="40"/>
                    </a:lnTo>
                    <a:lnTo>
                      <a:pt x="754" y="38"/>
                    </a:lnTo>
                    <a:lnTo>
                      <a:pt x="752" y="36"/>
                    </a:lnTo>
                    <a:lnTo>
                      <a:pt x="754" y="34"/>
                    </a:lnTo>
                    <a:lnTo>
                      <a:pt x="752" y="34"/>
                    </a:lnTo>
                    <a:lnTo>
                      <a:pt x="752" y="32"/>
                    </a:lnTo>
                    <a:lnTo>
                      <a:pt x="750" y="32"/>
                    </a:lnTo>
                    <a:lnTo>
                      <a:pt x="752" y="32"/>
                    </a:lnTo>
                    <a:lnTo>
                      <a:pt x="752" y="30"/>
                    </a:lnTo>
                    <a:lnTo>
                      <a:pt x="752" y="29"/>
                    </a:lnTo>
                    <a:lnTo>
                      <a:pt x="752" y="27"/>
                    </a:lnTo>
                    <a:lnTo>
                      <a:pt x="748" y="25"/>
                    </a:lnTo>
                    <a:lnTo>
                      <a:pt x="746" y="25"/>
                    </a:lnTo>
                    <a:lnTo>
                      <a:pt x="744" y="27"/>
                    </a:lnTo>
                    <a:lnTo>
                      <a:pt x="742" y="27"/>
                    </a:lnTo>
                    <a:lnTo>
                      <a:pt x="742" y="25"/>
                    </a:lnTo>
                    <a:lnTo>
                      <a:pt x="742" y="23"/>
                    </a:lnTo>
                    <a:lnTo>
                      <a:pt x="742" y="21"/>
                    </a:lnTo>
                    <a:lnTo>
                      <a:pt x="744" y="21"/>
                    </a:lnTo>
                    <a:lnTo>
                      <a:pt x="744" y="19"/>
                    </a:lnTo>
                    <a:lnTo>
                      <a:pt x="746" y="19"/>
                    </a:lnTo>
                    <a:lnTo>
                      <a:pt x="746" y="17"/>
                    </a:lnTo>
                    <a:lnTo>
                      <a:pt x="748" y="17"/>
                    </a:lnTo>
                    <a:lnTo>
                      <a:pt x="748" y="15"/>
                    </a:lnTo>
                    <a:lnTo>
                      <a:pt x="750" y="13"/>
                    </a:lnTo>
                    <a:lnTo>
                      <a:pt x="752" y="13"/>
                    </a:lnTo>
                    <a:lnTo>
                      <a:pt x="752" y="11"/>
                    </a:lnTo>
                    <a:lnTo>
                      <a:pt x="754" y="9"/>
                    </a:lnTo>
                    <a:lnTo>
                      <a:pt x="754" y="8"/>
                    </a:lnTo>
                    <a:lnTo>
                      <a:pt x="756" y="8"/>
                    </a:lnTo>
                    <a:lnTo>
                      <a:pt x="758" y="8"/>
                    </a:lnTo>
                    <a:lnTo>
                      <a:pt x="759" y="8"/>
                    </a:lnTo>
                    <a:lnTo>
                      <a:pt x="761" y="8"/>
                    </a:lnTo>
                    <a:lnTo>
                      <a:pt x="763" y="8"/>
                    </a:lnTo>
                    <a:lnTo>
                      <a:pt x="771" y="4"/>
                    </a:lnTo>
                    <a:lnTo>
                      <a:pt x="775" y="4"/>
                    </a:lnTo>
                    <a:lnTo>
                      <a:pt x="775" y="2"/>
                    </a:lnTo>
                    <a:lnTo>
                      <a:pt x="777" y="4"/>
                    </a:lnTo>
                    <a:lnTo>
                      <a:pt x="778" y="2"/>
                    </a:lnTo>
                    <a:lnTo>
                      <a:pt x="780" y="4"/>
                    </a:lnTo>
                    <a:lnTo>
                      <a:pt x="782" y="4"/>
                    </a:lnTo>
                    <a:lnTo>
                      <a:pt x="786" y="4"/>
                    </a:lnTo>
                    <a:lnTo>
                      <a:pt x="790" y="2"/>
                    </a:lnTo>
                    <a:lnTo>
                      <a:pt x="792" y="2"/>
                    </a:lnTo>
                    <a:lnTo>
                      <a:pt x="792" y="0"/>
                    </a:lnTo>
                    <a:lnTo>
                      <a:pt x="794" y="0"/>
                    </a:lnTo>
                    <a:lnTo>
                      <a:pt x="796" y="2"/>
                    </a:lnTo>
                    <a:lnTo>
                      <a:pt x="798" y="0"/>
                    </a:lnTo>
                    <a:lnTo>
                      <a:pt x="798" y="2"/>
                    </a:lnTo>
                    <a:lnTo>
                      <a:pt x="798" y="0"/>
                    </a:lnTo>
                    <a:lnTo>
                      <a:pt x="799" y="2"/>
                    </a:lnTo>
                    <a:lnTo>
                      <a:pt x="803" y="2"/>
                    </a:lnTo>
                    <a:lnTo>
                      <a:pt x="805" y="4"/>
                    </a:lnTo>
                    <a:lnTo>
                      <a:pt x="805" y="6"/>
                    </a:lnTo>
                    <a:lnTo>
                      <a:pt x="807" y="6"/>
                    </a:lnTo>
                    <a:lnTo>
                      <a:pt x="809" y="6"/>
                    </a:lnTo>
                    <a:lnTo>
                      <a:pt x="811" y="8"/>
                    </a:lnTo>
                    <a:lnTo>
                      <a:pt x="811" y="9"/>
                    </a:lnTo>
                    <a:lnTo>
                      <a:pt x="813" y="9"/>
                    </a:lnTo>
                    <a:lnTo>
                      <a:pt x="815" y="9"/>
                    </a:lnTo>
                    <a:lnTo>
                      <a:pt x="817" y="9"/>
                    </a:lnTo>
                    <a:lnTo>
                      <a:pt x="817" y="11"/>
                    </a:lnTo>
                    <a:lnTo>
                      <a:pt x="819" y="11"/>
                    </a:lnTo>
                    <a:lnTo>
                      <a:pt x="819" y="13"/>
                    </a:lnTo>
                    <a:lnTo>
                      <a:pt x="819" y="11"/>
                    </a:lnTo>
                    <a:lnTo>
                      <a:pt x="820" y="9"/>
                    </a:lnTo>
                    <a:lnTo>
                      <a:pt x="822" y="9"/>
                    </a:lnTo>
                    <a:lnTo>
                      <a:pt x="828" y="13"/>
                    </a:lnTo>
                    <a:lnTo>
                      <a:pt x="830" y="13"/>
                    </a:lnTo>
                    <a:lnTo>
                      <a:pt x="832" y="15"/>
                    </a:lnTo>
                    <a:lnTo>
                      <a:pt x="832" y="17"/>
                    </a:lnTo>
                    <a:lnTo>
                      <a:pt x="830" y="17"/>
                    </a:lnTo>
                    <a:lnTo>
                      <a:pt x="832" y="19"/>
                    </a:lnTo>
                    <a:lnTo>
                      <a:pt x="834" y="17"/>
                    </a:lnTo>
                    <a:lnTo>
                      <a:pt x="836" y="21"/>
                    </a:lnTo>
                    <a:lnTo>
                      <a:pt x="838" y="21"/>
                    </a:lnTo>
                    <a:lnTo>
                      <a:pt x="838" y="23"/>
                    </a:lnTo>
                    <a:lnTo>
                      <a:pt x="836" y="25"/>
                    </a:lnTo>
                    <a:lnTo>
                      <a:pt x="838" y="27"/>
                    </a:lnTo>
                    <a:lnTo>
                      <a:pt x="840" y="27"/>
                    </a:lnTo>
                    <a:lnTo>
                      <a:pt x="840" y="29"/>
                    </a:lnTo>
                    <a:lnTo>
                      <a:pt x="841" y="29"/>
                    </a:lnTo>
                    <a:lnTo>
                      <a:pt x="841" y="32"/>
                    </a:lnTo>
                    <a:lnTo>
                      <a:pt x="841" y="34"/>
                    </a:lnTo>
                    <a:lnTo>
                      <a:pt x="843" y="34"/>
                    </a:lnTo>
                    <a:lnTo>
                      <a:pt x="841" y="34"/>
                    </a:lnTo>
                    <a:lnTo>
                      <a:pt x="841" y="36"/>
                    </a:lnTo>
                    <a:lnTo>
                      <a:pt x="845" y="38"/>
                    </a:lnTo>
                    <a:lnTo>
                      <a:pt x="845" y="40"/>
                    </a:lnTo>
                    <a:lnTo>
                      <a:pt x="843" y="40"/>
                    </a:lnTo>
                    <a:lnTo>
                      <a:pt x="843" y="42"/>
                    </a:lnTo>
                    <a:lnTo>
                      <a:pt x="845" y="44"/>
                    </a:lnTo>
                    <a:lnTo>
                      <a:pt x="845" y="48"/>
                    </a:lnTo>
                    <a:lnTo>
                      <a:pt x="847" y="48"/>
                    </a:lnTo>
                    <a:lnTo>
                      <a:pt x="847" y="50"/>
                    </a:lnTo>
                    <a:lnTo>
                      <a:pt x="847" y="51"/>
                    </a:lnTo>
                    <a:lnTo>
                      <a:pt x="849" y="53"/>
                    </a:lnTo>
                    <a:lnTo>
                      <a:pt x="849" y="55"/>
                    </a:lnTo>
                    <a:lnTo>
                      <a:pt x="849" y="57"/>
                    </a:lnTo>
                    <a:lnTo>
                      <a:pt x="851" y="57"/>
                    </a:lnTo>
                    <a:lnTo>
                      <a:pt x="851" y="59"/>
                    </a:lnTo>
                    <a:lnTo>
                      <a:pt x="849" y="59"/>
                    </a:lnTo>
                    <a:lnTo>
                      <a:pt x="849" y="61"/>
                    </a:lnTo>
                    <a:lnTo>
                      <a:pt x="851" y="61"/>
                    </a:lnTo>
                    <a:lnTo>
                      <a:pt x="851" y="59"/>
                    </a:lnTo>
                    <a:lnTo>
                      <a:pt x="851" y="63"/>
                    </a:lnTo>
                    <a:lnTo>
                      <a:pt x="851" y="65"/>
                    </a:lnTo>
                    <a:lnTo>
                      <a:pt x="851" y="67"/>
                    </a:lnTo>
                    <a:lnTo>
                      <a:pt x="853" y="69"/>
                    </a:lnTo>
                    <a:lnTo>
                      <a:pt x="855" y="69"/>
                    </a:lnTo>
                    <a:lnTo>
                      <a:pt x="857" y="72"/>
                    </a:lnTo>
                    <a:lnTo>
                      <a:pt x="857" y="74"/>
                    </a:lnTo>
                    <a:lnTo>
                      <a:pt x="857" y="76"/>
                    </a:lnTo>
                    <a:lnTo>
                      <a:pt x="859" y="78"/>
                    </a:lnTo>
                    <a:lnTo>
                      <a:pt x="857" y="80"/>
                    </a:lnTo>
                    <a:lnTo>
                      <a:pt x="859" y="82"/>
                    </a:lnTo>
                    <a:lnTo>
                      <a:pt x="857" y="84"/>
                    </a:lnTo>
                    <a:lnTo>
                      <a:pt x="859" y="84"/>
                    </a:lnTo>
                    <a:lnTo>
                      <a:pt x="862" y="86"/>
                    </a:lnTo>
                    <a:lnTo>
                      <a:pt x="862" y="88"/>
                    </a:lnTo>
                    <a:lnTo>
                      <a:pt x="860" y="92"/>
                    </a:lnTo>
                    <a:lnTo>
                      <a:pt x="860" y="93"/>
                    </a:lnTo>
                    <a:lnTo>
                      <a:pt x="860" y="95"/>
                    </a:lnTo>
                    <a:lnTo>
                      <a:pt x="860" y="97"/>
                    </a:lnTo>
                    <a:lnTo>
                      <a:pt x="862" y="97"/>
                    </a:lnTo>
                    <a:lnTo>
                      <a:pt x="862" y="101"/>
                    </a:lnTo>
                    <a:lnTo>
                      <a:pt x="864" y="101"/>
                    </a:lnTo>
                    <a:lnTo>
                      <a:pt x="864" y="103"/>
                    </a:lnTo>
                    <a:lnTo>
                      <a:pt x="866" y="103"/>
                    </a:lnTo>
                    <a:lnTo>
                      <a:pt x="868" y="101"/>
                    </a:lnTo>
                    <a:lnTo>
                      <a:pt x="868" y="103"/>
                    </a:lnTo>
                    <a:lnTo>
                      <a:pt x="870" y="103"/>
                    </a:lnTo>
                    <a:lnTo>
                      <a:pt x="872" y="103"/>
                    </a:lnTo>
                    <a:lnTo>
                      <a:pt x="874" y="103"/>
                    </a:lnTo>
                    <a:lnTo>
                      <a:pt x="878" y="101"/>
                    </a:lnTo>
                    <a:lnTo>
                      <a:pt x="880" y="103"/>
                    </a:lnTo>
                    <a:lnTo>
                      <a:pt x="880" y="101"/>
                    </a:lnTo>
                    <a:lnTo>
                      <a:pt x="881" y="103"/>
                    </a:lnTo>
                    <a:lnTo>
                      <a:pt x="880" y="105"/>
                    </a:lnTo>
                    <a:lnTo>
                      <a:pt x="881" y="105"/>
                    </a:lnTo>
                    <a:lnTo>
                      <a:pt x="883" y="105"/>
                    </a:lnTo>
                    <a:lnTo>
                      <a:pt x="885" y="107"/>
                    </a:lnTo>
                    <a:lnTo>
                      <a:pt x="885" y="109"/>
                    </a:lnTo>
                    <a:lnTo>
                      <a:pt x="887" y="107"/>
                    </a:lnTo>
                    <a:lnTo>
                      <a:pt x="889" y="107"/>
                    </a:lnTo>
                    <a:lnTo>
                      <a:pt x="889" y="109"/>
                    </a:lnTo>
                    <a:lnTo>
                      <a:pt x="889" y="107"/>
                    </a:lnTo>
                    <a:lnTo>
                      <a:pt x="891" y="107"/>
                    </a:lnTo>
                    <a:lnTo>
                      <a:pt x="891" y="105"/>
                    </a:lnTo>
                    <a:lnTo>
                      <a:pt x="891" y="107"/>
                    </a:lnTo>
                    <a:lnTo>
                      <a:pt x="893" y="107"/>
                    </a:lnTo>
                    <a:lnTo>
                      <a:pt x="893" y="109"/>
                    </a:lnTo>
                    <a:lnTo>
                      <a:pt x="893" y="111"/>
                    </a:lnTo>
                    <a:lnTo>
                      <a:pt x="895" y="109"/>
                    </a:lnTo>
                    <a:lnTo>
                      <a:pt x="897" y="111"/>
                    </a:lnTo>
                    <a:lnTo>
                      <a:pt x="897" y="112"/>
                    </a:lnTo>
                    <a:lnTo>
                      <a:pt x="897" y="114"/>
                    </a:lnTo>
                    <a:lnTo>
                      <a:pt x="899" y="114"/>
                    </a:lnTo>
                    <a:lnTo>
                      <a:pt x="899" y="116"/>
                    </a:lnTo>
                    <a:lnTo>
                      <a:pt x="901" y="116"/>
                    </a:lnTo>
                    <a:lnTo>
                      <a:pt x="902" y="118"/>
                    </a:lnTo>
                    <a:lnTo>
                      <a:pt x="904" y="120"/>
                    </a:lnTo>
                    <a:lnTo>
                      <a:pt x="906" y="118"/>
                    </a:lnTo>
                    <a:lnTo>
                      <a:pt x="908" y="118"/>
                    </a:lnTo>
                    <a:lnTo>
                      <a:pt x="908" y="120"/>
                    </a:lnTo>
                    <a:lnTo>
                      <a:pt x="910" y="120"/>
                    </a:lnTo>
                    <a:lnTo>
                      <a:pt x="910" y="122"/>
                    </a:lnTo>
                    <a:lnTo>
                      <a:pt x="908" y="126"/>
                    </a:lnTo>
                    <a:lnTo>
                      <a:pt x="910" y="126"/>
                    </a:lnTo>
                    <a:lnTo>
                      <a:pt x="910" y="130"/>
                    </a:lnTo>
                    <a:lnTo>
                      <a:pt x="912" y="128"/>
                    </a:lnTo>
                    <a:lnTo>
                      <a:pt x="912" y="130"/>
                    </a:lnTo>
                    <a:lnTo>
                      <a:pt x="912" y="132"/>
                    </a:lnTo>
                    <a:lnTo>
                      <a:pt x="914" y="133"/>
                    </a:lnTo>
                    <a:lnTo>
                      <a:pt x="912" y="133"/>
                    </a:lnTo>
                    <a:lnTo>
                      <a:pt x="912" y="135"/>
                    </a:lnTo>
                    <a:lnTo>
                      <a:pt x="910" y="137"/>
                    </a:lnTo>
                    <a:lnTo>
                      <a:pt x="910" y="139"/>
                    </a:lnTo>
                    <a:lnTo>
                      <a:pt x="914" y="141"/>
                    </a:lnTo>
                    <a:lnTo>
                      <a:pt x="914" y="143"/>
                    </a:lnTo>
                    <a:lnTo>
                      <a:pt x="916" y="145"/>
                    </a:lnTo>
                    <a:lnTo>
                      <a:pt x="916" y="147"/>
                    </a:lnTo>
                    <a:lnTo>
                      <a:pt x="916" y="149"/>
                    </a:lnTo>
                    <a:lnTo>
                      <a:pt x="918" y="149"/>
                    </a:lnTo>
                    <a:lnTo>
                      <a:pt x="920" y="147"/>
                    </a:lnTo>
                    <a:lnTo>
                      <a:pt x="922" y="147"/>
                    </a:lnTo>
                    <a:lnTo>
                      <a:pt x="923" y="147"/>
                    </a:lnTo>
                    <a:lnTo>
                      <a:pt x="925" y="147"/>
                    </a:lnTo>
                    <a:lnTo>
                      <a:pt x="925" y="149"/>
                    </a:lnTo>
                    <a:lnTo>
                      <a:pt x="927" y="147"/>
                    </a:lnTo>
                    <a:lnTo>
                      <a:pt x="929" y="149"/>
                    </a:lnTo>
                    <a:lnTo>
                      <a:pt x="931" y="149"/>
                    </a:lnTo>
                    <a:lnTo>
                      <a:pt x="931" y="147"/>
                    </a:lnTo>
                    <a:lnTo>
                      <a:pt x="933" y="147"/>
                    </a:lnTo>
                    <a:lnTo>
                      <a:pt x="935" y="147"/>
                    </a:lnTo>
                    <a:lnTo>
                      <a:pt x="937" y="147"/>
                    </a:lnTo>
                    <a:lnTo>
                      <a:pt x="941" y="147"/>
                    </a:lnTo>
                    <a:lnTo>
                      <a:pt x="941" y="145"/>
                    </a:lnTo>
                    <a:lnTo>
                      <a:pt x="942" y="143"/>
                    </a:lnTo>
                    <a:lnTo>
                      <a:pt x="942" y="141"/>
                    </a:lnTo>
                    <a:lnTo>
                      <a:pt x="944" y="143"/>
                    </a:lnTo>
                    <a:lnTo>
                      <a:pt x="944" y="141"/>
                    </a:lnTo>
                    <a:lnTo>
                      <a:pt x="946" y="141"/>
                    </a:lnTo>
                    <a:lnTo>
                      <a:pt x="948" y="139"/>
                    </a:lnTo>
                    <a:lnTo>
                      <a:pt x="950" y="137"/>
                    </a:lnTo>
                    <a:lnTo>
                      <a:pt x="952" y="139"/>
                    </a:lnTo>
                    <a:lnTo>
                      <a:pt x="954" y="137"/>
                    </a:lnTo>
                    <a:lnTo>
                      <a:pt x="956" y="137"/>
                    </a:lnTo>
                    <a:lnTo>
                      <a:pt x="958" y="135"/>
                    </a:lnTo>
                    <a:lnTo>
                      <a:pt x="958" y="137"/>
                    </a:lnTo>
                    <a:lnTo>
                      <a:pt x="960" y="137"/>
                    </a:lnTo>
                    <a:lnTo>
                      <a:pt x="960" y="135"/>
                    </a:lnTo>
                    <a:lnTo>
                      <a:pt x="962" y="135"/>
                    </a:lnTo>
                    <a:lnTo>
                      <a:pt x="962" y="133"/>
                    </a:lnTo>
                    <a:lnTo>
                      <a:pt x="963" y="133"/>
                    </a:lnTo>
                    <a:lnTo>
                      <a:pt x="963" y="132"/>
                    </a:lnTo>
                    <a:lnTo>
                      <a:pt x="965" y="132"/>
                    </a:lnTo>
                    <a:lnTo>
                      <a:pt x="971" y="130"/>
                    </a:lnTo>
                    <a:lnTo>
                      <a:pt x="975" y="132"/>
                    </a:lnTo>
                    <a:lnTo>
                      <a:pt x="975" y="133"/>
                    </a:lnTo>
                    <a:lnTo>
                      <a:pt x="975" y="135"/>
                    </a:lnTo>
                    <a:lnTo>
                      <a:pt x="975" y="137"/>
                    </a:lnTo>
                    <a:lnTo>
                      <a:pt x="973" y="139"/>
                    </a:lnTo>
                    <a:lnTo>
                      <a:pt x="973" y="141"/>
                    </a:lnTo>
                    <a:lnTo>
                      <a:pt x="973" y="143"/>
                    </a:lnTo>
                    <a:lnTo>
                      <a:pt x="975" y="143"/>
                    </a:lnTo>
                    <a:lnTo>
                      <a:pt x="975" y="145"/>
                    </a:lnTo>
                    <a:lnTo>
                      <a:pt x="975" y="147"/>
                    </a:lnTo>
                    <a:lnTo>
                      <a:pt x="975" y="149"/>
                    </a:lnTo>
                    <a:lnTo>
                      <a:pt x="975" y="151"/>
                    </a:lnTo>
                    <a:lnTo>
                      <a:pt x="973" y="153"/>
                    </a:lnTo>
                    <a:lnTo>
                      <a:pt x="971" y="154"/>
                    </a:lnTo>
                    <a:lnTo>
                      <a:pt x="969" y="154"/>
                    </a:lnTo>
                    <a:lnTo>
                      <a:pt x="967" y="156"/>
                    </a:lnTo>
                    <a:lnTo>
                      <a:pt x="965" y="156"/>
                    </a:lnTo>
                    <a:lnTo>
                      <a:pt x="965" y="158"/>
                    </a:lnTo>
                    <a:lnTo>
                      <a:pt x="967" y="160"/>
                    </a:lnTo>
                    <a:lnTo>
                      <a:pt x="967" y="162"/>
                    </a:lnTo>
                    <a:lnTo>
                      <a:pt x="965" y="162"/>
                    </a:lnTo>
                    <a:lnTo>
                      <a:pt x="965" y="164"/>
                    </a:lnTo>
                    <a:lnTo>
                      <a:pt x="965" y="166"/>
                    </a:lnTo>
                    <a:lnTo>
                      <a:pt x="963" y="168"/>
                    </a:lnTo>
                    <a:lnTo>
                      <a:pt x="963" y="170"/>
                    </a:lnTo>
                    <a:lnTo>
                      <a:pt x="963" y="172"/>
                    </a:lnTo>
                    <a:lnTo>
                      <a:pt x="962" y="174"/>
                    </a:lnTo>
                    <a:lnTo>
                      <a:pt x="962" y="175"/>
                    </a:lnTo>
                    <a:lnTo>
                      <a:pt x="962" y="177"/>
                    </a:lnTo>
                    <a:lnTo>
                      <a:pt x="963" y="177"/>
                    </a:lnTo>
                    <a:lnTo>
                      <a:pt x="962" y="179"/>
                    </a:lnTo>
                    <a:lnTo>
                      <a:pt x="962" y="181"/>
                    </a:lnTo>
                    <a:lnTo>
                      <a:pt x="962" y="183"/>
                    </a:lnTo>
                    <a:lnTo>
                      <a:pt x="960" y="181"/>
                    </a:lnTo>
                    <a:lnTo>
                      <a:pt x="960" y="183"/>
                    </a:lnTo>
                    <a:lnTo>
                      <a:pt x="958" y="183"/>
                    </a:lnTo>
                    <a:lnTo>
                      <a:pt x="958" y="185"/>
                    </a:lnTo>
                    <a:lnTo>
                      <a:pt x="960" y="185"/>
                    </a:lnTo>
                    <a:lnTo>
                      <a:pt x="958" y="187"/>
                    </a:lnTo>
                    <a:lnTo>
                      <a:pt x="958" y="189"/>
                    </a:lnTo>
                    <a:lnTo>
                      <a:pt x="958" y="191"/>
                    </a:lnTo>
                    <a:lnTo>
                      <a:pt x="956" y="189"/>
                    </a:lnTo>
                    <a:lnTo>
                      <a:pt x="956" y="191"/>
                    </a:lnTo>
                    <a:lnTo>
                      <a:pt x="956" y="193"/>
                    </a:lnTo>
                    <a:lnTo>
                      <a:pt x="954" y="193"/>
                    </a:lnTo>
                    <a:lnTo>
                      <a:pt x="954" y="195"/>
                    </a:lnTo>
                    <a:lnTo>
                      <a:pt x="956" y="195"/>
                    </a:lnTo>
                    <a:lnTo>
                      <a:pt x="954" y="195"/>
                    </a:lnTo>
                    <a:lnTo>
                      <a:pt x="956" y="196"/>
                    </a:lnTo>
                    <a:lnTo>
                      <a:pt x="954" y="196"/>
                    </a:lnTo>
                    <a:lnTo>
                      <a:pt x="952" y="198"/>
                    </a:lnTo>
                    <a:lnTo>
                      <a:pt x="950" y="198"/>
                    </a:lnTo>
                    <a:lnTo>
                      <a:pt x="950" y="200"/>
                    </a:lnTo>
                    <a:lnTo>
                      <a:pt x="950" y="202"/>
                    </a:lnTo>
                    <a:lnTo>
                      <a:pt x="948" y="204"/>
                    </a:lnTo>
                    <a:lnTo>
                      <a:pt x="950" y="204"/>
                    </a:lnTo>
                    <a:lnTo>
                      <a:pt x="950" y="208"/>
                    </a:lnTo>
                    <a:lnTo>
                      <a:pt x="948" y="208"/>
                    </a:lnTo>
                    <a:lnTo>
                      <a:pt x="946" y="210"/>
                    </a:lnTo>
                    <a:lnTo>
                      <a:pt x="946" y="208"/>
                    </a:lnTo>
                    <a:lnTo>
                      <a:pt x="931" y="204"/>
                    </a:lnTo>
                    <a:lnTo>
                      <a:pt x="931" y="202"/>
                    </a:lnTo>
                    <a:lnTo>
                      <a:pt x="929" y="202"/>
                    </a:lnTo>
                    <a:lnTo>
                      <a:pt x="929" y="204"/>
                    </a:lnTo>
                    <a:lnTo>
                      <a:pt x="929" y="206"/>
                    </a:lnTo>
                    <a:lnTo>
                      <a:pt x="927" y="204"/>
                    </a:lnTo>
                    <a:lnTo>
                      <a:pt x="925" y="206"/>
                    </a:lnTo>
                    <a:lnTo>
                      <a:pt x="927" y="206"/>
                    </a:lnTo>
                    <a:lnTo>
                      <a:pt x="927" y="208"/>
                    </a:lnTo>
                    <a:lnTo>
                      <a:pt x="923" y="210"/>
                    </a:lnTo>
                    <a:lnTo>
                      <a:pt x="922" y="210"/>
                    </a:lnTo>
                    <a:lnTo>
                      <a:pt x="920" y="212"/>
                    </a:lnTo>
                    <a:lnTo>
                      <a:pt x="918" y="212"/>
                    </a:lnTo>
                    <a:lnTo>
                      <a:pt x="916" y="214"/>
                    </a:lnTo>
                    <a:lnTo>
                      <a:pt x="916" y="216"/>
                    </a:lnTo>
                    <a:lnTo>
                      <a:pt x="918" y="216"/>
                    </a:lnTo>
                    <a:lnTo>
                      <a:pt x="922" y="231"/>
                    </a:lnTo>
                    <a:lnTo>
                      <a:pt x="920" y="231"/>
                    </a:lnTo>
                    <a:lnTo>
                      <a:pt x="920" y="233"/>
                    </a:lnTo>
                    <a:lnTo>
                      <a:pt x="920" y="235"/>
                    </a:lnTo>
                    <a:lnTo>
                      <a:pt x="920" y="237"/>
                    </a:lnTo>
                    <a:lnTo>
                      <a:pt x="920" y="238"/>
                    </a:lnTo>
                    <a:lnTo>
                      <a:pt x="920" y="240"/>
                    </a:lnTo>
                    <a:lnTo>
                      <a:pt x="920" y="242"/>
                    </a:lnTo>
                    <a:lnTo>
                      <a:pt x="920" y="240"/>
                    </a:lnTo>
                    <a:lnTo>
                      <a:pt x="920" y="242"/>
                    </a:lnTo>
                    <a:lnTo>
                      <a:pt x="922" y="244"/>
                    </a:lnTo>
                    <a:lnTo>
                      <a:pt x="920" y="244"/>
                    </a:lnTo>
                    <a:lnTo>
                      <a:pt x="922" y="246"/>
                    </a:lnTo>
                    <a:lnTo>
                      <a:pt x="920" y="246"/>
                    </a:lnTo>
                    <a:lnTo>
                      <a:pt x="920" y="248"/>
                    </a:lnTo>
                    <a:lnTo>
                      <a:pt x="920" y="250"/>
                    </a:lnTo>
                    <a:lnTo>
                      <a:pt x="920" y="252"/>
                    </a:lnTo>
                    <a:lnTo>
                      <a:pt x="918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16" y="256"/>
                    </a:lnTo>
                    <a:lnTo>
                      <a:pt x="916" y="258"/>
                    </a:lnTo>
                    <a:lnTo>
                      <a:pt x="914" y="258"/>
                    </a:lnTo>
                    <a:lnTo>
                      <a:pt x="912" y="258"/>
                    </a:lnTo>
                    <a:lnTo>
                      <a:pt x="910" y="258"/>
                    </a:lnTo>
                    <a:lnTo>
                      <a:pt x="908" y="259"/>
                    </a:lnTo>
                    <a:lnTo>
                      <a:pt x="906" y="259"/>
                    </a:lnTo>
                    <a:lnTo>
                      <a:pt x="906" y="261"/>
                    </a:lnTo>
                    <a:lnTo>
                      <a:pt x="908" y="261"/>
                    </a:lnTo>
                    <a:lnTo>
                      <a:pt x="910" y="261"/>
                    </a:lnTo>
                    <a:lnTo>
                      <a:pt x="910" y="263"/>
                    </a:lnTo>
                    <a:lnTo>
                      <a:pt x="908" y="263"/>
                    </a:lnTo>
                    <a:lnTo>
                      <a:pt x="908" y="265"/>
                    </a:lnTo>
                    <a:lnTo>
                      <a:pt x="910" y="265"/>
                    </a:lnTo>
                    <a:lnTo>
                      <a:pt x="910" y="267"/>
                    </a:lnTo>
                    <a:close/>
                    <a:moveTo>
                      <a:pt x="594" y="685"/>
                    </a:moveTo>
                    <a:lnTo>
                      <a:pt x="594" y="687"/>
                    </a:lnTo>
                    <a:lnTo>
                      <a:pt x="594" y="689"/>
                    </a:lnTo>
                    <a:lnTo>
                      <a:pt x="595" y="689"/>
                    </a:lnTo>
                    <a:lnTo>
                      <a:pt x="597" y="689"/>
                    </a:lnTo>
                    <a:lnTo>
                      <a:pt x="597" y="691"/>
                    </a:lnTo>
                    <a:lnTo>
                      <a:pt x="597" y="694"/>
                    </a:lnTo>
                    <a:lnTo>
                      <a:pt x="599" y="694"/>
                    </a:lnTo>
                    <a:lnTo>
                      <a:pt x="597" y="694"/>
                    </a:lnTo>
                    <a:lnTo>
                      <a:pt x="595" y="696"/>
                    </a:lnTo>
                    <a:lnTo>
                      <a:pt x="595" y="694"/>
                    </a:lnTo>
                    <a:lnTo>
                      <a:pt x="595" y="696"/>
                    </a:lnTo>
                    <a:lnTo>
                      <a:pt x="594" y="698"/>
                    </a:lnTo>
                    <a:lnTo>
                      <a:pt x="594" y="700"/>
                    </a:lnTo>
                    <a:lnTo>
                      <a:pt x="592" y="700"/>
                    </a:lnTo>
                    <a:lnTo>
                      <a:pt x="592" y="702"/>
                    </a:lnTo>
                    <a:lnTo>
                      <a:pt x="592" y="704"/>
                    </a:lnTo>
                    <a:lnTo>
                      <a:pt x="590" y="704"/>
                    </a:lnTo>
                    <a:lnTo>
                      <a:pt x="590" y="706"/>
                    </a:lnTo>
                    <a:lnTo>
                      <a:pt x="590" y="708"/>
                    </a:lnTo>
                    <a:lnTo>
                      <a:pt x="590" y="710"/>
                    </a:lnTo>
                    <a:lnTo>
                      <a:pt x="588" y="712"/>
                    </a:lnTo>
                    <a:lnTo>
                      <a:pt x="586" y="712"/>
                    </a:lnTo>
                    <a:lnTo>
                      <a:pt x="584" y="714"/>
                    </a:lnTo>
                    <a:lnTo>
                      <a:pt x="582" y="715"/>
                    </a:lnTo>
                    <a:lnTo>
                      <a:pt x="580" y="715"/>
                    </a:lnTo>
                    <a:lnTo>
                      <a:pt x="578" y="715"/>
                    </a:lnTo>
                    <a:lnTo>
                      <a:pt x="578" y="717"/>
                    </a:lnTo>
                    <a:lnTo>
                      <a:pt x="578" y="719"/>
                    </a:lnTo>
                    <a:lnTo>
                      <a:pt x="576" y="719"/>
                    </a:lnTo>
                    <a:lnTo>
                      <a:pt x="576" y="717"/>
                    </a:lnTo>
                    <a:lnTo>
                      <a:pt x="576" y="719"/>
                    </a:lnTo>
                    <a:lnTo>
                      <a:pt x="574" y="719"/>
                    </a:lnTo>
                    <a:lnTo>
                      <a:pt x="574" y="717"/>
                    </a:lnTo>
                    <a:lnTo>
                      <a:pt x="574" y="719"/>
                    </a:lnTo>
                    <a:lnTo>
                      <a:pt x="573" y="719"/>
                    </a:lnTo>
                    <a:lnTo>
                      <a:pt x="574" y="717"/>
                    </a:lnTo>
                    <a:lnTo>
                      <a:pt x="573" y="717"/>
                    </a:lnTo>
                    <a:lnTo>
                      <a:pt x="571" y="717"/>
                    </a:lnTo>
                    <a:lnTo>
                      <a:pt x="569" y="717"/>
                    </a:lnTo>
                    <a:lnTo>
                      <a:pt x="567" y="715"/>
                    </a:lnTo>
                    <a:lnTo>
                      <a:pt x="565" y="715"/>
                    </a:lnTo>
                    <a:lnTo>
                      <a:pt x="563" y="715"/>
                    </a:lnTo>
                    <a:lnTo>
                      <a:pt x="563" y="714"/>
                    </a:lnTo>
                    <a:lnTo>
                      <a:pt x="561" y="714"/>
                    </a:lnTo>
                    <a:lnTo>
                      <a:pt x="561" y="712"/>
                    </a:lnTo>
                    <a:lnTo>
                      <a:pt x="561" y="710"/>
                    </a:lnTo>
                    <a:lnTo>
                      <a:pt x="561" y="708"/>
                    </a:lnTo>
                    <a:lnTo>
                      <a:pt x="559" y="708"/>
                    </a:lnTo>
                    <a:lnTo>
                      <a:pt x="561" y="706"/>
                    </a:lnTo>
                    <a:lnTo>
                      <a:pt x="559" y="704"/>
                    </a:lnTo>
                    <a:lnTo>
                      <a:pt x="561" y="704"/>
                    </a:lnTo>
                    <a:lnTo>
                      <a:pt x="561" y="702"/>
                    </a:lnTo>
                    <a:lnTo>
                      <a:pt x="559" y="702"/>
                    </a:lnTo>
                    <a:lnTo>
                      <a:pt x="559" y="700"/>
                    </a:lnTo>
                    <a:lnTo>
                      <a:pt x="561" y="700"/>
                    </a:lnTo>
                    <a:lnTo>
                      <a:pt x="561" y="698"/>
                    </a:lnTo>
                    <a:lnTo>
                      <a:pt x="563" y="698"/>
                    </a:lnTo>
                    <a:lnTo>
                      <a:pt x="565" y="698"/>
                    </a:lnTo>
                    <a:lnTo>
                      <a:pt x="567" y="696"/>
                    </a:lnTo>
                    <a:lnTo>
                      <a:pt x="569" y="694"/>
                    </a:lnTo>
                    <a:lnTo>
                      <a:pt x="569" y="693"/>
                    </a:lnTo>
                    <a:lnTo>
                      <a:pt x="571" y="693"/>
                    </a:lnTo>
                    <a:lnTo>
                      <a:pt x="569" y="693"/>
                    </a:lnTo>
                    <a:lnTo>
                      <a:pt x="569" y="691"/>
                    </a:lnTo>
                    <a:lnTo>
                      <a:pt x="571" y="691"/>
                    </a:lnTo>
                    <a:lnTo>
                      <a:pt x="573" y="691"/>
                    </a:lnTo>
                    <a:lnTo>
                      <a:pt x="574" y="691"/>
                    </a:lnTo>
                    <a:lnTo>
                      <a:pt x="574" y="689"/>
                    </a:lnTo>
                    <a:lnTo>
                      <a:pt x="576" y="689"/>
                    </a:lnTo>
                    <a:lnTo>
                      <a:pt x="578" y="689"/>
                    </a:lnTo>
                    <a:lnTo>
                      <a:pt x="580" y="689"/>
                    </a:lnTo>
                    <a:lnTo>
                      <a:pt x="582" y="689"/>
                    </a:lnTo>
                    <a:lnTo>
                      <a:pt x="582" y="691"/>
                    </a:lnTo>
                    <a:lnTo>
                      <a:pt x="582" y="689"/>
                    </a:lnTo>
                    <a:lnTo>
                      <a:pt x="584" y="689"/>
                    </a:lnTo>
                    <a:lnTo>
                      <a:pt x="584" y="687"/>
                    </a:lnTo>
                    <a:lnTo>
                      <a:pt x="586" y="689"/>
                    </a:lnTo>
                    <a:lnTo>
                      <a:pt x="586" y="687"/>
                    </a:lnTo>
                    <a:lnTo>
                      <a:pt x="586" y="689"/>
                    </a:lnTo>
                    <a:lnTo>
                      <a:pt x="588" y="689"/>
                    </a:lnTo>
                    <a:lnTo>
                      <a:pt x="588" y="687"/>
                    </a:lnTo>
                    <a:lnTo>
                      <a:pt x="588" y="689"/>
                    </a:lnTo>
                    <a:lnTo>
                      <a:pt x="588" y="691"/>
                    </a:lnTo>
                    <a:lnTo>
                      <a:pt x="588" y="689"/>
                    </a:lnTo>
                    <a:lnTo>
                      <a:pt x="588" y="687"/>
                    </a:lnTo>
                    <a:lnTo>
                      <a:pt x="590" y="689"/>
                    </a:lnTo>
                    <a:lnTo>
                      <a:pt x="592" y="689"/>
                    </a:lnTo>
                    <a:lnTo>
                      <a:pt x="590" y="689"/>
                    </a:lnTo>
                    <a:lnTo>
                      <a:pt x="592" y="689"/>
                    </a:lnTo>
                    <a:lnTo>
                      <a:pt x="592" y="691"/>
                    </a:lnTo>
                    <a:lnTo>
                      <a:pt x="592" y="689"/>
                    </a:lnTo>
                    <a:lnTo>
                      <a:pt x="592" y="687"/>
                    </a:lnTo>
                    <a:lnTo>
                      <a:pt x="594" y="685"/>
                    </a:lnTo>
                    <a:close/>
                    <a:moveTo>
                      <a:pt x="763" y="479"/>
                    </a:moveTo>
                    <a:lnTo>
                      <a:pt x="765" y="479"/>
                    </a:lnTo>
                    <a:lnTo>
                      <a:pt x="767" y="483"/>
                    </a:lnTo>
                    <a:lnTo>
                      <a:pt x="769" y="483"/>
                    </a:lnTo>
                    <a:lnTo>
                      <a:pt x="771" y="483"/>
                    </a:lnTo>
                    <a:lnTo>
                      <a:pt x="773" y="485"/>
                    </a:lnTo>
                    <a:lnTo>
                      <a:pt x="771" y="486"/>
                    </a:lnTo>
                    <a:lnTo>
                      <a:pt x="769" y="485"/>
                    </a:lnTo>
                    <a:lnTo>
                      <a:pt x="767" y="485"/>
                    </a:lnTo>
                    <a:lnTo>
                      <a:pt x="763" y="483"/>
                    </a:lnTo>
                    <a:lnTo>
                      <a:pt x="761" y="481"/>
                    </a:lnTo>
                    <a:lnTo>
                      <a:pt x="759" y="481"/>
                    </a:lnTo>
                    <a:lnTo>
                      <a:pt x="759" y="479"/>
                    </a:lnTo>
                    <a:lnTo>
                      <a:pt x="761" y="479"/>
                    </a:lnTo>
                    <a:lnTo>
                      <a:pt x="763" y="479"/>
                    </a:lnTo>
                    <a:close/>
                    <a:moveTo>
                      <a:pt x="773" y="509"/>
                    </a:moveTo>
                    <a:lnTo>
                      <a:pt x="775" y="509"/>
                    </a:lnTo>
                    <a:lnTo>
                      <a:pt x="775" y="511"/>
                    </a:lnTo>
                    <a:lnTo>
                      <a:pt x="777" y="511"/>
                    </a:lnTo>
                    <a:lnTo>
                      <a:pt x="778" y="513"/>
                    </a:lnTo>
                    <a:lnTo>
                      <a:pt x="778" y="511"/>
                    </a:lnTo>
                    <a:lnTo>
                      <a:pt x="778" y="513"/>
                    </a:lnTo>
                    <a:lnTo>
                      <a:pt x="777" y="513"/>
                    </a:lnTo>
                    <a:lnTo>
                      <a:pt x="775" y="513"/>
                    </a:lnTo>
                    <a:lnTo>
                      <a:pt x="773" y="513"/>
                    </a:lnTo>
                    <a:lnTo>
                      <a:pt x="773" y="511"/>
                    </a:lnTo>
                    <a:lnTo>
                      <a:pt x="771" y="509"/>
                    </a:lnTo>
                    <a:lnTo>
                      <a:pt x="773" y="509"/>
                    </a:lnTo>
                    <a:close/>
                    <a:moveTo>
                      <a:pt x="737" y="591"/>
                    </a:moveTo>
                    <a:lnTo>
                      <a:pt x="738" y="591"/>
                    </a:lnTo>
                    <a:lnTo>
                      <a:pt x="738" y="593"/>
                    </a:lnTo>
                    <a:lnTo>
                      <a:pt x="738" y="595"/>
                    </a:lnTo>
                    <a:lnTo>
                      <a:pt x="738" y="593"/>
                    </a:lnTo>
                    <a:lnTo>
                      <a:pt x="737" y="595"/>
                    </a:lnTo>
                    <a:lnTo>
                      <a:pt x="737" y="593"/>
                    </a:lnTo>
                    <a:lnTo>
                      <a:pt x="737" y="591"/>
                    </a:lnTo>
                    <a:close/>
                    <a:moveTo>
                      <a:pt x="700" y="624"/>
                    </a:moveTo>
                    <a:lnTo>
                      <a:pt x="702" y="624"/>
                    </a:lnTo>
                    <a:lnTo>
                      <a:pt x="702" y="626"/>
                    </a:lnTo>
                    <a:lnTo>
                      <a:pt x="700" y="624"/>
                    </a:lnTo>
                    <a:lnTo>
                      <a:pt x="700" y="626"/>
                    </a:lnTo>
                    <a:lnTo>
                      <a:pt x="700" y="628"/>
                    </a:lnTo>
                    <a:lnTo>
                      <a:pt x="698" y="628"/>
                    </a:lnTo>
                    <a:lnTo>
                      <a:pt x="698" y="626"/>
                    </a:lnTo>
                    <a:lnTo>
                      <a:pt x="698" y="624"/>
                    </a:lnTo>
                    <a:lnTo>
                      <a:pt x="700" y="624"/>
                    </a:lnTo>
                    <a:close/>
                    <a:moveTo>
                      <a:pt x="647" y="649"/>
                    </a:moveTo>
                    <a:lnTo>
                      <a:pt x="645" y="649"/>
                    </a:lnTo>
                    <a:lnTo>
                      <a:pt x="645" y="651"/>
                    </a:lnTo>
                    <a:lnTo>
                      <a:pt x="643" y="651"/>
                    </a:lnTo>
                    <a:lnTo>
                      <a:pt x="643" y="649"/>
                    </a:lnTo>
                    <a:lnTo>
                      <a:pt x="645" y="649"/>
                    </a:lnTo>
                    <a:lnTo>
                      <a:pt x="647" y="649"/>
                    </a:lnTo>
                    <a:close/>
                    <a:moveTo>
                      <a:pt x="710" y="610"/>
                    </a:moveTo>
                    <a:lnTo>
                      <a:pt x="712" y="610"/>
                    </a:lnTo>
                    <a:lnTo>
                      <a:pt x="712" y="612"/>
                    </a:lnTo>
                    <a:lnTo>
                      <a:pt x="710" y="612"/>
                    </a:lnTo>
                    <a:lnTo>
                      <a:pt x="710" y="610"/>
                    </a:lnTo>
                    <a:close/>
                    <a:moveTo>
                      <a:pt x="639" y="641"/>
                    </a:moveTo>
                    <a:lnTo>
                      <a:pt x="639" y="643"/>
                    </a:lnTo>
                    <a:lnTo>
                      <a:pt x="639" y="645"/>
                    </a:lnTo>
                    <a:lnTo>
                      <a:pt x="639" y="643"/>
                    </a:lnTo>
                    <a:lnTo>
                      <a:pt x="637" y="641"/>
                    </a:lnTo>
                    <a:lnTo>
                      <a:pt x="639" y="641"/>
                    </a:lnTo>
                    <a:close/>
                    <a:moveTo>
                      <a:pt x="628" y="658"/>
                    </a:moveTo>
                    <a:lnTo>
                      <a:pt x="626" y="658"/>
                    </a:lnTo>
                    <a:lnTo>
                      <a:pt x="626" y="660"/>
                    </a:lnTo>
                    <a:lnTo>
                      <a:pt x="626" y="662"/>
                    </a:lnTo>
                    <a:lnTo>
                      <a:pt x="626" y="660"/>
                    </a:lnTo>
                    <a:lnTo>
                      <a:pt x="626" y="662"/>
                    </a:lnTo>
                    <a:lnTo>
                      <a:pt x="626" y="660"/>
                    </a:lnTo>
                    <a:lnTo>
                      <a:pt x="624" y="660"/>
                    </a:lnTo>
                    <a:lnTo>
                      <a:pt x="626" y="660"/>
                    </a:lnTo>
                    <a:lnTo>
                      <a:pt x="624" y="660"/>
                    </a:lnTo>
                    <a:lnTo>
                      <a:pt x="626" y="658"/>
                    </a:lnTo>
                    <a:lnTo>
                      <a:pt x="626" y="660"/>
                    </a:lnTo>
                    <a:lnTo>
                      <a:pt x="626" y="658"/>
                    </a:lnTo>
                    <a:lnTo>
                      <a:pt x="628" y="658"/>
                    </a:lnTo>
                    <a:close/>
                    <a:moveTo>
                      <a:pt x="590" y="668"/>
                    </a:moveTo>
                    <a:lnTo>
                      <a:pt x="592" y="668"/>
                    </a:lnTo>
                    <a:lnTo>
                      <a:pt x="592" y="670"/>
                    </a:lnTo>
                    <a:lnTo>
                      <a:pt x="590" y="670"/>
                    </a:lnTo>
                    <a:lnTo>
                      <a:pt x="590" y="668"/>
                    </a:lnTo>
                    <a:lnTo>
                      <a:pt x="588" y="668"/>
                    </a:lnTo>
                    <a:lnTo>
                      <a:pt x="590" y="668"/>
                    </a:lnTo>
                    <a:close/>
                    <a:moveTo>
                      <a:pt x="775" y="506"/>
                    </a:moveTo>
                    <a:lnTo>
                      <a:pt x="777" y="507"/>
                    </a:lnTo>
                    <a:lnTo>
                      <a:pt x="777" y="506"/>
                    </a:lnTo>
                    <a:lnTo>
                      <a:pt x="777" y="507"/>
                    </a:lnTo>
                    <a:lnTo>
                      <a:pt x="775" y="507"/>
                    </a:lnTo>
                    <a:lnTo>
                      <a:pt x="773" y="507"/>
                    </a:lnTo>
                    <a:lnTo>
                      <a:pt x="775" y="507"/>
                    </a:lnTo>
                    <a:lnTo>
                      <a:pt x="775" y="506"/>
                    </a:lnTo>
                    <a:close/>
                    <a:moveTo>
                      <a:pt x="765" y="486"/>
                    </a:moveTo>
                    <a:lnTo>
                      <a:pt x="767" y="486"/>
                    </a:lnTo>
                    <a:lnTo>
                      <a:pt x="769" y="486"/>
                    </a:lnTo>
                    <a:lnTo>
                      <a:pt x="769" y="488"/>
                    </a:lnTo>
                    <a:lnTo>
                      <a:pt x="765" y="486"/>
                    </a:lnTo>
                    <a:lnTo>
                      <a:pt x="765" y="485"/>
                    </a:lnTo>
                    <a:lnTo>
                      <a:pt x="765" y="486"/>
                    </a:lnTo>
                    <a:close/>
                    <a:moveTo>
                      <a:pt x="773" y="517"/>
                    </a:moveTo>
                    <a:lnTo>
                      <a:pt x="777" y="517"/>
                    </a:lnTo>
                    <a:lnTo>
                      <a:pt x="777" y="519"/>
                    </a:lnTo>
                    <a:lnTo>
                      <a:pt x="773" y="519"/>
                    </a:lnTo>
                    <a:lnTo>
                      <a:pt x="773" y="517"/>
                    </a:lnTo>
                    <a:close/>
                    <a:moveTo>
                      <a:pt x="695" y="630"/>
                    </a:moveTo>
                    <a:lnTo>
                      <a:pt x="696" y="630"/>
                    </a:lnTo>
                    <a:lnTo>
                      <a:pt x="695" y="630"/>
                    </a:lnTo>
                    <a:lnTo>
                      <a:pt x="693" y="630"/>
                    </a:lnTo>
                    <a:lnTo>
                      <a:pt x="695" y="630"/>
                    </a:lnTo>
                    <a:close/>
                    <a:moveTo>
                      <a:pt x="771" y="528"/>
                    </a:moveTo>
                    <a:lnTo>
                      <a:pt x="773" y="528"/>
                    </a:lnTo>
                    <a:lnTo>
                      <a:pt x="773" y="530"/>
                    </a:lnTo>
                    <a:lnTo>
                      <a:pt x="771" y="530"/>
                    </a:lnTo>
                    <a:lnTo>
                      <a:pt x="771" y="528"/>
                    </a:lnTo>
                    <a:close/>
                    <a:moveTo>
                      <a:pt x="687" y="631"/>
                    </a:moveTo>
                    <a:lnTo>
                      <a:pt x="691" y="631"/>
                    </a:lnTo>
                    <a:lnTo>
                      <a:pt x="691" y="633"/>
                    </a:lnTo>
                    <a:lnTo>
                      <a:pt x="687" y="633"/>
                    </a:lnTo>
                    <a:lnTo>
                      <a:pt x="687" y="631"/>
                    </a:lnTo>
                    <a:close/>
                    <a:moveTo>
                      <a:pt x="637" y="651"/>
                    </a:moveTo>
                    <a:lnTo>
                      <a:pt x="639" y="651"/>
                    </a:lnTo>
                    <a:lnTo>
                      <a:pt x="639" y="652"/>
                    </a:lnTo>
                    <a:lnTo>
                      <a:pt x="637" y="652"/>
                    </a:lnTo>
                    <a:lnTo>
                      <a:pt x="637" y="651"/>
                    </a:lnTo>
                    <a:close/>
                    <a:moveTo>
                      <a:pt x="771" y="511"/>
                    </a:moveTo>
                    <a:lnTo>
                      <a:pt x="771" y="513"/>
                    </a:lnTo>
                    <a:lnTo>
                      <a:pt x="771" y="511"/>
                    </a:lnTo>
                    <a:close/>
                    <a:moveTo>
                      <a:pt x="622" y="660"/>
                    </a:moveTo>
                    <a:lnTo>
                      <a:pt x="624" y="660"/>
                    </a:lnTo>
                    <a:lnTo>
                      <a:pt x="624" y="662"/>
                    </a:lnTo>
                    <a:lnTo>
                      <a:pt x="622" y="662"/>
                    </a:lnTo>
                    <a:lnTo>
                      <a:pt x="622" y="660"/>
                    </a:lnTo>
                    <a:close/>
                    <a:moveTo>
                      <a:pt x="647" y="649"/>
                    </a:moveTo>
                    <a:lnTo>
                      <a:pt x="649" y="649"/>
                    </a:lnTo>
                    <a:lnTo>
                      <a:pt x="649" y="651"/>
                    </a:lnTo>
                    <a:lnTo>
                      <a:pt x="647" y="651"/>
                    </a:lnTo>
                    <a:lnTo>
                      <a:pt x="647" y="649"/>
                    </a:lnTo>
                    <a:close/>
                    <a:moveTo>
                      <a:pt x="769" y="486"/>
                    </a:moveTo>
                    <a:lnTo>
                      <a:pt x="771" y="486"/>
                    </a:lnTo>
                    <a:lnTo>
                      <a:pt x="771" y="488"/>
                    </a:lnTo>
                    <a:lnTo>
                      <a:pt x="769" y="488"/>
                    </a:lnTo>
                    <a:lnTo>
                      <a:pt x="769" y="486"/>
                    </a:lnTo>
                    <a:close/>
                    <a:moveTo>
                      <a:pt x="778" y="513"/>
                    </a:moveTo>
                    <a:lnTo>
                      <a:pt x="780" y="513"/>
                    </a:lnTo>
                    <a:lnTo>
                      <a:pt x="780" y="515"/>
                    </a:lnTo>
                    <a:lnTo>
                      <a:pt x="778" y="515"/>
                    </a:lnTo>
                    <a:lnTo>
                      <a:pt x="778" y="513"/>
                    </a:lnTo>
                    <a:close/>
                    <a:moveTo>
                      <a:pt x="777" y="504"/>
                    </a:moveTo>
                    <a:lnTo>
                      <a:pt x="780" y="504"/>
                    </a:lnTo>
                    <a:lnTo>
                      <a:pt x="780" y="506"/>
                    </a:lnTo>
                    <a:lnTo>
                      <a:pt x="777" y="506"/>
                    </a:lnTo>
                    <a:lnTo>
                      <a:pt x="777" y="504"/>
                    </a:lnTo>
                    <a:close/>
                    <a:moveTo>
                      <a:pt x="733" y="582"/>
                    </a:moveTo>
                    <a:lnTo>
                      <a:pt x="735" y="582"/>
                    </a:lnTo>
                    <a:lnTo>
                      <a:pt x="735" y="584"/>
                    </a:lnTo>
                    <a:lnTo>
                      <a:pt x="733" y="584"/>
                    </a:lnTo>
                    <a:lnTo>
                      <a:pt x="733" y="582"/>
                    </a:lnTo>
                    <a:close/>
                    <a:moveTo>
                      <a:pt x="750" y="473"/>
                    </a:moveTo>
                    <a:lnTo>
                      <a:pt x="752" y="473"/>
                    </a:lnTo>
                    <a:lnTo>
                      <a:pt x="752" y="475"/>
                    </a:lnTo>
                    <a:lnTo>
                      <a:pt x="750" y="475"/>
                    </a:lnTo>
                    <a:lnTo>
                      <a:pt x="750" y="473"/>
                    </a:lnTo>
                    <a:close/>
                    <a:moveTo>
                      <a:pt x="590" y="672"/>
                    </a:moveTo>
                    <a:lnTo>
                      <a:pt x="592" y="672"/>
                    </a:lnTo>
                    <a:lnTo>
                      <a:pt x="592" y="673"/>
                    </a:lnTo>
                    <a:lnTo>
                      <a:pt x="590" y="673"/>
                    </a:lnTo>
                    <a:lnTo>
                      <a:pt x="590" y="672"/>
                    </a:lnTo>
                    <a:close/>
                    <a:moveTo>
                      <a:pt x="639" y="641"/>
                    </a:moveTo>
                    <a:lnTo>
                      <a:pt x="641" y="641"/>
                    </a:lnTo>
                    <a:lnTo>
                      <a:pt x="641" y="645"/>
                    </a:lnTo>
                    <a:lnTo>
                      <a:pt x="639" y="645"/>
                    </a:lnTo>
                    <a:lnTo>
                      <a:pt x="639" y="641"/>
                    </a:lnTo>
                    <a:close/>
                    <a:moveTo>
                      <a:pt x="733" y="597"/>
                    </a:moveTo>
                    <a:lnTo>
                      <a:pt x="735" y="597"/>
                    </a:lnTo>
                    <a:lnTo>
                      <a:pt x="735" y="599"/>
                    </a:lnTo>
                    <a:lnTo>
                      <a:pt x="733" y="599"/>
                    </a:lnTo>
                    <a:lnTo>
                      <a:pt x="733" y="597"/>
                    </a:lnTo>
                    <a:close/>
                    <a:moveTo>
                      <a:pt x="754" y="549"/>
                    </a:moveTo>
                    <a:lnTo>
                      <a:pt x="756" y="549"/>
                    </a:lnTo>
                    <a:lnTo>
                      <a:pt x="756" y="551"/>
                    </a:lnTo>
                    <a:lnTo>
                      <a:pt x="754" y="551"/>
                    </a:lnTo>
                    <a:lnTo>
                      <a:pt x="754" y="549"/>
                    </a:lnTo>
                    <a:close/>
                    <a:moveTo>
                      <a:pt x="769" y="528"/>
                    </a:moveTo>
                    <a:lnTo>
                      <a:pt x="771" y="528"/>
                    </a:lnTo>
                    <a:lnTo>
                      <a:pt x="769" y="528"/>
                    </a:lnTo>
                    <a:close/>
                    <a:moveTo>
                      <a:pt x="777" y="515"/>
                    </a:moveTo>
                    <a:lnTo>
                      <a:pt x="778" y="515"/>
                    </a:lnTo>
                    <a:lnTo>
                      <a:pt x="778" y="517"/>
                    </a:lnTo>
                    <a:lnTo>
                      <a:pt x="777" y="517"/>
                    </a:lnTo>
                    <a:lnTo>
                      <a:pt x="777" y="515"/>
                    </a:lnTo>
                    <a:close/>
                    <a:moveTo>
                      <a:pt x="771" y="515"/>
                    </a:moveTo>
                    <a:lnTo>
                      <a:pt x="773" y="515"/>
                    </a:lnTo>
                    <a:lnTo>
                      <a:pt x="773" y="517"/>
                    </a:lnTo>
                    <a:lnTo>
                      <a:pt x="771" y="517"/>
                    </a:lnTo>
                    <a:lnTo>
                      <a:pt x="771" y="515"/>
                    </a:lnTo>
                    <a:close/>
                    <a:moveTo>
                      <a:pt x="771" y="490"/>
                    </a:moveTo>
                    <a:lnTo>
                      <a:pt x="773" y="490"/>
                    </a:lnTo>
                    <a:lnTo>
                      <a:pt x="771" y="490"/>
                    </a:lnTo>
                    <a:close/>
                    <a:moveTo>
                      <a:pt x="788" y="326"/>
                    </a:moveTo>
                    <a:lnTo>
                      <a:pt x="790" y="326"/>
                    </a:lnTo>
                    <a:lnTo>
                      <a:pt x="790" y="328"/>
                    </a:lnTo>
                    <a:lnTo>
                      <a:pt x="788" y="328"/>
                    </a:lnTo>
                    <a:lnTo>
                      <a:pt x="788" y="326"/>
                    </a:lnTo>
                    <a:close/>
                    <a:moveTo>
                      <a:pt x="639" y="645"/>
                    </a:moveTo>
                    <a:lnTo>
                      <a:pt x="639" y="647"/>
                    </a:lnTo>
                    <a:lnTo>
                      <a:pt x="639" y="645"/>
                    </a:lnTo>
                    <a:close/>
                    <a:moveTo>
                      <a:pt x="777" y="507"/>
                    </a:moveTo>
                    <a:lnTo>
                      <a:pt x="778" y="507"/>
                    </a:lnTo>
                    <a:lnTo>
                      <a:pt x="777" y="507"/>
                    </a:lnTo>
                    <a:close/>
                    <a:moveTo>
                      <a:pt x="637" y="637"/>
                    </a:moveTo>
                    <a:lnTo>
                      <a:pt x="639" y="637"/>
                    </a:lnTo>
                    <a:lnTo>
                      <a:pt x="639" y="639"/>
                    </a:lnTo>
                    <a:lnTo>
                      <a:pt x="637" y="639"/>
                    </a:lnTo>
                    <a:lnTo>
                      <a:pt x="637" y="637"/>
                    </a:lnTo>
                    <a:close/>
                    <a:moveTo>
                      <a:pt x="555" y="660"/>
                    </a:moveTo>
                    <a:lnTo>
                      <a:pt x="555" y="662"/>
                    </a:lnTo>
                    <a:lnTo>
                      <a:pt x="555" y="660"/>
                    </a:lnTo>
                    <a:close/>
                    <a:moveTo>
                      <a:pt x="758" y="551"/>
                    </a:moveTo>
                    <a:lnTo>
                      <a:pt x="759" y="551"/>
                    </a:lnTo>
                    <a:lnTo>
                      <a:pt x="759" y="553"/>
                    </a:lnTo>
                    <a:lnTo>
                      <a:pt x="758" y="553"/>
                    </a:lnTo>
                    <a:lnTo>
                      <a:pt x="758" y="551"/>
                    </a:lnTo>
                    <a:close/>
                    <a:moveTo>
                      <a:pt x="706" y="610"/>
                    </a:moveTo>
                    <a:lnTo>
                      <a:pt x="708" y="610"/>
                    </a:lnTo>
                    <a:lnTo>
                      <a:pt x="708" y="612"/>
                    </a:lnTo>
                    <a:lnTo>
                      <a:pt x="706" y="612"/>
                    </a:lnTo>
                    <a:lnTo>
                      <a:pt x="706" y="610"/>
                    </a:lnTo>
                    <a:close/>
                    <a:moveTo>
                      <a:pt x="771" y="513"/>
                    </a:moveTo>
                    <a:lnTo>
                      <a:pt x="773" y="513"/>
                    </a:lnTo>
                    <a:lnTo>
                      <a:pt x="773" y="515"/>
                    </a:lnTo>
                    <a:lnTo>
                      <a:pt x="771" y="515"/>
                    </a:lnTo>
                    <a:lnTo>
                      <a:pt x="771" y="513"/>
                    </a:lnTo>
                    <a:close/>
                    <a:moveTo>
                      <a:pt x="778" y="498"/>
                    </a:moveTo>
                    <a:lnTo>
                      <a:pt x="780" y="498"/>
                    </a:lnTo>
                    <a:lnTo>
                      <a:pt x="780" y="500"/>
                    </a:lnTo>
                    <a:lnTo>
                      <a:pt x="778" y="500"/>
                    </a:lnTo>
                    <a:lnTo>
                      <a:pt x="778" y="498"/>
                    </a:lnTo>
                    <a:close/>
                    <a:moveTo>
                      <a:pt x="780" y="332"/>
                    </a:moveTo>
                    <a:lnTo>
                      <a:pt x="782" y="332"/>
                    </a:lnTo>
                    <a:lnTo>
                      <a:pt x="784" y="334"/>
                    </a:lnTo>
                    <a:lnTo>
                      <a:pt x="782" y="334"/>
                    </a:lnTo>
                    <a:lnTo>
                      <a:pt x="780" y="332"/>
                    </a:lnTo>
                    <a:close/>
                    <a:moveTo>
                      <a:pt x="778" y="334"/>
                    </a:moveTo>
                    <a:lnTo>
                      <a:pt x="778" y="336"/>
                    </a:lnTo>
                    <a:lnTo>
                      <a:pt x="778" y="334"/>
                    </a:lnTo>
                    <a:close/>
                    <a:moveTo>
                      <a:pt x="735" y="572"/>
                    </a:moveTo>
                    <a:lnTo>
                      <a:pt x="737" y="572"/>
                    </a:lnTo>
                    <a:lnTo>
                      <a:pt x="737" y="574"/>
                    </a:lnTo>
                    <a:lnTo>
                      <a:pt x="735" y="574"/>
                    </a:lnTo>
                    <a:lnTo>
                      <a:pt x="735" y="572"/>
                    </a:lnTo>
                    <a:close/>
                    <a:moveTo>
                      <a:pt x="758" y="549"/>
                    </a:moveTo>
                    <a:lnTo>
                      <a:pt x="759" y="549"/>
                    </a:lnTo>
                    <a:lnTo>
                      <a:pt x="758" y="549"/>
                    </a:lnTo>
                    <a:close/>
                    <a:moveTo>
                      <a:pt x="719" y="338"/>
                    </a:moveTo>
                    <a:lnTo>
                      <a:pt x="721" y="338"/>
                    </a:lnTo>
                    <a:lnTo>
                      <a:pt x="719" y="338"/>
                    </a:lnTo>
                    <a:close/>
                    <a:moveTo>
                      <a:pt x="775" y="509"/>
                    </a:moveTo>
                    <a:lnTo>
                      <a:pt x="777" y="509"/>
                    </a:lnTo>
                    <a:lnTo>
                      <a:pt x="775" y="509"/>
                    </a:lnTo>
                    <a:close/>
                    <a:moveTo>
                      <a:pt x="752" y="359"/>
                    </a:moveTo>
                    <a:lnTo>
                      <a:pt x="754" y="359"/>
                    </a:lnTo>
                    <a:lnTo>
                      <a:pt x="754" y="361"/>
                    </a:lnTo>
                    <a:lnTo>
                      <a:pt x="752" y="361"/>
                    </a:lnTo>
                    <a:lnTo>
                      <a:pt x="752" y="359"/>
                    </a:lnTo>
                    <a:close/>
                    <a:moveTo>
                      <a:pt x="567" y="670"/>
                    </a:moveTo>
                    <a:lnTo>
                      <a:pt x="569" y="670"/>
                    </a:lnTo>
                    <a:lnTo>
                      <a:pt x="569" y="672"/>
                    </a:lnTo>
                    <a:lnTo>
                      <a:pt x="567" y="672"/>
                    </a:lnTo>
                    <a:lnTo>
                      <a:pt x="567" y="670"/>
                    </a:lnTo>
                    <a:close/>
                    <a:moveTo>
                      <a:pt x="746" y="475"/>
                    </a:moveTo>
                    <a:lnTo>
                      <a:pt x="748" y="475"/>
                    </a:lnTo>
                    <a:lnTo>
                      <a:pt x="746" y="475"/>
                    </a:lnTo>
                    <a:close/>
                    <a:moveTo>
                      <a:pt x="758" y="551"/>
                    </a:moveTo>
                    <a:lnTo>
                      <a:pt x="759" y="551"/>
                    </a:lnTo>
                    <a:lnTo>
                      <a:pt x="758" y="551"/>
                    </a:lnTo>
                    <a:close/>
                    <a:moveTo>
                      <a:pt x="639" y="647"/>
                    </a:moveTo>
                    <a:lnTo>
                      <a:pt x="639" y="649"/>
                    </a:lnTo>
                    <a:lnTo>
                      <a:pt x="639" y="647"/>
                    </a:lnTo>
                    <a:close/>
                    <a:moveTo>
                      <a:pt x="746" y="567"/>
                    </a:moveTo>
                    <a:lnTo>
                      <a:pt x="748" y="567"/>
                    </a:lnTo>
                    <a:lnTo>
                      <a:pt x="748" y="569"/>
                    </a:lnTo>
                    <a:lnTo>
                      <a:pt x="746" y="569"/>
                    </a:lnTo>
                    <a:lnTo>
                      <a:pt x="746" y="567"/>
                    </a:lnTo>
                    <a:close/>
                    <a:moveTo>
                      <a:pt x="637" y="651"/>
                    </a:moveTo>
                    <a:lnTo>
                      <a:pt x="639" y="651"/>
                    </a:lnTo>
                    <a:lnTo>
                      <a:pt x="639" y="652"/>
                    </a:lnTo>
                    <a:lnTo>
                      <a:pt x="637" y="652"/>
                    </a:lnTo>
                    <a:lnTo>
                      <a:pt x="637" y="651"/>
                    </a:lnTo>
                    <a:close/>
                    <a:moveTo>
                      <a:pt x="790" y="336"/>
                    </a:moveTo>
                    <a:lnTo>
                      <a:pt x="792" y="336"/>
                    </a:lnTo>
                    <a:lnTo>
                      <a:pt x="792" y="338"/>
                    </a:lnTo>
                    <a:lnTo>
                      <a:pt x="790" y="338"/>
                    </a:lnTo>
                    <a:lnTo>
                      <a:pt x="790" y="336"/>
                    </a:lnTo>
                    <a:close/>
                    <a:moveTo>
                      <a:pt x="782" y="334"/>
                    </a:moveTo>
                    <a:lnTo>
                      <a:pt x="784" y="334"/>
                    </a:lnTo>
                    <a:lnTo>
                      <a:pt x="782" y="334"/>
                    </a:lnTo>
                    <a:close/>
                    <a:moveTo>
                      <a:pt x="639" y="639"/>
                    </a:moveTo>
                    <a:lnTo>
                      <a:pt x="639" y="641"/>
                    </a:lnTo>
                    <a:lnTo>
                      <a:pt x="639" y="639"/>
                    </a:lnTo>
                    <a:close/>
                    <a:moveTo>
                      <a:pt x="777" y="517"/>
                    </a:moveTo>
                    <a:lnTo>
                      <a:pt x="778" y="517"/>
                    </a:lnTo>
                    <a:lnTo>
                      <a:pt x="777" y="517"/>
                    </a:lnTo>
                    <a:close/>
                    <a:moveTo>
                      <a:pt x="773" y="500"/>
                    </a:moveTo>
                    <a:lnTo>
                      <a:pt x="775" y="500"/>
                    </a:lnTo>
                    <a:lnTo>
                      <a:pt x="775" y="502"/>
                    </a:lnTo>
                    <a:lnTo>
                      <a:pt x="773" y="502"/>
                    </a:lnTo>
                    <a:lnTo>
                      <a:pt x="773" y="500"/>
                    </a:lnTo>
                    <a:close/>
                    <a:moveTo>
                      <a:pt x="769" y="528"/>
                    </a:moveTo>
                    <a:lnTo>
                      <a:pt x="771" y="528"/>
                    </a:lnTo>
                    <a:lnTo>
                      <a:pt x="771" y="530"/>
                    </a:lnTo>
                    <a:lnTo>
                      <a:pt x="769" y="530"/>
                    </a:lnTo>
                    <a:lnTo>
                      <a:pt x="769" y="528"/>
                    </a:lnTo>
                    <a:close/>
                    <a:moveTo>
                      <a:pt x="632" y="656"/>
                    </a:moveTo>
                    <a:lnTo>
                      <a:pt x="634" y="656"/>
                    </a:lnTo>
                    <a:lnTo>
                      <a:pt x="634" y="658"/>
                    </a:lnTo>
                    <a:lnTo>
                      <a:pt x="632" y="658"/>
                    </a:lnTo>
                    <a:lnTo>
                      <a:pt x="632" y="656"/>
                    </a:lnTo>
                    <a:close/>
                    <a:moveTo>
                      <a:pt x="723" y="357"/>
                    </a:moveTo>
                    <a:lnTo>
                      <a:pt x="725" y="357"/>
                    </a:lnTo>
                    <a:lnTo>
                      <a:pt x="725" y="359"/>
                    </a:lnTo>
                    <a:lnTo>
                      <a:pt x="723" y="359"/>
                    </a:lnTo>
                    <a:lnTo>
                      <a:pt x="723" y="357"/>
                    </a:lnTo>
                    <a:close/>
                    <a:moveTo>
                      <a:pt x="771" y="511"/>
                    </a:moveTo>
                    <a:lnTo>
                      <a:pt x="773" y="511"/>
                    </a:lnTo>
                    <a:lnTo>
                      <a:pt x="771" y="511"/>
                    </a:lnTo>
                    <a:close/>
                    <a:moveTo>
                      <a:pt x="777" y="515"/>
                    </a:moveTo>
                    <a:lnTo>
                      <a:pt x="778" y="515"/>
                    </a:lnTo>
                    <a:lnTo>
                      <a:pt x="777" y="515"/>
                    </a:lnTo>
                    <a:close/>
                    <a:moveTo>
                      <a:pt x="643" y="649"/>
                    </a:moveTo>
                    <a:lnTo>
                      <a:pt x="645" y="649"/>
                    </a:lnTo>
                    <a:lnTo>
                      <a:pt x="643" y="649"/>
                    </a:lnTo>
                    <a:close/>
                    <a:moveTo>
                      <a:pt x="586" y="687"/>
                    </a:moveTo>
                    <a:lnTo>
                      <a:pt x="588" y="687"/>
                    </a:lnTo>
                    <a:lnTo>
                      <a:pt x="586" y="687"/>
                    </a:lnTo>
                    <a:close/>
                    <a:moveTo>
                      <a:pt x="706" y="612"/>
                    </a:moveTo>
                    <a:lnTo>
                      <a:pt x="708" y="612"/>
                    </a:lnTo>
                    <a:lnTo>
                      <a:pt x="706" y="612"/>
                    </a:lnTo>
                    <a:close/>
                    <a:moveTo>
                      <a:pt x="777" y="507"/>
                    </a:moveTo>
                    <a:lnTo>
                      <a:pt x="778" y="507"/>
                    </a:lnTo>
                    <a:lnTo>
                      <a:pt x="777" y="507"/>
                    </a:lnTo>
                    <a:close/>
                    <a:moveTo>
                      <a:pt x="773" y="481"/>
                    </a:moveTo>
                    <a:lnTo>
                      <a:pt x="773" y="483"/>
                    </a:lnTo>
                    <a:lnTo>
                      <a:pt x="773" y="481"/>
                    </a:lnTo>
                    <a:close/>
                    <a:moveTo>
                      <a:pt x="647" y="651"/>
                    </a:moveTo>
                    <a:lnTo>
                      <a:pt x="649" y="651"/>
                    </a:lnTo>
                    <a:lnTo>
                      <a:pt x="647" y="651"/>
                    </a:lnTo>
                    <a:close/>
                    <a:moveTo>
                      <a:pt x="649" y="652"/>
                    </a:moveTo>
                    <a:lnTo>
                      <a:pt x="651" y="652"/>
                    </a:lnTo>
                    <a:lnTo>
                      <a:pt x="651" y="654"/>
                    </a:lnTo>
                    <a:lnTo>
                      <a:pt x="649" y="654"/>
                    </a:lnTo>
                    <a:lnTo>
                      <a:pt x="649" y="652"/>
                    </a:lnTo>
                    <a:close/>
                    <a:moveTo>
                      <a:pt x="714" y="610"/>
                    </a:moveTo>
                    <a:lnTo>
                      <a:pt x="716" y="610"/>
                    </a:lnTo>
                    <a:lnTo>
                      <a:pt x="714" y="610"/>
                    </a:lnTo>
                    <a:close/>
                    <a:moveTo>
                      <a:pt x="752" y="549"/>
                    </a:moveTo>
                    <a:lnTo>
                      <a:pt x="754" y="549"/>
                    </a:lnTo>
                    <a:lnTo>
                      <a:pt x="752" y="549"/>
                    </a:lnTo>
                    <a:close/>
                    <a:moveTo>
                      <a:pt x="778" y="511"/>
                    </a:moveTo>
                    <a:lnTo>
                      <a:pt x="778" y="513"/>
                    </a:lnTo>
                    <a:lnTo>
                      <a:pt x="778" y="511"/>
                    </a:lnTo>
                    <a:close/>
                    <a:moveTo>
                      <a:pt x="742" y="574"/>
                    </a:moveTo>
                    <a:lnTo>
                      <a:pt x="744" y="574"/>
                    </a:lnTo>
                    <a:lnTo>
                      <a:pt x="742" y="574"/>
                    </a:lnTo>
                    <a:close/>
                    <a:moveTo>
                      <a:pt x="721" y="336"/>
                    </a:moveTo>
                    <a:lnTo>
                      <a:pt x="723" y="336"/>
                    </a:lnTo>
                    <a:lnTo>
                      <a:pt x="721" y="336"/>
                    </a:lnTo>
                    <a:close/>
                    <a:moveTo>
                      <a:pt x="773" y="527"/>
                    </a:moveTo>
                    <a:lnTo>
                      <a:pt x="775" y="527"/>
                    </a:lnTo>
                    <a:lnTo>
                      <a:pt x="775" y="528"/>
                    </a:lnTo>
                    <a:lnTo>
                      <a:pt x="773" y="528"/>
                    </a:lnTo>
                    <a:lnTo>
                      <a:pt x="773" y="527"/>
                    </a:lnTo>
                    <a:close/>
                    <a:moveTo>
                      <a:pt x="735" y="591"/>
                    </a:moveTo>
                    <a:lnTo>
                      <a:pt x="737" y="591"/>
                    </a:lnTo>
                    <a:lnTo>
                      <a:pt x="735" y="591"/>
                    </a:lnTo>
                    <a:close/>
                    <a:moveTo>
                      <a:pt x="635" y="649"/>
                    </a:moveTo>
                    <a:lnTo>
                      <a:pt x="635" y="651"/>
                    </a:lnTo>
                    <a:lnTo>
                      <a:pt x="635" y="649"/>
                    </a:lnTo>
                    <a:close/>
                    <a:moveTo>
                      <a:pt x="637" y="639"/>
                    </a:moveTo>
                    <a:lnTo>
                      <a:pt x="639" y="639"/>
                    </a:lnTo>
                    <a:lnTo>
                      <a:pt x="639" y="641"/>
                    </a:lnTo>
                    <a:lnTo>
                      <a:pt x="637" y="641"/>
                    </a:lnTo>
                    <a:lnTo>
                      <a:pt x="637" y="639"/>
                    </a:lnTo>
                    <a:close/>
                    <a:moveTo>
                      <a:pt x="737" y="574"/>
                    </a:moveTo>
                    <a:lnTo>
                      <a:pt x="738" y="574"/>
                    </a:lnTo>
                    <a:lnTo>
                      <a:pt x="737" y="574"/>
                    </a:lnTo>
                    <a:close/>
                    <a:moveTo>
                      <a:pt x="750" y="359"/>
                    </a:moveTo>
                    <a:lnTo>
                      <a:pt x="752" y="359"/>
                    </a:lnTo>
                    <a:lnTo>
                      <a:pt x="752" y="361"/>
                    </a:lnTo>
                    <a:lnTo>
                      <a:pt x="750" y="361"/>
                    </a:lnTo>
                    <a:lnTo>
                      <a:pt x="750" y="359"/>
                    </a:lnTo>
                    <a:close/>
                    <a:moveTo>
                      <a:pt x="765" y="485"/>
                    </a:moveTo>
                    <a:lnTo>
                      <a:pt x="767" y="485"/>
                    </a:lnTo>
                    <a:lnTo>
                      <a:pt x="767" y="486"/>
                    </a:lnTo>
                    <a:lnTo>
                      <a:pt x="765" y="486"/>
                    </a:lnTo>
                    <a:lnTo>
                      <a:pt x="765" y="485"/>
                    </a:lnTo>
                    <a:close/>
                    <a:moveTo>
                      <a:pt x="744" y="403"/>
                    </a:moveTo>
                    <a:lnTo>
                      <a:pt x="744" y="404"/>
                    </a:lnTo>
                    <a:lnTo>
                      <a:pt x="744" y="403"/>
                    </a:lnTo>
                    <a:close/>
                    <a:moveTo>
                      <a:pt x="759" y="549"/>
                    </a:moveTo>
                    <a:lnTo>
                      <a:pt x="761" y="549"/>
                    </a:lnTo>
                    <a:lnTo>
                      <a:pt x="759" y="549"/>
                    </a:lnTo>
                    <a:close/>
                    <a:moveTo>
                      <a:pt x="740" y="576"/>
                    </a:moveTo>
                    <a:lnTo>
                      <a:pt x="742" y="576"/>
                    </a:lnTo>
                    <a:lnTo>
                      <a:pt x="740" y="576"/>
                    </a:lnTo>
                    <a:close/>
                    <a:moveTo>
                      <a:pt x="641" y="654"/>
                    </a:moveTo>
                    <a:lnTo>
                      <a:pt x="641" y="656"/>
                    </a:lnTo>
                    <a:lnTo>
                      <a:pt x="641" y="654"/>
                    </a:lnTo>
                    <a:close/>
                    <a:moveTo>
                      <a:pt x="775" y="513"/>
                    </a:moveTo>
                    <a:lnTo>
                      <a:pt x="777" y="513"/>
                    </a:lnTo>
                    <a:lnTo>
                      <a:pt x="775" y="513"/>
                    </a:lnTo>
                    <a:close/>
                    <a:moveTo>
                      <a:pt x="752" y="355"/>
                    </a:moveTo>
                    <a:lnTo>
                      <a:pt x="754" y="355"/>
                    </a:lnTo>
                    <a:lnTo>
                      <a:pt x="752" y="355"/>
                    </a:lnTo>
                    <a:close/>
                    <a:moveTo>
                      <a:pt x="759" y="542"/>
                    </a:moveTo>
                    <a:lnTo>
                      <a:pt x="759" y="544"/>
                    </a:lnTo>
                    <a:lnTo>
                      <a:pt x="759" y="542"/>
                    </a:lnTo>
                    <a:close/>
                    <a:moveTo>
                      <a:pt x="738" y="572"/>
                    </a:moveTo>
                    <a:lnTo>
                      <a:pt x="740" y="572"/>
                    </a:lnTo>
                    <a:lnTo>
                      <a:pt x="738" y="572"/>
                    </a:lnTo>
                    <a:close/>
                    <a:moveTo>
                      <a:pt x="777" y="517"/>
                    </a:moveTo>
                    <a:lnTo>
                      <a:pt x="777" y="519"/>
                    </a:lnTo>
                    <a:lnTo>
                      <a:pt x="777" y="517"/>
                    </a:lnTo>
                    <a:close/>
                    <a:moveTo>
                      <a:pt x="773" y="506"/>
                    </a:moveTo>
                    <a:lnTo>
                      <a:pt x="773" y="507"/>
                    </a:lnTo>
                    <a:lnTo>
                      <a:pt x="773" y="506"/>
                    </a:lnTo>
                    <a:close/>
                    <a:moveTo>
                      <a:pt x="784" y="500"/>
                    </a:moveTo>
                    <a:lnTo>
                      <a:pt x="786" y="500"/>
                    </a:lnTo>
                    <a:lnTo>
                      <a:pt x="784" y="500"/>
                    </a:lnTo>
                    <a:close/>
                    <a:moveTo>
                      <a:pt x="780" y="500"/>
                    </a:moveTo>
                    <a:lnTo>
                      <a:pt x="782" y="500"/>
                    </a:lnTo>
                    <a:lnTo>
                      <a:pt x="780" y="500"/>
                    </a:lnTo>
                    <a:close/>
                    <a:moveTo>
                      <a:pt x="643" y="651"/>
                    </a:moveTo>
                    <a:lnTo>
                      <a:pt x="643" y="652"/>
                    </a:lnTo>
                    <a:lnTo>
                      <a:pt x="643" y="651"/>
                    </a:lnTo>
                    <a:close/>
                    <a:moveTo>
                      <a:pt x="799" y="322"/>
                    </a:moveTo>
                    <a:lnTo>
                      <a:pt x="801" y="322"/>
                    </a:lnTo>
                    <a:lnTo>
                      <a:pt x="799" y="322"/>
                    </a:lnTo>
                    <a:close/>
                    <a:moveTo>
                      <a:pt x="706" y="612"/>
                    </a:moveTo>
                    <a:lnTo>
                      <a:pt x="708" y="612"/>
                    </a:lnTo>
                    <a:lnTo>
                      <a:pt x="706" y="612"/>
                    </a:lnTo>
                    <a:close/>
                    <a:moveTo>
                      <a:pt x="721" y="336"/>
                    </a:moveTo>
                    <a:lnTo>
                      <a:pt x="723" y="336"/>
                    </a:lnTo>
                    <a:lnTo>
                      <a:pt x="721" y="336"/>
                    </a:lnTo>
                    <a:close/>
                    <a:moveTo>
                      <a:pt x="628" y="660"/>
                    </a:moveTo>
                    <a:lnTo>
                      <a:pt x="628" y="662"/>
                    </a:lnTo>
                    <a:lnTo>
                      <a:pt x="628" y="660"/>
                    </a:lnTo>
                    <a:close/>
                    <a:moveTo>
                      <a:pt x="771" y="540"/>
                    </a:moveTo>
                    <a:lnTo>
                      <a:pt x="771" y="542"/>
                    </a:lnTo>
                    <a:lnTo>
                      <a:pt x="771" y="540"/>
                    </a:lnTo>
                    <a:close/>
                    <a:moveTo>
                      <a:pt x="748" y="313"/>
                    </a:moveTo>
                    <a:lnTo>
                      <a:pt x="750" y="313"/>
                    </a:lnTo>
                    <a:lnTo>
                      <a:pt x="748" y="313"/>
                    </a:lnTo>
                    <a:close/>
                    <a:moveTo>
                      <a:pt x="765" y="521"/>
                    </a:moveTo>
                    <a:lnTo>
                      <a:pt x="767" y="521"/>
                    </a:lnTo>
                    <a:lnTo>
                      <a:pt x="765" y="521"/>
                    </a:lnTo>
                    <a:close/>
                    <a:moveTo>
                      <a:pt x="641" y="647"/>
                    </a:moveTo>
                    <a:lnTo>
                      <a:pt x="643" y="647"/>
                    </a:lnTo>
                    <a:lnTo>
                      <a:pt x="641" y="647"/>
                    </a:lnTo>
                    <a:close/>
                    <a:moveTo>
                      <a:pt x="773" y="502"/>
                    </a:moveTo>
                    <a:lnTo>
                      <a:pt x="775" y="502"/>
                    </a:lnTo>
                    <a:lnTo>
                      <a:pt x="773" y="502"/>
                    </a:lnTo>
                    <a:close/>
                    <a:moveTo>
                      <a:pt x="655" y="647"/>
                    </a:moveTo>
                    <a:lnTo>
                      <a:pt x="656" y="647"/>
                    </a:lnTo>
                    <a:lnTo>
                      <a:pt x="655" y="647"/>
                    </a:lnTo>
                    <a:close/>
                    <a:moveTo>
                      <a:pt x="647" y="654"/>
                    </a:moveTo>
                    <a:lnTo>
                      <a:pt x="649" y="654"/>
                    </a:lnTo>
                    <a:lnTo>
                      <a:pt x="647" y="654"/>
                    </a:lnTo>
                    <a:close/>
                    <a:moveTo>
                      <a:pt x="773" y="527"/>
                    </a:moveTo>
                    <a:lnTo>
                      <a:pt x="773" y="528"/>
                    </a:lnTo>
                    <a:lnTo>
                      <a:pt x="773" y="527"/>
                    </a:lnTo>
                    <a:close/>
                    <a:moveTo>
                      <a:pt x="645" y="652"/>
                    </a:moveTo>
                    <a:lnTo>
                      <a:pt x="647" y="652"/>
                    </a:lnTo>
                    <a:lnTo>
                      <a:pt x="645" y="652"/>
                    </a:lnTo>
                    <a:close/>
                    <a:moveTo>
                      <a:pt x="590" y="710"/>
                    </a:moveTo>
                    <a:lnTo>
                      <a:pt x="590" y="712"/>
                    </a:lnTo>
                    <a:lnTo>
                      <a:pt x="590" y="710"/>
                    </a:lnTo>
                    <a:close/>
                    <a:moveTo>
                      <a:pt x="773" y="513"/>
                    </a:moveTo>
                    <a:lnTo>
                      <a:pt x="775" y="513"/>
                    </a:lnTo>
                    <a:lnTo>
                      <a:pt x="773" y="513"/>
                    </a:lnTo>
                    <a:close/>
                    <a:moveTo>
                      <a:pt x="641" y="654"/>
                    </a:moveTo>
                    <a:lnTo>
                      <a:pt x="641" y="656"/>
                    </a:lnTo>
                    <a:lnTo>
                      <a:pt x="641" y="654"/>
                    </a:lnTo>
                    <a:close/>
                    <a:moveTo>
                      <a:pt x="769" y="511"/>
                    </a:moveTo>
                    <a:lnTo>
                      <a:pt x="771" y="511"/>
                    </a:lnTo>
                    <a:lnTo>
                      <a:pt x="769" y="511"/>
                    </a:lnTo>
                    <a:close/>
                    <a:moveTo>
                      <a:pt x="777" y="513"/>
                    </a:moveTo>
                    <a:lnTo>
                      <a:pt x="778" y="513"/>
                    </a:lnTo>
                    <a:lnTo>
                      <a:pt x="777" y="513"/>
                    </a:lnTo>
                    <a:close/>
                    <a:moveTo>
                      <a:pt x="775" y="523"/>
                    </a:moveTo>
                    <a:lnTo>
                      <a:pt x="777" y="523"/>
                    </a:lnTo>
                    <a:lnTo>
                      <a:pt x="775" y="523"/>
                    </a:lnTo>
                    <a:close/>
                    <a:moveTo>
                      <a:pt x="782" y="496"/>
                    </a:moveTo>
                    <a:lnTo>
                      <a:pt x="784" y="496"/>
                    </a:lnTo>
                    <a:lnTo>
                      <a:pt x="784" y="498"/>
                    </a:lnTo>
                    <a:lnTo>
                      <a:pt x="782" y="498"/>
                    </a:lnTo>
                    <a:lnTo>
                      <a:pt x="782" y="496"/>
                    </a:lnTo>
                    <a:close/>
                    <a:moveTo>
                      <a:pt x="750" y="563"/>
                    </a:moveTo>
                    <a:lnTo>
                      <a:pt x="750" y="565"/>
                    </a:lnTo>
                    <a:lnTo>
                      <a:pt x="750" y="563"/>
                    </a:lnTo>
                    <a:close/>
                    <a:moveTo>
                      <a:pt x="649" y="651"/>
                    </a:moveTo>
                    <a:lnTo>
                      <a:pt x="651" y="651"/>
                    </a:lnTo>
                    <a:lnTo>
                      <a:pt x="651" y="652"/>
                    </a:lnTo>
                    <a:lnTo>
                      <a:pt x="649" y="652"/>
                    </a:lnTo>
                    <a:lnTo>
                      <a:pt x="649" y="651"/>
                    </a:lnTo>
                    <a:close/>
                    <a:moveTo>
                      <a:pt x="660" y="641"/>
                    </a:moveTo>
                    <a:lnTo>
                      <a:pt x="660" y="643"/>
                    </a:lnTo>
                    <a:lnTo>
                      <a:pt x="660" y="641"/>
                    </a:lnTo>
                    <a:close/>
                    <a:moveTo>
                      <a:pt x="780" y="504"/>
                    </a:moveTo>
                    <a:lnTo>
                      <a:pt x="780" y="506"/>
                    </a:lnTo>
                    <a:lnTo>
                      <a:pt x="780" y="504"/>
                    </a:lnTo>
                    <a:close/>
                    <a:moveTo>
                      <a:pt x="775" y="368"/>
                    </a:moveTo>
                    <a:lnTo>
                      <a:pt x="777" y="368"/>
                    </a:lnTo>
                    <a:lnTo>
                      <a:pt x="775" y="368"/>
                    </a:lnTo>
                    <a:close/>
                    <a:moveTo>
                      <a:pt x="588" y="670"/>
                    </a:moveTo>
                    <a:lnTo>
                      <a:pt x="590" y="670"/>
                    </a:lnTo>
                    <a:lnTo>
                      <a:pt x="588" y="670"/>
                    </a:lnTo>
                    <a:close/>
                    <a:moveTo>
                      <a:pt x="784" y="509"/>
                    </a:moveTo>
                    <a:lnTo>
                      <a:pt x="786" y="509"/>
                    </a:lnTo>
                    <a:lnTo>
                      <a:pt x="784" y="509"/>
                    </a:lnTo>
                    <a:close/>
                    <a:moveTo>
                      <a:pt x="775" y="507"/>
                    </a:moveTo>
                    <a:lnTo>
                      <a:pt x="777" y="507"/>
                    </a:lnTo>
                    <a:lnTo>
                      <a:pt x="777" y="509"/>
                    </a:lnTo>
                    <a:lnTo>
                      <a:pt x="775" y="509"/>
                    </a:lnTo>
                    <a:lnTo>
                      <a:pt x="775" y="507"/>
                    </a:lnTo>
                    <a:close/>
                    <a:moveTo>
                      <a:pt x="756" y="391"/>
                    </a:moveTo>
                    <a:lnTo>
                      <a:pt x="758" y="391"/>
                    </a:lnTo>
                    <a:lnTo>
                      <a:pt x="756" y="391"/>
                    </a:lnTo>
                    <a:close/>
                    <a:moveTo>
                      <a:pt x="733" y="595"/>
                    </a:moveTo>
                    <a:lnTo>
                      <a:pt x="733" y="597"/>
                    </a:lnTo>
                    <a:lnTo>
                      <a:pt x="733" y="595"/>
                    </a:lnTo>
                    <a:close/>
                    <a:moveTo>
                      <a:pt x="637" y="639"/>
                    </a:moveTo>
                    <a:lnTo>
                      <a:pt x="639" y="639"/>
                    </a:lnTo>
                    <a:lnTo>
                      <a:pt x="637" y="639"/>
                    </a:lnTo>
                    <a:close/>
                    <a:moveTo>
                      <a:pt x="620" y="654"/>
                    </a:moveTo>
                    <a:lnTo>
                      <a:pt x="622" y="654"/>
                    </a:lnTo>
                    <a:lnTo>
                      <a:pt x="622" y="656"/>
                    </a:lnTo>
                    <a:lnTo>
                      <a:pt x="620" y="656"/>
                    </a:lnTo>
                    <a:lnTo>
                      <a:pt x="620" y="654"/>
                    </a:lnTo>
                    <a:close/>
                    <a:moveTo>
                      <a:pt x="735" y="582"/>
                    </a:moveTo>
                    <a:lnTo>
                      <a:pt x="737" y="582"/>
                    </a:lnTo>
                    <a:lnTo>
                      <a:pt x="735" y="582"/>
                    </a:lnTo>
                    <a:close/>
                    <a:moveTo>
                      <a:pt x="729" y="366"/>
                    </a:moveTo>
                    <a:lnTo>
                      <a:pt x="731" y="366"/>
                    </a:lnTo>
                    <a:lnTo>
                      <a:pt x="729" y="366"/>
                    </a:lnTo>
                    <a:close/>
                    <a:moveTo>
                      <a:pt x="769" y="525"/>
                    </a:moveTo>
                    <a:lnTo>
                      <a:pt x="769" y="527"/>
                    </a:lnTo>
                    <a:lnTo>
                      <a:pt x="769" y="525"/>
                    </a:lnTo>
                    <a:close/>
                    <a:moveTo>
                      <a:pt x="706" y="610"/>
                    </a:moveTo>
                    <a:lnTo>
                      <a:pt x="706" y="612"/>
                    </a:lnTo>
                    <a:lnTo>
                      <a:pt x="706" y="610"/>
                    </a:lnTo>
                    <a:close/>
                    <a:moveTo>
                      <a:pt x="645" y="651"/>
                    </a:moveTo>
                    <a:lnTo>
                      <a:pt x="647" y="651"/>
                    </a:lnTo>
                    <a:lnTo>
                      <a:pt x="645" y="651"/>
                    </a:lnTo>
                    <a:close/>
                    <a:moveTo>
                      <a:pt x="597" y="662"/>
                    </a:moveTo>
                    <a:lnTo>
                      <a:pt x="599" y="662"/>
                    </a:lnTo>
                    <a:lnTo>
                      <a:pt x="599" y="664"/>
                    </a:lnTo>
                    <a:lnTo>
                      <a:pt x="597" y="664"/>
                    </a:lnTo>
                    <a:lnTo>
                      <a:pt x="597" y="662"/>
                    </a:lnTo>
                    <a:close/>
                    <a:moveTo>
                      <a:pt x="780" y="507"/>
                    </a:moveTo>
                    <a:lnTo>
                      <a:pt x="780" y="509"/>
                    </a:lnTo>
                    <a:lnTo>
                      <a:pt x="780" y="507"/>
                    </a:lnTo>
                    <a:close/>
                    <a:moveTo>
                      <a:pt x="777" y="507"/>
                    </a:moveTo>
                    <a:lnTo>
                      <a:pt x="777" y="509"/>
                    </a:lnTo>
                    <a:lnTo>
                      <a:pt x="777" y="507"/>
                    </a:lnTo>
                    <a:close/>
                    <a:moveTo>
                      <a:pt x="784" y="334"/>
                    </a:moveTo>
                    <a:lnTo>
                      <a:pt x="786" y="334"/>
                    </a:lnTo>
                    <a:lnTo>
                      <a:pt x="784" y="334"/>
                    </a:lnTo>
                    <a:close/>
                    <a:moveTo>
                      <a:pt x="759" y="542"/>
                    </a:moveTo>
                    <a:lnTo>
                      <a:pt x="759" y="544"/>
                    </a:lnTo>
                    <a:lnTo>
                      <a:pt x="759" y="542"/>
                    </a:lnTo>
                    <a:close/>
                    <a:moveTo>
                      <a:pt x="761" y="548"/>
                    </a:moveTo>
                    <a:lnTo>
                      <a:pt x="763" y="548"/>
                    </a:lnTo>
                    <a:lnTo>
                      <a:pt x="761" y="548"/>
                    </a:lnTo>
                    <a:close/>
                    <a:moveTo>
                      <a:pt x="788" y="326"/>
                    </a:moveTo>
                    <a:lnTo>
                      <a:pt x="790" y="326"/>
                    </a:lnTo>
                    <a:lnTo>
                      <a:pt x="788" y="326"/>
                    </a:lnTo>
                    <a:close/>
                    <a:moveTo>
                      <a:pt x="735" y="595"/>
                    </a:moveTo>
                    <a:lnTo>
                      <a:pt x="737" y="595"/>
                    </a:lnTo>
                    <a:lnTo>
                      <a:pt x="735" y="595"/>
                    </a:lnTo>
                    <a:close/>
                    <a:moveTo>
                      <a:pt x="778" y="334"/>
                    </a:moveTo>
                    <a:lnTo>
                      <a:pt x="780" y="334"/>
                    </a:lnTo>
                    <a:lnTo>
                      <a:pt x="778" y="334"/>
                    </a:lnTo>
                    <a:close/>
                    <a:moveTo>
                      <a:pt x="784" y="498"/>
                    </a:moveTo>
                    <a:lnTo>
                      <a:pt x="786" y="498"/>
                    </a:lnTo>
                    <a:lnTo>
                      <a:pt x="784" y="498"/>
                    </a:lnTo>
                    <a:close/>
                    <a:moveTo>
                      <a:pt x="742" y="570"/>
                    </a:moveTo>
                    <a:lnTo>
                      <a:pt x="744" y="570"/>
                    </a:lnTo>
                    <a:lnTo>
                      <a:pt x="742" y="570"/>
                    </a:lnTo>
                    <a:close/>
                    <a:moveTo>
                      <a:pt x="639" y="637"/>
                    </a:moveTo>
                    <a:lnTo>
                      <a:pt x="639" y="639"/>
                    </a:lnTo>
                    <a:lnTo>
                      <a:pt x="639" y="637"/>
                    </a:lnTo>
                    <a:close/>
                    <a:moveTo>
                      <a:pt x="771" y="530"/>
                    </a:moveTo>
                    <a:lnTo>
                      <a:pt x="773" y="530"/>
                    </a:lnTo>
                    <a:lnTo>
                      <a:pt x="771" y="530"/>
                    </a:lnTo>
                    <a:close/>
                    <a:moveTo>
                      <a:pt x="763" y="334"/>
                    </a:moveTo>
                    <a:lnTo>
                      <a:pt x="765" y="334"/>
                    </a:lnTo>
                    <a:lnTo>
                      <a:pt x="763" y="334"/>
                    </a:lnTo>
                    <a:close/>
                    <a:moveTo>
                      <a:pt x="778" y="498"/>
                    </a:moveTo>
                    <a:lnTo>
                      <a:pt x="778" y="500"/>
                    </a:lnTo>
                    <a:lnTo>
                      <a:pt x="778" y="498"/>
                    </a:lnTo>
                    <a:close/>
                    <a:moveTo>
                      <a:pt x="740" y="574"/>
                    </a:moveTo>
                    <a:lnTo>
                      <a:pt x="740" y="576"/>
                    </a:lnTo>
                    <a:lnTo>
                      <a:pt x="740" y="574"/>
                    </a:lnTo>
                    <a:close/>
                    <a:moveTo>
                      <a:pt x="754" y="549"/>
                    </a:moveTo>
                    <a:lnTo>
                      <a:pt x="756" y="549"/>
                    </a:lnTo>
                    <a:lnTo>
                      <a:pt x="754" y="549"/>
                    </a:lnTo>
                    <a:close/>
                    <a:moveTo>
                      <a:pt x="735" y="590"/>
                    </a:moveTo>
                    <a:lnTo>
                      <a:pt x="735" y="591"/>
                    </a:lnTo>
                    <a:lnTo>
                      <a:pt x="735" y="590"/>
                    </a:lnTo>
                    <a:close/>
                    <a:moveTo>
                      <a:pt x="750" y="548"/>
                    </a:moveTo>
                    <a:lnTo>
                      <a:pt x="752" y="548"/>
                    </a:lnTo>
                    <a:lnTo>
                      <a:pt x="750" y="548"/>
                    </a:lnTo>
                    <a:close/>
                    <a:moveTo>
                      <a:pt x="775" y="509"/>
                    </a:moveTo>
                    <a:lnTo>
                      <a:pt x="775" y="511"/>
                    </a:lnTo>
                    <a:lnTo>
                      <a:pt x="775" y="50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6" name="Freeform 111">
                <a:extLst>
                  <a:ext uri="{FF2B5EF4-FFF2-40B4-BE49-F238E27FC236}">
                    <a16:creationId xmlns:a16="http://schemas.microsoft.com/office/drawing/2014/main" id="{4E0A4645-E5A5-2404-AC96-137AAE2CFAF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618009" y="-2912128"/>
                <a:ext cx="381292" cy="391477"/>
              </a:xfrm>
              <a:custGeom>
                <a:avLst/>
                <a:gdLst>
                  <a:gd name="T0" fmla="*/ 225 w 242"/>
                  <a:gd name="T1" fmla="*/ 19 h 248"/>
                  <a:gd name="T2" fmla="*/ 225 w 242"/>
                  <a:gd name="T3" fmla="*/ 30 h 248"/>
                  <a:gd name="T4" fmla="*/ 225 w 242"/>
                  <a:gd name="T5" fmla="*/ 44 h 248"/>
                  <a:gd name="T6" fmla="*/ 210 w 242"/>
                  <a:gd name="T7" fmla="*/ 46 h 248"/>
                  <a:gd name="T8" fmla="*/ 200 w 242"/>
                  <a:gd name="T9" fmla="*/ 59 h 248"/>
                  <a:gd name="T10" fmla="*/ 210 w 242"/>
                  <a:gd name="T11" fmla="*/ 74 h 248"/>
                  <a:gd name="T12" fmla="*/ 220 w 242"/>
                  <a:gd name="T13" fmla="*/ 84 h 248"/>
                  <a:gd name="T14" fmla="*/ 227 w 242"/>
                  <a:gd name="T15" fmla="*/ 89 h 248"/>
                  <a:gd name="T16" fmla="*/ 218 w 242"/>
                  <a:gd name="T17" fmla="*/ 103 h 248"/>
                  <a:gd name="T18" fmla="*/ 214 w 242"/>
                  <a:gd name="T19" fmla="*/ 120 h 248"/>
                  <a:gd name="T20" fmla="*/ 195 w 242"/>
                  <a:gd name="T21" fmla="*/ 149 h 248"/>
                  <a:gd name="T22" fmla="*/ 164 w 242"/>
                  <a:gd name="T23" fmla="*/ 173 h 248"/>
                  <a:gd name="T24" fmla="*/ 143 w 242"/>
                  <a:gd name="T25" fmla="*/ 181 h 248"/>
                  <a:gd name="T26" fmla="*/ 147 w 242"/>
                  <a:gd name="T27" fmla="*/ 206 h 248"/>
                  <a:gd name="T28" fmla="*/ 160 w 242"/>
                  <a:gd name="T29" fmla="*/ 225 h 248"/>
                  <a:gd name="T30" fmla="*/ 155 w 242"/>
                  <a:gd name="T31" fmla="*/ 238 h 248"/>
                  <a:gd name="T32" fmla="*/ 128 w 242"/>
                  <a:gd name="T33" fmla="*/ 236 h 248"/>
                  <a:gd name="T34" fmla="*/ 117 w 242"/>
                  <a:gd name="T35" fmla="*/ 240 h 248"/>
                  <a:gd name="T36" fmla="*/ 109 w 242"/>
                  <a:gd name="T37" fmla="*/ 242 h 248"/>
                  <a:gd name="T38" fmla="*/ 105 w 242"/>
                  <a:gd name="T39" fmla="*/ 242 h 248"/>
                  <a:gd name="T40" fmla="*/ 105 w 242"/>
                  <a:gd name="T41" fmla="*/ 238 h 248"/>
                  <a:gd name="T42" fmla="*/ 103 w 242"/>
                  <a:gd name="T43" fmla="*/ 232 h 248"/>
                  <a:gd name="T44" fmla="*/ 103 w 242"/>
                  <a:gd name="T45" fmla="*/ 227 h 248"/>
                  <a:gd name="T46" fmla="*/ 98 w 242"/>
                  <a:gd name="T47" fmla="*/ 227 h 248"/>
                  <a:gd name="T48" fmla="*/ 92 w 242"/>
                  <a:gd name="T49" fmla="*/ 217 h 248"/>
                  <a:gd name="T50" fmla="*/ 86 w 242"/>
                  <a:gd name="T51" fmla="*/ 215 h 248"/>
                  <a:gd name="T52" fmla="*/ 57 w 242"/>
                  <a:gd name="T53" fmla="*/ 219 h 248"/>
                  <a:gd name="T54" fmla="*/ 52 w 242"/>
                  <a:gd name="T55" fmla="*/ 217 h 248"/>
                  <a:gd name="T56" fmla="*/ 27 w 242"/>
                  <a:gd name="T57" fmla="*/ 221 h 248"/>
                  <a:gd name="T58" fmla="*/ 14 w 242"/>
                  <a:gd name="T59" fmla="*/ 223 h 248"/>
                  <a:gd name="T60" fmla="*/ 17 w 242"/>
                  <a:gd name="T61" fmla="*/ 202 h 248"/>
                  <a:gd name="T62" fmla="*/ 29 w 242"/>
                  <a:gd name="T63" fmla="*/ 196 h 248"/>
                  <a:gd name="T64" fmla="*/ 38 w 242"/>
                  <a:gd name="T65" fmla="*/ 187 h 248"/>
                  <a:gd name="T66" fmla="*/ 27 w 242"/>
                  <a:gd name="T67" fmla="*/ 166 h 248"/>
                  <a:gd name="T68" fmla="*/ 8 w 242"/>
                  <a:gd name="T69" fmla="*/ 147 h 248"/>
                  <a:gd name="T70" fmla="*/ 54 w 242"/>
                  <a:gd name="T71" fmla="*/ 143 h 248"/>
                  <a:gd name="T72" fmla="*/ 92 w 242"/>
                  <a:gd name="T73" fmla="*/ 116 h 248"/>
                  <a:gd name="T74" fmla="*/ 109 w 242"/>
                  <a:gd name="T75" fmla="*/ 110 h 248"/>
                  <a:gd name="T76" fmla="*/ 120 w 242"/>
                  <a:gd name="T77" fmla="*/ 103 h 248"/>
                  <a:gd name="T78" fmla="*/ 134 w 242"/>
                  <a:gd name="T79" fmla="*/ 101 h 248"/>
                  <a:gd name="T80" fmla="*/ 138 w 242"/>
                  <a:gd name="T81" fmla="*/ 82 h 248"/>
                  <a:gd name="T82" fmla="*/ 149 w 242"/>
                  <a:gd name="T83" fmla="*/ 66 h 248"/>
                  <a:gd name="T84" fmla="*/ 155 w 242"/>
                  <a:gd name="T85" fmla="*/ 61 h 248"/>
                  <a:gd name="T86" fmla="*/ 164 w 242"/>
                  <a:gd name="T87" fmla="*/ 47 h 248"/>
                  <a:gd name="T88" fmla="*/ 172 w 242"/>
                  <a:gd name="T89" fmla="*/ 32 h 248"/>
                  <a:gd name="T90" fmla="*/ 168 w 242"/>
                  <a:gd name="T91" fmla="*/ 17 h 248"/>
                  <a:gd name="T92" fmla="*/ 179 w 242"/>
                  <a:gd name="T93" fmla="*/ 7 h 248"/>
                  <a:gd name="T94" fmla="*/ 202 w 242"/>
                  <a:gd name="T95" fmla="*/ 4 h 248"/>
                  <a:gd name="T96" fmla="*/ 218 w 242"/>
                  <a:gd name="T97" fmla="*/ 2 h 248"/>
                  <a:gd name="T98" fmla="*/ 231 w 242"/>
                  <a:gd name="T99" fmla="*/ 4 h 248"/>
                  <a:gd name="T100" fmla="*/ 111 w 242"/>
                  <a:gd name="T101" fmla="*/ 240 h 248"/>
                  <a:gd name="T102" fmla="*/ 115 w 242"/>
                  <a:gd name="T103" fmla="*/ 244 h 248"/>
                  <a:gd name="T104" fmla="*/ 103 w 242"/>
                  <a:gd name="T105" fmla="*/ 229 h 248"/>
                  <a:gd name="T106" fmla="*/ 113 w 242"/>
                  <a:gd name="T107" fmla="*/ 240 h 248"/>
                  <a:gd name="T108" fmla="*/ 105 w 242"/>
                  <a:gd name="T109" fmla="*/ 240 h 248"/>
                  <a:gd name="T110" fmla="*/ 103 w 242"/>
                  <a:gd name="T111" fmla="*/ 236 h 248"/>
                  <a:gd name="T112" fmla="*/ 103 w 242"/>
                  <a:gd name="T113" fmla="*/ 229 h 248"/>
                  <a:gd name="T114" fmla="*/ 107 w 242"/>
                  <a:gd name="T115" fmla="*/ 242 h 248"/>
                  <a:gd name="T116" fmla="*/ 115 w 242"/>
                  <a:gd name="T117" fmla="*/ 242 h 248"/>
                  <a:gd name="T118" fmla="*/ 103 w 242"/>
                  <a:gd name="T119" fmla="*/ 234 h 248"/>
                  <a:gd name="T120" fmla="*/ 105 w 242"/>
                  <a:gd name="T121" fmla="*/ 234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2" h="248">
                    <a:moveTo>
                      <a:pt x="241" y="19"/>
                    </a:moveTo>
                    <a:lnTo>
                      <a:pt x="239" y="21"/>
                    </a:lnTo>
                    <a:lnTo>
                      <a:pt x="237" y="21"/>
                    </a:lnTo>
                    <a:lnTo>
                      <a:pt x="237" y="19"/>
                    </a:lnTo>
                    <a:lnTo>
                      <a:pt x="235" y="19"/>
                    </a:lnTo>
                    <a:lnTo>
                      <a:pt x="233" y="17"/>
                    </a:lnTo>
                    <a:lnTo>
                      <a:pt x="231" y="17"/>
                    </a:lnTo>
                    <a:lnTo>
                      <a:pt x="231" y="15"/>
                    </a:lnTo>
                    <a:lnTo>
                      <a:pt x="229" y="15"/>
                    </a:lnTo>
                    <a:lnTo>
                      <a:pt x="229" y="17"/>
                    </a:lnTo>
                    <a:lnTo>
                      <a:pt x="227" y="17"/>
                    </a:lnTo>
                    <a:lnTo>
                      <a:pt x="227" y="19"/>
                    </a:lnTo>
                    <a:lnTo>
                      <a:pt x="225" y="19"/>
                    </a:lnTo>
                    <a:lnTo>
                      <a:pt x="223" y="19"/>
                    </a:lnTo>
                    <a:lnTo>
                      <a:pt x="223" y="21"/>
                    </a:lnTo>
                    <a:lnTo>
                      <a:pt x="223" y="23"/>
                    </a:lnTo>
                    <a:lnTo>
                      <a:pt x="223" y="25"/>
                    </a:lnTo>
                    <a:lnTo>
                      <a:pt x="223" y="23"/>
                    </a:lnTo>
                    <a:lnTo>
                      <a:pt x="221" y="25"/>
                    </a:lnTo>
                    <a:lnTo>
                      <a:pt x="221" y="26"/>
                    </a:lnTo>
                    <a:lnTo>
                      <a:pt x="223" y="26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3" y="28"/>
                    </a:lnTo>
                    <a:lnTo>
                      <a:pt x="223" y="30"/>
                    </a:lnTo>
                    <a:lnTo>
                      <a:pt x="225" y="30"/>
                    </a:lnTo>
                    <a:lnTo>
                      <a:pt x="225" y="32"/>
                    </a:lnTo>
                    <a:lnTo>
                      <a:pt x="227" y="32"/>
                    </a:lnTo>
                    <a:lnTo>
                      <a:pt x="227" y="34"/>
                    </a:lnTo>
                    <a:lnTo>
                      <a:pt x="227" y="36"/>
                    </a:lnTo>
                    <a:lnTo>
                      <a:pt x="229" y="36"/>
                    </a:lnTo>
                    <a:lnTo>
                      <a:pt x="229" y="38"/>
                    </a:lnTo>
                    <a:lnTo>
                      <a:pt x="227" y="38"/>
                    </a:lnTo>
                    <a:lnTo>
                      <a:pt x="229" y="38"/>
                    </a:lnTo>
                    <a:lnTo>
                      <a:pt x="229" y="40"/>
                    </a:lnTo>
                    <a:lnTo>
                      <a:pt x="227" y="40"/>
                    </a:lnTo>
                    <a:lnTo>
                      <a:pt x="227" y="42"/>
                    </a:lnTo>
                    <a:lnTo>
                      <a:pt x="225" y="42"/>
                    </a:lnTo>
                    <a:lnTo>
                      <a:pt x="225" y="44"/>
                    </a:lnTo>
                    <a:lnTo>
                      <a:pt x="223" y="44"/>
                    </a:lnTo>
                    <a:lnTo>
                      <a:pt x="221" y="44"/>
                    </a:lnTo>
                    <a:lnTo>
                      <a:pt x="220" y="42"/>
                    </a:lnTo>
                    <a:lnTo>
                      <a:pt x="218" y="44"/>
                    </a:lnTo>
                    <a:lnTo>
                      <a:pt x="216" y="44"/>
                    </a:lnTo>
                    <a:lnTo>
                      <a:pt x="214" y="44"/>
                    </a:lnTo>
                    <a:lnTo>
                      <a:pt x="214" y="46"/>
                    </a:lnTo>
                    <a:lnTo>
                      <a:pt x="214" y="47"/>
                    </a:lnTo>
                    <a:lnTo>
                      <a:pt x="212" y="47"/>
                    </a:lnTo>
                    <a:lnTo>
                      <a:pt x="212" y="46"/>
                    </a:lnTo>
                    <a:lnTo>
                      <a:pt x="212" y="47"/>
                    </a:lnTo>
                    <a:lnTo>
                      <a:pt x="210" y="47"/>
                    </a:lnTo>
                    <a:lnTo>
                      <a:pt x="210" y="46"/>
                    </a:lnTo>
                    <a:lnTo>
                      <a:pt x="208" y="46"/>
                    </a:lnTo>
                    <a:lnTo>
                      <a:pt x="208" y="47"/>
                    </a:lnTo>
                    <a:lnTo>
                      <a:pt x="208" y="49"/>
                    </a:lnTo>
                    <a:lnTo>
                      <a:pt x="204" y="51"/>
                    </a:lnTo>
                    <a:lnTo>
                      <a:pt x="206" y="53"/>
                    </a:lnTo>
                    <a:lnTo>
                      <a:pt x="206" y="55"/>
                    </a:lnTo>
                    <a:lnTo>
                      <a:pt x="208" y="55"/>
                    </a:lnTo>
                    <a:lnTo>
                      <a:pt x="204" y="57"/>
                    </a:lnTo>
                    <a:lnTo>
                      <a:pt x="204" y="59"/>
                    </a:lnTo>
                    <a:lnTo>
                      <a:pt x="202" y="59"/>
                    </a:lnTo>
                    <a:lnTo>
                      <a:pt x="202" y="57"/>
                    </a:lnTo>
                    <a:lnTo>
                      <a:pt x="200" y="57"/>
                    </a:lnTo>
                    <a:lnTo>
                      <a:pt x="200" y="59"/>
                    </a:lnTo>
                    <a:lnTo>
                      <a:pt x="202" y="63"/>
                    </a:lnTo>
                    <a:lnTo>
                      <a:pt x="202" y="65"/>
                    </a:lnTo>
                    <a:lnTo>
                      <a:pt x="204" y="66"/>
                    </a:lnTo>
                    <a:lnTo>
                      <a:pt x="206" y="68"/>
                    </a:lnTo>
                    <a:lnTo>
                      <a:pt x="206" y="66"/>
                    </a:lnTo>
                    <a:lnTo>
                      <a:pt x="208" y="66"/>
                    </a:lnTo>
                    <a:lnTo>
                      <a:pt x="210" y="66"/>
                    </a:lnTo>
                    <a:lnTo>
                      <a:pt x="210" y="68"/>
                    </a:lnTo>
                    <a:lnTo>
                      <a:pt x="210" y="70"/>
                    </a:lnTo>
                    <a:lnTo>
                      <a:pt x="212" y="70"/>
                    </a:lnTo>
                    <a:lnTo>
                      <a:pt x="212" y="72"/>
                    </a:lnTo>
                    <a:lnTo>
                      <a:pt x="208" y="74"/>
                    </a:lnTo>
                    <a:lnTo>
                      <a:pt x="210" y="74"/>
                    </a:lnTo>
                    <a:lnTo>
                      <a:pt x="212" y="74"/>
                    </a:lnTo>
                    <a:lnTo>
                      <a:pt x="212" y="76"/>
                    </a:lnTo>
                    <a:lnTo>
                      <a:pt x="214" y="76"/>
                    </a:lnTo>
                    <a:lnTo>
                      <a:pt x="216" y="76"/>
                    </a:lnTo>
                    <a:lnTo>
                      <a:pt x="216" y="78"/>
                    </a:lnTo>
                    <a:lnTo>
                      <a:pt x="216" y="76"/>
                    </a:lnTo>
                    <a:lnTo>
                      <a:pt x="218" y="78"/>
                    </a:lnTo>
                    <a:lnTo>
                      <a:pt x="216" y="78"/>
                    </a:lnTo>
                    <a:lnTo>
                      <a:pt x="214" y="78"/>
                    </a:lnTo>
                    <a:lnTo>
                      <a:pt x="216" y="80"/>
                    </a:lnTo>
                    <a:lnTo>
                      <a:pt x="218" y="82"/>
                    </a:lnTo>
                    <a:lnTo>
                      <a:pt x="218" y="84"/>
                    </a:lnTo>
                    <a:lnTo>
                      <a:pt x="220" y="84"/>
                    </a:lnTo>
                    <a:lnTo>
                      <a:pt x="220" y="82"/>
                    </a:lnTo>
                    <a:lnTo>
                      <a:pt x="221" y="82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7"/>
                    </a:lnTo>
                    <a:lnTo>
                      <a:pt x="221" y="87"/>
                    </a:lnTo>
                    <a:lnTo>
                      <a:pt x="221" y="89"/>
                    </a:lnTo>
                    <a:lnTo>
                      <a:pt x="221" y="87"/>
                    </a:lnTo>
                    <a:lnTo>
                      <a:pt x="223" y="87"/>
                    </a:lnTo>
                    <a:lnTo>
                      <a:pt x="223" y="89"/>
                    </a:lnTo>
                    <a:lnTo>
                      <a:pt x="225" y="89"/>
                    </a:lnTo>
                    <a:lnTo>
                      <a:pt x="225" y="87"/>
                    </a:lnTo>
                    <a:lnTo>
                      <a:pt x="227" y="89"/>
                    </a:lnTo>
                    <a:lnTo>
                      <a:pt x="229" y="89"/>
                    </a:lnTo>
                    <a:lnTo>
                      <a:pt x="229" y="91"/>
                    </a:lnTo>
                    <a:lnTo>
                      <a:pt x="231" y="91"/>
                    </a:lnTo>
                    <a:lnTo>
                      <a:pt x="231" y="93"/>
                    </a:lnTo>
                    <a:lnTo>
                      <a:pt x="231" y="95"/>
                    </a:lnTo>
                    <a:lnTo>
                      <a:pt x="229" y="95"/>
                    </a:lnTo>
                    <a:lnTo>
                      <a:pt x="227" y="97"/>
                    </a:lnTo>
                    <a:lnTo>
                      <a:pt x="225" y="97"/>
                    </a:lnTo>
                    <a:lnTo>
                      <a:pt x="223" y="97"/>
                    </a:lnTo>
                    <a:lnTo>
                      <a:pt x="221" y="99"/>
                    </a:lnTo>
                    <a:lnTo>
                      <a:pt x="220" y="99"/>
                    </a:lnTo>
                    <a:lnTo>
                      <a:pt x="218" y="101"/>
                    </a:lnTo>
                    <a:lnTo>
                      <a:pt x="218" y="103"/>
                    </a:lnTo>
                    <a:lnTo>
                      <a:pt x="218" y="105"/>
                    </a:lnTo>
                    <a:lnTo>
                      <a:pt x="220" y="105"/>
                    </a:lnTo>
                    <a:lnTo>
                      <a:pt x="220" y="107"/>
                    </a:lnTo>
                    <a:lnTo>
                      <a:pt x="220" y="108"/>
                    </a:lnTo>
                    <a:lnTo>
                      <a:pt x="218" y="108"/>
                    </a:lnTo>
                    <a:lnTo>
                      <a:pt x="218" y="110"/>
                    </a:lnTo>
                    <a:lnTo>
                      <a:pt x="218" y="112"/>
                    </a:lnTo>
                    <a:lnTo>
                      <a:pt x="218" y="114"/>
                    </a:lnTo>
                    <a:lnTo>
                      <a:pt x="220" y="114"/>
                    </a:lnTo>
                    <a:lnTo>
                      <a:pt x="220" y="116"/>
                    </a:lnTo>
                    <a:lnTo>
                      <a:pt x="218" y="116"/>
                    </a:lnTo>
                    <a:lnTo>
                      <a:pt x="216" y="118"/>
                    </a:lnTo>
                    <a:lnTo>
                      <a:pt x="214" y="120"/>
                    </a:lnTo>
                    <a:lnTo>
                      <a:pt x="214" y="122"/>
                    </a:lnTo>
                    <a:lnTo>
                      <a:pt x="212" y="122"/>
                    </a:lnTo>
                    <a:lnTo>
                      <a:pt x="210" y="124"/>
                    </a:lnTo>
                    <a:lnTo>
                      <a:pt x="210" y="126"/>
                    </a:lnTo>
                    <a:lnTo>
                      <a:pt x="208" y="126"/>
                    </a:lnTo>
                    <a:lnTo>
                      <a:pt x="208" y="128"/>
                    </a:lnTo>
                    <a:lnTo>
                      <a:pt x="208" y="129"/>
                    </a:lnTo>
                    <a:lnTo>
                      <a:pt x="208" y="131"/>
                    </a:lnTo>
                    <a:lnTo>
                      <a:pt x="206" y="133"/>
                    </a:lnTo>
                    <a:lnTo>
                      <a:pt x="202" y="135"/>
                    </a:lnTo>
                    <a:lnTo>
                      <a:pt x="200" y="135"/>
                    </a:lnTo>
                    <a:lnTo>
                      <a:pt x="199" y="143"/>
                    </a:lnTo>
                    <a:lnTo>
                      <a:pt x="195" y="149"/>
                    </a:lnTo>
                    <a:lnTo>
                      <a:pt x="193" y="150"/>
                    </a:lnTo>
                    <a:lnTo>
                      <a:pt x="193" y="152"/>
                    </a:lnTo>
                    <a:lnTo>
                      <a:pt x="189" y="154"/>
                    </a:lnTo>
                    <a:lnTo>
                      <a:pt x="183" y="158"/>
                    </a:lnTo>
                    <a:lnTo>
                      <a:pt x="181" y="158"/>
                    </a:lnTo>
                    <a:lnTo>
                      <a:pt x="181" y="164"/>
                    </a:lnTo>
                    <a:lnTo>
                      <a:pt x="179" y="166"/>
                    </a:lnTo>
                    <a:lnTo>
                      <a:pt x="178" y="168"/>
                    </a:lnTo>
                    <a:lnTo>
                      <a:pt x="176" y="170"/>
                    </a:lnTo>
                    <a:lnTo>
                      <a:pt x="176" y="171"/>
                    </a:lnTo>
                    <a:lnTo>
                      <a:pt x="172" y="173"/>
                    </a:lnTo>
                    <a:lnTo>
                      <a:pt x="168" y="173"/>
                    </a:lnTo>
                    <a:lnTo>
                      <a:pt x="164" y="173"/>
                    </a:lnTo>
                    <a:lnTo>
                      <a:pt x="160" y="175"/>
                    </a:lnTo>
                    <a:lnTo>
                      <a:pt x="160" y="177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7" y="173"/>
                    </a:lnTo>
                    <a:lnTo>
                      <a:pt x="155" y="171"/>
                    </a:lnTo>
                    <a:lnTo>
                      <a:pt x="155" y="170"/>
                    </a:lnTo>
                    <a:lnTo>
                      <a:pt x="151" y="171"/>
                    </a:lnTo>
                    <a:lnTo>
                      <a:pt x="149" y="173"/>
                    </a:lnTo>
                    <a:lnTo>
                      <a:pt x="147" y="175"/>
                    </a:lnTo>
                    <a:lnTo>
                      <a:pt x="147" y="179"/>
                    </a:lnTo>
                    <a:lnTo>
                      <a:pt x="145" y="181"/>
                    </a:lnTo>
                    <a:lnTo>
                      <a:pt x="143" y="181"/>
                    </a:lnTo>
                    <a:lnTo>
                      <a:pt x="139" y="185"/>
                    </a:lnTo>
                    <a:lnTo>
                      <a:pt x="138" y="189"/>
                    </a:lnTo>
                    <a:lnTo>
                      <a:pt x="138" y="192"/>
                    </a:lnTo>
                    <a:lnTo>
                      <a:pt x="138" y="194"/>
                    </a:lnTo>
                    <a:lnTo>
                      <a:pt x="141" y="194"/>
                    </a:lnTo>
                    <a:lnTo>
                      <a:pt x="143" y="196"/>
                    </a:lnTo>
                    <a:lnTo>
                      <a:pt x="145" y="196"/>
                    </a:lnTo>
                    <a:lnTo>
                      <a:pt x="147" y="196"/>
                    </a:lnTo>
                    <a:lnTo>
                      <a:pt x="149" y="196"/>
                    </a:lnTo>
                    <a:lnTo>
                      <a:pt x="149" y="200"/>
                    </a:lnTo>
                    <a:lnTo>
                      <a:pt x="149" y="202"/>
                    </a:lnTo>
                    <a:lnTo>
                      <a:pt x="147" y="204"/>
                    </a:lnTo>
                    <a:lnTo>
                      <a:pt x="147" y="206"/>
                    </a:lnTo>
                    <a:lnTo>
                      <a:pt x="147" y="208"/>
                    </a:lnTo>
                    <a:lnTo>
                      <a:pt x="149" y="210"/>
                    </a:lnTo>
                    <a:lnTo>
                      <a:pt x="149" y="212"/>
                    </a:lnTo>
                    <a:lnTo>
                      <a:pt x="151" y="212"/>
                    </a:lnTo>
                    <a:lnTo>
                      <a:pt x="153" y="213"/>
                    </a:lnTo>
                    <a:lnTo>
                      <a:pt x="155" y="212"/>
                    </a:lnTo>
                    <a:lnTo>
                      <a:pt x="157" y="212"/>
                    </a:lnTo>
                    <a:lnTo>
                      <a:pt x="157" y="215"/>
                    </a:lnTo>
                    <a:lnTo>
                      <a:pt x="157" y="217"/>
                    </a:lnTo>
                    <a:lnTo>
                      <a:pt x="157" y="219"/>
                    </a:lnTo>
                    <a:lnTo>
                      <a:pt x="159" y="219"/>
                    </a:lnTo>
                    <a:lnTo>
                      <a:pt x="160" y="221"/>
                    </a:lnTo>
                    <a:lnTo>
                      <a:pt x="160" y="225"/>
                    </a:lnTo>
                    <a:lnTo>
                      <a:pt x="162" y="227"/>
                    </a:lnTo>
                    <a:lnTo>
                      <a:pt x="162" y="229"/>
                    </a:lnTo>
                    <a:lnTo>
                      <a:pt x="162" y="231"/>
                    </a:lnTo>
                    <a:lnTo>
                      <a:pt x="162" y="232"/>
                    </a:lnTo>
                    <a:lnTo>
                      <a:pt x="162" y="234"/>
                    </a:lnTo>
                    <a:lnTo>
                      <a:pt x="164" y="234"/>
                    </a:lnTo>
                    <a:lnTo>
                      <a:pt x="162" y="234"/>
                    </a:lnTo>
                    <a:lnTo>
                      <a:pt x="162" y="236"/>
                    </a:lnTo>
                    <a:lnTo>
                      <a:pt x="160" y="236"/>
                    </a:lnTo>
                    <a:lnTo>
                      <a:pt x="160" y="238"/>
                    </a:lnTo>
                    <a:lnTo>
                      <a:pt x="159" y="238"/>
                    </a:lnTo>
                    <a:lnTo>
                      <a:pt x="157" y="238"/>
                    </a:lnTo>
                    <a:lnTo>
                      <a:pt x="155" y="238"/>
                    </a:lnTo>
                    <a:lnTo>
                      <a:pt x="155" y="236"/>
                    </a:lnTo>
                    <a:lnTo>
                      <a:pt x="155" y="234"/>
                    </a:lnTo>
                    <a:lnTo>
                      <a:pt x="151" y="236"/>
                    </a:lnTo>
                    <a:lnTo>
                      <a:pt x="147" y="236"/>
                    </a:lnTo>
                    <a:lnTo>
                      <a:pt x="147" y="238"/>
                    </a:lnTo>
                    <a:lnTo>
                      <a:pt x="141" y="238"/>
                    </a:lnTo>
                    <a:lnTo>
                      <a:pt x="139" y="236"/>
                    </a:lnTo>
                    <a:lnTo>
                      <a:pt x="138" y="236"/>
                    </a:lnTo>
                    <a:lnTo>
                      <a:pt x="136" y="236"/>
                    </a:lnTo>
                    <a:lnTo>
                      <a:pt x="134" y="238"/>
                    </a:lnTo>
                    <a:lnTo>
                      <a:pt x="132" y="236"/>
                    </a:lnTo>
                    <a:lnTo>
                      <a:pt x="130" y="238"/>
                    </a:lnTo>
                    <a:lnTo>
                      <a:pt x="128" y="236"/>
                    </a:lnTo>
                    <a:lnTo>
                      <a:pt x="128" y="238"/>
                    </a:lnTo>
                    <a:lnTo>
                      <a:pt x="128" y="236"/>
                    </a:lnTo>
                    <a:lnTo>
                      <a:pt x="126" y="236"/>
                    </a:lnTo>
                    <a:lnTo>
                      <a:pt x="126" y="242"/>
                    </a:lnTo>
                    <a:lnTo>
                      <a:pt x="120" y="242"/>
                    </a:lnTo>
                    <a:lnTo>
                      <a:pt x="118" y="242"/>
                    </a:lnTo>
                    <a:lnTo>
                      <a:pt x="118" y="244"/>
                    </a:lnTo>
                    <a:lnTo>
                      <a:pt x="118" y="242"/>
                    </a:lnTo>
                    <a:lnTo>
                      <a:pt x="118" y="244"/>
                    </a:lnTo>
                    <a:lnTo>
                      <a:pt x="117" y="244"/>
                    </a:lnTo>
                    <a:lnTo>
                      <a:pt x="115" y="244"/>
                    </a:lnTo>
                    <a:lnTo>
                      <a:pt x="117" y="242"/>
                    </a:lnTo>
                    <a:lnTo>
                      <a:pt x="117" y="240"/>
                    </a:lnTo>
                    <a:lnTo>
                      <a:pt x="117" y="242"/>
                    </a:lnTo>
                    <a:lnTo>
                      <a:pt x="115" y="242"/>
                    </a:lnTo>
                    <a:lnTo>
                      <a:pt x="115" y="240"/>
                    </a:lnTo>
                    <a:lnTo>
                      <a:pt x="115" y="242"/>
                    </a:lnTo>
                    <a:lnTo>
                      <a:pt x="115" y="240"/>
                    </a:lnTo>
                    <a:lnTo>
                      <a:pt x="113" y="240"/>
                    </a:lnTo>
                    <a:lnTo>
                      <a:pt x="115" y="242"/>
                    </a:lnTo>
                    <a:lnTo>
                      <a:pt x="113" y="242"/>
                    </a:lnTo>
                    <a:lnTo>
                      <a:pt x="113" y="240"/>
                    </a:lnTo>
                    <a:lnTo>
                      <a:pt x="111" y="240"/>
                    </a:lnTo>
                    <a:lnTo>
                      <a:pt x="113" y="240"/>
                    </a:lnTo>
                    <a:lnTo>
                      <a:pt x="111" y="240"/>
                    </a:lnTo>
                    <a:lnTo>
                      <a:pt x="109" y="242"/>
                    </a:lnTo>
                    <a:lnTo>
                      <a:pt x="109" y="240"/>
                    </a:lnTo>
                    <a:lnTo>
                      <a:pt x="107" y="240"/>
                    </a:lnTo>
                    <a:lnTo>
                      <a:pt x="109" y="240"/>
                    </a:lnTo>
                    <a:lnTo>
                      <a:pt x="109" y="242"/>
                    </a:lnTo>
                    <a:lnTo>
                      <a:pt x="109" y="240"/>
                    </a:lnTo>
                    <a:lnTo>
                      <a:pt x="109" y="242"/>
                    </a:lnTo>
                    <a:lnTo>
                      <a:pt x="107" y="244"/>
                    </a:lnTo>
                    <a:lnTo>
                      <a:pt x="107" y="242"/>
                    </a:lnTo>
                    <a:lnTo>
                      <a:pt x="107" y="244"/>
                    </a:lnTo>
                    <a:lnTo>
                      <a:pt x="105" y="244"/>
                    </a:lnTo>
                    <a:lnTo>
                      <a:pt x="105" y="242"/>
                    </a:lnTo>
                    <a:lnTo>
                      <a:pt x="107" y="242"/>
                    </a:lnTo>
                    <a:lnTo>
                      <a:pt x="105" y="242"/>
                    </a:lnTo>
                    <a:lnTo>
                      <a:pt x="107" y="240"/>
                    </a:lnTo>
                    <a:lnTo>
                      <a:pt x="105" y="242"/>
                    </a:lnTo>
                    <a:lnTo>
                      <a:pt x="105" y="240"/>
                    </a:lnTo>
                    <a:lnTo>
                      <a:pt x="107" y="240"/>
                    </a:lnTo>
                    <a:lnTo>
                      <a:pt x="105" y="240"/>
                    </a:lnTo>
                    <a:lnTo>
                      <a:pt x="105" y="238"/>
                    </a:lnTo>
                    <a:lnTo>
                      <a:pt x="105" y="240"/>
                    </a:lnTo>
                    <a:lnTo>
                      <a:pt x="105" y="238"/>
                    </a:lnTo>
                    <a:lnTo>
                      <a:pt x="105" y="240"/>
                    </a:lnTo>
                    <a:lnTo>
                      <a:pt x="103" y="238"/>
                    </a:lnTo>
                    <a:lnTo>
                      <a:pt x="105" y="238"/>
                    </a:lnTo>
                    <a:lnTo>
                      <a:pt x="105" y="236"/>
                    </a:lnTo>
                    <a:lnTo>
                      <a:pt x="105" y="238"/>
                    </a:lnTo>
                    <a:lnTo>
                      <a:pt x="105" y="236"/>
                    </a:lnTo>
                    <a:lnTo>
                      <a:pt x="107" y="236"/>
                    </a:lnTo>
                    <a:lnTo>
                      <a:pt x="105" y="236"/>
                    </a:lnTo>
                    <a:lnTo>
                      <a:pt x="105" y="234"/>
                    </a:lnTo>
                    <a:lnTo>
                      <a:pt x="105" y="236"/>
                    </a:lnTo>
                    <a:lnTo>
                      <a:pt x="105" y="234"/>
                    </a:lnTo>
                    <a:lnTo>
                      <a:pt x="107" y="234"/>
                    </a:lnTo>
                    <a:lnTo>
                      <a:pt x="105" y="234"/>
                    </a:lnTo>
                    <a:lnTo>
                      <a:pt x="103" y="234"/>
                    </a:lnTo>
                    <a:lnTo>
                      <a:pt x="105" y="232"/>
                    </a:lnTo>
                    <a:lnTo>
                      <a:pt x="105" y="234"/>
                    </a:lnTo>
                    <a:lnTo>
                      <a:pt x="105" y="232"/>
                    </a:lnTo>
                    <a:lnTo>
                      <a:pt x="103" y="232"/>
                    </a:lnTo>
                    <a:lnTo>
                      <a:pt x="105" y="232"/>
                    </a:lnTo>
                    <a:lnTo>
                      <a:pt x="105" y="231"/>
                    </a:lnTo>
                    <a:lnTo>
                      <a:pt x="105" y="232"/>
                    </a:lnTo>
                    <a:lnTo>
                      <a:pt x="103" y="231"/>
                    </a:lnTo>
                    <a:lnTo>
                      <a:pt x="105" y="231"/>
                    </a:lnTo>
                    <a:lnTo>
                      <a:pt x="105" y="229"/>
                    </a:lnTo>
                    <a:lnTo>
                      <a:pt x="103" y="229"/>
                    </a:lnTo>
                    <a:lnTo>
                      <a:pt x="105" y="229"/>
                    </a:lnTo>
                    <a:lnTo>
                      <a:pt x="103" y="229"/>
                    </a:lnTo>
                    <a:lnTo>
                      <a:pt x="101" y="229"/>
                    </a:lnTo>
                    <a:lnTo>
                      <a:pt x="101" y="227"/>
                    </a:lnTo>
                    <a:lnTo>
                      <a:pt x="103" y="229"/>
                    </a:lnTo>
                    <a:lnTo>
                      <a:pt x="103" y="227"/>
                    </a:lnTo>
                    <a:lnTo>
                      <a:pt x="101" y="227"/>
                    </a:lnTo>
                    <a:lnTo>
                      <a:pt x="101" y="229"/>
                    </a:lnTo>
                    <a:lnTo>
                      <a:pt x="99" y="229"/>
                    </a:lnTo>
                    <a:lnTo>
                      <a:pt x="99" y="227"/>
                    </a:lnTo>
                    <a:lnTo>
                      <a:pt x="99" y="229"/>
                    </a:lnTo>
                    <a:lnTo>
                      <a:pt x="98" y="229"/>
                    </a:lnTo>
                    <a:lnTo>
                      <a:pt x="98" y="227"/>
                    </a:lnTo>
                    <a:lnTo>
                      <a:pt x="98" y="229"/>
                    </a:lnTo>
                    <a:lnTo>
                      <a:pt x="98" y="227"/>
                    </a:lnTo>
                    <a:lnTo>
                      <a:pt x="96" y="227"/>
                    </a:lnTo>
                    <a:lnTo>
                      <a:pt x="98" y="227"/>
                    </a:lnTo>
                    <a:lnTo>
                      <a:pt x="98" y="229"/>
                    </a:lnTo>
                    <a:lnTo>
                      <a:pt x="98" y="227"/>
                    </a:lnTo>
                    <a:lnTo>
                      <a:pt x="96" y="227"/>
                    </a:lnTo>
                    <a:lnTo>
                      <a:pt x="94" y="227"/>
                    </a:lnTo>
                    <a:lnTo>
                      <a:pt x="92" y="227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1"/>
                    </a:lnTo>
                    <a:lnTo>
                      <a:pt x="94" y="219"/>
                    </a:lnTo>
                    <a:lnTo>
                      <a:pt x="92" y="217"/>
                    </a:lnTo>
                    <a:lnTo>
                      <a:pt x="90" y="217"/>
                    </a:lnTo>
                    <a:lnTo>
                      <a:pt x="92" y="217"/>
                    </a:lnTo>
                    <a:lnTo>
                      <a:pt x="92" y="215"/>
                    </a:lnTo>
                    <a:lnTo>
                      <a:pt x="90" y="215"/>
                    </a:lnTo>
                    <a:lnTo>
                      <a:pt x="88" y="215"/>
                    </a:lnTo>
                    <a:lnTo>
                      <a:pt x="90" y="215"/>
                    </a:lnTo>
                    <a:lnTo>
                      <a:pt x="88" y="215"/>
                    </a:lnTo>
                    <a:lnTo>
                      <a:pt x="88" y="213"/>
                    </a:lnTo>
                    <a:lnTo>
                      <a:pt x="86" y="213"/>
                    </a:lnTo>
                    <a:lnTo>
                      <a:pt x="86" y="215"/>
                    </a:lnTo>
                    <a:lnTo>
                      <a:pt x="88" y="215"/>
                    </a:lnTo>
                    <a:lnTo>
                      <a:pt x="90" y="215"/>
                    </a:lnTo>
                    <a:lnTo>
                      <a:pt x="90" y="217"/>
                    </a:lnTo>
                    <a:lnTo>
                      <a:pt x="88" y="217"/>
                    </a:lnTo>
                    <a:lnTo>
                      <a:pt x="86" y="215"/>
                    </a:lnTo>
                    <a:lnTo>
                      <a:pt x="82" y="217"/>
                    </a:lnTo>
                    <a:lnTo>
                      <a:pt x="78" y="217"/>
                    </a:lnTo>
                    <a:lnTo>
                      <a:pt x="77" y="217"/>
                    </a:lnTo>
                    <a:lnTo>
                      <a:pt x="73" y="217"/>
                    </a:lnTo>
                    <a:lnTo>
                      <a:pt x="71" y="217"/>
                    </a:lnTo>
                    <a:lnTo>
                      <a:pt x="69" y="219"/>
                    </a:lnTo>
                    <a:lnTo>
                      <a:pt x="65" y="219"/>
                    </a:lnTo>
                    <a:lnTo>
                      <a:pt x="63" y="219"/>
                    </a:lnTo>
                    <a:lnTo>
                      <a:pt x="61" y="219"/>
                    </a:lnTo>
                    <a:lnTo>
                      <a:pt x="61" y="221"/>
                    </a:lnTo>
                    <a:lnTo>
                      <a:pt x="59" y="221"/>
                    </a:lnTo>
                    <a:lnTo>
                      <a:pt x="59" y="219"/>
                    </a:lnTo>
                    <a:lnTo>
                      <a:pt x="57" y="219"/>
                    </a:lnTo>
                    <a:lnTo>
                      <a:pt x="57" y="221"/>
                    </a:lnTo>
                    <a:lnTo>
                      <a:pt x="56" y="219"/>
                    </a:lnTo>
                    <a:lnTo>
                      <a:pt x="54" y="219"/>
                    </a:lnTo>
                    <a:lnTo>
                      <a:pt x="52" y="219"/>
                    </a:lnTo>
                    <a:lnTo>
                      <a:pt x="52" y="217"/>
                    </a:lnTo>
                    <a:lnTo>
                      <a:pt x="54" y="217"/>
                    </a:lnTo>
                    <a:lnTo>
                      <a:pt x="52" y="217"/>
                    </a:lnTo>
                    <a:lnTo>
                      <a:pt x="54" y="217"/>
                    </a:lnTo>
                    <a:lnTo>
                      <a:pt x="54" y="215"/>
                    </a:lnTo>
                    <a:lnTo>
                      <a:pt x="52" y="215"/>
                    </a:lnTo>
                    <a:lnTo>
                      <a:pt x="52" y="217"/>
                    </a:lnTo>
                    <a:lnTo>
                      <a:pt x="50" y="217"/>
                    </a:lnTo>
                    <a:lnTo>
                      <a:pt x="52" y="217"/>
                    </a:lnTo>
                    <a:lnTo>
                      <a:pt x="52" y="219"/>
                    </a:lnTo>
                    <a:lnTo>
                      <a:pt x="48" y="219"/>
                    </a:lnTo>
                    <a:lnTo>
                      <a:pt x="46" y="217"/>
                    </a:lnTo>
                    <a:lnTo>
                      <a:pt x="44" y="217"/>
                    </a:lnTo>
                    <a:lnTo>
                      <a:pt x="42" y="219"/>
                    </a:lnTo>
                    <a:lnTo>
                      <a:pt x="42" y="221"/>
                    </a:lnTo>
                    <a:lnTo>
                      <a:pt x="36" y="219"/>
                    </a:lnTo>
                    <a:lnTo>
                      <a:pt x="36" y="221"/>
                    </a:lnTo>
                    <a:lnTo>
                      <a:pt x="35" y="221"/>
                    </a:lnTo>
                    <a:lnTo>
                      <a:pt x="31" y="219"/>
                    </a:lnTo>
                    <a:lnTo>
                      <a:pt x="27" y="219"/>
                    </a:lnTo>
                    <a:lnTo>
                      <a:pt x="25" y="221"/>
                    </a:lnTo>
                    <a:lnTo>
                      <a:pt x="27" y="221"/>
                    </a:lnTo>
                    <a:lnTo>
                      <a:pt x="25" y="221"/>
                    </a:lnTo>
                    <a:lnTo>
                      <a:pt x="23" y="221"/>
                    </a:lnTo>
                    <a:lnTo>
                      <a:pt x="23" y="223"/>
                    </a:lnTo>
                    <a:lnTo>
                      <a:pt x="25" y="223"/>
                    </a:lnTo>
                    <a:lnTo>
                      <a:pt x="23" y="223"/>
                    </a:lnTo>
                    <a:lnTo>
                      <a:pt x="23" y="221"/>
                    </a:lnTo>
                    <a:lnTo>
                      <a:pt x="21" y="221"/>
                    </a:lnTo>
                    <a:lnTo>
                      <a:pt x="19" y="221"/>
                    </a:lnTo>
                    <a:lnTo>
                      <a:pt x="19" y="223"/>
                    </a:lnTo>
                    <a:lnTo>
                      <a:pt x="17" y="223"/>
                    </a:lnTo>
                    <a:lnTo>
                      <a:pt x="16" y="223"/>
                    </a:lnTo>
                    <a:lnTo>
                      <a:pt x="16" y="225"/>
                    </a:lnTo>
                    <a:lnTo>
                      <a:pt x="14" y="223"/>
                    </a:lnTo>
                    <a:lnTo>
                      <a:pt x="16" y="223"/>
                    </a:lnTo>
                    <a:lnTo>
                      <a:pt x="16" y="221"/>
                    </a:lnTo>
                    <a:lnTo>
                      <a:pt x="14" y="221"/>
                    </a:lnTo>
                    <a:lnTo>
                      <a:pt x="12" y="221"/>
                    </a:lnTo>
                    <a:lnTo>
                      <a:pt x="14" y="219"/>
                    </a:lnTo>
                    <a:lnTo>
                      <a:pt x="14" y="213"/>
                    </a:lnTo>
                    <a:lnTo>
                      <a:pt x="14" y="212"/>
                    </a:lnTo>
                    <a:lnTo>
                      <a:pt x="16" y="212"/>
                    </a:lnTo>
                    <a:lnTo>
                      <a:pt x="16" y="210"/>
                    </a:lnTo>
                    <a:lnTo>
                      <a:pt x="17" y="210"/>
                    </a:lnTo>
                    <a:lnTo>
                      <a:pt x="16" y="208"/>
                    </a:lnTo>
                    <a:lnTo>
                      <a:pt x="16" y="206"/>
                    </a:lnTo>
                    <a:lnTo>
                      <a:pt x="17" y="202"/>
                    </a:lnTo>
                    <a:lnTo>
                      <a:pt x="19" y="202"/>
                    </a:lnTo>
                    <a:lnTo>
                      <a:pt x="19" y="200"/>
                    </a:lnTo>
                    <a:lnTo>
                      <a:pt x="19" y="202"/>
                    </a:lnTo>
                    <a:lnTo>
                      <a:pt x="21" y="202"/>
                    </a:lnTo>
                    <a:lnTo>
                      <a:pt x="23" y="202"/>
                    </a:lnTo>
                    <a:lnTo>
                      <a:pt x="21" y="200"/>
                    </a:lnTo>
                    <a:lnTo>
                      <a:pt x="23" y="202"/>
                    </a:lnTo>
                    <a:lnTo>
                      <a:pt x="23" y="200"/>
                    </a:lnTo>
                    <a:lnTo>
                      <a:pt x="23" y="198"/>
                    </a:lnTo>
                    <a:lnTo>
                      <a:pt x="25" y="196"/>
                    </a:lnTo>
                    <a:lnTo>
                      <a:pt x="25" y="198"/>
                    </a:lnTo>
                    <a:lnTo>
                      <a:pt x="25" y="196"/>
                    </a:lnTo>
                    <a:lnTo>
                      <a:pt x="29" y="196"/>
                    </a:lnTo>
                    <a:lnTo>
                      <a:pt x="31" y="196"/>
                    </a:lnTo>
                    <a:lnTo>
                      <a:pt x="31" y="194"/>
                    </a:lnTo>
                    <a:lnTo>
                      <a:pt x="31" y="196"/>
                    </a:lnTo>
                    <a:lnTo>
                      <a:pt x="35" y="194"/>
                    </a:lnTo>
                    <a:lnTo>
                      <a:pt x="35" y="196"/>
                    </a:lnTo>
                    <a:lnTo>
                      <a:pt x="36" y="194"/>
                    </a:lnTo>
                    <a:lnTo>
                      <a:pt x="38" y="194"/>
                    </a:lnTo>
                    <a:lnTo>
                      <a:pt x="36" y="194"/>
                    </a:lnTo>
                    <a:lnTo>
                      <a:pt x="38" y="192"/>
                    </a:lnTo>
                    <a:lnTo>
                      <a:pt x="36" y="192"/>
                    </a:lnTo>
                    <a:lnTo>
                      <a:pt x="38" y="192"/>
                    </a:lnTo>
                    <a:lnTo>
                      <a:pt x="38" y="191"/>
                    </a:lnTo>
                    <a:lnTo>
                      <a:pt x="38" y="187"/>
                    </a:lnTo>
                    <a:lnTo>
                      <a:pt x="40" y="187"/>
                    </a:lnTo>
                    <a:lnTo>
                      <a:pt x="38" y="185"/>
                    </a:lnTo>
                    <a:lnTo>
                      <a:pt x="36" y="185"/>
                    </a:lnTo>
                    <a:lnTo>
                      <a:pt x="35" y="185"/>
                    </a:lnTo>
                    <a:lnTo>
                      <a:pt x="33" y="185"/>
                    </a:lnTo>
                    <a:lnTo>
                      <a:pt x="31" y="185"/>
                    </a:lnTo>
                    <a:lnTo>
                      <a:pt x="31" y="183"/>
                    </a:lnTo>
                    <a:lnTo>
                      <a:pt x="33" y="181"/>
                    </a:lnTo>
                    <a:lnTo>
                      <a:pt x="33" y="175"/>
                    </a:lnTo>
                    <a:lnTo>
                      <a:pt x="31" y="171"/>
                    </a:lnTo>
                    <a:lnTo>
                      <a:pt x="31" y="166"/>
                    </a:lnTo>
                    <a:lnTo>
                      <a:pt x="29" y="166"/>
                    </a:lnTo>
                    <a:lnTo>
                      <a:pt x="27" y="166"/>
                    </a:lnTo>
                    <a:lnTo>
                      <a:pt x="27" y="164"/>
                    </a:lnTo>
                    <a:lnTo>
                      <a:pt x="25" y="164"/>
                    </a:lnTo>
                    <a:lnTo>
                      <a:pt x="21" y="162"/>
                    </a:lnTo>
                    <a:lnTo>
                      <a:pt x="19" y="162"/>
                    </a:lnTo>
                    <a:lnTo>
                      <a:pt x="17" y="160"/>
                    </a:lnTo>
                    <a:lnTo>
                      <a:pt x="14" y="156"/>
                    </a:lnTo>
                    <a:lnTo>
                      <a:pt x="12" y="154"/>
                    </a:lnTo>
                    <a:lnTo>
                      <a:pt x="12" y="152"/>
                    </a:lnTo>
                    <a:lnTo>
                      <a:pt x="10" y="152"/>
                    </a:lnTo>
                    <a:lnTo>
                      <a:pt x="10" y="150"/>
                    </a:lnTo>
                    <a:lnTo>
                      <a:pt x="10" y="149"/>
                    </a:lnTo>
                    <a:lnTo>
                      <a:pt x="8" y="149"/>
                    </a:lnTo>
                    <a:lnTo>
                      <a:pt x="8" y="147"/>
                    </a:lnTo>
                    <a:lnTo>
                      <a:pt x="6" y="143"/>
                    </a:lnTo>
                    <a:lnTo>
                      <a:pt x="0" y="137"/>
                    </a:lnTo>
                    <a:lnTo>
                      <a:pt x="25" y="147"/>
                    </a:lnTo>
                    <a:lnTo>
                      <a:pt x="38" y="145"/>
                    </a:lnTo>
                    <a:lnTo>
                      <a:pt x="40" y="145"/>
                    </a:lnTo>
                    <a:lnTo>
                      <a:pt x="44" y="145"/>
                    </a:lnTo>
                    <a:lnTo>
                      <a:pt x="52" y="145"/>
                    </a:lnTo>
                    <a:lnTo>
                      <a:pt x="52" y="147"/>
                    </a:lnTo>
                    <a:lnTo>
                      <a:pt x="54" y="147"/>
                    </a:lnTo>
                    <a:lnTo>
                      <a:pt x="54" y="145"/>
                    </a:lnTo>
                    <a:lnTo>
                      <a:pt x="52" y="145"/>
                    </a:lnTo>
                    <a:lnTo>
                      <a:pt x="54" y="145"/>
                    </a:lnTo>
                    <a:lnTo>
                      <a:pt x="54" y="143"/>
                    </a:lnTo>
                    <a:lnTo>
                      <a:pt x="57" y="143"/>
                    </a:lnTo>
                    <a:lnTo>
                      <a:pt x="59" y="143"/>
                    </a:lnTo>
                    <a:lnTo>
                      <a:pt x="67" y="143"/>
                    </a:lnTo>
                    <a:lnTo>
                      <a:pt x="86" y="137"/>
                    </a:lnTo>
                    <a:lnTo>
                      <a:pt x="88" y="135"/>
                    </a:lnTo>
                    <a:lnTo>
                      <a:pt x="86" y="133"/>
                    </a:lnTo>
                    <a:lnTo>
                      <a:pt x="88" y="129"/>
                    </a:lnTo>
                    <a:lnTo>
                      <a:pt x="88" y="128"/>
                    </a:lnTo>
                    <a:lnTo>
                      <a:pt x="88" y="126"/>
                    </a:lnTo>
                    <a:lnTo>
                      <a:pt x="86" y="126"/>
                    </a:lnTo>
                    <a:lnTo>
                      <a:pt x="86" y="124"/>
                    </a:lnTo>
                    <a:lnTo>
                      <a:pt x="88" y="118"/>
                    </a:lnTo>
                    <a:lnTo>
                      <a:pt x="92" y="116"/>
                    </a:lnTo>
                    <a:lnTo>
                      <a:pt x="94" y="114"/>
                    </a:lnTo>
                    <a:lnTo>
                      <a:pt x="94" y="112"/>
                    </a:lnTo>
                    <a:lnTo>
                      <a:pt x="96" y="112"/>
                    </a:lnTo>
                    <a:lnTo>
                      <a:pt x="96" y="110"/>
                    </a:lnTo>
                    <a:lnTo>
                      <a:pt x="98" y="110"/>
                    </a:lnTo>
                    <a:lnTo>
                      <a:pt x="99" y="110"/>
                    </a:lnTo>
                    <a:lnTo>
                      <a:pt x="98" y="112"/>
                    </a:lnTo>
                    <a:lnTo>
                      <a:pt x="99" y="112"/>
                    </a:lnTo>
                    <a:lnTo>
                      <a:pt x="101" y="112"/>
                    </a:lnTo>
                    <a:lnTo>
                      <a:pt x="103" y="112"/>
                    </a:lnTo>
                    <a:lnTo>
                      <a:pt x="105" y="112"/>
                    </a:lnTo>
                    <a:lnTo>
                      <a:pt x="107" y="110"/>
                    </a:lnTo>
                    <a:lnTo>
                      <a:pt x="109" y="110"/>
                    </a:lnTo>
                    <a:lnTo>
                      <a:pt x="111" y="110"/>
                    </a:lnTo>
                    <a:lnTo>
                      <a:pt x="111" y="108"/>
                    </a:lnTo>
                    <a:lnTo>
                      <a:pt x="109" y="108"/>
                    </a:lnTo>
                    <a:lnTo>
                      <a:pt x="107" y="108"/>
                    </a:lnTo>
                    <a:lnTo>
                      <a:pt x="107" y="107"/>
                    </a:lnTo>
                    <a:lnTo>
                      <a:pt x="109" y="107"/>
                    </a:lnTo>
                    <a:lnTo>
                      <a:pt x="111" y="105"/>
                    </a:lnTo>
                    <a:lnTo>
                      <a:pt x="113" y="105"/>
                    </a:lnTo>
                    <a:lnTo>
                      <a:pt x="115" y="103"/>
                    </a:lnTo>
                    <a:lnTo>
                      <a:pt x="117" y="101"/>
                    </a:lnTo>
                    <a:lnTo>
                      <a:pt x="118" y="101"/>
                    </a:lnTo>
                    <a:lnTo>
                      <a:pt x="118" y="103"/>
                    </a:lnTo>
                    <a:lnTo>
                      <a:pt x="120" y="103"/>
                    </a:lnTo>
                    <a:lnTo>
                      <a:pt x="122" y="103"/>
                    </a:lnTo>
                    <a:lnTo>
                      <a:pt x="124" y="103"/>
                    </a:lnTo>
                    <a:lnTo>
                      <a:pt x="122" y="103"/>
                    </a:lnTo>
                    <a:lnTo>
                      <a:pt x="120" y="103"/>
                    </a:lnTo>
                    <a:lnTo>
                      <a:pt x="122" y="101"/>
                    </a:lnTo>
                    <a:lnTo>
                      <a:pt x="124" y="101"/>
                    </a:lnTo>
                    <a:lnTo>
                      <a:pt x="126" y="101"/>
                    </a:lnTo>
                    <a:lnTo>
                      <a:pt x="126" y="103"/>
                    </a:lnTo>
                    <a:lnTo>
                      <a:pt x="126" y="105"/>
                    </a:lnTo>
                    <a:lnTo>
                      <a:pt x="128" y="105"/>
                    </a:lnTo>
                    <a:lnTo>
                      <a:pt x="130" y="105"/>
                    </a:lnTo>
                    <a:lnTo>
                      <a:pt x="132" y="103"/>
                    </a:lnTo>
                    <a:lnTo>
                      <a:pt x="134" y="101"/>
                    </a:lnTo>
                    <a:lnTo>
                      <a:pt x="134" y="99"/>
                    </a:lnTo>
                    <a:lnTo>
                      <a:pt x="136" y="99"/>
                    </a:lnTo>
                    <a:lnTo>
                      <a:pt x="134" y="97"/>
                    </a:lnTo>
                    <a:lnTo>
                      <a:pt x="134" y="95"/>
                    </a:lnTo>
                    <a:lnTo>
                      <a:pt x="134" y="91"/>
                    </a:lnTo>
                    <a:lnTo>
                      <a:pt x="134" y="89"/>
                    </a:lnTo>
                    <a:lnTo>
                      <a:pt x="134" y="87"/>
                    </a:lnTo>
                    <a:lnTo>
                      <a:pt x="136" y="87"/>
                    </a:lnTo>
                    <a:lnTo>
                      <a:pt x="138" y="86"/>
                    </a:lnTo>
                    <a:lnTo>
                      <a:pt x="138" y="84"/>
                    </a:lnTo>
                    <a:lnTo>
                      <a:pt x="136" y="84"/>
                    </a:lnTo>
                    <a:lnTo>
                      <a:pt x="136" y="82"/>
                    </a:lnTo>
                    <a:lnTo>
                      <a:pt x="138" y="82"/>
                    </a:lnTo>
                    <a:lnTo>
                      <a:pt x="138" y="80"/>
                    </a:lnTo>
                    <a:lnTo>
                      <a:pt x="138" y="78"/>
                    </a:lnTo>
                    <a:lnTo>
                      <a:pt x="139" y="76"/>
                    </a:lnTo>
                    <a:lnTo>
                      <a:pt x="141" y="76"/>
                    </a:lnTo>
                    <a:lnTo>
                      <a:pt x="143" y="76"/>
                    </a:lnTo>
                    <a:lnTo>
                      <a:pt x="145" y="76"/>
                    </a:lnTo>
                    <a:lnTo>
                      <a:pt x="147" y="74"/>
                    </a:lnTo>
                    <a:lnTo>
                      <a:pt x="149" y="74"/>
                    </a:lnTo>
                    <a:lnTo>
                      <a:pt x="151" y="72"/>
                    </a:lnTo>
                    <a:lnTo>
                      <a:pt x="151" y="70"/>
                    </a:lnTo>
                    <a:lnTo>
                      <a:pt x="149" y="70"/>
                    </a:lnTo>
                    <a:lnTo>
                      <a:pt x="149" y="68"/>
                    </a:lnTo>
                    <a:lnTo>
                      <a:pt x="149" y="66"/>
                    </a:lnTo>
                    <a:lnTo>
                      <a:pt x="147" y="66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5" y="63"/>
                    </a:lnTo>
                    <a:lnTo>
                      <a:pt x="145" y="61"/>
                    </a:lnTo>
                    <a:lnTo>
                      <a:pt x="143" y="61"/>
                    </a:lnTo>
                    <a:lnTo>
                      <a:pt x="143" y="59"/>
                    </a:lnTo>
                    <a:lnTo>
                      <a:pt x="145" y="59"/>
                    </a:lnTo>
                    <a:lnTo>
                      <a:pt x="147" y="59"/>
                    </a:lnTo>
                    <a:lnTo>
                      <a:pt x="149" y="59"/>
                    </a:lnTo>
                    <a:lnTo>
                      <a:pt x="149" y="61"/>
                    </a:lnTo>
                    <a:lnTo>
                      <a:pt x="153" y="61"/>
                    </a:lnTo>
                    <a:lnTo>
                      <a:pt x="155" y="61"/>
                    </a:lnTo>
                    <a:lnTo>
                      <a:pt x="159" y="61"/>
                    </a:lnTo>
                    <a:lnTo>
                      <a:pt x="160" y="61"/>
                    </a:lnTo>
                    <a:lnTo>
                      <a:pt x="160" y="59"/>
                    </a:lnTo>
                    <a:lnTo>
                      <a:pt x="162" y="59"/>
                    </a:lnTo>
                    <a:lnTo>
                      <a:pt x="162" y="57"/>
                    </a:lnTo>
                    <a:lnTo>
                      <a:pt x="164" y="57"/>
                    </a:lnTo>
                    <a:lnTo>
                      <a:pt x="164" y="55"/>
                    </a:lnTo>
                    <a:lnTo>
                      <a:pt x="164" y="53"/>
                    </a:lnTo>
                    <a:lnTo>
                      <a:pt x="164" y="51"/>
                    </a:lnTo>
                    <a:lnTo>
                      <a:pt x="162" y="51"/>
                    </a:lnTo>
                    <a:lnTo>
                      <a:pt x="162" y="49"/>
                    </a:lnTo>
                    <a:lnTo>
                      <a:pt x="162" y="47"/>
                    </a:lnTo>
                    <a:lnTo>
                      <a:pt x="164" y="47"/>
                    </a:lnTo>
                    <a:lnTo>
                      <a:pt x="162" y="47"/>
                    </a:lnTo>
                    <a:lnTo>
                      <a:pt x="164" y="46"/>
                    </a:lnTo>
                    <a:lnTo>
                      <a:pt x="166" y="46"/>
                    </a:lnTo>
                    <a:lnTo>
                      <a:pt x="166" y="44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0" y="42"/>
                    </a:lnTo>
                    <a:lnTo>
                      <a:pt x="170" y="40"/>
                    </a:lnTo>
                    <a:lnTo>
                      <a:pt x="170" y="38"/>
                    </a:lnTo>
                    <a:lnTo>
                      <a:pt x="172" y="38"/>
                    </a:lnTo>
                    <a:lnTo>
                      <a:pt x="172" y="36"/>
                    </a:lnTo>
                    <a:lnTo>
                      <a:pt x="170" y="34"/>
                    </a:lnTo>
                    <a:lnTo>
                      <a:pt x="172" y="32"/>
                    </a:lnTo>
                    <a:lnTo>
                      <a:pt x="172" y="30"/>
                    </a:lnTo>
                    <a:lnTo>
                      <a:pt x="172" y="28"/>
                    </a:lnTo>
                    <a:lnTo>
                      <a:pt x="170" y="28"/>
                    </a:lnTo>
                    <a:lnTo>
                      <a:pt x="170" y="26"/>
                    </a:lnTo>
                    <a:lnTo>
                      <a:pt x="170" y="25"/>
                    </a:lnTo>
                    <a:lnTo>
                      <a:pt x="168" y="23"/>
                    </a:lnTo>
                    <a:lnTo>
                      <a:pt x="168" y="21"/>
                    </a:lnTo>
                    <a:lnTo>
                      <a:pt x="166" y="21"/>
                    </a:lnTo>
                    <a:lnTo>
                      <a:pt x="164" y="21"/>
                    </a:lnTo>
                    <a:lnTo>
                      <a:pt x="164" y="19"/>
                    </a:lnTo>
                    <a:lnTo>
                      <a:pt x="166" y="19"/>
                    </a:lnTo>
                    <a:lnTo>
                      <a:pt x="166" y="17"/>
                    </a:lnTo>
                    <a:lnTo>
                      <a:pt x="168" y="17"/>
                    </a:lnTo>
                    <a:lnTo>
                      <a:pt x="168" y="15"/>
                    </a:lnTo>
                    <a:lnTo>
                      <a:pt x="170" y="15"/>
                    </a:lnTo>
                    <a:lnTo>
                      <a:pt x="170" y="13"/>
                    </a:lnTo>
                    <a:lnTo>
                      <a:pt x="172" y="13"/>
                    </a:lnTo>
                    <a:lnTo>
                      <a:pt x="172" y="11"/>
                    </a:lnTo>
                    <a:lnTo>
                      <a:pt x="174" y="13"/>
                    </a:lnTo>
                    <a:lnTo>
                      <a:pt x="176" y="13"/>
                    </a:lnTo>
                    <a:lnTo>
                      <a:pt x="174" y="11"/>
                    </a:lnTo>
                    <a:lnTo>
                      <a:pt x="176" y="11"/>
                    </a:lnTo>
                    <a:lnTo>
                      <a:pt x="176" y="9"/>
                    </a:lnTo>
                    <a:lnTo>
                      <a:pt x="178" y="9"/>
                    </a:lnTo>
                    <a:lnTo>
                      <a:pt x="179" y="9"/>
                    </a:lnTo>
                    <a:lnTo>
                      <a:pt x="179" y="7"/>
                    </a:lnTo>
                    <a:lnTo>
                      <a:pt x="181" y="7"/>
                    </a:lnTo>
                    <a:lnTo>
                      <a:pt x="179" y="7"/>
                    </a:lnTo>
                    <a:lnTo>
                      <a:pt x="181" y="5"/>
                    </a:lnTo>
                    <a:lnTo>
                      <a:pt x="183" y="5"/>
                    </a:lnTo>
                    <a:lnTo>
                      <a:pt x="185" y="5"/>
                    </a:lnTo>
                    <a:lnTo>
                      <a:pt x="187" y="4"/>
                    </a:lnTo>
                    <a:lnTo>
                      <a:pt x="189" y="4"/>
                    </a:lnTo>
                    <a:lnTo>
                      <a:pt x="193" y="4"/>
                    </a:lnTo>
                    <a:lnTo>
                      <a:pt x="195" y="4"/>
                    </a:lnTo>
                    <a:lnTo>
                      <a:pt x="197" y="4"/>
                    </a:lnTo>
                    <a:lnTo>
                      <a:pt x="199" y="4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4" y="4"/>
                    </a:lnTo>
                    <a:lnTo>
                      <a:pt x="204" y="2"/>
                    </a:lnTo>
                    <a:lnTo>
                      <a:pt x="206" y="4"/>
                    </a:lnTo>
                    <a:lnTo>
                      <a:pt x="206" y="2"/>
                    </a:lnTo>
                    <a:lnTo>
                      <a:pt x="208" y="4"/>
                    </a:lnTo>
                    <a:lnTo>
                      <a:pt x="210" y="4"/>
                    </a:lnTo>
                    <a:lnTo>
                      <a:pt x="212" y="4"/>
                    </a:lnTo>
                    <a:lnTo>
                      <a:pt x="212" y="2"/>
                    </a:lnTo>
                    <a:lnTo>
                      <a:pt x="214" y="4"/>
                    </a:lnTo>
                    <a:lnTo>
                      <a:pt x="214" y="2"/>
                    </a:lnTo>
                    <a:lnTo>
                      <a:pt x="216" y="2"/>
                    </a:lnTo>
                    <a:lnTo>
                      <a:pt x="216" y="0"/>
                    </a:lnTo>
                    <a:lnTo>
                      <a:pt x="218" y="2"/>
                    </a:lnTo>
                    <a:lnTo>
                      <a:pt x="218" y="0"/>
                    </a:lnTo>
                    <a:lnTo>
                      <a:pt x="220" y="0"/>
                    </a:lnTo>
                    <a:lnTo>
                      <a:pt x="221" y="0"/>
                    </a:lnTo>
                    <a:lnTo>
                      <a:pt x="223" y="0"/>
                    </a:lnTo>
                    <a:lnTo>
                      <a:pt x="223" y="2"/>
                    </a:lnTo>
                    <a:lnTo>
                      <a:pt x="225" y="2"/>
                    </a:lnTo>
                    <a:lnTo>
                      <a:pt x="225" y="0"/>
                    </a:lnTo>
                    <a:lnTo>
                      <a:pt x="227" y="2"/>
                    </a:lnTo>
                    <a:lnTo>
                      <a:pt x="227" y="0"/>
                    </a:lnTo>
                    <a:lnTo>
                      <a:pt x="227" y="2"/>
                    </a:lnTo>
                    <a:lnTo>
                      <a:pt x="229" y="2"/>
                    </a:lnTo>
                    <a:lnTo>
                      <a:pt x="231" y="2"/>
                    </a:lnTo>
                    <a:lnTo>
                      <a:pt x="231" y="4"/>
                    </a:lnTo>
                    <a:lnTo>
                      <a:pt x="233" y="4"/>
                    </a:lnTo>
                    <a:lnTo>
                      <a:pt x="233" y="5"/>
                    </a:lnTo>
                    <a:lnTo>
                      <a:pt x="235" y="5"/>
                    </a:lnTo>
                    <a:lnTo>
                      <a:pt x="237" y="5"/>
                    </a:lnTo>
                    <a:lnTo>
                      <a:pt x="239" y="7"/>
                    </a:lnTo>
                    <a:lnTo>
                      <a:pt x="241" y="9"/>
                    </a:lnTo>
                    <a:lnTo>
                      <a:pt x="241" y="11"/>
                    </a:lnTo>
                    <a:lnTo>
                      <a:pt x="242" y="13"/>
                    </a:lnTo>
                    <a:lnTo>
                      <a:pt x="241" y="13"/>
                    </a:lnTo>
                    <a:lnTo>
                      <a:pt x="242" y="17"/>
                    </a:lnTo>
                    <a:lnTo>
                      <a:pt x="241" y="17"/>
                    </a:lnTo>
                    <a:lnTo>
                      <a:pt x="241" y="19"/>
                    </a:lnTo>
                    <a:close/>
                    <a:moveTo>
                      <a:pt x="111" y="240"/>
                    </a:moveTo>
                    <a:lnTo>
                      <a:pt x="113" y="242"/>
                    </a:lnTo>
                    <a:lnTo>
                      <a:pt x="111" y="242"/>
                    </a:lnTo>
                    <a:lnTo>
                      <a:pt x="113" y="242"/>
                    </a:lnTo>
                    <a:lnTo>
                      <a:pt x="111" y="244"/>
                    </a:lnTo>
                    <a:lnTo>
                      <a:pt x="111" y="246"/>
                    </a:lnTo>
                    <a:lnTo>
                      <a:pt x="111" y="244"/>
                    </a:lnTo>
                    <a:lnTo>
                      <a:pt x="109" y="244"/>
                    </a:lnTo>
                    <a:lnTo>
                      <a:pt x="109" y="242"/>
                    </a:lnTo>
                    <a:lnTo>
                      <a:pt x="111" y="242"/>
                    </a:lnTo>
                    <a:lnTo>
                      <a:pt x="109" y="242"/>
                    </a:lnTo>
                    <a:lnTo>
                      <a:pt x="111" y="240"/>
                    </a:lnTo>
                    <a:close/>
                    <a:moveTo>
                      <a:pt x="115" y="242"/>
                    </a:moveTo>
                    <a:lnTo>
                      <a:pt x="115" y="244"/>
                    </a:lnTo>
                    <a:lnTo>
                      <a:pt x="115" y="246"/>
                    </a:lnTo>
                    <a:lnTo>
                      <a:pt x="113" y="246"/>
                    </a:lnTo>
                    <a:lnTo>
                      <a:pt x="113" y="244"/>
                    </a:lnTo>
                    <a:lnTo>
                      <a:pt x="111" y="244"/>
                    </a:lnTo>
                    <a:lnTo>
                      <a:pt x="113" y="244"/>
                    </a:lnTo>
                    <a:lnTo>
                      <a:pt x="113" y="242"/>
                    </a:lnTo>
                    <a:lnTo>
                      <a:pt x="115" y="242"/>
                    </a:lnTo>
                    <a:close/>
                    <a:moveTo>
                      <a:pt x="115" y="244"/>
                    </a:moveTo>
                    <a:lnTo>
                      <a:pt x="117" y="244"/>
                    </a:lnTo>
                    <a:lnTo>
                      <a:pt x="117" y="248"/>
                    </a:lnTo>
                    <a:lnTo>
                      <a:pt x="115" y="248"/>
                    </a:lnTo>
                    <a:lnTo>
                      <a:pt x="115" y="244"/>
                    </a:lnTo>
                    <a:close/>
                    <a:moveTo>
                      <a:pt x="103" y="229"/>
                    </a:moveTo>
                    <a:lnTo>
                      <a:pt x="103" y="231"/>
                    </a:lnTo>
                    <a:lnTo>
                      <a:pt x="101" y="231"/>
                    </a:lnTo>
                    <a:lnTo>
                      <a:pt x="101" y="229"/>
                    </a:lnTo>
                    <a:lnTo>
                      <a:pt x="103" y="229"/>
                    </a:lnTo>
                    <a:close/>
                    <a:moveTo>
                      <a:pt x="109" y="244"/>
                    </a:moveTo>
                    <a:lnTo>
                      <a:pt x="109" y="246"/>
                    </a:lnTo>
                    <a:lnTo>
                      <a:pt x="109" y="244"/>
                    </a:lnTo>
                    <a:close/>
                    <a:moveTo>
                      <a:pt x="103" y="236"/>
                    </a:moveTo>
                    <a:lnTo>
                      <a:pt x="105" y="236"/>
                    </a:lnTo>
                    <a:lnTo>
                      <a:pt x="105" y="238"/>
                    </a:lnTo>
                    <a:lnTo>
                      <a:pt x="103" y="238"/>
                    </a:lnTo>
                    <a:lnTo>
                      <a:pt x="103" y="236"/>
                    </a:lnTo>
                    <a:close/>
                    <a:moveTo>
                      <a:pt x="113" y="240"/>
                    </a:moveTo>
                    <a:lnTo>
                      <a:pt x="113" y="242"/>
                    </a:lnTo>
                    <a:lnTo>
                      <a:pt x="113" y="240"/>
                    </a:lnTo>
                    <a:close/>
                    <a:moveTo>
                      <a:pt x="115" y="242"/>
                    </a:moveTo>
                    <a:lnTo>
                      <a:pt x="115" y="244"/>
                    </a:lnTo>
                    <a:lnTo>
                      <a:pt x="115" y="242"/>
                    </a:lnTo>
                    <a:close/>
                    <a:moveTo>
                      <a:pt x="101" y="232"/>
                    </a:moveTo>
                    <a:lnTo>
                      <a:pt x="103" y="232"/>
                    </a:lnTo>
                    <a:lnTo>
                      <a:pt x="103" y="234"/>
                    </a:lnTo>
                    <a:lnTo>
                      <a:pt x="101" y="234"/>
                    </a:lnTo>
                    <a:lnTo>
                      <a:pt x="101" y="232"/>
                    </a:lnTo>
                    <a:close/>
                    <a:moveTo>
                      <a:pt x="105" y="240"/>
                    </a:moveTo>
                    <a:lnTo>
                      <a:pt x="105" y="242"/>
                    </a:lnTo>
                    <a:lnTo>
                      <a:pt x="105" y="240"/>
                    </a:lnTo>
                    <a:close/>
                    <a:moveTo>
                      <a:pt x="103" y="234"/>
                    </a:moveTo>
                    <a:lnTo>
                      <a:pt x="105" y="234"/>
                    </a:lnTo>
                    <a:lnTo>
                      <a:pt x="105" y="236"/>
                    </a:lnTo>
                    <a:lnTo>
                      <a:pt x="103" y="236"/>
                    </a:lnTo>
                    <a:lnTo>
                      <a:pt x="103" y="234"/>
                    </a:lnTo>
                    <a:close/>
                    <a:moveTo>
                      <a:pt x="101" y="232"/>
                    </a:moveTo>
                    <a:lnTo>
                      <a:pt x="103" y="232"/>
                    </a:lnTo>
                    <a:lnTo>
                      <a:pt x="101" y="232"/>
                    </a:lnTo>
                    <a:close/>
                    <a:moveTo>
                      <a:pt x="103" y="236"/>
                    </a:moveTo>
                    <a:lnTo>
                      <a:pt x="105" y="236"/>
                    </a:lnTo>
                    <a:lnTo>
                      <a:pt x="105" y="238"/>
                    </a:lnTo>
                    <a:lnTo>
                      <a:pt x="103" y="238"/>
                    </a:lnTo>
                    <a:lnTo>
                      <a:pt x="103" y="236"/>
                    </a:lnTo>
                    <a:close/>
                    <a:moveTo>
                      <a:pt x="103" y="234"/>
                    </a:moveTo>
                    <a:lnTo>
                      <a:pt x="105" y="234"/>
                    </a:lnTo>
                    <a:lnTo>
                      <a:pt x="105" y="236"/>
                    </a:lnTo>
                    <a:lnTo>
                      <a:pt x="103" y="236"/>
                    </a:lnTo>
                    <a:lnTo>
                      <a:pt x="103" y="234"/>
                    </a:lnTo>
                    <a:close/>
                    <a:moveTo>
                      <a:pt x="103" y="231"/>
                    </a:moveTo>
                    <a:lnTo>
                      <a:pt x="103" y="232"/>
                    </a:lnTo>
                    <a:lnTo>
                      <a:pt x="103" y="231"/>
                    </a:lnTo>
                    <a:close/>
                    <a:moveTo>
                      <a:pt x="103" y="231"/>
                    </a:moveTo>
                    <a:lnTo>
                      <a:pt x="105" y="231"/>
                    </a:lnTo>
                    <a:lnTo>
                      <a:pt x="103" y="231"/>
                    </a:lnTo>
                    <a:close/>
                    <a:moveTo>
                      <a:pt x="101" y="229"/>
                    </a:moveTo>
                    <a:lnTo>
                      <a:pt x="103" y="229"/>
                    </a:lnTo>
                    <a:lnTo>
                      <a:pt x="101" y="229"/>
                    </a:lnTo>
                    <a:close/>
                    <a:moveTo>
                      <a:pt x="101" y="231"/>
                    </a:moveTo>
                    <a:lnTo>
                      <a:pt x="103" y="231"/>
                    </a:lnTo>
                    <a:lnTo>
                      <a:pt x="103" y="232"/>
                    </a:lnTo>
                    <a:lnTo>
                      <a:pt x="101" y="232"/>
                    </a:lnTo>
                    <a:lnTo>
                      <a:pt x="101" y="231"/>
                    </a:lnTo>
                    <a:close/>
                    <a:moveTo>
                      <a:pt x="103" y="229"/>
                    </a:moveTo>
                    <a:lnTo>
                      <a:pt x="105" y="229"/>
                    </a:lnTo>
                    <a:lnTo>
                      <a:pt x="103" y="229"/>
                    </a:lnTo>
                    <a:close/>
                    <a:moveTo>
                      <a:pt x="103" y="240"/>
                    </a:moveTo>
                    <a:lnTo>
                      <a:pt x="105" y="240"/>
                    </a:lnTo>
                    <a:lnTo>
                      <a:pt x="103" y="240"/>
                    </a:lnTo>
                    <a:close/>
                    <a:moveTo>
                      <a:pt x="107" y="242"/>
                    </a:moveTo>
                    <a:lnTo>
                      <a:pt x="107" y="244"/>
                    </a:lnTo>
                    <a:lnTo>
                      <a:pt x="107" y="242"/>
                    </a:lnTo>
                    <a:close/>
                    <a:moveTo>
                      <a:pt x="103" y="232"/>
                    </a:moveTo>
                    <a:lnTo>
                      <a:pt x="105" y="232"/>
                    </a:lnTo>
                    <a:lnTo>
                      <a:pt x="105" y="234"/>
                    </a:lnTo>
                    <a:lnTo>
                      <a:pt x="103" y="234"/>
                    </a:lnTo>
                    <a:lnTo>
                      <a:pt x="103" y="232"/>
                    </a:lnTo>
                    <a:close/>
                    <a:moveTo>
                      <a:pt x="103" y="231"/>
                    </a:moveTo>
                    <a:lnTo>
                      <a:pt x="103" y="232"/>
                    </a:lnTo>
                    <a:lnTo>
                      <a:pt x="103" y="231"/>
                    </a:lnTo>
                    <a:close/>
                    <a:moveTo>
                      <a:pt x="115" y="242"/>
                    </a:moveTo>
                    <a:lnTo>
                      <a:pt x="115" y="244"/>
                    </a:lnTo>
                    <a:lnTo>
                      <a:pt x="115" y="242"/>
                    </a:lnTo>
                    <a:close/>
                    <a:moveTo>
                      <a:pt x="109" y="242"/>
                    </a:moveTo>
                    <a:lnTo>
                      <a:pt x="111" y="242"/>
                    </a:lnTo>
                    <a:lnTo>
                      <a:pt x="109" y="242"/>
                    </a:lnTo>
                    <a:close/>
                    <a:moveTo>
                      <a:pt x="107" y="244"/>
                    </a:moveTo>
                    <a:lnTo>
                      <a:pt x="109" y="244"/>
                    </a:lnTo>
                    <a:lnTo>
                      <a:pt x="107" y="244"/>
                    </a:lnTo>
                    <a:close/>
                    <a:moveTo>
                      <a:pt x="103" y="232"/>
                    </a:moveTo>
                    <a:lnTo>
                      <a:pt x="103" y="234"/>
                    </a:lnTo>
                    <a:lnTo>
                      <a:pt x="103" y="232"/>
                    </a:lnTo>
                    <a:close/>
                    <a:moveTo>
                      <a:pt x="103" y="234"/>
                    </a:moveTo>
                    <a:lnTo>
                      <a:pt x="105" y="234"/>
                    </a:lnTo>
                    <a:lnTo>
                      <a:pt x="103" y="234"/>
                    </a:lnTo>
                    <a:close/>
                    <a:moveTo>
                      <a:pt x="103" y="234"/>
                    </a:moveTo>
                    <a:lnTo>
                      <a:pt x="105" y="234"/>
                    </a:lnTo>
                    <a:lnTo>
                      <a:pt x="103" y="234"/>
                    </a:lnTo>
                    <a:close/>
                    <a:moveTo>
                      <a:pt x="103" y="234"/>
                    </a:moveTo>
                    <a:lnTo>
                      <a:pt x="103" y="236"/>
                    </a:lnTo>
                    <a:lnTo>
                      <a:pt x="103" y="234"/>
                    </a:lnTo>
                    <a:close/>
                    <a:moveTo>
                      <a:pt x="101" y="229"/>
                    </a:moveTo>
                    <a:lnTo>
                      <a:pt x="103" y="229"/>
                    </a:lnTo>
                    <a:lnTo>
                      <a:pt x="101" y="229"/>
                    </a:lnTo>
                    <a:close/>
                    <a:moveTo>
                      <a:pt x="109" y="244"/>
                    </a:moveTo>
                    <a:lnTo>
                      <a:pt x="111" y="244"/>
                    </a:lnTo>
                    <a:lnTo>
                      <a:pt x="109" y="244"/>
                    </a:lnTo>
                    <a:close/>
                    <a:moveTo>
                      <a:pt x="103" y="234"/>
                    </a:moveTo>
                    <a:lnTo>
                      <a:pt x="105" y="234"/>
                    </a:lnTo>
                    <a:lnTo>
                      <a:pt x="103" y="234"/>
                    </a:lnTo>
                    <a:close/>
                    <a:moveTo>
                      <a:pt x="99" y="229"/>
                    </a:moveTo>
                    <a:lnTo>
                      <a:pt x="101" y="229"/>
                    </a:lnTo>
                    <a:lnTo>
                      <a:pt x="99" y="229"/>
                    </a:lnTo>
                    <a:close/>
                    <a:moveTo>
                      <a:pt x="103" y="229"/>
                    </a:moveTo>
                    <a:lnTo>
                      <a:pt x="105" y="229"/>
                    </a:lnTo>
                    <a:lnTo>
                      <a:pt x="105" y="231"/>
                    </a:lnTo>
                    <a:lnTo>
                      <a:pt x="103" y="231"/>
                    </a:lnTo>
                    <a:lnTo>
                      <a:pt x="103" y="229"/>
                    </a:lnTo>
                    <a:close/>
                    <a:moveTo>
                      <a:pt x="101" y="231"/>
                    </a:moveTo>
                    <a:lnTo>
                      <a:pt x="103" y="231"/>
                    </a:lnTo>
                    <a:lnTo>
                      <a:pt x="101" y="23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7" name="Freeform 154">
                <a:extLst>
                  <a:ext uri="{FF2B5EF4-FFF2-40B4-BE49-F238E27FC236}">
                    <a16:creationId xmlns:a16="http://schemas.microsoft.com/office/drawing/2014/main" id="{DF028928-EDAC-CA44-3D7D-FB5EE0FBA89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297085" y="-2602736"/>
                <a:ext cx="118170" cy="165748"/>
              </a:xfrm>
              <a:custGeom>
                <a:avLst/>
                <a:gdLst>
                  <a:gd name="T0" fmla="*/ 71 w 75"/>
                  <a:gd name="T1" fmla="*/ 92 h 105"/>
                  <a:gd name="T2" fmla="*/ 69 w 75"/>
                  <a:gd name="T3" fmla="*/ 96 h 105"/>
                  <a:gd name="T4" fmla="*/ 63 w 75"/>
                  <a:gd name="T5" fmla="*/ 90 h 105"/>
                  <a:gd name="T6" fmla="*/ 63 w 75"/>
                  <a:gd name="T7" fmla="*/ 80 h 105"/>
                  <a:gd name="T8" fmla="*/ 56 w 75"/>
                  <a:gd name="T9" fmla="*/ 67 h 105"/>
                  <a:gd name="T10" fmla="*/ 48 w 75"/>
                  <a:gd name="T11" fmla="*/ 71 h 105"/>
                  <a:gd name="T12" fmla="*/ 44 w 75"/>
                  <a:gd name="T13" fmla="*/ 78 h 105"/>
                  <a:gd name="T14" fmla="*/ 35 w 75"/>
                  <a:gd name="T15" fmla="*/ 84 h 105"/>
                  <a:gd name="T16" fmla="*/ 29 w 75"/>
                  <a:gd name="T17" fmla="*/ 80 h 105"/>
                  <a:gd name="T18" fmla="*/ 27 w 75"/>
                  <a:gd name="T19" fmla="*/ 80 h 105"/>
                  <a:gd name="T20" fmla="*/ 21 w 75"/>
                  <a:gd name="T21" fmla="*/ 84 h 105"/>
                  <a:gd name="T22" fmla="*/ 19 w 75"/>
                  <a:gd name="T23" fmla="*/ 78 h 105"/>
                  <a:gd name="T24" fmla="*/ 15 w 75"/>
                  <a:gd name="T25" fmla="*/ 65 h 105"/>
                  <a:gd name="T26" fmla="*/ 17 w 75"/>
                  <a:gd name="T27" fmla="*/ 59 h 105"/>
                  <a:gd name="T28" fmla="*/ 14 w 75"/>
                  <a:gd name="T29" fmla="*/ 56 h 105"/>
                  <a:gd name="T30" fmla="*/ 14 w 75"/>
                  <a:gd name="T31" fmla="*/ 48 h 105"/>
                  <a:gd name="T32" fmla="*/ 14 w 75"/>
                  <a:gd name="T33" fmla="*/ 42 h 105"/>
                  <a:gd name="T34" fmla="*/ 2 w 75"/>
                  <a:gd name="T35" fmla="*/ 35 h 105"/>
                  <a:gd name="T36" fmla="*/ 6 w 75"/>
                  <a:gd name="T37" fmla="*/ 29 h 105"/>
                  <a:gd name="T38" fmla="*/ 15 w 75"/>
                  <a:gd name="T39" fmla="*/ 23 h 105"/>
                  <a:gd name="T40" fmla="*/ 8 w 75"/>
                  <a:gd name="T41" fmla="*/ 17 h 105"/>
                  <a:gd name="T42" fmla="*/ 4 w 75"/>
                  <a:gd name="T43" fmla="*/ 14 h 105"/>
                  <a:gd name="T44" fmla="*/ 8 w 75"/>
                  <a:gd name="T45" fmla="*/ 6 h 105"/>
                  <a:gd name="T46" fmla="*/ 10 w 75"/>
                  <a:gd name="T47" fmla="*/ 2 h 105"/>
                  <a:gd name="T48" fmla="*/ 17 w 75"/>
                  <a:gd name="T49" fmla="*/ 6 h 105"/>
                  <a:gd name="T50" fmla="*/ 19 w 75"/>
                  <a:gd name="T51" fmla="*/ 8 h 105"/>
                  <a:gd name="T52" fmla="*/ 27 w 75"/>
                  <a:gd name="T53" fmla="*/ 10 h 105"/>
                  <a:gd name="T54" fmla="*/ 29 w 75"/>
                  <a:gd name="T55" fmla="*/ 10 h 105"/>
                  <a:gd name="T56" fmla="*/ 31 w 75"/>
                  <a:gd name="T57" fmla="*/ 19 h 105"/>
                  <a:gd name="T58" fmla="*/ 40 w 75"/>
                  <a:gd name="T59" fmla="*/ 25 h 105"/>
                  <a:gd name="T60" fmla="*/ 56 w 75"/>
                  <a:gd name="T61" fmla="*/ 25 h 105"/>
                  <a:gd name="T62" fmla="*/ 63 w 75"/>
                  <a:gd name="T63" fmla="*/ 25 h 105"/>
                  <a:gd name="T64" fmla="*/ 71 w 75"/>
                  <a:gd name="T65" fmla="*/ 29 h 105"/>
                  <a:gd name="T66" fmla="*/ 67 w 75"/>
                  <a:gd name="T67" fmla="*/ 36 h 105"/>
                  <a:gd name="T68" fmla="*/ 61 w 75"/>
                  <a:gd name="T69" fmla="*/ 42 h 105"/>
                  <a:gd name="T70" fmla="*/ 54 w 75"/>
                  <a:gd name="T71" fmla="*/ 48 h 105"/>
                  <a:gd name="T72" fmla="*/ 54 w 75"/>
                  <a:gd name="T73" fmla="*/ 59 h 105"/>
                  <a:gd name="T74" fmla="*/ 57 w 75"/>
                  <a:gd name="T75" fmla="*/ 63 h 105"/>
                  <a:gd name="T76" fmla="*/ 61 w 75"/>
                  <a:gd name="T77" fmla="*/ 57 h 105"/>
                  <a:gd name="T78" fmla="*/ 67 w 75"/>
                  <a:gd name="T79" fmla="*/ 52 h 105"/>
                  <a:gd name="T80" fmla="*/ 71 w 75"/>
                  <a:gd name="T81" fmla="*/ 56 h 105"/>
                  <a:gd name="T82" fmla="*/ 73 w 75"/>
                  <a:gd name="T83" fmla="*/ 71 h 105"/>
                  <a:gd name="T84" fmla="*/ 50 w 75"/>
                  <a:gd name="T85" fmla="*/ 78 h 105"/>
                  <a:gd name="T86" fmla="*/ 57 w 75"/>
                  <a:gd name="T87" fmla="*/ 75 h 105"/>
                  <a:gd name="T88" fmla="*/ 25 w 75"/>
                  <a:gd name="T89" fmla="*/ 82 h 105"/>
                  <a:gd name="T90" fmla="*/ 54 w 75"/>
                  <a:gd name="T91" fmla="*/ 69 h 105"/>
                  <a:gd name="T92" fmla="*/ 17 w 75"/>
                  <a:gd name="T93" fmla="*/ 84 h 105"/>
                  <a:gd name="T94" fmla="*/ 25 w 75"/>
                  <a:gd name="T95" fmla="*/ 82 h 105"/>
                  <a:gd name="T96" fmla="*/ 31 w 75"/>
                  <a:gd name="T97" fmla="*/ 82 h 105"/>
                  <a:gd name="T98" fmla="*/ 42 w 75"/>
                  <a:gd name="T99" fmla="*/ 82 h 105"/>
                  <a:gd name="T100" fmla="*/ 42 w 75"/>
                  <a:gd name="T101" fmla="*/ 80 h 105"/>
                  <a:gd name="T102" fmla="*/ 48 w 75"/>
                  <a:gd name="T103" fmla="*/ 78 h 105"/>
                  <a:gd name="T104" fmla="*/ 50 w 75"/>
                  <a:gd name="T105" fmla="*/ 71 h 105"/>
                  <a:gd name="T106" fmla="*/ 40 w 75"/>
                  <a:gd name="T107" fmla="*/ 82 h 105"/>
                  <a:gd name="T108" fmla="*/ 25 w 75"/>
                  <a:gd name="T109" fmla="*/ 80 h 105"/>
                  <a:gd name="T110" fmla="*/ 50 w 75"/>
                  <a:gd name="T111" fmla="*/ 77 h 105"/>
                  <a:gd name="T112" fmla="*/ 46 w 75"/>
                  <a:gd name="T113" fmla="*/ 78 h 105"/>
                  <a:gd name="T114" fmla="*/ 69 w 75"/>
                  <a:gd name="T1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5" h="105">
                    <a:moveTo>
                      <a:pt x="75" y="80"/>
                    </a:moveTo>
                    <a:lnTo>
                      <a:pt x="75" y="82"/>
                    </a:lnTo>
                    <a:lnTo>
                      <a:pt x="75" y="86"/>
                    </a:lnTo>
                    <a:lnTo>
                      <a:pt x="75" y="90"/>
                    </a:lnTo>
                    <a:lnTo>
                      <a:pt x="75" y="92"/>
                    </a:lnTo>
                    <a:lnTo>
                      <a:pt x="75" y="94"/>
                    </a:lnTo>
                    <a:lnTo>
                      <a:pt x="73" y="92"/>
                    </a:lnTo>
                    <a:lnTo>
                      <a:pt x="71" y="92"/>
                    </a:lnTo>
                    <a:lnTo>
                      <a:pt x="71" y="90"/>
                    </a:lnTo>
                    <a:lnTo>
                      <a:pt x="69" y="90"/>
                    </a:lnTo>
                    <a:lnTo>
                      <a:pt x="69" y="92"/>
                    </a:lnTo>
                    <a:lnTo>
                      <a:pt x="67" y="92"/>
                    </a:lnTo>
                    <a:lnTo>
                      <a:pt x="69" y="94"/>
                    </a:lnTo>
                    <a:lnTo>
                      <a:pt x="67" y="94"/>
                    </a:lnTo>
                    <a:lnTo>
                      <a:pt x="67" y="96"/>
                    </a:lnTo>
                    <a:lnTo>
                      <a:pt x="69" y="96"/>
                    </a:lnTo>
                    <a:lnTo>
                      <a:pt x="69" y="98"/>
                    </a:lnTo>
                    <a:lnTo>
                      <a:pt x="69" y="99"/>
                    </a:lnTo>
                    <a:lnTo>
                      <a:pt x="71" y="101"/>
                    </a:lnTo>
                    <a:lnTo>
                      <a:pt x="69" y="101"/>
                    </a:lnTo>
                    <a:lnTo>
                      <a:pt x="67" y="98"/>
                    </a:lnTo>
                    <a:lnTo>
                      <a:pt x="65" y="94"/>
                    </a:lnTo>
                    <a:lnTo>
                      <a:pt x="65" y="92"/>
                    </a:lnTo>
                    <a:lnTo>
                      <a:pt x="63" y="90"/>
                    </a:lnTo>
                    <a:lnTo>
                      <a:pt x="65" y="90"/>
                    </a:lnTo>
                    <a:lnTo>
                      <a:pt x="65" y="88"/>
                    </a:lnTo>
                    <a:lnTo>
                      <a:pt x="63" y="88"/>
                    </a:lnTo>
                    <a:lnTo>
                      <a:pt x="63" y="90"/>
                    </a:lnTo>
                    <a:lnTo>
                      <a:pt x="63" y="88"/>
                    </a:lnTo>
                    <a:lnTo>
                      <a:pt x="63" y="86"/>
                    </a:lnTo>
                    <a:lnTo>
                      <a:pt x="63" y="82"/>
                    </a:lnTo>
                    <a:lnTo>
                      <a:pt x="63" y="80"/>
                    </a:lnTo>
                    <a:lnTo>
                      <a:pt x="63" y="78"/>
                    </a:lnTo>
                    <a:lnTo>
                      <a:pt x="61" y="78"/>
                    </a:lnTo>
                    <a:lnTo>
                      <a:pt x="61" y="77"/>
                    </a:lnTo>
                    <a:lnTo>
                      <a:pt x="61" y="75"/>
                    </a:lnTo>
                    <a:lnTo>
                      <a:pt x="59" y="73"/>
                    </a:lnTo>
                    <a:lnTo>
                      <a:pt x="57" y="69"/>
                    </a:lnTo>
                    <a:lnTo>
                      <a:pt x="56" y="69"/>
                    </a:lnTo>
                    <a:lnTo>
                      <a:pt x="56" y="67"/>
                    </a:lnTo>
                    <a:lnTo>
                      <a:pt x="54" y="67"/>
                    </a:lnTo>
                    <a:lnTo>
                      <a:pt x="54" y="69"/>
                    </a:lnTo>
                    <a:lnTo>
                      <a:pt x="52" y="69"/>
                    </a:lnTo>
                    <a:lnTo>
                      <a:pt x="54" y="69"/>
                    </a:lnTo>
                    <a:lnTo>
                      <a:pt x="54" y="71"/>
                    </a:lnTo>
                    <a:lnTo>
                      <a:pt x="52" y="71"/>
                    </a:lnTo>
                    <a:lnTo>
                      <a:pt x="50" y="73"/>
                    </a:lnTo>
                    <a:lnTo>
                      <a:pt x="48" y="71"/>
                    </a:lnTo>
                    <a:lnTo>
                      <a:pt x="48" y="69"/>
                    </a:lnTo>
                    <a:lnTo>
                      <a:pt x="46" y="69"/>
                    </a:lnTo>
                    <a:lnTo>
                      <a:pt x="44" y="71"/>
                    </a:lnTo>
                    <a:lnTo>
                      <a:pt x="46" y="73"/>
                    </a:lnTo>
                    <a:lnTo>
                      <a:pt x="46" y="75"/>
                    </a:lnTo>
                    <a:lnTo>
                      <a:pt x="46" y="77"/>
                    </a:lnTo>
                    <a:lnTo>
                      <a:pt x="46" y="78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2" y="80"/>
                    </a:lnTo>
                    <a:lnTo>
                      <a:pt x="40" y="80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5" y="84"/>
                    </a:lnTo>
                    <a:lnTo>
                      <a:pt x="33" y="82"/>
                    </a:lnTo>
                    <a:lnTo>
                      <a:pt x="33" y="80"/>
                    </a:lnTo>
                    <a:lnTo>
                      <a:pt x="35" y="80"/>
                    </a:lnTo>
                    <a:lnTo>
                      <a:pt x="33" y="80"/>
                    </a:lnTo>
                    <a:lnTo>
                      <a:pt x="31" y="78"/>
                    </a:lnTo>
                    <a:lnTo>
                      <a:pt x="29" y="78"/>
                    </a:lnTo>
                    <a:lnTo>
                      <a:pt x="31" y="80"/>
                    </a:lnTo>
                    <a:lnTo>
                      <a:pt x="29" y="80"/>
                    </a:lnTo>
                    <a:lnTo>
                      <a:pt x="31" y="80"/>
                    </a:lnTo>
                    <a:lnTo>
                      <a:pt x="29" y="82"/>
                    </a:lnTo>
                    <a:lnTo>
                      <a:pt x="31" y="82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9" y="84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82"/>
                    </a:lnTo>
                    <a:lnTo>
                      <a:pt x="25" y="84"/>
                    </a:lnTo>
                    <a:lnTo>
                      <a:pt x="23" y="84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21" y="82"/>
                    </a:lnTo>
                    <a:lnTo>
                      <a:pt x="21" y="84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7" y="82"/>
                    </a:lnTo>
                    <a:lnTo>
                      <a:pt x="19" y="80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7" y="77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4" y="63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5" y="59"/>
                    </a:lnTo>
                    <a:lnTo>
                      <a:pt x="17" y="59"/>
                    </a:lnTo>
                    <a:lnTo>
                      <a:pt x="15" y="59"/>
                    </a:lnTo>
                    <a:lnTo>
                      <a:pt x="14" y="59"/>
                    </a:lnTo>
                    <a:lnTo>
                      <a:pt x="12" y="59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14" y="56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2" y="54"/>
                    </a:lnTo>
                    <a:lnTo>
                      <a:pt x="12" y="52"/>
                    </a:lnTo>
                    <a:lnTo>
                      <a:pt x="10" y="54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4" y="42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0" y="35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2" y="25"/>
                    </a:lnTo>
                    <a:lnTo>
                      <a:pt x="14" y="25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7" y="23"/>
                    </a:lnTo>
                    <a:lnTo>
                      <a:pt x="15" y="23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2" y="19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8" y="17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7" y="12"/>
                    </a:lnTo>
                    <a:lnTo>
                      <a:pt x="27" y="10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27" y="6"/>
                    </a:lnTo>
                    <a:lnTo>
                      <a:pt x="29" y="8"/>
                    </a:lnTo>
                    <a:lnTo>
                      <a:pt x="27" y="8"/>
                    </a:lnTo>
                    <a:lnTo>
                      <a:pt x="29" y="8"/>
                    </a:lnTo>
                    <a:lnTo>
                      <a:pt x="29" y="10"/>
                    </a:lnTo>
                    <a:lnTo>
                      <a:pt x="31" y="10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12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31" y="17"/>
                    </a:lnTo>
                    <a:lnTo>
                      <a:pt x="31" y="19"/>
                    </a:lnTo>
                    <a:lnTo>
                      <a:pt x="31" y="21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5" y="23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2" y="25"/>
                    </a:lnTo>
                    <a:lnTo>
                      <a:pt x="44" y="25"/>
                    </a:lnTo>
                    <a:lnTo>
                      <a:pt x="46" y="25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54" y="25"/>
                    </a:lnTo>
                    <a:lnTo>
                      <a:pt x="56" y="25"/>
                    </a:lnTo>
                    <a:lnTo>
                      <a:pt x="56" y="27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7" y="25"/>
                    </a:lnTo>
                    <a:lnTo>
                      <a:pt x="59" y="27"/>
                    </a:lnTo>
                    <a:lnTo>
                      <a:pt x="59" y="25"/>
                    </a:lnTo>
                    <a:lnTo>
                      <a:pt x="61" y="25"/>
                    </a:lnTo>
                    <a:lnTo>
                      <a:pt x="63" y="25"/>
                    </a:lnTo>
                    <a:lnTo>
                      <a:pt x="65" y="25"/>
                    </a:lnTo>
                    <a:lnTo>
                      <a:pt x="67" y="27"/>
                    </a:lnTo>
                    <a:lnTo>
                      <a:pt x="67" y="25"/>
                    </a:lnTo>
                    <a:lnTo>
                      <a:pt x="69" y="27"/>
                    </a:lnTo>
                    <a:lnTo>
                      <a:pt x="67" y="27"/>
                    </a:lnTo>
                    <a:lnTo>
                      <a:pt x="69" y="27"/>
                    </a:lnTo>
                    <a:lnTo>
                      <a:pt x="71" y="27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3" y="31"/>
                    </a:lnTo>
                    <a:lnTo>
                      <a:pt x="71" y="31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69" y="35"/>
                    </a:lnTo>
                    <a:lnTo>
                      <a:pt x="69" y="36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7" y="40"/>
                    </a:lnTo>
                    <a:lnTo>
                      <a:pt x="65" y="38"/>
                    </a:lnTo>
                    <a:lnTo>
                      <a:pt x="65" y="40"/>
                    </a:lnTo>
                    <a:lnTo>
                      <a:pt x="63" y="40"/>
                    </a:lnTo>
                    <a:lnTo>
                      <a:pt x="63" y="44"/>
                    </a:lnTo>
                    <a:lnTo>
                      <a:pt x="63" y="42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59" y="42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6" y="44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4" y="48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4"/>
                    </a:lnTo>
                    <a:lnTo>
                      <a:pt x="54" y="56"/>
                    </a:lnTo>
                    <a:lnTo>
                      <a:pt x="54" y="57"/>
                    </a:lnTo>
                    <a:lnTo>
                      <a:pt x="54" y="59"/>
                    </a:lnTo>
                    <a:lnTo>
                      <a:pt x="54" y="61"/>
                    </a:lnTo>
                    <a:lnTo>
                      <a:pt x="56" y="61"/>
                    </a:lnTo>
                    <a:lnTo>
                      <a:pt x="56" y="59"/>
                    </a:lnTo>
                    <a:lnTo>
                      <a:pt x="56" y="57"/>
                    </a:lnTo>
                    <a:lnTo>
                      <a:pt x="56" y="59"/>
                    </a:lnTo>
                    <a:lnTo>
                      <a:pt x="57" y="59"/>
                    </a:lnTo>
                    <a:lnTo>
                      <a:pt x="57" y="61"/>
                    </a:lnTo>
                    <a:lnTo>
                      <a:pt x="57" y="63"/>
                    </a:lnTo>
                    <a:lnTo>
                      <a:pt x="59" y="63"/>
                    </a:lnTo>
                    <a:lnTo>
                      <a:pt x="57" y="63"/>
                    </a:lnTo>
                    <a:lnTo>
                      <a:pt x="59" y="65"/>
                    </a:lnTo>
                    <a:lnTo>
                      <a:pt x="59" y="63"/>
                    </a:lnTo>
                    <a:lnTo>
                      <a:pt x="61" y="63"/>
                    </a:lnTo>
                    <a:lnTo>
                      <a:pt x="61" y="61"/>
                    </a:lnTo>
                    <a:lnTo>
                      <a:pt x="61" y="59"/>
                    </a:lnTo>
                    <a:lnTo>
                      <a:pt x="61" y="57"/>
                    </a:lnTo>
                    <a:lnTo>
                      <a:pt x="61" y="56"/>
                    </a:lnTo>
                    <a:lnTo>
                      <a:pt x="63" y="56"/>
                    </a:lnTo>
                    <a:lnTo>
                      <a:pt x="65" y="56"/>
                    </a:lnTo>
                    <a:lnTo>
                      <a:pt x="63" y="52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5" y="52"/>
                    </a:lnTo>
                    <a:lnTo>
                      <a:pt x="67" y="52"/>
                    </a:lnTo>
                    <a:lnTo>
                      <a:pt x="67" y="50"/>
                    </a:lnTo>
                    <a:lnTo>
                      <a:pt x="67" y="52"/>
                    </a:lnTo>
                    <a:lnTo>
                      <a:pt x="69" y="52"/>
                    </a:lnTo>
                    <a:lnTo>
                      <a:pt x="69" y="50"/>
                    </a:lnTo>
                    <a:lnTo>
                      <a:pt x="69" y="52"/>
                    </a:lnTo>
                    <a:lnTo>
                      <a:pt x="69" y="54"/>
                    </a:lnTo>
                    <a:lnTo>
                      <a:pt x="69" y="56"/>
                    </a:lnTo>
                    <a:lnTo>
                      <a:pt x="71" y="56"/>
                    </a:lnTo>
                    <a:lnTo>
                      <a:pt x="71" y="57"/>
                    </a:lnTo>
                    <a:lnTo>
                      <a:pt x="71" y="59"/>
                    </a:lnTo>
                    <a:lnTo>
                      <a:pt x="71" y="61"/>
                    </a:lnTo>
                    <a:lnTo>
                      <a:pt x="71" y="65"/>
                    </a:lnTo>
                    <a:lnTo>
                      <a:pt x="73" y="65"/>
                    </a:lnTo>
                    <a:lnTo>
                      <a:pt x="73" y="67"/>
                    </a:lnTo>
                    <a:lnTo>
                      <a:pt x="73" y="69"/>
                    </a:lnTo>
                    <a:lnTo>
                      <a:pt x="73" y="71"/>
                    </a:lnTo>
                    <a:lnTo>
                      <a:pt x="73" y="73"/>
                    </a:lnTo>
                    <a:lnTo>
                      <a:pt x="75" y="75"/>
                    </a:lnTo>
                    <a:lnTo>
                      <a:pt x="75" y="78"/>
                    </a:lnTo>
                    <a:lnTo>
                      <a:pt x="73" y="78"/>
                    </a:lnTo>
                    <a:lnTo>
                      <a:pt x="75" y="78"/>
                    </a:lnTo>
                    <a:lnTo>
                      <a:pt x="75" y="80"/>
                    </a:lnTo>
                    <a:close/>
                    <a:moveTo>
                      <a:pt x="52" y="78"/>
                    </a:moveTo>
                    <a:lnTo>
                      <a:pt x="50" y="78"/>
                    </a:lnTo>
                    <a:lnTo>
                      <a:pt x="50" y="77"/>
                    </a:lnTo>
                    <a:lnTo>
                      <a:pt x="50" y="73"/>
                    </a:lnTo>
                    <a:lnTo>
                      <a:pt x="52" y="73"/>
                    </a:lnTo>
                    <a:lnTo>
                      <a:pt x="52" y="75"/>
                    </a:lnTo>
                    <a:lnTo>
                      <a:pt x="52" y="77"/>
                    </a:lnTo>
                    <a:lnTo>
                      <a:pt x="52" y="78"/>
                    </a:lnTo>
                    <a:close/>
                    <a:moveTo>
                      <a:pt x="57" y="73"/>
                    </a:moveTo>
                    <a:lnTo>
                      <a:pt x="57" y="75"/>
                    </a:lnTo>
                    <a:lnTo>
                      <a:pt x="56" y="73"/>
                    </a:lnTo>
                    <a:lnTo>
                      <a:pt x="56" y="71"/>
                    </a:lnTo>
                    <a:lnTo>
                      <a:pt x="57" y="71"/>
                    </a:lnTo>
                    <a:lnTo>
                      <a:pt x="57" y="73"/>
                    </a:lnTo>
                    <a:close/>
                    <a:moveTo>
                      <a:pt x="27" y="82"/>
                    </a:moveTo>
                    <a:lnTo>
                      <a:pt x="29" y="84"/>
                    </a:lnTo>
                    <a:lnTo>
                      <a:pt x="27" y="84"/>
                    </a:lnTo>
                    <a:lnTo>
                      <a:pt x="25" y="82"/>
                    </a:lnTo>
                    <a:lnTo>
                      <a:pt x="27" y="82"/>
                    </a:lnTo>
                    <a:close/>
                    <a:moveTo>
                      <a:pt x="48" y="78"/>
                    </a:moveTo>
                    <a:lnTo>
                      <a:pt x="48" y="75"/>
                    </a:lnTo>
                    <a:lnTo>
                      <a:pt x="48" y="77"/>
                    </a:lnTo>
                    <a:lnTo>
                      <a:pt x="48" y="78"/>
                    </a:lnTo>
                    <a:close/>
                    <a:moveTo>
                      <a:pt x="54" y="69"/>
                    </a:moveTo>
                    <a:lnTo>
                      <a:pt x="56" y="69"/>
                    </a:lnTo>
                    <a:lnTo>
                      <a:pt x="54" y="69"/>
                    </a:lnTo>
                    <a:close/>
                    <a:moveTo>
                      <a:pt x="46" y="71"/>
                    </a:moveTo>
                    <a:lnTo>
                      <a:pt x="48" y="71"/>
                    </a:lnTo>
                    <a:lnTo>
                      <a:pt x="48" y="73"/>
                    </a:lnTo>
                    <a:lnTo>
                      <a:pt x="46" y="73"/>
                    </a:lnTo>
                    <a:lnTo>
                      <a:pt x="46" y="71"/>
                    </a:lnTo>
                    <a:close/>
                    <a:moveTo>
                      <a:pt x="19" y="84"/>
                    </a:moveTo>
                    <a:lnTo>
                      <a:pt x="19" y="86"/>
                    </a:lnTo>
                    <a:lnTo>
                      <a:pt x="17" y="84"/>
                    </a:lnTo>
                    <a:lnTo>
                      <a:pt x="17" y="82"/>
                    </a:lnTo>
                    <a:lnTo>
                      <a:pt x="17" y="84"/>
                    </a:lnTo>
                    <a:lnTo>
                      <a:pt x="19" y="84"/>
                    </a:lnTo>
                    <a:close/>
                    <a:moveTo>
                      <a:pt x="25" y="82"/>
                    </a:moveTo>
                    <a:lnTo>
                      <a:pt x="27" y="82"/>
                    </a:lnTo>
                    <a:lnTo>
                      <a:pt x="27" y="86"/>
                    </a:lnTo>
                    <a:lnTo>
                      <a:pt x="25" y="86"/>
                    </a:lnTo>
                    <a:lnTo>
                      <a:pt x="25" y="82"/>
                    </a:lnTo>
                    <a:close/>
                    <a:moveTo>
                      <a:pt x="61" y="84"/>
                    </a:moveTo>
                    <a:lnTo>
                      <a:pt x="63" y="84"/>
                    </a:lnTo>
                    <a:lnTo>
                      <a:pt x="61" y="82"/>
                    </a:lnTo>
                    <a:lnTo>
                      <a:pt x="63" y="82"/>
                    </a:lnTo>
                    <a:lnTo>
                      <a:pt x="61" y="84"/>
                    </a:lnTo>
                    <a:close/>
                    <a:moveTo>
                      <a:pt x="29" y="80"/>
                    </a:moveTo>
                    <a:lnTo>
                      <a:pt x="31" y="80"/>
                    </a:lnTo>
                    <a:lnTo>
                      <a:pt x="31" y="82"/>
                    </a:lnTo>
                    <a:lnTo>
                      <a:pt x="29" y="82"/>
                    </a:lnTo>
                    <a:lnTo>
                      <a:pt x="29" y="80"/>
                    </a:lnTo>
                    <a:close/>
                    <a:moveTo>
                      <a:pt x="19" y="84"/>
                    </a:moveTo>
                    <a:lnTo>
                      <a:pt x="21" y="84"/>
                    </a:lnTo>
                    <a:lnTo>
                      <a:pt x="19" y="84"/>
                    </a:lnTo>
                    <a:close/>
                    <a:moveTo>
                      <a:pt x="40" y="80"/>
                    </a:moveTo>
                    <a:lnTo>
                      <a:pt x="42" y="80"/>
                    </a:lnTo>
                    <a:lnTo>
                      <a:pt x="42" y="82"/>
                    </a:lnTo>
                    <a:lnTo>
                      <a:pt x="40" y="82"/>
                    </a:lnTo>
                    <a:lnTo>
                      <a:pt x="40" y="80"/>
                    </a:lnTo>
                    <a:close/>
                    <a:moveTo>
                      <a:pt x="48" y="73"/>
                    </a:moveTo>
                    <a:lnTo>
                      <a:pt x="50" y="73"/>
                    </a:lnTo>
                    <a:lnTo>
                      <a:pt x="50" y="75"/>
                    </a:lnTo>
                    <a:lnTo>
                      <a:pt x="48" y="75"/>
                    </a:lnTo>
                    <a:lnTo>
                      <a:pt x="48" y="73"/>
                    </a:lnTo>
                    <a:close/>
                    <a:moveTo>
                      <a:pt x="42" y="80"/>
                    </a:moveTo>
                    <a:lnTo>
                      <a:pt x="44" y="80"/>
                    </a:lnTo>
                    <a:lnTo>
                      <a:pt x="44" y="82"/>
                    </a:lnTo>
                    <a:lnTo>
                      <a:pt x="42" y="82"/>
                    </a:lnTo>
                    <a:lnTo>
                      <a:pt x="42" y="80"/>
                    </a:lnTo>
                    <a:close/>
                    <a:moveTo>
                      <a:pt x="21" y="84"/>
                    </a:moveTo>
                    <a:lnTo>
                      <a:pt x="21" y="86"/>
                    </a:lnTo>
                    <a:lnTo>
                      <a:pt x="21" y="84"/>
                    </a:lnTo>
                    <a:close/>
                    <a:moveTo>
                      <a:pt x="48" y="78"/>
                    </a:moveTo>
                    <a:lnTo>
                      <a:pt x="50" y="78"/>
                    </a:lnTo>
                    <a:lnTo>
                      <a:pt x="50" y="80"/>
                    </a:lnTo>
                    <a:lnTo>
                      <a:pt x="48" y="80"/>
                    </a:lnTo>
                    <a:lnTo>
                      <a:pt x="48" y="78"/>
                    </a:lnTo>
                    <a:close/>
                    <a:moveTo>
                      <a:pt x="19" y="86"/>
                    </a:moveTo>
                    <a:lnTo>
                      <a:pt x="21" y="86"/>
                    </a:lnTo>
                    <a:lnTo>
                      <a:pt x="19" y="86"/>
                    </a:lnTo>
                    <a:close/>
                    <a:moveTo>
                      <a:pt x="50" y="71"/>
                    </a:moveTo>
                    <a:lnTo>
                      <a:pt x="52" y="71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50" y="71"/>
                    </a:lnTo>
                    <a:close/>
                    <a:moveTo>
                      <a:pt x="54" y="71"/>
                    </a:moveTo>
                    <a:lnTo>
                      <a:pt x="54" y="73"/>
                    </a:lnTo>
                    <a:lnTo>
                      <a:pt x="54" y="71"/>
                    </a:lnTo>
                    <a:close/>
                    <a:moveTo>
                      <a:pt x="40" y="82"/>
                    </a:moveTo>
                    <a:lnTo>
                      <a:pt x="40" y="84"/>
                    </a:lnTo>
                    <a:lnTo>
                      <a:pt x="40" y="82"/>
                    </a:lnTo>
                    <a:close/>
                    <a:moveTo>
                      <a:pt x="48" y="73"/>
                    </a:moveTo>
                    <a:lnTo>
                      <a:pt x="48" y="75"/>
                    </a:lnTo>
                    <a:lnTo>
                      <a:pt x="48" y="73"/>
                    </a:lnTo>
                    <a:close/>
                    <a:moveTo>
                      <a:pt x="25" y="80"/>
                    </a:moveTo>
                    <a:lnTo>
                      <a:pt x="25" y="82"/>
                    </a:lnTo>
                    <a:lnTo>
                      <a:pt x="25" y="80"/>
                    </a:lnTo>
                    <a:close/>
                    <a:moveTo>
                      <a:pt x="50" y="78"/>
                    </a:moveTo>
                    <a:lnTo>
                      <a:pt x="50" y="80"/>
                    </a:lnTo>
                    <a:lnTo>
                      <a:pt x="50" y="78"/>
                    </a:lnTo>
                    <a:close/>
                    <a:moveTo>
                      <a:pt x="40" y="82"/>
                    </a:moveTo>
                    <a:lnTo>
                      <a:pt x="42" y="82"/>
                    </a:lnTo>
                    <a:lnTo>
                      <a:pt x="40" y="82"/>
                    </a:lnTo>
                    <a:close/>
                    <a:moveTo>
                      <a:pt x="50" y="75"/>
                    </a:moveTo>
                    <a:lnTo>
                      <a:pt x="50" y="77"/>
                    </a:lnTo>
                    <a:lnTo>
                      <a:pt x="50" y="75"/>
                    </a:lnTo>
                    <a:close/>
                    <a:moveTo>
                      <a:pt x="42" y="82"/>
                    </a:moveTo>
                    <a:lnTo>
                      <a:pt x="44" y="82"/>
                    </a:lnTo>
                    <a:lnTo>
                      <a:pt x="42" y="82"/>
                    </a:lnTo>
                    <a:close/>
                    <a:moveTo>
                      <a:pt x="42" y="80"/>
                    </a:moveTo>
                    <a:lnTo>
                      <a:pt x="42" y="82"/>
                    </a:lnTo>
                    <a:lnTo>
                      <a:pt x="42" y="80"/>
                    </a:lnTo>
                    <a:close/>
                    <a:moveTo>
                      <a:pt x="46" y="78"/>
                    </a:moveTo>
                    <a:lnTo>
                      <a:pt x="48" y="78"/>
                    </a:lnTo>
                    <a:lnTo>
                      <a:pt x="48" y="80"/>
                    </a:lnTo>
                    <a:lnTo>
                      <a:pt x="46" y="80"/>
                    </a:lnTo>
                    <a:lnTo>
                      <a:pt x="46" y="78"/>
                    </a:lnTo>
                    <a:close/>
                    <a:moveTo>
                      <a:pt x="69" y="103"/>
                    </a:moveTo>
                    <a:lnTo>
                      <a:pt x="71" y="103"/>
                    </a:lnTo>
                    <a:lnTo>
                      <a:pt x="71" y="105"/>
                    </a:lnTo>
                    <a:lnTo>
                      <a:pt x="69" y="105"/>
                    </a:lnTo>
                    <a:lnTo>
                      <a:pt x="69" y="103"/>
                    </a:lnTo>
                    <a:close/>
                    <a:moveTo>
                      <a:pt x="31" y="82"/>
                    </a:moveTo>
                    <a:lnTo>
                      <a:pt x="31" y="84"/>
                    </a:lnTo>
                    <a:lnTo>
                      <a:pt x="31" y="82"/>
                    </a:lnTo>
                    <a:close/>
                    <a:moveTo>
                      <a:pt x="46" y="73"/>
                    </a:moveTo>
                    <a:lnTo>
                      <a:pt x="46" y="75"/>
                    </a:lnTo>
                    <a:lnTo>
                      <a:pt x="46" y="7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8" name="Freeform 166">
                <a:extLst>
                  <a:ext uri="{FF2B5EF4-FFF2-40B4-BE49-F238E27FC236}">
                    <a16:creationId xmlns:a16="http://schemas.microsoft.com/office/drawing/2014/main" id="{6AE596A6-7C41-84AA-61E4-571C0AC7CE2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52827" y="-2156009"/>
                <a:ext cx="625508" cy="222574"/>
              </a:xfrm>
              <a:custGeom>
                <a:avLst/>
                <a:gdLst>
                  <a:gd name="T0" fmla="*/ 321 w 397"/>
                  <a:gd name="T1" fmla="*/ 47 h 141"/>
                  <a:gd name="T2" fmla="*/ 321 w 397"/>
                  <a:gd name="T3" fmla="*/ 47 h 141"/>
                  <a:gd name="T4" fmla="*/ 321 w 397"/>
                  <a:gd name="T5" fmla="*/ 47 h 141"/>
                  <a:gd name="T6" fmla="*/ 319 w 397"/>
                  <a:gd name="T7" fmla="*/ 45 h 141"/>
                  <a:gd name="T8" fmla="*/ 323 w 397"/>
                  <a:gd name="T9" fmla="*/ 45 h 141"/>
                  <a:gd name="T10" fmla="*/ 395 w 397"/>
                  <a:gd name="T11" fmla="*/ 70 h 141"/>
                  <a:gd name="T12" fmla="*/ 397 w 397"/>
                  <a:gd name="T13" fmla="*/ 72 h 141"/>
                  <a:gd name="T14" fmla="*/ 395 w 397"/>
                  <a:gd name="T15" fmla="*/ 70 h 141"/>
                  <a:gd name="T16" fmla="*/ 2 w 397"/>
                  <a:gd name="T17" fmla="*/ 3 h 141"/>
                  <a:gd name="T18" fmla="*/ 0 w 397"/>
                  <a:gd name="T19" fmla="*/ 5 h 141"/>
                  <a:gd name="T20" fmla="*/ 214 w 397"/>
                  <a:gd name="T21" fmla="*/ 38 h 141"/>
                  <a:gd name="T22" fmla="*/ 216 w 397"/>
                  <a:gd name="T23" fmla="*/ 40 h 141"/>
                  <a:gd name="T24" fmla="*/ 214 w 397"/>
                  <a:gd name="T25" fmla="*/ 38 h 141"/>
                  <a:gd name="T26" fmla="*/ 220 w 397"/>
                  <a:gd name="T27" fmla="*/ 40 h 141"/>
                  <a:gd name="T28" fmla="*/ 275 w 397"/>
                  <a:gd name="T29" fmla="*/ 36 h 141"/>
                  <a:gd name="T30" fmla="*/ 273 w 397"/>
                  <a:gd name="T31" fmla="*/ 34 h 141"/>
                  <a:gd name="T32" fmla="*/ 273 w 397"/>
                  <a:gd name="T33" fmla="*/ 34 h 141"/>
                  <a:gd name="T34" fmla="*/ 275 w 397"/>
                  <a:gd name="T35" fmla="*/ 36 h 141"/>
                  <a:gd name="T36" fmla="*/ 277 w 397"/>
                  <a:gd name="T37" fmla="*/ 34 h 141"/>
                  <a:gd name="T38" fmla="*/ 275 w 397"/>
                  <a:gd name="T39" fmla="*/ 38 h 141"/>
                  <a:gd name="T40" fmla="*/ 218 w 397"/>
                  <a:gd name="T41" fmla="*/ 38 h 141"/>
                  <a:gd name="T42" fmla="*/ 218 w 397"/>
                  <a:gd name="T43" fmla="*/ 38 h 141"/>
                  <a:gd name="T44" fmla="*/ 2 w 397"/>
                  <a:gd name="T45" fmla="*/ 3 h 141"/>
                  <a:gd name="T46" fmla="*/ 38 w 397"/>
                  <a:gd name="T47" fmla="*/ 0 h 141"/>
                  <a:gd name="T48" fmla="*/ 38 w 397"/>
                  <a:gd name="T49" fmla="*/ 0 h 141"/>
                  <a:gd name="T50" fmla="*/ 258 w 397"/>
                  <a:gd name="T51" fmla="*/ 28 h 141"/>
                  <a:gd name="T52" fmla="*/ 317 w 397"/>
                  <a:gd name="T53" fmla="*/ 47 h 141"/>
                  <a:gd name="T54" fmla="*/ 317 w 397"/>
                  <a:gd name="T55" fmla="*/ 47 h 141"/>
                  <a:gd name="T56" fmla="*/ 101 w 397"/>
                  <a:gd name="T57" fmla="*/ 42 h 141"/>
                  <a:gd name="T58" fmla="*/ 143 w 397"/>
                  <a:gd name="T59" fmla="*/ 38 h 141"/>
                  <a:gd name="T60" fmla="*/ 143 w 397"/>
                  <a:gd name="T61" fmla="*/ 38 h 141"/>
                  <a:gd name="T62" fmla="*/ 277 w 397"/>
                  <a:gd name="T63" fmla="*/ 38 h 141"/>
                  <a:gd name="T64" fmla="*/ 246 w 397"/>
                  <a:gd name="T65" fmla="*/ 66 h 141"/>
                  <a:gd name="T66" fmla="*/ 246 w 397"/>
                  <a:gd name="T67" fmla="*/ 66 h 141"/>
                  <a:gd name="T68" fmla="*/ 267 w 397"/>
                  <a:gd name="T69" fmla="*/ 139 h 141"/>
                  <a:gd name="T70" fmla="*/ 265 w 397"/>
                  <a:gd name="T71" fmla="*/ 141 h 141"/>
                  <a:gd name="T72" fmla="*/ 220 w 397"/>
                  <a:gd name="T73" fmla="*/ 42 h 141"/>
                  <a:gd name="T74" fmla="*/ 220 w 397"/>
                  <a:gd name="T75" fmla="*/ 42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97" h="141">
                    <a:moveTo>
                      <a:pt x="323" y="47"/>
                    </a:moveTo>
                    <a:lnTo>
                      <a:pt x="321" y="47"/>
                    </a:lnTo>
                    <a:lnTo>
                      <a:pt x="319" y="47"/>
                    </a:lnTo>
                    <a:lnTo>
                      <a:pt x="321" y="47"/>
                    </a:lnTo>
                    <a:lnTo>
                      <a:pt x="319" y="47"/>
                    </a:lnTo>
                    <a:lnTo>
                      <a:pt x="321" y="47"/>
                    </a:lnTo>
                    <a:lnTo>
                      <a:pt x="319" y="47"/>
                    </a:lnTo>
                    <a:lnTo>
                      <a:pt x="319" y="45"/>
                    </a:lnTo>
                    <a:lnTo>
                      <a:pt x="321" y="45"/>
                    </a:lnTo>
                    <a:lnTo>
                      <a:pt x="323" y="45"/>
                    </a:lnTo>
                    <a:lnTo>
                      <a:pt x="323" y="47"/>
                    </a:lnTo>
                    <a:close/>
                    <a:moveTo>
                      <a:pt x="395" y="70"/>
                    </a:moveTo>
                    <a:lnTo>
                      <a:pt x="397" y="70"/>
                    </a:lnTo>
                    <a:lnTo>
                      <a:pt x="397" y="72"/>
                    </a:lnTo>
                    <a:lnTo>
                      <a:pt x="395" y="72"/>
                    </a:lnTo>
                    <a:lnTo>
                      <a:pt x="395" y="70"/>
                    </a:lnTo>
                    <a:close/>
                    <a:moveTo>
                      <a:pt x="0" y="3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  <a:moveTo>
                      <a:pt x="214" y="38"/>
                    </a:moveTo>
                    <a:lnTo>
                      <a:pt x="216" y="38"/>
                    </a:lnTo>
                    <a:lnTo>
                      <a:pt x="216" y="40"/>
                    </a:lnTo>
                    <a:lnTo>
                      <a:pt x="214" y="40"/>
                    </a:lnTo>
                    <a:lnTo>
                      <a:pt x="214" y="38"/>
                    </a:lnTo>
                    <a:close/>
                    <a:moveTo>
                      <a:pt x="220" y="38"/>
                    </a:moveTo>
                    <a:lnTo>
                      <a:pt x="220" y="40"/>
                    </a:lnTo>
                    <a:lnTo>
                      <a:pt x="220" y="38"/>
                    </a:lnTo>
                    <a:close/>
                    <a:moveTo>
                      <a:pt x="275" y="36"/>
                    </a:moveTo>
                    <a:lnTo>
                      <a:pt x="273" y="36"/>
                    </a:lnTo>
                    <a:lnTo>
                      <a:pt x="273" y="34"/>
                    </a:lnTo>
                    <a:lnTo>
                      <a:pt x="271" y="34"/>
                    </a:lnTo>
                    <a:lnTo>
                      <a:pt x="273" y="34"/>
                    </a:lnTo>
                    <a:lnTo>
                      <a:pt x="273" y="36"/>
                    </a:lnTo>
                    <a:lnTo>
                      <a:pt x="275" y="36"/>
                    </a:lnTo>
                    <a:close/>
                    <a:moveTo>
                      <a:pt x="275" y="34"/>
                    </a:moveTo>
                    <a:lnTo>
                      <a:pt x="277" y="34"/>
                    </a:lnTo>
                    <a:lnTo>
                      <a:pt x="277" y="38"/>
                    </a:lnTo>
                    <a:lnTo>
                      <a:pt x="275" y="38"/>
                    </a:lnTo>
                    <a:lnTo>
                      <a:pt x="275" y="34"/>
                    </a:lnTo>
                    <a:close/>
                    <a:moveTo>
                      <a:pt x="218" y="38"/>
                    </a:moveTo>
                    <a:lnTo>
                      <a:pt x="218" y="40"/>
                    </a:lnTo>
                    <a:lnTo>
                      <a:pt x="218" y="38"/>
                    </a:lnTo>
                    <a:close/>
                    <a:moveTo>
                      <a:pt x="2" y="2"/>
                    </a:moveTo>
                    <a:lnTo>
                      <a:pt x="2" y="3"/>
                    </a:lnTo>
                    <a:lnTo>
                      <a:pt x="2" y="2"/>
                    </a:lnTo>
                    <a:close/>
                    <a:moveTo>
                      <a:pt x="38" y="0"/>
                    </a:moveTo>
                    <a:lnTo>
                      <a:pt x="40" y="0"/>
                    </a:lnTo>
                    <a:lnTo>
                      <a:pt x="38" y="0"/>
                    </a:lnTo>
                    <a:close/>
                    <a:moveTo>
                      <a:pt x="258" y="26"/>
                    </a:moveTo>
                    <a:lnTo>
                      <a:pt x="258" y="28"/>
                    </a:lnTo>
                    <a:lnTo>
                      <a:pt x="258" y="26"/>
                    </a:lnTo>
                    <a:close/>
                    <a:moveTo>
                      <a:pt x="317" y="47"/>
                    </a:moveTo>
                    <a:lnTo>
                      <a:pt x="317" y="49"/>
                    </a:lnTo>
                    <a:lnTo>
                      <a:pt x="317" y="47"/>
                    </a:lnTo>
                    <a:close/>
                    <a:moveTo>
                      <a:pt x="101" y="40"/>
                    </a:moveTo>
                    <a:lnTo>
                      <a:pt x="101" y="42"/>
                    </a:lnTo>
                    <a:lnTo>
                      <a:pt x="101" y="40"/>
                    </a:lnTo>
                    <a:close/>
                    <a:moveTo>
                      <a:pt x="143" y="38"/>
                    </a:moveTo>
                    <a:lnTo>
                      <a:pt x="143" y="40"/>
                    </a:lnTo>
                    <a:lnTo>
                      <a:pt x="143" y="38"/>
                    </a:lnTo>
                    <a:close/>
                    <a:moveTo>
                      <a:pt x="275" y="38"/>
                    </a:moveTo>
                    <a:lnTo>
                      <a:pt x="277" y="38"/>
                    </a:lnTo>
                    <a:lnTo>
                      <a:pt x="275" y="38"/>
                    </a:lnTo>
                    <a:close/>
                    <a:moveTo>
                      <a:pt x="246" y="66"/>
                    </a:moveTo>
                    <a:lnTo>
                      <a:pt x="246" y="68"/>
                    </a:lnTo>
                    <a:lnTo>
                      <a:pt x="246" y="66"/>
                    </a:lnTo>
                    <a:close/>
                    <a:moveTo>
                      <a:pt x="265" y="139"/>
                    </a:moveTo>
                    <a:lnTo>
                      <a:pt x="267" y="139"/>
                    </a:lnTo>
                    <a:lnTo>
                      <a:pt x="267" y="141"/>
                    </a:lnTo>
                    <a:lnTo>
                      <a:pt x="265" y="141"/>
                    </a:lnTo>
                    <a:lnTo>
                      <a:pt x="265" y="139"/>
                    </a:lnTo>
                    <a:close/>
                    <a:moveTo>
                      <a:pt x="220" y="42"/>
                    </a:moveTo>
                    <a:lnTo>
                      <a:pt x="221" y="42"/>
                    </a:lnTo>
                    <a:lnTo>
                      <a:pt x="220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2" name="Freeform 167">
                <a:extLst>
                  <a:ext uri="{FF2B5EF4-FFF2-40B4-BE49-F238E27FC236}">
                    <a16:creationId xmlns:a16="http://schemas.microsoft.com/office/drawing/2014/main" id="{D60B15A9-6CB3-10E3-53DE-84C55DBFCCA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730870" y="-2414891"/>
                <a:ext cx="17332" cy="146804"/>
              </a:xfrm>
              <a:custGeom>
                <a:avLst/>
                <a:gdLst>
                  <a:gd name="T0" fmla="*/ 11 w 11"/>
                  <a:gd name="T1" fmla="*/ 74 h 93"/>
                  <a:gd name="T2" fmla="*/ 9 w 11"/>
                  <a:gd name="T3" fmla="*/ 76 h 93"/>
                  <a:gd name="T4" fmla="*/ 9 w 11"/>
                  <a:gd name="T5" fmla="*/ 78 h 93"/>
                  <a:gd name="T6" fmla="*/ 9 w 11"/>
                  <a:gd name="T7" fmla="*/ 76 h 93"/>
                  <a:gd name="T8" fmla="*/ 9 w 11"/>
                  <a:gd name="T9" fmla="*/ 74 h 93"/>
                  <a:gd name="T10" fmla="*/ 11 w 11"/>
                  <a:gd name="T11" fmla="*/ 74 h 93"/>
                  <a:gd name="T12" fmla="*/ 7 w 11"/>
                  <a:gd name="T13" fmla="*/ 78 h 93"/>
                  <a:gd name="T14" fmla="*/ 7 w 11"/>
                  <a:gd name="T15" fmla="*/ 80 h 93"/>
                  <a:gd name="T16" fmla="*/ 7 w 11"/>
                  <a:gd name="T17" fmla="*/ 78 h 93"/>
                  <a:gd name="T18" fmla="*/ 0 w 11"/>
                  <a:gd name="T19" fmla="*/ 93 h 93"/>
                  <a:gd name="T20" fmla="*/ 2 w 11"/>
                  <a:gd name="T21" fmla="*/ 93 h 93"/>
                  <a:gd name="T22" fmla="*/ 0 w 11"/>
                  <a:gd name="T23" fmla="*/ 93 h 93"/>
                  <a:gd name="T24" fmla="*/ 9 w 11"/>
                  <a:gd name="T25" fmla="*/ 26 h 93"/>
                  <a:gd name="T26" fmla="*/ 11 w 11"/>
                  <a:gd name="T27" fmla="*/ 26 h 93"/>
                  <a:gd name="T28" fmla="*/ 11 w 11"/>
                  <a:gd name="T29" fmla="*/ 28 h 93"/>
                  <a:gd name="T30" fmla="*/ 9 w 11"/>
                  <a:gd name="T31" fmla="*/ 28 h 93"/>
                  <a:gd name="T32" fmla="*/ 9 w 11"/>
                  <a:gd name="T33" fmla="*/ 26 h 93"/>
                  <a:gd name="T34" fmla="*/ 7 w 11"/>
                  <a:gd name="T35" fmla="*/ 15 h 93"/>
                  <a:gd name="T36" fmla="*/ 9 w 11"/>
                  <a:gd name="T37" fmla="*/ 15 h 93"/>
                  <a:gd name="T38" fmla="*/ 9 w 11"/>
                  <a:gd name="T39" fmla="*/ 17 h 93"/>
                  <a:gd name="T40" fmla="*/ 7 w 11"/>
                  <a:gd name="T41" fmla="*/ 17 h 93"/>
                  <a:gd name="T42" fmla="*/ 7 w 11"/>
                  <a:gd name="T43" fmla="*/ 15 h 93"/>
                  <a:gd name="T44" fmla="*/ 7 w 11"/>
                  <a:gd name="T45" fmla="*/ 57 h 93"/>
                  <a:gd name="T46" fmla="*/ 9 w 11"/>
                  <a:gd name="T47" fmla="*/ 57 h 93"/>
                  <a:gd name="T48" fmla="*/ 7 w 11"/>
                  <a:gd name="T49" fmla="*/ 57 h 93"/>
                  <a:gd name="T50" fmla="*/ 4 w 11"/>
                  <a:gd name="T51" fmla="*/ 0 h 93"/>
                  <a:gd name="T52" fmla="*/ 4 w 11"/>
                  <a:gd name="T53" fmla="*/ 1 h 93"/>
                  <a:gd name="T54" fmla="*/ 4 w 11"/>
                  <a:gd name="T55" fmla="*/ 0 h 93"/>
                  <a:gd name="T56" fmla="*/ 6 w 11"/>
                  <a:gd name="T57" fmla="*/ 82 h 93"/>
                  <a:gd name="T58" fmla="*/ 7 w 11"/>
                  <a:gd name="T59" fmla="*/ 82 h 93"/>
                  <a:gd name="T60" fmla="*/ 6 w 11"/>
                  <a:gd name="T61" fmla="*/ 82 h 93"/>
                  <a:gd name="T62" fmla="*/ 11 w 11"/>
                  <a:gd name="T63" fmla="*/ 40 h 93"/>
                  <a:gd name="T64" fmla="*/ 11 w 11"/>
                  <a:gd name="T65" fmla="*/ 42 h 93"/>
                  <a:gd name="T66" fmla="*/ 11 w 11"/>
                  <a:gd name="T67" fmla="*/ 4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" h="93">
                    <a:moveTo>
                      <a:pt x="11" y="74"/>
                    </a:moveTo>
                    <a:lnTo>
                      <a:pt x="9" y="76"/>
                    </a:lnTo>
                    <a:lnTo>
                      <a:pt x="9" y="78"/>
                    </a:lnTo>
                    <a:lnTo>
                      <a:pt x="9" y="76"/>
                    </a:lnTo>
                    <a:lnTo>
                      <a:pt x="9" y="74"/>
                    </a:lnTo>
                    <a:lnTo>
                      <a:pt x="11" y="74"/>
                    </a:lnTo>
                    <a:close/>
                    <a:moveTo>
                      <a:pt x="7" y="78"/>
                    </a:moveTo>
                    <a:lnTo>
                      <a:pt x="7" y="80"/>
                    </a:lnTo>
                    <a:lnTo>
                      <a:pt x="7" y="78"/>
                    </a:lnTo>
                    <a:close/>
                    <a:moveTo>
                      <a:pt x="0" y="93"/>
                    </a:moveTo>
                    <a:lnTo>
                      <a:pt x="2" y="93"/>
                    </a:lnTo>
                    <a:lnTo>
                      <a:pt x="0" y="93"/>
                    </a:lnTo>
                    <a:close/>
                    <a:moveTo>
                      <a:pt x="9" y="26"/>
                    </a:moveTo>
                    <a:lnTo>
                      <a:pt x="11" y="26"/>
                    </a:lnTo>
                    <a:lnTo>
                      <a:pt x="11" y="28"/>
                    </a:lnTo>
                    <a:lnTo>
                      <a:pt x="9" y="28"/>
                    </a:lnTo>
                    <a:lnTo>
                      <a:pt x="9" y="26"/>
                    </a:lnTo>
                    <a:close/>
                    <a:moveTo>
                      <a:pt x="7" y="15"/>
                    </a:moveTo>
                    <a:lnTo>
                      <a:pt x="9" y="15"/>
                    </a:lnTo>
                    <a:lnTo>
                      <a:pt x="9" y="17"/>
                    </a:lnTo>
                    <a:lnTo>
                      <a:pt x="7" y="17"/>
                    </a:lnTo>
                    <a:lnTo>
                      <a:pt x="7" y="15"/>
                    </a:lnTo>
                    <a:close/>
                    <a:moveTo>
                      <a:pt x="7" y="57"/>
                    </a:moveTo>
                    <a:lnTo>
                      <a:pt x="9" y="57"/>
                    </a:lnTo>
                    <a:lnTo>
                      <a:pt x="7" y="57"/>
                    </a:lnTo>
                    <a:close/>
                    <a:moveTo>
                      <a:pt x="4" y="0"/>
                    </a:moveTo>
                    <a:lnTo>
                      <a:pt x="4" y="1"/>
                    </a:lnTo>
                    <a:lnTo>
                      <a:pt x="4" y="0"/>
                    </a:lnTo>
                    <a:close/>
                    <a:moveTo>
                      <a:pt x="6" y="82"/>
                    </a:moveTo>
                    <a:lnTo>
                      <a:pt x="7" y="82"/>
                    </a:lnTo>
                    <a:lnTo>
                      <a:pt x="6" y="82"/>
                    </a:lnTo>
                    <a:close/>
                    <a:moveTo>
                      <a:pt x="11" y="40"/>
                    </a:moveTo>
                    <a:lnTo>
                      <a:pt x="11" y="42"/>
                    </a:lnTo>
                    <a:lnTo>
                      <a:pt x="11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2" name="Freeform 168">
                <a:extLst>
                  <a:ext uri="{FF2B5EF4-FFF2-40B4-BE49-F238E27FC236}">
                    <a16:creationId xmlns:a16="http://schemas.microsoft.com/office/drawing/2014/main" id="{FD82D71A-BDA9-9EAE-F0C7-DE8C402FCCA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124766" y="-2283869"/>
                <a:ext cx="282030" cy="260460"/>
              </a:xfrm>
              <a:custGeom>
                <a:avLst/>
                <a:gdLst>
                  <a:gd name="T0" fmla="*/ 162 w 179"/>
                  <a:gd name="T1" fmla="*/ 125 h 165"/>
                  <a:gd name="T2" fmla="*/ 166 w 179"/>
                  <a:gd name="T3" fmla="*/ 125 h 165"/>
                  <a:gd name="T4" fmla="*/ 167 w 179"/>
                  <a:gd name="T5" fmla="*/ 125 h 165"/>
                  <a:gd name="T6" fmla="*/ 169 w 179"/>
                  <a:gd name="T7" fmla="*/ 125 h 165"/>
                  <a:gd name="T8" fmla="*/ 175 w 179"/>
                  <a:gd name="T9" fmla="*/ 125 h 165"/>
                  <a:gd name="T10" fmla="*/ 173 w 179"/>
                  <a:gd name="T11" fmla="*/ 125 h 165"/>
                  <a:gd name="T12" fmla="*/ 139 w 179"/>
                  <a:gd name="T13" fmla="*/ 146 h 165"/>
                  <a:gd name="T14" fmla="*/ 177 w 179"/>
                  <a:gd name="T15" fmla="*/ 142 h 165"/>
                  <a:gd name="T16" fmla="*/ 127 w 179"/>
                  <a:gd name="T17" fmla="*/ 121 h 165"/>
                  <a:gd name="T18" fmla="*/ 160 w 179"/>
                  <a:gd name="T19" fmla="*/ 73 h 165"/>
                  <a:gd name="T20" fmla="*/ 116 w 179"/>
                  <a:gd name="T21" fmla="*/ 147 h 165"/>
                  <a:gd name="T22" fmla="*/ 179 w 179"/>
                  <a:gd name="T23" fmla="*/ 142 h 165"/>
                  <a:gd name="T24" fmla="*/ 125 w 179"/>
                  <a:gd name="T25" fmla="*/ 165 h 165"/>
                  <a:gd name="T26" fmla="*/ 129 w 179"/>
                  <a:gd name="T27" fmla="*/ 0 h 165"/>
                  <a:gd name="T28" fmla="*/ 127 w 179"/>
                  <a:gd name="T29" fmla="*/ 0 h 165"/>
                  <a:gd name="T30" fmla="*/ 95 w 179"/>
                  <a:gd name="T31" fmla="*/ 58 h 165"/>
                  <a:gd name="T32" fmla="*/ 127 w 179"/>
                  <a:gd name="T33" fmla="*/ 117 h 165"/>
                  <a:gd name="T34" fmla="*/ 171 w 179"/>
                  <a:gd name="T35" fmla="*/ 121 h 165"/>
                  <a:gd name="T36" fmla="*/ 74 w 179"/>
                  <a:gd name="T37" fmla="*/ 50 h 165"/>
                  <a:gd name="T38" fmla="*/ 104 w 179"/>
                  <a:gd name="T39" fmla="*/ 86 h 165"/>
                  <a:gd name="T40" fmla="*/ 110 w 179"/>
                  <a:gd name="T41" fmla="*/ 98 h 165"/>
                  <a:gd name="T42" fmla="*/ 166 w 179"/>
                  <a:gd name="T43" fmla="*/ 123 h 165"/>
                  <a:gd name="T44" fmla="*/ 164 w 179"/>
                  <a:gd name="T45" fmla="*/ 98 h 165"/>
                  <a:gd name="T46" fmla="*/ 145 w 179"/>
                  <a:gd name="T47" fmla="*/ 73 h 165"/>
                  <a:gd name="T48" fmla="*/ 133 w 179"/>
                  <a:gd name="T49" fmla="*/ 81 h 165"/>
                  <a:gd name="T50" fmla="*/ 124 w 179"/>
                  <a:gd name="T51" fmla="*/ 121 h 165"/>
                  <a:gd name="T52" fmla="*/ 139 w 179"/>
                  <a:gd name="T53" fmla="*/ 142 h 165"/>
                  <a:gd name="T54" fmla="*/ 139 w 179"/>
                  <a:gd name="T55" fmla="*/ 144 h 165"/>
                  <a:gd name="T56" fmla="*/ 139 w 179"/>
                  <a:gd name="T57" fmla="*/ 140 h 165"/>
                  <a:gd name="T58" fmla="*/ 2 w 179"/>
                  <a:gd name="T59" fmla="*/ 81 h 165"/>
                  <a:gd name="T60" fmla="*/ 124 w 179"/>
                  <a:gd name="T61" fmla="*/ 165 h 165"/>
                  <a:gd name="T62" fmla="*/ 72 w 179"/>
                  <a:gd name="T63" fmla="*/ 54 h 165"/>
                  <a:gd name="T64" fmla="*/ 118 w 179"/>
                  <a:gd name="T65" fmla="*/ 113 h 165"/>
                  <a:gd name="T66" fmla="*/ 141 w 179"/>
                  <a:gd name="T67" fmla="*/ 142 h 165"/>
                  <a:gd name="T68" fmla="*/ 137 w 179"/>
                  <a:gd name="T69" fmla="*/ 142 h 165"/>
                  <a:gd name="T70" fmla="*/ 135 w 179"/>
                  <a:gd name="T71" fmla="*/ 142 h 165"/>
                  <a:gd name="T72" fmla="*/ 24 w 179"/>
                  <a:gd name="T73" fmla="*/ 54 h 165"/>
                  <a:gd name="T74" fmla="*/ 173 w 179"/>
                  <a:gd name="T75" fmla="*/ 138 h 165"/>
                  <a:gd name="T76" fmla="*/ 137 w 179"/>
                  <a:gd name="T77" fmla="*/ 138 h 165"/>
                  <a:gd name="T78" fmla="*/ 173 w 179"/>
                  <a:gd name="T79" fmla="*/ 142 h 165"/>
                  <a:gd name="T80" fmla="*/ 0 w 179"/>
                  <a:gd name="T81" fmla="*/ 79 h 165"/>
                  <a:gd name="T82" fmla="*/ 108 w 179"/>
                  <a:gd name="T83" fmla="*/ 98 h 165"/>
                  <a:gd name="T84" fmla="*/ 22 w 179"/>
                  <a:gd name="T85" fmla="*/ 52 h 165"/>
                  <a:gd name="T86" fmla="*/ 125 w 179"/>
                  <a:gd name="T87" fmla="*/ 163 h 165"/>
                  <a:gd name="T88" fmla="*/ 82 w 179"/>
                  <a:gd name="T89" fmla="*/ 75 h 165"/>
                  <a:gd name="T90" fmla="*/ 127 w 179"/>
                  <a:gd name="T91" fmla="*/ 117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79" h="165">
                    <a:moveTo>
                      <a:pt x="167" y="125"/>
                    </a:moveTo>
                    <a:lnTo>
                      <a:pt x="166" y="125"/>
                    </a:lnTo>
                    <a:lnTo>
                      <a:pt x="162" y="125"/>
                    </a:lnTo>
                    <a:lnTo>
                      <a:pt x="162" y="123"/>
                    </a:lnTo>
                    <a:lnTo>
                      <a:pt x="162" y="125"/>
                    </a:lnTo>
                    <a:lnTo>
                      <a:pt x="166" y="125"/>
                    </a:lnTo>
                    <a:lnTo>
                      <a:pt x="167" y="125"/>
                    </a:lnTo>
                    <a:lnTo>
                      <a:pt x="166" y="125"/>
                    </a:lnTo>
                    <a:lnTo>
                      <a:pt x="167" y="125"/>
                    </a:lnTo>
                    <a:close/>
                    <a:moveTo>
                      <a:pt x="173" y="126"/>
                    </a:moveTo>
                    <a:lnTo>
                      <a:pt x="171" y="126"/>
                    </a:lnTo>
                    <a:lnTo>
                      <a:pt x="169" y="125"/>
                    </a:lnTo>
                    <a:lnTo>
                      <a:pt x="171" y="126"/>
                    </a:lnTo>
                    <a:lnTo>
                      <a:pt x="173" y="126"/>
                    </a:lnTo>
                    <a:close/>
                    <a:moveTo>
                      <a:pt x="175" y="125"/>
                    </a:moveTo>
                    <a:lnTo>
                      <a:pt x="173" y="125"/>
                    </a:lnTo>
                    <a:lnTo>
                      <a:pt x="173" y="126"/>
                    </a:lnTo>
                    <a:lnTo>
                      <a:pt x="173" y="125"/>
                    </a:lnTo>
                    <a:lnTo>
                      <a:pt x="175" y="125"/>
                    </a:lnTo>
                    <a:close/>
                    <a:moveTo>
                      <a:pt x="139" y="144"/>
                    </a:moveTo>
                    <a:lnTo>
                      <a:pt x="139" y="146"/>
                    </a:lnTo>
                    <a:lnTo>
                      <a:pt x="139" y="144"/>
                    </a:lnTo>
                    <a:close/>
                    <a:moveTo>
                      <a:pt x="175" y="142"/>
                    </a:moveTo>
                    <a:lnTo>
                      <a:pt x="177" y="142"/>
                    </a:lnTo>
                    <a:lnTo>
                      <a:pt x="175" y="142"/>
                    </a:lnTo>
                    <a:close/>
                    <a:moveTo>
                      <a:pt x="125" y="121"/>
                    </a:moveTo>
                    <a:lnTo>
                      <a:pt x="127" y="121"/>
                    </a:lnTo>
                    <a:lnTo>
                      <a:pt x="125" y="121"/>
                    </a:lnTo>
                    <a:close/>
                    <a:moveTo>
                      <a:pt x="158" y="73"/>
                    </a:moveTo>
                    <a:lnTo>
                      <a:pt x="160" y="73"/>
                    </a:lnTo>
                    <a:lnTo>
                      <a:pt x="158" y="73"/>
                    </a:lnTo>
                    <a:close/>
                    <a:moveTo>
                      <a:pt x="114" y="147"/>
                    </a:moveTo>
                    <a:lnTo>
                      <a:pt x="116" y="147"/>
                    </a:lnTo>
                    <a:lnTo>
                      <a:pt x="114" y="147"/>
                    </a:lnTo>
                    <a:close/>
                    <a:moveTo>
                      <a:pt x="177" y="142"/>
                    </a:moveTo>
                    <a:lnTo>
                      <a:pt x="179" y="142"/>
                    </a:lnTo>
                    <a:lnTo>
                      <a:pt x="177" y="142"/>
                    </a:lnTo>
                    <a:close/>
                    <a:moveTo>
                      <a:pt x="124" y="165"/>
                    </a:moveTo>
                    <a:lnTo>
                      <a:pt x="125" y="165"/>
                    </a:lnTo>
                    <a:lnTo>
                      <a:pt x="124" y="165"/>
                    </a:lnTo>
                    <a:close/>
                    <a:moveTo>
                      <a:pt x="127" y="0"/>
                    </a:moveTo>
                    <a:lnTo>
                      <a:pt x="129" y="0"/>
                    </a:lnTo>
                    <a:lnTo>
                      <a:pt x="129" y="2"/>
                    </a:lnTo>
                    <a:lnTo>
                      <a:pt x="127" y="2"/>
                    </a:lnTo>
                    <a:lnTo>
                      <a:pt x="127" y="0"/>
                    </a:lnTo>
                    <a:close/>
                    <a:moveTo>
                      <a:pt x="95" y="58"/>
                    </a:moveTo>
                    <a:lnTo>
                      <a:pt x="95" y="60"/>
                    </a:lnTo>
                    <a:lnTo>
                      <a:pt x="95" y="58"/>
                    </a:lnTo>
                    <a:close/>
                    <a:moveTo>
                      <a:pt x="127" y="117"/>
                    </a:moveTo>
                    <a:lnTo>
                      <a:pt x="129" y="117"/>
                    </a:lnTo>
                    <a:lnTo>
                      <a:pt x="127" y="117"/>
                    </a:lnTo>
                    <a:close/>
                    <a:moveTo>
                      <a:pt x="171" y="121"/>
                    </a:moveTo>
                    <a:lnTo>
                      <a:pt x="171" y="123"/>
                    </a:lnTo>
                    <a:lnTo>
                      <a:pt x="171" y="121"/>
                    </a:lnTo>
                    <a:close/>
                    <a:moveTo>
                      <a:pt x="74" y="50"/>
                    </a:moveTo>
                    <a:lnTo>
                      <a:pt x="74" y="52"/>
                    </a:lnTo>
                    <a:lnTo>
                      <a:pt x="74" y="50"/>
                    </a:lnTo>
                    <a:close/>
                    <a:moveTo>
                      <a:pt x="104" y="86"/>
                    </a:moveTo>
                    <a:lnTo>
                      <a:pt x="104" y="88"/>
                    </a:lnTo>
                    <a:lnTo>
                      <a:pt x="104" y="86"/>
                    </a:lnTo>
                    <a:close/>
                    <a:moveTo>
                      <a:pt x="108" y="96"/>
                    </a:moveTo>
                    <a:lnTo>
                      <a:pt x="110" y="96"/>
                    </a:lnTo>
                    <a:lnTo>
                      <a:pt x="110" y="98"/>
                    </a:lnTo>
                    <a:lnTo>
                      <a:pt x="108" y="98"/>
                    </a:lnTo>
                    <a:lnTo>
                      <a:pt x="108" y="96"/>
                    </a:lnTo>
                    <a:close/>
                    <a:moveTo>
                      <a:pt x="166" y="123"/>
                    </a:moveTo>
                    <a:lnTo>
                      <a:pt x="166" y="125"/>
                    </a:lnTo>
                    <a:lnTo>
                      <a:pt x="166" y="123"/>
                    </a:lnTo>
                    <a:close/>
                    <a:moveTo>
                      <a:pt x="164" y="98"/>
                    </a:moveTo>
                    <a:lnTo>
                      <a:pt x="166" y="98"/>
                    </a:lnTo>
                    <a:lnTo>
                      <a:pt x="164" y="98"/>
                    </a:lnTo>
                    <a:close/>
                    <a:moveTo>
                      <a:pt x="145" y="73"/>
                    </a:moveTo>
                    <a:lnTo>
                      <a:pt x="145" y="75"/>
                    </a:lnTo>
                    <a:lnTo>
                      <a:pt x="145" y="73"/>
                    </a:lnTo>
                    <a:close/>
                    <a:moveTo>
                      <a:pt x="133" y="81"/>
                    </a:moveTo>
                    <a:lnTo>
                      <a:pt x="135" y="81"/>
                    </a:lnTo>
                    <a:lnTo>
                      <a:pt x="133" y="81"/>
                    </a:lnTo>
                    <a:close/>
                    <a:moveTo>
                      <a:pt x="124" y="121"/>
                    </a:moveTo>
                    <a:lnTo>
                      <a:pt x="125" y="121"/>
                    </a:lnTo>
                    <a:lnTo>
                      <a:pt x="124" y="121"/>
                    </a:lnTo>
                    <a:close/>
                    <a:moveTo>
                      <a:pt x="139" y="142"/>
                    </a:moveTo>
                    <a:lnTo>
                      <a:pt x="141" y="142"/>
                    </a:lnTo>
                    <a:lnTo>
                      <a:pt x="141" y="144"/>
                    </a:lnTo>
                    <a:lnTo>
                      <a:pt x="139" y="144"/>
                    </a:lnTo>
                    <a:lnTo>
                      <a:pt x="139" y="142"/>
                    </a:lnTo>
                    <a:close/>
                    <a:moveTo>
                      <a:pt x="137" y="140"/>
                    </a:moveTo>
                    <a:lnTo>
                      <a:pt x="139" y="140"/>
                    </a:lnTo>
                    <a:lnTo>
                      <a:pt x="137" y="140"/>
                    </a:lnTo>
                    <a:close/>
                    <a:moveTo>
                      <a:pt x="0" y="81"/>
                    </a:moveTo>
                    <a:lnTo>
                      <a:pt x="2" y="81"/>
                    </a:lnTo>
                    <a:lnTo>
                      <a:pt x="0" y="81"/>
                    </a:lnTo>
                    <a:close/>
                    <a:moveTo>
                      <a:pt x="124" y="163"/>
                    </a:moveTo>
                    <a:lnTo>
                      <a:pt x="124" y="165"/>
                    </a:lnTo>
                    <a:lnTo>
                      <a:pt x="124" y="163"/>
                    </a:lnTo>
                    <a:close/>
                    <a:moveTo>
                      <a:pt x="70" y="54"/>
                    </a:moveTo>
                    <a:lnTo>
                      <a:pt x="72" y="54"/>
                    </a:lnTo>
                    <a:lnTo>
                      <a:pt x="70" y="54"/>
                    </a:lnTo>
                    <a:close/>
                    <a:moveTo>
                      <a:pt x="116" y="113"/>
                    </a:moveTo>
                    <a:lnTo>
                      <a:pt x="118" y="113"/>
                    </a:lnTo>
                    <a:lnTo>
                      <a:pt x="116" y="113"/>
                    </a:lnTo>
                    <a:close/>
                    <a:moveTo>
                      <a:pt x="139" y="142"/>
                    </a:moveTo>
                    <a:lnTo>
                      <a:pt x="141" y="142"/>
                    </a:lnTo>
                    <a:lnTo>
                      <a:pt x="139" y="142"/>
                    </a:lnTo>
                    <a:close/>
                    <a:moveTo>
                      <a:pt x="135" y="142"/>
                    </a:moveTo>
                    <a:lnTo>
                      <a:pt x="137" y="142"/>
                    </a:lnTo>
                    <a:lnTo>
                      <a:pt x="137" y="144"/>
                    </a:lnTo>
                    <a:lnTo>
                      <a:pt x="135" y="144"/>
                    </a:lnTo>
                    <a:lnTo>
                      <a:pt x="135" y="142"/>
                    </a:lnTo>
                    <a:close/>
                    <a:moveTo>
                      <a:pt x="24" y="54"/>
                    </a:moveTo>
                    <a:lnTo>
                      <a:pt x="24" y="56"/>
                    </a:lnTo>
                    <a:lnTo>
                      <a:pt x="24" y="54"/>
                    </a:lnTo>
                    <a:close/>
                    <a:moveTo>
                      <a:pt x="173" y="138"/>
                    </a:moveTo>
                    <a:lnTo>
                      <a:pt x="175" y="138"/>
                    </a:lnTo>
                    <a:lnTo>
                      <a:pt x="173" y="138"/>
                    </a:lnTo>
                    <a:close/>
                    <a:moveTo>
                      <a:pt x="137" y="138"/>
                    </a:moveTo>
                    <a:lnTo>
                      <a:pt x="137" y="140"/>
                    </a:lnTo>
                    <a:lnTo>
                      <a:pt x="137" y="138"/>
                    </a:lnTo>
                    <a:close/>
                    <a:moveTo>
                      <a:pt x="173" y="142"/>
                    </a:moveTo>
                    <a:lnTo>
                      <a:pt x="175" y="142"/>
                    </a:lnTo>
                    <a:lnTo>
                      <a:pt x="173" y="142"/>
                    </a:lnTo>
                    <a:close/>
                    <a:moveTo>
                      <a:pt x="0" y="79"/>
                    </a:moveTo>
                    <a:lnTo>
                      <a:pt x="0" y="81"/>
                    </a:lnTo>
                    <a:lnTo>
                      <a:pt x="0" y="79"/>
                    </a:lnTo>
                    <a:close/>
                    <a:moveTo>
                      <a:pt x="106" y="96"/>
                    </a:moveTo>
                    <a:lnTo>
                      <a:pt x="108" y="96"/>
                    </a:lnTo>
                    <a:lnTo>
                      <a:pt x="108" y="98"/>
                    </a:lnTo>
                    <a:lnTo>
                      <a:pt x="106" y="98"/>
                    </a:lnTo>
                    <a:lnTo>
                      <a:pt x="106" y="96"/>
                    </a:lnTo>
                    <a:close/>
                    <a:moveTo>
                      <a:pt x="22" y="52"/>
                    </a:moveTo>
                    <a:lnTo>
                      <a:pt x="24" y="52"/>
                    </a:lnTo>
                    <a:lnTo>
                      <a:pt x="22" y="52"/>
                    </a:lnTo>
                    <a:close/>
                    <a:moveTo>
                      <a:pt x="125" y="163"/>
                    </a:moveTo>
                    <a:lnTo>
                      <a:pt x="125" y="165"/>
                    </a:lnTo>
                    <a:lnTo>
                      <a:pt x="125" y="163"/>
                    </a:lnTo>
                    <a:close/>
                    <a:moveTo>
                      <a:pt x="82" y="75"/>
                    </a:moveTo>
                    <a:lnTo>
                      <a:pt x="82" y="77"/>
                    </a:lnTo>
                    <a:lnTo>
                      <a:pt x="82" y="75"/>
                    </a:lnTo>
                    <a:close/>
                    <a:moveTo>
                      <a:pt x="127" y="117"/>
                    </a:moveTo>
                    <a:lnTo>
                      <a:pt x="129" y="117"/>
                    </a:lnTo>
                    <a:lnTo>
                      <a:pt x="127" y="1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3" name="Freeform 169">
                <a:extLst>
                  <a:ext uri="{FF2B5EF4-FFF2-40B4-BE49-F238E27FC236}">
                    <a16:creationId xmlns:a16="http://schemas.microsoft.com/office/drawing/2014/main" id="{25B67710-FE83-0B1F-7EE2-93E42004667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506057" y="-1767687"/>
                <a:ext cx="77204" cy="77350"/>
              </a:xfrm>
              <a:custGeom>
                <a:avLst/>
                <a:gdLst>
                  <a:gd name="T0" fmla="*/ 17 w 49"/>
                  <a:gd name="T1" fmla="*/ 25 h 49"/>
                  <a:gd name="T2" fmla="*/ 17 w 49"/>
                  <a:gd name="T3" fmla="*/ 26 h 49"/>
                  <a:gd name="T4" fmla="*/ 17 w 49"/>
                  <a:gd name="T5" fmla="*/ 25 h 49"/>
                  <a:gd name="T6" fmla="*/ 36 w 49"/>
                  <a:gd name="T7" fmla="*/ 38 h 49"/>
                  <a:gd name="T8" fmla="*/ 38 w 49"/>
                  <a:gd name="T9" fmla="*/ 38 h 49"/>
                  <a:gd name="T10" fmla="*/ 38 w 49"/>
                  <a:gd name="T11" fmla="*/ 40 h 49"/>
                  <a:gd name="T12" fmla="*/ 36 w 49"/>
                  <a:gd name="T13" fmla="*/ 40 h 49"/>
                  <a:gd name="T14" fmla="*/ 36 w 49"/>
                  <a:gd name="T15" fmla="*/ 38 h 49"/>
                  <a:gd name="T16" fmla="*/ 49 w 49"/>
                  <a:gd name="T17" fmla="*/ 46 h 49"/>
                  <a:gd name="T18" fmla="*/ 49 w 49"/>
                  <a:gd name="T19" fmla="*/ 47 h 49"/>
                  <a:gd name="T20" fmla="*/ 49 w 49"/>
                  <a:gd name="T21" fmla="*/ 46 h 49"/>
                  <a:gd name="T22" fmla="*/ 0 w 49"/>
                  <a:gd name="T23" fmla="*/ 0 h 49"/>
                  <a:gd name="T24" fmla="*/ 0 w 49"/>
                  <a:gd name="T25" fmla="*/ 2 h 49"/>
                  <a:gd name="T26" fmla="*/ 0 w 49"/>
                  <a:gd name="T27" fmla="*/ 0 h 49"/>
                  <a:gd name="T28" fmla="*/ 19 w 49"/>
                  <a:gd name="T29" fmla="*/ 7 h 49"/>
                  <a:gd name="T30" fmla="*/ 21 w 49"/>
                  <a:gd name="T31" fmla="*/ 7 h 49"/>
                  <a:gd name="T32" fmla="*/ 19 w 49"/>
                  <a:gd name="T33" fmla="*/ 7 h 49"/>
                  <a:gd name="T34" fmla="*/ 47 w 49"/>
                  <a:gd name="T35" fmla="*/ 47 h 49"/>
                  <a:gd name="T36" fmla="*/ 47 w 49"/>
                  <a:gd name="T37" fmla="*/ 49 h 49"/>
                  <a:gd name="T38" fmla="*/ 47 w 49"/>
                  <a:gd name="T39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49">
                    <a:moveTo>
                      <a:pt x="17" y="25"/>
                    </a:moveTo>
                    <a:lnTo>
                      <a:pt x="17" y="26"/>
                    </a:lnTo>
                    <a:lnTo>
                      <a:pt x="17" y="25"/>
                    </a:lnTo>
                    <a:close/>
                    <a:moveTo>
                      <a:pt x="36" y="38"/>
                    </a:moveTo>
                    <a:lnTo>
                      <a:pt x="38" y="38"/>
                    </a:lnTo>
                    <a:lnTo>
                      <a:pt x="38" y="40"/>
                    </a:lnTo>
                    <a:lnTo>
                      <a:pt x="36" y="40"/>
                    </a:lnTo>
                    <a:lnTo>
                      <a:pt x="36" y="38"/>
                    </a:lnTo>
                    <a:close/>
                    <a:moveTo>
                      <a:pt x="49" y="46"/>
                    </a:moveTo>
                    <a:lnTo>
                      <a:pt x="49" y="47"/>
                    </a:lnTo>
                    <a:lnTo>
                      <a:pt x="49" y="46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19" y="7"/>
                    </a:moveTo>
                    <a:lnTo>
                      <a:pt x="21" y="7"/>
                    </a:lnTo>
                    <a:lnTo>
                      <a:pt x="19" y="7"/>
                    </a:lnTo>
                    <a:close/>
                    <a:moveTo>
                      <a:pt x="47" y="47"/>
                    </a:moveTo>
                    <a:lnTo>
                      <a:pt x="47" y="49"/>
                    </a:lnTo>
                    <a:lnTo>
                      <a:pt x="47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4" name="Freeform 170">
                <a:extLst>
                  <a:ext uri="{FF2B5EF4-FFF2-40B4-BE49-F238E27FC236}">
                    <a16:creationId xmlns:a16="http://schemas.microsoft.com/office/drawing/2014/main" id="{9055072B-F790-F479-4306-03B40659579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989266" y="-1770843"/>
                <a:ext cx="335600" cy="175219"/>
              </a:xfrm>
              <a:custGeom>
                <a:avLst/>
                <a:gdLst>
                  <a:gd name="T0" fmla="*/ 68 w 213"/>
                  <a:gd name="T1" fmla="*/ 67 h 111"/>
                  <a:gd name="T2" fmla="*/ 70 w 213"/>
                  <a:gd name="T3" fmla="*/ 61 h 111"/>
                  <a:gd name="T4" fmla="*/ 84 w 213"/>
                  <a:gd name="T5" fmla="*/ 69 h 111"/>
                  <a:gd name="T6" fmla="*/ 61 w 213"/>
                  <a:gd name="T7" fmla="*/ 44 h 111"/>
                  <a:gd name="T8" fmla="*/ 47 w 213"/>
                  <a:gd name="T9" fmla="*/ 34 h 111"/>
                  <a:gd name="T10" fmla="*/ 47 w 213"/>
                  <a:gd name="T11" fmla="*/ 34 h 111"/>
                  <a:gd name="T12" fmla="*/ 55 w 213"/>
                  <a:gd name="T13" fmla="*/ 38 h 111"/>
                  <a:gd name="T14" fmla="*/ 70 w 213"/>
                  <a:gd name="T15" fmla="*/ 46 h 111"/>
                  <a:gd name="T16" fmla="*/ 89 w 213"/>
                  <a:gd name="T17" fmla="*/ 63 h 111"/>
                  <a:gd name="T18" fmla="*/ 86 w 213"/>
                  <a:gd name="T19" fmla="*/ 57 h 111"/>
                  <a:gd name="T20" fmla="*/ 86 w 213"/>
                  <a:gd name="T21" fmla="*/ 46 h 111"/>
                  <a:gd name="T22" fmla="*/ 89 w 213"/>
                  <a:gd name="T23" fmla="*/ 55 h 111"/>
                  <a:gd name="T24" fmla="*/ 30 w 213"/>
                  <a:gd name="T25" fmla="*/ 30 h 111"/>
                  <a:gd name="T26" fmla="*/ 19 w 213"/>
                  <a:gd name="T27" fmla="*/ 23 h 111"/>
                  <a:gd name="T28" fmla="*/ 25 w 213"/>
                  <a:gd name="T29" fmla="*/ 23 h 111"/>
                  <a:gd name="T30" fmla="*/ 105 w 213"/>
                  <a:gd name="T31" fmla="*/ 86 h 111"/>
                  <a:gd name="T32" fmla="*/ 99 w 213"/>
                  <a:gd name="T33" fmla="*/ 82 h 111"/>
                  <a:gd name="T34" fmla="*/ 101 w 213"/>
                  <a:gd name="T35" fmla="*/ 78 h 111"/>
                  <a:gd name="T36" fmla="*/ 38 w 213"/>
                  <a:gd name="T37" fmla="*/ 48 h 111"/>
                  <a:gd name="T38" fmla="*/ 30 w 213"/>
                  <a:gd name="T39" fmla="*/ 46 h 111"/>
                  <a:gd name="T40" fmla="*/ 28 w 213"/>
                  <a:gd name="T41" fmla="*/ 42 h 111"/>
                  <a:gd name="T42" fmla="*/ 38 w 213"/>
                  <a:gd name="T43" fmla="*/ 46 h 111"/>
                  <a:gd name="T44" fmla="*/ 70 w 213"/>
                  <a:gd name="T45" fmla="*/ 97 h 111"/>
                  <a:gd name="T46" fmla="*/ 26 w 213"/>
                  <a:gd name="T47" fmla="*/ 42 h 111"/>
                  <a:gd name="T48" fmla="*/ 19 w 213"/>
                  <a:gd name="T49" fmla="*/ 38 h 111"/>
                  <a:gd name="T50" fmla="*/ 19 w 213"/>
                  <a:gd name="T51" fmla="*/ 36 h 111"/>
                  <a:gd name="T52" fmla="*/ 164 w 213"/>
                  <a:gd name="T53" fmla="*/ 86 h 111"/>
                  <a:gd name="T54" fmla="*/ 40 w 213"/>
                  <a:gd name="T55" fmla="*/ 48 h 111"/>
                  <a:gd name="T56" fmla="*/ 93 w 213"/>
                  <a:gd name="T57" fmla="*/ 63 h 111"/>
                  <a:gd name="T58" fmla="*/ 30 w 213"/>
                  <a:gd name="T59" fmla="*/ 51 h 111"/>
                  <a:gd name="T60" fmla="*/ 76 w 213"/>
                  <a:gd name="T61" fmla="*/ 57 h 111"/>
                  <a:gd name="T62" fmla="*/ 6 w 213"/>
                  <a:gd name="T63" fmla="*/ 27 h 111"/>
                  <a:gd name="T64" fmla="*/ 65 w 213"/>
                  <a:gd name="T65" fmla="*/ 46 h 111"/>
                  <a:gd name="T66" fmla="*/ 181 w 213"/>
                  <a:gd name="T67" fmla="*/ 97 h 111"/>
                  <a:gd name="T68" fmla="*/ 59 w 213"/>
                  <a:gd name="T69" fmla="*/ 59 h 111"/>
                  <a:gd name="T70" fmla="*/ 30 w 213"/>
                  <a:gd name="T71" fmla="*/ 51 h 111"/>
                  <a:gd name="T72" fmla="*/ 42 w 213"/>
                  <a:gd name="T73" fmla="*/ 53 h 111"/>
                  <a:gd name="T74" fmla="*/ 175 w 213"/>
                  <a:gd name="T75" fmla="*/ 91 h 111"/>
                  <a:gd name="T76" fmla="*/ 9 w 213"/>
                  <a:gd name="T77" fmla="*/ 23 h 111"/>
                  <a:gd name="T78" fmla="*/ 32 w 213"/>
                  <a:gd name="T79" fmla="*/ 30 h 111"/>
                  <a:gd name="T80" fmla="*/ 105 w 213"/>
                  <a:gd name="T81" fmla="*/ 69 h 111"/>
                  <a:gd name="T82" fmla="*/ 99 w 213"/>
                  <a:gd name="T83" fmla="*/ 76 h 111"/>
                  <a:gd name="T84" fmla="*/ 68 w 213"/>
                  <a:gd name="T85" fmla="*/ 57 h 111"/>
                  <a:gd name="T86" fmla="*/ 17 w 213"/>
                  <a:gd name="T87" fmla="*/ 38 h 111"/>
                  <a:gd name="T88" fmla="*/ 9 w 213"/>
                  <a:gd name="T89" fmla="*/ 21 h 111"/>
                  <a:gd name="T90" fmla="*/ 47 w 213"/>
                  <a:gd name="T91" fmla="*/ 34 h 111"/>
                  <a:gd name="T92" fmla="*/ 30 w 213"/>
                  <a:gd name="T93" fmla="*/ 46 h 111"/>
                  <a:gd name="T94" fmla="*/ 44 w 213"/>
                  <a:gd name="T95" fmla="*/ 53 h 111"/>
                  <a:gd name="T96" fmla="*/ 36 w 213"/>
                  <a:gd name="T97" fmla="*/ 44 h 111"/>
                  <a:gd name="T98" fmla="*/ 211 w 213"/>
                  <a:gd name="T99" fmla="*/ 109 h 111"/>
                  <a:gd name="T100" fmla="*/ 110 w 213"/>
                  <a:gd name="T101" fmla="*/ 86 h 111"/>
                  <a:gd name="T102" fmla="*/ 61 w 213"/>
                  <a:gd name="T103" fmla="*/ 57 h 111"/>
                  <a:gd name="T104" fmla="*/ 65 w 213"/>
                  <a:gd name="T105" fmla="*/ 42 h 111"/>
                  <a:gd name="T106" fmla="*/ 6 w 213"/>
                  <a:gd name="T107" fmla="*/ 27 h 111"/>
                  <a:gd name="T108" fmla="*/ 99 w 213"/>
                  <a:gd name="T109" fmla="*/ 76 h 111"/>
                  <a:gd name="T110" fmla="*/ 44 w 213"/>
                  <a:gd name="T111" fmla="*/ 48 h 111"/>
                  <a:gd name="T112" fmla="*/ 40 w 213"/>
                  <a:gd name="T113" fmla="*/ 30 h 111"/>
                  <a:gd name="T114" fmla="*/ 34 w 213"/>
                  <a:gd name="T115" fmla="*/ 46 h 111"/>
                  <a:gd name="T116" fmla="*/ 91 w 213"/>
                  <a:gd name="T117" fmla="*/ 63 h 111"/>
                  <a:gd name="T118" fmla="*/ 38 w 213"/>
                  <a:gd name="T119" fmla="*/ 49 h 111"/>
                  <a:gd name="T120" fmla="*/ 25 w 213"/>
                  <a:gd name="T121" fmla="*/ 42 h 111"/>
                  <a:gd name="T122" fmla="*/ 36 w 213"/>
                  <a:gd name="T123" fmla="*/ 32 h 111"/>
                  <a:gd name="T124" fmla="*/ 63 w 213"/>
                  <a:gd name="T12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3" h="111">
                    <a:moveTo>
                      <a:pt x="86" y="70"/>
                    </a:moveTo>
                    <a:lnTo>
                      <a:pt x="84" y="70"/>
                    </a:lnTo>
                    <a:lnTo>
                      <a:pt x="82" y="72"/>
                    </a:lnTo>
                    <a:lnTo>
                      <a:pt x="80" y="70"/>
                    </a:lnTo>
                    <a:lnTo>
                      <a:pt x="78" y="70"/>
                    </a:lnTo>
                    <a:lnTo>
                      <a:pt x="78" y="69"/>
                    </a:lnTo>
                    <a:lnTo>
                      <a:pt x="72" y="70"/>
                    </a:lnTo>
                    <a:lnTo>
                      <a:pt x="70" y="69"/>
                    </a:lnTo>
                    <a:lnTo>
                      <a:pt x="68" y="69"/>
                    </a:lnTo>
                    <a:lnTo>
                      <a:pt x="67" y="69"/>
                    </a:lnTo>
                    <a:lnTo>
                      <a:pt x="68" y="67"/>
                    </a:lnTo>
                    <a:lnTo>
                      <a:pt x="67" y="67"/>
                    </a:lnTo>
                    <a:lnTo>
                      <a:pt x="67" y="65"/>
                    </a:lnTo>
                    <a:lnTo>
                      <a:pt x="65" y="65"/>
                    </a:lnTo>
                    <a:lnTo>
                      <a:pt x="67" y="65"/>
                    </a:lnTo>
                    <a:lnTo>
                      <a:pt x="65" y="63"/>
                    </a:lnTo>
                    <a:lnTo>
                      <a:pt x="67" y="63"/>
                    </a:lnTo>
                    <a:lnTo>
                      <a:pt x="65" y="63"/>
                    </a:lnTo>
                    <a:lnTo>
                      <a:pt x="67" y="63"/>
                    </a:lnTo>
                    <a:lnTo>
                      <a:pt x="65" y="63"/>
                    </a:lnTo>
                    <a:lnTo>
                      <a:pt x="67" y="61"/>
                    </a:lnTo>
                    <a:lnTo>
                      <a:pt x="70" y="61"/>
                    </a:lnTo>
                    <a:lnTo>
                      <a:pt x="70" y="63"/>
                    </a:lnTo>
                    <a:lnTo>
                      <a:pt x="72" y="63"/>
                    </a:lnTo>
                    <a:lnTo>
                      <a:pt x="74" y="63"/>
                    </a:lnTo>
                    <a:lnTo>
                      <a:pt x="76" y="63"/>
                    </a:lnTo>
                    <a:lnTo>
                      <a:pt x="78" y="63"/>
                    </a:lnTo>
                    <a:lnTo>
                      <a:pt x="80" y="65"/>
                    </a:lnTo>
                    <a:lnTo>
                      <a:pt x="82" y="65"/>
                    </a:lnTo>
                    <a:lnTo>
                      <a:pt x="82" y="67"/>
                    </a:lnTo>
                    <a:lnTo>
                      <a:pt x="84" y="69"/>
                    </a:lnTo>
                    <a:lnTo>
                      <a:pt x="86" y="69"/>
                    </a:lnTo>
                    <a:lnTo>
                      <a:pt x="84" y="69"/>
                    </a:lnTo>
                    <a:lnTo>
                      <a:pt x="86" y="69"/>
                    </a:lnTo>
                    <a:lnTo>
                      <a:pt x="84" y="69"/>
                    </a:lnTo>
                    <a:lnTo>
                      <a:pt x="86" y="70"/>
                    </a:lnTo>
                    <a:close/>
                    <a:moveTo>
                      <a:pt x="70" y="49"/>
                    </a:moveTo>
                    <a:lnTo>
                      <a:pt x="68" y="49"/>
                    </a:lnTo>
                    <a:lnTo>
                      <a:pt x="68" y="48"/>
                    </a:lnTo>
                    <a:lnTo>
                      <a:pt x="67" y="48"/>
                    </a:lnTo>
                    <a:lnTo>
                      <a:pt x="67" y="46"/>
                    </a:lnTo>
                    <a:lnTo>
                      <a:pt x="65" y="46"/>
                    </a:lnTo>
                    <a:lnTo>
                      <a:pt x="63" y="46"/>
                    </a:lnTo>
                    <a:lnTo>
                      <a:pt x="61" y="44"/>
                    </a:lnTo>
                    <a:lnTo>
                      <a:pt x="59" y="44"/>
                    </a:lnTo>
                    <a:lnTo>
                      <a:pt x="59" y="42"/>
                    </a:lnTo>
                    <a:lnTo>
                      <a:pt x="57" y="42"/>
                    </a:lnTo>
                    <a:lnTo>
                      <a:pt x="55" y="40"/>
                    </a:lnTo>
                    <a:lnTo>
                      <a:pt x="53" y="40"/>
                    </a:lnTo>
                    <a:lnTo>
                      <a:pt x="53" y="38"/>
                    </a:lnTo>
                    <a:lnTo>
                      <a:pt x="51" y="38"/>
                    </a:lnTo>
                    <a:lnTo>
                      <a:pt x="51" y="36"/>
                    </a:lnTo>
                    <a:lnTo>
                      <a:pt x="49" y="36"/>
                    </a:lnTo>
                    <a:lnTo>
                      <a:pt x="49" y="34"/>
                    </a:lnTo>
                    <a:lnTo>
                      <a:pt x="47" y="34"/>
                    </a:lnTo>
                    <a:lnTo>
                      <a:pt x="49" y="34"/>
                    </a:lnTo>
                    <a:lnTo>
                      <a:pt x="47" y="34"/>
                    </a:lnTo>
                    <a:lnTo>
                      <a:pt x="46" y="34"/>
                    </a:lnTo>
                    <a:lnTo>
                      <a:pt x="47" y="34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7" y="34"/>
                    </a:lnTo>
                    <a:lnTo>
                      <a:pt x="47" y="32"/>
                    </a:lnTo>
                    <a:lnTo>
                      <a:pt x="49" y="32"/>
                    </a:lnTo>
                    <a:lnTo>
                      <a:pt x="49" y="34"/>
                    </a:lnTo>
                    <a:lnTo>
                      <a:pt x="49" y="32"/>
                    </a:lnTo>
                    <a:lnTo>
                      <a:pt x="49" y="34"/>
                    </a:lnTo>
                    <a:lnTo>
                      <a:pt x="49" y="32"/>
                    </a:lnTo>
                    <a:lnTo>
                      <a:pt x="51" y="34"/>
                    </a:lnTo>
                    <a:lnTo>
                      <a:pt x="53" y="34"/>
                    </a:lnTo>
                    <a:lnTo>
                      <a:pt x="53" y="36"/>
                    </a:lnTo>
                    <a:lnTo>
                      <a:pt x="55" y="36"/>
                    </a:lnTo>
                    <a:lnTo>
                      <a:pt x="55" y="38"/>
                    </a:lnTo>
                    <a:lnTo>
                      <a:pt x="57" y="38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59" y="40"/>
                    </a:lnTo>
                    <a:lnTo>
                      <a:pt x="61" y="40"/>
                    </a:lnTo>
                    <a:lnTo>
                      <a:pt x="63" y="40"/>
                    </a:lnTo>
                    <a:lnTo>
                      <a:pt x="65" y="42"/>
                    </a:lnTo>
                    <a:lnTo>
                      <a:pt x="67" y="42"/>
                    </a:lnTo>
                    <a:lnTo>
                      <a:pt x="67" y="44"/>
                    </a:lnTo>
                    <a:lnTo>
                      <a:pt x="68" y="44"/>
                    </a:lnTo>
                    <a:lnTo>
                      <a:pt x="70" y="46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70" y="48"/>
                    </a:lnTo>
                    <a:lnTo>
                      <a:pt x="70" y="49"/>
                    </a:lnTo>
                    <a:close/>
                    <a:moveTo>
                      <a:pt x="95" y="65"/>
                    </a:moveTo>
                    <a:lnTo>
                      <a:pt x="95" y="67"/>
                    </a:lnTo>
                    <a:lnTo>
                      <a:pt x="93" y="67"/>
                    </a:lnTo>
                    <a:lnTo>
                      <a:pt x="93" y="65"/>
                    </a:lnTo>
                    <a:lnTo>
                      <a:pt x="91" y="65"/>
                    </a:lnTo>
                    <a:lnTo>
                      <a:pt x="91" y="63"/>
                    </a:lnTo>
                    <a:lnTo>
                      <a:pt x="89" y="63"/>
                    </a:lnTo>
                    <a:lnTo>
                      <a:pt x="89" y="61"/>
                    </a:lnTo>
                    <a:lnTo>
                      <a:pt x="89" y="63"/>
                    </a:lnTo>
                    <a:lnTo>
                      <a:pt x="89" y="61"/>
                    </a:lnTo>
                    <a:lnTo>
                      <a:pt x="89" y="63"/>
                    </a:lnTo>
                    <a:lnTo>
                      <a:pt x="89" y="61"/>
                    </a:lnTo>
                    <a:lnTo>
                      <a:pt x="88" y="61"/>
                    </a:lnTo>
                    <a:lnTo>
                      <a:pt x="89" y="61"/>
                    </a:lnTo>
                    <a:lnTo>
                      <a:pt x="88" y="61"/>
                    </a:lnTo>
                    <a:lnTo>
                      <a:pt x="88" y="59"/>
                    </a:lnTo>
                    <a:lnTo>
                      <a:pt x="86" y="59"/>
                    </a:lnTo>
                    <a:lnTo>
                      <a:pt x="86" y="57"/>
                    </a:lnTo>
                    <a:lnTo>
                      <a:pt x="84" y="57"/>
                    </a:lnTo>
                    <a:lnTo>
                      <a:pt x="84" y="55"/>
                    </a:lnTo>
                    <a:lnTo>
                      <a:pt x="84" y="53"/>
                    </a:lnTo>
                    <a:lnTo>
                      <a:pt x="82" y="51"/>
                    </a:lnTo>
                    <a:lnTo>
                      <a:pt x="84" y="51"/>
                    </a:lnTo>
                    <a:lnTo>
                      <a:pt x="82" y="49"/>
                    </a:lnTo>
                    <a:lnTo>
                      <a:pt x="84" y="49"/>
                    </a:lnTo>
                    <a:lnTo>
                      <a:pt x="82" y="48"/>
                    </a:lnTo>
                    <a:lnTo>
                      <a:pt x="82" y="46"/>
                    </a:lnTo>
                    <a:lnTo>
                      <a:pt x="84" y="46"/>
                    </a:lnTo>
                    <a:lnTo>
                      <a:pt x="86" y="46"/>
                    </a:lnTo>
                    <a:lnTo>
                      <a:pt x="86" y="48"/>
                    </a:lnTo>
                    <a:lnTo>
                      <a:pt x="86" y="49"/>
                    </a:lnTo>
                    <a:lnTo>
                      <a:pt x="88" y="49"/>
                    </a:lnTo>
                    <a:lnTo>
                      <a:pt x="86" y="49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8" y="53"/>
                    </a:lnTo>
                    <a:lnTo>
                      <a:pt x="89" y="53"/>
                    </a:lnTo>
                    <a:lnTo>
                      <a:pt x="89" y="55"/>
                    </a:lnTo>
                    <a:lnTo>
                      <a:pt x="91" y="55"/>
                    </a:lnTo>
                    <a:lnTo>
                      <a:pt x="89" y="55"/>
                    </a:lnTo>
                    <a:lnTo>
                      <a:pt x="91" y="57"/>
                    </a:lnTo>
                    <a:lnTo>
                      <a:pt x="91" y="59"/>
                    </a:lnTo>
                    <a:lnTo>
                      <a:pt x="91" y="61"/>
                    </a:lnTo>
                    <a:lnTo>
                      <a:pt x="93" y="63"/>
                    </a:lnTo>
                    <a:lnTo>
                      <a:pt x="93" y="65"/>
                    </a:lnTo>
                    <a:lnTo>
                      <a:pt x="95" y="65"/>
                    </a:lnTo>
                    <a:close/>
                    <a:moveTo>
                      <a:pt x="34" y="30"/>
                    </a:moveTo>
                    <a:lnTo>
                      <a:pt x="32" y="30"/>
                    </a:lnTo>
                    <a:lnTo>
                      <a:pt x="34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0"/>
                    </a:lnTo>
                    <a:lnTo>
                      <a:pt x="26" y="28"/>
                    </a:lnTo>
                    <a:lnTo>
                      <a:pt x="25" y="28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19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17"/>
                    </a:lnTo>
                    <a:lnTo>
                      <a:pt x="17" y="17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3" y="21"/>
                    </a:lnTo>
                    <a:lnTo>
                      <a:pt x="25" y="23"/>
                    </a:lnTo>
                    <a:lnTo>
                      <a:pt x="26" y="23"/>
                    </a:lnTo>
                    <a:lnTo>
                      <a:pt x="26" y="27"/>
                    </a:lnTo>
                    <a:lnTo>
                      <a:pt x="28" y="27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30"/>
                    </a:lnTo>
                    <a:close/>
                    <a:moveTo>
                      <a:pt x="110" y="86"/>
                    </a:moveTo>
                    <a:lnTo>
                      <a:pt x="108" y="86"/>
                    </a:lnTo>
                    <a:lnTo>
                      <a:pt x="107" y="86"/>
                    </a:lnTo>
                    <a:lnTo>
                      <a:pt x="105" y="86"/>
                    </a:lnTo>
                    <a:lnTo>
                      <a:pt x="103" y="86"/>
                    </a:lnTo>
                    <a:lnTo>
                      <a:pt x="101" y="86"/>
                    </a:lnTo>
                    <a:lnTo>
                      <a:pt x="101" y="84"/>
                    </a:lnTo>
                    <a:lnTo>
                      <a:pt x="101" y="86"/>
                    </a:lnTo>
                    <a:lnTo>
                      <a:pt x="101" y="84"/>
                    </a:lnTo>
                    <a:lnTo>
                      <a:pt x="99" y="84"/>
                    </a:lnTo>
                    <a:lnTo>
                      <a:pt x="99" y="82"/>
                    </a:lnTo>
                    <a:lnTo>
                      <a:pt x="99" y="84"/>
                    </a:lnTo>
                    <a:lnTo>
                      <a:pt x="99" y="82"/>
                    </a:lnTo>
                    <a:lnTo>
                      <a:pt x="99" y="84"/>
                    </a:lnTo>
                    <a:lnTo>
                      <a:pt x="99" y="82"/>
                    </a:lnTo>
                    <a:lnTo>
                      <a:pt x="97" y="82"/>
                    </a:lnTo>
                    <a:lnTo>
                      <a:pt x="95" y="82"/>
                    </a:lnTo>
                    <a:lnTo>
                      <a:pt x="97" y="80"/>
                    </a:lnTo>
                    <a:lnTo>
                      <a:pt x="95" y="80"/>
                    </a:lnTo>
                    <a:lnTo>
                      <a:pt x="95" y="78"/>
                    </a:lnTo>
                    <a:lnTo>
                      <a:pt x="93" y="78"/>
                    </a:lnTo>
                    <a:lnTo>
                      <a:pt x="93" y="76"/>
                    </a:lnTo>
                    <a:lnTo>
                      <a:pt x="95" y="76"/>
                    </a:lnTo>
                    <a:lnTo>
                      <a:pt x="97" y="78"/>
                    </a:lnTo>
                    <a:lnTo>
                      <a:pt x="99" y="78"/>
                    </a:lnTo>
                    <a:lnTo>
                      <a:pt x="101" y="78"/>
                    </a:lnTo>
                    <a:lnTo>
                      <a:pt x="101" y="80"/>
                    </a:lnTo>
                    <a:lnTo>
                      <a:pt x="103" y="80"/>
                    </a:lnTo>
                    <a:lnTo>
                      <a:pt x="105" y="80"/>
                    </a:lnTo>
                    <a:lnTo>
                      <a:pt x="107" y="82"/>
                    </a:lnTo>
                    <a:lnTo>
                      <a:pt x="107" y="84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6"/>
                    </a:lnTo>
                    <a:lnTo>
                      <a:pt x="108" y="86"/>
                    </a:lnTo>
                    <a:lnTo>
                      <a:pt x="110" y="86"/>
                    </a:lnTo>
                    <a:close/>
                    <a:moveTo>
                      <a:pt x="38" y="48"/>
                    </a:moveTo>
                    <a:lnTo>
                      <a:pt x="38" y="49"/>
                    </a:lnTo>
                    <a:lnTo>
                      <a:pt x="36" y="49"/>
                    </a:lnTo>
                    <a:lnTo>
                      <a:pt x="38" y="49"/>
                    </a:lnTo>
                    <a:lnTo>
                      <a:pt x="36" y="49"/>
                    </a:lnTo>
                    <a:lnTo>
                      <a:pt x="36" y="48"/>
                    </a:lnTo>
                    <a:lnTo>
                      <a:pt x="34" y="48"/>
                    </a:lnTo>
                    <a:lnTo>
                      <a:pt x="32" y="46"/>
                    </a:lnTo>
                    <a:lnTo>
                      <a:pt x="34" y="46"/>
                    </a:lnTo>
                    <a:lnTo>
                      <a:pt x="32" y="44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8" y="44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8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2" y="40"/>
                    </a:lnTo>
                    <a:lnTo>
                      <a:pt x="34" y="40"/>
                    </a:lnTo>
                    <a:lnTo>
                      <a:pt x="34" y="42"/>
                    </a:lnTo>
                    <a:lnTo>
                      <a:pt x="34" y="44"/>
                    </a:lnTo>
                    <a:lnTo>
                      <a:pt x="36" y="44"/>
                    </a:lnTo>
                    <a:lnTo>
                      <a:pt x="36" y="46"/>
                    </a:lnTo>
                    <a:lnTo>
                      <a:pt x="38" y="46"/>
                    </a:lnTo>
                    <a:lnTo>
                      <a:pt x="38" y="48"/>
                    </a:lnTo>
                    <a:close/>
                    <a:moveTo>
                      <a:pt x="82" y="103"/>
                    </a:moveTo>
                    <a:lnTo>
                      <a:pt x="80" y="103"/>
                    </a:lnTo>
                    <a:lnTo>
                      <a:pt x="78" y="101"/>
                    </a:lnTo>
                    <a:lnTo>
                      <a:pt x="76" y="101"/>
                    </a:lnTo>
                    <a:lnTo>
                      <a:pt x="78" y="99"/>
                    </a:lnTo>
                    <a:lnTo>
                      <a:pt x="76" y="99"/>
                    </a:lnTo>
                    <a:lnTo>
                      <a:pt x="74" y="99"/>
                    </a:lnTo>
                    <a:lnTo>
                      <a:pt x="72" y="99"/>
                    </a:lnTo>
                    <a:lnTo>
                      <a:pt x="72" y="97"/>
                    </a:lnTo>
                    <a:lnTo>
                      <a:pt x="70" y="97"/>
                    </a:lnTo>
                    <a:lnTo>
                      <a:pt x="72" y="95"/>
                    </a:lnTo>
                    <a:lnTo>
                      <a:pt x="74" y="97"/>
                    </a:lnTo>
                    <a:lnTo>
                      <a:pt x="76" y="97"/>
                    </a:lnTo>
                    <a:lnTo>
                      <a:pt x="78" y="99"/>
                    </a:lnTo>
                    <a:lnTo>
                      <a:pt x="80" y="99"/>
                    </a:lnTo>
                    <a:lnTo>
                      <a:pt x="82" y="101"/>
                    </a:lnTo>
                    <a:lnTo>
                      <a:pt x="82" y="103"/>
                    </a:lnTo>
                    <a:close/>
                    <a:moveTo>
                      <a:pt x="28" y="42"/>
                    </a:moveTo>
                    <a:lnTo>
                      <a:pt x="26" y="42"/>
                    </a:lnTo>
                    <a:lnTo>
                      <a:pt x="28" y="42"/>
                    </a:lnTo>
                    <a:lnTo>
                      <a:pt x="26" y="42"/>
                    </a:lnTo>
                    <a:lnTo>
                      <a:pt x="25" y="42"/>
                    </a:lnTo>
                    <a:lnTo>
                      <a:pt x="23" y="40"/>
                    </a:lnTo>
                    <a:lnTo>
                      <a:pt x="25" y="38"/>
                    </a:lnTo>
                    <a:lnTo>
                      <a:pt x="26" y="38"/>
                    </a:lnTo>
                    <a:lnTo>
                      <a:pt x="28" y="42"/>
                    </a:lnTo>
                    <a:close/>
                    <a:moveTo>
                      <a:pt x="21" y="36"/>
                    </a:moveTo>
                    <a:lnTo>
                      <a:pt x="21" y="38"/>
                    </a:lnTo>
                    <a:lnTo>
                      <a:pt x="19" y="38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17" y="38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7" y="34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6"/>
                    </a:lnTo>
                    <a:lnTo>
                      <a:pt x="21" y="36"/>
                    </a:lnTo>
                    <a:close/>
                    <a:moveTo>
                      <a:pt x="170" y="84"/>
                    </a:moveTo>
                    <a:lnTo>
                      <a:pt x="168" y="86"/>
                    </a:lnTo>
                    <a:lnTo>
                      <a:pt x="168" y="84"/>
                    </a:lnTo>
                    <a:lnTo>
                      <a:pt x="168" y="86"/>
                    </a:lnTo>
                    <a:lnTo>
                      <a:pt x="168" y="84"/>
                    </a:lnTo>
                    <a:lnTo>
                      <a:pt x="168" y="86"/>
                    </a:lnTo>
                    <a:lnTo>
                      <a:pt x="168" y="84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4" y="86"/>
                    </a:lnTo>
                    <a:lnTo>
                      <a:pt x="164" y="84"/>
                    </a:lnTo>
                    <a:lnTo>
                      <a:pt x="166" y="84"/>
                    </a:lnTo>
                    <a:lnTo>
                      <a:pt x="168" y="84"/>
                    </a:lnTo>
                    <a:lnTo>
                      <a:pt x="170" y="84"/>
                    </a:lnTo>
                    <a:close/>
                    <a:moveTo>
                      <a:pt x="42" y="49"/>
                    </a:moveTo>
                    <a:lnTo>
                      <a:pt x="42" y="51"/>
                    </a:lnTo>
                    <a:lnTo>
                      <a:pt x="40" y="53"/>
                    </a:lnTo>
                    <a:lnTo>
                      <a:pt x="38" y="51"/>
                    </a:lnTo>
                    <a:lnTo>
                      <a:pt x="38" y="49"/>
                    </a:lnTo>
                    <a:lnTo>
                      <a:pt x="40" y="49"/>
                    </a:lnTo>
                    <a:lnTo>
                      <a:pt x="40" y="48"/>
                    </a:lnTo>
                    <a:lnTo>
                      <a:pt x="40" y="49"/>
                    </a:lnTo>
                    <a:lnTo>
                      <a:pt x="40" y="48"/>
                    </a:lnTo>
                    <a:lnTo>
                      <a:pt x="40" y="49"/>
                    </a:lnTo>
                    <a:lnTo>
                      <a:pt x="42" y="49"/>
                    </a:lnTo>
                    <a:close/>
                    <a:moveTo>
                      <a:pt x="97" y="67"/>
                    </a:moveTo>
                    <a:lnTo>
                      <a:pt x="97" y="69"/>
                    </a:lnTo>
                    <a:lnTo>
                      <a:pt x="95" y="67"/>
                    </a:lnTo>
                    <a:lnTo>
                      <a:pt x="95" y="65"/>
                    </a:lnTo>
                    <a:lnTo>
                      <a:pt x="93" y="65"/>
                    </a:lnTo>
                    <a:lnTo>
                      <a:pt x="95" y="63"/>
                    </a:lnTo>
                    <a:lnTo>
                      <a:pt x="93" y="63"/>
                    </a:lnTo>
                    <a:lnTo>
                      <a:pt x="95" y="63"/>
                    </a:lnTo>
                    <a:lnTo>
                      <a:pt x="93" y="63"/>
                    </a:lnTo>
                    <a:lnTo>
                      <a:pt x="95" y="63"/>
                    </a:lnTo>
                    <a:lnTo>
                      <a:pt x="93" y="63"/>
                    </a:lnTo>
                    <a:lnTo>
                      <a:pt x="93" y="61"/>
                    </a:lnTo>
                    <a:lnTo>
                      <a:pt x="93" y="63"/>
                    </a:lnTo>
                    <a:lnTo>
                      <a:pt x="97" y="65"/>
                    </a:lnTo>
                    <a:lnTo>
                      <a:pt x="97" y="67"/>
                    </a:lnTo>
                    <a:close/>
                    <a:moveTo>
                      <a:pt x="30" y="48"/>
                    </a:moveTo>
                    <a:lnTo>
                      <a:pt x="30" y="49"/>
                    </a:lnTo>
                    <a:lnTo>
                      <a:pt x="30" y="51"/>
                    </a:lnTo>
                    <a:lnTo>
                      <a:pt x="28" y="51"/>
                    </a:lnTo>
                    <a:lnTo>
                      <a:pt x="28" y="49"/>
                    </a:lnTo>
                    <a:lnTo>
                      <a:pt x="26" y="49"/>
                    </a:lnTo>
                    <a:lnTo>
                      <a:pt x="28" y="48"/>
                    </a:lnTo>
                    <a:lnTo>
                      <a:pt x="30" y="46"/>
                    </a:lnTo>
                    <a:lnTo>
                      <a:pt x="30" y="48"/>
                    </a:lnTo>
                    <a:lnTo>
                      <a:pt x="30" y="46"/>
                    </a:lnTo>
                    <a:lnTo>
                      <a:pt x="30" y="48"/>
                    </a:lnTo>
                    <a:close/>
                    <a:moveTo>
                      <a:pt x="76" y="57"/>
                    </a:moveTo>
                    <a:lnTo>
                      <a:pt x="76" y="59"/>
                    </a:lnTo>
                    <a:lnTo>
                      <a:pt x="76" y="57"/>
                    </a:lnTo>
                    <a:lnTo>
                      <a:pt x="76" y="59"/>
                    </a:lnTo>
                    <a:lnTo>
                      <a:pt x="74" y="57"/>
                    </a:lnTo>
                    <a:lnTo>
                      <a:pt x="72" y="57"/>
                    </a:lnTo>
                    <a:lnTo>
                      <a:pt x="74" y="57"/>
                    </a:lnTo>
                    <a:lnTo>
                      <a:pt x="74" y="55"/>
                    </a:lnTo>
                    <a:lnTo>
                      <a:pt x="74" y="57"/>
                    </a:lnTo>
                    <a:lnTo>
                      <a:pt x="76" y="57"/>
                    </a:lnTo>
                    <a:close/>
                    <a:moveTo>
                      <a:pt x="6" y="25"/>
                    </a:moveTo>
                    <a:lnTo>
                      <a:pt x="6" y="27"/>
                    </a:lnTo>
                    <a:lnTo>
                      <a:pt x="6" y="25"/>
                    </a:lnTo>
                    <a:lnTo>
                      <a:pt x="6" y="27"/>
                    </a:lnTo>
                    <a:lnTo>
                      <a:pt x="6" y="25"/>
                    </a:lnTo>
                    <a:lnTo>
                      <a:pt x="6" y="27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6" y="25"/>
                    </a:lnTo>
                    <a:close/>
                    <a:moveTo>
                      <a:pt x="67" y="48"/>
                    </a:moveTo>
                    <a:lnTo>
                      <a:pt x="67" y="49"/>
                    </a:lnTo>
                    <a:lnTo>
                      <a:pt x="65" y="48"/>
                    </a:lnTo>
                    <a:lnTo>
                      <a:pt x="65" y="46"/>
                    </a:lnTo>
                    <a:lnTo>
                      <a:pt x="67" y="46"/>
                    </a:lnTo>
                    <a:lnTo>
                      <a:pt x="67" y="48"/>
                    </a:lnTo>
                    <a:close/>
                    <a:moveTo>
                      <a:pt x="183" y="99"/>
                    </a:moveTo>
                    <a:lnTo>
                      <a:pt x="183" y="101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1" y="101"/>
                    </a:lnTo>
                    <a:lnTo>
                      <a:pt x="181" y="99"/>
                    </a:lnTo>
                    <a:lnTo>
                      <a:pt x="181" y="101"/>
                    </a:lnTo>
                    <a:lnTo>
                      <a:pt x="181" y="99"/>
                    </a:lnTo>
                    <a:lnTo>
                      <a:pt x="181" y="97"/>
                    </a:lnTo>
                    <a:lnTo>
                      <a:pt x="181" y="99"/>
                    </a:lnTo>
                    <a:lnTo>
                      <a:pt x="183" y="99"/>
                    </a:lnTo>
                    <a:close/>
                    <a:moveTo>
                      <a:pt x="19" y="42"/>
                    </a:moveTo>
                    <a:lnTo>
                      <a:pt x="19" y="44"/>
                    </a:lnTo>
                    <a:lnTo>
                      <a:pt x="17" y="44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9" y="42"/>
                    </a:lnTo>
                    <a:close/>
                    <a:moveTo>
                      <a:pt x="57" y="57"/>
                    </a:moveTo>
                    <a:lnTo>
                      <a:pt x="59" y="57"/>
                    </a:lnTo>
                    <a:lnTo>
                      <a:pt x="59" y="59"/>
                    </a:lnTo>
                    <a:lnTo>
                      <a:pt x="57" y="59"/>
                    </a:lnTo>
                    <a:lnTo>
                      <a:pt x="57" y="57"/>
                    </a:lnTo>
                    <a:close/>
                    <a:moveTo>
                      <a:pt x="78" y="59"/>
                    </a:moveTo>
                    <a:lnTo>
                      <a:pt x="76" y="59"/>
                    </a:lnTo>
                    <a:lnTo>
                      <a:pt x="76" y="57"/>
                    </a:lnTo>
                    <a:lnTo>
                      <a:pt x="78" y="57"/>
                    </a:lnTo>
                    <a:lnTo>
                      <a:pt x="78" y="59"/>
                    </a:lnTo>
                    <a:close/>
                    <a:moveTo>
                      <a:pt x="34" y="53"/>
                    </a:moveTo>
                    <a:lnTo>
                      <a:pt x="32" y="53"/>
                    </a:lnTo>
                    <a:lnTo>
                      <a:pt x="32" y="51"/>
                    </a:lnTo>
                    <a:lnTo>
                      <a:pt x="30" y="51"/>
                    </a:lnTo>
                    <a:lnTo>
                      <a:pt x="32" y="51"/>
                    </a:lnTo>
                    <a:lnTo>
                      <a:pt x="34" y="53"/>
                    </a:lnTo>
                    <a:close/>
                    <a:moveTo>
                      <a:pt x="26" y="42"/>
                    </a:moveTo>
                    <a:lnTo>
                      <a:pt x="28" y="42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2"/>
                    </a:lnTo>
                    <a:close/>
                    <a:moveTo>
                      <a:pt x="42" y="51"/>
                    </a:moveTo>
                    <a:lnTo>
                      <a:pt x="44" y="51"/>
                    </a:lnTo>
                    <a:lnTo>
                      <a:pt x="44" y="53"/>
                    </a:lnTo>
                    <a:lnTo>
                      <a:pt x="42" y="53"/>
                    </a:lnTo>
                    <a:lnTo>
                      <a:pt x="42" y="51"/>
                    </a:lnTo>
                    <a:close/>
                    <a:moveTo>
                      <a:pt x="36" y="30"/>
                    </a:moveTo>
                    <a:lnTo>
                      <a:pt x="38" y="30"/>
                    </a:lnTo>
                    <a:lnTo>
                      <a:pt x="38" y="32"/>
                    </a:lnTo>
                    <a:lnTo>
                      <a:pt x="36" y="32"/>
                    </a:lnTo>
                    <a:lnTo>
                      <a:pt x="36" y="30"/>
                    </a:lnTo>
                    <a:close/>
                    <a:moveTo>
                      <a:pt x="175" y="91"/>
                    </a:moveTo>
                    <a:lnTo>
                      <a:pt x="177" y="91"/>
                    </a:lnTo>
                    <a:lnTo>
                      <a:pt x="177" y="93"/>
                    </a:lnTo>
                    <a:lnTo>
                      <a:pt x="175" y="93"/>
                    </a:lnTo>
                    <a:lnTo>
                      <a:pt x="175" y="91"/>
                    </a:lnTo>
                    <a:close/>
                    <a:moveTo>
                      <a:pt x="44" y="30"/>
                    </a:moveTo>
                    <a:lnTo>
                      <a:pt x="47" y="30"/>
                    </a:lnTo>
                    <a:lnTo>
                      <a:pt x="47" y="32"/>
                    </a:lnTo>
                    <a:lnTo>
                      <a:pt x="44" y="32"/>
                    </a:lnTo>
                    <a:lnTo>
                      <a:pt x="44" y="30"/>
                    </a:lnTo>
                    <a:close/>
                    <a:moveTo>
                      <a:pt x="11" y="23"/>
                    </a:moveTo>
                    <a:lnTo>
                      <a:pt x="9" y="23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9" y="23"/>
                    </a:lnTo>
                    <a:lnTo>
                      <a:pt x="11" y="23"/>
                    </a:lnTo>
                    <a:close/>
                    <a:moveTo>
                      <a:pt x="25" y="44"/>
                    </a:moveTo>
                    <a:lnTo>
                      <a:pt x="26" y="44"/>
                    </a:lnTo>
                    <a:lnTo>
                      <a:pt x="26" y="46"/>
                    </a:lnTo>
                    <a:lnTo>
                      <a:pt x="25" y="46"/>
                    </a:lnTo>
                    <a:lnTo>
                      <a:pt x="25" y="44"/>
                    </a:lnTo>
                    <a:close/>
                    <a:moveTo>
                      <a:pt x="32" y="30"/>
                    </a:moveTo>
                    <a:lnTo>
                      <a:pt x="34" y="30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2" y="30"/>
                    </a:lnTo>
                    <a:close/>
                    <a:moveTo>
                      <a:pt x="0" y="28"/>
                    </a:moveTo>
                    <a:lnTo>
                      <a:pt x="2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8"/>
                    </a:lnTo>
                    <a:close/>
                    <a:moveTo>
                      <a:pt x="103" y="69"/>
                    </a:moveTo>
                    <a:lnTo>
                      <a:pt x="105" y="69"/>
                    </a:lnTo>
                    <a:lnTo>
                      <a:pt x="105" y="70"/>
                    </a:lnTo>
                    <a:lnTo>
                      <a:pt x="103" y="70"/>
                    </a:lnTo>
                    <a:lnTo>
                      <a:pt x="103" y="69"/>
                    </a:lnTo>
                    <a:close/>
                    <a:moveTo>
                      <a:pt x="59" y="57"/>
                    </a:moveTo>
                    <a:lnTo>
                      <a:pt x="59" y="59"/>
                    </a:lnTo>
                    <a:lnTo>
                      <a:pt x="59" y="57"/>
                    </a:lnTo>
                    <a:close/>
                    <a:moveTo>
                      <a:pt x="99" y="76"/>
                    </a:moveTo>
                    <a:lnTo>
                      <a:pt x="101" y="76"/>
                    </a:lnTo>
                    <a:lnTo>
                      <a:pt x="101" y="78"/>
                    </a:lnTo>
                    <a:lnTo>
                      <a:pt x="99" y="78"/>
                    </a:lnTo>
                    <a:lnTo>
                      <a:pt x="99" y="76"/>
                    </a:lnTo>
                    <a:close/>
                    <a:moveTo>
                      <a:pt x="44" y="30"/>
                    </a:moveTo>
                    <a:lnTo>
                      <a:pt x="46" y="30"/>
                    </a:lnTo>
                    <a:lnTo>
                      <a:pt x="46" y="32"/>
                    </a:lnTo>
                    <a:lnTo>
                      <a:pt x="44" y="32"/>
                    </a:lnTo>
                    <a:lnTo>
                      <a:pt x="44" y="30"/>
                    </a:lnTo>
                    <a:close/>
                    <a:moveTo>
                      <a:pt x="21" y="40"/>
                    </a:moveTo>
                    <a:lnTo>
                      <a:pt x="23" y="40"/>
                    </a:lnTo>
                    <a:lnTo>
                      <a:pt x="23" y="42"/>
                    </a:lnTo>
                    <a:lnTo>
                      <a:pt x="21" y="42"/>
                    </a:lnTo>
                    <a:lnTo>
                      <a:pt x="21" y="40"/>
                    </a:lnTo>
                    <a:close/>
                    <a:moveTo>
                      <a:pt x="68" y="57"/>
                    </a:moveTo>
                    <a:lnTo>
                      <a:pt x="70" y="57"/>
                    </a:lnTo>
                    <a:lnTo>
                      <a:pt x="70" y="59"/>
                    </a:lnTo>
                    <a:lnTo>
                      <a:pt x="68" y="59"/>
                    </a:lnTo>
                    <a:lnTo>
                      <a:pt x="68" y="57"/>
                    </a:lnTo>
                    <a:close/>
                    <a:moveTo>
                      <a:pt x="72" y="55"/>
                    </a:moveTo>
                    <a:lnTo>
                      <a:pt x="74" y="55"/>
                    </a:lnTo>
                    <a:lnTo>
                      <a:pt x="74" y="57"/>
                    </a:lnTo>
                    <a:lnTo>
                      <a:pt x="72" y="57"/>
                    </a:lnTo>
                    <a:lnTo>
                      <a:pt x="72" y="55"/>
                    </a:lnTo>
                    <a:close/>
                    <a:moveTo>
                      <a:pt x="17" y="36"/>
                    </a:moveTo>
                    <a:lnTo>
                      <a:pt x="17" y="38"/>
                    </a:lnTo>
                    <a:lnTo>
                      <a:pt x="17" y="36"/>
                    </a:lnTo>
                    <a:close/>
                    <a:moveTo>
                      <a:pt x="171" y="76"/>
                    </a:moveTo>
                    <a:lnTo>
                      <a:pt x="173" y="76"/>
                    </a:lnTo>
                    <a:lnTo>
                      <a:pt x="173" y="78"/>
                    </a:lnTo>
                    <a:lnTo>
                      <a:pt x="171" y="78"/>
                    </a:lnTo>
                    <a:lnTo>
                      <a:pt x="171" y="76"/>
                    </a:lnTo>
                    <a:close/>
                    <a:moveTo>
                      <a:pt x="168" y="86"/>
                    </a:moveTo>
                    <a:lnTo>
                      <a:pt x="170" y="86"/>
                    </a:lnTo>
                    <a:lnTo>
                      <a:pt x="168" y="86"/>
                    </a:lnTo>
                    <a:close/>
                    <a:moveTo>
                      <a:pt x="7" y="21"/>
                    </a:moveTo>
                    <a:lnTo>
                      <a:pt x="9" y="21"/>
                    </a:lnTo>
                    <a:lnTo>
                      <a:pt x="7" y="21"/>
                    </a:lnTo>
                    <a:close/>
                    <a:moveTo>
                      <a:pt x="68" y="93"/>
                    </a:moveTo>
                    <a:lnTo>
                      <a:pt x="70" y="93"/>
                    </a:lnTo>
                    <a:lnTo>
                      <a:pt x="68" y="93"/>
                    </a:lnTo>
                    <a:close/>
                    <a:moveTo>
                      <a:pt x="84" y="46"/>
                    </a:moveTo>
                    <a:lnTo>
                      <a:pt x="86" y="46"/>
                    </a:lnTo>
                    <a:lnTo>
                      <a:pt x="84" y="46"/>
                    </a:lnTo>
                    <a:close/>
                    <a:moveTo>
                      <a:pt x="110" y="86"/>
                    </a:moveTo>
                    <a:lnTo>
                      <a:pt x="112" y="86"/>
                    </a:lnTo>
                    <a:lnTo>
                      <a:pt x="110" y="86"/>
                    </a:lnTo>
                    <a:close/>
                    <a:moveTo>
                      <a:pt x="47" y="34"/>
                    </a:moveTo>
                    <a:lnTo>
                      <a:pt x="49" y="34"/>
                    </a:lnTo>
                    <a:lnTo>
                      <a:pt x="49" y="36"/>
                    </a:lnTo>
                    <a:lnTo>
                      <a:pt x="47" y="36"/>
                    </a:lnTo>
                    <a:lnTo>
                      <a:pt x="47" y="34"/>
                    </a:lnTo>
                    <a:close/>
                    <a:moveTo>
                      <a:pt x="17" y="44"/>
                    </a:moveTo>
                    <a:lnTo>
                      <a:pt x="17" y="46"/>
                    </a:lnTo>
                    <a:lnTo>
                      <a:pt x="17" y="44"/>
                    </a:lnTo>
                    <a:close/>
                    <a:moveTo>
                      <a:pt x="6" y="25"/>
                    </a:moveTo>
                    <a:lnTo>
                      <a:pt x="6" y="27"/>
                    </a:lnTo>
                    <a:lnTo>
                      <a:pt x="6" y="25"/>
                    </a:lnTo>
                    <a:close/>
                    <a:moveTo>
                      <a:pt x="30" y="46"/>
                    </a:moveTo>
                    <a:lnTo>
                      <a:pt x="32" y="46"/>
                    </a:lnTo>
                    <a:lnTo>
                      <a:pt x="30" y="46"/>
                    </a:lnTo>
                    <a:close/>
                    <a:moveTo>
                      <a:pt x="51" y="32"/>
                    </a:moveTo>
                    <a:lnTo>
                      <a:pt x="53" y="32"/>
                    </a:lnTo>
                    <a:lnTo>
                      <a:pt x="53" y="34"/>
                    </a:lnTo>
                    <a:lnTo>
                      <a:pt x="51" y="34"/>
                    </a:lnTo>
                    <a:lnTo>
                      <a:pt x="51" y="32"/>
                    </a:lnTo>
                    <a:close/>
                    <a:moveTo>
                      <a:pt x="44" y="51"/>
                    </a:moveTo>
                    <a:lnTo>
                      <a:pt x="46" y="51"/>
                    </a:lnTo>
                    <a:lnTo>
                      <a:pt x="46" y="53"/>
                    </a:lnTo>
                    <a:lnTo>
                      <a:pt x="44" y="53"/>
                    </a:lnTo>
                    <a:lnTo>
                      <a:pt x="44" y="51"/>
                    </a:lnTo>
                    <a:close/>
                    <a:moveTo>
                      <a:pt x="57" y="59"/>
                    </a:moveTo>
                    <a:lnTo>
                      <a:pt x="59" y="59"/>
                    </a:lnTo>
                    <a:lnTo>
                      <a:pt x="57" y="59"/>
                    </a:lnTo>
                    <a:close/>
                    <a:moveTo>
                      <a:pt x="86" y="69"/>
                    </a:moveTo>
                    <a:lnTo>
                      <a:pt x="86" y="70"/>
                    </a:lnTo>
                    <a:lnTo>
                      <a:pt x="86" y="69"/>
                    </a:lnTo>
                    <a:close/>
                    <a:moveTo>
                      <a:pt x="42" y="51"/>
                    </a:moveTo>
                    <a:lnTo>
                      <a:pt x="42" y="53"/>
                    </a:lnTo>
                    <a:lnTo>
                      <a:pt x="42" y="51"/>
                    </a:lnTo>
                    <a:close/>
                    <a:moveTo>
                      <a:pt x="36" y="44"/>
                    </a:moveTo>
                    <a:lnTo>
                      <a:pt x="38" y="44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4"/>
                    </a:lnTo>
                    <a:close/>
                    <a:moveTo>
                      <a:pt x="28" y="46"/>
                    </a:moveTo>
                    <a:lnTo>
                      <a:pt x="30" y="46"/>
                    </a:lnTo>
                    <a:lnTo>
                      <a:pt x="28" y="46"/>
                    </a:lnTo>
                    <a:close/>
                    <a:moveTo>
                      <a:pt x="40" y="48"/>
                    </a:moveTo>
                    <a:lnTo>
                      <a:pt x="40" y="49"/>
                    </a:lnTo>
                    <a:lnTo>
                      <a:pt x="40" y="48"/>
                    </a:lnTo>
                    <a:close/>
                    <a:moveTo>
                      <a:pt x="211" y="109"/>
                    </a:moveTo>
                    <a:lnTo>
                      <a:pt x="213" y="109"/>
                    </a:lnTo>
                    <a:lnTo>
                      <a:pt x="213" y="111"/>
                    </a:lnTo>
                    <a:lnTo>
                      <a:pt x="211" y="111"/>
                    </a:lnTo>
                    <a:lnTo>
                      <a:pt x="211" y="109"/>
                    </a:lnTo>
                    <a:close/>
                    <a:moveTo>
                      <a:pt x="171" y="76"/>
                    </a:moveTo>
                    <a:lnTo>
                      <a:pt x="173" y="76"/>
                    </a:lnTo>
                    <a:lnTo>
                      <a:pt x="171" y="76"/>
                    </a:lnTo>
                    <a:close/>
                    <a:moveTo>
                      <a:pt x="32" y="46"/>
                    </a:moveTo>
                    <a:lnTo>
                      <a:pt x="32" y="48"/>
                    </a:lnTo>
                    <a:lnTo>
                      <a:pt x="32" y="46"/>
                    </a:lnTo>
                    <a:close/>
                    <a:moveTo>
                      <a:pt x="110" y="86"/>
                    </a:moveTo>
                    <a:lnTo>
                      <a:pt x="110" y="88"/>
                    </a:lnTo>
                    <a:lnTo>
                      <a:pt x="110" y="86"/>
                    </a:lnTo>
                    <a:close/>
                    <a:moveTo>
                      <a:pt x="34" y="44"/>
                    </a:moveTo>
                    <a:lnTo>
                      <a:pt x="36" y="44"/>
                    </a:lnTo>
                    <a:lnTo>
                      <a:pt x="34" y="44"/>
                    </a:lnTo>
                    <a:close/>
                    <a:moveTo>
                      <a:pt x="6" y="25"/>
                    </a:moveTo>
                    <a:lnTo>
                      <a:pt x="7" y="25"/>
                    </a:lnTo>
                    <a:lnTo>
                      <a:pt x="7" y="27"/>
                    </a:lnTo>
                    <a:lnTo>
                      <a:pt x="6" y="27"/>
                    </a:lnTo>
                    <a:lnTo>
                      <a:pt x="6" y="25"/>
                    </a:lnTo>
                    <a:close/>
                    <a:moveTo>
                      <a:pt x="61" y="57"/>
                    </a:moveTo>
                    <a:lnTo>
                      <a:pt x="61" y="59"/>
                    </a:lnTo>
                    <a:lnTo>
                      <a:pt x="61" y="57"/>
                    </a:lnTo>
                    <a:close/>
                    <a:moveTo>
                      <a:pt x="38" y="46"/>
                    </a:moveTo>
                    <a:lnTo>
                      <a:pt x="40" y="46"/>
                    </a:lnTo>
                    <a:lnTo>
                      <a:pt x="40" y="48"/>
                    </a:lnTo>
                    <a:lnTo>
                      <a:pt x="38" y="48"/>
                    </a:lnTo>
                    <a:lnTo>
                      <a:pt x="38" y="46"/>
                    </a:lnTo>
                    <a:close/>
                    <a:moveTo>
                      <a:pt x="34" y="30"/>
                    </a:moveTo>
                    <a:lnTo>
                      <a:pt x="34" y="32"/>
                    </a:lnTo>
                    <a:lnTo>
                      <a:pt x="34" y="30"/>
                    </a:lnTo>
                    <a:close/>
                    <a:moveTo>
                      <a:pt x="65" y="42"/>
                    </a:moveTo>
                    <a:lnTo>
                      <a:pt x="67" y="42"/>
                    </a:lnTo>
                    <a:lnTo>
                      <a:pt x="65" y="42"/>
                    </a:lnTo>
                    <a:close/>
                    <a:moveTo>
                      <a:pt x="95" y="80"/>
                    </a:moveTo>
                    <a:lnTo>
                      <a:pt x="97" y="80"/>
                    </a:lnTo>
                    <a:lnTo>
                      <a:pt x="97" y="82"/>
                    </a:lnTo>
                    <a:lnTo>
                      <a:pt x="95" y="82"/>
                    </a:lnTo>
                    <a:lnTo>
                      <a:pt x="95" y="80"/>
                    </a:lnTo>
                    <a:close/>
                    <a:moveTo>
                      <a:pt x="6" y="25"/>
                    </a:moveTo>
                    <a:lnTo>
                      <a:pt x="7" y="25"/>
                    </a:lnTo>
                    <a:lnTo>
                      <a:pt x="7" y="27"/>
                    </a:lnTo>
                    <a:lnTo>
                      <a:pt x="6" y="27"/>
                    </a:lnTo>
                    <a:lnTo>
                      <a:pt x="6" y="25"/>
                    </a:lnTo>
                    <a:close/>
                    <a:moveTo>
                      <a:pt x="57" y="55"/>
                    </a:moveTo>
                    <a:lnTo>
                      <a:pt x="57" y="57"/>
                    </a:lnTo>
                    <a:lnTo>
                      <a:pt x="57" y="55"/>
                    </a:lnTo>
                    <a:close/>
                    <a:moveTo>
                      <a:pt x="88" y="51"/>
                    </a:moveTo>
                    <a:lnTo>
                      <a:pt x="89" y="51"/>
                    </a:lnTo>
                    <a:lnTo>
                      <a:pt x="89" y="53"/>
                    </a:lnTo>
                    <a:lnTo>
                      <a:pt x="88" y="53"/>
                    </a:lnTo>
                    <a:lnTo>
                      <a:pt x="88" y="51"/>
                    </a:lnTo>
                    <a:close/>
                    <a:moveTo>
                      <a:pt x="99" y="74"/>
                    </a:moveTo>
                    <a:lnTo>
                      <a:pt x="99" y="76"/>
                    </a:lnTo>
                    <a:lnTo>
                      <a:pt x="99" y="74"/>
                    </a:lnTo>
                    <a:close/>
                    <a:moveTo>
                      <a:pt x="44" y="49"/>
                    </a:moveTo>
                    <a:lnTo>
                      <a:pt x="44" y="51"/>
                    </a:lnTo>
                    <a:lnTo>
                      <a:pt x="44" y="49"/>
                    </a:lnTo>
                    <a:close/>
                    <a:moveTo>
                      <a:pt x="86" y="69"/>
                    </a:moveTo>
                    <a:lnTo>
                      <a:pt x="86" y="70"/>
                    </a:lnTo>
                    <a:lnTo>
                      <a:pt x="86" y="69"/>
                    </a:lnTo>
                    <a:close/>
                    <a:moveTo>
                      <a:pt x="103" y="74"/>
                    </a:moveTo>
                    <a:lnTo>
                      <a:pt x="103" y="76"/>
                    </a:lnTo>
                    <a:lnTo>
                      <a:pt x="103" y="74"/>
                    </a:lnTo>
                    <a:close/>
                    <a:moveTo>
                      <a:pt x="44" y="48"/>
                    </a:moveTo>
                    <a:lnTo>
                      <a:pt x="44" y="49"/>
                    </a:lnTo>
                    <a:lnTo>
                      <a:pt x="44" y="48"/>
                    </a:lnTo>
                    <a:close/>
                    <a:moveTo>
                      <a:pt x="11" y="21"/>
                    </a:moveTo>
                    <a:lnTo>
                      <a:pt x="11" y="23"/>
                    </a:lnTo>
                    <a:lnTo>
                      <a:pt x="11" y="21"/>
                    </a:lnTo>
                    <a:close/>
                    <a:moveTo>
                      <a:pt x="70" y="48"/>
                    </a:moveTo>
                    <a:lnTo>
                      <a:pt x="70" y="49"/>
                    </a:lnTo>
                    <a:lnTo>
                      <a:pt x="70" y="48"/>
                    </a:lnTo>
                    <a:close/>
                    <a:moveTo>
                      <a:pt x="40" y="30"/>
                    </a:moveTo>
                    <a:lnTo>
                      <a:pt x="40" y="32"/>
                    </a:lnTo>
                    <a:lnTo>
                      <a:pt x="40" y="30"/>
                    </a:lnTo>
                    <a:close/>
                    <a:moveTo>
                      <a:pt x="46" y="30"/>
                    </a:moveTo>
                    <a:lnTo>
                      <a:pt x="46" y="32"/>
                    </a:lnTo>
                    <a:lnTo>
                      <a:pt x="46" y="30"/>
                    </a:lnTo>
                    <a:close/>
                    <a:moveTo>
                      <a:pt x="93" y="63"/>
                    </a:moveTo>
                    <a:lnTo>
                      <a:pt x="95" y="63"/>
                    </a:lnTo>
                    <a:lnTo>
                      <a:pt x="93" y="63"/>
                    </a:lnTo>
                    <a:close/>
                    <a:moveTo>
                      <a:pt x="2" y="25"/>
                    </a:moveTo>
                    <a:lnTo>
                      <a:pt x="4" y="25"/>
                    </a:lnTo>
                    <a:lnTo>
                      <a:pt x="2" y="25"/>
                    </a:lnTo>
                    <a:close/>
                    <a:moveTo>
                      <a:pt x="32" y="46"/>
                    </a:moveTo>
                    <a:lnTo>
                      <a:pt x="34" y="46"/>
                    </a:lnTo>
                    <a:lnTo>
                      <a:pt x="32" y="46"/>
                    </a:lnTo>
                    <a:close/>
                    <a:moveTo>
                      <a:pt x="61" y="57"/>
                    </a:moveTo>
                    <a:lnTo>
                      <a:pt x="61" y="59"/>
                    </a:lnTo>
                    <a:lnTo>
                      <a:pt x="61" y="57"/>
                    </a:lnTo>
                    <a:close/>
                    <a:moveTo>
                      <a:pt x="6" y="25"/>
                    </a:moveTo>
                    <a:lnTo>
                      <a:pt x="7" y="25"/>
                    </a:lnTo>
                    <a:lnTo>
                      <a:pt x="6" y="25"/>
                    </a:lnTo>
                    <a:close/>
                    <a:moveTo>
                      <a:pt x="55" y="42"/>
                    </a:moveTo>
                    <a:lnTo>
                      <a:pt x="57" y="42"/>
                    </a:lnTo>
                    <a:lnTo>
                      <a:pt x="55" y="42"/>
                    </a:lnTo>
                    <a:close/>
                    <a:moveTo>
                      <a:pt x="91" y="63"/>
                    </a:moveTo>
                    <a:lnTo>
                      <a:pt x="91" y="65"/>
                    </a:lnTo>
                    <a:lnTo>
                      <a:pt x="91" y="63"/>
                    </a:lnTo>
                    <a:close/>
                    <a:moveTo>
                      <a:pt x="42" y="48"/>
                    </a:moveTo>
                    <a:lnTo>
                      <a:pt x="44" y="48"/>
                    </a:lnTo>
                    <a:lnTo>
                      <a:pt x="42" y="48"/>
                    </a:lnTo>
                    <a:close/>
                    <a:moveTo>
                      <a:pt x="34" y="42"/>
                    </a:moveTo>
                    <a:lnTo>
                      <a:pt x="34" y="44"/>
                    </a:lnTo>
                    <a:lnTo>
                      <a:pt x="34" y="42"/>
                    </a:lnTo>
                    <a:close/>
                    <a:moveTo>
                      <a:pt x="38" y="49"/>
                    </a:moveTo>
                    <a:lnTo>
                      <a:pt x="38" y="51"/>
                    </a:lnTo>
                    <a:lnTo>
                      <a:pt x="38" y="49"/>
                    </a:lnTo>
                    <a:close/>
                    <a:moveTo>
                      <a:pt x="68" y="46"/>
                    </a:moveTo>
                    <a:lnTo>
                      <a:pt x="68" y="48"/>
                    </a:lnTo>
                    <a:lnTo>
                      <a:pt x="68" y="46"/>
                    </a:lnTo>
                    <a:close/>
                    <a:moveTo>
                      <a:pt x="40" y="30"/>
                    </a:moveTo>
                    <a:lnTo>
                      <a:pt x="42" y="30"/>
                    </a:lnTo>
                    <a:lnTo>
                      <a:pt x="42" y="32"/>
                    </a:lnTo>
                    <a:lnTo>
                      <a:pt x="40" y="32"/>
                    </a:lnTo>
                    <a:lnTo>
                      <a:pt x="40" y="30"/>
                    </a:lnTo>
                    <a:close/>
                    <a:moveTo>
                      <a:pt x="25" y="42"/>
                    </a:moveTo>
                    <a:lnTo>
                      <a:pt x="26" y="42"/>
                    </a:lnTo>
                    <a:lnTo>
                      <a:pt x="25" y="42"/>
                    </a:lnTo>
                    <a:close/>
                    <a:moveTo>
                      <a:pt x="42" y="49"/>
                    </a:moveTo>
                    <a:lnTo>
                      <a:pt x="44" y="49"/>
                    </a:lnTo>
                    <a:lnTo>
                      <a:pt x="42" y="49"/>
                    </a:lnTo>
                    <a:close/>
                    <a:moveTo>
                      <a:pt x="91" y="65"/>
                    </a:moveTo>
                    <a:lnTo>
                      <a:pt x="93" y="65"/>
                    </a:lnTo>
                    <a:lnTo>
                      <a:pt x="91" y="65"/>
                    </a:lnTo>
                    <a:close/>
                    <a:moveTo>
                      <a:pt x="78" y="70"/>
                    </a:moveTo>
                    <a:lnTo>
                      <a:pt x="80" y="70"/>
                    </a:lnTo>
                    <a:lnTo>
                      <a:pt x="78" y="70"/>
                    </a:lnTo>
                    <a:close/>
                    <a:moveTo>
                      <a:pt x="36" y="30"/>
                    </a:moveTo>
                    <a:lnTo>
                      <a:pt x="36" y="32"/>
                    </a:lnTo>
                    <a:lnTo>
                      <a:pt x="36" y="30"/>
                    </a:lnTo>
                    <a:close/>
                    <a:moveTo>
                      <a:pt x="65" y="0"/>
                    </a:moveTo>
                    <a:lnTo>
                      <a:pt x="67" y="0"/>
                    </a:lnTo>
                    <a:lnTo>
                      <a:pt x="65" y="0"/>
                    </a:lnTo>
                    <a:close/>
                    <a:moveTo>
                      <a:pt x="46" y="32"/>
                    </a:moveTo>
                    <a:lnTo>
                      <a:pt x="46" y="34"/>
                    </a:lnTo>
                    <a:lnTo>
                      <a:pt x="46" y="32"/>
                    </a:lnTo>
                    <a:close/>
                    <a:moveTo>
                      <a:pt x="47" y="36"/>
                    </a:moveTo>
                    <a:lnTo>
                      <a:pt x="49" y="36"/>
                    </a:lnTo>
                    <a:lnTo>
                      <a:pt x="47" y="36"/>
                    </a:lnTo>
                    <a:close/>
                    <a:moveTo>
                      <a:pt x="63" y="0"/>
                    </a:moveTo>
                    <a:lnTo>
                      <a:pt x="65" y="0"/>
                    </a:lnTo>
                    <a:lnTo>
                      <a:pt x="63" y="0"/>
                    </a:lnTo>
                    <a:close/>
                    <a:moveTo>
                      <a:pt x="25" y="42"/>
                    </a:moveTo>
                    <a:lnTo>
                      <a:pt x="26" y="42"/>
                    </a:lnTo>
                    <a:lnTo>
                      <a:pt x="25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5" name="Freeform 171">
                <a:extLst>
                  <a:ext uri="{FF2B5EF4-FFF2-40B4-BE49-F238E27FC236}">
                    <a16:creationId xmlns:a16="http://schemas.microsoft.com/office/drawing/2014/main" id="{325215BF-2C9B-586A-FEC4-A08C3F75FE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622153" y="-1876607"/>
                <a:ext cx="378141" cy="262038"/>
              </a:xfrm>
              <a:custGeom>
                <a:avLst/>
                <a:gdLst>
                  <a:gd name="T0" fmla="*/ 8 w 240"/>
                  <a:gd name="T1" fmla="*/ 21 h 166"/>
                  <a:gd name="T2" fmla="*/ 50 w 240"/>
                  <a:gd name="T3" fmla="*/ 40 h 166"/>
                  <a:gd name="T4" fmla="*/ 65 w 240"/>
                  <a:gd name="T5" fmla="*/ 46 h 166"/>
                  <a:gd name="T6" fmla="*/ 78 w 240"/>
                  <a:gd name="T7" fmla="*/ 67 h 166"/>
                  <a:gd name="T8" fmla="*/ 111 w 240"/>
                  <a:gd name="T9" fmla="*/ 84 h 166"/>
                  <a:gd name="T10" fmla="*/ 105 w 240"/>
                  <a:gd name="T11" fmla="*/ 101 h 166"/>
                  <a:gd name="T12" fmla="*/ 128 w 240"/>
                  <a:gd name="T13" fmla="*/ 124 h 166"/>
                  <a:gd name="T14" fmla="*/ 143 w 240"/>
                  <a:gd name="T15" fmla="*/ 136 h 166"/>
                  <a:gd name="T16" fmla="*/ 157 w 240"/>
                  <a:gd name="T17" fmla="*/ 149 h 166"/>
                  <a:gd name="T18" fmla="*/ 137 w 240"/>
                  <a:gd name="T19" fmla="*/ 145 h 166"/>
                  <a:gd name="T20" fmla="*/ 118 w 240"/>
                  <a:gd name="T21" fmla="*/ 139 h 166"/>
                  <a:gd name="T22" fmla="*/ 99 w 240"/>
                  <a:gd name="T23" fmla="*/ 130 h 166"/>
                  <a:gd name="T24" fmla="*/ 84 w 240"/>
                  <a:gd name="T25" fmla="*/ 109 h 166"/>
                  <a:gd name="T26" fmla="*/ 67 w 240"/>
                  <a:gd name="T27" fmla="*/ 103 h 166"/>
                  <a:gd name="T28" fmla="*/ 55 w 240"/>
                  <a:gd name="T29" fmla="*/ 97 h 166"/>
                  <a:gd name="T30" fmla="*/ 50 w 240"/>
                  <a:gd name="T31" fmla="*/ 107 h 166"/>
                  <a:gd name="T32" fmla="*/ 31 w 240"/>
                  <a:gd name="T33" fmla="*/ 113 h 166"/>
                  <a:gd name="T34" fmla="*/ 6 w 240"/>
                  <a:gd name="T35" fmla="*/ 126 h 166"/>
                  <a:gd name="T36" fmla="*/ 177 w 240"/>
                  <a:gd name="T37" fmla="*/ 63 h 166"/>
                  <a:gd name="T38" fmla="*/ 162 w 240"/>
                  <a:gd name="T39" fmla="*/ 74 h 166"/>
                  <a:gd name="T40" fmla="*/ 143 w 240"/>
                  <a:gd name="T41" fmla="*/ 80 h 166"/>
                  <a:gd name="T42" fmla="*/ 128 w 240"/>
                  <a:gd name="T43" fmla="*/ 74 h 166"/>
                  <a:gd name="T44" fmla="*/ 137 w 240"/>
                  <a:gd name="T45" fmla="*/ 67 h 166"/>
                  <a:gd name="T46" fmla="*/ 155 w 240"/>
                  <a:gd name="T47" fmla="*/ 67 h 166"/>
                  <a:gd name="T48" fmla="*/ 176 w 240"/>
                  <a:gd name="T49" fmla="*/ 46 h 166"/>
                  <a:gd name="T50" fmla="*/ 237 w 240"/>
                  <a:gd name="T51" fmla="*/ 78 h 166"/>
                  <a:gd name="T52" fmla="*/ 221 w 240"/>
                  <a:gd name="T53" fmla="*/ 74 h 166"/>
                  <a:gd name="T54" fmla="*/ 183 w 240"/>
                  <a:gd name="T55" fmla="*/ 36 h 166"/>
                  <a:gd name="T56" fmla="*/ 189 w 240"/>
                  <a:gd name="T57" fmla="*/ 54 h 166"/>
                  <a:gd name="T58" fmla="*/ 158 w 240"/>
                  <a:gd name="T59" fmla="*/ 23 h 166"/>
                  <a:gd name="T60" fmla="*/ 94 w 240"/>
                  <a:gd name="T61" fmla="*/ 15 h 166"/>
                  <a:gd name="T62" fmla="*/ 149 w 240"/>
                  <a:gd name="T63" fmla="*/ 17 h 166"/>
                  <a:gd name="T64" fmla="*/ 193 w 240"/>
                  <a:gd name="T65" fmla="*/ 126 h 166"/>
                  <a:gd name="T66" fmla="*/ 166 w 240"/>
                  <a:gd name="T67" fmla="*/ 141 h 166"/>
                  <a:gd name="T68" fmla="*/ 198 w 240"/>
                  <a:gd name="T69" fmla="*/ 162 h 166"/>
                  <a:gd name="T70" fmla="*/ 147 w 240"/>
                  <a:gd name="T71" fmla="*/ 130 h 166"/>
                  <a:gd name="T72" fmla="*/ 99 w 240"/>
                  <a:gd name="T73" fmla="*/ 63 h 166"/>
                  <a:gd name="T74" fmla="*/ 139 w 240"/>
                  <a:gd name="T75" fmla="*/ 0 h 166"/>
                  <a:gd name="T76" fmla="*/ 164 w 240"/>
                  <a:gd name="T77" fmla="*/ 118 h 166"/>
                  <a:gd name="T78" fmla="*/ 189 w 240"/>
                  <a:gd name="T79" fmla="*/ 151 h 166"/>
                  <a:gd name="T80" fmla="*/ 59 w 240"/>
                  <a:gd name="T81" fmla="*/ 99 h 166"/>
                  <a:gd name="T82" fmla="*/ 109 w 240"/>
                  <a:gd name="T83" fmla="*/ 17 h 166"/>
                  <a:gd name="T84" fmla="*/ 202 w 240"/>
                  <a:gd name="T85" fmla="*/ 44 h 166"/>
                  <a:gd name="T86" fmla="*/ 198 w 240"/>
                  <a:gd name="T87" fmla="*/ 158 h 166"/>
                  <a:gd name="T88" fmla="*/ 44 w 240"/>
                  <a:gd name="T89" fmla="*/ 115 h 166"/>
                  <a:gd name="T90" fmla="*/ 61 w 240"/>
                  <a:gd name="T91" fmla="*/ 101 h 166"/>
                  <a:gd name="T92" fmla="*/ 107 w 240"/>
                  <a:gd name="T93" fmla="*/ 63 h 166"/>
                  <a:gd name="T94" fmla="*/ 48 w 240"/>
                  <a:gd name="T95" fmla="*/ 115 h 166"/>
                  <a:gd name="T96" fmla="*/ 61 w 240"/>
                  <a:gd name="T97" fmla="*/ 97 h 166"/>
                  <a:gd name="T98" fmla="*/ 103 w 240"/>
                  <a:gd name="T99" fmla="*/ 17 h 166"/>
                  <a:gd name="T100" fmla="*/ 204 w 240"/>
                  <a:gd name="T101" fmla="*/ 44 h 166"/>
                  <a:gd name="T102" fmla="*/ 164 w 240"/>
                  <a:gd name="T103" fmla="*/ 120 h 166"/>
                  <a:gd name="T104" fmla="*/ 46 w 240"/>
                  <a:gd name="T105" fmla="*/ 99 h 166"/>
                  <a:gd name="T106" fmla="*/ 42 w 240"/>
                  <a:gd name="T107" fmla="*/ 113 h 166"/>
                  <a:gd name="T108" fmla="*/ 179 w 240"/>
                  <a:gd name="T109" fmla="*/ 44 h 166"/>
                  <a:gd name="T110" fmla="*/ 38 w 240"/>
                  <a:gd name="T111" fmla="*/ 31 h 166"/>
                  <a:gd name="T112" fmla="*/ 183 w 240"/>
                  <a:gd name="T113" fmla="*/ 153 h 166"/>
                  <a:gd name="T114" fmla="*/ 54 w 240"/>
                  <a:gd name="T115" fmla="*/ 40 h 166"/>
                  <a:gd name="T116" fmla="*/ 151 w 240"/>
                  <a:gd name="T117" fmla="*/ 151 h 166"/>
                  <a:gd name="T118" fmla="*/ 174 w 240"/>
                  <a:gd name="T119" fmla="*/ 118 h 166"/>
                  <a:gd name="T120" fmla="*/ 218 w 240"/>
                  <a:gd name="T121" fmla="*/ 65 h 166"/>
                  <a:gd name="T122" fmla="*/ 160 w 240"/>
                  <a:gd name="T123" fmla="*/ 132 h 166"/>
                  <a:gd name="T124" fmla="*/ 55 w 240"/>
                  <a:gd name="T125" fmla="*/ 9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0" h="166">
                    <a:moveTo>
                      <a:pt x="4" y="126"/>
                    </a:moveTo>
                    <a:lnTo>
                      <a:pt x="4" y="103"/>
                    </a:lnTo>
                    <a:lnTo>
                      <a:pt x="4" y="90"/>
                    </a:lnTo>
                    <a:lnTo>
                      <a:pt x="2" y="90"/>
                    </a:lnTo>
                    <a:lnTo>
                      <a:pt x="2" y="88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2" y="80"/>
                    </a:lnTo>
                    <a:lnTo>
                      <a:pt x="4" y="80"/>
                    </a:lnTo>
                    <a:lnTo>
                      <a:pt x="2" y="80"/>
                    </a:lnTo>
                    <a:lnTo>
                      <a:pt x="2" y="63"/>
                    </a:lnTo>
                    <a:lnTo>
                      <a:pt x="2" y="46"/>
                    </a:lnTo>
                    <a:lnTo>
                      <a:pt x="2" y="25"/>
                    </a:lnTo>
                    <a:lnTo>
                      <a:pt x="4" y="21"/>
                    </a:lnTo>
                    <a:lnTo>
                      <a:pt x="6" y="21"/>
                    </a:lnTo>
                    <a:lnTo>
                      <a:pt x="8" y="21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5" y="25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9"/>
                    </a:lnTo>
                    <a:lnTo>
                      <a:pt x="21" y="29"/>
                    </a:lnTo>
                    <a:lnTo>
                      <a:pt x="19" y="27"/>
                    </a:lnTo>
                    <a:lnTo>
                      <a:pt x="21" y="29"/>
                    </a:lnTo>
                    <a:lnTo>
                      <a:pt x="25" y="29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34" y="33"/>
                    </a:lnTo>
                    <a:lnTo>
                      <a:pt x="36" y="33"/>
                    </a:lnTo>
                    <a:lnTo>
                      <a:pt x="38" y="33"/>
                    </a:lnTo>
                    <a:lnTo>
                      <a:pt x="42" y="34"/>
                    </a:lnTo>
                    <a:lnTo>
                      <a:pt x="44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48" y="38"/>
                    </a:lnTo>
                    <a:lnTo>
                      <a:pt x="50" y="38"/>
                    </a:lnTo>
                    <a:lnTo>
                      <a:pt x="50" y="40"/>
                    </a:lnTo>
                    <a:lnTo>
                      <a:pt x="52" y="40"/>
                    </a:lnTo>
                    <a:lnTo>
                      <a:pt x="50" y="40"/>
                    </a:lnTo>
                    <a:lnTo>
                      <a:pt x="52" y="40"/>
                    </a:lnTo>
                    <a:lnTo>
                      <a:pt x="54" y="40"/>
                    </a:lnTo>
                    <a:lnTo>
                      <a:pt x="52" y="40"/>
                    </a:lnTo>
                    <a:lnTo>
                      <a:pt x="54" y="40"/>
                    </a:lnTo>
                    <a:lnTo>
                      <a:pt x="55" y="40"/>
                    </a:lnTo>
                    <a:lnTo>
                      <a:pt x="54" y="40"/>
                    </a:lnTo>
                    <a:lnTo>
                      <a:pt x="55" y="40"/>
                    </a:lnTo>
                    <a:lnTo>
                      <a:pt x="57" y="42"/>
                    </a:lnTo>
                    <a:lnTo>
                      <a:pt x="55" y="42"/>
                    </a:lnTo>
                    <a:lnTo>
                      <a:pt x="57" y="42"/>
                    </a:lnTo>
                    <a:lnTo>
                      <a:pt x="57" y="40"/>
                    </a:lnTo>
                    <a:lnTo>
                      <a:pt x="55" y="40"/>
                    </a:lnTo>
                    <a:lnTo>
                      <a:pt x="57" y="40"/>
                    </a:lnTo>
                    <a:lnTo>
                      <a:pt x="55" y="40"/>
                    </a:lnTo>
                    <a:lnTo>
                      <a:pt x="57" y="40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59" y="44"/>
                    </a:lnTo>
                    <a:lnTo>
                      <a:pt x="61" y="44"/>
                    </a:lnTo>
                    <a:lnTo>
                      <a:pt x="65" y="46"/>
                    </a:lnTo>
                    <a:lnTo>
                      <a:pt x="63" y="46"/>
                    </a:lnTo>
                    <a:lnTo>
                      <a:pt x="65" y="46"/>
                    </a:lnTo>
                    <a:lnTo>
                      <a:pt x="67" y="48"/>
                    </a:lnTo>
                    <a:lnTo>
                      <a:pt x="69" y="50"/>
                    </a:lnTo>
                    <a:lnTo>
                      <a:pt x="71" y="50"/>
                    </a:lnTo>
                    <a:lnTo>
                      <a:pt x="73" y="50"/>
                    </a:lnTo>
                    <a:lnTo>
                      <a:pt x="73" y="52"/>
                    </a:lnTo>
                    <a:lnTo>
                      <a:pt x="75" y="52"/>
                    </a:lnTo>
                    <a:lnTo>
                      <a:pt x="76" y="54"/>
                    </a:lnTo>
                    <a:lnTo>
                      <a:pt x="76" y="55"/>
                    </a:lnTo>
                    <a:lnTo>
                      <a:pt x="80" y="57"/>
                    </a:lnTo>
                    <a:lnTo>
                      <a:pt x="78" y="57"/>
                    </a:lnTo>
                    <a:lnTo>
                      <a:pt x="80" y="61"/>
                    </a:lnTo>
                    <a:lnTo>
                      <a:pt x="78" y="61"/>
                    </a:lnTo>
                    <a:lnTo>
                      <a:pt x="80" y="61"/>
                    </a:lnTo>
                    <a:lnTo>
                      <a:pt x="78" y="61"/>
                    </a:lnTo>
                    <a:lnTo>
                      <a:pt x="80" y="61"/>
                    </a:lnTo>
                    <a:lnTo>
                      <a:pt x="78" y="61"/>
                    </a:lnTo>
                    <a:lnTo>
                      <a:pt x="80" y="61"/>
                    </a:lnTo>
                    <a:lnTo>
                      <a:pt x="78" y="63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80" y="63"/>
                    </a:lnTo>
                    <a:lnTo>
                      <a:pt x="78" y="63"/>
                    </a:lnTo>
                    <a:lnTo>
                      <a:pt x="78" y="65"/>
                    </a:lnTo>
                    <a:lnTo>
                      <a:pt x="78" y="67"/>
                    </a:lnTo>
                    <a:lnTo>
                      <a:pt x="80" y="67"/>
                    </a:lnTo>
                    <a:lnTo>
                      <a:pt x="82" y="67"/>
                    </a:lnTo>
                    <a:lnTo>
                      <a:pt x="84" y="67"/>
                    </a:lnTo>
                    <a:lnTo>
                      <a:pt x="86" y="69"/>
                    </a:lnTo>
                    <a:lnTo>
                      <a:pt x="88" y="69"/>
                    </a:lnTo>
                    <a:lnTo>
                      <a:pt x="90" y="69"/>
                    </a:lnTo>
                    <a:lnTo>
                      <a:pt x="92" y="71"/>
                    </a:lnTo>
                    <a:lnTo>
                      <a:pt x="94" y="71"/>
                    </a:lnTo>
                    <a:lnTo>
                      <a:pt x="94" y="73"/>
                    </a:lnTo>
                    <a:lnTo>
                      <a:pt x="95" y="73"/>
                    </a:lnTo>
                    <a:lnTo>
                      <a:pt x="97" y="73"/>
                    </a:lnTo>
                    <a:lnTo>
                      <a:pt x="97" y="74"/>
                    </a:lnTo>
                    <a:lnTo>
                      <a:pt x="99" y="74"/>
                    </a:lnTo>
                    <a:lnTo>
                      <a:pt x="101" y="74"/>
                    </a:lnTo>
                    <a:lnTo>
                      <a:pt x="103" y="74"/>
                    </a:lnTo>
                    <a:lnTo>
                      <a:pt x="105" y="74"/>
                    </a:lnTo>
                    <a:lnTo>
                      <a:pt x="107" y="74"/>
                    </a:lnTo>
                    <a:lnTo>
                      <a:pt x="107" y="76"/>
                    </a:lnTo>
                    <a:lnTo>
                      <a:pt x="109" y="78"/>
                    </a:lnTo>
                    <a:lnTo>
                      <a:pt x="111" y="80"/>
                    </a:lnTo>
                    <a:lnTo>
                      <a:pt x="113" y="82"/>
                    </a:lnTo>
                    <a:lnTo>
                      <a:pt x="111" y="84"/>
                    </a:lnTo>
                    <a:lnTo>
                      <a:pt x="113" y="84"/>
                    </a:lnTo>
                    <a:lnTo>
                      <a:pt x="111" y="84"/>
                    </a:lnTo>
                    <a:lnTo>
                      <a:pt x="113" y="84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09" y="86"/>
                    </a:lnTo>
                    <a:lnTo>
                      <a:pt x="107" y="86"/>
                    </a:lnTo>
                    <a:lnTo>
                      <a:pt x="107" y="88"/>
                    </a:lnTo>
                    <a:lnTo>
                      <a:pt x="105" y="86"/>
                    </a:lnTo>
                    <a:lnTo>
                      <a:pt x="103" y="88"/>
                    </a:lnTo>
                    <a:lnTo>
                      <a:pt x="101" y="88"/>
                    </a:lnTo>
                    <a:lnTo>
                      <a:pt x="101" y="86"/>
                    </a:lnTo>
                    <a:lnTo>
                      <a:pt x="99" y="86"/>
                    </a:lnTo>
                    <a:lnTo>
                      <a:pt x="97" y="86"/>
                    </a:lnTo>
                    <a:lnTo>
                      <a:pt x="97" y="88"/>
                    </a:lnTo>
                    <a:lnTo>
                      <a:pt x="97" y="92"/>
                    </a:lnTo>
                    <a:lnTo>
                      <a:pt x="99" y="92"/>
                    </a:lnTo>
                    <a:lnTo>
                      <a:pt x="99" y="94"/>
                    </a:lnTo>
                    <a:lnTo>
                      <a:pt x="101" y="95"/>
                    </a:lnTo>
                    <a:lnTo>
                      <a:pt x="101" y="97"/>
                    </a:lnTo>
                    <a:lnTo>
                      <a:pt x="101" y="99"/>
                    </a:lnTo>
                    <a:lnTo>
                      <a:pt x="103" y="99"/>
                    </a:lnTo>
                    <a:lnTo>
                      <a:pt x="105" y="99"/>
                    </a:lnTo>
                    <a:lnTo>
                      <a:pt x="103" y="99"/>
                    </a:lnTo>
                    <a:lnTo>
                      <a:pt x="105" y="99"/>
                    </a:lnTo>
                    <a:lnTo>
                      <a:pt x="105" y="101"/>
                    </a:lnTo>
                    <a:lnTo>
                      <a:pt x="105" y="99"/>
                    </a:lnTo>
                    <a:lnTo>
                      <a:pt x="105" y="101"/>
                    </a:lnTo>
                    <a:lnTo>
                      <a:pt x="107" y="101"/>
                    </a:lnTo>
                    <a:lnTo>
                      <a:pt x="107" y="103"/>
                    </a:lnTo>
                    <a:lnTo>
                      <a:pt x="109" y="103"/>
                    </a:lnTo>
                    <a:lnTo>
                      <a:pt x="109" y="105"/>
                    </a:lnTo>
                    <a:lnTo>
                      <a:pt x="109" y="107"/>
                    </a:lnTo>
                    <a:lnTo>
                      <a:pt x="111" y="107"/>
                    </a:lnTo>
                    <a:lnTo>
                      <a:pt x="113" y="107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1"/>
                    </a:lnTo>
                    <a:lnTo>
                      <a:pt x="118" y="113"/>
                    </a:lnTo>
                    <a:lnTo>
                      <a:pt x="118" y="115"/>
                    </a:lnTo>
                    <a:lnTo>
                      <a:pt x="118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2" y="118"/>
                    </a:lnTo>
                    <a:lnTo>
                      <a:pt x="122" y="120"/>
                    </a:lnTo>
                    <a:lnTo>
                      <a:pt x="122" y="122"/>
                    </a:lnTo>
                    <a:lnTo>
                      <a:pt x="122" y="124"/>
                    </a:lnTo>
                    <a:lnTo>
                      <a:pt x="124" y="124"/>
                    </a:lnTo>
                    <a:lnTo>
                      <a:pt x="126" y="126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2" y="124"/>
                    </a:lnTo>
                    <a:lnTo>
                      <a:pt x="132" y="122"/>
                    </a:lnTo>
                    <a:lnTo>
                      <a:pt x="132" y="124"/>
                    </a:lnTo>
                    <a:lnTo>
                      <a:pt x="134" y="124"/>
                    </a:lnTo>
                    <a:lnTo>
                      <a:pt x="136" y="124"/>
                    </a:lnTo>
                    <a:lnTo>
                      <a:pt x="134" y="124"/>
                    </a:lnTo>
                    <a:lnTo>
                      <a:pt x="136" y="126"/>
                    </a:lnTo>
                    <a:lnTo>
                      <a:pt x="136" y="124"/>
                    </a:lnTo>
                    <a:lnTo>
                      <a:pt x="136" y="126"/>
                    </a:lnTo>
                    <a:lnTo>
                      <a:pt x="134" y="126"/>
                    </a:lnTo>
                    <a:lnTo>
                      <a:pt x="134" y="128"/>
                    </a:lnTo>
                    <a:lnTo>
                      <a:pt x="134" y="130"/>
                    </a:lnTo>
                    <a:lnTo>
                      <a:pt x="134" y="132"/>
                    </a:lnTo>
                    <a:lnTo>
                      <a:pt x="136" y="132"/>
                    </a:lnTo>
                    <a:lnTo>
                      <a:pt x="137" y="132"/>
                    </a:lnTo>
                    <a:lnTo>
                      <a:pt x="137" y="134"/>
                    </a:lnTo>
                    <a:lnTo>
                      <a:pt x="139" y="134"/>
                    </a:lnTo>
                    <a:lnTo>
                      <a:pt x="141" y="134"/>
                    </a:lnTo>
                    <a:lnTo>
                      <a:pt x="143" y="134"/>
                    </a:lnTo>
                    <a:lnTo>
                      <a:pt x="147" y="134"/>
                    </a:lnTo>
                    <a:lnTo>
                      <a:pt x="147" y="136"/>
                    </a:lnTo>
                    <a:lnTo>
                      <a:pt x="145" y="136"/>
                    </a:lnTo>
                    <a:lnTo>
                      <a:pt x="143" y="136"/>
                    </a:lnTo>
                    <a:lnTo>
                      <a:pt x="141" y="136"/>
                    </a:lnTo>
                    <a:lnTo>
                      <a:pt x="141" y="137"/>
                    </a:lnTo>
                    <a:lnTo>
                      <a:pt x="143" y="137"/>
                    </a:lnTo>
                    <a:lnTo>
                      <a:pt x="143" y="139"/>
                    </a:lnTo>
                    <a:lnTo>
                      <a:pt x="145" y="139"/>
                    </a:lnTo>
                    <a:lnTo>
                      <a:pt x="145" y="141"/>
                    </a:lnTo>
                    <a:lnTo>
                      <a:pt x="147" y="141"/>
                    </a:lnTo>
                    <a:lnTo>
                      <a:pt x="149" y="141"/>
                    </a:lnTo>
                    <a:lnTo>
                      <a:pt x="151" y="141"/>
                    </a:lnTo>
                    <a:lnTo>
                      <a:pt x="151" y="143"/>
                    </a:lnTo>
                    <a:lnTo>
                      <a:pt x="153" y="143"/>
                    </a:lnTo>
                    <a:lnTo>
                      <a:pt x="155" y="143"/>
                    </a:lnTo>
                    <a:lnTo>
                      <a:pt x="157" y="143"/>
                    </a:lnTo>
                    <a:lnTo>
                      <a:pt x="158" y="143"/>
                    </a:lnTo>
                    <a:lnTo>
                      <a:pt x="160" y="143"/>
                    </a:lnTo>
                    <a:lnTo>
                      <a:pt x="158" y="145"/>
                    </a:lnTo>
                    <a:lnTo>
                      <a:pt x="157" y="145"/>
                    </a:lnTo>
                    <a:lnTo>
                      <a:pt x="155" y="145"/>
                    </a:lnTo>
                    <a:lnTo>
                      <a:pt x="153" y="145"/>
                    </a:lnTo>
                    <a:lnTo>
                      <a:pt x="151" y="145"/>
                    </a:lnTo>
                    <a:lnTo>
                      <a:pt x="153" y="145"/>
                    </a:lnTo>
                    <a:lnTo>
                      <a:pt x="155" y="147"/>
                    </a:lnTo>
                    <a:lnTo>
                      <a:pt x="157" y="147"/>
                    </a:lnTo>
                    <a:lnTo>
                      <a:pt x="157" y="149"/>
                    </a:lnTo>
                    <a:lnTo>
                      <a:pt x="155" y="149"/>
                    </a:lnTo>
                    <a:lnTo>
                      <a:pt x="153" y="149"/>
                    </a:lnTo>
                    <a:lnTo>
                      <a:pt x="153" y="151"/>
                    </a:lnTo>
                    <a:lnTo>
                      <a:pt x="151" y="151"/>
                    </a:lnTo>
                    <a:lnTo>
                      <a:pt x="151" y="149"/>
                    </a:lnTo>
                    <a:lnTo>
                      <a:pt x="151" y="151"/>
                    </a:lnTo>
                    <a:lnTo>
                      <a:pt x="149" y="151"/>
                    </a:lnTo>
                    <a:lnTo>
                      <a:pt x="151" y="151"/>
                    </a:lnTo>
                    <a:lnTo>
                      <a:pt x="149" y="151"/>
                    </a:lnTo>
                    <a:lnTo>
                      <a:pt x="147" y="151"/>
                    </a:lnTo>
                    <a:lnTo>
                      <a:pt x="147" y="149"/>
                    </a:lnTo>
                    <a:lnTo>
                      <a:pt x="147" y="151"/>
                    </a:lnTo>
                    <a:lnTo>
                      <a:pt x="147" y="149"/>
                    </a:lnTo>
                    <a:lnTo>
                      <a:pt x="145" y="149"/>
                    </a:lnTo>
                    <a:lnTo>
                      <a:pt x="143" y="149"/>
                    </a:lnTo>
                    <a:lnTo>
                      <a:pt x="145" y="147"/>
                    </a:lnTo>
                    <a:lnTo>
                      <a:pt x="143" y="147"/>
                    </a:lnTo>
                    <a:lnTo>
                      <a:pt x="145" y="147"/>
                    </a:lnTo>
                    <a:lnTo>
                      <a:pt x="147" y="147"/>
                    </a:lnTo>
                    <a:lnTo>
                      <a:pt x="145" y="147"/>
                    </a:lnTo>
                    <a:lnTo>
                      <a:pt x="143" y="145"/>
                    </a:lnTo>
                    <a:lnTo>
                      <a:pt x="141" y="145"/>
                    </a:lnTo>
                    <a:lnTo>
                      <a:pt x="139" y="145"/>
                    </a:lnTo>
                    <a:lnTo>
                      <a:pt x="137" y="145"/>
                    </a:lnTo>
                    <a:lnTo>
                      <a:pt x="139" y="145"/>
                    </a:lnTo>
                    <a:lnTo>
                      <a:pt x="137" y="145"/>
                    </a:lnTo>
                    <a:lnTo>
                      <a:pt x="137" y="143"/>
                    </a:lnTo>
                    <a:lnTo>
                      <a:pt x="136" y="145"/>
                    </a:lnTo>
                    <a:lnTo>
                      <a:pt x="136" y="143"/>
                    </a:lnTo>
                    <a:lnTo>
                      <a:pt x="136" y="145"/>
                    </a:lnTo>
                    <a:lnTo>
                      <a:pt x="132" y="143"/>
                    </a:lnTo>
                    <a:lnTo>
                      <a:pt x="130" y="143"/>
                    </a:lnTo>
                    <a:lnTo>
                      <a:pt x="128" y="143"/>
                    </a:lnTo>
                    <a:lnTo>
                      <a:pt x="126" y="143"/>
                    </a:lnTo>
                    <a:lnTo>
                      <a:pt x="126" y="141"/>
                    </a:lnTo>
                    <a:lnTo>
                      <a:pt x="126" y="143"/>
                    </a:lnTo>
                    <a:lnTo>
                      <a:pt x="126" y="141"/>
                    </a:lnTo>
                    <a:lnTo>
                      <a:pt x="128" y="141"/>
                    </a:lnTo>
                    <a:lnTo>
                      <a:pt x="126" y="141"/>
                    </a:lnTo>
                    <a:lnTo>
                      <a:pt x="124" y="141"/>
                    </a:lnTo>
                    <a:lnTo>
                      <a:pt x="124" y="143"/>
                    </a:lnTo>
                    <a:lnTo>
                      <a:pt x="122" y="141"/>
                    </a:lnTo>
                    <a:lnTo>
                      <a:pt x="122" y="143"/>
                    </a:lnTo>
                    <a:lnTo>
                      <a:pt x="120" y="143"/>
                    </a:lnTo>
                    <a:lnTo>
                      <a:pt x="120" y="141"/>
                    </a:lnTo>
                    <a:lnTo>
                      <a:pt x="118" y="141"/>
                    </a:lnTo>
                    <a:lnTo>
                      <a:pt x="116" y="141"/>
                    </a:lnTo>
                    <a:lnTo>
                      <a:pt x="118" y="139"/>
                    </a:lnTo>
                    <a:lnTo>
                      <a:pt x="116" y="139"/>
                    </a:lnTo>
                    <a:lnTo>
                      <a:pt x="116" y="141"/>
                    </a:lnTo>
                    <a:lnTo>
                      <a:pt x="115" y="141"/>
                    </a:lnTo>
                    <a:lnTo>
                      <a:pt x="113" y="141"/>
                    </a:lnTo>
                    <a:lnTo>
                      <a:pt x="113" y="139"/>
                    </a:lnTo>
                    <a:lnTo>
                      <a:pt x="113" y="141"/>
                    </a:lnTo>
                    <a:lnTo>
                      <a:pt x="111" y="141"/>
                    </a:lnTo>
                    <a:lnTo>
                      <a:pt x="111" y="139"/>
                    </a:lnTo>
                    <a:lnTo>
                      <a:pt x="111" y="141"/>
                    </a:lnTo>
                    <a:lnTo>
                      <a:pt x="109" y="139"/>
                    </a:lnTo>
                    <a:lnTo>
                      <a:pt x="107" y="137"/>
                    </a:lnTo>
                    <a:lnTo>
                      <a:pt x="107" y="136"/>
                    </a:lnTo>
                    <a:lnTo>
                      <a:pt x="105" y="134"/>
                    </a:lnTo>
                    <a:lnTo>
                      <a:pt x="103" y="134"/>
                    </a:lnTo>
                    <a:lnTo>
                      <a:pt x="103" y="132"/>
                    </a:lnTo>
                    <a:lnTo>
                      <a:pt x="101" y="132"/>
                    </a:lnTo>
                    <a:lnTo>
                      <a:pt x="103" y="132"/>
                    </a:lnTo>
                    <a:lnTo>
                      <a:pt x="101" y="132"/>
                    </a:lnTo>
                    <a:lnTo>
                      <a:pt x="101" y="130"/>
                    </a:lnTo>
                    <a:lnTo>
                      <a:pt x="99" y="130"/>
                    </a:lnTo>
                    <a:lnTo>
                      <a:pt x="99" y="132"/>
                    </a:lnTo>
                    <a:lnTo>
                      <a:pt x="99" y="130"/>
                    </a:lnTo>
                    <a:lnTo>
                      <a:pt x="99" y="132"/>
                    </a:lnTo>
                    <a:lnTo>
                      <a:pt x="99" y="130"/>
                    </a:lnTo>
                    <a:lnTo>
                      <a:pt x="97" y="128"/>
                    </a:lnTo>
                    <a:lnTo>
                      <a:pt x="97" y="126"/>
                    </a:lnTo>
                    <a:lnTo>
                      <a:pt x="97" y="124"/>
                    </a:lnTo>
                    <a:lnTo>
                      <a:pt x="99" y="124"/>
                    </a:lnTo>
                    <a:lnTo>
                      <a:pt x="97" y="124"/>
                    </a:lnTo>
                    <a:lnTo>
                      <a:pt x="99" y="124"/>
                    </a:lnTo>
                    <a:lnTo>
                      <a:pt x="97" y="124"/>
                    </a:lnTo>
                    <a:lnTo>
                      <a:pt x="95" y="126"/>
                    </a:lnTo>
                    <a:lnTo>
                      <a:pt x="95" y="124"/>
                    </a:lnTo>
                    <a:lnTo>
                      <a:pt x="92" y="124"/>
                    </a:lnTo>
                    <a:lnTo>
                      <a:pt x="92" y="122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2" y="120"/>
                    </a:lnTo>
                    <a:lnTo>
                      <a:pt x="90" y="118"/>
                    </a:lnTo>
                    <a:lnTo>
                      <a:pt x="90" y="116"/>
                    </a:lnTo>
                    <a:lnTo>
                      <a:pt x="88" y="116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8" y="113"/>
                    </a:lnTo>
                    <a:lnTo>
                      <a:pt x="84" y="111"/>
                    </a:lnTo>
                    <a:lnTo>
                      <a:pt x="84" y="109"/>
                    </a:lnTo>
                    <a:lnTo>
                      <a:pt x="84" y="111"/>
                    </a:lnTo>
                    <a:lnTo>
                      <a:pt x="84" y="109"/>
                    </a:lnTo>
                    <a:lnTo>
                      <a:pt x="82" y="109"/>
                    </a:lnTo>
                    <a:lnTo>
                      <a:pt x="80" y="107"/>
                    </a:lnTo>
                    <a:lnTo>
                      <a:pt x="78" y="107"/>
                    </a:lnTo>
                    <a:lnTo>
                      <a:pt x="80" y="107"/>
                    </a:lnTo>
                    <a:lnTo>
                      <a:pt x="78" y="107"/>
                    </a:lnTo>
                    <a:lnTo>
                      <a:pt x="80" y="105"/>
                    </a:lnTo>
                    <a:lnTo>
                      <a:pt x="78" y="107"/>
                    </a:lnTo>
                    <a:lnTo>
                      <a:pt x="78" y="105"/>
                    </a:lnTo>
                    <a:lnTo>
                      <a:pt x="78" y="107"/>
                    </a:lnTo>
                    <a:lnTo>
                      <a:pt x="76" y="107"/>
                    </a:lnTo>
                    <a:lnTo>
                      <a:pt x="73" y="107"/>
                    </a:lnTo>
                    <a:lnTo>
                      <a:pt x="73" y="105"/>
                    </a:lnTo>
                    <a:lnTo>
                      <a:pt x="71" y="105"/>
                    </a:lnTo>
                    <a:lnTo>
                      <a:pt x="69" y="103"/>
                    </a:lnTo>
                    <a:lnTo>
                      <a:pt x="69" y="105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9" y="103"/>
                    </a:lnTo>
                    <a:lnTo>
                      <a:pt x="67" y="105"/>
                    </a:lnTo>
                    <a:lnTo>
                      <a:pt x="69" y="105"/>
                    </a:lnTo>
                    <a:lnTo>
                      <a:pt x="67" y="105"/>
                    </a:lnTo>
                    <a:lnTo>
                      <a:pt x="67" y="103"/>
                    </a:lnTo>
                    <a:lnTo>
                      <a:pt x="67" y="105"/>
                    </a:lnTo>
                    <a:lnTo>
                      <a:pt x="65" y="103"/>
                    </a:lnTo>
                    <a:lnTo>
                      <a:pt x="65" y="101"/>
                    </a:lnTo>
                    <a:lnTo>
                      <a:pt x="63" y="101"/>
                    </a:lnTo>
                    <a:lnTo>
                      <a:pt x="63" y="99"/>
                    </a:lnTo>
                    <a:lnTo>
                      <a:pt x="61" y="99"/>
                    </a:lnTo>
                    <a:lnTo>
                      <a:pt x="63" y="99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1" y="99"/>
                    </a:lnTo>
                    <a:lnTo>
                      <a:pt x="61" y="97"/>
                    </a:lnTo>
                    <a:lnTo>
                      <a:pt x="59" y="97"/>
                    </a:lnTo>
                    <a:lnTo>
                      <a:pt x="59" y="99"/>
                    </a:lnTo>
                    <a:lnTo>
                      <a:pt x="57" y="99"/>
                    </a:lnTo>
                    <a:lnTo>
                      <a:pt x="59" y="99"/>
                    </a:lnTo>
                    <a:lnTo>
                      <a:pt x="57" y="99"/>
                    </a:lnTo>
                    <a:lnTo>
                      <a:pt x="55" y="99"/>
                    </a:lnTo>
                    <a:lnTo>
                      <a:pt x="55" y="97"/>
                    </a:lnTo>
                    <a:lnTo>
                      <a:pt x="55" y="99"/>
                    </a:lnTo>
                    <a:lnTo>
                      <a:pt x="55" y="97"/>
                    </a:lnTo>
                    <a:lnTo>
                      <a:pt x="55" y="99"/>
                    </a:lnTo>
                    <a:lnTo>
                      <a:pt x="55" y="97"/>
                    </a:lnTo>
                    <a:lnTo>
                      <a:pt x="54" y="97"/>
                    </a:lnTo>
                    <a:lnTo>
                      <a:pt x="55" y="97"/>
                    </a:lnTo>
                    <a:lnTo>
                      <a:pt x="54" y="99"/>
                    </a:lnTo>
                    <a:lnTo>
                      <a:pt x="54" y="97"/>
                    </a:lnTo>
                    <a:lnTo>
                      <a:pt x="54" y="99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5" y="101"/>
                    </a:lnTo>
                    <a:lnTo>
                      <a:pt x="54" y="99"/>
                    </a:lnTo>
                    <a:lnTo>
                      <a:pt x="54" y="101"/>
                    </a:lnTo>
                    <a:lnTo>
                      <a:pt x="54" y="99"/>
                    </a:lnTo>
                    <a:lnTo>
                      <a:pt x="54" y="101"/>
                    </a:lnTo>
                    <a:lnTo>
                      <a:pt x="55" y="101"/>
                    </a:lnTo>
                    <a:lnTo>
                      <a:pt x="55" y="103"/>
                    </a:lnTo>
                    <a:lnTo>
                      <a:pt x="54" y="103"/>
                    </a:lnTo>
                    <a:lnTo>
                      <a:pt x="54" y="101"/>
                    </a:lnTo>
                    <a:lnTo>
                      <a:pt x="52" y="99"/>
                    </a:lnTo>
                    <a:lnTo>
                      <a:pt x="52" y="101"/>
                    </a:lnTo>
                    <a:lnTo>
                      <a:pt x="54" y="103"/>
                    </a:lnTo>
                    <a:lnTo>
                      <a:pt x="50" y="103"/>
                    </a:lnTo>
                    <a:lnTo>
                      <a:pt x="48" y="101"/>
                    </a:lnTo>
                    <a:lnTo>
                      <a:pt x="46" y="99"/>
                    </a:lnTo>
                    <a:lnTo>
                      <a:pt x="46" y="101"/>
                    </a:lnTo>
                    <a:lnTo>
                      <a:pt x="48" y="103"/>
                    </a:lnTo>
                    <a:lnTo>
                      <a:pt x="48" y="105"/>
                    </a:lnTo>
                    <a:lnTo>
                      <a:pt x="50" y="107"/>
                    </a:lnTo>
                    <a:lnTo>
                      <a:pt x="48" y="107"/>
                    </a:lnTo>
                    <a:lnTo>
                      <a:pt x="48" y="109"/>
                    </a:lnTo>
                    <a:lnTo>
                      <a:pt x="46" y="107"/>
                    </a:lnTo>
                    <a:lnTo>
                      <a:pt x="44" y="107"/>
                    </a:lnTo>
                    <a:lnTo>
                      <a:pt x="42" y="107"/>
                    </a:lnTo>
                    <a:lnTo>
                      <a:pt x="42" y="105"/>
                    </a:lnTo>
                    <a:lnTo>
                      <a:pt x="40" y="105"/>
                    </a:lnTo>
                    <a:lnTo>
                      <a:pt x="38" y="105"/>
                    </a:lnTo>
                    <a:lnTo>
                      <a:pt x="38" y="103"/>
                    </a:lnTo>
                    <a:lnTo>
                      <a:pt x="38" y="105"/>
                    </a:lnTo>
                    <a:lnTo>
                      <a:pt x="40" y="105"/>
                    </a:lnTo>
                    <a:lnTo>
                      <a:pt x="40" y="107"/>
                    </a:lnTo>
                    <a:lnTo>
                      <a:pt x="42" y="107"/>
                    </a:lnTo>
                    <a:lnTo>
                      <a:pt x="42" y="109"/>
                    </a:lnTo>
                    <a:lnTo>
                      <a:pt x="44" y="109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0" y="111"/>
                    </a:lnTo>
                    <a:lnTo>
                      <a:pt x="34" y="113"/>
                    </a:lnTo>
                    <a:lnTo>
                      <a:pt x="33" y="113"/>
                    </a:lnTo>
                    <a:lnTo>
                      <a:pt x="31" y="111"/>
                    </a:lnTo>
                    <a:lnTo>
                      <a:pt x="29" y="111"/>
                    </a:lnTo>
                    <a:lnTo>
                      <a:pt x="29" y="113"/>
                    </a:lnTo>
                    <a:lnTo>
                      <a:pt x="31" y="113"/>
                    </a:lnTo>
                    <a:lnTo>
                      <a:pt x="34" y="115"/>
                    </a:lnTo>
                    <a:lnTo>
                      <a:pt x="36" y="115"/>
                    </a:lnTo>
                    <a:lnTo>
                      <a:pt x="38" y="116"/>
                    </a:lnTo>
                    <a:lnTo>
                      <a:pt x="40" y="118"/>
                    </a:lnTo>
                    <a:lnTo>
                      <a:pt x="42" y="122"/>
                    </a:lnTo>
                    <a:lnTo>
                      <a:pt x="40" y="124"/>
                    </a:lnTo>
                    <a:lnTo>
                      <a:pt x="38" y="124"/>
                    </a:lnTo>
                    <a:lnTo>
                      <a:pt x="36" y="124"/>
                    </a:lnTo>
                    <a:lnTo>
                      <a:pt x="34" y="124"/>
                    </a:lnTo>
                    <a:lnTo>
                      <a:pt x="34" y="126"/>
                    </a:lnTo>
                    <a:lnTo>
                      <a:pt x="33" y="126"/>
                    </a:lnTo>
                    <a:lnTo>
                      <a:pt x="29" y="128"/>
                    </a:lnTo>
                    <a:lnTo>
                      <a:pt x="27" y="128"/>
                    </a:lnTo>
                    <a:lnTo>
                      <a:pt x="25" y="126"/>
                    </a:lnTo>
                    <a:lnTo>
                      <a:pt x="23" y="126"/>
                    </a:lnTo>
                    <a:lnTo>
                      <a:pt x="21" y="126"/>
                    </a:lnTo>
                    <a:lnTo>
                      <a:pt x="19" y="126"/>
                    </a:lnTo>
                    <a:lnTo>
                      <a:pt x="17" y="126"/>
                    </a:lnTo>
                    <a:lnTo>
                      <a:pt x="15" y="126"/>
                    </a:lnTo>
                    <a:lnTo>
                      <a:pt x="14" y="126"/>
                    </a:lnTo>
                    <a:lnTo>
                      <a:pt x="12" y="126"/>
                    </a:lnTo>
                    <a:lnTo>
                      <a:pt x="10" y="126"/>
                    </a:lnTo>
                    <a:lnTo>
                      <a:pt x="8" y="126"/>
                    </a:lnTo>
                    <a:lnTo>
                      <a:pt x="6" y="126"/>
                    </a:lnTo>
                    <a:lnTo>
                      <a:pt x="6" y="128"/>
                    </a:lnTo>
                    <a:lnTo>
                      <a:pt x="4" y="126"/>
                    </a:lnTo>
                    <a:close/>
                    <a:moveTo>
                      <a:pt x="181" y="46"/>
                    </a:moveTo>
                    <a:lnTo>
                      <a:pt x="181" y="48"/>
                    </a:lnTo>
                    <a:lnTo>
                      <a:pt x="181" y="46"/>
                    </a:lnTo>
                    <a:lnTo>
                      <a:pt x="181" y="48"/>
                    </a:lnTo>
                    <a:lnTo>
                      <a:pt x="181" y="46"/>
                    </a:lnTo>
                    <a:lnTo>
                      <a:pt x="179" y="46"/>
                    </a:lnTo>
                    <a:lnTo>
                      <a:pt x="181" y="48"/>
                    </a:lnTo>
                    <a:lnTo>
                      <a:pt x="179" y="48"/>
                    </a:lnTo>
                    <a:lnTo>
                      <a:pt x="181" y="48"/>
                    </a:lnTo>
                    <a:lnTo>
                      <a:pt x="183" y="48"/>
                    </a:lnTo>
                    <a:lnTo>
                      <a:pt x="185" y="48"/>
                    </a:lnTo>
                    <a:lnTo>
                      <a:pt x="183" y="50"/>
                    </a:lnTo>
                    <a:lnTo>
                      <a:pt x="183" y="52"/>
                    </a:lnTo>
                    <a:lnTo>
                      <a:pt x="183" y="54"/>
                    </a:lnTo>
                    <a:lnTo>
                      <a:pt x="183" y="55"/>
                    </a:lnTo>
                    <a:lnTo>
                      <a:pt x="183" y="57"/>
                    </a:lnTo>
                    <a:lnTo>
                      <a:pt x="181" y="57"/>
                    </a:lnTo>
                    <a:lnTo>
                      <a:pt x="181" y="59"/>
                    </a:lnTo>
                    <a:lnTo>
                      <a:pt x="179" y="59"/>
                    </a:lnTo>
                    <a:lnTo>
                      <a:pt x="177" y="59"/>
                    </a:lnTo>
                    <a:lnTo>
                      <a:pt x="177" y="61"/>
                    </a:lnTo>
                    <a:lnTo>
                      <a:pt x="177" y="63"/>
                    </a:lnTo>
                    <a:lnTo>
                      <a:pt x="179" y="63"/>
                    </a:lnTo>
                    <a:lnTo>
                      <a:pt x="179" y="65"/>
                    </a:lnTo>
                    <a:lnTo>
                      <a:pt x="179" y="67"/>
                    </a:lnTo>
                    <a:lnTo>
                      <a:pt x="177" y="67"/>
                    </a:lnTo>
                    <a:lnTo>
                      <a:pt x="176" y="67"/>
                    </a:lnTo>
                    <a:lnTo>
                      <a:pt x="176" y="69"/>
                    </a:lnTo>
                    <a:lnTo>
                      <a:pt x="176" y="67"/>
                    </a:lnTo>
                    <a:lnTo>
                      <a:pt x="176" y="69"/>
                    </a:lnTo>
                    <a:lnTo>
                      <a:pt x="174" y="69"/>
                    </a:lnTo>
                    <a:lnTo>
                      <a:pt x="174" y="67"/>
                    </a:lnTo>
                    <a:lnTo>
                      <a:pt x="172" y="67"/>
                    </a:lnTo>
                    <a:lnTo>
                      <a:pt x="172" y="69"/>
                    </a:lnTo>
                    <a:lnTo>
                      <a:pt x="172" y="67"/>
                    </a:lnTo>
                    <a:lnTo>
                      <a:pt x="170" y="67"/>
                    </a:lnTo>
                    <a:lnTo>
                      <a:pt x="170" y="69"/>
                    </a:lnTo>
                    <a:lnTo>
                      <a:pt x="170" y="71"/>
                    </a:lnTo>
                    <a:lnTo>
                      <a:pt x="168" y="71"/>
                    </a:lnTo>
                    <a:lnTo>
                      <a:pt x="168" y="73"/>
                    </a:lnTo>
                    <a:lnTo>
                      <a:pt x="166" y="73"/>
                    </a:lnTo>
                    <a:lnTo>
                      <a:pt x="166" y="74"/>
                    </a:lnTo>
                    <a:lnTo>
                      <a:pt x="164" y="74"/>
                    </a:lnTo>
                    <a:lnTo>
                      <a:pt x="162" y="74"/>
                    </a:lnTo>
                    <a:lnTo>
                      <a:pt x="162" y="76"/>
                    </a:lnTo>
                    <a:lnTo>
                      <a:pt x="162" y="74"/>
                    </a:lnTo>
                    <a:lnTo>
                      <a:pt x="160" y="74"/>
                    </a:lnTo>
                    <a:lnTo>
                      <a:pt x="158" y="76"/>
                    </a:lnTo>
                    <a:lnTo>
                      <a:pt x="158" y="74"/>
                    </a:lnTo>
                    <a:lnTo>
                      <a:pt x="158" y="76"/>
                    </a:lnTo>
                    <a:lnTo>
                      <a:pt x="157" y="78"/>
                    </a:lnTo>
                    <a:lnTo>
                      <a:pt x="157" y="76"/>
                    </a:lnTo>
                    <a:lnTo>
                      <a:pt x="155" y="78"/>
                    </a:lnTo>
                    <a:lnTo>
                      <a:pt x="153" y="78"/>
                    </a:lnTo>
                    <a:lnTo>
                      <a:pt x="153" y="80"/>
                    </a:lnTo>
                    <a:lnTo>
                      <a:pt x="151" y="78"/>
                    </a:lnTo>
                    <a:lnTo>
                      <a:pt x="151" y="80"/>
                    </a:lnTo>
                    <a:lnTo>
                      <a:pt x="151" y="78"/>
                    </a:lnTo>
                    <a:lnTo>
                      <a:pt x="151" y="80"/>
                    </a:lnTo>
                    <a:lnTo>
                      <a:pt x="149" y="80"/>
                    </a:lnTo>
                    <a:lnTo>
                      <a:pt x="149" y="78"/>
                    </a:lnTo>
                    <a:lnTo>
                      <a:pt x="147" y="80"/>
                    </a:lnTo>
                    <a:lnTo>
                      <a:pt x="147" y="78"/>
                    </a:lnTo>
                    <a:lnTo>
                      <a:pt x="147" y="80"/>
                    </a:lnTo>
                    <a:lnTo>
                      <a:pt x="145" y="80"/>
                    </a:lnTo>
                    <a:lnTo>
                      <a:pt x="147" y="80"/>
                    </a:lnTo>
                    <a:lnTo>
                      <a:pt x="145" y="80"/>
                    </a:lnTo>
                    <a:lnTo>
                      <a:pt x="145" y="78"/>
                    </a:lnTo>
                    <a:lnTo>
                      <a:pt x="145" y="80"/>
                    </a:lnTo>
                    <a:lnTo>
                      <a:pt x="143" y="80"/>
                    </a:lnTo>
                    <a:lnTo>
                      <a:pt x="143" y="78"/>
                    </a:lnTo>
                    <a:lnTo>
                      <a:pt x="143" y="80"/>
                    </a:lnTo>
                    <a:lnTo>
                      <a:pt x="141" y="80"/>
                    </a:lnTo>
                    <a:lnTo>
                      <a:pt x="139" y="80"/>
                    </a:lnTo>
                    <a:lnTo>
                      <a:pt x="139" y="78"/>
                    </a:lnTo>
                    <a:lnTo>
                      <a:pt x="137" y="76"/>
                    </a:lnTo>
                    <a:lnTo>
                      <a:pt x="136" y="76"/>
                    </a:lnTo>
                    <a:lnTo>
                      <a:pt x="134" y="76"/>
                    </a:lnTo>
                    <a:lnTo>
                      <a:pt x="132" y="76"/>
                    </a:lnTo>
                    <a:lnTo>
                      <a:pt x="132" y="78"/>
                    </a:lnTo>
                    <a:lnTo>
                      <a:pt x="132" y="76"/>
                    </a:lnTo>
                    <a:lnTo>
                      <a:pt x="130" y="78"/>
                    </a:lnTo>
                    <a:lnTo>
                      <a:pt x="130" y="76"/>
                    </a:lnTo>
                    <a:lnTo>
                      <a:pt x="132" y="78"/>
                    </a:lnTo>
                    <a:lnTo>
                      <a:pt x="132" y="76"/>
                    </a:lnTo>
                    <a:lnTo>
                      <a:pt x="130" y="76"/>
                    </a:lnTo>
                    <a:lnTo>
                      <a:pt x="132" y="76"/>
                    </a:lnTo>
                    <a:lnTo>
                      <a:pt x="130" y="76"/>
                    </a:lnTo>
                    <a:lnTo>
                      <a:pt x="130" y="74"/>
                    </a:lnTo>
                    <a:lnTo>
                      <a:pt x="130" y="76"/>
                    </a:lnTo>
                    <a:lnTo>
                      <a:pt x="130" y="74"/>
                    </a:lnTo>
                    <a:lnTo>
                      <a:pt x="130" y="76"/>
                    </a:lnTo>
                    <a:lnTo>
                      <a:pt x="130" y="74"/>
                    </a:lnTo>
                    <a:lnTo>
                      <a:pt x="128" y="74"/>
                    </a:lnTo>
                    <a:lnTo>
                      <a:pt x="126" y="74"/>
                    </a:lnTo>
                    <a:lnTo>
                      <a:pt x="126" y="73"/>
                    </a:lnTo>
                    <a:lnTo>
                      <a:pt x="124" y="73"/>
                    </a:lnTo>
                    <a:lnTo>
                      <a:pt x="122" y="73"/>
                    </a:lnTo>
                    <a:lnTo>
                      <a:pt x="120" y="71"/>
                    </a:lnTo>
                    <a:lnTo>
                      <a:pt x="118" y="71"/>
                    </a:lnTo>
                    <a:lnTo>
                      <a:pt x="118" y="69"/>
                    </a:lnTo>
                    <a:lnTo>
                      <a:pt x="120" y="67"/>
                    </a:lnTo>
                    <a:lnTo>
                      <a:pt x="122" y="67"/>
                    </a:lnTo>
                    <a:lnTo>
                      <a:pt x="124" y="67"/>
                    </a:lnTo>
                    <a:lnTo>
                      <a:pt x="126" y="67"/>
                    </a:lnTo>
                    <a:lnTo>
                      <a:pt x="128" y="67"/>
                    </a:lnTo>
                    <a:lnTo>
                      <a:pt x="130" y="67"/>
                    </a:lnTo>
                    <a:lnTo>
                      <a:pt x="132" y="67"/>
                    </a:lnTo>
                    <a:lnTo>
                      <a:pt x="134" y="67"/>
                    </a:lnTo>
                    <a:lnTo>
                      <a:pt x="134" y="69"/>
                    </a:lnTo>
                    <a:lnTo>
                      <a:pt x="136" y="69"/>
                    </a:lnTo>
                    <a:lnTo>
                      <a:pt x="137" y="67"/>
                    </a:lnTo>
                    <a:lnTo>
                      <a:pt x="137" y="69"/>
                    </a:lnTo>
                    <a:lnTo>
                      <a:pt x="137" y="67"/>
                    </a:lnTo>
                    <a:lnTo>
                      <a:pt x="137" y="69"/>
                    </a:lnTo>
                    <a:lnTo>
                      <a:pt x="137" y="67"/>
                    </a:lnTo>
                    <a:lnTo>
                      <a:pt x="139" y="67"/>
                    </a:lnTo>
                    <a:lnTo>
                      <a:pt x="137" y="67"/>
                    </a:lnTo>
                    <a:lnTo>
                      <a:pt x="139" y="67"/>
                    </a:lnTo>
                    <a:lnTo>
                      <a:pt x="141" y="67"/>
                    </a:lnTo>
                    <a:lnTo>
                      <a:pt x="141" y="69"/>
                    </a:lnTo>
                    <a:lnTo>
                      <a:pt x="141" y="67"/>
                    </a:lnTo>
                    <a:lnTo>
                      <a:pt x="143" y="67"/>
                    </a:lnTo>
                    <a:lnTo>
                      <a:pt x="145" y="67"/>
                    </a:lnTo>
                    <a:lnTo>
                      <a:pt x="145" y="65"/>
                    </a:lnTo>
                    <a:lnTo>
                      <a:pt x="145" y="63"/>
                    </a:lnTo>
                    <a:lnTo>
                      <a:pt x="147" y="63"/>
                    </a:lnTo>
                    <a:lnTo>
                      <a:pt x="145" y="61"/>
                    </a:lnTo>
                    <a:lnTo>
                      <a:pt x="147" y="61"/>
                    </a:lnTo>
                    <a:lnTo>
                      <a:pt x="147" y="59"/>
                    </a:lnTo>
                    <a:lnTo>
                      <a:pt x="149" y="59"/>
                    </a:lnTo>
                    <a:lnTo>
                      <a:pt x="149" y="61"/>
                    </a:lnTo>
                    <a:lnTo>
                      <a:pt x="147" y="61"/>
                    </a:lnTo>
                    <a:lnTo>
                      <a:pt x="147" y="63"/>
                    </a:lnTo>
                    <a:lnTo>
                      <a:pt x="147" y="65"/>
                    </a:lnTo>
                    <a:lnTo>
                      <a:pt x="147" y="67"/>
                    </a:lnTo>
                    <a:lnTo>
                      <a:pt x="149" y="69"/>
                    </a:lnTo>
                    <a:lnTo>
                      <a:pt x="149" y="67"/>
                    </a:lnTo>
                    <a:lnTo>
                      <a:pt x="151" y="69"/>
                    </a:lnTo>
                    <a:lnTo>
                      <a:pt x="153" y="67"/>
                    </a:lnTo>
                    <a:lnTo>
                      <a:pt x="153" y="65"/>
                    </a:lnTo>
                    <a:lnTo>
                      <a:pt x="155" y="67"/>
                    </a:lnTo>
                    <a:lnTo>
                      <a:pt x="157" y="69"/>
                    </a:lnTo>
                    <a:lnTo>
                      <a:pt x="158" y="67"/>
                    </a:lnTo>
                    <a:lnTo>
                      <a:pt x="160" y="67"/>
                    </a:lnTo>
                    <a:lnTo>
                      <a:pt x="162" y="65"/>
                    </a:lnTo>
                    <a:lnTo>
                      <a:pt x="162" y="63"/>
                    </a:lnTo>
                    <a:lnTo>
                      <a:pt x="164" y="61"/>
                    </a:lnTo>
                    <a:lnTo>
                      <a:pt x="166" y="59"/>
                    </a:lnTo>
                    <a:lnTo>
                      <a:pt x="168" y="59"/>
                    </a:lnTo>
                    <a:lnTo>
                      <a:pt x="168" y="57"/>
                    </a:lnTo>
                    <a:lnTo>
                      <a:pt x="170" y="59"/>
                    </a:lnTo>
                    <a:lnTo>
                      <a:pt x="170" y="57"/>
                    </a:lnTo>
                    <a:lnTo>
                      <a:pt x="172" y="59"/>
                    </a:lnTo>
                    <a:lnTo>
                      <a:pt x="172" y="57"/>
                    </a:lnTo>
                    <a:lnTo>
                      <a:pt x="174" y="57"/>
                    </a:lnTo>
                    <a:lnTo>
                      <a:pt x="174" y="55"/>
                    </a:lnTo>
                    <a:lnTo>
                      <a:pt x="172" y="55"/>
                    </a:lnTo>
                    <a:lnTo>
                      <a:pt x="172" y="54"/>
                    </a:lnTo>
                    <a:lnTo>
                      <a:pt x="172" y="52"/>
                    </a:lnTo>
                    <a:lnTo>
                      <a:pt x="170" y="50"/>
                    </a:lnTo>
                    <a:lnTo>
                      <a:pt x="170" y="48"/>
                    </a:lnTo>
                    <a:lnTo>
                      <a:pt x="170" y="46"/>
                    </a:lnTo>
                    <a:lnTo>
                      <a:pt x="172" y="46"/>
                    </a:lnTo>
                    <a:lnTo>
                      <a:pt x="174" y="46"/>
                    </a:lnTo>
                    <a:lnTo>
                      <a:pt x="176" y="46"/>
                    </a:lnTo>
                    <a:lnTo>
                      <a:pt x="176" y="48"/>
                    </a:lnTo>
                    <a:lnTo>
                      <a:pt x="177" y="48"/>
                    </a:lnTo>
                    <a:lnTo>
                      <a:pt x="177" y="46"/>
                    </a:lnTo>
                    <a:lnTo>
                      <a:pt x="179" y="46"/>
                    </a:lnTo>
                    <a:lnTo>
                      <a:pt x="181" y="46"/>
                    </a:lnTo>
                    <a:close/>
                    <a:moveTo>
                      <a:pt x="221" y="65"/>
                    </a:moveTo>
                    <a:lnTo>
                      <a:pt x="221" y="67"/>
                    </a:lnTo>
                    <a:lnTo>
                      <a:pt x="223" y="67"/>
                    </a:lnTo>
                    <a:lnTo>
                      <a:pt x="223" y="69"/>
                    </a:lnTo>
                    <a:lnTo>
                      <a:pt x="223" y="67"/>
                    </a:lnTo>
                    <a:lnTo>
                      <a:pt x="225" y="67"/>
                    </a:lnTo>
                    <a:lnTo>
                      <a:pt x="225" y="69"/>
                    </a:lnTo>
                    <a:lnTo>
                      <a:pt x="225" y="67"/>
                    </a:lnTo>
                    <a:lnTo>
                      <a:pt x="227" y="67"/>
                    </a:lnTo>
                    <a:lnTo>
                      <a:pt x="227" y="69"/>
                    </a:lnTo>
                    <a:lnTo>
                      <a:pt x="227" y="71"/>
                    </a:lnTo>
                    <a:lnTo>
                      <a:pt x="229" y="71"/>
                    </a:lnTo>
                    <a:lnTo>
                      <a:pt x="229" y="73"/>
                    </a:lnTo>
                    <a:lnTo>
                      <a:pt x="231" y="74"/>
                    </a:lnTo>
                    <a:lnTo>
                      <a:pt x="233" y="74"/>
                    </a:lnTo>
                    <a:lnTo>
                      <a:pt x="233" y="76"/>
                    </a:lnTo>
                    <a:lnTo>
                      <a:pt x="233" y="78"/>
                    </a:lnTo>
                    <a:lnTo>
                      <a:pt x="235" y="78"/>
                    </a:lnTo>
                    <a:lnTo>
                      <a:pt x="237" y="78"/>
                    </a:lnTo>
                    <a:lnTo>
                      <a:pt x="237" y="80"/>
                    </a:lnTo>
                    <a:lnTo>
                      <a:pt x="239" y="80"/>
                    </a:lnTo>
                    <a:lnTo>
                      <a:pt x="239" y="82"/>
                    </a:lnTo>
                    <a:lnTo>
                      <a:pt x="240" y="84"/>
                    </a:lnTo>
                    <a:lnTo>
                      <a:pt x="240" y="86"/>
                    </a:lnTo>
                    <a:lnTo>
                      <a:pt x="240" y="88"/>
                    </a:lnTo>
                    <a:lnTo>
                      <a:pt x="240" y="86"/>
                    </a:lnTo>
                    <a:lnTo>
                      <a:pt x="239" y="88"/>
                    </a:lnTo>
                    <a:lnTo>
                      <a:pt x="237" y="88"/>
                    </a:lnTo>
                    <a:lnTo>
                      <a:pt x="237" y="90"/>
                    </a:lnTo>
                    <a:lnTo>
                      <a:pt x="237" y="88"/>
                    </a:lnTo>
                    <a:lnTo>
                      <a:pt x="235" y="90"/>
                    </a:lnTo>
                    <a:lnTo>
                      <a:pt x="235" y="88"/>
                    </a:lnTo>
                    <a:lnTo>
                      <a:pt x="231" y="86"/>
                    </a:lnTo>
                    <a:lnTo>
                      <a:pt x="229" y="86"/>
                    </a:lnTo>
                    <a:lnTo>
                      <a:pt x="227" y="84"/>
                    </a:lnTo>
                    <a:lnTo>
                      <a:pt x="229" y="84"/>
                    </a:lnTo>
                    <a:lnTo>
                      <a:pt x="229" y="82"/>
                    </a:lnTo>
                    <a:lnTo>
                      <a:pt x="229" y="80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5" y="76"/>
                    </a:lnTo>
                    <a:lnTo>
                      <a:pt x="223" y="74"/>
                    </a:lnTo>
                    <a:lnTo>
                      <a:pt x="221" y="74"/>
                    </a:lnTo>
                    <a:lnTo>
                      <a:pt x="221" y="73"/>
                    </a:lnTo>
                    <a:lnTo>
                      <a:pt x="221" y="71"/>
                    </a:lnTo>
                    <a:lnTo>
                      <a:pt x="221" y="69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21" y="65"/>
                    </a:lnTo>
                    <a:close/>
                    <a:moveTo>
                      <a:pt x="160" y="21"/>
                    </a:moveTo>
                    <a:lnTo>
                      <a:pt x="160" y="23"/>
                    </a:lnTo>
                    <a:lnTo>
                      <a:pt x="162" y="23"/>
                    </a:lnTo>
                    <a:lnTo>
                      <a:pt x="164" y="23"/>
                    </a:lnTo>
                    <a:lnTo>
                      <a:pt x="164" y="25"/>
                    </a:lnTo>
                    <a:lnTo>
                      <a:pt x="166" y="25"/>
                    </a:lnTo>
                    <a:lnTo>
                      <a:pt x="168" y="25"/>
                    </a:lnTo>
                    <a:lnTo>
                      <a:pt x="170" y="27"/>
                    </a:lnTo>
                    <a:lnTo>
                      <a:pt x="172" y="27"/>
                    </a:lnTo>
                    <a:lnTo>
                      <a:pt x="172" y="29"/>
                    </a:lnTo>
                    <a:lnTo>
                      <a:pt x="174" y="29"/>
                    </a:lnTo>
                    <a:lnTo>
                      <a:pt x="174" y="31"/>
                    </a:lnTo>
                    <a:lnTo>
                      <a:pt x="176" y="31"/>
                    </a:lnTo>
                    <a:lnTo>
                      <a:pt x="177" y="31"/>
                    </a:lnTo>
                    <a:lnTo>
                      <a:pt x="179" y="31"/>
                    </a:lnTo>
                    <a:lnTo>
                      <a:pt x="179" y="33"/>
                    </a:lnTo>
                    <a:lnTo>
                      <a:pt x="181" y="34"/>
                    </a:lnTo>
                    <a:lnTo>
                      <a:pt x="183" y="36"/>
                    </a:lnTo>
                    <a:lnTo>
                      <a:pt x="185" y="38"/>
                    </a:lnTo>
                    <a:lnTo>
                      <a:pt x="187" y="38"/>
                    </a:lnTo>
                    <a:lnTo>
                      <a:pt x="187" y="40"/>
                    </a:lnTo>
                    <a:lnTo>
                      <a:pt x="189" y="40"/>
                    </a:lnTo>
                    <a:lnTo>
                      <a:pt x="189" y="42"/>
                    </a:lnTo>
                    <a:lnTo>
                      <a:pt x="191" y="42"/>
                    </a:lnTo>
                    <a:lnTo>
                      <a:pt x="191" y="40"/>
                    </a:lnTo>
                    <a:lnTo>
                      <a:pt x="191" y="42"/>
                    </a:lnTo>
                    <a:lnTo>
                      <a:pt x="193" y="44"/>
                    </a:lnTo>
                    <a:lnTo>
                      <a:pt x="193" y="42"/>
                    </a:lnTo>
                    <a:lnTo>
                      <a:pt x="193" y="44"/>
                    </a:lnTo>
                    <a:lnTo>
                      <a:pt x="195" y="44"/>
                    </a:lnTo>
                    <a:lnTo>
                      <a:pt x="195" y="46"/>
                    </a:lnTo>
                    <a:lnTo>
                      <a:pt x="195" y="48"/>
                    </a:lnTo>
                    <a:lnTo>
                      <a:pt x="195" y="50"/>
                    </a:lnTo>
                    <a:lnTo>
                      <a:pt x="195" y="52"/>
                    </a:lnTo>
                    <a:lnTo>
                      <a:pt x="195" y="54"/>
                    </a:lnTo>
                    <a:lnTo>
                      <a:pt x="193" y="54"/>
                    </a:lnTo>
                    <a:lnTo>
                      <a:pt x="193" y="55"/>
                    </a:lnTo>
                    <a:lnTo>
                      <a:pt x="193" y="57"/>
                    </a:lnTo>
                    <a:lnTo>
                      <a:pt x="191" y="57"/>
                    </a:lnTo>
                    <a:lnTo>
                      <a:pt x="191" y="55"/>
                    </a:lnTo>
                    <a:lnTo>
                      <a:pt x="191" y="54"/>
                    </a:lnTo>
                    <a:lnTo>
                      <a:pt x="189" y="54"/>
                    </a:lnTo>
                    <a:lnTo>
                      <a:pt x="189" y="52"/>
                    </a:lnTo>
                    <a:lnTo>
                      <a:pt x="189" y="50"/>
                    </a:lnTo>
                    <a:lnTo>
                      <a:pt x="189" y="48"/>
                    </a:lnTo>
                    <a:lnTo>
                      <a:pt x="189" y="46"/>
                    </a:lnTo>
                    <a:lnTo>
                      <a:pt x="187" y="44"/>
                    </a:lnTo>
                    <a:lnTo>
                      <a:pt x="187" y="42"/>
                    </a:lnTo>
                    <a:lnTo>
                      <a:pt x="185" y="40"/>
                    </a:lnTo>
                    <a:lnTo>
                      <a:pt x="183" y="38"/>
                    </a:lnTo>
                    <a:lnTo>
                      <a:pt x="183" y="36"/>
                    </a:lnTo>
                    <a:lnTo>
                      <a:pt x="181" y="36"/>
                    </a:lnTo>
                    <a:lnTo>
                      <a:pt x="179" y="34"/>
                    </a:lnTo>
                    <a:lnTo>
                      <a:pt x="177" y="34"/>
                    </a:lnTo>
                    <a:lnTo>
                      <a:pt x="176" y="34"/>
                    </a:lnTo>
                    <a:lnTo>
                      <a:pt x="174" y="33"/>
                    </a:lnTo>
                    <a:lnTo>
                      <a:pt x="172" y="31"/>
                    </a:lnTo>
                    <a:lnTo>
                      <a:pt x="170" y="29"/>
                    </a:lnTo>
                    <a:lnTo>
                      <a:pt x="168" y="29"/>
                    </a:lnTo>
                    <a:lnTo>
                      <a:pt x="168" y="27"/>
                    </a:lnTo>
                    <a:lnTo>
                      <a:pt x="166" y="27"/>
                    </a:lnTo>
                    <a:lnTo>
                      <a:pt x="164" y="25"/>
                    </a:lnTo>
                    <a:lnTo>
                      <a:pt x="162" y="25"/>
                    </a:lnTo>
                    <a:lnTo>
                      <a:pt x="162" y="23"/>
                    </a:lnTo>
                    <a:lnTo>
                      <a:pt x="160" y="23"/>
                    </a:lnTo>
                    <a:lnTo>
                      <a:pt x="158" y="23"/>
                    </a:lnTo>
                    <a:lnTo>
                      <a:pt x="157" y="23"/>
                    </a:lnTo>
                    <a:lnTo>
                      <a:pt x="158" y="23"/>
                    </a:lnTo>
                    <a:lnTo>
                      <a:pt x="160" y="23"/>
                    </a:lnTo>
                    <a:lnTo>
                      <a:pt x="160" y="21"/>
                    </a:lnTo>
                    <a:lnTo>
                      <a:pt x="160" y="23"/>
                    </a:lnTo>
                    <a:lnTo>
                      <a:pt x="160" y="21"/>
                    </a:lnTo>
                    <a:lnTo>
                      <a:pt x="158" y="21"/>
                    </a:lnTo>
                    <a:lnTo>
                      <a:pt x="158" y="19"/>
                    </a:lnTo>
                    <a:lnTo>
                      <a:pt x="160" y="21"/>
                    </a:lnTo>
                    <a:close/>
                    <a:moveTo>
                      <a:pt x="95" y="10"/>
                    </a:moveTo>
                    <a:lnTo>
                      <a:pt x="97" y="12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103" y="12"/>
                    </a:lnTo>
                    <a:lnTo>
                      <a:pt x="103" y="13"/>
                    </a:lnTo>
                    <a:lnTo>
                      <a:pt x="101" y="15"/>
                    </a:lnTo>
                    <a:lnTo>
                      <a:pt x="99" y="13"/>
                    </a:lnTo>
                    <a:lnTo>
                      <a:pt x="99" y="15"/>
                    </a:lnTo>
                    <a:lnTo>
                      <a:pt x="99" y="13"/>
                    </a:lnTo>
                    <a:lnTo>
                      <a:pt x="97" y="15"/>
                    </a:lnTo>
                    <a:lnTo>
                      <a:pt x="95" y="15"/>
                    </a:lnTo>
                    <a:lnTo>
                      <a:pt x="95" y="13"/>
                    </a:lnTo>
                    <a:lnTo>
                      <a:pt x="94" y="13"/>
                    </a:lnTo>
                    <a:lnTo>
                      <a:pt x="94" y="15"/>
                    </a:lnTo>
                    <a:lnTo>
                      <a:pt x="92" y="13"/>
                    </a:lnTo>
                    <a:lnTo>
                      <a:pt x="92" y="15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5" y="10"/>
                    </a:lnTo>
                    <a:close/>
                    <a:moveTo>
                      <a:pt x="155" y="128"/>
                    </a:moveTo>
                    <a:lnTo>
                      <a:pt x="157" y="130"/>
                    </a:lnTo>
                    <a:lnTo>
                      <a:pt x="158" y="130"/>
                    </a:lnTo>
                    <a:lnTo>
                      <a:pt x="160" y="132"/>
                    </a:lnTo>
                    <a:lnTo>
                      <a:pt x="160" y="134"/>
                    </a:lnTo>
                    <a:lnTo>
                      <a:pt x="160" y="136"/>
                    </a:lnTo>
                    <a:lnTo>
                      <a:pt x="160" y="134"/>
                    </a:lnTo>
                    <a:lnTo>
                      <a:pt x="158" y="134"/>
                    </a:lnTo>
                    <a:lnTo>
                      <a:pt x="157" y="134"/>
                    </a:lnTo>
                    <a:lnTo>
                      <a:pt x="155" y="134"/>
                    </a:lnTo>
                    <a:lnTo>
                      <a:pt x="153" y="134"/>
                    </a:lnTo>
                    <a:lnTo>
                      <a:pt x="155" y="132"/>
                    </a:lnTo>
                    <a:lnTo>
                      <a:pt x="153" y="132"/>
                    </a:lnTo>
                    <a:lnTo>
                      <a:pt x="153" y="130"/>
                    </a:lnTo>
                    <a:lnTo>
                      <a:pt x="155" y="128"/>
                    </a:lnTo>
                    <a:close/>
                    <a:moveTo>
                      <a:pt x="149" y="17"/>
                    </a:moveTo>
                    <a:lnTo>
                      <a:pt x="151" y="17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1" y="23"/>
                    </a:lnTo>
                    <a:lnTo>
                      <a:pt x="153" y="21"/>
                    </a:lnTo>
                    <a:lnTo>
                      <a:pt x="151" y="21"/>
                    </a:lnTo>
                    <a:lnTo>
                      <a:pt x="149" y="23"/>
                    </a:lnTo>
                    <a:lnTo>
                      <a:pt x="147" y="21"/>
                    </a:lnTo>
                    <a:lnTo>
                      <a:pt x="147" y="19"/>
                    </a:lnTo>
                    <a:lnTo>
                      <a:pt x="145" y="19"/>
                    </a:lnTo>
                    <a:lnTo>
                      <a:pt x="147" y="17"/>
                    </a:lnTo>
                    <a:lnTo>
                      <a:pt x="149" y="17"/>
                    </a:lnTo>
                    <a:close/>
                    <a:moveTo>
                      <a:pt x="185" y="122"/>
                    </a:moveTo>
                    <a:lnTo>
                      <a:pt x="187" y="122"/>
                    </a:lnTo>
                    <a:lnTo>
                      <a:pt x="189" y="124"/>
                    </a:lnTo>
                    <a:lnTo>
                      <a:pt x="191" y="124"/>
                    </a:lnTo>
                    <a:lnTo>
                      <a:pt x="193" y="124"/>
                    </a:lnTo>
                    <a:lnTo>
                      <a:pt x="193" y="126"/>
                    </a:lnTo>
                    <a:lnTo>
                      <a:pt x="195" y="126"/>
                    </a:lnTo>
                    <a:lnTo>
                      <a:pt x="193" y="126"/>
                    </a:lnTo>
                    <a:lnTo>
                      <a:pt x="193" y="128"/>
                    </a:lnTo>
                    <a:lnTo>
                      <a:pt x="193" y="126"/>
                    </a:lnTo>
                    <a:lnTo>
                      <a:pt x="191" y="128"/>
                    </a:lnTo>
                    <a:lnTo>
                      <a:pt x="191" y="126"/>
                    </a:lnTo>
                    <a:lnTo>
                      <a:pt x="191" y="128"/>
                    </a:lnTo>
                    <a:lnTo>
                      <a:pt x="191" y="126"/>
                    </a:lnTo>
                    <a:lnTo>
                      <a:pt x="189" y="126"/>
                    </a:lnTo>
                    <a:lnTo>
                      <a:pt x="189" y="128"/>
                    </a:lnTo>
                    <a:lnTo>
                      <a:pt x="189" y="126"/>
                    </a:lnTo>
                    <a:lnTo>
                      <a:pt x="189" y="124"/>
                    </a:lnTo>
                    <a:lnTo>
                      <a:pt x="189" y="126"/>
                    </a:lnTo>
                    <a:lnTo>
                      <a:pt x="187" y="124"/>
                    </a:lnTo>
                    <a:lnTo>
                      <a:pt x="185" y="124"/>
                    </a:lnTo>
                    <a:lnTo>
                      <a:pt x="185" y="122"/>
                    </a:lnTo>
                    <a:lnTo>
                      <a:pt x="185" y="124"/>
                    </a:lnTo>
                    <a:lnTo>
                      <a:pt x="183" y="122"/>
                    </a:lnTo>
                    <a:lnTo>
                      <a:pt x="185" y="122"/>
                    </a:lnTo>
                    <a:close/>
                    <a:moveTo>
                      <a:pt x="158" y="136"/>
                    </a:moveTo>
                    <a:lnTo>
                      <a:pt x="160" y="136"/>
                    </a:lnTo>
                    <a:lnTo>
                      <a:pt x="162" y="137"/>
                    </a:lnTo>
                    <a:lnTo>
                      <a:pt x="162" y="139"/>
                    </a:lnTo>
                    <a:lnTo>
                      <a:pt x="164" y="139"/>
                    </a:lnTo>
                    <a:lnTo>
                      <a:pt x="164" y="137"/>
                    </a:lnTo>
                    <a:lnTo>
                      <a:pt x="166" y="137"/>
                    </a:lnTo>
                    <a:lnTo>
                      <a:pt x="166" y="139"/>
                    </a:lnTo>
                    <a:lnTo>
                      <a:pt x="166" y="141"/>
                    </a:lnTo>
                    <a:lnTo>
                      <a:pt x="166" y="143"/>
                    </a:lnTo>
                    <a:lnTo>
                      <a:pt x="164" y="141"/>
                    </a:lnTo>
                    <a:lnTo>
                      <a:pt x="162" y="141"/>
                    </a:lnTo>
                    <a:lnTo>
                      <a:pt x="160" y="141"/>
                    </a:lnTo>
                    <a:lnTo>
                      <a:pt x="160" y="139"/>
                    </a:lnTo>
                    <a:lnTo>
                      <a:pt x="162" y="139"/>
                    </a:lnTo>
                    <a:lnTo>
                      <a:pt x="160" y="139"/>
                    </a:lnTo>
                    <a:lnTo>
                      <a:pt x="162" y="139"/>
                    </a:lnTo>
                    <a:lnTo>
                      <a:pt x="160" y="139"/>
                    </a:lnTo>
                    <a:lnTo>
                      <a:pt x="160" y="137"/>
                    </a:lnTo>
                    <a:lnTo>
                      <a:pt x="158" y="136"/>
                    </a:lnTo>
                    <a:close/>
                    <a:moveTo>
                      <a:pt x="111" y="67"/>
                    </a:moveTo>
                    <a:lnTo>
                      <a:pt x="113" y="67"/>
                    </a:lnTo>
                    <a:lnTo>
                      <a:pt x="115" y="67"/>
                    </a:lnTo>
                    <a:lnTo>
                      <a:pt x="115" y="69"/>
                    </a:lnTo>
                    <a:lnTo>
                      <a:pt x="116" y="69"/>
                    </a:lnTo>
                    <a:lnTo>
                      <a:pt x="115" y="71"/>
                    </a:lnTo>
                    <a:lnTo>
                      <a:pt x="115" y="73"/>
                    </a:lnTo>
                    <a:lnTo>
                      <a:pt x="113" y="71"/>
                    </a:lnTo>
                    <a:lnTo>
                      <a:pt x="111" y="71"/>
                    </a:lnTo>
                    <a:lnTo>
                      <a:pt x="111" y="69"/>
                    </a:lnTo>
                    <a:lnTo>
                      <a:pt x="111" y="67"/>
                    </a:lnTo>
                    <a:close/>
                    <a:moveTo>
                      <a:pt x="197" y="160"/>
                    </a:moveTo>
                    <a:lnTo>
                      <a:pt x="198" y="162"/>
                    </a:lnTo>
                    <a:lnTo>
                      <a:pt x="202" y="162"/>
                    </a:lnTo>
                    <a:lnTo>
                      <a:pt x="204" y="164"/>
                    </a:lnTo>
                    <a:lnTo>
                      <a:pt x="206" y="164"/>
                    </a:lnTo>
                    <a:lnTo>
                      <a:pt x="206" y="166"/>
                    </a:lnTo>
                    <a:lnTo>
                      <a:pt x="204" y="166"/>
                    </a:lnTo>
                    <a:lnTo>
                      <a:pt x="202" y="166"/>
                    </a:lnTo>
                    <a:lnTo>
                      <a:pt x="202" y="164"/>
                    </a:lnTo>
                    <a:lnTo>
                      <a:pt x="200" y="164"/>
                    </a:lnTo>
                    <a:lnTo>
                      <a:pt x="198" y="164"/>
                    </a:lnTo>
                    <a:lnTo>
                      <a:pt x="200" y="164"/>
                    </a:lnTo>
                    <a:lnTo>
                      <a:pt x="198" y="164"/>
                    </a:lnTo>
                    <a:lnTo>
                      <a:pt x="198" y="162"/>
                    </a:lnTo>
                    <a:lnTo>
                      <a:pt x="197" y="162"/>
                    </a:lnTo>
                    <a:lnTo>
                      <a:pt x="197" y="160"/>
                    </a:lnTo>
                    <a:close/>
                    <a:moveTo>
                      <a:pt x="149" y="126"/>
                    </a:moveTo>
                    <a:lnTo>
                      <a:pt x="151" y="128"/>
                    </a:lnTo>
                    <a:lnTo>
                      <a:pt x="153" y="130"/>
                    </a:lnTo>
                    <a:lnTo>
                      <a:pt x="151" y="130"/>
                    </a:lnTo>
                    <a:lnTo>
                      <a:pt x="151" y="132"/>
                    </a:lnTo>
                    <a:lnTo>
                      <a:pt x="153" y="132"/>
                    </a:lnTo>
                    <a:lnTo>
                      <a:pt x="151" y="132"/>
                    </a:lnTo>
                    <a:lnTo>
                      <a:pt x="151" y="130"/>
                    </a:lnTo>
                    <a:lnTo>
                      <a:pt x="149" y="130"/>
                    </a:lnTo>
                    <a:lnTo>
                      <a:pt x="147" y="130"/>
                    </a:lnTo>
                    <a:lnTo>
                      <a:pt x="149" y="130"/>
                    </a:lnTo>
                    <a:lnTo>
                      <a:pt x="147" y="130"/>
                    </a:lnTo>
                    <a:lnTo>
                      <a:pt x="147" y="128"/>
                    </a:lnTo>
                    <a:lnTo>
                      <a:pt x="149" y="128"/>
                    </a:lnTo>
                    <a:lnTo>
                      <a:pt x="149" y="126"/>
                    </a:lnTo>
                    <a:close/>
                    <a:moveTo>
                      <a:pt x="219" y="61"/>
                    </a:moveTo>
                    <a:lnTo>
                      <a:pt x="221" y="61"/>
                    </a:lnTo>
                    <a:lnTo>
                      <a:pt x="221" y="65"/>
                    </a:lnTo>
                    <a:lnTo>
                      <a:pt x="219" y="67"/>
                    </a:lnTo>
                    <a:lnTo>
                      <a:pt x="219" y="65"/>
                    </a:lnTo>
                    <a:lnTo>
                      <a:pt x="219" y="67"/>
                    </a:lnTo>
                    <a:lnTo>
                      <a:pt x="219" y="65"/>
                    </a:lnTo>
                    <a:lnTo>
                      <a:pt x="219" y="67"/>
                    </a:lnTo>
                    <a:lnTo>
                      <a:pt x="219" y="65"/>
                    </a:lnTo>
                    <a:lnTo>
                      <a:pt x="218" y="63"/>
                    </a:lnTo>
                    <a:lnTo>
                      <a:pt x="219" y="63"/>
                    </a:lnTo>
                    <a:lnTo>
                      <a:pt x="219" y="61"/>
                    </a:lnTo>
                    <a:lnTo>
                      <a:pt x="218" y="61"/>
                    </a:lnTo>
                    <a:lnTo>
                      <a:pt x="219" y="61"/>
                    </a:lnTo>
                    <a:lnTo>
                      <a:pt x="218" y="61"/>
                    </a:lnTo>
                    <a:lnTo>
                      <a:pt x="218" y="59"/>
                    </a:lnTo>
                    <a:lnTo>
                      <a:pt x="219" y="59"/>
                    </a:lnTo>
                    <a:lnTo>
                      <a:pt x="219" y="61"/>
                    </a:lnTo>
                    <a:close/>
                    <a:moveTo>
                      <a:pt x="99" y="63"/>
                    </a:moveTo>
                    <a:lnTo>
                      <a:pt x="101" y="63"/>
                    </a:lnTo>
                    <a:lnTo>
                      <a:pt x="101" y="65"/>
                    </a:lnTo>
                    <a:lnTo>
                      <a:pt x="101" y="67"/>
                    </a:lnTo>
                    <a:lnTo>
                      <a:pt x="97" y="65"/>
                    </a:lnTo>
                    <a:lnTo>
                      <a:pt x="99" y="65"/>
                    </a:lnTo>
                    <a:lnTo>
                      <a:pt x="97" y="65"/>
                    </a:lnTo>
                    <a:lnTo>
                      <a:pt x="97" y="63"/>
                    </a:lnTo>
                    <a:lnTo>
                      <a:pt x="99" y="63"/>
                    </a:lnTo>
                    <a:close/>
                    <a:moveTo>
                      <a:pt x="82" y="52"/>
                    </a:moveTo>
                    <a:lnTo>
                      <a:pt x="84" y="52"/>
                    </a:lnTo>
                    <a:lnTo>
                      <a:pt x="84" y="54"/>
                    </a:lnTo>
                    <a:lnTo>
                      <a:pt x="82" y="55"/>
                    </a:lnTo>
                    <a:lnTo>
                      <a:pt x="80" y="55"/>
                    </a:lnTo>
                    <a:lnTo>
                      <a:pt x="80" y="54"/>
                    </a:lnTo>
                    <a:lnTo>
                      <a:pt x="80" y="52"/>
                    </a:lnTo>
                    <a:lnTo>
                      <a:pt x="82" y="52"/>
                    </a:lnTo>
                    <a:close/>
                    <a:moveTo>
                      <a:pt x="139" y="0"/>
                    </a:moveTo>
                    <a:lnTo>
                      <a:pt x="141" y="2"/>
                    </a:lnTo>
                    <a:lnTo>
                      <a:pt x="141" y="4"/>
                    </a:lnTo>
                    <a:lnTo>
                      <a:pt x="139" y="4"/>
                    </a:lnTo>
                    <a:lnTo>
                      <a:pt x="139" y="2"/>
                    </a:lnTo>
                    <a:lnTo>
                      <a:pt x="137" y="2"/>
                    </a:lnTo>
                    <a:lnTo>
                      <a:pt x="139" y="2"/>
                    </a:lnTo>
                    <a:lnTo>
                      <a:pt x="139" y="0"/>
                    </a:lnTo>
                    <a:close/>
                    <a:moveTo>
                      <a:pt x="40" y="115"/>
                    </a:moveTo>
                    <a:lnTo>
                      <a:pt x="42" y="115"/>
                    </a:lnTo>
                    <a:lnTo>
                      <a:pt x="44" y="116"/>
                    </a:lnTo>
                    <a:lnTo>
                      <a:pt x="44" y="118"/>
                    </a:lnTo>
                    <a:lnTo>
                      <a:pt x="40" y="116"/>
                    </a:lnTo>
                    <a:lnTo>
                      <a:pt x="38" y="115"/>
                    </a:lnTo>
                    <a:lnTo>
                      <a:pt x="40" y="115"/>
                    </a:lnTo>
                    <a:close/>
                    <a:moveTo>
                      <a:pt x="214" y="160"/>
                    </a:moveTo>
                    <a:lnTo>
                      <a:pt x="214" y="162"/>
                    </a:lnTo>
                    <a:lnTo>
                      <a:pt x="212" y="162"/>
                    </a:lnTo>
                    <a:lnTo>
                      <a:pt x="210" y="162"/>
                    </a:lnTo>
                    <a:lnTo>
                      <a:pt x="210" y="160"/>
                    </a:lnTo>
                    <a:lnTo>
                      <a:pt x="210" y="162"/>
                    </a:lnTo>
                    <a:lnTo>
                      <a:pt x="210" y="160"/>
                    </a:lnTo>
                    <a:lnTo>
                      <a:pt x="210" y="162"/>
                    </a:lnTo>
                    <a:lnTo>
                      <a:pt x="212" y="160"/>
                    </a:lnTo>
                    <a:lnTo>
                      <a:pt x="210" y="160"/>
                    </a:lnTo>
                    <a:lnTo>
                      <a:pt x="212" y="160"/>
                    </a:lnTo>
                    <a:lnTo>
                      <a:pt x="210" y="160"/>
                    </a:lnTo>
                    <a:lnTo>
                      <a:pt x="212" y="160"/>
                    </a:lnTo>
                    <a:lnTo>
                      <a:pt x="214" y="160"/>
                    </a:lnTo>
                    <a:close/>
                    <a:moveTo>
                      <a:pt x="164" y="115"/>
                    </a:moveTo>
                    <a:lnTo>
                      <a:pt x="164" y="116"/>
                    </a:lnTo>
                    <a:lnTo>
                      <a:pt x="164" y="118"/>
                    </a:lnTo>
                    <a:lnTo>
                      <a:pt x="164" y="120"/>
                    </a:lnTo>
                    <a:lnTo>
                      <a:pt x="162" y="118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2" y="115"/>
                    </a:lnTo>
                    <a:lnTo>
                      <a:pt x="164" y="115"/>
                    </a:lnTo>
                    <a:close/>
                    <a:moveTo>
                      <a:pt x="177" y="23"/>
                    </a:moveTo>
                    <a:lnTo>
                      <a:pt x="177" y="25"/>
                    </a:lnTo>
                    <a:lnTo>
                      <a:pt x="177" y="23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7" y="27"/>
                    </a:lnTo>
                    <a:lnTo>
                      <a:pt x="177" y="25"/>
                    </a:lnTo>
                    <a:lnTo>
                      <a:pt x="176" y="25"/>
                    </a:lnTo>
                    <a:lnTo>
                      <a:pt x="177" y="25"/>
                    </a:lnTo>
                    <a:lnTo>
                      <a:pt x="176" y="23"/>
                    </a:lnTo>
                    <a:lnTo>
                      <a:pt x="177" y="23"/>
                    </a:lnTo>
                    <a:lnTo>
                      <a:pt x="176" y="23"/>
                    </a:lnTo>
                    <a:lnTo>
                      <a:pt x="177" y="23"/>
                    </a:lnTo>
                    <a:close/>
                    <a:moveTo>
                      <a:pt x="191" y="149"/>
                    </a:moveTo>
                    <a:lnTo>
                      <a:pt x="191" y="151"/>
                    </a:lnTo>
                    <a:lnTo>
                      <a:pt x="189" y="151"/>
                    </a:lnTo>
                    <a:lnTo>
                      <a:pt x="187" y="151"/>
                    </a:lnTo>
                    <a:lnTo>
                      <a:pt x="185" y="149"/>
                    </a:lnTo>
                    <a:lnTo>
                      <a:pt x="187" y="149"/>
                    </a:lnTo>
                    <a:lnTo>
                      <a:pt x="189" y="151"/>
                    </a:lnTo>
                    <a:lnTo>
                      <a:pt x="191" y="149"/>
                    </a:lnTo>
                    <a:close/>
                    <a:moveTo>
                      <a:pt x="187" y="27"/>
                    </a:moveTo>
                    <a:lnTo>
                      <a:pt x="189" y="29"/>
                    </a:lnTo>
                    <a:lnTo>
                      <a:pt x="187" y="29"/>
                    </a:lnTo>
                    <a:lnTo>
                      <a:pt x="189" y="29"/>
                    </a:lnTo>
                    <a:lnTo>
                      <a:pt x="189" y="31"/>
                    </a:lnTo>
                    <a:lnTo>
                      <a:pt x="187" y="31"/>
                    </a:lnTo>
                    <a:lnTo>
                      <a:pt x="187" y="29"/>
                    </a:lnTo>
                    <a:lnTo>
                      <a:pt x="187" y="27"/>
                    </a:lnTo>
                    <a:close/>
                    <a:moveTo>
                      <a:pt x="40" y="113"/>
                    </a:moveTo>
                    <a:lnTo>
                      <a:pt x="44" y="113"/>
                    </a:lnTo>
                    <a:lnTo>
                      <a:pt x="44" y="115"/>
                    </a:lnTo>
                    <a:lnTo>
                      <a:pt x="42" y="115"/>
                    </a:lnTo>
                    <a:lnTo>
                      <a:pt x="40" y="113"/>
                    </a:lnTo>
                    <a:close/>
                    <a:moveTo>
                      <a:pt x="59" y="99"/>
                    </a:moveTo>
                    <a:lnTo>
                      <a:pt x="59" y="101"/>
                    </a:lnTo>
                    <a:lnTo>
                      <a:pt x="59" y="103"/>
                    </a:lnTo>
                    <a:lnTo>
                      <a:pt x="57" y="101"/>
                    </a:lnTo>
                    <a:lnTo>
                      <a:pt x="57" y="99"/>
                    </a:lnTo>
                    <a:lnTo>
                      <a:pt x="59" y="99"/>
                    </a:lnTo>
                    <a:close/>
                    <a:moveTo>
                      <a:pt x="160" y="25"/>
                    </a:moveTo>
                    <a:lnTo>
                      <a:pt x="160" y="27"/>
                    </a:lnTo>
                    <a:lnTo>
                      <a:pt x="162" y="27"/>
                    </a:lnTo>
                    <a:lnTo>
                      <a:pt x="160" y="27"/>
                    </a:lnTo>
                    <a:lnTo>
                      <a:pt x="158" y="27"/>
                    </a:lnTo>
                    <a:lnTo>
                      <a:pt x="160" y="25"/>
                    </a:lnTo>
                    <a:close/>
                    <a:moveTo>
                      <a:pt x="160" y="149"/>
                    </a:moveTo>
                    <a:lnTo>
                      <a:pt x="162" y="149"/>
                    </a:lnTo>
                    <a:lnTo>
                      <a:pt x="162" y="151"/>
                    </a:lnTo>
                    <a:lnTo>
                      <a:pt x="160" y="151"/>
                    </a:lnTo>
                    <a:lnTo>
                      <a:pt x="160" y="149"/>
                    </a:lnTo>
                    <a:close/>
                    <a:moveTo>
                      <a:pt x="42" y="107"/>
                    </a:moveTo>
                    <a:lnTo>
                      <a:pt x="44" y="107"/>
                    </a:lnTo>
                    <a:lnTo>
                      <a:pt x="44" y="109"/>
                    </a:lnTo>
                    <a:lnTo>
                      <a:pt x="42" y="109"/>
                    </a:lnTo>
                    <a:lnTo>
                      <a:pt x="42" y="107"/>
                    </a:lnTo>
                    <a:lnTo>
                      <a:pt x="40" y="107"/>
                    </a:lnTo>
                    <a:lnTo>
                      <a:pt x="42" y="107"/>
                    </a:lnTo>
                    <a:lnTo>
                      <a:pt x="40" y="107"/>
                    </a:lnTo>
                    <a:lnTo>
                      <a:pt x="42" y="107"/>
                    </a:lnTo>
                    <a:close/>
                    <a:moveTo>
                      <a:pt x="109" y="15"/>
                    </a:moveTo>
                    <a:lnTo>
                      <a:pt x="113" y="15"/>
                    </a:lnTo>
                    <a:lnTo>
                      <a:pt x="113" y="17"/>
                    </a:lnTo>
                    <a:lnTo>
                      <a:pt x="109" y="17"/>
                    </a:lnTo>
                    <a:lnTo>
                      <a:pt x="109" y="15"/>
                    </a:lnTo>
                    <a:close/>
                    <a:moveTo>
                      <a:pt x="158" y="147"/>
                    </a:moveTo>
                    <a:lnTo>
                      <a:pt x="160" y="147"/>
                    </a:lnTo>
                    <a:lnTo>
                      <a:pt x="160" y="151"/>
                    </a:lnTo>
                    <a:lnTo>
                      <a:pt x="158" y="151"/>
                    </a:lnTo>
                    <a:lnTo>
                      <a:pt x="158" y="147"/>
                    </a:lnTo>
                    <a:close/>
                    <a:moveTo>
                      <a:pt x="55" y="99"/>
                    </a:moveTo>
                    <a:lnTo>
                      <a:pt x="57" y="99"/>
                    </a:lnTo>
                    <a:lnTo>
                      <a:pt x="57" y="101"/>
                    </a:lnTo>
                    <a:lnTo>
                      <a:pt x="55" y="99"/>
                    </a:lnTo>
                    <a:lnTo>
                      <a:pt x="55" y="101"/>
                    </a:lnTo>
                    <a:lnTo>
                      <a:pt x="55" y="99"/>
                    </a:lnTo>
                    <a:lnTo>
                      <a:pt x="57" y="101"/>
                    </a:lnTo>
                    <a:lnTo>
                      <a:pt x="55" y="101"/>
                    </a:lnTo>
                    <a:lnTo>
                      <a:pt x="55" y="99"/>
                    </a:lnTo>
                    <a:close/>
                    <a:moveTo>
                      <a:pt x="42" y="115"/>
                    </a:moveTo>
                    <a:lnTo>
                      <a:pt x="44" y="115"/>
                    </a:lnTo>
                    <a:lnTo>
                      <a:pt x="42" y="115"/>
                    </a:lnTo>
                    <a:close/>
                    <a:moveTo>
                      <a:pt x="59" y="99"/>
                    </a:moveTo>
                    <a:lnTo>
                      <a:pt x="61" y="99"/>
                    </a:lnTo>
                    <a:lnTo>
                      <a:pt x="61" y="101"/>
                    </a:lnTo>
                    <a:lnTo>
                      <a:pt x="59" y="101"/>
                    </a:lnTo>
                    <a:lnTo>
                      <a:pt x="59" y="99"/>
                    </a:lnTo>
                    <a:close/>
                    <a:moveTo>
                      <a:pt x="202" y="44"/>
                    </a:moveTo>
                    <a:lnTo>
                      <a:pt x="204" y="44"/>
                    </a:lnTo>
                    <a:lnTo>
                      <a:pt x="204" y="46"/>
                    </a:lnTo>
                    <a:lnTo>
                      <a:pt x="202" y="46"/>
                    </a:lnTo>
                    <a:lnTo>
                      <a:pt x="202" y="44"/>
                    </a:lnTo>
                    <a:close/>
                    <a:moveTo>
                      <a:pt x="44" y="107"/>
                    </a:moveTo>
                    <a:lnTo>
                      <a:pt x="46" y="107"/>
                    </a:lnTo>
                    <a:lnTo>
                      <a:pt x="46" y="109"/>
                    </a:lnTo>
                    <a:lnTo>
                      <a:pt x="44" y="109"/>
                    </a:lnTo>
                    <a:lnTo>
                      <a:pt x="44" y="107"/>
                    </a:lnTo>
                    <a:close/>
                    <a:moveTo>
                      <a:pt x="55" y="101"/>
                    </a:moveTo>
                    <a:lnTo>
                      <a:pt x="57" y="101"/>
                    </a:lnTo>
                    <a:lnTo>
                      <a:pt x="57" y="103"/>
                    </a:lnTo>
                    <a:lnTo>
                      <a:pt x="55" y="103"/>
                    </a:lnTo>
                    <a:lnTo>
                      <a:pt x="55" y="101"/>
                    </a:lnTo>
                    <a:close/>
                    <a:moveTo>
                      <a:pt x="67" y="44"/>
                    </a:moveTo>
                    <a:lnTo>
                      <a:pt x="67" y="46"/>
                    </a:lnTo>
                    <a:lnTo>
                      <a:pt x="67" y="44"/>
                    </a:lnTo>
                    <a:close/>
                    <a:moveTo>
                      <a:pt x="44" y="109"/>
                    </a:moveTo>
                    <a:lnTo>
                      <a:pt x="46" y="109"/>
                    </a:lnTo>
                    <a:lnTo>
                      <a:pt x="46" y="111"/>
                    </a:lnTo>
                    <a:lnTo>
                      <a:pt x="44" y="111"/>
                    </a:lnTo>
                    <a:lnTo>
                      <a:pt x="44" y="109"/>
                    </a:lnTo>
                    <a:close/>
                    <a:moveTo>
                      <a:pt x="195" y="158"/>
                    </a:moveTo>
                    <a:lnTo>
                      <a:pt x="198" y="158"/>
                    </a:lnTo>
                    <a:lnTo>
                      <a:pt x="198" y="160"/>
                    </a:lnTo>
                    <a:lnTo>
                      <a:pt x="195" y="160"/>
                    </a:lnTo>
                    <a:lnTo>
                      <a:pt x="195" y="158"/>
                    </a:lnTo>
                    <a:close/>
                    <a:moveTo>
                      <a:pt x="44" y="113"/>
                    </a:moveTo>
                    <a:lnTo>
                      <a:pt x="46" y="113"/>
                    </a:lnTo>
                    <a:lnTo>
                      <a:pt x="46" y="115"/>
                    </a:lnTo>
                    <a:lnTo>
                      <a:pt x="44" y="115"/>
                    </a:lnTo>
                    <a:lnTo>
                      <a:pt x="44" y="113"/>
                    </a:lnTo>
                    <a:close/>
                    <a:moveTo>
                      <a:pt x="48" y="103"/>
                    </a:moveTo>
                    <a:lnTo>
                      <a:pt x="50" y="103"/>
                    </a:lnTo>
                    <a:lnTo>
                      <a:pt x="50" y="105"/>
                    </a:lnTo>
                    <a:lnTo>
                      <a:pt x="48" y="105"/>
                    </a:lnTo>
                    <a:lnTo>
                      <a:pt x="48" y="103"/>
                    </a:lnTo>
                    <a:close/>
                    <a:moveTo>
                      <a:pt x="164" y="57"/>
                    </a:moveTo>
                    <a:lnTo>
                      <a:pt x="166" y="57"/>
                    </a:lnTo>
                    <a:lnTo>
                      <a:pt x="166" y="59"/>
                    </a:lnTo>
                    <a:lnTo>
                      <a:pt x="164" y="59"/>
                    </a:lnTo>
                    <a:lnTo>
                      <a:pt x="164" y="57"/>
                    </a:lnTo>
                    <a:close/>
                    <a:moveTo>
                      <a:pt x="137" y="54"/>
                    </a:moveTo>
                    <a:lnTo>
                      <a:pt x="139" y="54"/>
                    </a:lnTo>
                    <a:lnTo>
                      <a:pt x="139" y="55"/>
                    </a:lnTo>
                    <a:lnTo>
                      <a:pt x="137" y="55"/>
                    </a:lnTo>
                    <a:lnTo>
                      <a:pt x="137" y="54"/>
                    </a:lnTo>
                    <a:close/>
                    <a:moveTo>
                      <a:pt x="44" y="115"/>
                    </a:moveTo>
                    <a:lnTo>
                      <a:pt x="46" y="115"/>
                    </a:lnTo>
                    <a:lnTo>
                      <a:pt x="46" y="116"/>
                    </a:lnTo>
                    <a:lnTo>
                      <a:pt x="44" y="116"/>
                    </a:lnTo>
                    <a:lnTo>
                      <a:pt x="44" y="115"/>
                    </a:lnTo>
                    <a:close/>
                    <a:moveTo>
                      <a:pt x="103" y="12"/>
                    </a:moveTo>
                    <a:lnTo>
                      <a:pt x="105" y="12"/>
                    </a:lnTo>
                    <a:lnTo>
                      <a:pt x="105" y="13"/>
                    </a:lnTo>
                    <a:lnTo>
                      <a:pt x="103" y="13"/>
                    </a:lnTo>
                    <a:lnTo>
                      <a:pt x="103" y="12"/>
                    </a:lnTo>
                    <a:close/>
                    <a:moveTo>
                      <a:pt x="42" y="33"/>
                    </a:moveTo>
                    <a:lnTo>
                      <a:pt x="44" y="33"/>
                    </a:lnTo>
                    <a:lnTo>
                      <a:pt x="42" y="33"/>
                    </a:lnTo>
                    <a:close/>
                    <a:moveTo>
                      <a:pt x="36" y="113"/>
                    </a:moveTo>
                    <a:lnTo>
                      <a:pt x="40" y="113"/>
                    </a:lnTo>
                    <a:lnTo>
                      <a:pt x="36" y="113"/>
                    </a:lnTo>
                    <a:close/>
                    <a:moveTo>
                      <a:pt x="160" y="132"/>
                    </a:moveTo>
                    <a:lnTo>
                      <a:pt x="162" y="132"/>
                    </a:lnTo>
                    <a:lnTo>
                      <a:pt x="162" y="134"/>
                    </a:lnTo>
                    <a:lnTo>
                      <a:pt x="160" y="134"/>
                    </a:lnTo>
                    <a:lnTo>
                      <a:pt x="160" y="132"/>
                    </a:lnTo>
                    <a:close/>
                    <a:moveTo>
                      <a:pt x="61" y="99"/>
                    </a:moveTo>
                    <a:lnTo>
                      <a:pt x="63" y="99"/>
                    </a:lnTo>
                    <a:lnTo>
                      <a:pt x="63" y="101"/>
                    </a:lnTo>
                    <a:lnTo>
                      <a:pt x="61" y="101"/>
                    </a:lnTo>
                    <a:lnTo>
                      <a:pt x="61" y="99"/>
                    </a:lnTo>
                    <a:close/>
                    <a:moveTo>
                      <a:pt x="57" y="101"/>
                    </a:moveTo>
                    <a:lnTo>
                      <a:pt x="59" y="101"/>
                    </a:lnTo>
                    <a:lnTo>
                      <a:pt x="59" y="103"/>
                    </a:lnTo>
                    <a:lnTo>
                      <a:pt x="57" y="103"/>
                    </a:lnTo>
                    <a:lnTo>
                      <a:pt x="57" y="101"/>
                    </a:lnTo>
                    <a:close/>
                    <a:moveTo>
                      <a:pt x="59" y="97"/>
                    </a:moveTo>
                    <a:lnTo>
                      <a:pt x="61" y="97"/>
                    </a:lnTo>
                    <a:lnTo>
                      <a:pt x="61" y="99"/>
                    </a:lnTo>
                    <a:lnTo>
                      <a:pt x="59" y="99"/>
                    </a:lnTo>
                    <a:lnTo>
                      <a:pt x="59" y="97"/>
                    </a:lnTo>
                    <a:close/>
                    <a:moveTo>
                      <a:pt x="54" y="103"/>
                    </a:moveTo>
                    <a:lnTo>
                      <a:pt x="55" y="103"/>
                    </a:lnTo>
                    <a:lnTo>
                      <a:pt x="54" y="103"/>
                    </a:lnTo>
                    <a:close/>
                    <a:moveTo>
                      <a:pt x="160" y="115"/>
                    </a:moveTo>
                    <a:lnTo>
                      <a:pt x="162" y="115"/>
                    </a:lnTo>
                    <a:lnTo>
                      <a:pt x="162" y="116"/>
                    </a:lnTo>
                    <a:lnTo>
                      <a:pt x="160" y="116"/>
                    </a:lnTo>
                    <a:lnTo>
                      <a:pt x="160" y="115"/>
                    </a:lnTo>
                    <a:close/>
                    <a:moveTo>
                      <a:pt x="107" y="63"/>
                    </a:moveTo>
                    <a:lnTo>
                      <a:pt x="109" y="63"/>
                    </a:lnTo>
                    <a:lnTo>
                      <a:pt x="109" y="65"/>
                    </a:lnTo>
                    <a:lnTo>
                      <a:pt x="107" y="65"/>
                    </a:lnTo>
                    <a:lnTo>
                      <a:pt x="107" y="63"/>
                    </a:lnTo>
                    <a:close/>
                    <a:moveTo>
                      <a:pt x="55" y="101"/>
                    </a:moveTo>
                    <a:lnTo>
                      <a:pt x="57" y="101"/>
                    </a:lnTo>
                    <a:lnTo>
                      <a:pt x="55" y="101"/>
                    </a:lnTo>
                    <a:close/>
                    <a:moveTo>
                      <a:pt x="115" y="65"/>
                    </a:moveTo>
                    <a:lnTo>
                      <a:pt x="116" y="65"/>
                    </a:lnTo>
                    <a:lnTo>
                      <a:pt x="116" y="67"/>
                    </a:lnTo>
                    <a:lnTo>
                      <a:pt x="115" y="67"/>
                    </a:lnTo>
                    <a:lnTo>
                      <a:pt x="115" y="65"/>
                    </a:lnTo>
                    <a:close/>
                    <a:moveTo>
                      <a:pt x="44" y="33"/>
                    </a:moveTo>
                    <a:lnTo>
                      <a:pt x="44" y="34"/>
                    </a:lnTo>
                    <a:lnTo>
                      <a:pt x="44" y="33"/>
                    </a:lnTo>
                    <a:close/>
                    <a:moveTo>
                      <a:pt x="55" y="99"/>
                    </a:moveTo>
                    <a:lnTo>
                      <a:pt x="55" y="101"/>
                    </a:lnTo>
                    <a:lnTo>
                      <a:pt x="55" y="99"/>
                    </a:lnTo>
                    <a:close/>
                    <a:moveTo>
                      <a:pt x="40" y="113"/>
                    </a:moveTo>
                    <a:lnTo>
                      <a:pt x="42" y="113"/>
                    </a:lnTo>
                    <a:lnTo>
                      <a:pt x="40" y="113"/>
                    </a:lnTo>
                    <a:close/>
                    <a:moveTo>
                      <a:pt x="40" y="122"/>
                    </a:moveTo>
                    <a:lnTo>
                      <a:pt x="42" y="122"/>
                    </a:lnTo>
                    <a:lnTo>
                      <a:pt x="42" y="124"/>
                    </a:lnTo>
                    <a:lnTo>
                      <a:pt x="40" y="124"/>
                    </a:lnTo>
                    <a:lnTo>
                      <a:pt x="40" y="122"/>
                    </a:lnTo>
                    <a:close/>
                    <a:moveTo>
                      <a:pt x="46" y="115"/>
                    </a:moveTo>
                    <a:lnTo>
                      <a:pt x="48" y="115"/>
                    </a:lnTo>
                    <a:lnTo>
                      <a:pt x="46" y="115"/>
                    </a:lnTo>
                    <a:close/>
                    <a:moveTo>
                      <a:pt x="145" y="6"/>
                    </a:moveTo>
                    <a:lnTo>
                      <a:pt x="147" y="6"/>
                    </a:lnTo>
                    <a:lnTo>
                      <a:pt x="145" y="6"/>
                    </a:lnTo>
                    <a:close/>
                    <a:moveTo>
                      <a:pt x="86" y="55"/>
                    </a:moveTo>
                    <a:lnTo>
                      <a:pt x="86" y="57"/>
                    </a:lnTo>
                    <a:lnTo>
                      <a:pt x="86" y="55"/>
                    </a:lnTo>
                    <a:close/>
                    <a:moveTo>
                      <a:pt x="38" y="124"/>
                    </a:moveTo>
                    <a:lnTo>
                      <a:pt x="38" y="126"/>
                    </a:lnTo>
                    <a:lnTo>
                      <a:pt x="38" y="124"/>
                    </a:lnTo>
                    <a:close/>
                    <a:moveTo>
                      <a:pt x="197" y="34"/>
                    </a:moveTo>
                    <a:lnTo>
                      <a:pt x="198" y="34"/>
                    </a:lnTo>
                    <a:lnTo>
                      <a:pt x="197" y="34"/>
                    </a:lnTo>
                    <a:close/>
                    <a:moveTo>
                      <a:pt x="52" y="31"/>
                    </a:moveTo>
                    <a:lnTo>
                      <a:pt x="54" y="31"/>
                    </a:lnTo>
                    <a:lnTo>
                      <a:pt x="52" y="31"/>
                    </a:lnTo>
                    <a:close/>
                    <a:moveTo>
                      <a:pt x="132" y="57"/>
                    </a:moveTo>
                    <a:lnTo>
                      <a:pt x="134" y="57"/>
                    </a:lnTo>
                    <a:lnTo>
                      <a:pt x="132" y="57"/>
                    </a:lnTo>
                    <a:close/>
                    <a:moveTo>
                      <a:pt x="61" y="97"/>
                    </a:moveTo>
                    <a:lnTo>
                      <a:pt x="63" y="97"/>
                    </a:lnTo>
                    <a:lnTo>
                      <a:pt x="63" y="99"/>
                    </a:lnTo>
                    <a:lnTo>
                      <a:pt x="61" y="99"/>
                    </a:lnTo>
                    <a:lnTo>
                      <a:pt x="61" y="97"/>
                    </a:lnTo>
                    <a:close/>
                    <a:moveTo>
                      <a:pt x="59" y="99"/>
                    </a:moveTo>
                    <a:lnTo>
                      <a:pt x="59" y="101"/>
                    </a:lnTo>
                    <a:lnTo>
                      <a:pt x="59" y="99"/>
                    </a:lnTo>
                    <a:close/>
                    <a:moveTo>
                      <a:pt x="55" y="99"/>
                    </a:moveTo>
                    <a:lnTo>
                      <a:pt x="57" y="99"/>
                    </a:lnTo>
                    <a:lnTo>
                      <a:pt x="55" y="99"/>
                    </a:lnTo>
                    <a:close/>
                    <a:moveTo>
                      <a:pt x="57" y="101"/>
                    </a:moveTo>
                    <a:lnTo>
                      <a:pt x="57" y="103"/>
                    </a:lnTo>
                    <a:lnTo>
                      <a:pt x="57" y="101"/>
                    </a:lnTo>
                    <a:close/>
                    <a:moveTo>
                      <a:pt x="212" y="50"/>
                    </a:moveTo>
                    <a:lnTo>
                      <a:pt x="214" y="50"/>
                    </a:lnTo>
                    <a:lnTo>
                      <a:pt x="214" y="52"/>
                    </a:lnTo>
                    <a:lnTo>
                      <a:pt x="212" y="52"/>
                    </a:lnTo>
                    <a:lnTo>
                      <a:pt x="212" y="50"/>
                    </a:lnTo>
                    <a:close/>
                    <a:moveTo>
                      <a:pt x="198" y="33"/>
                    </a:moveTo>
                    <a:lnTo>
                      <a:pt x="198" y="34"/>
                    </a:lnTo>
                    <a:lnTo>
                      <a:pt x="198" y="33"/>
                    </a:lnTo>
                    <a:close/>
                    <a:moveTo>
                      <a:pt x="183" y="151"/>
                    </a:moveTo>
                    <a:lnTo>
                      <a:pt x="185" y="151"/>
                    </a:lnTo>
                    <a:lnTo>
                      <a:pt x="183" y="151"/>
                    </a:lnTo>
                    <a:close/>
                    <a:moveTo>
                      <a:pt x="193" y="158"/>
                    </a:moveTo>
                    <a:lnTo>
                      <a:pt x="195" y="158"/>
                    </a:lnTo>
                    <a:lnTo>
                      <a:pt x="193" y="158"/>
                    </a:lnTo>
                    <a:close/>
                    <a:moveTo>
                      <a:pt x="103" y="17"/>
                    </a:moveTo>
                    <a:lnTo>
                      <a:pt x="105" y="17"/>
                    </a:lnTo>
                    <a:lnTo>
                      <a:pt x="105" y="19"/>
                    </a:lnTo>
                    <a:lnTo>
                      <a:pt x="103" y="19"/>
                    </a:lnTo>
                    <a:lnTo>
                      <a:pt x="103" y="17"/>
                    </a:lnTo>
                    <a:close/>
                    <a:moveTo>
                      <a:pt x="54" y="101"/>
                    </a:moveTo>
                    <a:lnTo>
                      <a:pt x="55" y="101"/>
                    </a:lnTo>
                    <a:lnTo>
                      <a:pt x="54" y="101"/>
                    </a:lnTo>
                    <a:close/>
                    <a:moveTo>
                      <a:pt x="155" y="21"/>
                    </a:moveTo>
                    <a:lnTo>
                      <a:pt x="157" y="21"/>
                    </a:lnTo>
                    <a:lnTo>
                      <a:pt x="157" y="23"/>
                    </a:lnTo>
                    <a:lnTo>
                      <a:pt x="155" y="23"/>
                    </a:lnTo>
                    <a:lnTo>
                      <a:pt x="155" y="21"/>
                    </a:lnTo>
                    <a:close/>
                    <a:moveTo>
                      <a:pt x="55" y="97"/>
                    </a:moveTo>
                    <a:lnTo>
                      <a:pt x="55" y="99"/>
                    </a:lnTo>
                    <a:lnTo>
                      <a:pt x="55" y="97"/>
                    </a:lnTo>
                    <a:close/>
                    <a:moveTo>
                      <a:pt x="55" y="101"/>
                    </a:moveTo>
                    <a:lnTo>
                      <a:pt x="55" y="103"/>
                    </a:lnTo>
                    <a:lnTo>
                      <a:pt x="55" y="101"/>
                    </a:lnTo>
                    <a:close/>
                    <a:moveTo>
                      <a:pt x="38" y="116"/>
                    </a:moveTo>
                    <a:lnTo>
                      <a:pt x="40" y="116"/>
                    </a:lnTo>
                    <a:lnTo>
                      <a:pt x="38" y="116"/>
                    </a:lnTo>
                    <a:close/>
                    <a:moveTo>
                      <a:pt x="204" y="44"/>
                    </a:moveTo>
                    <a:lnTo>
                      <a:pt x="206" y="44"/>
                    </a:lnTo>
                    <a:lnTo>
                      <a:pt x="204" y="44"/>
                    </a:lnTo>
                    <a:close/>
                    <a:moveTo>
                      <a:pt x="157" y="149"/>
                    </a:moveTo>
                    <a:lnTo>
                      <a:pt x="158" y="149"/>
                    </a:lnTo>
                    <a:lnTo>
                      <a:pt x="157" y="149"/>
                    </a:lnTo>
                    <a:close/>
                    <a:moveTo>
                      <a:pt x="34" y="113"/>
                    </a:moveTo>
                    <a:lnTo>
                      <a:pt x="36" y="113"/>
                    </a:lnTo>
                    <a:lnTo>
                      <a:pt x="36" y="115"/>
                    </a:lnTo>
                    <a:lnTo>
                      <a:pt x="34" y="115"/>
                    </a:lnTo>
                    <a:lnTo>
                      <a:pt x="34" y="113"/>
                    </a:lnTo>
                    <a:close/>
                    <a:moveTo>
                      <a:pt x="166" y="116"/>
                    </a:moveTo>
                    <a:lnTo>
                      <a:pt x="168" y="116"/>
                    </a:lnTo>
                    <a:lnTo>
                      <a:pt x="168" y="118"/>
                    </a:lnTo>
                    <a:lnTo>
                      <a:pt x="166" y="118"/>
                    </a:lnTo>
                    <a:lnTo>
                      <a:pt x="166" y="116"/>
                    </a:lnTo>
                    <a:close/>
                    <a:moveTo>
                      <a:pt x="219" y="67"/>
                    </a:moveTo>
                    <a:lnTo>
                      <a:pt x="221" y="67"/>
                    </a:lnTo>
                    <a:lnTo>
                      <a:pt x="221" y="69"/>
                    </a:lnTo>
                    <a:lnTo>
                      <a:pt x="219" y="69"/>
                    </a:lnTo>
                    <a:lnTo>
                      <a:pt x="219" y="67"/>
                    </a:lnTo>
                    <a:close/>
                    <a:moveTo>
                      <a:pt x="34" y="113"/>
                    </a:moveTo>
                    <a:lnTo>
                      <a:pt x="36" y="113"/>
                    </a:lnTo>
                    <a:lnTo>
                      <a:pt x="34" y="113"/>
                    </a:lnTo>
                    <a:close/>
                    <a:moveTo>
                      <a:pt x="164" y="120"/>
                    </a:moveTo>
                    <a:lnTo>
                      <a:pt x="164" y="122"/>
                    </a:lnTo>
                    <a:lnTo>
                      <a:pt x="164" y="120"/>
                    </a:lnTo>
                    <a:close/>
                    <a:moveTo>
                      <a:pt x="59" y="97"/>
                    </a:moveTo>
                    <a:lnTo>
                      <a:pt x="61" y="97"/>
                    </a:lnTo>
                    <a:lnTo>
                      <a:pt x="61" y="99"/>
                    </a:lnTo>
                    <a:lnTo>
                      <a:pt x="59" y="99"/>
                    </a:lnTo>
                    <a:lnTo>
                      <a:pt x="59" y="97"/>
                    </a:lnTo>
                    <a:close/>
                    <a:moveTo>
                      <a:pt x="155" y="19"/>
                    </a:moveTo>
                    <a:lnTo>
                      <a:pt x="155" y="21"/>
                    </a:lnTo>
                    <a:lnTo>
                      <a:pt x="155" y="19"/>
                    </a:lnTo>
                    <a:close/>
                    <a:moveTo>
                      <a:pt x="38" y="113"/>
                    </a:moveTo>
                    <a:lnTo>
                      <a:pt x="40" y="113"/>
                    </a:lnTo>
                    <a:lnTo>
                      <a:pt x="40" y="115"/>
                    </a:lnTo>
                    <a:lnTo>
                      <a:pt x="38" y="115"/>
                    </a:lnTo>
                    <a:lnTo>
                      <a:pt x="38" y="113"/>
                    </a:lnTo>
                    <a:close/>
                    <a:moveTo>
                      <a:pt x="63" y="103"/>
                    </a:moveTo>
                    <a:lnTo>
                      <a:pt x="65" y="103"/>
                    </a:lnTo>
                    <a:lnTo>
                      <a:pt x="63" y="103"/>
                    </a:lnTo>
                    <a:close/>
                    <a:moveTo>
                      <a:pt x="42" y="118"/>
                    </a:moveTo>
                    <a:lnTo>
                      <a:pt x="42" y="120"/>
                    </a:lnTo>
                    <a:lnTo>
                      <a:pt x="42" y="118"/>
                    </a:lnTo>
                    <a:close/>
                    <a:moveTo>
                      <a:pt x="46" y="99"/>
                    </a:moveTo>
                    <a:lnTo>
                      <a:pt x="48" y="99"/>
                    </a:lnTo>
                    <a:lnTo>
                      <a:pt x="48" y="101"/>
                    </a:lnTo>
                    <a:lnTo>
                      <a:pt x="46" y="101"/>
                    </a:lnTo>
                    <a:lnTo>
                      <a:pt x="46" y="99"/>
                    </a:lnTo>
                    <a:close/>
                    <a:moveTo>
                      <a:pt x="54" y="40"/>
                    </a:moveTo>
                    <a:lnTo>
                      <a:pt x="55" y="40"/>
                    </a:lnTo>
                    <a:lnTo>
                      <a:pt x="54" y="40"/>
                    </a:lnTo>
                    <a:close/>
                    <a:moveTo>
                      <a:pt x="48" y="103"/>
                    </a:moveTo>
                    <a:lnTo>
                      <a:pt x="48" y="105"/>
                    </a:lnTo>
                    <a:lnTo>
                      <a:pt x="48" y="103"/>
                    </a:lnTo>
                    <a:close/>
                    <a:moveTo>
                      <a:pt x="200" y="160"/>
                    </a:moveTo>
                    <a:lnTo>
                      <a:pt x="202" y="160"/>
                    </a:lnTo>
                    <a:lnTo>
                      <a:pt x="200" y="160"/>
                    </a:lnTo>
                    <a:close/>
                    <a:moveTo>
                      <a:pt x="157" y="23"/>
                    </a:moveTo>
                    <a:lnTo>
                      <a:pt x="158" y="23"/>
                    </a:lnTo>
                    <a:lnTo>
                      <a:pt x="157" y="23"/>
                    </a:lnTo>
                    <a:close/>
                    <a:moveTo>
                      <a:pt x="54" y="99"/>
                    </a:moveTo>
                    <a:lnTo>
                      <a:pt x="55" y="99"/>
                    </a:lnTo>
                    <a:lnTo>
                      <a:pt x="55" y="101"/>
                    </a:lnTo>
                    <a:lnTo>
                      <a:pt x="54" y="101"/>
                    </a:lnTo>
                    <a:lnTo>
                      <a:pt x="54" y="99"/>
                    </a:lnTo>
                    <a:close/>
                    <a:moveTo>
                      <a:pt x="44" y="113"/>
                    </a:moveTo>
                    <a:lnTo>
                      <a:pt x="46" y="113"/>
                    </a:lnTo>
                    <a:lnTo>
                      <a:pt x="46" y="115"/>
                    </a:lnTo>
                    <a:lnTo>
                      <a:pt x="44" y="115"/>
                    </a:lnTo>
                    <a:lnTo>
                      <a:pt x="44" y="113"/>
                    </a:lnTo>
                    <a:close/>
                    <a:moveTo>
                      <a:pt x="40" y="113"/>
                    </a:moveTo>
                    <a:lnTo>
                      <a:pt x="42" y="113"/>
                    </a:lnTo>
                    <a:lnTo>
                      <a:pt x="40" y="113"/>
                    </a:lnTo>
                    <a:close/>
                    <a:moveTo>
                      <a:pt x="57" y="99"/>
                    </a:moveTo>
                    <a:lnTo>
                      <a:pt x="57" y="101"/>
                    </a:lnTo>
                    <a:lnTo>
                      <a:pt x="57" y="99"/>
                    </a:lnTo>
                    <a:close/>
                    <a:moveTo>
                      <a:pt x="48" y="115"/>
                    </a:moveTo>
                    <a:lnTo>
                      <a:pt x="48" y="116"/>
                    </a:lnTo>
                    <a:lnTo>
                      <a:pt x="48" y="115"/>
                    </a:lnTo>
                    <a:close/>
                    <a:moveTo>
                      <a:pt x="36" y="115"/>
                    </a:moveTo>
                    <a:lnTo>
                      <a:pt x="38" y="115"/>
                    </a:lnTo>
                    <a:lnTo>
                      <a:pt x="36" y="115"/>
                    </a:lnTo>
                    <a:close/>
                    <a:moveTo>
                      <a:pt x="155" y="21"/>
                    </a:moveTo>
                    <a:lnTo>
                      <a:pt x="157" y="21"/>
                    </a:lnTo>
                    <a:lnTo>
                      <a:pt x="155" y="21"/>
                    </a:lnTo>
                    <a:close/>
                    <a:moveTo>
                      <a:pt x="69" y="103"/>
                    </a:moveTo>
                    <a:lnTo>
                      <a:pt x="71" y="103"/>
                    </a:lnTo>
                    <a:lnTo>
                      <a:pt x="71" y="105"/>
                    </a:lnTo>
                    <a:lnTo>
                      <a:pt x="69" y="105"/>
                    </a:lnTo>
                    <a:lnTo>
                      <a:pt x="69" y="103"/>
                    </a:lnTo>
                    <a:close/>
                    <a:moveTo>
                      <a:pt x="103" y="19"/>
                    </a:moveTo>
                    <a:lnTo>
                      <a:pt x="103" y="21"/>
                    </a:lnTo>
                    <a:lnTo>
                      <a:pt x="103" y="19"/>
                    </a:lnTo>
                    <a:close/>
                    <a:moveTo>
                      <a:pt x="179" y="44"/>
                    </a:moveTo>
                    <a:lnTo>
                      <a:pt x="179" y="46"/>
                    </a:lnTo>
                    <a:lnTo>
                      <a:pt x="179" y="44"/>
                    </a:lnTo>
                    <a:close/>
                    <a:moveTo>
                      <a:pt x="44" y="113"/>
                    </a:moveTo>
                    <a:lnTo>
                      <a:pt x="44" y="115"/>
                    </a:lnTo>
                    <a:lnTo>
                      <a:pt x="44" y="113"/>
                    </a:lnTo>
                    <a:close/>
                    <a:moveTo>
                      <a:pt x="54" y="40"/>
                    </a:moveTo>
                    <a:lnTo>
                      <a:pt x="55" y="40"/>
                    </a:lnTo>
                    <a:lnTo>
                      <a:pt x="54" y="40"/>
                    </a:lnTo>
                    <a:close/>
                    <a:moveTo>
                      <a:pt x="40" y="113"/>
                    </a:moveTo>
                    <a:lnTo>
                      <a:pt x="40" y="115"/>
                    </a:lnTo>
                    <a:lnTo>
                      <a:pt x="40" y="113"/>
                    </a:lnTo>
                    <a:close/>
                    <a:moveTo>
                      <a:pt x="90" y="120"/>
                    </a:moveTo>
                    <a:lnTo>
                      <a:pt x="92" y="120"/>
                    </a:lnTo>
                    <a:lnTo>
                      <a:pt x="90" y="120"/>
                    </a:lnTo>
                    <a:close/>
                    <a:moveTo>
                      <a:pt x="101" y="97"/>
                    </a:moveTo>
                    <a:lnTo>
                      <a:pt x="103" y="97"/>
                    </a:lnTo>
                    <a:lnTo>
                      <a:pt x="101" y="97"/>
                    </a:lnTo>
                    <a:close/>
                    <a:moveTo>
                      <a:pt x="40" y="118"/>
                    </a:moveTo>
                    <a:lnTo>
                      <a:pt x="42" y="118"/>
                    </a:lnTo>
                    <a:lnTo>
                      <a:pt x="40" y="118"/>
                    </a:lnTo>
                    <a:close/>
                    <a:moveTo>
                      <a:pt x="17" y="126"/>
                    </a:moveTo>
                    <a:lnTo>
                      <a:pt x="19" y="126"/>
                    </a:lnTo>
                    <a:lnTo>
                      <a:pt x="17" y="126"/>
                    </a:lnTo>
                    <a:close/>
                    <a:moveTo>
                      <a:pt x="38" y="31"/>
                    </a:moveTo>
                    <a:lnTo>
                      <a:pt x="40" y="31"/>
                    </a:lnTo>
                    <a:lnTo>
                      <a:pt x="38" y="31"/>
                    </a:lnTo>
                    <a:close/>
                    <a:moveTo>
                      <a:pt x="162" y="143"/>
                    </a:moveTo>
                    <a:lnTo>
                      <a:pt x="162" y="145"/>
                    </a:lnTo>
                    <a:lnTo>
                      <a:pt x="162" y="143"/>
                    </a:lnTo>
                    <a:close/>
                    <a:moveTo>
                      <a:pt x="67" y="103"/>
                    </a:moveTo>
                    <a:lnTo>
                      <a:pt x="67" y="105"/>
                    </a:lnTo>
                    <a:lnTo>
                      <a:pt x="67" y="103"/>
                    </a:lnTo>
                    <a:close/>
                    <a:moveTo>
                      <a:pt x="55" y="103"/>
                    </a:moveTo>
                    <a:lnTo>
                      <a:pt x="57" y="103"/>
                    </a:lnTo>
                    <a:lnTo>
                      <a:pt x="55" y="103"/>
                    </a:lnTo>
                    <a:close/>
                    <a:moveTo>
                      <a:pt x="157" y="149"/>
                    </a:moveTo>
                    <a:lnTo>
                      <a:pt x="157" y="151"/>
                    </a:lnTo>
                    <a:lnTo>
                      <a:pt x="157" y="149"/>
                    </a:lnTo>
                    <a:close/>
                    <a:moveTo>
                      <a:pt x="107" y="12"/>
                    </a:moveTo>
                    <a:lnTo>
                      <a:pt x="109" y="12"/>
                    </a:lnTo>
                    <a:lnTo>
                      <a:pt x="109" y="13"/>
                    </a:lnTo>
                    <a:lnTo>
                      <a:pt x="107" y="13"/>
                    </a:lnTo>
                    <a:lnTo>
                      <a:pt x="107" y="12"/>
                    </a:lnTo>
                    <a:close/>
                    <a:moveTo>
                      <a:pt x="189" y="23"/>
                    </a:moveTo>
                    <a:lnTo>
                      <a:pt x="189" y="25"/>
                    </a:lnTo>
                    <a:lnTo>
                      <a:pt x="189" y="23"/>
                    </a:lnTo>
                    <a:close/>
                    <a:moveTo>
                      <a:pt x="183" y="151"/>
                    </a:moveTo>
                    <a:lnTo>
                      <a:pt x="185" y="151"/>
                    </a:lnTo>
                    <a:lnTo>
                      <a:pt x="185" y="153"/>
                    </a:lnTo>
                    <a:lnTo>
                      <a:pt x="183" y="153"/>
                    </a:lnTo>
                    <a:lnTo>
                      <a:pt x="183" y="151"/>
                    </a:lnTo>
                    <a:close/>
                    <a:moveTo>
                      <a:pt x="139" y="4"/>
                    </a:moveTo>
                    <a:lnTo>
                      <a:pt x="141" y="4"/>
                    </a:lnTo>
                    <a:lnTo>
                      <a:pt x="139" y="4"/>
                    </a:lnTo>
                    <a:close/>
                    <a:moveTo>
                      <a:pt x="176" y="128"/>
                    </a:moveTo>
                    <a:lnTo>
                      <a:pt x="177" y="128"/>
                    </a:lnTo>
                    <a:lnTo>
                      <a:pt x="176" y="128"/>
                    </a:lnTo>
                    <a:close/>
                    <a:moveTo>
                      <a:pt x="183" y="46"/>
                    </a:moveTo>
                    <a:lnTo>
                      <a:pt x="185" y="46"/>
                    </a:lnTo>
                    <a:lnTo>
                      <a:pt x="185" y="48"/>
                    </a:lnTo>
                    <a:lnTo>
                      <a:pt x="183" y="48"/>
                    </a:lnTo>
                    <a:lnTo>
                      <a:pt x="183" y="46"/>
                    </a:lnTo>
                    <a:close/>
                    <a:moveTo>
                      <a:pt x="189" y="157"/>
                    </a:moveTo>
                    <a:lnTo>
                      <a:pt x="189" y="158"/>
                    </a:lnTo>
                    <a:lnTo>
                      <a:pt x="189" y="157"/>
                    </a:lnTo>
                    <a:close/>
                    <a:moveTo>
                      <a:pt x="147" y="63"/>
                    </a:moveTo>
                    <a:lnTo>
                      <a:pt x="147" y="65"/>
                    </a:lnTo>
                    <a:lnTo>
                      <a:pt x="147" y="63"/>
                    </a:lnTo>
                    <a:close/>
                    <a:moveTo>
                      <a:pt x="176" y="122"/>
                    </a:moveTo>
                    <a:lnTo>
                      <a:pt x="177" y="122"/>
                    </a:lnTo>
                    <a:lnTo>
                      <a:pt x="176" y="122"/>
                    </a:lnTo>
                    <a:close/>
                    <a:moveTo>
                      <a:pt x="54" y="40"/>
                    </a:moveTo>
                    <a:lnTo>
                      <a:pt x="55" y="40"/>
                    </a:lnTo>
                    <a:lnTo>
                      <a:pt x="54" y="40"/>
                    </a:lnTo>
                    <a:close/>
                    <a:moveTo>
                      <a:pt x="59" y="34"/>
                    </a:moveTo>
                    <a:lnTo>
                      <a:pt x="61" y="34"/>
                    </a:lnTo>
                    <a:lnTo>
                      <a:pt x="61" y="36"/>
                    </a:lnTo>
                    <a:lnTo>
                      <a:pt x="59" y="36"/>
                    </a:lnTo>
                    <a:lnTo>
                      <a:pt x="59" y="34"/>
                    </a:lnTo>
                    <a:close/>
                    <a:moveTo>
                      <a:pt x="153" y="17"/>
                    </a:moveTo>
                    <a:lnTo>
                      <a:pt x="153" y="19"/>
                    </a:lnTo>
                    <a:lnTo>
                      <a:pt x="153" y="17"/>
                    </a:lnTo>
                    <a:close/>
                    <a:moveTo>
                      <a:pt x="57" y="33"/>
                    </a:moveTo>
                    <a:lnTo>
                      <a:pt x="57" y="34"/>
                    </a:lnTo>
                    <a:lnTo>
                      <a:pt x="57" y="33"/>
                    </a:lnTo>
                    <a:close/>
                    <a:moveTo>
                      <a:pt x="130" y="76"/>
                    </a:moveTo>
                    <a:lnTo>
                      <a:pt x="132" y="76"/>
                    </a:lnTo>
                    <a:lnTo>
                      <a:pt x="130" y="76"/>
                    </a:lnTo>
                    <a:close/>
                    <a:moveTo>
                      <a:pt x="195" y="157"/>
                    </a:moveTo>
                    <a:lnTo>
                      <a:pt x="197" y="157"/>
                    </a:lnTo>
                    <a:lnTo>
                      <a:pt x="197" y="158"/>
                    </a:lnTo>
                    <a:lnTo>
                      <a:pt x="195" y="158"/>
                    </a:lnTo>
                    <a:lnTo>
                      <a:pt x="195" y="157"/>
                    </a:lnTo>
                    <a:close/>
                    <a:moveTo>
                      <a:pt x="157" y="151"/>
                    </a:moveTo>
                    <a:lnTo>
                      <a:pt x="158" y="151"/>
                    </a:lnTo>
                    <a:lnTo>
                      <a:pt x="157" y="151"/>
                    </a:lnTo>
                    <a:close/>
                    <a:moveTo>
                      <a:pt x="149" y="151"/>
                    </a:moveTo>
                    <a:lnTo>
                      <a:pt x="151" y="151"/>
                    </a:lnTo>
                    <a:lnTo>
                      <a:pt x="149" y="151"/>
                    </a:lnTo>
                    <a:close/>
                    <a:moveTo>
                      <a:pt x="160" y="126"/>
                    </a:moveTo>
                    <a:lnTo>
                      <a:pt x="160" y="128"/>
                    </a:lnTo>
                    <a:lnTo>
                      <a:pt x="160" y="126"/>
                    </a:lnTo>
                    <a:close/>
                    <a:moveTo>
                      <a:pt x="197" y="160"/>
                    </a:moveTo>
                    <a:lnTo>
                      <a:pt x="198" y="160"/>
                    </a:lnTo>
                    <a:lnTo>
                      <a:pt x="197" y="160"/>
                    </a:lnTo>
                    <a:close/>
                    <a:moveTo>
                      <a:pt x="126" y="141"/>
                    </a:moveTo>
                    <a:lnTo>
                      <a:pt x="126" y="143"/>
                    </a:lnTo>
                    <a:lnTo>
                      <a:pt x="126" y="141"/>
                    </a:lnTo>
                    <a:close/>
                    <a:moveTo>
                      <a:pt x="130" y="76"/>
                    </a:moveTo>
                    <a:lnTo>
                      <a:pt x="130" y="78"/>
                    </a:lnTo>
                    <a:lnTo>
                      <a:pt x="130" y="76"/>
                    </a:lnTo>
                    <a:close/>
                    <a:moveTo>
                      <a:pt x="162" y="151"/>
                    </a:moveTo>
                    <a:lnTo>
                      <a:pt x="164" y="151"/>
                    </a:lnTo>
                    <a:lnTo>
                      <a:pt x="162" y="151"/>
                    </a:lnTo>
                    <a:close/>
                    <a:moveTo>
                      <a:pt x="153" y="21"/>
                    </a:moveTo>
                    <a:lnTo>
                      <a:pt x="155" y="21"/>
                    </a:lnTo>
                    <a:lnTo>
                      <a:pt x="153" y="21"/>
                    </a:lnTo>
                    <a:close/>
                    <a:moveTo>
                      <a:pt x="193" y="153"/>
                    </a:moveTo>
                    <a:lnTo>
                      <a:pt x="195" y="153"/>
                    </a:lnTo>
                    <a:lnTo>
                      <a:pt x="193" y="153"/>
                    </a:lnTo>
                    <a:close/>
                    <a:moveTo>
                      <a:pt x="172" y="118"/>
                    </a:moveTo>
                    <a:lnTo>
                      <a:pt x="174" y="118"/>
                    </a:lnTo>
                    <a:lnTo>
                      <a:pt x="172" y="118"/>
                    </a:lnTo>
                    <a:close/>
                    <a:moveTo>
                      <a:pt x="111" y="13"/>
                    </a:moveTo>
                    <a:lnTo>
                      <a:pt x="111" y="15"/>
                    </a:lnTo>
                    <a:lnTo>
                      <a:pt x="111" y="13"/>
                    </a:lnTo>
                    <a:close/>
                    <a:moveTo>
                      <a:pt x="157" y="27"/>
                    </a:moveTo>
                    <a:lnTo>
                      <a:pt x="158" y="27"/>
                    </a:lnTo>
                    <a:lnTo>
                      <a:pt x="157" y="27"/>
                    </a:lnTo>
                    <a:close/>
                    <a:moveTo>
                      <a:pt x="153" y="19"/>
                    </a:moveTo>
                    <a:lnTo>
                      <a:pt x="155" y="19"/>
                    </a:lnTo>
                    <a:lnTo>
                      <a:pt x="153" y="19"/>
                    </a:lnTo>
                    <a:close/>
                    <a:moveTo>
                      <a:pt x="151" y="151"/>
                    </a:moveTo>
                    <a:lnTo>
                      <a:pt x="153" y="151"/>
                    </a:lnTo>
                    <a:lnTo>
                      <a:pt x="153" y="153"/>
                    </a:lnTo>
                    <a:lnTo>
                      <a:pt x="151" y="153"/>
                    </a:lnTo>
                    <a:lnTo>
                      <a:pt x="151" y="151"/>
                    </a:lnTo>
                    <a:close/>
                    <a:moveTo>
                      <a:pt x="189" y="157"/>
                    </a:moveTo>
                    <a:lnTo>
                      <a:pt x="189" y="158"/>
                    </a:lnTo>
                    <a:lnTo>
                      <a:pt x="189" y="157"/>
                    </a:lnTo>
                    <a:close/>
                    <a:moveTo>
                      <a:pt x="38" y="115"/>
                    </a:moveTo>
                    <a:lnTo>
                      <a:pt x="40" y="115"/>
                    </a:lnTo>
                    <a:lnTo>
                      <a:pt x="38" y="115"/>
                    </a:lnTo>
                    <a:close/>
                    <a:moveTo>
                      <a:pt x="218" y="65"/>
                    </a:moveTo>
                    <a:lnTo>
                      <a:pt x="219" y="65"/>
                    </a:lnTo>
                    <a:lnTo>
                      <a:pt x="218" y="65"/>
                    </a:lnTo>
                    <a:close/>
                    <a:moveTo>
                      <a:pt x="101" y="10"/>
                    </a:moveTo>
                    <a:lnTo>
                      <a:pt x="103" y="10"/>
                    </a:lnTo>
                    <a:lnTo>
                      <a:pt x="103" y="12"/>
                    </a:lnTo>
                    <a:lnTo>
                      <a:pt x="101" y="12"/>
                    </a:lnTo>
                    <a:lnTo>
                      <a:pt x="101" y="10"/>
                    </a:lnTo>
                    <a:close/>
                    <a:moveTo>
                      <a:pt x="155" y="143"/>
                    </a:moveTo>
                    <a:lnTo>
                      <a:pt x="157" y="143"/>
                    </a:lnTo>
                    <a:lnTo>
                      <a:pt x="155" y="143"/>
                    </a:lnTo>
                    <a:close/>
                    <a:moveTo>
                      <a:pt x="52" y="99"/>
                    </a:moveTo>
                    <a:lnTo>
                      <a:pt x="52" y="101"/>
                    </a:lnTo>
                    <a:lnTo>
                      <a:pt x="52" y="99"/>
                    </a:lnTo>
                    <a:close/>
                    <a:moveTo>
                      <a:pt x="151" y="132"/>
                    </a:moveTo>
                    <a:lnTo>
                      <a:pt x="153" y="132"/>
                    </a:lnTo>
                    <a:lnTo>
                      <a:pt x="151" y="132"/>
                    </a:lnTo>
                    <a:close/>
                    <a:moveTo>
                      <a:pt x="139" y="78"/>
                    </a:moveTo>
                    <a:lnTo>
                      <a:pt x="139" y="80"/>
                    </a:lnTo>
                    <a:lnTo>
                      <a:pt x="139" y="78"/>
                    </a:lnTo>
                    <a:close/>
                    <a:moveTo>
                      <a:pt x="130" y="78"/>
                    </a:moveTo>
                    <a:lnTo>
                      <a:pt x="132" y="78"/>
                    </a:lnTo>
                    <a:lnTo>
                      <a:pt x="130" y="78"/>
                    </a:lnTo>
                    <a:close/>
                    <a:moveTo>
                      <a:pt x="160" y="130"/>
                    </a:moveTo>
                    <a:lnTo>
                      <a:pt x="162" y="130"/>
                    </a:lnTo>
                    <a:lnTo>
                      <a:pt x="162" y="132"/>
                    </a:lnTo>
                    <a:lnTo>
                      <a:pt x="160" y="132"/>
                    </a:lnTo>
                    <a:lnTo>
                      <a:pt x="160" y="130"/>
                    </a:lnTo>
                    <a:close/>
                    <a:moveTo>
                      <a:pt x="191" y="54"/>
                    </a:moveTo>
                    <a:lnTo>
                      <a:pt x="191" y="55"/>
                    </a:lnTo>
                    <a:lnTo>
                      <a:pt x="191" y="54"/>
                    </a:lnTo>
                    <a:close/>
                    <a:moveTo>
                      <a:pt x="55" y="99"/>
                    </a:moveTo>
                    <a:lnTo>
                      <a:pt x="57" y="99"/>
                    </a:lnTo>
                    <a:lnTo>
                      <a:pt x="55" y="99"/>
                    </a:lnTo>
                    <a:close/>
                    <a:moveTo>
                      <a:pt x="55" y="99"/>
                    </a:moveTo>
                    <a:lnTo>
                      <a:pt x="57" y="99"/>
                    </a:lnTo>
                    <a:lnTo>
                      <a:pt x="55" y="99"/>
                    </a:lnTo>
                    <a:close/>
                    <a:moveTo>
                      <a:pt x="212" y="50"/>
                    </a:moveTo>
                    <a:lnTo>
                      <a:pt x="212" y="52"/>
                    </a:lnTo>
                    <a:lnTo>
                      <a:pt x="212" y="50"/>
                    </a:lnTo>
                    <a:close/>
                    <a:moveTo>
                      <a:pt x="92" y="10"/>
                    </a:moveTo>
                    <a:lnTo>
                      <a:pt x="92" y="12"/>
                    </a:lnTo>
                    <a:lnTo>
                      <a:pt x="92" y="10"/>
                    </a:lnTo>
                    <a:close/>
                    <a:moveTo>
                      <a:pt x="95" y="10"/>
                    </a:moveTo>
                    <a:lnTo>
                      <a:pt x="97" y="10"/>
                    </a:lnTo>
                    <a:lnTo>
                      <a:pt x="95" y="10"/>
                    </a:lnTo>
                    <a:close/>
                    <a:moveTo>
                      <a:pt x="42" y="33"/>
                    </a:moveTo>
                    <a:lnTo>
                      <a:pt x="42" y="34"/>
                    </a:lnTo>
                    <a:lnTo>
                      <a:pt x="42" y="33"/>
                    </a:lnTo>
                    <a:close/>
                    <a:moveTo>
                      <a:pt x="54" y="99"/>
                    </a:moveTo>
                    <a:lnTo>
                      <a:pt x="55" y="99"/>
                    </a:lnTo>
                    <a:lnTo>
                      <a:pt x="54" y="99"/>
                    </a:lnTo>
                    <a:close/>
                    <a:moveTo>
                      <a:pt x="185" y="124"/>
                    </a:moveTo>
                    <a:lnTo>
                      <a:pt x="185" y="126"/>
                    </a:lnTo>
                    <a:lnTo>
                      <a:pt x="185" y="124"/>
                    </a:lnTo>
                    <a:close/>
                    <a:moveTo>
                      <a:pt x="160" y="116"/>
                    </a:moveTo>
                    <a:lnTo>
                      <a:pt x="160" y="118"/>
                    </a:lnTo>
                    <a:lnTo>
                      <a:pt x="160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6" name="Freeform 172">
                <a:extLst>
                  <a:ext uri="{FF2B5EF4-FFF2-40B4-BE49-F238E27FC236}">
                    <a16:creationId xmlns:a16="http://schemas.microsoft.com/office/drawing/2014/main" id="{14291936-615C-1877-0FF9-8BEE1A5AD1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192515" y="-1409359"/>
                <a:ext cx="135500" cy="86819"/>
              </a:xfrm>
              <a:custGeom>
                <a:avLst/>
                <a:gdLst>
                  <a:gd name="T0" fmla="*/ 54 w 86"/>
                  <a:gd name="T1" fmla="*/ 48 h 55"/>
                  <a:gd name="T2" fmla="*/ 52 w 86"/>
                  <a:gd name="T3" fmla="*/ 49 h 55"/>
                  <a:gd name="T4" fmla="*/ 50 w 86"/>
                  <a:gd name="T5" fmla="*/ 48 h 55"/>
                  <a:gd name="T6" fmla="*/ 44 w 86"/>
                  <a:gd name="T7" fmla="*/ 48 h 55"/>
                  <a:gd name="T8" fmla="*/ 44 w 86"/>
                  <a:gd name="T9" fmla="*/ 48 h 55"/>
                  <a:gd name="T10" fmla="*/ 46 w 86"/>
                  <a:gd name="T11" fmla="*/ 46 h 55"/>
                  <a:gd name="T12" fmla="*/ 42 w 86"/>
                  <a:gd name="T13" fmla="*/ 46 h 55"/>
                  <a:gd name="T14" fmla="*/ 41 w 86"/>
                  <a:gd name="T15" fmla="*/ 44 h 55"/>
                  <a:gd name="T16" fmla="*/ 37 w 86"/>
                  <a:gd name="T17" fmla="*/ 42 h 55"/>
                  <a:gd name="T18" fmla="*/ 35 w 86"/>
                  <a:gd name="T19" fmla="*/ 40 h 55"/>
                  <a:gd name="T20" fmla="*/ 33 w 86"/>
                  <a:gd name="T21" fmla="*/ 38 h 55"/>
                  <a:gd name="T22" fmla="*/ 29 w 86"/>
                  <a:gd name="T23" fmla="*/ 36 h 55"/>
                  <a:gd name="T24" fmla="*/ 25 w 86"/>
                  <a:gd name="T25" fmla="*/ 32 h 55"/>
                  <a:gd name="T26" fmla="*/ 23 w 86"/>
                  <a:gd name="T27" fmla="*/ 30 h 55"/>
                  <a:gd name="T28" fmla="*/ 20 w 86"/>
                  <a:gd name="T29" fmla="*/ 28 h 55"/>
                  <a:gd name="T30" fmla="*/ 16 w 86"/>
                  <a:gd name="T31" fmla="*/ 25 h 55"/>
                  <a:gd name="T32" fmla="*/ 12 w 86"/>
                  <a:gd name="T33" fmla="*/ 21 h 55"/>
                  <a:gd name="T34" fmla="*/ 12 w 86"/>
                  <a:gd name="T35" fmla="*/ 17 h 55"/>
                  <a:gd name="T36" fmla="*/ 10 w 86"/>
                  <a:gd name="T37" fmla="*/ 15 h 55"/>
                  <a:gd name="T38" fmla="*/ 8 w 86"/>
                  <a:gd name="T39" fmla="*/ 11 h 55"/>
                  <a:gd name="T40" fmla="*/ 6 w 86"/>
                  <a:gd name="T41" fmla="*/ 9 h 55"/>
                  <a:gd name="T42" fmla="*/ 12 w 86"/>
                  <a:gd name="T43" fmla="*/ 13 h 55"/>
                  <a:gd name="T44" fmla="*/ 16 w 86"/>
                  <a:gd name="T45" fmla="*/ 15 h 55"/>
                  <a:gd name="T46" fmla="*/ 21 w 86"/>
                  <a:gd name="T47" fmla="*/ 21 h 55"/>
                  <a:gd name="T48" fmla="*/ 27 w 86"/>
                  <a:gd name="T49" fmla="*/ 23 h 55"/>
                  <a:gd name="T50" fmla="*/ 31 w 86"/>
                  <a:gd name="T51" fmla="*/ 27 h 55"/>
                  <a:gd name="T52" fmla="*/ 33 w 86"/>
                  <a:gd name="T53" fmla="*/ 28 h 55"/>
                  <a:gd name="T54" fmla="*/ 37 w 86"/>
                  <a:gd name="T55" fmla="*/ 32 h 55"/>
                  <a:gd name="T56" fmla="*/ 39 w 86"/>
                  <a:gd name="T57" fmla="*/ 34 h 55"/>
                  <a:gd name="T58" fmla="*/ 39 w 86"/>
                  <a:gd name="T59" fmla="*/ 34 h 55"/>
                  <a:gd name="T60" fmla="*/ 44 w 86"/>
                  <a:gd name="T61" fmla="*/ 38 h 55"/>
                  <a:gd name="T62" fmla="*/ 46 w 86"/>
                  <a:gd name="T63" fmla="*/ 38 h 55"/>
                  <a:gd name="T64" fmla="*/ 50 w 86"/>
                  <a:gd name="T65" fmla="*/ 42 h 55"/>
                  <a:gd name="T66" fmla="*/ 54 w 86"/>
                  <a:gd name="T67" fmla="*/ 44 h 55"/>
                  <a:gd name="T68" fmla="*/ 61 w 86"/>
                  <a:gd name="T69" fmla="*/ 28 h 55"/>
                  <a:gd name="T70" fmla="*/ 56 w 86"/>
                  <a:gd name="T71" fmla="*/ 25 h 55"/>
                  <a:gd name="T72" fmla="*/ 56 w 86"/>
                  <a:gd name="T73" fmla="*/ 21 h 55"/>
                  <a:gd name="T74" fmla="*/ 60 w 86"/>
                  <a:gd name="T75" fmla="*/ 21 h 55"/>
                  <a:gd name="T76" fmla="*/ 60 w 86"/>
                  <a:gd name="T77" fmla="*/ 27 h 55"/>
                  <a:gd name="T78" fmla="*/ 73 w 86"/>
                  <a:gd name="T79" fmla="*/ 36 h 55"/>
                  <a:gd name="T80" fmla="*/ 69 w 86"/>
                  <a:gd name="T81" fmla="*/ 34 h 55"/>
                  <a:gd name="T82" fmla="*/ 69 w 86"/>
                  <a:gd name="T83" fmla="*/ 30 h 55"/>
                  <a:gd name="T84" fmla="*/ 73 w 86"/>
                  <a:gd name="T85" fmla="*/ 32 h 55"/>
                  <a:gd name="T86" fmla="*/ 61 w 86"/>
                  <a:gd name="T87" fmla="*/ 53 h 55"/>
                  <a:gd name="T88" fmla="*/ 48 w 86"/>
                  <a:gd name="T89" fmla="*/ 21 h 55"/>
                  <a:gd name="T90" fmla="*/ 48 w 86"/>
                  <a:gd name="T91" fmla="*/ 15 h 55"/>
                  <a:gd name="T92" fmla="*/ 2 w 86"/>
                  <a:gd name="T93" fmla="*/ 6 h 55"/>
                  <a:gd name="T94" fmla="*/ 52 w 86"/>
                  <a:gd name="T95" fmla="*/ 49 h 55"/>
                  <a:gd name="T96" fmla="*/ 10 w 86"/>
                  <a:gd name="T97" fmla="*/ 9 h 55"/>
                  <a:gd name="T98" fmla="*/ 6 w 86"/>
                  <a:gd name="T99" fmla="*/ 9 h 55"/>
                  <a:gd name="T100" fmla="*/ 2 w 86"/>
                  <a:gd name="T101" fmla="*/ 9 h 55"/>
                  <a:gd name="T102" fmla="*/ 61 w 86"/>
                  <a:gd name="T103" fmla="*/ 55 h 55"/>
                  <a:gd name="T104" fmla="*/ 41 w 86"/>
                  <a:gd name="T105" fmla="*/ 44 h 55"/>
                  <a:gd name="T106" fmla="*/ 0 w 86"/>
                  <a:gd name="T107" fmla="*/ 2 h 55"/>
                  <a:gd name="T108" fmla="*/ 67 w 86"/>
                  <a:gd name="T109" fmla="*/ 27 h 55"/>
                  <a:gd name="T110" fmla="*/ 12 w 86"/>
                  <a:gd name="T111" fmla="*/ 11 h 55"/>
                  <a:gd name="T112" fmla="*/ 23 w 86"/>
                  <a:gd name="T113" fmla="*/ 30 h 55"/>
                  <a:gd name="T114" fmla="*/ 46 w 86"/>
                  <a:gd name="T115" fmla="*/ 15 h 55"/>
                  <a:gd name="T116" fmla="*/ 39 w 86"/>
                  <a:gd name="T117" fmla="*/ 42 h 55"/>
                  <a:gd name="T118" fmla="*/ 65 w 86"/>
                  <a:gd name="T119" fmla="*/ 30 h 55"/>
                  <a:gd name="T120" fmla="*/ 54 w 86"/>
                  <a:gd name="T121" fmla="*/ 48 h 55"/>
                  <a:gd name="T122" fmla="*/ 23 w 86"/>
                  <a:gd name="T123" fmla="*/ 3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6" h="55">
                    <a:moveTo>
                      <a:pt x="56" y="48"/>
                    </a:moveTo>
                    <a:lnTo>
                      <a:pt x="54" y="48"/>
                    </a:lnTo>
                    <a:lnTo>
                      <a:pt x="54" y="49"/>
                    </a:lnTo>
                    <a:lnTo>
                      <a:pt x="54" y="48"/>
                    </a:lnTo>
                    <a:lnTo>
                      <a:pt x="54" y="49"/>
                    </a:lnTo>
                    <a:lnTo>
                      <a:pt x="52" y="49"/>
                    </a:lnTo>
                    <a:lnTo>
                      <a:pt x="54" y="49"/>
                    </a:lnTo>
                    <a:lnTo>
                      <a:pt x="52" y="49"/>
                    </a:lnTo>
                    <a:lnTo>
                      <a:pt x="52" y="48"/>
                    </a:lnTo>
                    <a:lnTo>
                      <a:pt x="52" y="49"/>
                    </a:lnTo>
                    <a:lnTo>
                      <a:pt x="50" y="49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2" y="44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39" y="40"/>
                    </a:lnTo>
                    <a:lnTo>
                      <a:pt x="39" y="42"/>
                    </a:lnTo>
                    <a:lnTo>
                      <a:pt x="37" y="42"/>
                    </a:lnTo>
                    <a:lnTo>
                      <a:pt x="37" y="40"/>
                    </a:lnTo>
                    <a:lnTo>
                      <a:pt x="35" y="40"/>
                    </a:lnTo>
                    <a:lnTo>
                      <a:pt x="37" y="40"/>
                    </a:lnTo>
                    <a:lnTo>
                      <a:pt x="35" y="40"/>
                    </a:lnTo>
                    <a:lnTo>
                      <a:pt x="35" y="38"/>
                    </a:lnTo>
                    <a:lnTo>
                      <a:pt x="35" y="40"/>
                    </a:lnTo>
                    <a:lnTo>
                      <a:pt x="35" y="38"/>
                    </a:lnTo>
                    <a:lnTo>
                      <a:pt x="33" y="38"/>
                    </a:lnTo>
                    <a:lnTo>
                      <a:pt x="31" y="38"/>
                    </a:lnTo>
                    <a:lnTo>
                      <a:pt x="29" y="36"/>
                    </a:lnTo>
                    <a:lnTo>
                      <a:pt x="31" y="36"/>
                    </a:lnTo>
                    <a:lnTo>
                      <a:pt x="29" y="36"/>
                    </a:lnTo>
                    <a:lnTo>
                      <a:pt x="31" y="36"/>
                    </a:lnTo>
                    <a:lnTo>
                      <a:pt x="29" y="36"/>
                    </a:lnTo>
                    <a:lnTo>
                      <a:pt x="27" y="34"/>
                    </a:lnTo>
                    <a:lnTo>
                      <a:pt x="25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18" y="27"/>
                    </a:lnTo>
                    <a:lnTo>
                      <a:pt x="18" y="25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2" y="21"/>
                    </a:lnTo>
                    <a:lnTo>
                      <a:pt x="12" y="19"/>
                    </a:lnTo>
                    <a:lnTo>
                      <a:pt x="12" y="17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8" y="15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2" y="13"/>
                    </a:lnTo>
                    <a:lnTo>
                      <a:pt x="16" y="13"/>
                    </a:lnTo>
                    <a:lnTo>
                      <a:pt x="16" y="15"/>
                    </a:lnTo>
                    <a:lnTo>
                      <a:pt x="20" y="17"/>
                    </a:lnTo>
                    <a:lnTo>
                      <a:pt x="20" y="19"/>
                    </a:lnTo>
                    <a:lnTo>
                      <a:pt x="21" y="19"/>
                    </a:lnTo>
                    <a:lnTo>
                      <a:pt x="21" y="21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1" y="28"/>
                    </a:lnTo>
                    <a:lnTo>
                      <a:pt x="33" y="28"/>
                    </a:lnTo>
                    <a:lnTo>
                      <a:pt x="31" y="28"/>
                    </a:lnTo>
                    <a:lnTo>
                      <a:pt x="33" y="28"/>
                    </a:lnTo>
                    <a:lnTo>
                      <a:pt x="33" y="30"/>
                    </a:lnTo>
                    <a:lnTo>
                      <a:pt x="35" y="30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5" y="32"/>
                    </a:lnTo>
                    <a:lnTo>
                      <a:pt x="37" y="32"/>
                    </a:lnTo>
                    <a:lnTo>
                      <a:pt x="37" y="34"/>
                    </a:lnTo>
                    <a:lnTo>
                      <a:pt x="39" y="34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41" y="34"/>
                    </a:lnTo>
                    <a:lnTo>
                      <a:pt x="39" y="34"/>
                    </a:lnTo>
                    <a:lnTo>
                      <a:pt x="41" y="34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6" y="38"/>
                    </a:lnTo>
                    <a:lnTo>
                      <a:pt x="44" y="38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8" y="40"/>
                    </a:lnTo>
                    <a:lnTo>
                      <a:pt x="48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50" y="42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6" y="48"/>
                    </a:lnTo>
                    <a:close/>
                    <a:moveTo>
                      <a:pt x="61" y="27"/>
                    </a:moveTo>
                    <a:lnTo>
                      <a:pt x="61" y="28"/>
                    </a:lnTo>
                    <a:lnTo>
                      <a:pt x="60" y="28"/>
                    </a:lnTo>
                    <a:lnTo>
                      <a:pt x="58" y="27"/>
                    </a:lnTo>
                    <a:lnTo>
                      <a:pt x="56" y="27"/>
                    </a:lnTo>
                    <a:lnTo>
                      <a:pt x="56" y="25"/>
                    </a:lnTo>
                    <a:lnTo>
                      <a:pt x="54" y="25"/>
                    </a:lnTo>
                    <a:lnTo>
                      <a:pt x="56" y="25"/>
                    </a:lnTo>
                    <a:lnTo>
                      <a:pt x="58" y="23"/>
                    </a:lnTo>
                    <a:lnTo>
                      <a:pt x="56" y="21"/>
                    </a:lnTo>
                    <a:lnTo>
                      <a:pt x="56" y="23"/>
                    </a:lnTo>
                    <a:lnTo>
                      <a:pt x="56" y="21"/>
                    </a:lnTo>
                    <a:lnTo>
                      <a:pt x="58" y="21"/>
                    </a:lnTo>
                    <a:lnTo>
                      <a:pt x="60" y="21"/>
                    </a:lnTo>
                    <a:lnTo>
                      <a:pt x="60" y="23"/>
                    </a:lnTo>
                    <a:lnTo>
                      <a:pt x="58" y="25"/>
                    </a:lnTo>
                    <a:lnTo>
                      <a:pt x="60" y="25"/>
                    </a:lnTo>
                    <a:lnTo>
                      <a:pt x="60" y="27"/>
                    </a:lnTo>
                    <a:lnTo>
                      <a:pt x="61" y="27"/>
                    </a:lnTo>
                    <a:close/>
                    <a:moveTo>
                      <a:pt x="73" y="32"/>
                    </a:moveTo>
                    <a:lnTo>
                      <a:pt x="73" y="34"/>
                    </a:lnTo>
                    <a:lnTo>
                      <a:pt x="73" y="36"/>
                    </a:lnTo>
                    <a:lnTo>
                      <a:pt x="71" y="36"/>
                    </a:lnTo>
                    <a:lnTo>
                      <a:pt x="69" y="36"/>
                    </a:lnTo>
                    <a:lnTo>
                      <a:pt x="67" y="36"/>
                    </a:lnTo>
                    <a:lnTo>
                      <a:pt x="69" y="34"/>
                    </a:lnTo>
                    <a:lnTo>
                      <a:pt x="67" y="34"/>
                    </a:lnTo>
                    <a:lnTo>
                      <a:pt x="67" y="32"/>
                    </a:lnTo>
                    <a:lnTo>
                      <a:pt x="69" y="32"/>
                    </a:lnTo>
                    <a:lnTo>
                      <a:pt x="69" y="30"/>
                    </a:lnTo>
                    <a:lnTo>
                      <a:pt x="69" y="32"/>
                    </a:lnTo>
                    <a:lnTo>
                      <a:pt x="71" y="32"/>
                    </a:lnTo>
                    <a:lnTo>
                      <a:pt x="71" y="34"/>
                    </a:lnTo>
                    <a:lnTo>
                      <a:pt x="73" y="32"/>
                    </a:lnTo>
                    <a:close/>
                    <a:moveTo>
                      <a:pt x="61" y="51"/>
                    </a:moveTo>
                    <a:lnTo>
                      <a:pt x="63" y="51"/>
                    </a:lnTo>
                    <a:lnTo>
                      <a:pt x="63" y="53"/>
                    </a:lnTo>
                    <a:lnTo>
                      <a:pt x="61" y="53"/>
                    </a:lnTo>
                    <a:lnTo>
                      <a:pt x="61" y="51"/>
                    </a:lnTo>
                    <a:close/>
                    <a:moveTo>
                      <a:pt x="48" y="17"/>
                    </a:moveTo>
                    <a:lnTo>
                      <a:pt x="48" y="19"/>
                    </a:lnTo>
                    <a:lnTo>
                      <a:pt x="48" y="21"/>
                    </a:lnTo>
                    <a:lnTo>
                      <a:pt x="46" y="21"/>
                    </a:lnTo>
                    <a:lnTo>
                      <a:pt x="46" y="19"/>
                    </a:lnTo>
                    <a:lnTo>
                      <a:pt x="48" y="17"/>
                    </a:lnTo>
                    <a:lnTo>
                      <a:pt x="48" y="15"/>
                    </a:lnTo>
                    <a:lnTo>
                      <a:pt x="48" y="17"/>
                    </a:lnTo>
                    <a:close/>
                    <a:moveTo>
                      <a:pt x="0" y="2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  <a:moveTo>
                      <a:pt x="50" y="49"/>
                    </a:moveTo>
                    <a:lnTo>
                      <a:pt x="52" y="49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50" y="49"/>
                    </a:lnTo>
                    <a:close/>
                    <a:moveTo>
                      <a:pt x="10" y="9"/>
                    </a:moveTo>
                    <a:lnTo>
                      <a:pt x="10" y="11"/>
                    </a:lnTo>
                    <a:lnTo>
                      <a:pt x="10" y="9"/>
                    </a:lnTo>
                    <a:close/>
                    <a:moveTo>
                      <a:pt x="6" y="7"/>
                    </a:moveTo>
                    <a:lnTo>
                      <a:pt x="6" y="9"/>
                    </a:lnTo>
                    <a:lnTo>
                      <a:pt x="6" y="7"/>
                    </a:lnTo>
                    <a:close/>
                    <a:moveTo>
                      <a:pt x="2" y="9"/>
                    </a:moveTo>
                    <a:lnTo>
                      <a:pt x="4" y="9"/>
                    </a:lnTo>
                    <a:lnTo>
                      <a:pt x="2" y="9"/>
                    </a:lnTo>
                    <a:close/>
                    <a:moveTo>
                      <a:pt x="61" y="53"/>
                    </a:moveTo>
                    <a:lnTo>
                      <a:pt x="63" y="53"/>
                    </a:lnTo>
                    <a:lnTo>
                      <a:pt x="63" y="55"/>
                    </a:lnTo>
                    <a:lnTo>
                      <a:pt x="61" y="55"/>
                    </a:lnTo>
                    <a:lnTo>
                      <a:pt x="61" y="53"/>
                    </a:lnTo>
                    <a:close/>
                    <a:moveTo>
                      <a:pt x="39" y="42"/>
                    </a:moveTo>
                    <a:lnTo>
                      <a:pt x="41" y="42"/>
                    </a:lnTo>
                    <a:lnTo>
                      <a:pt x="41" y="44"/>
                    </a:lnTo>
                    <a:lnTo>
                      <a:pt x="39" y="44"/>
                    </a:lnTo>
                    <a:lnTo>
                      <a:pt x="39" y="4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67" y="27"/>
                    </a:moveTo>
                    <a:lnTo>
                      <a:pt x="67" y="28"/>
                    </a:lnTo>
                    <a:lnTo>
                      <a:pt x="67" y="27"/>
                    </a:lnTo>
                    <a:close/>
                    <a:moveTo>
                      <a:pt x="44" y="21"/>
                    </a:moveTo>
                    <a:lnTo>
                      <a:pt x="46" y="21"/>
                    </a:lnTo>
                    <a:lnTo>
                      <a:pt x="44" y="21"/>
                    </a:lnTo>
                    <a:close/>
                    <a:moveTo>
                      <a:pt x="12" y="11"/>
                    </a:moveTo>
                    <a:lnTo>
                      <a:pt x="12" y="13"/>
                    </a:lnTo>
                    <a:lnTo>
                      <a:pt x="12" y="11"/>
                    </a:lnTo>
                    <a:close/>
                    <a:moveTo>
                      <a:pt x="21" y="30"/>
                    </a:moveTo>
                    <a:lnTo>
                      <a:pt x="23" y="30"/>
                    </a:lnTo>
                    <a:lnTo>
                      <a:pt x="23" y="32"/>
                    </a:lnTo>
                    <a:lnTo>
                      <a:pt x="21" y="32"/>
                    </a:lnTo>
                    <a:lnTo>
                      <a:pt x="21" y="30"/>
                    </a:lnTo>
                    <a:close/>
                    <a:moveTo>
                      <a:pt x="46" y="15"/>
                    </a:moveTo>
                    <a:lnTo>
                      <a:pt x="48" y="15"/>
                    </a:lnTo>
                    <a:lnTo>
                      <a:pt x="46" y="15"/>
                    </a:lnTo>
                    <a:close/>
                    <a:moveTo>
                      <a:pt x="37" y="42"/>
                    </a:moveTo>
                    <a:lnTo>
                      <a:pt x="39" y="42"/>
                    </a:lnTo>
                    <a:lnTo>
                      <a:pt x="37" y="42"/>
                    </a:lnTo>
                    <a:close/>
                    <a:moveTo>
                      <a:pt x="65" y="30"/>
                    </a:moveTo>
                    <a:lnTo>
                      <a:pt x="65" y="32"/>
                    </a:lnTo>
                    <a:lnTo>
                      <a:pt x="65" y="30"/>
                    </a:lnTo>
                    <a:close/>
                    <a:moveTo>
                      <a:pt x="84" y="53"/>
                    </a:moveTo>
                    <a:lnTo>
                      <a:pt x="86" y="53"/>
                    </a:lnTo>
                    <a:lnTo>
                      <a:pt x="84" y="53"/>
                    </a:lnTo>
                    <a:close/>
                    <a:moveTo>
                      <a:pt x="54" y="48"/>
                    </a:moveTo>
                    <a:lnTo>
                      <a:pt x="56" y="48"/>
                    </a:lnTo>
                    <a:lnTo>
                      <a:pt x="54" y="48"/>
                    </a:lnTo>
                    <a:close/>
                    <a:moveTo>
                      <a:pt x="23" y="30"/>
                    </a:moveTo>
                    <a:lnTo>
                      <a:pt x="23" y="32"/>
                    </a:lnTo>
                    <a:lnTo>
                      <a:pt x="23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7" name="Freeform 173">
                <a:extLst>
                  <a:ext uri="{FF2B5EF4-FFF2-40B4-BE49-F238E27FC236}">
                    <a16:creationId xmlns:a16="http://schemas.microsoft.com/office/drawing/2014/main" id="{A55C5395-300F-6E08-A6DB-FAEEA7B6B4E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264992" y="-1578263"/>
                <a:ext cx="85082" cy="189424"/>
              </a:xfrm>
              <a:custGeom>
                <a:avLst/>
                <a:gdLst>
                  <a:gd name="T0" fmla="*/ 6 w 54"/>
                  <a:gd name="T1" fmla="*/ 42 h 120"/>
                  <a:gd name="T2" fmla="*/ 2 w 54"/>
                  <a:gd name="T3" fmla="*/ 38 h 120"/>
                  <a:gd name="T4" fmla="*/ 0 w 54"/>
                  <a:gd name="T5" fmla="*/ 29 h 120"/>
                  <a:gd name="T6" fmla="*/ 6 w 54"/>
                  <a:gd name="T7" fmla="*/ 34 h 120"/>
                  <a:gd name="T8" fmla="*/ 10 w 54"/>
                  <a:gd name="T9" fmla="*/ 32 h 120"/>
                  <a:gd name="T10" fmla="*/ 10 w 54"/>
                  <a:gd name="T11" fmla="*/ 36 h 120"/>
                  <a:gd name="T12" fmla="*/ 21 w 54"/>
                  <a:gd name="T13" fmla="*/ 55 h 120"/>
                  <a:gd name="T14" fmla="*/ 15 w 54"/>
                  <a:gd name="T15" fmla="*/ 57 h 120"/>
                  <a:gd name="T16" fmla="*/ 14 w 54"/>
                  <a:gd name="T17" fmla="*/ 53 h 120"/>
                  <a:gd name="T18" fmla="*/ 14 w 54"/>
                  <a:gd name="T19" fmla="*/ 51 h 120"/>
                  <a:gd name="T20" fmla="*/ 12 w 54"/>
                  <a:gd name="T21" fmla="*/ 48 h 120"/>
                  <a:gd name="T22" fmla="*/ 15 w 54"/>
                  <a:gd name="T23" fmla="*/ 50 h 120"/>
                  <a:gd name="T24" fmla="*/ 17 w 54"/>
                  <a:gd name="T25" fmla="*/ 51 h 120"/>
                  <a:gd name="T26" fmla="*/ 21 w 54"/>
                  <a:gd name="T27" fmla="*/ 55 h 120"/>
                  <a:gd name="T28" fmla="*/ 44 w 54"/>
                  <a:gd name="T29" fmla="*/ 99 h 120"/>
                  <a:gd name="T30" fmla="*/ 40 w 54"/>
                  <a:gd name="T31" fmla="*/ 92 h 120"/>
                  <a:gd name="T32" fmla="*/ 44 w 54"/>
                  <a:gd name="T33" fmla="*/ 95 h 120"/>
                  <a:gd name="T34" fmla="*/ 33 w 54"/>
                  <a:gd name="T35" fmla="*/ 78 h 120"/>
                  <a:gd name="T36" fmla="*/ 29 w 54"/>
                  <a:gd name="T37" fmla="*/ 78 h 120"/>
                  <a:gd name="T38" fmla="*/ 27 w 54"/>
                  <a:gd name="T39" fmla="*/ 78 h 120"/>
                  <a:gd name="T40" fmla="*/ 33 w 54"/>
                  <a:gd name="T41" fmla="*/ 74 h 120"/>
                  <a:gd name="T42" fmla="*/ 27 w 54"/>
                  <a:gd name="T43" fmla="*/ 53 h 120"/>
                  <a:gd name="T44" fmla="*/ 25 w 54"/>
                  <a:gd name="T45" fmla="*/ 51 h 120"/>
                  <a:gd name="T46" fmla="*/ 29 w 54"/>
                  <a:gd name="T47" fmla="*/ 53 h 120"/>
                  <a:gd name="T48" fmla="*/ 44 w 54"/>
                  <a:gd name="T49" fmla="*/ 109 h 120"/>
                  <a:gd name="T50" fmla="*/ 46 w 54"/>
                  <a:gd name="T51" fmla="*/ 105 h 120"/>
                  <a:gd name="T52" fmla="*/ 27 w 54"/>
                  <a:gd name="T53" fmla="*/ 48 h 120"/>
                  <a:gd name="T54" fmla="*/ 27 w 54"/>
                  <a:gd name="T55" fmla="*/ 44 h 120"/>
                  <a:gd name="T56" fmla="*/ 27 w 54"/>
                  <a:gd name="T57" fmla="*/ 44 h 120"/>
                  <a:gd name="T58" fmla="*/ 33 w 54"/>
                  <a:gd name="T59" fmla="*/ 63 h 120"/>
                  <a:gd name="T60" fmla="*/ 27 w 54"/>
                  <a:gd name="T61" fmla="*/ 61 h 120"/>
                  <a:gd name="T62" fmla="*/ 29 w 54"/>
                  <a:gd name="T63" fmla="*/ 61 h 120"/>
                  <a:gd name="T64" fmla="*/ 23 w 54"/>
                  <a:gd name="T65" fmla="*/ 38 h 120"/>
                  <a:gd name="T66" fmla="*/ 21 w 54"/>
                  <a:gd name="T67" fmla="*/ 36 h 120"/>
                  <a:gd name="T68" fmla="*/ 15 w 54"/>
                  <a:gd name="T69" fmla="*/ 13 h 120"/>
                  <a:gd name="T70" fmla="*/ 14 w 54"/>
                  <a:gd name="T71" fmla="*/ 11 h 120"/>
                  <a:gd name="T72" fmla="*/ 17 w 54"/>
                  <a:gd name="T73" fmla="*/ 21 h 120"/>
                  <a:gd name="T74" fmla="*/ 27 w 54"/>
                  <a:gd name="T75" fmla="*/ 36 h 120"/>
                  <a:gd name="T76" fmla="*/ 25 w 54"/>
                  <a:gd name="T77" fmla="*/ 34 h 120"/>
                  <a:gd name="T78" fmla="*/ 10 w 54"/>
                  <a:gd name="T79" fmla="*/ 42 h 120"/>
                  <a:gd name="T80" fmla="*/ 10 w 54"/>
                  <a:gd name="T81" fmla="*/ 42 h 120"/>
                  <a:gd name="T82" fmla="*/ 52 w 54"/>
                  <a:gd name="T83" fmla="*/ 120 h 120"/>
                  <a:gd name="T84" fmla="*/ 12 w 54"/>
                  <a:gd name="T85" fmla="*/ 42 h 120"/>
                  <a:gd name="T86" fmla="*/ 2 w 54"/>
                  <a:gd name="T87" fmla="*/ 0 h 120"/>
                  <a:gd name="T88" fmla="*/ 33 w 54"/>
                  <a:gd name="T89" fmla="*/ 63 h 120"/>
                  <a:gd name="T90" fmla="*/ 33 w 54"/>
                  <a:gd name="T91" fmla="*/ 63 h 120"/>
                  <a:gd name="T92" fmla="*/ 17 w 54"/>
                  <a:gd name="T93" fmla="*/ 11 h 120"/>
                  <a:gd name="T94" fmla="*/ 31 w 54"/>
                  <a:gd name="T95" fmla="*/ 67 h 120"/>
                  <a:gd name="T96" fmla="*/ 29 w 54"/>
                  <a:gd name="T97" fmla="*/ 55 h 120"/>
                  <a:gd name="T98" fmla="*/ 2 w 54"/>
                  <a:gd name="T99" fmla="*/ 2 h 120"/>
                  <a:gd name="T100" fmla="*/ 31 w 54"/>
                  <a:gd name="T101" fmla="*/ 57 h 120"/>
                  <a:gd name="T102" fmla="*/ 29 w 54"/>
                  <a:gd name="T103" fmla="*/ 72 h 120"/>
                  <a:gd name="T104" fmla="*/ 27 w 54"/>
                  <a:gd name="T105" fmla="*/ 74 h 120"/>
                  <a:gd name="T106" fmla="*/ 14 w 54"/>
                  <a:gd name="T107" fmla="*/ 42 h 120"/>
                  <a:gd name="T108" fmla="*/ 2 w 54"/>
                  <a:gd name="T109" fmla="*/ 6 h 120"/>
                  <a:gd name="T110" fmla="*/ 12 w 54"/>
                  <a:gd name="T111" fmla="*/ 32 h 120"/>
                  <a:gd name="T112" fmla="*/ 12 w 54"/>
                  <a:gd name="T113" fmla="*/ 40 h 120"/>
                  <a:gd name="T114" fmla="*/ 15 w 54"/>
                  <a:gd name="T115" fmla="*/ 57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4" h="120">
                    <a:moveTo>
                      <a:pt x="12" y="40"/>
                    </a:moveTo>
                    <a:lnTo>
                      <a:pt x="10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4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2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1"/>
                    </a:lnTo>
                    <a:lnTo>
                      <a:pt x="10" y="31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40"/>
                    </a:lnTo>
                    <a:close/>
                    <a:moveTo>
                      <a:pt x="21" y="55"/>
                    </a:moveTo>
                    <a:lnTo>
                      <a:pt x="21" y="57"/>
                    </a:lnTo>
                    <a:lnTo>
                      <a:pt x="19" y="57"/>
                    </a:lnTo>
                    <a:lnTo>
                      <a:pt x="17" y="57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5" y="57"/>
                    </a:lnTo>
                    <a:lnTo>
                      <a:pt x="15" y="55"/>
                    </a:lnTo>
                    <a:lnTo>
                      <a:pt x="14" y="53"/>
                    </a:lnTo>
                    <a:lnTo>
                      <a:pt x="15" y="53"/>
                    </a:lnTo>
                    <a:lnTo>
                      <a:pt x="14" y="51"/>
                    </a:lnTo>
                    <a:lnTo>
                      <a:pt x="15" y="51"/>
                    </a:lnTo>
                    <a:lnTo>
                      <a:pt x="14" y="51"/>
                    </a:lnTo>
                    <a:lnTo>
                      <a:pt x="14" y="50"/>
                    </a:lnTo>
                    <a:lnTo>
                      <a:pt x="12" y="51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4" y="48"/>
                    </a:lnTo>
                    <a:lnTo>
                      <a:pt x="15" y="48"/>
                    </a:lnTo>
                    <a:lnTo>
                      <a:pt x="15" y="50"/>
                    </a:lnTo>
                    <a:lnTo>
                      <a:pt x="15" y="51"/>
                    </a:lnTo>
                    <a:lnTo>
                      <a:pt x="15" y="50"/>
                    </a:lnTo>
                    <a:lnTo>
                      <a:pt x="15" y="51"/>
                    </a:lnTo>
                    <a:lnTo>
                      <a:pt x="17" y="51"/>
                    </a:lnTo>
                    <a:lnTo>
                      <a:pt x="17" y="53"/>
                    </a:lnTo>
                    <a:lnTo>
                      <a:pt x="19" y="53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1" y="57"/>
                    </a:lnTo>
                    <a:lnTo>
                      <a:pt x="21" y="55"/>
                    </a:lnTo>
                    <a:close/>
                    <a:moveTo>
                      <a:pt x="46" y="97"/>
                    </a:moveTo>
                    <a:lnTo>
                      <a:pt x="44" y="99"/>
                    </a:lnTo>
                    <a:lnTo>
                      <a:pt x="40" y="97"/>
                    </a:lnTo>
                    <a:lnTo>
                      <a:pt x="40" y="95"/>
                    </a:lnTo>
                    <a:lnTo>
                      <a:pt x="40" y="93"/>
                    </a:lnTo>
                    <a:lnTo>
                      <a:pt x="40" y="92"/>
                    </a:lnTo>
                    <a:lnTo>
                      <a:pt x="42" y="92"/>
                    </a:lnTo>
                    <a:lnTo>
                      <a:pt x="42" y="93"/>
                    </a:lnTo>
                    <a:lnTo>
                      <a:pt x="44" y="93"/>
                    </a:lnTo>
                    <a:lnTo>
                      <a:pt x="44" y="95"/>
                    </a:lnTo>
                    <a:lnTo>
                      <a:pt x="46" y="95"/>
                    </a:lnTo>
                    <a:lnTo>
                      <a:pt x="46" y="97"/>
                    </a:lnTo>
                    <a:close/>
                    <a:moveTo>
                      <a:pt x="35" y="76"/>
                    </a:moveTo>
                    <a:lnTo>
                      <a:pt x="33" y="78"/>
                    </a:lnTo>
                    <a:lnTo>
                      <a:pt x="31" y="78"/>
                    </a:lnTo>
                    <a:lnTo>
                      <a:pt x="29" y="78"/>
                    </a:lnTo>
                    <a:lnTo>
                      <a:pt x="31" y="78"/>
                    </a:lnTo>
                    <a:lnTo>
                      <a:pt x="29" y="78"/>
                    </a:lnTo>
                    <a:lnTo>
                      <a:pt x="29" y="76"/>
                    </a:lnTo>
                    <a:lnTo>
                      <a:pt x="29" y="78"/>
                    </a:lnTo>
                    <a:lnTo>
                      <a:pt x="29" y="76"/>
                    </a:lnTo>
                    <a:lnTo>
                      <a:pt x="27" y="78"/>
                    </a:lnTo>
                    <a:lnTo>
                      <a:pt x="27" y="76"/>
                    </a:lnTo>
                    <a:lnTo>
                      <a:pt x="29" y="74"/>
                    </a:lnTo>
                    <a:lnTo>
                      <a:pt x="31" y="74"/>
                    </a:lnTo>
                    <a:lnTo>
                      <a:pt x="33" y="74"/>
                    </a:lnTo>
                    <a:lnTo>
                      <a:pt x="33" y="76"/>
                    </a:lnTo>
                    <a:lnTo>
                      <a:pt x="35" y="76"/>
                    </a:lnTo>
                    <a:close/>
                    <a:moveTo>
                      <a:pt x="29" y="53"/>
                    </a:moveTo>
                    <a:lnTo>
                      <a:pt x="27" y="53"/>
                    </a:lnTo>
                    <a:lnTo>
                      <a:pt x="27" y="55"/>
                    </a:lnTo>
                    <a:lnTo>
                      <a:pt x="23" y="53"/>
                    </a:lnTo>
                    <a:lnTo>
                      <a:pt x="23" y="51"/>
                    </a:lnTo>
                    <a:lnTo>
                      <a:pt x="25" y="51"/>
                    </a:lnTo>
                    <a:lnTo>
                      <a:pt x="27" y="51"/>
                    </a:lnTo>
                    <a:lnTo>
                      <a:pt x="27" y="50"/>
                    </a:lnTo>
                    <a:lnTo>
                      <a:pt x="27" y="51"/>
                    </a:lnTo>
                    <a:lnTo>
                      <a:pt x="29" y="53"/>
                    </a:lnTo>
                    <a:close/>
                    <a:moveTo>
                      <a:pt x="48" y="107"/>
                    </a:moveTo>
                    <a:lnTo>
                      <a:pt x="48" y="109"/>
                    </a:lnTo>
                    <a:lnTo>
                      <a:pt x="46" y="109"/>
                    </a:lnTo>
                    <a:lnTo>
                      <a:pt x="44" y="109"/>
                    </a:lnTo>
                    <a:lnTo>
                      <a:pt x="44" y="107"/>
                    </a:lnTo>
                    <a:lnTo>
                      <a:pt x="44" y="105"/>
                    </a:lnTo>
                    <a:lnTo>
                      <a:pt x="46" y="103"/>
                    </a:lnTo>
                    <a:lnTo>
                      <a:pt x="46" y="105"/>
                    </a:lnTo>
                    <a:lnTo>
                      <a:pt x="46" y="107"/>
                    </a:lnTo>
                    <a:lnTo>
                      <a:pt x="48" y="107"/>
                    </a:lnTo>
                    <a:close/>
                    <a:moveTo>
                      <a:pt x="29" y="48"/>
                    </a:moveTo>
                    <a:lnTo>
                      <a:pt x="27" y="48"/>
                    </a:lnTo>
                    <a:lnTo>
                      <a:pt x="27" y="50"/>
                    </a:lnTo>
                    <a:lnTo>
                      <a:pt x="27" y="48"/>
                    </a:lnTo>
                    <a:lnTo>
                      <a:pt x="27" y="46"/>
                    </a:lnTo>
                    <a:lnTo>
                      <a:pt x="27" y="44"/>
                    </a:lnTo>
                    <a:lnTo>
                      <a:pt x="27" y="42"/>
                    </a:lnTo>
                    <a:lnTo>
                      <a:pt x="27" y="40"/>
                    </a:lnTo>
                    <a:lnTo>
                      <a:pt x="27" y="42"/>
                    </a:lnTo>
                    <a:lnTo>
                      <a:pt x="27" y="44"/>
                    </a:lnTo>
                    <a:lnTo>
                      <a:pt x="29" y="46"/>
                    </a:lnTo>
                    <a:lnTo>
                      <a:pt x="29" y="48"/>
                    </a:lnTo>
                    <a:close/>
                    <a:moveTo>
                      <a:pt x="33" y="61"/>
                    </a:moveTo>
                    <a:lnTo>
                      <a:pt x="33" y="63"/>
                    </a:lnTo>
                    <a:lnTo>
                      <a:pt x="31" y="61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7" y="61"/>
                    </a:lnTo>
                    <a:lnTo>
                      <a:pt x="27" y="59"/>
                    </a:lnTo>
                    <a:lnTo>
                      <a:pt x="27" y="57"/>
                    </a:lnTo>
                    <a:lnTo>
                      <a:pt x="29" y="59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3" y="61"/>
                    </a:lnTo>
                    <a:close/>
                    <a:moveTo>
                      <a:pt x="25" y="36"/>
                    </a:moveTo>
                    <a:lnTo>
                      <a:pt x="23" y="38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25" y="36"/>
                    </a:lnTo>
                    <a:close/>
                    <a:moveTo>
                      <a:pt x="17" y="13"/>
                    </a:moveTo>
                    <a:lnTo>
                      <a:pt x="15" y="13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4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3"/>
                    </a:lnTo>
                    <a:close/>
                    <a:moveTo>
                      <a:pt x="17" y="19"/>
                    </a:moveTo>
                    <a:lnTo>
                      <a:pt x="17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7" y="19"/>
                    </a:lnTo>
                    <a:close/>
                    <a:moveTo>
                      <a:pt x="27" y="36"/>
                    </a:moveTo>
                    <a:lnTo>
                      <a:pt x="27" y="38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5" y="34"/>
                    </a:lnTo>
                    <a:lnTo>
                      <a:pt x="25" y="31"/>
                    </a:lnTo>
                    <a:lnTo>
                      <a:pt x="27" y="34"/>
                    </a:lnTo>
                    <a:lnTo>
                      <a:pt x="27" y="36"/>
                    </a:lnTo>
                    <a:close/>
                    <a:moveTo>
                      <a:pt x="10" y="42"/>
                    </a:moveTo>
                    <a:lnTo>
                      <a:pt x="12" y="42"/>
                    </a:lnTo>
                    <a:lnTo>
                      <a:pt x="12" y="44"/>
                    </a:lnTo>
                    <a:lnTo>
                      <a:pt x="10" y="44"/>
                    </a:lnTo>
                    <a:lnTo>
                      <a:pt x="10" y="42"/>
                    </a:lnTo>
                    <a:close/>
                    <a:moveTo>
                      <a:pt x="52" y="118"/>
                    </a:moveTo>
                    <a:lnTo>
                      <a:pt x="54" y="118"/>
                    </a:lnTo>
                    <a:lnTo>
                      <a:pt x="54" y="120"/>
                    </a:lnTo>
                    <a:lnTo>
                      <a:pt x="52" y="120"/>
                    </a:lnTo>
                    <a:lnTo>
                      <a:pt x="52" y="118"/>
                    </a:lnTo>
                    <a:close/>
                    <a:moveTo>
                      <a:pt x="10" y="40"/>
                    </a:moveTo>
                    <a:lnTo>
                      <a:pt x="12" y="40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40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33" y="63"/>
                    </a:moveTo>
                    <a:lnTo>
                      <a:pt x="35" y="63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3" y="63"/>
                    </a:lnTo>
                    <a:close/>
                    <a:moveTo>
                      <a:pt x="17" y="10"/>
                    </a:moveTo>
                    <a:lnTo>
                      <a:pt x="19" y="10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0"/>
                    </a:lnTo>
                    <a:close/>
                    <a:moveTo>
                      <a:pt x="29" y="65"/>
                    </a:moveTo>
                    <a:lnTo>
                      <a:pt x="31" y="65"/>
                    </a:lnTo>
                    <a:lnTo>
                      <a:pt x="31" y="67"/>
                    </a:lnTo>
                    <a:lnTo>
                      <a:pt x="29" y="67"/>
                    </a:lnTo>
                    <a:lnTo>
                      <a:pt x="29" y="65"/>
                    </a:lnTo>
                    <a:close/>
                    <a:moveTo>
                      <a:pt x="27" y="55"/>
                    </a:moveTo>
                    <a:lnTo>
                      <a:pt x="29" y="55"/>
                    </a:lnTo>
                    <a:lnTo>
                      <a:pt x="29" y="57"/>
                    </a:lnTo>
                    <a:lnTo>
                      <a:pt x="27" y="57"/>
                    </a:lnTo>
                    <a:lnTo>
                      <a:pt x="27" y="55"/>
                    </a:lnTo>
                    <a:close/>
                    <a:moveTo>
                      <a:pt x="2" y="2"/>
                    </a:moveTo>
                    <a:lnTo>
                      <a:pt x="2" y="4"/>
                    </a:lnTo>
                    <a:lnTo>
                      <a:pt x="2" y="2"/>
                    </a:lnTo>
                    <a:close/>
                    <a:moveTo>
                      <a:pt x="29" y="57"/>
                    </a:moveTo>
                    <a:lnTo>
                      <a:pt x="31" y="57"/>
                    </a:lnTo>
                    <a:lnTo>
                      <a:pt x="29" y="57"/>
                    </a:lnTo>
                    <a:close/>
                    <a:moveTo>
                      <a:pt x="29" y="72"/>
                    </a:moveTo>
                    <a:lnTo>
                      <a:pt x="31" y="72"/>
                    </a:lnTo>
                    <a:lnTo>
                      <a:pt x="29" y="72"/>
                    </a:lnTo>
                    <a:close/>
                    <a:moveTo>
                      <a:pt x="27" y="72"/>
                    </a:moveTo>
                    <a:lnTo>
                      <a:pt x="29" y="72"/>
                    </a:lnTo>
                    <a:lnTo>
                      <a:pt x="29" y="74"/>
                    </a:lnTo>
                    <a:lnTo>
                      <a:pt x="27" y="74"/>
                    </a:lnTo>
                    <a:lnTo>
                      <a:pt x="27" y="72"/>
                    </a:lnTo>
                    <a:close/>
                    <a:moveTo>
                      <a:pt x="12" y="40"/>
                    </a:moveTo>
                    <a:lnTo>
                      <a:pt x="14" y="40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2" y="40"/>
                    </a:lnTo>
                    <a:close/>
                    <a:moveTo>
                      <a:pt x="2" y="4"/>
                    </a:moveTo>
                    <a:lnTo>
                      <a:pt x="2" y="6"/>
                    </a:lnTo>
                    <a:lnTo>
                      <a:pt x="2" y="4"/>
                    </a:lnTo>
                    <a:close/>
                    <a:moveTo>
                      <a:pt x="10" y="31"/>
                    </a:moveTo>
                    <a:lnTo>
                      <a:pt x="12" y="31"/>
                    </a:lnTo>
                    <a:lnTo>
                      <a:pt x="12" y="32"/>
                    </a:lnTo>
                    <a:lnTo>
                      <a:pt x="10" y="32"/>
                    </a:lnTo>
                    <a:lnTo>
                      <a:pt x="10" y="31"/>
                    </a:lnTo>
                    <a:close/>
                    <a:moveTo>
                      <a:pt x="12" y="38"/>
                    </a:moveTo>
                    <a:lnTo>
                      <a:pt x="12" y="40"/>
                    </a:lnTo>
                    <a:lnTo>
                      <a:pt x="12" y="38"/>
                    </a:lnTo>
                    <a:close/>
                    <a:moveTo>
                      <a:pt x="15" y="57"/>
                    </a:moveTo>
                    <a:lnTo>
                      <a:pt x="15" y="59"/>
                    </a:lnTo>
                    <a:lnTo>
                      <a:pt x="15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8" name="Freeform 174">
                <a:extLst>
                  <a:ext uri="{FF2B5EF4-FFF2-40B4-BE49-F238E27FC236}">
                    <a16:creationId xmlns:a16="http://schemas.microsoft.com/office/drawing/2014/main" id="{A7E8E1A1-2105-4796-1C74-EBC1555F6EB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529691" y="-1594047"/>
                <a:ext cx="115018" cy="214680"/>
              </a:xfrm>
              <a:custGeom>
                <a:avLst/>
                <a:gdLst>
                  <a:gd name="T0" fmla="*/ 25 w 73"/>
                  <a:gd name="T1" fmla="*/ 92 h 136"/>
                  <a:gd name="T2" fmla="*/ 19 w 73"/>
                  <a:gd name="T3" fmla="*/ 96 h 136"/>
                  <a:gd name="T4" fmla="*/ 10 w 73"/>
                  <a:gd name="T5" fmla="*/ 94 h 136"/>
                  <a:gd name="T6" fmla="*/ 6 w 73"/>
                  <a:gd name="T7" fmla="*/ 88 h 136"/>
                  <a:gd name="T8" fmla="*/ 11 w 73"/>
                  <a:gd name="T9" fmla="*/ 82 h 136"/>
                  <a:gd name="T10" fmla="*/ 15 w 73"/>
                  <a:gd name="T11" fmla="*/ 81 h 136"/>
                  <a:gd name="T12" fmla="*/ 21 w 73"/>
                  <a:gd name="T13" fmla="*/ 82 h 136"/>
                  <a:gd name="T14" fmla="*/ 25 w 73"/>
                  <a:gd name="T15" fmla="*/ 92 h 136"/>
                  <a:gd name="T16" fmla="*/ 42 w 73"/>
                  <a:gd name="T17" fmla="*/ 65 h 136"/>
                  <a:gd name="T18" fmla="*/ 42 w 73"/>
                  <a:gd name="T19" fmla="*/ 69 h 136"/>
                  <a:gd name="T20" fmla="*/ 44 w 73"/>
                  <a:gd name="T21" fmla="*/ 69 h 136"/>
                  <a:gd name="T22" fmla="*/ 38 w 73"/>
                  <a:gd name="T23" fmla="*/ 71 h 136"/>
                  <a:gd name="T24" fmla="*/ 32 w 73"/>
                  <a:gd name="T25" fmla="*/ 71 h 136"/>
                  <a:gd name="T26" fmla="*/ 29 w 73"/>
                  <a:gd name="T27" fmla="*/ 75 h 136"/>
                  <a:gd name="T28" fmla="*/ 23 w 73"/>
                  <a:gd name="T29" fmla="*/ 73 h 136"/>
                  <a:gd name="T30" fmla="*/ 27 w 73"/>
                  <a:gd name="T31" fmla="*/ 69 h 136"/>
                  <a:gd name="T32" fmla="*/ 31 w 73"/>
                  <a:gd name="T33" fmla="*/ 65 h 136"/>
                  <a:gd name="T34" fmla="*/ 38 w 73"/>
                  <a:gd name="T35" fmla="*/ 63 h 136"/>
                  <a:gd name="T36" fmla="*/ 40 w 73"/>
                  <a:gd name="T37" fmla="*/ 61 h 136"/>
                  <a:gd name="T38" fmla="*/ 46 w 73"/>
                  <a:gd name="T39" fmla="*/ 61 h 136"/>
                  <a:gd name="T40" fmla="*/ 17 w 73"/>
                  <a:gd name="T41" fmla="*/ 111 h 136"/>
                  <a:gd name="T42" fmla="*/ 17 w 73"/>
                  <a:gd name="T43" fmla="*/ 107 h 136"/>
                  <a:gd name="T44" fmla="*/ 50 w 73"/>
                  <a:gd name="T45" fmla="*/ 71 h 136"/>
                  <a:gd name="T46" fmla="*/ 50 w 73"/>
                  <a:gd name="T47" fmla="*/ 71 h 136"/>
                  <a:gd name="T48" fmla="*/ 36 w 73"/>
                  <a:gd name="T49" fmla="*/ 94 h 136"/>
                  <a:gd name="T50" fmla="*/ 36 w 73"/>
                  <a:gd name="T51" fmla="*/ 94 h 136"/>
                  <a:gd name="T52" fmla="*/ 36 w 73"/>
                  <a:gd name="T53" fmla="*/ 79 h 136"/>
                  <a:gd name="T54" fmla="*/ 46 w 73"/>
                  <a:gd name="T55" fmla="*/ 102 h 136"/>
                  <a:gd name="T56" fmla="*/ 67 w 73"/>
                  <a:gd name="T57" fmla="*/ 96 h 136"/>
                  <a:gd name="T58" fmla="*/ 63 w 73"/>
                  <a:gd name="T59" fmla="*/ 81 h 136"/>
                  <a:gd name="T60" fmla="*/ 2 w 73"/>
                  <a:gd name="T61" fmla="*/ 0 h 136"/>
                  <a:gd name="T62" fmla="*/ 52 w 73"/>
                  <a:gd name="T63" fmla="*/ 71 h 136"/>
                  <a:gd name="T64" fmla="*/ 2 w 73"/>
                  <a:gd name="T65" fmla="*/ 77 h 136"/>
                  <a:gd name="T66" fmla="*/ 6 w 73"/>
                  <a:gd name="T67" fmla="*/ 69 h 136"/>
                  <a:gd name="T68" fmla="*/ 50 w 73"/>
                  <a:gd name="T69" fmla="*/ 109 h 136"/>
                  <a:gd name="T70" fmla="*/ 63 w 73"/>
                  <a:gd name="T71" fmla="*/ 107 h 136"/>
                  <a:gd name="T72" fmla="*/ 42 w 73"/>
                  <a:gd name="T73" fmla="*/ 111 h 136"/>
                  <a:gd name="T74" fmla="*/ 6 w 73"/>
                  <a:gd name="T75" fmla="*/ 73 h 136"/>
                  <a:gd name="T76" fmla="*/ 59 w 73"/>
                  <a:gd name="T77" fmla="*/ 82 h 136"/>
                  <a:gd name="T78" fmla="*/ 69 w 73"/>
                  <a:gd name="T79" fmla="*/ 109 h 136"/>
                  <a:gd name="T80" fmla="*/ 29 w 73"/>
                  <a:gd name="T81" fmla="*/ 86 h 136"/>
                  <a:gd name="T82" fmla="*/ 21 w 73"/>
                  <a:gd name="T83" fmla="*/ 73 h 136"/>
                  <a:gd name="T84" fmla="*/ 48 w 73"/>
                  <a:gd name="T85" fmla="*/ 54 h 136"/>
                  <a:gd name="T86" fmla="*/ 27 w 73"/>
                  <a:gd name="T87" fmla="*/ 67 h 136"/>
                  <a:gd name="T88" fmla="*/ 46 w 73"/>
                  <a:gd name="T89" fmla="*/ 67 h 136"/>
                  <a:gd name="T90" fmla="*/ 4 w 73"/>
                  <a:gd name="T91" fmla="*/ 75 h 136"/>
                  <a:gd name="T92" fmla="*/ 36 w 73"/>
                  <a:gd name="T93" fmla="*/ 63 h 136"/>
                  <a:gd name="T94" fmla="*/ 53 w 73"/>
                  <a:gd name="T95" fmla="*/ 79 h 136"/>
                  <a:gd name="T96" fmla="*/ 32 w 73"/>
                  <a:gd name="T97" fmla="*/ 65 h 136"/>
                  <a:gd name="T98" fmla="*/ 73 w 73"/>
                  <a:gd name="T99" fmla="*/ 111 h 136"/>
                  <a:gd name="T100" fmla="*/ 40 w 73"/>
                  <a:gd name="T101" fmla="*/ 61 h 136"/>
                  <a:gd name="T102" fmla="*/ 63 w 73"/>
                  <a:gd name="T103" fmla="*/ 81 h 136"/>
                  <a:gd name="T104" fmla="*/ 67 w 73"/>
                  <a:gd name="T105" fmla="*/ 79 h 136"/>
                  <a:gd name="T106" fmla="*/ 0 w 73"/>
                  <a:gd name="T107" fmla="*/ 86 h 136"/>
                  <a:gd name="T108" fmla="*/ 48 w 73"/>
                  <a:gd name="T109" fmla="*/ 109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3" h="136">
                    <a:moveTo>
                      <a:pt x="27" y="92"/>
                    </a:moveTo>
                    <a:lnTo>
                      <a:pt x="25" y="94"/>
                    </a:lnTo>
                    <a:lnTo>
                      <a:pt x="25" y="92"/>
                    </a:lnTo>
                    <a:lnTo>
                      <a:pt x="25" y="94"/>
                    </a:lnTo>
                    <a:lnTo>
                      <a:pt x="23" y="94"/>
                    </a:lnTo>
                    <a:lnTo>
                      <a:pt x="25" y="92"/>
                    </a:lnTo>
                    <a:lnTo>
                      <a:pt x="23" y="92"/>
                    </a:lnTo>
                    <a:lnTo>
                      <a:pt x="25" y="92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9" y="96"/>
                    </a:lnTo>
                    <a:lnTo>
                      <a:pt x="17" y="96"/>
                    </a:lnTo>
                    <a:lnTo>
                      <a:pt x="15" y="96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8" y="94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2"/>
                    </a:lnTo>
                    <a:lnTo>
                      <a:pt x="4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8" y="84"/>
                    </a:lnTo>
                    <a:lnTo>
                      <a:pt x="10" y="82"/>
                    </a:lnTo>
                    <a:lnTo>
                      <a:pt x="11" y="82"/>
                    </a:lnTo>
                    <a:lnTo>
                      <a:pt x="11" y="81"/>
                    </a:lnTo>
                    <a:lnTo>
                      <a:pt x="11" y="82"/>
                    </a:lnTo>
                    <a:lnTo>
                      <a:pt x="11" y="81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13" y="82"/>
                    </a:lnTo>
                    <a:lnTo>
                      <a:pt x="15" y="82"/>
                    </a:lnTo>
                    <a:lnTo>
                      <a:pt x="15" y="81"/>
                    </a:lnTo>
                    <a:lnTo>
                      <a:pt x="17" y="81"/>
                    </a:lnTo>
                    <a:lnTo>
                      <a:pt x="19" y="81"/>
                    </a:lnTo>
                    <a:lnTo>
                      <a:pt x="17" y="81"/>
                    </a:lnTo>
                    <a:lnTo>
                      <a:pt x="19" y="81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1" y="84"/>
                    </a:lnTo>
                    <a:lnTo>
                      <a:pt x="23" y="84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5" y="90"/>
                    </a:lnTo>
                    <a:lnTo>
                      <a:pt x="25" y="92"/>
                    </a:lnTo>
                    <a:lnTo>
                      <a:pt x="27" y="92"/>
                    </a:lnTo>
                    <a:close/>
                    <a:moveTo>
                      <a:pt x="48" y="61"/>
                    </a:moveTo>
                    <a:lnTo>
                      <a:pt x="46" y="61"/>
                    </a:lnTo>
                    <a:lnTo>
                      <a:pt x="44" y="63"/>
                    </a:lnTo>
                    <a:lnTo>
                      <a:pt x="44" y="65"/>
                    </a:lnTo>
                    <a:lnTo>
                      <a:pt x="42" y="65"/>
                    </a:lnTo>
                    <a:lnTo>
                      <a:pt x="40" y="67"/>
                    </a:lnTo>
                    <a:lnTo>
                      <a:pt x="40" y="69"/>
                    </a:lnTo>
                    <a:lnTo>
                      <a:pt x="38" y="69"/>
                    </a:lnTo>
                    <a:lnTo>
                      <a:pt x="38" y="71"/>
                    </a:lnTo>
                    <a:lnTo>
                      <a:pt x="40" y="71"/>
                    </a:lnTo>
                    <a:lnTo>
                      <a:pt x="42" y="69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6" y="67"/>
                    </a:lnTo>
                    <a:lnTo>
                      <a:pt x="46" y="69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46" y="71"/>
                    </a:lnTo>
                    <a:lnTo>
                      <a:pt x="44" y="71"/>
                    </a:lnTo>
                    <a:lnTo>
                      <a:pt x="42" y="71"/>
                    </a:lnTo>
                    <a:lnTo>
                      <a:pt x="40" y="71"/>
                    </a:lnTo>
                    <a:lnTo>
                      <a:pt x="38" y="71"/>
                    </a:lnTo>
                    <a:lnTo>
                      <a:pt x="36" y="71"/>
                    </a:lnTo>
                    <a:lnTo>
                      <a:pt x="36" y="73"/>
                    </a:lnTo>
                    <a:lnTo>
                      <a:pt x="36" y="71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2" y="71"/>
                    </a:lnTo>
                    <a:lnTo>
                      <a:pt x="32" y="73"/>
                    </a:lnTo>
                    <a:lnTo>
                      <a:pt x="31" y="73"/>
                    </a:lnTo>
                    <a:lnTo>
                      <a:pt x="31" y="75"/>
                    </a:lnTo>
                    <a:lnTo>
                      <a:pt x="31" y="73"/>
                    </a:lnTo>
                    <a:lnTo>
                      <a:pt x="29" y="73"/>
                    </a:lnTo>
                    <a:lnTo>
                      <a:pt x="29" y="75"/>
                    </a:lnTo>
                    <a:lnTo>
                      <a:pt x="27" y="75"/>
                    </a:lnTo>
                    <a:lnTo>
                      <a:pt x="29" y="75"/>
                    </a:lnTo>
                    <a:lnTo>
                      <a:pt x="27" y="75"/>
                    </a:lnTo>
                    <a:lnTo>
                      <a:pt x="25" y="73"/>
                    </a:lnTo>
                    <a:lnTo>
                      <a:pt x="25" y="71"/>
                    </a:lnTo>
                    <a:lnTo>
                      <a:pt x="23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5" y="69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29" y="67"/>
                    </a:lnTo>
                    <a:lnTo>
                      <a:pt x="31" y="67"/>
                    </a:lnTo>
                    <a:lnTo>
                      <a:pt x="31" y="65"/>
                    </a:lnTo>
                    <a:lnTo>
                      <a:pt x="31" y="67"/>
                    </a:lnTo>
                    <a:lnTo>
                      <a:pt x="31" y="65"/>
                    </a:lnTo>
                    <a:lnTo>
                      <a:pt x="32" y="67"/>
                    </a:lnTo>
                    <a:lnTo>
                      <a:pt x="32" y="65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8" y="65"/>
                    </a:lnTo>
                    <a:lnTo>
                      <a:pt x="38" y="63"/>
                    </a:lnTo>
                    <a:lnTo>
                      <a:pt x="40" y="63"/>
                    </a:lnTo>
                    <a:lnTo>
                      <a:pt x="38" y="63"/>
                    </a:lnTo>
                    <a:lnTo>
                      <a:pt x="40" y="63"/>
                    </a:lnTo>
                    <a:lnTo>
                      <a:pt x="40" y="61"/>
                    </a:lnTo>
                    <a:lnTo>
                      <a:pt x="40" y="63"/>
                    </a:lnTo>
                    <a:lnTo>
                      <a:pt x="40" y="61"/>
                    </a:lnTo>
                    <a:lnTo>
                      <a:pt x="40" y="63"/>
                    </a:lnTo>
                    <a:lnTo>
                      <a:pt x="42" y="61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44" y="61"/>
                    </a:lnTo>
                    <a:lnTo>
                      <a:pt x="46" y="61"/>
                    </a:lnTo>
                    <a:lnTo>
                      <a:pt x="48" y="61"/>
                    </a:lnTo>
                    <a:close/>
                    <a:moveTo>
                      <a:pt x="23" y="109"/>
                    </a:moveTo>
                    <a:lnTo>
                      <a:pt x="21" y="109"/>
                    </a:lnTo>
                    <a:lnTo>
                      <a:pt x="19" y="109"/>
                    </a:lnTo>
                    <a:lnTo>
                      <a:pt x="17" y="109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5" y="111"/>
                    </a:lnTo>
                    <a:lnTo>
                      <a:pt x="15" y="109"/>
                    </a:lnTo>
                    <a:lnTo>
                      <a:pt x="17" y="109"/>
                    </a:lnTo>
                    <a:lnTo>
                      <a:pt x="17" y="107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9"/>
                    </a:lnTo>
                    <a:lnTo>
                      <a:pt x="23" y="107"/>
                    </a:lnTo>
                    <a:lnTo>
                      <a:pt x="23" y="109"/>
                    </a:lnTo>
                    <a:close/>
                    <a:moveTo>
                      <a:pt x="50" y="71"/>
                    </a:moveTo>
                    <a:lnTo>
                      <a:pt x="50" y="73"/>
                    </a:lnTo>
                    <a:lnTo>
                      <a:pt x="48" y="73"/>
                    </a:lnTo>
                    <a:lnTo>
                      <a:pt x="48" y="75"/>
                    </a:lnTo>
                    <a:lnTo>
                      <a:pt x="48" y="71"/>
                    </a:lnTo>
                    <a:lnTo>
                      <a:pt x="50" y="69"/>
                    </a:lnTo>
                    <a:lnTo>
                      <a:pt x="50" y="71"/>
                    </a:lnTo>
                    <a:close/>
                    <a:moveTo>
                      <a:pt x="48" y="75"/>
                    </a:moveTo>
                    <a:lnTo>
                      <a:pt x="46" y="75"/>
                    </a:lnTo>
                    <a:lnTo>
                      <a:pt x="46" y="73"/>
                    </a:lnTo>
                    <a:lnTo>
                      <a:pt x="48" y="71"/>
                    </a:lnTo>
                    <a:lnTo>
                      <a:pt x="48" y="75"/>
                    </a:lnTo>
                    <a:close/>
                    <a:moveTo>
                      <a:pt x="36" y="94"/>
                    </a:moveTo>
                    <a:lnTo>
                      <a:pt x="36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4"/>
                    </a:lnTo>
                    <a:close/>
                    <a:moveTo>
                      <a:pt x="27" y="84"/>
                    </a:moveTo>
                    <a:lnTo>
                      <a:pt x="29" y="84"/>
                    </a:lnTo>
                    <a:lnTo>
                      <a:pt x="29" y="88"/>
                    </a:lnTo>
                    <a:lnTo>
                      <a:pt x="27" y="88"/>
                    </a:lnTo>
                    <a:lnTo>
                      <a:pt x="27" y="84"/>
                    </a:lnTo>
                    <a:close/>
                    <a:moveTo>
                      <a:pt x="36" y="79"/>
                    </a:moveTo>
                    <a:lnTo>
                      <a:pt x="38" y="79"/>
                    </a:lnTo>
                    <a:lnTo>
                      <a:pt x="38" y="82"/>
                    </a:lnTo>
                    <a:lnTo>
                      <a:pt x="36" y="82"/>
                    </a:lnTo>
                    <a:lnTo>
                      <a:pt x="36" y="79"/>
                    </a:lnTo>
                    <a:close/>
                    <a:moveTo>
                      <a:pt x="44" y="102"/>
                    </a:moveTo>
                    <a:lnTo>
                      <a:pt x="46" y="102"/>
                    </a:lnTo>
                    <a:lnTo>
                      <a:pt x="46" y="103"/>
                    </a:lnTo>
                    <a:lnTo>
                      <a:pt x="44" y="103"/>
                    </a:lnTo>
                    <a:lnTo>
                      <a:pt x="44" y="102"/>
                    </a:lnTo>
                    <a:close/>
                    <a:moveTo>
                      <a:pt x="65" y="94"/>
                    </a:moveTo>
                    <a:lnTo>
                      <a:pt x="67" y="94"/>
                    </a:lnTo>
                    <a:lnTo>
                      <a:pt x="67" y="96"/>
                    </a:lnTo>
                    <a:lnTo>
                      <a:pt x="65" y="96"/>
                    </a:lnTo>
                    <a:lnTo>
                      <a:pt x="65" y="94"/>
                    </a:lnTo>
                    <a:close/>
                    <a:moveTo>
                      <a:pt x="63" y="77"/>
                    </a:moveTo>
                    <a:lnTo>
                      <a:pt x="65" y="77"/>
                    </a:lnTo>
                    <a:lnTo>
                      <a:pt x="65" y="81"/>
                    </a:lnTo>
                    <a:lnTo>
                      <a:pt x="63" y="81"/>
                    </a:lnTo>
                    <a:lnTo>
                      <a:pt x="63" y="77"/>
                    </a:lnTo>
                    <a:close/>
                    <a:moveTo>
                      <a:pt x="48" y="65"/>
                    </a:moveTo>
                    <a:lnTo>
                      <a:pt x="48" y="67"/>
                    </a:lnTo>
                    <a:lnTo>
                      <a:pt x="48" y="65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close/>
                    <a:moveTo>
                      <a:pt x="17" y="98"/>
                    </a:moveTo>
                    <a:lnTo>
                      <a:pt x="17" y="100"/>
                    </a:lnTo>
                    <a:lnTo>
                      <a:pt x="17" y="98"/>
                    </a:lnTo>
                    <a:close/>
                    <a:moveTo>
                      <a:pt x="50" y="71"/>
                    </a:moveTo>
                    <a:lnTo>
                      <a:pt x="52" y="71"/>
                    </a:lnTo>
                    <a:lnTo>
                      <a:pt x="50" y="71"/>
                    </a:lnTo>
                    <a:close/>
                    <a:moveTo>
                      <a:pt x="2" y="77"/>
                    </a:moveTo>
                    <a:lnTo>
                      <a:pt x="4" y="77"/>
                    </a:lnTo>
                    <a:lnTo>
                      <a:pt x="4" y="79"/>
                    </a:lnTo>
                    <a:lnTo>
                      <a:pt x="2" y="79"/>
                    </a:lnTo>
                    <a:lnTo>
                      <a:pt x="2" y="77"/>
                    </a:lnTo>
                    <a:close/>
                    <a:moveTo>
                      <a:pt x="57" y="86"/>
                    </a:moveTo>
                    <a:lnTo>
                      <a:pt x="59" y="86"/>
                    </a:lnTo>
                    <a:lnTo>
                      <a:pt x="59" y="88"/>
                    </a:lnTo>
                    <a:lnTo>
                      <a:pt x="57" y="88"/>
                    </a:lnTo>
                    <a:lnTo>
                      <a:pt x="57" y="86"/>
                    </a:lnTo>
                    <a:close/>
                    <a:moveTo>
                      <a:pt x="6" y="69"/>
                    </a:moveTo>
                    <a:lnTo>
                      <a:pt x="10" y="69"/>
                    </a:lnTo>
                    <a:lnTo>
                      <a:pt x="10" y="73"/>
                    </a:lnTo>
                    <a:lnTo>
                      <a:pt x="6" y="73"/>
                    </a:lnTo>
                    <a:lnTo>
                      <a:pt x="6" y="69"/>
                    </a:lnTo>
                    <a:close/>
                    <a:moveTo>
                      <a:pt x="50" y="107"/>
                    </a:moveTo>
                    <a:lnTo>
                      <a:pt x="50" y="109"/>
                    </a:lnTo>
                    <a:lnTo>
                      <a:pt x="50" y="107"/>
                    </a:lnTo>
                    <a:close/>
                    <a:moveTo>
                      <a:pt x="63" y="107"/>
                    </a:moveTo>
                    <a:lnTo>
                      <a:pt x="65" y="107"/>
                    </a:lnTo>
                    <a:lnTo>
                      <a:pt x="65" y="109"/>
                    </a:lnTo>
                    <a:lnTo>
                      <a:pt x="63" y="109"/>
                    </a:lnTo>
                    <a:lnTo>
                      <a:pt x="63" y="107"/>
                    </a:lnTo>
                    <a:close/>
                    <a:moveTo>
                      <a:pt x="23" y="105"/>
                    </a:moveTo>
                    <a:lnTo>
                      <a:pt x="23" y="107"/>
                    </a:lnTo>
                    <a:lnTo>
                      <a:pt x="23" y="105"/>
                    </a:lnTo>
                    <a:close/>
                    <a:moveTo>
                      <a:pt x="42" y="111"/>
                    </a:moveTo>
                    <a:lnTo>
                      <a:pt x="44" y="111"/>
                    </a:lnTo>
                    <a:lnTo>
                      <a:pt x="42" y="111"/>
                    </a:lnTo>
                    <a:close/>
                    <a:moveTo>
                      <a:pt x="10" y="100"/>
                    </a:moveTo>
                    <a:lnTo>
                      <a:pt x="10" y="102"/>
                    </a:lnTo>
                    <a:lnTo>
                      <a:pt x="10" y="100"/>
                    </a:lnTo>
                    <a:close/>
                    <a:moveTo>
                      <a:pt x="6" y="73"/>
                    </a:moveTo>
                    <a:lnTo>
                      <a:pt x="6" y="75"/>
                    </a:lnTo>
                    <a:lnTo>
                      <a:pt x="6" y="73"/>
                    </a:lnTo>
                    <a:close/>
                    <a:moveTo>
                      <a:pt x="2" y="79"/>
                    </a:moveTo>
                    <a:lnTo>
                      <a:pt x="2" y="81"/>
                    </a:lnTo>
                    <a:lnTo>
                      <a:pt x="2" y="79"/>
                    </a:lnTo>
                    <a:close/>
                    <a:moveTo>
                      <a:pt x="59" y="82"/>
                    </a:moveTo>
                    <a:lnTo>
                      <a:pt x="61" y="82"/>
                    </a:lnTo>
                    <a:lnTo>
                      <a:pt x="59" y="82"/>
                    </a:lnTo>
                    <a:close/>
                    <a:moveTo>
                      <a:pt x="61" y="90"/>
                    </a:moveTo>
                    <a:lnTo>
                      <a:pt x="63" y="90"/>
                    </a:lnTo>
                    <a:lnTo>
                      <a:pt x="63" y="92"/>
                    </a:lnTo>
                    <a:lnTo>
                      <a:pt x="61" y="92"/>
                    </a:lnTo>
                    <a:lnTo>
                      <a:pt x="61" y="90"/>
                    </a:lnTo>
                    <a:close/>
                    <a:moveTo>
                      <a:pt x="69" y="109"/>
                    </a:moveTo>
                    <a:lnTo>
                      <a:pt x="71" y="109"/>
                    </a:lnTo>
                    <a:lnTo>
                      <a:pt x="71" y="111"/>
                    </a:lnTo>
                    <a:lnTo>
                      <a:pt x="69" y="111"/>
                    </a:lnTo>
                    <a:lnTo>
                      <a:pt x="69" y="109"/>
                    </a:lnTo>
                    <a:close/>
                    <a:moveTo>
                      <a:pt x="27" y="86"/>
                    </a:moveTo>
                    <a:lnTo>
                      <a:pt x="29" y="86"/>
                    </a:lnTo>
                    <a:lnTo>
                      <a:pt x="29" y="88"/>
                    </a:lnTo>
                    <a:lnTo>
                      <a:pt x="27" y="88"/>
                    </a:lnTo>
                    <a:lnTo>
                      <a:pt x="27" y="86"/>
                    </a:lnTo>
                    <a:close/>
                    <a:moveTo>
                      <a:pt x="19" y="71"/>
                    </a:moveTo>
                    <a:lnTo>
                      <a:pt x="21" y="71"/>
                    </a:lnTo>
                    <a:lnTo>
                      <a:pt x="21" y="73"/>
                    </a:lnTo>
                    <a:lnTo>
                      <a:pt x="19" y="73"/>
                    </a:lnTo>
                    <a:lnTo>
                      <a:pt x="19" y="71"/>
                    </a:lnTo>
                    <a:close/>
                    <a:moveTo>
                      <a:pt x="65" y="86"/>
                    </a:moveTo>
                    <a:lnTo>
                      <a:pt x="67" y="86"/>
                    </a:lnTo>
                    <a:lnTo>
                      <a:pt x="65" y="86"/>
                    </a:lnTo>
                    <a:close/>
                    <a:moveTo>
                      <a:pt x="48" y="54"/>
                    </a:moveTo>
                    <a:lnTo>
                      <a:pt x="50" y="54"/>
                    </a:lnTo>
                    <a:lnTo>
                      <a:pt x="48" y="54"/>
                    </a:lnTo>
                    <a:close/>
                    <a:moveTo>
                      <a:pt x="61" y="79"/>
                    </a:moveTo>
                    <a:lnTo>
                      <a:pt x="61" y="81"/>
                    </a:lnTo>
                    <a:lnTo>
                      <a:pt x="61" y="79"/>
                    </a:lnTo>
                    <a:close/>
                    <a:moveTo>
                      <a:pt x="27" y="67"/>
                    </a:moveTo>
                    <a:lnTo>
                      <a:pt x="29" y="67"/>
                    </a:lnTo>
                    <a:lnTo>
                      <a:pt x="27" y="67"/>
                    </a:lnTo>
                    <a:close/>
                    <a:moveTo>
                      <a:pt x="71" y="102"/>
                    </a:moveTo>
                    <a:lnTo>
                      <a:pt x="71" y="103"/>
                    </a:lnTo>
                    <a:lnTo>
                      <a:pt x="71" y="102"/>
                    </a:lnTo>
                    <a:close/>
                    <a:moveTo>
                      <a:pt x="46" y="67"/>
                    </a:moveTo>
                    <a:lnTo>
                      <a:pt x="48" y="67"/>
                    </a:lnTo>
                    <a:lnTo>
                      <a:pt x="46" y="67"/>
                    </a:lnTo>
                    <a:close/>
                    <a:moveTo>
                      <a:pt x="25" y="67"/>
                    </a:moveTo>
                    <a:lnTo>
                      <a:pt x="25" y="69"/>
                    </a:lnTo>
                    <a:lnTo>
                      <a:pt x="25" y="67"/>
                    </a:lnTo>
                    <a:close/>
                    <a:moveTo>
                      <a:pt x="4" y="75"/>
                    </a:moveTo>
                    <a:lnTo>
                      <a:pt x="6" y="75"/>
                    </a:lnTo>
                    <a:lnTo>
                      <a:pt x="4" y="75"/>
                    </a:lnTo>
                    <a:close/>
                    <a:moveTo>
                      <a:pt x="32" y="88"/>
                    </a:moveTo>
                    <a:lnTo>
                      <a:pt x="34" y="88"/>
                    </a:lnTo>
                    <a:lnTo>
                      <a:pt x="32" y="88"/>
                    </a:lnTo>
                    <a:close/>
                    <a:moveTo>
                      <a:pt x="36" y="63"/>
                    </a:moveTo>
                    <a:lnTo>
                      <a:pt x="38" y="63"/>
                    </a:lnTo>
                    <a:lnTo>
                      <a:pt x="36" y="63"/>
                    </a:lnTo>
                    <a:close/>
                    <a:moveTo>
                      <a:pt x="65" y="105"/>
                    </a:moveTo>
                    <a:lnTo>
                      <a:pt x="65" y="107"/>
                    </a:lnTo>
                    <a:lnTo>
                      <a:pt x="65" y="105"/>
                    </a:lnTo>
                    <a:close/>
                    <a:moveTo>
                      <a:pt x="53" y="79"/>
                    </a:moveTo>
                    <a:lnTo>
                      <a:pt x="55" y="79"/>
                    </a:lnTo>
                    <a:lnTo>
                      <a:pt x="53" y="79"/>
                    </a:lnTo>
                    <a:close/>
                    <a:moveTo>
                      <a:pt x="31" y="84"/>
                    </a:moveTo>
                    <a:lnTo>
                      <a:pt x="31" y="86"/>
                    </a:lnTo>
                    <a:lnTo>
                      <a:pt x="31" y="84"/>
                    </a:lnTo>
                    <a:close/>
                    <a:moveTo>
                      <a:pt x="32" y="65"/>
                    </a:moveTo>
                    <a:lnTo>
                      <a:pt x="34" y="65"/>
                    </a:lnTo>
                    <a:lnTo>
                      <a:pt x="32" y="65"/>
                    </a:lnTo>
                    <a:close/>
                    <a:moveTo>
                      <a:pt x="4" y="75"/>
                    </a:moveTo>
                    <a:lnTo>
                      <a:pt x="6" y="75"/>
                    </a:lnTo>
                    <a:lnTo>
                      <a:pt x="4" y="75"/>
                    </a:lnTo>
                    <a:close/>
                    <a:moveTo>
                      <a:pt x="73" y="111"/>
                    </a:moveTo>
                    <a:lnTo>
                      <a:pt x="73" y="113"/>
                    </a:lnTo>
                    <a:lnTo>
                      <a:pt x="73" y="111"/>
                    </a:lnTo>
                    <a:close/>
                    <a:moveTo>
                      <a:pt x="71" y="100"/>
                    </a:moveTo>
                    <a:lnTo>
                      <a:pt x="73" y="100"/>
                    </a:lnTo>
                    <a:lnTo>
                      <a:pt x="71" y="100"/>
                    </a:lnTo>
                    <a:close/>
                    <a:moveTo>
                      <a:pt x="40" y="61"/>
                    </a:moveTo>
                    <a:lnTo>
                      <a:pt x="42" y="61"/>
                    </a:lnTo>
                    <a:lnTo>
                      <a:pt x="40" y="61"/>
                    </a:lnTo>
                    <a:close/>
                    <a:moveTo>
                      <a:pt x="17" y="109"/>
                    </a:moveTo>
                    <a:lnTo>
                      <a:pt x="19" y="109"/>
                    </a:lnTo>
                    <a:lnTo>
                      <a:pt x="17" y="109"/>
                    </a:lnTo>
                    <a:close/>
                    <a:moveTo>
                      <a:pt x="63" y="81"/>
                    </a:moveTo>
                    <a:lnTo>
                      <a:pt x="65" y="81"/>
                    </a:lnTo>
                    <a:lnTo>
                      <a:pt x="63" y="81"/>
                    </a:lnTo>
                    <a:close/>
                    <a:moveTo>
                      <a:pt x="29" y="65"/>
                    </a:moveTo>
                    <a:lnTo>
                      <a:pt x="29" y="67"/>
                    </a:lnTo>
                    <a:lnTo>
                      <a:pt x="29" y="65"/>
                    </a:lnTo>
                    <a:close/>
                    <a:moveTo>
                      <a:pt x="67" y="79"/>
                    </a:moveTo>
                    <a:lnTo>
                      <a:pt x="67" y="81"/>
                    </a:lnTo>
                    <a:lnTo>
                      <a:pt x="67" y="79"/>
                    </a:lnTo>
                    <a:close/>
                    <a:moveTo>
                      <a:pt x="67" y="136"/>
                    </a:moveTo>
                    <a:lnTo>
                      <a:pt x="69" y="136"/>
                    </a:lnTo>
                    <a:lnTo>
                      <a:pt x="67" y="136"/>
                    </a:lnTo>
                    <a:close/>
                    <a:moveTo>
                      <a:pt x="0" y="86"/>
                    </a:moveTo>
                    <a:lnTo>
                      <a:pt x="2" y="86"/>
                    </a:lnTo>
                    <a:lnTo>
                      <a:pt x="0" y="86"/>
                    </a:lnTo>
                    <a:close/>
                    <a:moveTo>
                      <a:pt x="23" y="103"/>
                    </a:moveTo>
                    <a:lnTo>
                      <a:pt x="23" y="105"/>
                    </a:lnTo>
                    <a:lnTo>
                      <a:pt x="23" y="103"/>
                    </a:lnTo>
                    <a:close/>
                    <a:moveTo>
                      <a:pt x="48" y="109"/>
                    </a:moveTo>
                    <a:lnTo>
                      <a:pt x="50" y="109"/>
                    </a:lnTo>
                    <a:lnTo>
                      <a:pt x="48" y="109"/>
                    </a:lnTo>
                    <a:close/>
                    <a:moveTo>
                      <a:pt x="50" y="63"/>
                    </a:moveTo>
                    <a:lnTo>
                      <a:pt x="50" y="65"/>
                    </a:lnTo>
                    <a:lnTo>
                      <a:pt x="50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9" name="Freeform 176">
                <a:extLst>
                  <a:ext uri="{FF2B5EF4-FFF2-40B4-BE49-F238E27FC236}">
                    <a16:creationId xmlns:a16="http://schemas.microsoft.com/office/drawing/2014/main" id="{F41B3477-DCFA-D74A-5D9D-8B862A73677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250813" y="-997359"/>
                <a:ext cx="450617" cy="647201"/>
              </a:xfrm>
              <a:custGeom>
                <a:avLst/>
                <a:gdLst>
                  <a:gd name="T0" fmla="*/ 120 w 286"/>
                  <a:gd name="T1" fmla="*/ 141 h 410"/>
                  <a:gd name="T2" fmla="*/ 127 w 286"/>
                  <a:gd name="T3" fmla="*/ 138 h 410"/>
                  <a:gd name="T4" fmla="*/ 127 w 286"/>
                  <a:gd name="T5" fmla="*/ 143 h 410"/>
                  <a:gd name="T6" fmla="*/ 131 w 286"/>
                  <a:gd name="T7" fmla="*/ 140 h 410"/>
                  <a:gd name="T8" fmla="*/ 131 w 286"/>
                  <a:gd name="T9" fmla="*/ 145 h 410"/>
                  <a:gd name="T10" fmla="*/ 127 w 286"/>
                  <a:gd name="T11" fmla="*/ 161 h 410"/>
                  <a:gd name="T12" fmla="*/ 108 w 286"/>
                  <a:gd name="T13" fmla="*/ 193 h 410"/>
                  <a:gd name="T14" fmla="*/ 112 w 286"/>
                  <a:gd name="T15" fmla="*/ 201 h 410"/>
                  <a:gd name="T16" fmla="*/ 86 w 286"/>
                  <a:gd name="T17" fmla="*/ 212 h 410"/>
                  <a:gd name="T18" fmla="*/ 74 w 286"/>
                  <a:gd name="T19" fmla="*/ 246 h 410"/>
                  <a:gd name="T20" fmla="*/ 61 w 286"/>
                  <a:gd name="T21" fmla="*/ 260 h 410"/>
                  <a:gd name="T22" fmla="*/ 38 w 286"/>
                  <a:gd name="T23" fmla="*/ 260 h 410"/>
                  <a:gd name="T24" fmla="*/ 21 w 286"/>
                  <a:gd name="T25" fmla="*/ 254 h 410"/>
                  <a:gd name="T26" fmla="*/ 13 w 286"/>
                  <a:gd name="T27" fmla="*/ 246 h 410"/>
                  <a:gd name="T28" fmla="*/ 15 w 286"/>
                  <a:gd name="T29" fmla="*/ 239 h 410"/>
                  <a:gd name="T30" fmla="*/ 19 w 286"/>
                  <a:gd name="T31" fmla="*/ 231 h 410"/>
                  <a:gd name="T32" fmla="*/ 24 w 286"/>
                  <a:gd name="T33" fmla="*/ 223 h 410"/>
                  <a:gd name="T34" fmla="*/ 36 w 286"/>
                  <a:gd name="T35" fmla="*/ 210 h 410"/>
                  <a:gd name="T36" fmla="*/ 66 w 286"/>
                  <a:gd name="T37" fmla="*/ 187 h 410"/>
                  <a:gd name="T38" fmla="*/ 87 w 286"/>
                  <a:gd name="T39" fmla="*/ 159 h 410"/>
                  <a:gd name="T40" fmla="*/ 112 w 286"/>
                  <a:gd name="T41" fmla="*/ 130 h 410"/>
                  <a:gd name="T42" fmla="*/ 112 w 286"/>
                  <a:gd name="T43" fmla="*/ 10 h 410"/>
                  <a:gd name="T44" fmla="*/ 126 w 286"/>
                  <a:gd name="T45" fmla="*/ 17 h 410"/>
                  <a:gd name="T46" fmla="*/ 131 w 286"/>
                  <a:gd name="T47" fmla="*/ 23 h 410"/>
                  <a:gd name="T48" fmla="*/ 135 w 286"/>
                  <a:gd name="T49" fmla="*/ 25 h 410"/>
                  <a:gd name="T50" fmla="*/ 135 w 286"/>
                  <a:gd name="T51" fmla="*/ 33 h 410"/>
                  <a:gd name="T52" fmla="*/ 143 w 286"/>
                  <a:gd name="T53" fmla="*/ 44 h 410"/>
                  <a:gd name="T54" fmla="*/ 139 w 286"/>
                  <a:gd name="T55" fmla="*/ 50 h 410"/>
                  <a:gd name="T56" fmla="*/ 145 w 286"/>
                  <a:gd name="T57" fmla="*/ 56 h 410"/>
                  <a:gd name="T58" fmla="*/ 150 w 286"/>
                  <a:gd name="T59" fmla="*/ 46 h 410"/>
                  <a:gd name="T60" fmla="*/ 160 w 286"/>
                  <a:gd name="T61" fmla="*/ 65 h 410"/>
                  <a:gd name="T62" fmla="*/ 179 w 286"/>
                  <a:gd name="T63" fmla="*/ 78 h 410"/>
                  <a:gd name="T64" fmla="*/ 200 w 286"/>
                  <a:gd name="T65" fmla="*/ 73 h 410"/>
                  <a:gd name="T66" fmla="*/ 190 w 286"/>
                  <a:gd name="T67" fmla="*/ 99 h 410"/>
                  <a:gd name="T68" fmla="*/ 173 w 286"/>
                  <a:gd name="T69" fmla="*/ 122 h 410"/>
                  <a:gd name="T70" fmla="*/ 148 w 286"/>
                  <a:gd name="T71" fmla="*/ 149 h 410"/>
                  <a:gd name="T72" fmla="*/ 147 w 286"/>
                  <a:gd name="T73" fmla="*/ 132 h 410"/>
                  <a:gd name="T74" fmla="*/ 127 w 286"/>
                  <a:gd name="T75" fmla="*/ 99 h 410"/>
                  <a:gd name="T76" fmla="*/ 143 w 286"/>
                  <a:gd name="T77" fmla="*/ 80 h 410"/>
                  <a:gd name="T78" fmla="*/ 143 w 286"/>
                  <a:gd name="T79" fmla="*/ 73 h 410"/>
                  <a:gd name="T80" fmla="*/ 143 w 286"/>
                  <a:gd name="T81" fmla="*/ 57 h 410"/>
                  <a:gd name="T82" fmla="*/ 131 w 286"/>
                  <a:gd name="T83" fmla="*/ 46 h 410"/>
                  <a:gd name="T84" fmla="*/ 133 w 286"/>
                  <a:gd name="T85" fmla="*/ 42 h 410"/>
                  <a:gd name="T86" fmla="*/ 133 w 286"/>
                  <a:gd name="T87" fmla="*/ 42 h 410"/>
                  <a:gd name="T88" fmla="*/ 120 w 286"/>
                  <a:gd name="T89" fmla="*/ 27 h 410"/>
                  <a:gd name="T90" fmla="*/ 120 w 286"/>
                  <a:gd name="T91" fmla="*/ 25 h 410"/>
                  <a:gd name="T92" fmla="*/ 108 w 286"/>
                  <a:gd name="T93" fmla="*/ 8 h 410"/>
                  <a:gd name="T94" fmla="*/ 38 w 286"/>
                  <a:gd name="T95" fmla="*/ 273 h 410"/>
                  <a:gd name="T96" fmla="*/ 26 w 286"/>
                  <a:gd name="T97" fmla="*/ 277 h 410"/>
                  <a:gd name="T98" fmla="*/ 284 w 286"/>
                  <a:gd name="T99" fmla="*/ 199 h 410"/>
                  <a:gd name="T100" fmla="*/ 278 w 286"/>
                  <a:gd name="T101" fmla="*/ 199 h 410"/>
                  <a:gd name="T102" fmla="*/ 4 w 286"/>
                  <a:gd name="T103" fmla="*/ 361 h 410"/>
                  <a:gd name="T104" fmla="*/ 2 w 286"/>
                  <a:gd name="T105" fmla="*/ 357 h 410"/>
                  <a:gd name="T106" fmla="*/ 13 w 286"/>
                  <a:gd name="T107" fmla="*/ 239 h 410"/>
                  <a:gd name="T108" fmla="*/ 126 w 286"/>
                  <a:gd name="T109" fmla="*/ 134 h 410"/>
                  <a:gd name="T110" fmla="*/ 5 w 286"/>
                  <a:gd name="T111" fmla="*/ 367 h 410"/>
                  <a:gd name="T112" fmla="*/ 135 w 286"/>
                  <a:gd name="T113" fmla="*/ 141 h 410"/>
                  <a:gd name="T114" fmla="*/ 147 w 286"/>
                  <a:gd name="T115" fmla="*/ 40 h 410"/>
                  <a:gd name="T116" fmla="*/ 141 w 286"/>
                  <a:gd name="T117" fmla="*/ 46 h 410"/>
                  <a:gd name="T118" fmla="*/ 143 w 286"/>
                  <a:gd name="T119" fmla="*/ 54 h 410"/>
                  <a:gd name="T120" fmla="*/ 5 w 286"/>
                  <a:gd name="T121" fmla="*/ 355 h 410"/>
                  <a:gd name="T122" fmla="*/ 2 w 286"/>
                  <a:gd name="T123" fmla="*/ 359 h 410"/>
                  <a:gd name="T124" fmla="*/ 143 w 286"/>
                  <a:gd name="T125" fmla="*/ 54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6" h="410">
                    <a:moveTo>
                      <a:pt x="108" y="132"/>
                    </a:moveTo>
                    <a:lnTo>
                      <a:pt x="108" y="134"/>
                    </a:lnTo>
                    <a:lnTo>
                      <a:pt x="110" y="136"/>
                    </a:lnTo>
                    <a:lnTo>
                      <a:pt x="112" y="134"/>
                    </a:lnTo>
                    <a:lnTo>
                      <a:pt x="112" y="136"/>
                    </a:lnTo>
                    <a:lnTo>
                      <a:pt x="112" y="134"/>
                    </a:lnTo>
                    <a:lnTo>
                      <a:pt x="112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2" y="140"/>
                    </a:lnTo>
                    <a:lnTo>
                      <a:pt x="114" y="141"/>
                    </a:lnTo>
                    <a:lnTo>
                      <a:pt x="112" y="141"/>
                    </a:lnTo>
                    <a:lnTo>
                      <a:pt x="114" y="143"/>
                    </a:lnTo>
                    <a:lnTo>
                      <a:pt x="114" y="141"/>
                    </a:lnTo>
                    <a:lnTo>
                      <a:pt x="114" y="143"/>
                    </a:lnTo>
                    <a:lnTo>
                      <a:pt x="114" y="145"/>
                    </a:lnTo>
                    <a:lnTo>
                      <a:pt x="116" y="145"/>
                    </a:lnTo>
                    <a:lnTo>
                      <a:pt x="118" y="143"/>
                    </a:lnTo>
                    <a:lnTo>
                      <a:pt x="116" y="145"/>
                    </a:lnTo>
                    <a:lnTo>
                      <a:pt x="118" y="143"/>
                    </a:lnTo>
                    <a:lnTo>
                      <a:pt x="120" y="141"/>
                    </a:lnTo>
                    <a:lnTo>
                      <a:pt x="120" y="143"/>
                    </a:lnTo>
                    <a:lnTo>
                      <a:pt x="120" y="141"/>
                    </a:lnTo>
                    <a:lnTo>
                      <a:pt x="120" y="143"/>
                    </a:lnTo>
                    <a:lnTo>
                      <a:pt x="120" y="141"/>
                    </a:lnTo>
                    <a:lnTo>
                      <a:pt x="122" y="141"/>
                    </a:lnTo>
                    <a:lnTo>
                      <a:pt x="122" y="140"/>
                    </a:lnTo>
                    <a:lnTo>
                      <a:pt x="124" y="141"/>
                    </a:lnTo>
                    <a:lnTo>
                      <a:pt x="122" y="141"/>
                    </a:lnTo>
                    <a:lnTo>
                      <a:pt x="124" y="141"/>
                    </a:lnTo>
                    <a:lnTo>
                      <a:pt x="126" y="140"/>
                    </a:lnTo>
                    <a:lnTo>
                      <a:pt x="124" y="140"/>
                    </a:lnTo>
                    <a:lnTo>
                      <a:pt x="126" y="140"/>
                    </a:lnTo>
                    <a:lnTo>
                      <a:pt x="124" y="140"/>
                    </a:lnTo>
                    <a:lnTo>
                      <a:pt x="126" y="140"/>
                    </a:lnTo>
                    <a:lnTo>
                      <a:pt x="126" y="138"/>
                    </a:lnTo>
                    <a:lnTo>
                      <a:pt x="126" y="140"/>
                    </a:lnTo>
                    <a:lnTo>
                      <a:pt x="126" y="138"/>
                    </a:lnTo>
                    <a:lnTo>
                      <a:pt x="126" y="140"/>
                    </a:lnTo>
                    <a:lnTo>
                      <a:pt x="127" y="138"/>
                    </a:lnTo>
                    <a:lnTo>
                      <a:pt x="127" y="136"/>
                    </a:lnTo>
                    <a:lnTo>
                      <a:pt x="127" y="138"/>
                    </a:lnTo>
                    <a:lnTo>
                      <a:pt x="129" y="138"/>
                    </a:lnTo>
                    <a:lnTo>
                      <a:pt x="127" y="138"/>
                    </a:lnTo>
                    <a:lnTo>
                      <a:pt x="127" y="140"/>
                    </a:lnTo>
                    <a:lnTo>
                      <a:pt x="126" y="140"/>
                    </a:lnTo>
                    <a:lnTo>
                      <a:pt x="126" y="141"/>
                    </a:lnTo>
                    <a:lnTo>
                      <a:pt x="126" y="140"/>
                    </a:lnTo>
                    <a:lnTo>
                      <a:pt x="127" y="140"/>
                    </a:lnTo>
                    <a:lnTo>
                      <a:pt x="127" y="141"/>
                    </a:lnTo>
                    <a:lnTo>
                      <a:pt x="126" y="141"/>
                    </a:lnTo>
                    <a:lnTo>
                      <a:pt x="127" y="141"/>
                    </a:lnTo>
                    <a:lnTo>
                      <a:pt x="126" y="141"/>
                    </a:lnTo>
                    <a:lnTo>
                      <a:pt x="126" y="143"/>
                    </a:lnTo>
                    <a:lnTo>
                      <a:pt x="126" y="141"/>
                    </a:lnTo>
                    <a:lnTo>
                      <a:pt x="126" y="143"/>
                    </a:lnTo>
                    <a:lnTo>
                      <a:pt x="127" y="143"/>
                    </a:lnTo>
                    <a:lnTo>
                      <a:pt x="126" y="143"/>
                    </a:lnTo>
                    <a:lnTo>
                      <a:pt x="126" y="145"/>
                    </a:lnTo>
                    <a:lnTo>
                      <a:pt x="124" y="145"/>
                    </a:lnTo>
                    <a:lnTo>
                      <a:pt x="126" y="145"/>
                    </a:lnTo>
                    <a:lnTo>
                      <a:pt x="127" y="145"/>
                    </a:lnTo>
                    <a:lnTo>
                      <a:pt x="127" y="143"/>
                    </a:lnTo>
                    <a:lnTo>
                      <a:pt x="126" y="143"/>
                    </a:lnTo>
                    <a:lnTo>
                      <a:pt x="127" y="143"/>
                    </a:lnTo>
                    <a:lnTo>
                      <a:pt x="131" y="143"/>
                    </a:lnTo>
                    <a:lnTo>
                      <a:pt x="129" y="143"/>
                    </a:lnTo>
                    <a:lnTo>
                      <a:pt x="129" y="141"/>
                    </a:lnTo>
                    <a:lnTo>
                      <a:pt x="129" y="143"/>
                    </a:lnTo>
                    <a:lnTo>
                      <a:pt x="127" y="143"/>
                    </a:lnTo>
                    <a:lnTo>
                      <a:pt x="127" y="141"/>
                    </a:lnTo>
                    <a:lnTo>
                      <a:pt x="129" y="141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9" y="140"/>
                    </a:lnTo>
                    <a:lnTo>
                      <a:pt x="129" y="138"/>
                    </a:lnTo>
                    <a:lnTo>
                      <a:pt x="129" y="140"/>
                    </a:lnTo>
                    <a:lnTo>
                      <a:pt x="131" y="140"/>
                    </a:lnTo>
                    <a:lnTo>
                      <a:pt x="129" y="140"/>
                    </a:lnTo>
                    <a:lnTo>
                      <a:pt x="131" y="140"/>
                    </a:lnTo>
                    <a:lnTo>
                      <a:pt x="131" y="138"/>
                    </a:lnTo>
                    <a:lnTo>
                      <a:pt x="131" y="140"/>
                    </a:lnTo>
                    <a:lnTo>
                      <a:pt x="133" y="140"/>
                    </a:lnTo>
                    <a:lnTo>
                      <a:pt x="131" y="140"/>
                    </a:lnTo>
                    <a:lnTo>
                      <a:pt x="133" y="140"/>
                    </a:lnTo>
                    <a:lnTo>
                      <a:pt x="133" y="141"/>
                    </a:lnTo>
                    <a:lnTo>
                      <a:pt x="131" y="141"/>
                    </a:lnTo>
                    <a:lnTo>
                      <a:pt x="131" y="143"/>
                    </a:lnTo>
                    <a:lnTo>
                      <a:pt x="129" y="143"/>
                    </a:lnTo>
                    <a:lnTo>
                      <a:pt x="127" y="143"/>
                    </a:lnTo>
                    <a:lnTo>
                      <a:pt x="127" y="145"/>
                    </a:lnTo>
                    <a:lnTo>
                      <a:pt x="129" y="145"/>
                    </a:lnTo>
                    <a:lnTo>
                      <a:pt x="129" y="143"/>
                    </a:lnTo>
                    <a:lnTo>
                      <a:pt x="129" y="145"/>
                    </a:lnTo>
                    <a:lnTo>
                      <a:pt x="129" y="143"/>
                    </a:lnTo>
                    <a:lnTo>
                      <a:pt x="129" y="145"/>
                    </a:lnTo>
                    <a:lnTo>
                      <a:pt x="129" y="143"/>
                    </a:lnTo>
                    <a:lnTo>
                      <a:pt x="131" y="143"/>
                    </a:lnTo>
                    <a:lnTo>
                      <a:pt x="131" y="145"/>
                    </a:lnTo>
                    <a:lnTo>
                      <a:pt x="131" y="143"/>
                    </a:lnTo>
                    <a:lnTo>
                      <a:pt x="131" y="145"/>
                    </a:lnTo>
                    <a:lnTo>
                      <a:pt x="131" y="143"/>
                    </a:lnTo>
                    <a:lnTo>
                      <a:pt x="131" y="145"/>
                    </a:lnTo>
                    <a:lnTo>
                      <a:pt x="131" y="143"/>
                    </a:lnTo>
                    <a:lnTo>
                      <a:pt x="133" y="143"/>
                    </a:lnTo>
                    <a:lnTo>
                      <a:pt x="133" y="145"/>
                    </a:lnTo>
                    <a:lnTo>
                      <a:pt x="133" y="143"/>
                    </a:lnTo>
                    <a:lnTo>
                      <a:pt x="133" y="145"/>
                    </a:lnTo>
                    <a:lnTo>
                      <a:pt x="131" y="145"/>
                    </a:lnTo>
                    <a:lnTo>
                      <a:pt x="131" y="147"/>
                    </a:lnTo>
                    <a:lnTo>
                      <a:pt x="131" y="145"/>
                    </a:lnTo>
                    <a:lnTo>
                      <a:pt x="129" y="147"/>
                    </a:lnTo>
                    <a:lnTo>
                      <a:pt x="129" y="149"/>
                    </a:lnTo>
                    <a:lnTo>
                      <a:pt x="129" y="151"/>
                    </a:lnTo>
                    <a:lnTo>
                      <a:pt x="131" y="151"/>
                    </a:lnTo>
                    <a:lnTo>
                      <a:pt x="129" y="149"/>
                    </a:lnTo>
                    <a:lnTo>
                      <a:pt x="131" y="151"/>
                    </a:lnTo>
                    <a:lnTo>
                      <a:pt x="131" y="153"/>
                    </a:lnTo>
                    <a:lnTo>
                      <a:pt x="131" y="155"/>
                    </a:lnTo>
                    <a:lnTo>
                      <a:pt x="133" y="155"/>
                    </a:lnTo>
                    <a:lnTo>
                      <a:pt x="131" y="157"/>
                    </a:lnTo>
                    <a:lnTo>
                      <a:pt x="127" y="161"/>
                    </a:lnTo>
                    <a:lnTo>
                      <a:pt x="127" y="162"/>
                    </a:lnTo>
                    <a:lnTo>
                      <a:pt x="127" y="164"/>
                    </a:lnTo>
                    <a:lnTo>
                      <a:pt x="126" y="166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2" y="170"/>
                    </a:lnTo>
                    <a:lnTo>
                      <a:pt x="120" y="172"/>
                    </a:lnTo>
                    <a:lnTo>
                      <a:pt x="122" y="172"/>
                    </a:lnTo>
                    <a:lnTo>
                      <a:pt x="120" y="174"/>
                    </a:lnTo>
                    <a:lnTo>
                      <a:pt x="118" y="178"/>
                    </a:lnTo>
                    <a:lnTo>
                      <a:pt x="118" y="180"/>
                    </a:lnTo>
                    <a:lnTo>
                      <a:pt x="116" y="181"/>
                    </a:lnTo>
                    <a:lnTo>
                      <a:pt x="114" y="181"/>
                    </a:lnTo>
                    <a:lnTo>
                      <a:pt x="114" y="183"/>
                    </a:lnTo>
                    <a:lnTo>
                      <a:pt x="110" y="185"/>
                    </a:lnTo>
                    <a:lnTo>
                      <a:pt x="108" y="187"/>
                    </a:lnTo>
                    <a:lnTo>
                      <a:pt x="108" y="191"/>
                    </a:lnTo>
                    <a:lnTo>
                      <a:pt x="108" y="195"/>
                    </a:lnTo>
                    <a:lnTo>
                      <a:pt x="108" y="193"/>
                    </a:lnTo>
                    <a:lnTo>
                      <a:pt x="108" y="195"/>
                    </a:lnTo>
                    <a:lnTo>
                      <a:pt x="110" y="195"/>
                    </a:lnTo>
                    <a:lnTo>
                      <a:pt x="106" y="195"/>
                    </a:lnTo>
                    <a:lnTo>
                      <a:pt x="108" y="195"/>
                    </a:lnTo>
                    <a:lnTo>
                      <a:pt x="106" y="197"/>
                    </a:lnTo>
                    <a:lnTo>
                      <a:pt x="108" y="195"/>
                    </a:lnTo>
                    <a:lnTo>
                      <a:pt x="108" y="197"/>
                    </a:lnTo>
                    <a:lnTo>
                      <a:pt x="108" y="195"/>
                    </a:lnTo>
                    <a:lnTo>
                      <a:pt x="110" y="195"/>
                    </a:lnTo>
                    <a:lnTo>
                      <a:pt x="110" y="197"/>
                    </a:lnTo>
                    <a:lnTo>
                      <a:pt x="110" y="195"/>
                    </a:lnTo>
                    <a:lnTo>
                      <a:pt x="112" y="195"/>
                    </a:lnTo>
                    <a:lnTo>
                      <a:pt x="110" y="197"/>
                    </a:lnTo>
                    <a:lnTo>
                      <a:pt x="112" y="195"/>
                    </a:lnTo>
                    <a:lnTo>
                      <a:pt x="112" y="197"/>
                    </a:lnTo>
                    <a:lnTo>
                      <a:pt x="112" y="195"/>
                    </a:lnTo>
                    <a:lnTo>
                      <a:pt x="112" y="197"/>
                    </a:lnTo>
                    <a:lnTo>
                      <a:pt x="114" y="197"/>
                    </a:lnTo>
                    <a:lnTo>
                      <a:pt x="114" y="199"/>
                    </a:lnTo>
                    <a:lnTo>
                      <a:pt x="114" y="201"/>
                    </a:lnTo>
                    <a:lnTo>
                      <a:pt x="112" y="201"/>
                    </a:lnTo>
                    <a:lnTo>
                      <a:pt x="112" y="199"/>
                    </a:lnTo>
                    <a:lnTo>
                      <a:pt x="110" y="201"/>
                    </a:lnTo>
                    <a:lnTo>
                      <a:pt x="112" y="201"/>
                    </a:lnTo>
                    <a:lnTo>
                      <a:pt x="112" y="202"/>
                    </a:lnTo>
                    <a:lnTo>
                      <a:pt x="110" y="201"/>
                    </a:lnTo>
                    <a:lnTo>
                      <a:pt x="108" y="201"/>
                    </a:lnTo>
                    <a:lnTo>
                      <a:pt x="110" y="201"/>
                    </a:lnTo>
                    <a:lnTo>
                      <a:pt x="108" y="201"/>
                    </a:lnTo>
                    <a:lnTo>
                      <a:pt x="103" y="201"/>
                    </a:lnTo>
                    <a:lnTo>
                      <a:pt x="105" y="201"/>
                    </a:lnTo>
                    <a:lnTo>
                      <a:pt x="108" y="199"/>
                    </a:lnTo>
                    <a:lnTo>
                      <a:pt x="106" y="199"/>
                    </a:lnTo>
                    <a:lnTo>
                      <a:pt x="105" y="197"/>
                    </a:lnTo>
                    <a:lnTo>
                      <a:pt x="105" y="199"/>
                    </a:lnTo>
                    <a:lnTo>
                      <a:pt x="103" y="197"/>
                    </a:lnTo>
                    <a:lnTo>
                      <a:pt x="103" y="199"/>
                    </a:lnTo>
                    <a:lnTo>
                      <a:pt x="103" y="201"/>
                    </a:lnTo>
                    <a:lnTo>
                      <a:pt x="97" y="202"/>
                    </a:lnTo>
                    <a:lnTo>
                      <a:pt x="91" y="206"/>
                    </a:lnTo>
                    <a:lnTo>
                      <a:pt x="87" y="210"/>
                    </a:lnTo>
                    <a:lnTo>
                      <a:pt x="86" y="212"/>
                    </a:lnTo>
                    <a:lnTo>
                      <a:pt x="86" y="214"/>
                    </a:lnTo>
                    <a:lnTo>
                      <a:pt x="84" y="216"/>
                    </a:lnTo>
                    <a:lnTo>
                      <a:pt x="84" y="222"/>
                    </a:lnTo>
                    <a:lnTo>
                      <a:pt x="84" y="225"/>
                    </a:lnTo>
                    <a:lnTo>
                      <a:pt x="82" y="227"/>
                    </a:lnTo>
                    <a:lnTo>
                      <a:pt x="80" y="227"/>
                    </a:lnTo>
                    <a:lnTo>
                      <a:pt x="80" y="229"/>
                    </a:lnTo>
                    <a:lnTo>
                      <a:pt x="78" y="231"/>
                    </a:lnTo>
                    <a:lnTo>
                      <a:pt x="78" y="233"/>
                    </a:lnTo>
                    <a:lnTo>
                      <a:pt x="78" y="235"/>
                    </a:lnTo>
                    <a:lnTo>
                      <a:pt x="80" y="235"/>
                    </a:lnTo>
                    <a:lnTo>
                      <a:pt x="78" y="237"/>
                    </a:lnTo>
                    <a:lnTo>
                      <a:pt x="78" y="239"/>
                    </a:lnTo>
                    <a:lnTo>
                      <a:pt x="76" y="241"/>
                    </a:lnTo>
                    <a:lnTo>
                      <a:pt x="76" y="239"/>
                    </a:lnTo>
                    <a:lnTo>
                      <a:pt x="76" y="241"/>
                    </a:lnTo>
                    <a:lnTo>
                      <a:pt x="74" y="243"/>
                    </a:lnTo>
                    <a:lnTo>
                      <a:pt x="76" y="243"/>
                    </a:lnTo>
                    <a:lnTo>
                      <a:pt x="76" y="244"/>
                    </a:lnTo>
                    <a:lnTo>
                      <a:pt x="74" y="244"/>
                    </a:lnTo>
                    <a:lnTo>
                      <a:pt x="74" y="246"/>
                    </a:lnTo>
                    <a:lnTo>
                      <a:pt x="74" y="244"/>
                    </a:lnTo>
                    <a:lnTo>
                      <a:pt x="76" y="244"/>
                    </a:lnTo>
                    <a:lnTo>
                      <a:pt x="78" y="244"/>
                    </a:lnTo>
                    <a:lnTo>
                      <a:pt x="76" y="244"/>
                    </a:lnTo>
                    <a:lnTo>
                      <a:pt x="78" y="244"/>
                    </a:lnTo>
                    <a:lnTo>
                      <a:pt x="78" y="246"/>
                    </a:lnTo>
                    <a:lnTo>
                      <a:pt x="76" y="246"/>
                    </a:lnTo>
                    <a:lnTo>
                      <a:pt x="76" y="244"/>
                    </a:lnTo>
                    <a:lnTo>
                      <a:pt x="76" y="246"/>
                    </a:lnTo>
                    <a:lnTo>
                      <a:pt x="72" y="246"/>
                    </a:lnTo>
                    <a:lnTo>
                      <a:pt x="70" y="248"/>
                    </a:lnTo>
                    <a:lnTo>
                      <a:pt x="68" y="250"/>
                    </a:lnTo>
                    <a:lnTo>
                      <a:pt x="68" y="252"/>
                    </a:lnTo>
                    <a:lnTo>
                      <a:pt x="65" y="254"/>
                    </a:lnTo>
                    <a:lnTo>
                      <a:pt x="65" y="256"/>
                    </a:lnTo>
                    <a:lnTo>
                      <a:pt x="63" y="258"/>
                    </a:lnTo>
                    <a:lnTo>
                      <a:pt x="61" y="258"/>
                    </a:lnTo>
                    <a:lnTo>
                      <a:pt x="63" y="260"/>
                    </a:lnTo>
                    <a:lnTo>
                      <a:pt x="61" y="260"/>
                    </a:lnTo>
                    <a:lnTo>
                      <a:pt x="59" y="260"/>
                    </a:lnTo>
                    <a:lnTo>
                      <a:pt x="61" y="260"/>
                    </a:lnTo>
                    <a:lnTo>
                      <a:pt x="61" y="262"/>
                    </a:lnTo>
                    <a:lnTo>
                      <a:pt x="59" y="262"/>
                    </a:lnTo>
                    <a:lnTo>
                      <a:pt x="57" y="262"/>
                    </a:lnTo>
                    <a:lnTo>
                      <a:pt x="57" y="264"/>
                    </a:lnTo>
                    <a:lnTo>
                      <a:pt x="55" y="264"/>
                    </a:lnTo>
                    <a:lnTo>
                      <a:pt x="53" y="264"/>
                    </a:lnTo>
                    <a:lnTo>
                      <a:pt x="51" y="264"/>
                    </a:lnTo>
                    <a:lnTo>
                      <a:pt x="49" y="264"/>
                    </a:lnTo>
                    <a:lnTo>
                      <a:pt x="47" y="264"/>
                    </a:lnTo>
                    <a:lnTo>
                      <a:pt x="45" y="262"/>
                    </a:lnTo>
                    <a:lnTo>
                      <a:pt x="44" y="262"/>
                    </a:lnTo>
                    <a:lnTo>
                      <a:pt x="42" y="264"/>
                    </a:lnTo>
                    <a:lnTo>
                      <a:pt x="40" y="262"/>
                    </a:lnTo>
                    <a:lnTo>
                      <a:pt x="42" y="262"/>
                    </a:lnTo>
                    <a:lnTo>
                      <a:pt x="40" y="262"/>
                    </a:lnTo>
                    <a:lnTo>
                      <a:pt x="38" y="262"/>
                    </a:lnTo>
                    <a:lnTo>
                      <a:pt x="40" y="264"/>
                    </a:lnTo>
                    <a:lnTo>
                      <a:pt x="38" y="264"/>
                    </a:lnTo>
                    <a:lnTo>
                      <a:pt x="38" y="262"/>
                    </a:lnTo>
                    <a:lnTo>
                      <a:pt x="36" y="260"/>
                    </a:lnTo>
                    <a:lnTo>
                      <a:pt x="38" y="260"/>
                    </a:lnTo>
                    <a:lnTo>
                      <a:pt x="38" y="262"/>
                    </a:lnTo>
                    <a:lnTo>
                      <a:pt x="38" y="260"/>
                    </a:lnTo>
                    <a:lnTo>
                      <a:pt x="40" y="260"/>
                    </a:lnTo>
                    <a:lnTo>
                      <a:pt x="38" y="258"/>
                    </a:lnTo>
                    <a:lnTo>
                      <a:pt x="38" y="260"/>
                    </a:lnTo>
                    <a:lnTo>
                      <a:pt x="36" y="258"/>
                    </a:lnTo>
                    <a:lnTo>
                      <a:pt x="34" y="256"/>
                    </a:lnTo>
                    <a:lnTo>
                      <a:pt x="34" y="258"/>
                    </a:lnTo>
                    <a:lnTo>
                      <a:pt x="34" y="256"/>
                    </a:lnTo>
                    <a:lnTo>
                      <a:pt x="32" y="256"/>
                    </a:lnTo>
                    <a:lnTo>
                      <a:pt x="34" y="258"/>
                    </a:lnTo>
                    <a:lnTo>
                      <a:pt x="32" y="258"/>
                    </a:lnTo>
                    <a:lnTo>
                      <a:pt x="30" y="258"/>
                    </a:lnTo>
                    <a:lnTo>
                      <a:pt x="28" y="258"/>
                    </a:lnTo>
                    <a:lnTo>
                      <a:pt x="28" y="256"/>
                    </a:lnTo>
                    <a:lnTo>
                      <a:pt x="28" y="254"/>
                    </a:lnTo>
                    <a:lnTo>
                      <a:pt x="26" y="254"/>
                    </a:lnTo>
                    <a:lnTo>
                      <a:pt x="26" y="252"/>
                    </a:lnTo>
                    <a:lnTo>
                      <a:pt x="24" y="252"/>
                    </a:lnTo>
                    <a:lnTo>
                      <a:pt x="23" y="254"/>
                    </a:lnTo>
                    <a:lnTo>
                      <a:pt x="21" y="254"/>
                    </a:lnTo>
                    <a:lnTo>
                      <a:pt x="19" y="254"/>
                    </a:lnTo>
                    <a:lnTo>
                      <a:pt x="17" y="254"/>
                    </a:lnTo>
                    <a:lnTo>
                      <a:pt x="15" y="254"/>
                    </a:lnTo>
                    <a:lnTo>
                      <a:pt x="13" y="254"/>
                    </a:lnTo>
                    <a:lnTo>
                      <a:pt x="11" y="254"/>
                    </a:lnTo>
                    <a:lnTo>
                      <a:pt x="11" y="252"/>
                    </a:lnTo>
                    <a:lnTo>
                      <a:pt x="13" y="252"/>
                    </a:lnTo>
                    <a:lnTo>
                      <a:pt x="13" y="250"/>
                    </a:lnTo>
                    <a:lnTo>
                      <a:pt x="13" y="248"/>
                    </a:lnTo>
                    <a:lnTo>
                      <a:pt x="15" y="248"/>
                    </a:lnTo>
                    <a:lnTo>
                      <a:pt x="17" y="246"/>
                    </a:lnTo>
                    <a:lnTo>
                      <a:pt x="15" y="248"/>
                    </a:lnTo>
                    <a:lnTo>
                      <a:pt x="13" y="248"/>
                    </a:lnTo>
                    <a:lnTo>
                      <a:pt x="13" y="250"/>
                    </a:lnTo>
                    <a:lnTo>
                      <a:pt x="13" y="248"/>
                    </a:lnTo>
                    <a:lnTo>
                      <a:pt x="13" y="250"/>
                    </a:lnTo>
                    <a:lnTo>
                      <a:pt x="11" y="250"/>
                    </a:lnTo>
                    <a:lnTo>
                      <a:pt x="11" y="248"/>
                    </a:lnTo>
                    <a:lnTo>
                      <a:pt x="13" y="248"/>
                    </a:lnTo>
                    <a:lnTo>
                      <a:pt x="11" y="248"/>
                    </a:lnTo>
                    <a:lnTo>
                      <a:pt x="13" y="246"/>
                    </a:lnTo>
                    <a:lnTo>
                      <a:pt x="11" y="248"/>
                    </a:lnTo>
                    <a:lnTo>
                      <a:pt x="9" y="248"/>
                    </a:lnTo>
                    <a:lnTo>
                      <a:pt x="9" y="246"/>
                    </a:lnTo>
                    <a:lnTo>
                      <a:pt x="7" y="246"/>
                    </a:lnTo>
                    <a:lnTo>
                      <a:pt x="9" y="244"/>
                    </a:lnTo>
                    <a:lnTo>
                      <a:pt x="11" y="244"/>
                    </a:lnTo>
                    <a:lnTo>
                      <a:pt x="13" y="243"/>
                    </a:lnTo>
                    <a:lnTo>
                      <a:pt x="15" y="243"/>
                    </a:lnTo>
                    <a:lnTo>
                      <a:pt x="15" y="244"/>
                    </a:lnTo>
                    <a:lnTo>
                      <a:pt x="15" y="243"/>
                    </a:lnTo>
                    <a:lnTo>
                      <a:pt x="17" y="243"/>
                    </a:lnTo>
                    <a:lnTo>
                      <a:pt x="15" y="243"/>
                    </a:lnTo>
                    <a:lnTo>
                      <a:pt x="13" y="243"/>
                    </a:lnTo>
                    <a:lnTo>
                      <a:pt x="13" y="241"/>
                    </a:lnTo>
                    <a:lnTo>
                      <a:pt x="17" y="241"/>
                    </a:lnTo>
                    <a:lnTo>
                      <a:pt x="15" y="241"/>
                    </a:lnTo>
                    <a:lnTo>
                      <a:pt x="13" y="241"/>
                    </a:lnTo>
                    <a:lnTo>
                      <a:pt x="13" y="239"/>
                    </a:lnTo>
                    <a:lnTo>
                      <a:pt x="15" y="239"/>
                    </a:lnTo>
                    <a:lnTo>
                      <a:pt x="17" y="239"/>
                    </a:lnTo>
                    <a:lnTo>
                      <a:pt x="15" y="239"/>
                    </a:lnTo>
                    <a:lnTo>
                      <a:pt x="17" y="237"/>
                    </a:lnTo>
                    <a:lnTo>
                      <a:pt x="15" y="239"/>
                    </a:lnTo>
                    <a:lnTo>
                      <a:pt x="15" y="237"/>
                    </a:lnTo>
                    <a:lnTo>
                      <a:pt x="15" y="239"/>
                    </a:lnTo>
                    <a:lnTo>
                      <a:pt x="13" y="239"/>
                    </a:lnTo>
                    <a:lnTo>
                      <a:pt x="13" y="237"/>
                    </a:lnTo>
                    <a:lnTo>
                      <a:pt x="13" y="235"/>
                    </a:lnTo>
                    <a:lnTo>
                      <a:pt x="15" y="233"/>
                    </a:lnTo>
                    <a:lnTo>
                      <a:pt x="17" y="233"/>
                    </a:lnTo>
                    <a:lnTo>
                      <a:pt x="15" y="233"/>
                    </a:lnTo>
                    <a:lnTo>
                      <a:pt x="17" y="233"/>
                    </a:lnTo>
                    <a:lnTo>
                      <a:pt x="17" y="235"/>
                    </a:lnTo>
                    <a:lnTo>
                      <a:pt x="19" y="235"/>
                    </a:lnTo>
                    <a:lnTo>
                      <a:pt x="19" y="237"/>
                    </a:lnTo>
                    <a:lnTo>
                      <a:pt x="19" y="235"/>
                    </a:lnTo>
                    <a:lnTo>
                      <a:pt x="17" y="233"/>
                    </a:lnTo>
                    <a:lnTo>
                      <a:pt x="19" y="233"/>
                    </a:lnTo>
                    <a:lnTo>
                      <a:pt x="21" y="233"/>
                    </a:lnTo>
                    <a:lnTo>
                      <a:pt x="19" y="233"/>
                    </a:lnTo>
                    <a:lnTo>
                      <a:pt x="21" y="231"/>
                    </a:lnTo>
                    <a:lnTo>
                      <a:pt x="19" y="231"/>
                    </a:lnTo>
                    <a:lnTo>
                      <a:pt x="19" y="233"/>
                    </a:lnTo>
                    <a:lnTo>
                      <a:pt x="17" y="233"/>
                    </a:lnTo>
                    <a:lnTo>
                      <a:pt x="17" y="231"/>
                    </a:lnTo>
                    <a:lnTo>
                      <a:pt x="17" y="229"/>
                    </a:lnTo>
                    <a:lnTo>
                      <a:pt x="19" y="227"/>
                    </a:lnTo>
                    <a:lnTo>
                      <a:pt x="19" y="225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23" y="223"/>
                    </a:lnTo>
                    <a:lnTo>
                      <a:pt x="23" y="225"/>
                    </a:lnTo>
                    <a:lnTo>
                      <a:pt x="24" y="225"/>
                    </a:lnTo>
                    <a:lnTo>
                      <a:pt x="23" y="225"/>
                    </a:lnTo>
                    <a:lnTo>
                      <a:pt x="24" y="225"/>
                    </a:lnTo>
                    <a:lnTo>
                      <a:pt x="23" y="225"/>
                    </a:lnTo>
                    <a:lnTo>
                      <a:pt x="24" y="225"/>
                    </a:lnTo>
                    <a:lnTo>
                      <a:pt x="23" y="222"/>
                    </a:lnTo>
                    <a:lnTo>
                      <a:pt x="24" y="222"/>
                    </a:lnTo>
                    <a:lnTo>
                      <a:pt x="26" y="222"/>
                    </a:lnTo>
                    <a:lnTo>
                      <a:pt x="24" y="223"/>
                    </a:lnTo>
                    <a:lnTo>
                      <a:pt x="26" y="223"/>
                    </a:lnTo>
                    <a:lnTo>
                      <a:pt x="24" y="223"/>
                    </a:lnTo>
                    <a:lnTo>
                      <a:pt x="26" y="222"/>
                    </a:lnTo>
                    <a:lnTo>
                      <a:pt x="24" y="220"/>
                    </a:lnTo>
                    <a:lnTo>
                      <a:pt x="26" y="220"/>
                    </a:lnTo>
                    <a:lnTo>
                      <a:pt x="28" y="222"/>
                    </a:lnTo>
                    <a:lnTo>
                      <a:pt x="26" y="220"/>
                    </a:lnTo>
                    <a:lnTo>
                      <a:pt x="26" y="218"/>
                    </a:lnTo>
                    <a:lnTo>
                      <a:pt x="28" y="220"/>
                    </a:lnTo>
                    <a:lnTo>
                      <a:pt x="28" y="218"/>
                    </a:lnTo>
                    <a:lnTo>
                      <a:pt x="30" y="216"/>
                    </a:lnTo>
                    <a:lnTo>
                      <a:pt x="30" y="218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2" y="218"/>
                    </a:lnTo>
                    <a:lnTo>
                      <a:pt x="30" y="218"/>
                    </a:lnTo>
                    <a:lnTo>
                      <a:pt x="30" y="216"/>
                    </a:lnTo>
                    <a:lnTo>
                      <a:pt x="30" y="214"/>
                    </a:lnTo>
                    <a:lnTo>
                      <a:pt x="32" y="214"/>
                    </a:lnTo>
                    <a:lnTo>
                      <a:pt x="32" y="212"/>
                    </a:lnTo>
                    <a:lnTo>
                      <a:pt x="34" y="212"/>
                    </a:lnTo>
                    <a:lnTo>
                      <a:pt x="34" y="210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8"/>
                    </a:lnTo>
                    <a:lnTo>
                      <a:pt x="38" y="206"/>
                    </a:lnTo>
                    <a:lnTo>
                      <a:pt x="38" y="204"/>
                    </a:lnTo>
                    <a:lnTo>
                      <a:pt x="40" y="204"/>
                    </a:lnTo>
                    <a:lnTo>
                      <a:pt x="42" y="204"/>
                    </a:lnTo>
                    <a:lnTo>
                      <a:pt x="44" y="202"/>
                    </a:lnTo>
                    <a:lnTo>
                      <a:pt x="44" y="204"/>
                    </a:lnTo>
                    <a:lnTo>
                      <a:pt x="45" y="202"/>
                    </a:lnTo>
                    <a:lnTo>
                      <a:pt x="47" y="202"/>
                    </a:lnTo>
                    <a:lnTo>
                      <a:pt x="49" y="201"/>
                    </a:lnTo>
                    <a:lnTo>
                      <a:pt x="53" y="197"/>
                    </a:lnTo>
                    <a:lnTo>
                      <a:pt x="55" y="197"/>
                    </a:lnTo>
                    <a:lnTo>
                      <a:pt x="55" y="195"/>
                    </a:lnTo>
                    <a:lnTo>
                      <a:pt x="57" y="195"/>
                    </a:lnTo>
                    <a:lnTo>
                      <a:pt x="59" y="195"/>
                    </a:lnTo>
                    <a:lnTo>
                      <a:pt x="59" y="193"/>
                    </a:lnTo>
                    <a:lnTo>
                      <a:pt x="61" y="193"/>
                    </a:lnTo>
                    <a:lnTo>
                      <a:pt x="63" y="191"/>
                    </a:lnTo>
                    <a:lnTo>
                      <a:pt x="65" y="189"/>
                    </a:lnTo>
                    <a:lnTo>
                      <a:pt x="66" y="187"/>
                    </a:lnTo>
                    <a:lnTo>
                      <a:pt x="68" y="187"/>
                    </a:lnTo>
                    <a:lnTo>
                      <a:pt x="68" y="185"/>
                    </a:lnTo>
                    <a:lnTo>
                      <a:pt x="70" y="185"/>
                    </a:lnTo>
                    <a:lnTo>
                      <a:pt x="68" y="185"/>
                    </a:lnTo>
                    <a:lnTo>
                      <a:pt x="68" y="187"/>
                    </a:lnTo>
                    <a:lnTo>
                      <a:pt x="68" y="183"/>
                    </a:lnTo>
                    <a:lnTo>
                      <a:pt x="70" y="183"/>
                    </a:lnTo>
                    <a:lnTo>
                      <a:pt x="72" y="183"/>
                    </a:lnTo>
                    <a:lnTo>
                      <a:pt x="72" y="181"/>
                    </a:lnTo>
                    <a:lnTo>
                      <a:pt x="74" y="181"/>
                    </a:lnTo>
                    <a:lnTo>
                      <a:pt x="78" y="180"/>
                    </a:lnTo>
                    <a:lnTo>
                      <a:pt x="80" y="176"/>
                    </a:lnTo>
                    <a:lnTo>
                      <a:pt x="82" y="174"/>
                    </a:lnTo>
                    <a:lnTo>
                      <a:pt x="84" y="172"/>
                    </a:lnTo>
                    <a:lnTo>
                      <a:pt x="84" y="168"/>
                    </a:lnTo>
                    <a:lnTo>
                      <a:pt x="86" y="168"/>
                    </a:lnTo>
                    <a:lnTo>
                      <a:pt x="86" y="166"/>
                    </a:lnTo>
                    <a:lnTo>
                      <a:pt x="86" y="162"/>
                    </a:lnTo>
                    <a:lnTo>
                      <a:pt x="87" y="162"/>
                    </a:lnTo>
                    <a:lnTo>
                      <a:pt x="87" y="161"/>
                    </a:lnTo>
                    <a:lnTo>
                      <a:pt x="87" y="159"/>
                    </a:lnTo>
                    <a:lnTo>
                      <a:pt x="87" y="155"/>
                    </a:lnTo>
                    <a:lnTo>
                      <a:pt x="89" y="155"/>
                    </a:lnTo>
                    <a:lnTo>
                      <a:pt x="91" y="155"/>
                    </a:lnTo>
                    <a:lnTo>
                      <a:pt x="93" y="155"/>
                    </a:lnTo>
                    <a:lnTo>
                      <a:pt x="95" y="153"/>
                    </a:lnTo>
                    <a:lnTo>
                      <a:pt x="97" y="149"/>
                    </a:lnTo>
                    <a:lnTo>
                      <a:pt x="97" y="147"/>
                    </a:lnTo>
                    <a:lnTo>
                      <a:pt x="99" y="145"/>
                    </a:lnTo>
                    <a:lnTo>
                      <a:pt x="99" y="143"/>
                    </a:lnTo>
                    <a:lnTo>
                      <a:pt x="99" y="140"/>
                    </a:lnTo>
                    <a:lnTo>
                      <a:pt x="99" y="138"/>
                    </a:lnTo>
                    <a:lnTo>
                      <a:pt x="99" y="136"/>
                    </a:lnTo>
                    <a:lnTo>
                      <a:pt x="101" y="134"/>
                    </a:lnTo>
                    <a:lnTo>
                      <a:pt x="105" y="130"/>
                    </a:lnTo>
                    <a:lnTo>
                      <a:pt x="105" y="132"/>
                    </a:lnTo>
                    <a:lnTo>
                      <a:pt x="105" y="130"/>
                    </a:lnTo>
                    <a:lnTo>
                      <a:pt x="106" y="130"/>
                    </a:lnTo>
                    <a:lnTo>
                      <a:pt x="106" y="128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2" y="130"/>
                    </a:lnTo>
                    <a:lnTo>
                      <a:pt x="112" y="128"/>
                    </a:lnTo>
                    <a:lnTo>
                      <a:pt x="110" y="128"/>
                    </a:lnTo>
                    <a:lnTo>
                      <a:pt x="108" y="128"/>
                    </a:lnTo>
                    <a:lnTo>
                      <a:pt x="108" y="130"/>
                    </a:lnTo>
                    <a:lnTo>
                      <a:pt x="108" y="132"/>
                    </a:lnTo>
                    <a:lnTo>
                      <a:pt x="106" y="132"/>
                    </a:lnTo>
                    <a:lnTo>
                      <a:pt x="108" y="132"/>
                    </a:lnTo>
                    <a:close/>
                    <a:moveTo>
                      <a:pt x="112" y="6"/>
                    </a:moveTo>
                    <a:lnTo>
                      <a:pt x="114" y="6"/>
                    </a:lnTo>
                    <a:lnTo>
                      <a:pt x="112" y="6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2" y="10"/>
                    </a:lnTo>
                    <a:lnTo>
                      <a:pt x="112" y="8"/>
                    </a:lnTo>
                    <a:lnTo>
                      <a:pt x="112" y="10"/>
                    </a:lnTo>
                    <a:lnTo>
                      <a:pt x="112" y="8"/>
                    </a:lnTo>
                    <a:lnTo>
                      <a:pt x="114" y="12"/>
                    </a:lnTo>
                    <a:lnTo>
                      <a:pt x="114" y="14"/>
                    </a:lnTo>
                    <a:lnTo>
                      <a:pt x="116" y="14"/>
                    </a:lnTo>
                    <a:lnTo>
                      <a:pt x="114" y="14"/>
                    </a:lnTo>
                    <a:lnTo>
                      <a:pt x="116" y="14"/>
                    </a:lnTo>
                    <a:lnTo>
                      <a:pt x="116" y="15"/>
                    </a:lnTo>
                    <a:lnTo>
                      <a:pt x="118" y="15"/>
                    </a:lnTo>
                    <a:lnTo>
                      <a:pt x="116" y="15"/>
                    </a:lnTo>
                    <a:lnTo>
                      <a:pt x="116" y="17"/>
                    </a:lnTo>
                    <a:lnTo>
                      <a:pt x="118" y="17"/>
                    </a:lnTo>
                    <a:lnTo>
                      <a:pt x="118" y="15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18" y="15"/>
                    </a:lnTo>
                    <a:lnTo>
                      <a:pt x="120" y="17"/>
                    </a:lnTo>
                    <a:lnTo>
                      <a:pt x="122" y="17"/>
                    </a:lnTo>
                    <a:lnTo>
                      <a:pt x="122" y="15"/>
                    </a:lnTo>
                    <a:lnTo>
                      <a:pt x="122" y="17"/>
                    </a:lnTo>
                    <a:lnTo>
                      <a:pt x="124" y="17"/>
                    </a:lnTo>
                    <a:lnTo>
                      <a:pt x="126" y="17"/>
                    </a:lnTo>
                    <a:lnTo>
                      <a:pt x="124" y="17"/>
                    </a:lnTo>
                    <a:lnTo>
                      <a:pt x="126" y="17"/>
                    </a:lnTo>
                    <a:lnTo>
                      <a:pt x="124" y="19"/>
                    </a:lnTo>
                    <a:lnTo>
                      <a:pt x="126" y="19"/>
                    </a:lnTo>
                    <a:lnTo>
                      <a:pt x="124" y="19"/>
                    </a:lnTo>
                    <a:lnTo>
                      <a:pt x="126" y="19"/>
                    </a:lnTo>
                    <a:lnTo>
                      <a:pt x="126" y="17"/>
                    </a:lnTo>
                    <a:lnTo>
                      <a:pt x="126" y="19"/>
                    </a:lnTo>
                    <a:lnTo>
                      <a:pt x="126" y="17"/>
                    </a:lnTo>
                    <a:lnTo>
                      <a:pt x="127" y="17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29" y="21"/>
                    </a:lnTo>
                    <a:lnTo>
                      <a:pt x="131" y="21"/>
                    </a:lnTo>
                    <a:lnTo>
                      <a:pt x="129" y="21"/>
                    </a:lnTo>
                    <a:lnTo>
                      <a:pt x="127" y="21"/>
                    </a:lnTo>
                    <a:lnTo>
                      <a:pt x="129" y="21"/>
                    </a:lnTo>
                    <a:lnTo>
                      <a:pt x="127" y="21"/>
                    </a:lnTo>
                    <a:lnTo>
                      <a:pt x="129" y="21"/>
                    </a:lnTo>
                    <a:lnTo>
                      <a:pt x="129" y="23"/>
                    </a:lnTo>
                    <a:lnTo>
                      <a:pt x="131" y="23"/>
                    </a:lnTo>
                    <a:lnTo>
                      <a:pt x="129" y="23"/>
                    </a:lnTo>
                    <a:lnTo>
                      <a:pt x="131" y="25"/>
                    </a:lnTo>
                    <a:lnTo>
                      <a:pt x="131" y="23"/>
                    </a:lnTo>
                    <a:lnTo>
                      <a:pt x="131" y="25"/>
                    </a:lnTo>
                    <a:lnTo>
                      <a:pt x="131" y="23"/>
                    </a:lnTo>
                    <a:lnTo>
                      <a:pt x="131" y="25"/>
                    </a:lnTo>
                    <a:lnTo>
                      <a:pt x="131" y="23"/>
                    </a:lnTo>
                    <a:lnTo>
                      <a:pt x="131" y="25"/>
                    </a:lnTo>
                    <a:lnTo>
                      <a:pt x="133" y="23"/>
                    </a:lnTo>
                    <a:lnTo>
                      <a:pt x="131" y="23"/>
                    </a:lnTo>
                    <a:lnTo>
                      <a:pt x="133" y="23"/>
                    </a:lnTo>
                    <a:lnTo>
                      <a:pt x="133" y="21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5" y="25"/>
                    </a:lnTo>
                    <a:lnTo>
                      <a:pt x="133" y="25"/>
                    </a:lnTo>
                    <a:lnTo>
                      <a:pt x="133" y="23"/>
                    </a:lnTo>
                    <a:lnTo>
                      <a:pt x="133" y="25"/>
                    </a:lnTo>
                    <a:lnTo>
                      <a:pt x="135" y="25"/>
                    </a:lnTo>
                    <a:lnTo>
                      <a:pt x="135" y="27"/>
                    </a:lnTo>
                    <a:lnTo>
                      <a:pt x="135" y="25"/>
                    </a:lnTo>
                    <a:lnTo>
                      <a:pt x="135" y="27"/>
                    </a:lnTo>
                    <a:lnTo>
                      <a:pt x="137" y="27"/>
                    </a:lnTo>
                    <a:lnTo>
                      <a:pt x="135" y="27"/>
                    </a:lnTo>
                    <a:lnTo>
                      <a:pt x="135" y="29"/>
                    </a:lnTo>
                    <a:lnTo>
                      <a:pt x="137" y="27"/>
                    </a:lnTo>
                    <a:lnTo>
                      <a:pt x="137" y="29"/>
                    </a:lnTo>
                    <a:lnTo>
                      <a:pt x="137" y="31"/>
                    </a:lnTo>
                    <a:lnTo>
                      <a:pt x="135" y="31"/>
                    </a:lnTo>
                    <a:lnTo>
                      <a:pt x="137" y="31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7" y="33"/>
                    </a:lnTo>
                    <a:lnTo>
                      <a:pt x="137" y="35"/>
                    </a:lnTo>
                    <a:lnTo>
                      <a:pt x="139" y="35"/>
                    </a:lnTo>
                    <a:lnTo>
                      <a:pt x="137" y="35"/>
                    </a:lnTo>
                    <a:lnTo>
                      <a:pt x="137" y="33"/>
                    </a:lnTo>
                    <a:lnTo>
                      <a:pt x="135" y="33"/>
                    </a:lnTo>
                    <a:lnTo>
                      <a:pt x="137" y="33"/>
                    </a:lnTo>
                    <a:lnTo>
                      <a:pt x="135" y="33"/>
                    </a:lnTo>
                    <a:lnTo>
                      <a:pt x="133" y="33"/>
                    </a:lnTo>
                    <a:lnTo>
                      <a:pt x="133" y="35"/>
                    </a:lnTo>
                    <a:lnTo>
                      <a:pt x="135" y="35"/>
                    </a:lnTo>
                    <a:lnTo>
                      <a:pt x="133" y="35"/>
                    </a:lnTo>
                    <a:lnTo>
                      <a:pt x="135" y="35"/>
                    </a:lnTo>
                    <a:lnTo>
                      <a:pt x="135" y="33"/>
                    </a:lnTo>
                    <a:lnTo>
                      <a:pt x="135" y="35"/>
                    </a:lnTo>
                    <a:lnTo>
                      <a:pt x="135" y="33"/>
                    </a:lnTo>
                    <a:lnTo>
                      <a:pt x="135" y="35"/>
                    </a:lnTo>
                    <a:lnTo>
                      <a:pt x="137" y="35"/>
                    </a:lnTo>
                    <a:lnTo>
                      <a:pt x="137" y="36"/>
                    </a:lnTo>
                    <a:lnTo>
                      <a:pt x="137" y="38"/>
                    </a:lnTo>
                    <a:lnTo>
                      <a:pt x="139" y="38"/>
                    </a:lnTo>
                    <a:lnTo>
                      <a:pt x="139" y="40"/>
                    </a:lnTo>
                    <a:lnTo>
                      <a:pt x="137" y="38"/>
                    </a:lnTo>
                    <a:lnTo>
                      <a:pt x="137" y="40"/>
                    </a:lnTo>
                    <a:lnTo>
                      <a:pt x="139" y="40"/>
                    </a:lnTo>
                    <a:lnTo>
                      <a:pt x="139" y="38"/>
                    </a:lnTo>
                    <a:lnTo>
                      <a:pt x="141" y="42"/>
                    </a:lnTo>
                    <a:lnTo>
                      <a:pt x="141" y="44"/>
                    </a:lnTo>
                    <a:lnTo>
                      <a:pt x="143" y="44"/>
                    </a:lnTo>
                    <a:lnTo>
                      <a:pt x="141" y="44"/>
                    </a:lnTo>
                    <a:lnTo>
                      <a:pt x="141" y="46"/>
                    </a:lnTo>
                    <a:lnTo>
                      <a:pt x="141" y="48"/>
                    </a:lnTo>
                    <a:lnTo>
                      <a:pt x="141" y="46"/>
                    </a:lnTo>
                    <a:lnTo>
                      <a:pt x="139" y="46"/>
                    </a:lnTo>
                    <a:lnTo>
                      <a:pt x="141" y="46"/>
                    </a:lnTo>
                    <a:lnTo>
                      <a:pt x="139" y="46"/>
                    </a:lnTo>
                    <a:lnTo>
                      <a:pt x="141" y="46"/>
                    </a:lnTo>
                    <a:lnTo>
                      <a:pt x="139" y="46"/>
                    </a:lnTo>
                    <a:lnTo>
                      <a:pt x="141" y="46"/>
                    </a:lnTo>
                    <a:lnTo>
                      <a:pt x="141" y="48"/>
                    </a:lnTo>
                    <a:lnTo>
                      <a:pt x="139" y="48"/>
                    </a:lnTo>
                    <a:lnTo>
                      <a:pt x="139" y="50"/>
                    </a:lnTo>
                    <a:lnTo>
                      <a:pt x="139" y="48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3" y="50"/>
                    </a:lnTo>
                    <a:lnTo>
                      <a:pt x="141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1" y="52"/>
                    </a:lnTo>
                    <a:lnTo>
                      <a:pt x="141" y="54"/>
                    </a:lnTo>
                    <a:lnTo>
                      <a:pt x="139" y="54"/>
                    </a:lnTo>
                    <a:lnTo>
                      <a:pt x="141" y="54"/>
                    </a:lnTo>
                    <a:lnTo>
                      <a:pt x="141" y="52"/>
                    </a:lnTo>
                    <a:lnTo>
                      <a:pt x="139" y="54"/>
                    </a:lnTo>
                    <a:lnTo>
                      <a:pt x="139" y="52"/>
                    </a:lnTo>
                    <a:lnTo>
                      <a:pt x="139" y="54"/>
                    </a:lnTo>
                    <a:lnTo>
                      <a:pt x="139" y="52"/>
                    </a:lnTo>
                    <a:lnTo>
                      <a:pt x="139" y="54"/>
                    </a:lnTo>
                    <a:lnTo>
                      <a:pt x="139" y="56"/>
                    </a:lnTo>
                    <a:lnTo>
                      <a:pt x="139" y="54"/>
                    </a:lnTo>
                    <a:lnTo>
                      <a:pt x="139" y="56"/>
                    </a:lnTo>
                    <a:lnTo>
                      <a:pt x="141" y="54"/>
                    </a:lnTo>
                    <a:lnTo>
                      <a:pt x="143" y="54"/>
                    </a:lnTo>
                    <a:lnTo>
                      <a:pt x="141" y="54"/>
                    </a:lnTo>
                    <a:lnTo>
                      <a:pt x="143" y="54"/>
                    </a:lnTo>
                    <a:lnTo>
                      <a:pt x="143" y="56"/>
                    </a:lnTo>
                    <a:lnTo>
                      <a:pt x="143" y="54"/>
                    </a:lnTo>
                    <a:lnTo>
                      <a:pt x="145" y="56"/>
                    </a:lnTo>
                    <a:lnTo>
                      <a:pt x="143" y="56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7" y="56"/>
                    </a:lnTo>
                    <a:lnTo>
                      <a:pt x="148" y="56"/>
                    </a:lnTo>
                    <a:lnTo>
                      <a:pt x="148" y="57"/>
                    </a:lnTo>
                    <a:lnTo>
                      <a:pt x="150" y="57"/>
                    </a:lnTo>
                    <a:lnTo>
                      <a:pt x="148" y="59"/>
                    </a:lnTo>
                    <a:lnTo>
                      <a:pt x="150" y="61"/>
                    </a:lnTo>
                    <a:lnTo>
                      <a:pt x="152" y="61"/>
                    </a:lnTo>
                    <a:lnTo>
                      <a:pt x="154" y="59"/>
                    </a:lnTo>
                    <a:lnTo>
                      <a:pt x="152" y="59"/>
                    </a:lnTo>
                    <a:lnTo>
                      <a:pt x="152" y="57"/>
                    </a:lnTo>
                    <a:lnTo>
                      <a:pt x="152" y="56"/>
                    </a:lnTo>
                    <a:lnTo>
                      <a:pt x="152" y="54"/>
                    </a:lnTo>
                    <a:lnTo>
                      <a:pt x="150" y="54"/>
                    </a:lnTo>
                    <a:lnTo>
                      <a:pt x="152" y="54"/>
                    </a:lnTo>
                    <a:lnTo>
                      <a:pt x="152" y="52"/>
                    </a:lnTo>
                    <a:lnTo>
                      <a:pt x="152" y="50"/>
                    </a:lnTo>
                    <a:lnTo>
                      <a:pt x="150" y="48"/>
                    </a:lnTo>
                    <a:lnTo>
                      <a:pt x="150" y="46"/>
                    </a:lnTo>
                    <a:lnTo>
                      <a:pt x="152" y="48"/>
                    </a:lnTo>
                    <a:lnTo>
                      <a:pt x="152" y="50"/>
                    </a:lnTo>
                    <a:lnTo>
                      <a:pt x="154" y="50"/>
                    </a:lnTo>
                    <a:lnTo>
                      <a:pt x="154" y="52"/>
                    </a:lnTo>
                    <a:lnTo>
                      <a:pt x="156" y="52"/>
                    </a:lnTo>
                    <a:lnTo>
                      <a:pt x="154" y="52"/>
                    </a:lnTo>
                    <a:lnTo>
                      <a:pt x="156" y="52"/>
                    </a:lnTo>
                    <a:lnTo>
                      <a:pt x="158" y="52"/>
                    </a:lnTo>
                    <a:lnTo>
                      <a:pt x="156" y="52"/>
                    </a:lnTo>
                    <a:lnTo>
                      <a:pt x="156" y="54"/>
                    </a:lnTo>
                    <a:lnTo>
                      <a:pt x="156" y="56"/>
                    </a:lnTo>
                    <a:lnTo>
                      <a:pt x="156" y="54"/>
                    </a:lnTo>
                    <a:lnTo>
                      <a:pt x="158" y="54"/>
                    </a:lnTo>
                    <a:lnTo>
                      <a:pt x="158" y="56"/>
                    </a:lnTo>
                    <a:lnTo>
                      <a:pt x="158" y="57"/>
                    </a:lnTo>
                    <a:lnTo>
                      <a:pt x="158" y="59"/>
                    </a:lnTo>
                    <a:lnTo>
                      <a:pt x="158" y="61"/>
                    </a:lnTo>
                    <a:lnTo>
                      <a:pt x="158" y="59"/>
                    </a:lnTo>
                    <a:lnTo>
                      <a:pt x="158" y="61"/>
                    </a:lnTo>
                    <a:lnTo>
                      <a:pt x="160" y="63"/>
                    </a:lnTo>
                    <a:lnTo>
                      <a:pt x="160" y="65"/>
                    </a:lnTo>
                    <a:lnTo>
                      <a:pt x="160" y="67"/>
                    </a:lnTo>
                    <a:lnTo>
                      <a:pt x="160" y="65"/>
                    </a:lnTo>
                    <a:lnTo>
                      <a:pt x="160" y="67"/>
                    </a:lnTo>
                    <a:lnTo>
                      <a:pt x="160" y="69"/>
                    </a:lnTo>
                    <a:lnTo>
                      <a:pt x="160" y="71"/>
                    </a:lnTo>
                    <a:lnTo>
                      <a:pt x="160" y="69"/>
                    </a:lnTo>
                    <a:lnTo>
                      <a:pt x="160" y="71"/>
                    </a:lnTo>
                    <a:lnTo>
                      <a:pt x="162" y="69"/>
                    </a:lnTo>
                    <a:lnTo>
                      <a:pt x="162" y="71"/>
                    </a:lnTo>
                    <a:lnTo>
                      <a:pt x="164" y="71"/>
                    </a:lnTo>
                    <a:lnTo>
                      <a:pt x="164" y="69"/>
                    </a:lnTo>
                    <a:lnTo>
                      <a:pt x="164" y="71"/>
                    </a:lnTo>
                    <a:lnTo>
                      <a:pt x="168" y="73"/>
                    </a:lnTo>
                    <a:lnTo>
                      <a:pt x="171" y="75"/>
                    </a:lnTo>
                    <a:lnTo>
                      <a:pt x="177" y="77"/>
                    </a:lnTo>
                    <a:lnTo>
                      <a:pt x="179" y="77"/>
                    </a:lnTo>
                    <a:lnTo>
                      <a:pt x="177" y="77"/>
                    </a:lnTo>
                    <a:lnTo>
                      <a:pt x="179" y="77"/>
                    </a:lnTo>
                    <a:lnTo>
                      <a:pt x="179" y="78"/>
                    </a:lnTo>
                    <a:lnTo>
                      <a:pt x="179" y="77"/>
                    </a:lnTo>
                    <a:lnTo>
                      <a:pt x="179" y="78"/>
                    </a:lnTo>
                    <a:lnTo>
                      <a:pt x="179" y="77"/>
                    </a:lnTo>
                    <a:lnTo>
                      <a:pt x="183" y="77"/>
                    </a:lnTo>
                    <a:lnTo>
                      <a:pt x="185" y="77"/>
                    </a:lnTo>
                    <a:lnTo>
                      <a:pt x="185" y="75"/>
                    </a:lnTo>
                    <a:lnTo>
                      <a:pt x="187" y="75"/>
                    </a:lnTo>
                    <a:lnTo>
                      <a:pt x="187" y="73"/>
                    </a:lnTo>
                    <a:lnTo>
                      <a:pt x="188" y="71"/>
                    </a:lnTo>
                    <a:lnTo>
                      <a:pt x="190" y="71"/>
                    </a:lnTo>
                    <a:lnTo>
                      <a:pt x="190" y="69"/>
                    </a:lnTo>
                    <a:lnTo>
                      <a:pt x="192" y="69"/>
                    </a:lnTo>
                    <a:lnTo>
                      <a:pt x="192" y="67"/>
                    </a:lnTo>
                    <a:lnTo>
                      <a:pt x="192" y="69"/>
                    </a:lnTo>
                    <a:lnTo>
                      <a:pt x="192" y="67"/>
                    </a:lnTo>
                    <a:lnTo>
                      <a:pt x="194" y="69"/>
                    </a:lnTo>
                    <a:lnTo>
                      <a:pt x="194" y="67"/>
                    </a:lnTo>
                    <a:lnTo>
                      <a:pt x="198" y="69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200" y="69"/>
                    </a:lnTo>
                    <a:lnTo>
                      <a:pt x="202" y="71"/>
                    </a:lnTo>
                    <a:lnTo>
                      <a:pt x="200" y="73"/>
                    </a:lnTo>
                    <a:lnTo>
                      <a:pt x="200" y="75"/>
                    </a:lnTo>
                    <a:lnTo>
                      <a:pt x="198" y="75"/>
                    </a:lnTo>
                    <a:lnTo>
                      <a:pt x="198" y="77"/>
                    </a:lnTo>
                    <a:lnTo>
                      <a:pt x="198" y="78"/>
                    </a:lnTo>
                    <a:lnTo>
                      <a:pt x="198" y="80"/>
                    </a:lnTo>
                    <a:lnTo>
                      <a:pt x="198" y="82"/>
                    </a:lnTo>
                    <a:lnTo>
                      <a:pt x="198" y="84"/>
                    </a:lnTo>
                    <a:lnTo>
                      <a:pt x="198" y="86"/>
                    </a:lnTo>
                    <a:lnTo>
                      <a:pt x="196" y="86"/>
                    </a:lnTo>
                    <a:lnTo>
                      <a:pt x="196" y="88"/>
                    </a:lnTo>
                    <a:lnTo>
                      <a:pt x="196" y="90"/>
                    </a:lnTo>
                    <a:lnTo>
                      <a:pt x="194" y="90"/>
                    </a:lnTo>
                    <a:lnTo>
                      <a:pt x="194" y="92"/>
                    </a:lnTo>
                    <a:lnTo>
                      <a:pt x="192" y="90"/>
                    </a:lnTo>
                    <a:lnTo>
                      <a:pt x="192" y="92"/>
                    </a:lnTo>
                    <a:lnTo>
                      <a:pt x="190" y="92"/>
                    </a:lnTo>
                    <a:lnTo>
                      <a:pt x="192" y="92"/>
                    </a:lnTo>
                    <a:lnTo>
                      <a:pt x="190" y="94"/>
                    </a:lnTo>
                    <a:lnTo>
                      <a:pt x="190" y="96"/>
                    </a:lnTo>
                    <a:lnTo>
                      <a:pt x="190" y="98"/>
                    </a:lnTo>
                    <a:lnTo>
                      <a:pt x="190" y="99"/>
                    </a:lnTo>
                    <a:lnTo>
                      <a:pt x="192" y="99"/>
                    </a:lnTo>
                    <a:lnTo>
                      <a:pt x="190" y="101"/>
                    </a:lnTo>
                    <a:lnTo>
                      <a:pt x="190" y="103"/>
                    </a:lnTo>
                    <a:lnTo>
                      <a:pt x="190" y="101"/>
                    </a:lnTo>
                    <a:lnTo>
                      <a:pt x="190" y="99"/>
                    </a:lnTo>
                    <a:lnTo>
                      <a:pt x="187" y="98"/>
                    </a:lnTo>
                    <a:lnTo>
                      <a:pt x="183" y="99"/>
                    </a:lnTo>
                    <a:lnTo>
                      <a:pt x="181" y="99"/>
                    </a:lnTo>
                    <a:lnTo>
                      <a:pt x="177" y="101"/>
                    </a:lnTo>
                    <a:lnTo>
                      <a:pt x="177" y="103"/>
                    </a:lnTo>
                    <a:lnTo>
                      <a:pt x="175" y="105"/>
                    </a:lnTo>
                    <a:lnTo>
                      <a:pt x="175" y="107"/>
                    </a:lnTo>
                    <a:lnTo>
                      <a:pt x="175" y="109"/>
                    </a:lnTo>
                    <a:lnTo>
                      <a:pt x="175" y="111"/>
                    </a:lnTo>
                    <a:lnTo>
                      <a:pt x="177" y="111"/>
                    </a:lnTo>
                    <a:lnTo>
                      <a:pt x="177" y="113"/>
                    </a:lnTo>
                    <a:lnTo>
                      <a:pt x="177" y="115"/>
                    </a:lnTo>
                    <a:lnTo>
                      <a:pt x="175" y="115"/>
                    </a:lnTo>
                    <a:lnTo>
                      <a:pt x="175" y="119"/>
                    </a:lnTo>
                    <a:lnTo>
                      <a:pt x="175" y="120"/>
                    </a:lnTo>
                    <a:lnTo>
                      <a:pt x="173" y="122"/>
                    </a:lnTo>
                    <a:lnTo>
                      <a:pt x="171" y="122"/>
                    </a:lnTo>
                    <a:lnTo>
                      <a:pt x="171" y="124"/>
                    </a:lnTo>
                    <a:lnTo>
                      <a:pt x="171" y="126"/>
                    </a:lnTo>
                    <a:lnTo>
                      <a:pt x="171" y="128"/>
                    </a:lnTo>
                    <a:lnTo>
                      <a:pt x="169" y="128"/>
                    </a:lnTo>
                    <a:lnTo>
                      <a:pt x="168" y="130"/>
                    </a:lnTo>
                    <a:lnTo>
                      <a:pt x="166" y="132"/>
                    </a:lnTo>
                    <a:lnTo>
                      <a:pt x="166" y="134"/>
                    </a:lnTo>
                    <a:lnTo>
                      <a:pt x="164" y="136"/>
                    </a:lnTo>
                    <a:lnTo>
                      <a:pt x="164" y="138"/>
                    </a:lnTo>
                    <a:lnTo>
                      <a:pt x="162" y="141"/>
                    </a:lnTo>
                    <a:lnTo>
                      <a:pt x="160" y="143"/>
                    </a:lnTo>
                    <a:lnTo>
                      <a:pt x="158" y="145"/>
                    </a:lnTo>
                    <a:lnTo>
                      <a:pt x="158" y="147"/>
                    </a:lnTo>
                    <a:lnTo>
                      <a:pt x="156" y="147"/>
                    </a:lnTo>
                    <a:lnTo>
                      <a:pt x="154" y="149"/>
                    </a:lnTo>
                    <a:lnTo>
                      <a:pt x="152" y="149"/>
                    </a:lnTo>
                    <a:lnTo>
                      <a:pt x="152" y="151"/>
                    </a:lnTo>
                    <a:lnTo>
                      <a:pt x="150" y="151"/>
                    </a:lnTo>
                    <a:lnTo>
                      <a:pt x="148" y="151"/>
                    </a:lnTo>
                    <a:lnTo>
                      <a:pt x="148" y="149"/>
                    </a:lnTo>
                    <a:lnTo>
                      <a:pt x="148" y="147"/>
                    </a:lnTo>
                    <a:lnTo>
                      <a:pt x="145" y="147"/>
                    </a:lnTo>
                    <a:lnTo>
                      <a:pt x="143" y="149"/>
                    </a:lnTo>
                    <a:lnTo>
                      <a:pt x="143" y="147"/>
                    </a:lnTo>
                    <a:lnTo>
                      <a:pt x="143" y="145"/>
                    </a:lnTo>
                    <a:lnTo>
                      <a:pt x="143" y="143"/>
                    </a:lnTo>
                    <a:lnTo>
                      <a:pt x="141" y="145"/>
                    </a:lnTo>
                    <a:lnTo>
                      <a:pt x="143" y="145"/>
                    </a:lnTo>
                    <a:lnTo>
                      <a:pt x="141" y="147"/>
                    </a:lnTo>
                    <a:lnTo>
                      <a:pt x="141" y="145"/>
                    </a:lnTo>
                    <a:lnTo>
                      <a:pt x="141" y="147"/>
                    </a:lnTo>
                    <a:lnTo>
                      <a:pt x="139" y="145"/>
                    </a:lnTo>
                    <a:lnTo>
                      <a:pt x="139" y="143"/>
                    </a:lnTo>
                    <a:lnTo>
                      <a:pt x="141" y="143"/>
                    </a:lnTo>
                    <a:lnTo>
                      <a:pt x="141" y="141"/>
                    </a:lnTo>
                    <a:lnTo>
                      <a:pt x="143" y="141"/>
                    </a:lnTo>
                    <a:lnTo>
                      <a:pt x="143" y="140"/>
                    </a:lnTo>
                    <a:lnTo>
                      <a:pt x="145" y="140"/>
                    </a:lnTo>
                    <a:lnTo>
                      <a:pt x="145" y="136"/>
                    </a:lnTo>
                    <a:lnTo>
                      <a:pt x="147" y="136"/>
                    </a:lnTo>
                    <a:lnTo>
                      <a:pt x="147" y="132"/>
                    </a:lnTo>
                    <a:lnTo>
                      <a:pt x="148" y="128"/>
                    </a:lnTo>
                    <a:lnTo>
                      <a:pt x="148" y="124"/>
                    </a:lnTo>
                    <a:lnTo>
                      <a:pt x="147" y="120"/>
                    </a:lnTo>
                    <a:lnTo>
                      <a:pt x="147" y="119"/>
                    </a:lnTo>
                    <a:lnTo>
                      <a:pt x="145" y="117"/>
                    </a:lnTo>
                    <a:lnTo>
                      <a:pt x="147" y="117"/>
                    </a:lnTo>
                    <a:lnTo>
                      <a:pt x="145" y="117"/>
                    </a:lnTo>
                    <a:lnTo>
                      <a:pt x="143" y="115"/>
                    </a:lnTo>
                    <a:lnTo>
                      <a:pt x="141" y="115"/>
                    </a:lnTo>
                    <a:lnTo>
                      <a:pt x="139" y="115"/>
                    </a:lnTo>
                    <a:lnTo>
                      <a:pt x="137" y="115"/>
                    </a:lnTo>
                    <a:lnTo>
                      <a:pt x="135" y="113"/>
                    </a:lnTo>
                    <a:lnTo>
                      <a:pt x="135" y="111"/>
                    </a:lnTo>
                    <a:lnTo>
                      <a:pt x="133" y="111"/>
                    </a:lnTo>
                    <a:lnTo>
                      <a:pt x="131" y="109"/>
                    </a:lnTo>
                    <a:lnTo>
                      <a:pt x="129" y="109"/>
                    </a:lnTo>
                    <a:lnTo>
                      <a:pt x="127" y="109"/>
                    </a:lnTo>
                    <a:lnTo>
                      <a:pt x="126" y="105"/>
                    </a:lnTo>
                    <a:lnTo>
                      <a:pt x="126" y="103"/>
                    </a:lnTo>
                    <a:lnTo>
                      <a:pt x="126" y="101"/>
                    </a:lnTo>
                    <a:lnTo>
                      <a:pt x="127" y="99"/>
                    </a:lnTo>
                    <a:lnTo>
                      <a:pt x="129" y="99"/>
                    </a:lnTo>
                    <a:lnTo>
                      <a:pt x="129" y="98"/>
                    </a:lnTo>
                    <a:lnTo>
                      <a:pt x="131" y="98"/>
                    </a:lnTo>
                    <a:lnTo>
                      <a:pt x="133" y="98"/>
                    </a:lnTo>
                    <a:lnTo>
                      <a:pt x="135" y="98"/>
                    </a:lnTo>
                    <a:lnTo>
                      <a:pt x="139" y="94"/>
                    </a:lnTo>
                    <a:lnTo>
                      <a:pt x="139" y="92"/>
                    </a:lnTo>
                    <a:lnTo>
                      <a:pt x="139" y="86"/>
                    </a:lnTo>
                    <a:lnTo>
                      <a:pt x="139" y="84"/>
                    </a:lnTo>
                    <a:lnTo>
                      <a:pt x="141" y="84"/>
                    </a:lnTo>
                    <a:lnTo>
                      <a:pt x="141" y="80"/>
                    </a:lnTo>
                    <a:lnTo>
                      <a:pt x="139" y="78"/>
                    </a:lnTo>
                    <a:lnTo>
                      <a:pt x="141" y="80"/>
                    </a:lnTo>
                    <a:lnTo>
                      <a:pt x="141" y="78"/>
                    </a:lnTo>
                    <a:lnTo>
                      <a:pt x="141" y="80"/>
                    </a:lnTo>
                    <a:lnTo>
                      <a:pt x="141" y="78"/>
                    </a:lnTo>
                    <a:lnTo>
                      <a:pt x="141" y="80"/>
                    </a:lnTo>
                    <a:lnTo>
                      <a:pt x="143" y="80"/>
                    </a:lnTo>
                    <a:lnTo>
                      <a:pt x="141" y="80"/>
                    </a:lnTo>
                    <a:lnTo>
                      <a:pt x="143" y="78"/>
                    </a:lnTo>
                    <a:lnTo>
                      <a:pt x="143" y="80"/>
                    </a:lnTo>
                    <a:lnTo>
                      <a:pt x="143" y="78"/>
                    </a:lnTo>
                    <a:lnTo>
                      <a:pt x="143" y="80"/>
                    </a:lnTo>
                    <a:lnTo>
                      <a:pt x="143" y="78"/>
                    </a:lnTo>
                    <a:lnTo>
                      <a:pt x="141" y="78"/>
                    </a:lnTo>
                    <a:lnTo>
                      <a:pt x="141" y="77"/>
                    </a:lnTo>
                    <a:lnTo>
                      <a:pt x="143" y="78"/>
                    </a:lnTo>
                    <a:lnTo>
                      <a:pt x="143" y="77"/>
                    </a:lnTo>
                    <a:lnTo>
                      <a:pt x="141" y="77"/>
                    </a:lnTo>
                    <a:lnTo>
                      <a:pt x="143" y="77"/>
                    </a:lnTo>
                    <a:lnTo>
                      <a:pt x="141" y="77"/>
                    </a:lnTo>
                    <a:lnTo>
                      <a:pt x="141" y="75"/>
                    </a:lnTo>
                    <a:lnTo>
                      <a:pt x="141" y="73"/>
                    </a:lnTo>
                    <a:lnTo>
                      <a:pt x="143" y="73"/>
                    </a:lnTo>
                    <a:lnTo>
                      <a:pt x="145" y="73"/>
                    </a:lnTo>
                    <a:lnTo>
                      <a:pt x="143" y="73"/>
                    </a:lnTo>
                    <a:lnTo>
                      <a:pt x="145" y="73"/>
                    </a:lnTo>
                    <a:lnTo>
                      <a:pt x="145" y="71"/>
                    </a:lnTo>
                    <a:lnTo>
                      <a:pt x="145" y="73"/>
                    </a:lnTo>
                    <a:lnTo>
                      <a:pt x="143" y="73"/>
                    </a:lnTo>
                    <a:lnTo>
                      <a:pt x="143" y="71"/>
                    </a:lnTo>
                    <a:lnTo>
                      <a:pt x="143" y="73"/>
                    </a:lnTo>
                    <a:lnTo>
                      <a:pt x="141" y="69"/>
                    </a:lnTo>
                    <a:lnTo>
                      <a:pt x="139" y="65"/>
                    </a:lnTo>
                    <a:lnTo>
                      <a:pt x="141" y="65"/>
                    </a:lnTo>
                    <a:lnTo>
                      <a:pt x="141" y="63"/>
                    </a:lnTo>
                    <a:lnTo>
                      <a:pt x="141" y="65"/>
                    </a:lnTo>
                    <a:lnTo>
                      <a:pt x="139" y="63"/>
                    </a:lnTo>
                    <a:lnTo>
                      <a:pt x="137" y="57"/>
                    </a:lnTo>
                    <a:lnTo>
                      <a:pt x="139" y="57"/>
                    </a:lnTo>
                    <a:lnTo>
                      <a:pt x="139" y="59"/>
                    </a:lnTo>
                    <a:lnTo>
                      <a:pt x="139" y="61"/>
                    </a:lnTo>
                    <a:lnTo>
                      <a:pt x="141" y="61"/>
                    </a:lnTo>
                    <a:lnTo>
                      <a:pt x="139" y="61"/>
                    </a:lnTo>
                    <a:lnTo>
                      <a:pt x="141" y="61"/>
                    </a:lnTo>
                    <a:lnTo>
                      <a:pt x="141" y="59"/>
                    </a:lnTo>
                    <a:lnTo>
                      <a:pt x="141" y="61"/>
                    </a:lnTo>
                    <a:lnTo>
                      <a:pt x="141" y="59"/>
                    </a:lnTo>
                    <a:lnTo>
                      <a:pt x="141" y="61"/>
                    </a:lnTo>
                    <a:lnTo>
                      <a:pt x="141" y="59"/>
                    </a:lnTo>
                    <a:lnTo>
                      <a:pt x="139" y="59"/>
                    </a:lnTo>
                    <a:lnTo>
                      <a:pt x="141" y="59"/>
                    </a:lnTo>
                    <a:lnTo>
                      <a:pt x="143" y="57"/>
                    </a:lnTo>
                    <a:lnTo>
                      <a:pt x="143" y="59"/>
                    </a:lnTo>
                    <a:lnTo>
                      <a:pt x="143" y="57"/>
                    </a:lnTo>
                    <a:lnTo>
                      <a:pt x="143" y="59"/>
                    </a:lnTo>
                    <a:lnTo>
                      <a:pt x="145" y="59"/>
                    </a:lnTo>
                    <a:lnTo>
                      <a:pt x="143" y="59"/>
                    </a:lnTo>
                    <a:lnTo>
                      <a:pt x="143" y="57"/>
                    </a:lnTo>
                    <a:lnTo>
                      <a:pt x="141" y="57"/>
                    </a:lnTo>
                    <a:lnTo>
                      <a:pt x="143" y="57"/>
                    </a:lnTo>
                    <a:lnTo>
                      <a:pt x="141" y="57"/>
                    </a:lnTo>
                    <a:lnTo>
                      <a:pt x="141" y="56"/>
                    </a:lnTo>
                    <a:lnTo>
                      <a:pt x="143" y="56"/>
                    </a:lnTo>
                    <a:lnTo>
                      <a:pt x="141" y="56"/>
                    </a:lnTo>
                    <a:lnTo>
                      <a:pt x="139" y="56"/>
                    </a:lnTo>
                    <a:lnTo>
                      <a:pt x="139" y="57"/>
                    </a:lnTo>
                    <a:lnTo>
                      <a:pt x="139" y="56"/>
                    </a:lnTo>
                    <a:lnTo>
                      <a:pt x="139" y="57"/>
                    </a:lnTo>
                    <a:lnTo>
                      <a:pt x="137" y="57"/>
                    </a:lnTo>
                    <a:lnTo>
                      <a:pt x="137" y="56"/>
                    </a:lnTo>
                    <a:lnTo>
                      <a:pt x="135" y="56"/>
                    </a:lnTo>
                    <a:lnTo>
                      <a:pt x="135" y="54"/>
                    </a:lnTo>
                    <a:lnTo>
                      <a:pt x="131" y="46"/>
                    </a:lnTo>
                    <a:lnTo>
                      <a:pt x="133" y="46"/>
                    </a:lnTo>
                    <a:lnTo>
                      <a:pt x="133" y="48"/>
                    </a:lnTo>
                    <a:lnTo>
                      <a:pt x="135" y="48"/>
                    </a:lnTo>
                    <a:lnTo>
                      <a:pt x="135" y="50"/>
                    </a:lnTo>
                    <a:lnTo>
                      <a:pt x="133" y="50"/>
                    </a:lnTo>
                    <a:lnTo>
                      <a:pt x="135" y="50"/>
                    </a:lnTo>
                    <a:lnTo>
                      <a:pt x="135" y="48"/>
                    </a:lnTo>
                    <a:lnTo>
                      <a:pt x="135" y="50"/>
                    </a:lnTo>
                    <a:lnTo>
                      <a:pt x="135" y="48"/>
                    </a:lnTo>
                    <a:lnTo>
                      <a:pt x="135" y="46"/>
                    </a:lnTo>
                    <a:lnTo>
                      <a:pt x="135" y="44"/>
                    </a:lnTo>
                    <a:lnTo>
                      <a:pt x="135" y="46"/>
                    </a:lnTo>
                    <a:lnTo>
                      <a:pt x="133" y="44"/>
                    </a:lnTo>
                    <a:lnTo>
                      <a:pt x="135" y="44"/>
                    </a:lnTo>
                    <a:lnTo>
                      <a:pt x="135" y="42"/>
                    </a:lnTo>
                    <a:lnTo>
                      <a:pt x="137" y="42"/>
                    </a:lnTo>
                    <a:lnTo>
                      <a:pt x="135" y="42"/>
                    </a:lnTo>
                    <a:lnTo>
                      <a:pt x="133" y="44"/>
                    </a:lnTo>
                    <a:lnTo>
                      <a:pt x="133" y="42"/>
                    </a:lnTo>
                    <a:lnTo>
                      <a:pt x="135" y="42"/>
                    </a:lnTo>
                    <a:lnTo>
                      <a:pt x="133" y="42"/>
                    </a:lnTo>
                    <a:lnTo>
                      <a:pt x="135" y="42"/>
                    </a:lnTo>
                    <a:lnTo>
                      <a:pt x="133" y="42"/>
                    </a:lnTo>
                    <a:lnTo>
                      <a:pt x="135" y="42"/>
                    </a:lnTo>
                    <a:lnTo>
                      <a:pt x="133" y="42"/>
                    </a:lnTo>
                    <a:lnTo>
                      <a:pt x="135" y="42"/>
                    </a:lnTo>
                    <a:lnTo>
                      <a:pt x="133" y="42"/>
                    </a:lnTo>
                    <a:lnTo>
                      <a:pt x="135" y="40"/>
                    </a:lnTo>
                    <a:lnTo>
                      <a:pt x="135" y="42"/>
                    </a:lnTo>
                    <a:lnTo>
                      <a:pt x="135" y="40"/>
                    </a:lnTo>
                    <a:lnTo>
                      <a:pt x="133" y="42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3" y="40"/>
                    </a:lnTo>
                    <a:lnTo>
                      <a:pt x="131" y="40"/>
                    </a:lnTo>
                    <a:lnTo>
                      <a:pt x="133" y="38"/>
                    </a:lnTo>
                    <a:lnTo>
                      <a:pt x="131" y="40"/>
                    </a:lnTo>
                    <a:lnTo>
                      <a:pt x="133" y="40"/>
                    </a:lnTo>
                    <a:lnTo>
                      <a:pt x="131" y="40"/>
                    </a:lnTo>
                    <a:lnTo>
                      <a:pt x="133" y="40"/>
                    </a:lnTo>
                    <a:lnTo>
                      <a:pt x="131" y="42"/>
                    </a:lnTo>
                    <a:lnTo>
                      <a:pt x="133" y="42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1" y="42"/>
                    </a:lnTo>
                    <a:lnTo>
                      <a:pt x="131" y="40"/>
                    </a:lnTo>
                    <a:lnTo>
                      <a:pt x="129" y="40"/>
                    </a:lnTo>
                    <a:lnTo>
                      <a:pt x="129" y="42"/>
                    </a:lnTo>
                    <a:lnTo>
                      <a:pt x="131" y="42"/>
                    </a:lnTo>
                    <a:lnTo>
                      <a:pt x="129" y="42"/>
                    </a:lnTo>
                    <a:lnTo>
                      <a:pt x="131" y="42"/>
                    </a:lnTo>
                    <a:lnTo>
                      <a:pt x="131" y="44"/>
                    </a:lnTo>
                    <a:lnTo>
                      <a:pt x="129" y="44"/>
                    </a:lnTo>
                    <a:lnTo>
                      <a:pt x="129" y="42"/>
                    </a:lnTo>
                    <a:lnTo>
                      <a:pt x="127" y="42"/>
                    </a:lnTo>
                    <a:lnTo>
                      <a:pt x="124" y="35"/>
                    </a:lnTo>
                    <a:lnTo>
                      <a:pt x="118" y="29"/>
                    </a:lnTo>
                    <a:lnTo>
                      <a:pt x="120" y="29"/>
                    </a:lnTo>
                    <a:lnTo>
                      <a:pt x="120" y="27"/>
                    </a:lnTo>
                    <a:lnTo>
                      <a:pt x="120" y="25"/>
                    </a:lnTo>
                    <a:lnTo>
                      <a:pt x="120" y="27"/>
                    </a:lnTo>
                    <a:lnTo>
                      <a:pt x="120" y="25"/>
                    </a:lnTo>
                    <a:lnTo>
                      <a:pt x="120" y="27"/>
                    </a:lnTo>
                    <a:lnTo>
                      <a:pt x="120" y="25"/>
                    </a:lnTo>
                    <a:lnTo>
                      <a:pt x="120" y="27"/>
                    </a:lnTo>
                    <a:lnTo>
                      <a:pt x="122" y="27"/>
                    </a:lnTo>
                    <a:lnTo>
                      <a:pt x="120" y="25"/>
                    </a:lnTo>
                    <a:lnTo>
                      <a:pt x="122" y="25"/>
                    </a:lnTo>
                    <a:lnTo>
                      <a:pt x="122" y="27"/>
                    </a:lnTo>
                    <a:lnTo>
                      <a:pt x="122" y="25"/>
                    </a:lnTo>
                    <a:lnTo>
                      <a:pt x="122" y="27"/>
                    </a:lnTo>
                    <a:lnTo>
                      <a:pt x="122" y="25"/>
                    </a:lnTo>
                    <a:lnTo>
                      <a:pt x="124" y="23"/>
                    </a:lnTo>
                    <a:lnTo>
                      <a:pt x="122" y="23"/>
                    </a:lnTo>
                    <a:lnTo>
                      <a:pt x="124" y="23"/>
                    </a:lnTo>
                    <a:lnTo>
                      <a:pt x="122" y="23"/>
                    </a:lnTo>
                    <a:lnTo>
                      <a:pt x="122" y="25"/>
                    </a:lnTo>
                    <a:lnTo>
                      <a:pt x="122" y="23"/>
                    </a:lnTo>
                    <a:lnTo>
                      <a:pt x="122" y="25"/>
                    </a:lnTo>
                    <a:lnTo>
                      <a:pt x="122" y="23"/>
                    </a:lnTo>
                    <a:lnTo>
                      <a:pt x="122" y="25"/>
                    </a:lnTo>
                    <a:lnTo>
                      <a:pt x="120" y="25"/>
                    </a:lnTo>
                    <a:lnTo>
                      <a:pt x="118" y="25"/>
                    </a:lnTo>
                    <a:lnTo>
                      <a:pt x="120" y="27"/>
                    </a:lnTo>
                    <a:lnTo>
                      <a:pt x="118" y="27"/>
                    </a:lnTo>
                    <a:lnTo>
                      <a:pt x="120" y="27"/>
                    </a:lnTo>
                    <a:lnTo>
                      <a:pt x="118" y="27"/>
                    </a:lnTo>
                    <a:lnTo>
                      <a:pt x="116" y="25"/>
                    </a:lnTo>
                    <a:lnTo>
                      <a:pt x="118" y="25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6" y="23"/>
                    </a:lnTo>
                    <a:lnTo>
                      <a:pt x="116" y="25"/>
                    </a:lnTo>
                    <a:lnTo>
                      <a:pt x="116" y="23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6" y="19"/>
                    </a:lnTo>
                    <a:lnTo>
                      <a:pt x="116" y="17"/>
                    </a:lnTo>
                    <a:lnTo>
                      <a:pt x="114" y="15"/>
                    </a:lnTo>
                    <a:lnTo>
                      <a:pt x="110" y="10"/>
                    </a:lnTo>
                    <a:lnTo>
                      <a:pt x="108" y="8"/>
                    </a:lnTo>
                    <a:lnTo>
                      <a:pt x="106" y="8"/>
                    </a:lnTo>
                    <a:lnTo>
                      <a:pt x="108" y="8"/>
                    </a:lnTo>
                    <a:lnTo>
                      <a:pt x="108" y="6"/>
                    </a:lnTo>
                    <a:lnTo>
                      <a:pt x="110" y="8"/>
                    </a:lnTo>
                    <a:lnTo>
                      <a:pt x="110" y="6"/>
                    </a:lnTo>
                    <a:lnTo>
                      <a:pt x="112" y="6"/>
                    </a:lnTo>
                    <a:close/>
                    <a:moveTo>
                      <a:pt x="32" y="264"/>
                    </a:moveTo>
                    <a:lnTo>
                      <a:pt x="32" y="265"/>
                    </a:lnTo>
                    <a:lnTo>
                      <a:pt x="34" y="267"/>
                    </a:lnTo>
                    <a:lnTo>
                      <a:pt x="34" y="269"/>
                    </a:lnTo>
                    <a:lnTo>
                      <a:pt x="36" y="269"/>
                    </a:lnTo>
                    <a:lnTo>
                      <a:pt x="34" y="269"/>
                    </a:lnTo>
                    <a:lnTo>
                      <a:pt x="32" y="269"/>
                    </a:lnTo>
                    <a:lnTo>
                      <a:pt x="32" y="271"/>
                    </a:lnTo>
                    <a:lnTo>
                      <a:pt x="34" y="269"/>
                    </a:lnTo>
                    <a:lnTo>
                      <a:pt x="34" y="271"/>
                    </a:lnTo>
                    <a:lnTo>
                      <a:pt x="36" y="271"/>
                    </a:lnTo>
                    <a:lnTo>
                      <a:pt x="34" y="271"/>
                    </a:lnTo>
                    <a:lnTo>
                      <a:pt x="36" y="271"/>
                    </a:lnTo>
                    <a:lnTo>
                      <a:pt x="36" y="269"/>
                    </a:lnTo>
                    <a:lnTo>
                      <a:pt x="36" y="271"/>
                    </a:lnTo>
                    <a:lnTo>
                      <a:pt x="36" y="273"/>
                    </a:lnTo>
                    <a:lnTo>
                      <a:pt x="38" y="273"/>
                    </a:lnTo>
                    <a:lnTo>
                      <a:pt x="36" y="273"/>
                    </a:lnTo>
                    <a:lnTo>
                      <a:pt x="36" y="275"/>
                    </a:lnTo>
                    <a:lnTo>
                      <a:pt x="36" y="273"/>
                    </a:lnTo>
                    <a:lnTo>
                      <a:pt x="36" y="275"/>
                    </a:lnTo>
                    <a:lnTo>
                      <a:pt x="34" y="273"/>
                    </a:lnTo>
                    <a:lnTo>
                      <a:pt x="36" y="275"/>
                    </a:lnTo>
                    <a:lnTo>
                      <a:pt x="34" y="275"/>
                    </a:lnTo>
                    <a:lnTo>
                      <a:pt x="32" y="275"/>
                    </a:lnTo>
                    <a:lnTo>
                      <a:pt x="30" y="275"/>
                    </a:lnTo>
                    <a:lnTo>
                      <a:pt x="30" y="277"/>
                    </a:lnTo>
                    <a:lnTo>
                      <a:pt x="30" y="275"/>
                    </a:lnTo>
                    <a:lnTo>
                      <a:pt x="28" y="277"/>
                    </a:lnTo>
                    <a:lnTo>
                      <a:pt x="28" y="275"/>
                    </a:lnTo>
                    <a:lnTo>
                      <a:pt x="28" y="277"/>
                    </a:lnTo>
                    <a:lnTo>
                      <a:pt x="26" y="277"/>
                    </a:lnTo>
                    <a:lnTo>
                      <a:pt x="28" y="277"/>
                    </a:lnTo>
                    <a:lnTo>
                      <a:pt x="26" y="277"/>
                    </a:lnTo>
                    <a:lnTo>
                      <a:pt x="28" y="277"/>
                    </a:lnTo>
                    <a:lnTo>
                      <a:pt x="28" y="279"/>
                    </a:lnTo>
                    <a:lnTo>
                      <a:pt x="26" y="279"/>
                    </a:lnTo>
                    <a:lnTo>
                      <a:pt x="26" y="277"/>
                    </a:lnTo>
                    <a:lnTo>
                      <a:pt x="26" y="279"/>
                    </a:lnTo>
                    <a:lnTo>
                      <a:pt x="24" y="279"/>
                    </a:lnTo>
                    <a:lnTo>
                      <a:pt x="24" y="277"/>
                    </a:lnTo>
                    <a:lnTo>
                      <a:pt x="26" y="277"/>
                    </a:lnTo>
                    <a:lnTo>
                      <a:pt x="26" y="275"/>
                    </a:lnTo>
                    <a:lnTo>
                      <a:pt x="26" y="273"/>
                    </a:lnTo>
                    <a:lnTo>
                      <a:pt x="28" y="273"/>
                    </a:lnTo>
                    <a:lnTo>
                      <a:pt x="28" y="271"/>
                    </a:lnTo>
                    <a:lnTo>
                      <a:pt x="30" y="269"/>
                    </a:lnTo>
                    <a:lnTo>
                      <a:pt x="30" y="267"/>
                    </a:lnTo>
                    <a:lnTo>
                      <a:pt x="28" y="267"/>
                    </a:lnTo>
                    <a:lnTo>
                      <a:pt x="28" y="265"/>
                    </a:lnTo>
                    <a:lnTo>
                      <a:pt x="30" y="265"/>
                    </a:lnTo>
                    <a:lnTo>
                      <a:pt x="32" y="264"/>
                    </a:lnTo>
                    <a:close/>
                    <a:moveTo>
                      <a:pt x="278" y="197"/>
                    </a:moveTo>
                    <a:lnTo>
                      <a:pt x="280" y="197"/>
                    </a:lnTo>
                    <a:lnTo>
                      <a:pt x="280" y="199"/>
                    </a:lnTo>
                    <a:lnTo>
                      <a:pt x="282" y="199"/>
                    </a:lnTo>
                    <a:lnTo>
                      <a:pt x="284" y="199"/>
                    </a:lnTo>
                    <a:lnTo>
                      <a:pt x="284" y="197"/>
                    </a:lnTo>
                    <a:lnTo>
                      <a:pt x="284" y="199"/>
                    </a:lnTo>
                    <a:lnTo>
                      <a:pt x="282" y="199"/>
                    </a:lnTo>
                    <a:lnTo>
                      <a:pt x="282" y="201"/>
                    </a:lnTo>
                    <a:lnTo>
                      <a:pt x="282" y="202"/>
                    </a:lnTo>
                    <a:lnTo>
                      <a:pt x="280" y="201"/>
                    </a:lnTo>
                    <a:lnTo>
                      <a:pt x="282" y="201"/>
                    </a:lnTo>
                    <a:lnTo>
                      <a:pt x="282" y="199"/>
                    </a:lnTo>
                    <a:lnTo>
                      <a:pt x="280" y="199"/>
                    </a:lnTo>
                    <a:lnTo>
                      <a:pt x="278" y="199"/>
                    </a:lnTo>
                    <a:lnTo>
                      <a:pt x="280" y="199"/>
                    </a:lnTo>
                    <a:lnTo>
                      <a:pt x="280" y="201"/>
                    </a:lnTo>
                    <a:lnTo>
                      <a:pt x="280" y="202"/>
                    </a:lnTo>
                    <a:lnTo>
                      <a:pt x="282" y="202"/>
                    </a:lnTo>
                    <a:lnTo>
                      <a:pt x="282" y="204"/>
                    </a:lnTo>
                    <a:lnTo>
                      <a:pt x="280" y="204"/>
                    </a:lnTo>
                    <a:lnTo>
                      <a:pt x="278" y="206"/>
                    </a:lnTo>
                    <a:lnTo>
                      <a:pt x="278" y="204"/>
                    </a:lnTo>
                    <a:lnTo>
                      <a:pt x="276" y="204"/>
                    </a:lnTo>
                    <a:lnTo>
                      <a:pt x="278" y="202"/>
                    </a:lnTo>
                    <a:lnTo>
                      <a:pt x="280" y="202"/>
                    </a:lnTo>
                    <a:lnTo>
                      <a:pt x="278" y="201"/>
                    </a:lnTo>
                    <a:lnTo>
                      <a:pt x="278" y="199"/>
                    </a:lnTo>
                    <a:lnTo>
                      <a:pt x="276" y="199"/>
                    </a:lnTo>
                    <a:lnTo>
                      <a:pt x="276" y="201"/>
                    </a:lnTo>
                    <a:lnTo>
                      <a:pt x="274" y="201"/>
                    </a:lnTo>
                    <a:lnTo>
                      <a:pt x="274" y="199"/>
                    </a:lnTo>
                    <a:lnTo>
                      <a:pt x="276" y="199"/>
                    </a:lnTo>
                    <a:lnTo>
                      <a:pt x="278" y="199"/>
                    </a:lnTo>
                    <a:lnTo>
                      <a:pt x="278" y="197"/>
                    </a:lnTo>
                    <a:close/>
                    <a:moveTo>
                      <a:pt x="4" y="357"/>
                    </a:moveTo>
                    <a:lnTo>
                      <a:pt x="5" y="357"/>
                    </a:lnTo>
                    <a:lnTo>
                      <a:pt x="4" y="357"/>
                    </a:lnTo>
                    <a:lnTo>
                      <a:pt x="5" y="357"/>
                    </a:lnTo>
                    <a:lnTo>
                      <a:pt x="5" y="359"/>
                    </a:lnTo>
                    <a:lnTo>
                      <a:pt x="4" y="359"/>
                    </a:lnTo>
                    <a:lnTo>
                      <a:pt x="5" y="359"/>
                    </a:lnTo>
                    <a:lnTo>
                      <a:pt x="4" y="359"/>
                    </a:lnTo>
                    <a:lnTo>
                      <a:pt x="5" y="361"/>
                    </a:lnTo>
                    <a:lnTo>
                      <a:pt x="4" y="361"/>
                    </a:lnTo>
                    <a:lnTo>
                      <a:pt x="5" y="361"/>
                    </a:lnTo>
                    <a:lnTo>
                      <a:pt x="4" y="361"/>
                    </a:lnTo>
                    <a:lnTo>
                      <a:pt x="5" y="361"/>
                    </a:lnTo>
                    <a:lnTo>
                      <a:pt x="4" y="361"/>
                    </a:lnTo>
                    <a:lnTo>
                      <a:pt x="4" y="363"/>
                    </a:lnTo>
                    <a:lnTo>
                      <a:pt x="4" y="361"/>
                    </a:lnTo>
                    <a:lnTo>
                      <a:pt x="4" y="363"/>
                    </a:lnTo>
                    <a:lnTo>
                      <a:pt x="5" y="363"/>
                    </a:lnTo>
                    <a:lnTo>
                      <a:pt x="4" y="363"/>
                    </a:lnTo>
                    <a:lnTo>
                      <a:pt x="5" y="363"/>
                    </a:lnTo>
                    <a:lnTo>
                      <a:pt x="4" y="365"/>
                    </a:lnTo>
                    <a:lnTo>
                      <a:pt x="5" y="365"/>
                    </a:lnTo>
                    <a:lnTo>
                      <a:pt x="4" y="365"/>
                    </a:lnTo>
                    <a:lnTo>
                      <a:pt x="2" y="365"/>
                    </a:lnTo>
                    <a:lnTo>
                      <a:pt x="4" y="365"/>
                    </a:lnTo>
                    <a:lnTo>
                      <a:pt x="2" y="363"/>
                    </a:lnTo>
                    <a:lnTo>
                      <a:pt x="2" y="365"/>
                    </a:lnTo>
                    <a:lnTo>
                      <a:pt x="2" y="363"/>
                    </a:lnTo>
                    <a:lnTo>
                      <a:pt x="2" y="365"/>
                    </a:lnTo>
                    <a:lnTo>
                      <a:pt x="0" y="365"/>
                    </a:lnTo>
                    <a:lnTo>
                      <a:pt x="0" y="363"/>
                    </a:lnTo>
                    <a:lnTo>
                      <a:pt x="2" y="361"/>
                    </a:lnTo>
                    <a:lnTo>
                      <a:pt x="4" y="361"/>
                    </a:lnTo>
                    <a:lnTo>
                      <a:pt x="4" y="359"/>
                    </a:lnTo>
                    <a:lnTo>
                      <a:pt x="2" y="357"/>
                    </a:lnTo>
                    <a:lnTo>
                      <a:pt x="4" y="357"/>
                    </a:lnTo>
                    <a:close/>
                    <a:moveTo>
                      <a:pt x="150" y="38"/>
                    </a:moveTo>
                    <a:lnTo>
                      <a:pt x="152" y="38"/>
                    </a:lnTo>
                    <a:lnTo>
                      <a:pt x="152" y="40"/>
                    </a:lnTo>
                    <a:lnTo>
                      <a:pt x="150" y="40"/>
                    </a:lnTo>
                    <a:lnTo>
                      <a:pt x="152" y="40"/>
                    </a:lnTo>
                    <a:lnTo>
                      <a:pt x="152" y="42"/>
                    </a:lnTo>
                    <a:lnTo>
                      <a:pt x="154" y="42"/>
                    </a:lnTo>
                    <a:lnTo>
                      <a:pt x="154" y="44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50" y="38"/>
                    </a:lnTo>
                    <a:close/>
                    <a:moveTo>
                      <a:pt x="13" y="239"/>
                    </a:moveTo>
                    <a:lnTo>
                      <a:pt x="13" y="241"/>
                    </a:lnTo>
                    <a:lnTo>
                      <a:pt x="13" y="243"/>
                    </a:lnTo>
                    <a:lnTo>
                      <a:pt x="11" y="243"/>
                    </a:lnTo>
                    <a:lnTo>
                      <a:pt x="9" y="243"/>
                    </a:lnTo>
                    <a:lnTo>
                      <a:pt x="11" y="243"/>
                    </a:lnTo>
                    <a:lnTo>
                      <a:pt x="11" y="241"/>
                    </a:lnTo>
                    <a:lnTo>
                      <a:pt x="9" y="241"/>
                    </a:lnTo>
                    <a:lnTo>
                      <a:pt x="9" y="243"/>
                    </a:lnTo>
                    <a:lnTo>
                      <a:pt x="9" y="241"/>
                    </a:lnTo>
                    <a:lnTo>
                      <a:pt x="11" y="241"/>
                    </a:lnTo>
                    <a:lnTo>
                      <a:pt x="13" y="239"/>
                    </a:lnTo>
                    <a:close/>
                    <a:moveTo>
                      <a:pt x="127" y="132"/>
                    </a:moveTo>
                    <a:lnTo>
                      <a:pt x="127" y="134"/>
                    </a:lnTo>
                    <a:lnTo>
                      <a:pt x="127" y="136"/>
                    </a:lnTo>
                    <a:lnTo>
                      <a:pt x="126" y="138"/>
                    </a:lnTo>
                    <a:lnTo>
                      <a:pt x="126" y="136"/>
                    </a:lnTo>
                    <a:lnTo>
                      <a:pt x="126" y="138"/>
                    </a:lnTo>
                    <a:lnTo>
                      <a:pt x="126" y="136"/>
                    </a:lnTo>
                    <a:lnTo>
                      <a:pt x="126" y="134"/>
                    </a:lnTo>
                    <a:lnTo>
                      <a:pt x="127" y="134"/>
                    </a:lnTo>
                    <a:lnTo>
                      <a:pt x="126" y="134"/>
                    </a:lnTo>
                    <a:lnTo>
                      <a:pt x="127" y="134"/>
                    </a:lnTo>
                    <a:lnTo>
                      <a:pt x="127" y="136"/>
                    </a:lnTo>
                    <a:lnTo>
                      <a:pt x="127" y="134"/>
                    </a:lnTo>
                    <a:lnTo>
                      <a:pt x="127" y="136"/>
                    </a:lnTo>
                    <a:lnTo>
                      <a:pt x="127" y="134"/>
                    </a:lnTo>
                    <a:lnTo>
                      <a:pt x="127" y="132"/>
                    </a:lnTo>
                    <a:close/>
                    <a:moveTo>
                      <a:pt x="53" y="407"/>
                    </a:moveTo>
                    <a:lnTo>
                      <a:pt x="53" y="409"/>
                    </a:lnTo>
                    <a:lnTo>
                      <a:pt x="51" y="409"/>
                    </a:lnTo>
                    <a:lnTo>
                      <a:pt x="53" y="409"/>
                    </a:lnTo>
                    <a:lnTo>
                      <a:pt x="53" y="410"/>
                    </a:lnTo>
                    <a:lnTo>
                      <a:pt x="51" y="410"/>
                    </a:lnTo>
                    <a:lnTo>
                      <a:pt x="51" y="409"/>
                    </a:lnTo>
                    <a:lnTo>
                      <a:pt x="49" y="409"/>
                    </a:lnTo>
                    <a:lnTo>
                      <a:pt x="51" y="409"/>
                    </a:lnTo>
                    <a:lnTo>
                      <a:pt x="51" y="407"/>
                    </a:lnTo>
                    <a:lnTo>
                      <a:pt x="53" y="407"/>
                    </a:lnTo>
                    <a:close/>
                    <a:moveTo>
                      <a:pt x="0" y="365"/>
                    </a:moveTo>
                    <a:lnTo>
                      <a:pt x="2" y="365"/>
                    </a:lnTo>
                    <a:lnTo>
                      <a:pt x="4" y="365"/>
                    </a:lnTo>
                    <a:lnTo>
                      <a:pt x="5" y="367"/>
                    </a:lnTo>
                    <a:lnTo>
                      <a:pt x="4" y="367"/>
                    </a:lnTo>
                    <a:lnTo>
                      <a:pt x="2" y="367"/>
                    </a:lnTo>
                    <a:lnTo>
                      <a:pt x="0" y="365"/>
                    </a:lnTo>
                    <a:close/>
                    <a:moveTo>
                      <a:pt x="147" y="52"/>
                    </a:moveTo>
                    <a:lnTo>
                      <a:pt x="148" y="52"/>
                    </a:lnTo>
                    <a:lnTo>
                      <a:pt x="147" y="54"/>
                    </a:lnTo>
                    <a:lnTo>
                      <a:pt x="145" y="54"/>
                    </a:lnTo>
                    <a:lnTo>
                      <a:pt x="147" y="54"/>
                    </a:lnTo>
                    <a:lnTo>
                      <a:pt x="145" y="54"/>
                    </a:lnTo>
                    <a:lnTo>
                      <a:pt x="145" y="52"/>
                    </a:lnTo>
                    <a:lnTo>
                      <a:pt x="145" y="54"/>
                    </a:lnTo>
                    <a:lnTo>
                      <a:pt x="145" y="52"/>
                    </a:lnTo>
                    <a:lnTo>
                      <a:pt x="147" y="52"/>
                    </a:lnTo>
                    <a:lnTo>
                      <a:pt x="147" y="54"/>
                    </a:lnTo>
                    <a:lnTo>
                      <a:pt x="147" y="52"/>
                    </a:lnTo>
                    <a:close/>
                    <a:moveTo>
                      <a:pt x="15" y="229"/>
                    </a:moveTo>
                    <a:lnTo>
                      <a:pt x="17" y="229"/>
                    </a:lnTo>
                    <a:lnTo>
                      <a:pt x="17" y="233"/>
                    </a:lnTo>
                    <a:lnTo>
                      <a:pt x="15" y="233"/>
                    </a:lnTo>
                    <a:lnTo>
                      <a:pt x="15" y="229"/>
                    </a:lnTo>
                    <a:close/>
                    <a:moveTo>
                      <a:pt x="135" y="141"/>
                    </a:moveTo>
                    <a:lnTo>
                      <a:pt x="135" y="143"/>
                    </a:lnTo>
                    <a:lnTo>
                      <a:pt x="133" y="143"/>
                    </a:lnTo>
                    <a:lnTo>
                      <a:pt x="131" y="143"/>
                    </a:lnTo>
                    <a:lnTo>
                      <a:pt x="133" y="143"/>
                    </a:lnTo>
                    <a:lnTo>
                      <a:pt x="133" y="141"/>
                    </a:lnTo>
                    <a:lnTo>
                      <a:pt x="133" y="143"/>
                    </a:lnTo>
                    <a:lnTo>
                      <a:pt x="135" y="141"/>
                    </a:lnTo>
                    <a:lnTo>
                      <a:pt x="133" y="141"/>
                    </a:lnTo>
                    <a:lnTo>
                      <a:pt x="135" y="141"/>
                    </a:lnTo>
                    <a:close/>
                    <a:moveTo>
                      <a:pt x="284" y="208"/>
                    </a:moveTo>
                    <a:lnTo>
                      <a:pt x="286" y="208"/>
                    </a:lnTo>
                    <a:lnTo>
                      <a:pt x="286" y="212"/>
                    </a:lnTo>
                    <a:lnTo>
                      <a:pt x="284" y="212"/>
                    </a:lnTo>
                    <a:lnTo>
                      <a:pt x="284" y="208"/>
                    </a:lnTo>
                    <a:close/>
                    <a:moveTo>
                      <a:pt x="160" y="67"/>
                    </a:moveTo>
                    <a:lnTo>
                      <a:pt x="164" y="67"/>
                    </a:lnTo>
                    <a:lnTo>
                      <a:pt x="164" y="69"/>
                    </a:lnTo>
                    <a:lnTo>
                      <a:pt x="160" y="69"/>
                    </a:lnTo>
                    <a:lnTo>
                      <a:pt x="160" y="67"/>
                    </a:lnTo>
                    <a:close/>
                    <a:moveTo>
                      <a:pt x="145" y="40"/>
                    </a:moveTo>
                    <a:lnTo>
                      <a:pt x="147" y="40"/>
                    </a:lnTo>
                    <a:lnTo>
                      <a:pt x="147" y="42"/>
                    </a:lnTo>
                    <a:lnTo>
                      <a:pt x="145" y="42"/>
                    </a:lnTo>
                    <a:lnTo>
                      <a:pt x="145" y="40"/>
                    </a:lnTo>
                    <a:close/>
                    <a:moveTo>
                      <a:pt x="204" y="336"/>
                    </a:moveTo>
                    <a:lnTo>
                      <a:pt x="206" y="336"/>
                    </a:lnTo>
                    <a:lnTo>
                      <a:pt x="204" y="336"/>
                    </a:lnTo>
                    <a:close/>
                    <a:moveTo>
                      <a:pt x="143" y="52"/>
                    </a:moveTo>
                    <a:lnTo>
                      <a:pt x="143" y="54"/>
                    </a:lnTo>
                    <a:lnTo>
                      <a:pt x="143" y="52"/>
                    </a:lnTo>
                    <a:close/>
                    <a:moveTo>
                      <a:pt x="11" y="243"/>
                    </a:moveTo>
                    <a:lnTo>
                      <a:pt x="13" y="243"/>
                    </a:lnTo>
                    <a:lnTo>
                      <a:pt x="13" y="244"/>
                    </a:lnTo>
                    <a:lnTo>
                      <a:pt x="11" y="244"/>
                    </a:lnTo>
                    <a:lnTo>
                      <a:pt x="11" y="243"/>
                    </a:lnTo>
                    <a:close/>
                    <a:moveTo>
                      <a:pt x="143" y="136"/>
                    </a:moveTo>
                    <a:lnTo>
                      <a:pt x="145" y="136"/>
                    </a:lnTo>
                    <a:lnTo>
                      <a:pt x="143" y="136"/>
                    </a:lnTo>
                    <a:close/>
                    <a:moveTo>
                      <a:pt x="141" y="44"/>
                    </a:moveTo>
                    <a:lnTo>
                      <a:pt x="143" y="44"/>
                    </a:lnTo>
                    <a:lnTo>
                      <a:pt x="143" y="46"/>
                    </a:lnTo>
                    <a:lnTo>
                      <a:pt x="141" y="46"/>
                    </a:lnTo>
                    <a:lnTo>
                      <a:pt x="141" y="44"/>
                    </a:lnTo>
                    <a:close/>
                    <a:moveTo>
                      <a:pt x="156" y="48"/>
                    </a:moveTo>
                    <a:lnTo>
                      <a:pt x="158" y="48"/>
                    </a:lnTo>
                    <a:lnTo>
                      <a:pt x="158" y="50"/>
                    </a:lnTo>
                    <a:lnTo>
                      <a:pt x="156" y="50"/>
                    </a:lnTo>
                    <a:lnTo>
                      <a:pt x="156" y="48"/>
                    </a:lnTo>
                    <a:close/>
                    <a:moveTo>
                      <a:pt x="147" y="54"/>
                    </a:moveTo>
                    <a:lnTo>
                      <a:pt x="148" y="54"/>
                    </a:lnTo>
                    <a:lnTo>
                      <a:pt x="148" y="56"/>
                    </a:lnTo>
                    <a:lnTo>
                      <a:pt x="147" y="56"/>
                    </a:lnTo>
                    <a:lnTo>
                      <a:pt x="147" y="54"/>
                    </a:lnTo>
                    <a:close/>
                    <a:moveTo>
                      <a:pt x="26" y="265"/>
                    </a:moveTo>
                    <a:lnTo>
                      <a:pt x="28" y="265"/>
                    </a:lnTo>
                    <a:lnTo>
                      <a:pt x="28" y="267"/>
                    </a:lnTo>
                    <a:lnTo>
                      <a:pt x="26" y="267"/>
                    </a:lnTo>
                    <a:lnTo>
                      <a:pt x="26" y="265"/>
                    </a:lnTo>
                    <a:close/>
                    <a:moveTo>
                      <a:pt x="42" y="265"/>
                    </a:moveTo>
                    <a:lnTo>
                      <a:pt x="42" y="267"/>
                    </a:lnTo>
                    <a:lnTo>
                      <a:pt x="42" y="265"/>
                    </a:lnTo>
                    <a:close/>
                    <a:moveTo>
                      <a:pt x="143" y="52"/>
                    </a:moveTo>
                    <a:lnTo>
                      <a:pt x="143" y="54"/>
                    </a:lnTo>
                    <a:lnTo>
                      <a:pt x="143" y="52"/>
                    </a:lnTo>
                    <a:close/>
                    <a:moveTo>
                      <a:pt x="114" y="143"/>
                    </a:moveTo>
                    <a:lnTo>
                      <a:pt x="116" y="143"/>
                    </a:lnTo>
                    <a:lnTo>
                      <a:pt x="116" y="145"/>
                    </a:lnTo>
                    <a:lnTo>
                      <a:pt x="114" y="145"/>
                    </a:lnTo>
                    <a:lnTo>
                      <a:pt x="114" y="143"/>
                    </a:lnTo>
                    <a:close/>
                    <a:moveTo>
                      <a:pt x="11" y="250"/>
                    </a:moveTo>
                    <a:lnTo>
                      <a:pt x="11" y="252"/>
                    </a:lnTo>
                    <a:lnTo>
                      <a:pt x="11" y="250"/>
                    </a:lnTo>
                    <a:close/>
                    <a:moveTo>
                      <a:pt x="9" y="243"/>
                    </a:moveTo>
                    <a:lnTo>
                      <a:pt x="11" y="243"/>
                    </a:lnTo>
                    <a:lnTo>
                      <a:pt x="9" y="243"/>
                    </a:lnTo>
                    <a:close/>
                    <a:moveTo>
                      <a:pt x="164" y="63"/>
                    </a:moveTo>
                    <a:lnTo>
                      <a:pt x="166" y="63"/>
                    </a:lnTo>
                    <a:lnTo>
                      <a:pt x="164" y="63"/>
                    </a:lnTo>
                    <a:close/>
                    <a:moveTo>
                      <a:pt x="23" y="277"/>
                    </a:moveTo>
                    <a:lnTo>
                      <a:pt x="24" y="277"/>
                    </a:lnTo>
                    <a:lnTo>
                      <a:pt x="24" y="279"/>
                    </a:lnTo>
                    <a:lnTo>
                      <a:pt x="23" y="279"/>
                    </a:lnTo>
                    <a:lnTo>
                      <a:pt x="23" y="277"/>
                    </a:lnTo>
                    <a:close/>
                    <a:moveTo>
                      <a:pt x="5" y="355"/>
                    </a:moveTo>
                    <a:lnTo>
                      <a:pt x="7" y="355"/>
                    </a:lnTo>
                    <a:lnTo>
                      <a:pt x="7" y="357"/>
                    </a:lnTo>
                    <a:lnTo>
                      <a:pt x="5" y="357"/>
                    </a:lnTo>
                    <a:lnTo>
                      <a:pt x="5" y="355"/>
                    </a:lnTo>
                    <a:close/>
                    <a:moveTo>
                      <a:pt x="9" y="248"/>
                    </a:moveTo>
                    <a:lnTo>
                      <a:pt x="11" y="248"/>
                    </a:lnTo>
                    <a:lnTo>
                      <a:pt x="9" y="248"/>
                    </a:lnTo>
                    <a:close/>
                    <a:moveTo>
                      <a:pt x="129" y="138"/>
                    </a:moveTo>
                    <a:lnTo>
                      <a:pt x="129" y="140"/>
                    </a:lnTo>
                    <a:lnTo>
                      <a:pt x="129" y="138"/>
                    </a:lnTo>
                    <a:close/>
                    <a:moveTo>
                      <a:pt x="168" y="69"/>
                    </a:moveTo>
                    <a:lnTo>
                      <a:pt x="168" y="71"/>
                    </a:lnTo>
                    <a:lnTo>
                      <a:pt x="168" y="69"/>
                    </a:lnTo>
                    <a:close/>
                    <a:moveTo>
                      <a:pt x="139" y="36"/>
                    </a:moveTo>
                    <a:lnTo>
                      <a:pt x="141" y="36"/>
                    </a:lnTo>
                    <a:lnTo>
                      <a:pt x="139" y="36"/>
                    </a:lnTo>
                    <a:close/>
                    <a:moveTo>
                      <a:pt x="99" y="0"/>
                    </a:moveTo>
                    <a:lnTo>
                      <a:pt x="99" y="2"/>
                    </a:lnTo>
                    <a:lnTo>
                      <a:pt x="99" y="0"/>
                    </a:lnTo>
                    <a:close/>
                    <a:moveTo>
                      <a:pt x="0" y="359"/>
                    </a:moveTo>
                    <a:lnTo>
                      <a:pt x="2" y="359"/>
                    </a:lnTo>
                    <a:lnTo>
                      <a:pt x="0" y="359"/>
                    </a:lnTo>
                    <a:close/>
                    <a:moveTo>
                      <a:pt x="131" y="141"/>
                    </a:moveTo>
                    <a:lnTo>
                      <a:pt x="133" y="141"/>
                    </a:lnTo>
                    <a:lnTo>
                      <a:pt x="133" y="143"/>
                    </a:lnTo>
                    <a:lnTo>
                      <a:pt x="131" y="143"/>
                    </a:lnTo>
                    <a:lnTo>
                      <a:pt x="131" y="141"/>
                    </a:lnTo>
                    <a:close/>
                    <a:moveTo>
                      <a:pt x="36" y="269"/>
                    </a:moveTo>
                    <a:lnTo>
                      <a:pt x="36" y="271"/>
                    </a:lnTo>
                    <a:lnTo>
                      <a:pt x="36" y="269"/>
                    </a:lnTo>
                    <a:close/>
                    <a:moveTo>
                      <a:pt x="152" y="52"/>
                    </a:moveTo>
                    <a:lnTo>
                      <a:pt x="152" y="54"/>
                    </a:lnTo>
                    <a:lnTo>
                      <a:pt x="152" y="52"/>
                    </a:lnTo>
                    <a:close/>
                    <a:moveTo>
                      <a:pt x="284" y="212"/>
                    </a:moveTo>
                    <a:lnTo>
                      <a:pt x="286" y="212"/>
                    </a:lnTo>
                    <a:lnTo>
                      <a:pt x="284" y="212"/>
                    </a:lnTo>
                    <a:close/>
                    <a:moveTo>
                      <a:pt x="131" y="21"/>
                    </a:moveTo>
                    <a:lnTo>
                      <a:pt x="133" y="21"/>
                    </a:lnTo>
                    <a:lnTo>
                      <a:pt x="131" y="21"/>
                    </a:lnTo>
                    <a:close/>
                    <a:moveTo>
                      <a:pt x="143" y="54"/>
                    </a:moveTo>
                    <a:lnTo>
                      <a:pt x="145" y="54"/>
                    </a:lnTo>
                    <a:lnTo>
                      <a:pt x="143" y="54"/>
                    </a:lnTo>
                    <a:close/>
                    <a:moveTo>
                      <a:pt x="175" y="75"/>
                    </a:moveTo>
                    <a:lnTo>
                      <a:pt x="177" y="75"/>
                    </a:lnTo>
                    <a:lnTo>
                      <a:pt x="175" y="75"/>
                    </a:lnTo>
                    <a:close/>
                    <a:moveTo>
                      <a:pt x="282" y="210"/>
                    </a:moveTo>
                    <a:lnTo>
                      <a:pt x="284" y="210"/>
                    </a:lnTo>
                    <a:lnTo>
                      <a:pt x="282" y="210"/>
                    </a:lnTo>
                    <a:close/>
                    <a:moveTo>
                      <a:pt x="162" y="69"/>
                    </a:moveTo>
                    <a:lnTo>
                      <a:pt x="162" y="71"/>
                    </a:lnTo>
                    <a:lnTo>
                      <a:pt x="162" y="69"/>
                    </a:lnTo>
                    <a:close/>
                    <a:moveTo>
                      <a:pt x="131" y="21"/>
                    </a:moveTo>
                    <a:lnTo>
                      <a:pt x="131" y="23"/>
                    </a:lnTo>
                    <a:lnTo>
                      <a:pt x="131" y="21"/>
                    </a:lnTo>
                    <a:close/>
                    <a:moveTo>
                      <a:pt x="99" y="143"/>
                    </a:moveTo>
                    <a:lnTo>
                      <a:pt x="99" y="145"/>
                    </a:lnTo>
                    <a:lnTo>
                      <a:pt x="99" y="14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0" name="Freeform 181">
                <a:extLst>
                  <a:ext uri="{FF2B5EF4-FFF2-40B4-BE49-F238E27FC236}">
                    <a16:creationId xmlns:a16="http://schemas.microsoft.com/office/drawing/2014/main" id="{9525F7CA-9D10-1031-6FEF-563A259920E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79558" y="-1777159"/>
                <a:ext cx="29935" cy="53670"/>
              </a:xfrm>
              <a:custGeom>
                <a:avLst/>
                <a:gdLst>
                  <a:gd name="T0" fmla="*/ 19 w 19"/>
                  <a:gd name="T1" fmla="*/ 32 h 34"/>
                  <a:gd name="T2" fmla="*/ 19 w 19"/>
                  <a:gd name="T3" fmla="*/ 34 h 34"/>
                  <a:gd name="T4" fmla="*/ 19 w 19"/>
                  <a:gd name="T5" fmla="*/ 32 h 34"/>
                  <a:gd name="T6" fmla="*/ 17 w 19"/>
                  <a:gd name="T7" fmla="*/ 32 h 34"/>
                  <a:gd name="T8" fmla="*/ 19 w 19"/>
                  <a:gd name="T9" fmla="*/ 32 h 34"/>
                  <a:gd name="T10" fmla="*/ 19 w 19"/>
                  <a:gd name="T11" fmla="*/ 34 h 34"/>
                  <a:gd name="T12" fmla="*/ 19 w 19"/>
                  <a:gd name="T13" fmla="*/ 32 h 34"/>
                  <a:gd name="T14" fmla="*/ 8 w 19"/>
                  <a:gd name="T15" fmla="*/ 0 h 34"/>
                  <a:gd name="T16" fmla="*/ 8 w 19"/>
                  <a:gd name="T17" fmla="*/ 2 h 34"/>
                  <a:gd name="T18" fmla="*/ 8 w 19"/>
                  <a:gd name="T19" fmla="*/ 0 h 34"/>
                  <a:gd name="T20" fmla="*/ 0 w 19"/>
                  <a:gd name="T21" fmla="*/ 23 h 34"/>
                  <a:gd name="T22" fmla="*/ 2 w 19"/>
                  <a:gd name="T23" fmla="*/ 23 h 34"/>
                  <a:gd name="T24" fmla="*/ 0 w 19"/>
                  <a:gd name="T25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34">
                    <a:moveTo>
                      <a:pt x="19" y="32"/>
                    </a:moveTo>
                    <a:lnTo>
                      <a:pt x="19" y="34"/>
                    </a:lnTo>
                    <a:lnTo>
                      <a:pt x="19" y="32"/>
                    </a:lnTo>
                    <a:lnTo>
                      <a:pt x="17" y="32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2"/>
                    </a:lnTo>
                    <a:close/>
                    <a:moveTo>
                      <a:pt x="8" y="0"/>
                    </a:moveTo>
                    <a:lnTo>
                      <a:pt x="8" y="2"/>
                    </a:lnTo>
                    <a:lnTo>
                      <a:pt x="8" y="0"/>
                    </a:lnTo>
                    <a:close/>
                    <a:moveTo>
                      <a:pt x="0" y="23"/>
                    </a:moveTo>
                    <a:lnTo>
                      <a:pt x="2" y="2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1" name="Freeform 182">
                <a:extLst>
                  <a:ext uri="{FF2B5EF4-FFF2-40B4-BE49-F238E27FC236}">
                    <a16:creationId xmlns:a16="http://schemas.microsoft.com/office/drawing/2014/main" id="{FBCA6004-2E50-FFF2-0537-4E42F048DC7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10869" y="-1647719"/>
                <a:ext cx="173315" cy="265194"/>
              </a:xfrm>
              <a:custGeom>
                <a:avLst/>
                <a:gdLst>
                  <a:gd name="T0" fmla="*/ 17 w 110"/>
                  <a:gd name="T1" fmla="*/ 158 h 168"/>
                  <a:gd name="T2" fmla="*/ 19 w 110"/>
                  <a:gd name="T3" fmla="*/ 160 h 168"/>
                  <a:gd name="T4" fmla="*/ 19 w 110"/>
                  <a:gd name="T5" fmla="*/ 162 h 168"/>
                  <a:gd name="T6" fmla="*/ 21 w 110"/>
                  <a:gd name="T7" fmla="*/ 164 h 168"/>
                  <a:gd name="T8" fmla="*/ 19 w 110"/>
                  <a:gd name="T9" fmla="*/ 164 h 168"/>
                  <a:gd name="T10" fmla="*/ 21 w 110"/>
                  <a:gd name="T11" fmla="*/ 164 h 168"/>
                  <a:gd name="T12" fmla="*/ 19 w 110"/>
                  <a:gd name="T13" fmla="*/ 164 h 168"/>
                  <a:gd name="T14" fmla="*/ 19 w 110"/>
                  <a:gd name="T15" fmla="*/ 166 h 168"/>
                  <a:gd name="T16" fmla="*/ 19 w 110"/>
                  <a:gd name="T17" fmla="*/ 168 h 168"/>
                  <a:gd name="T18" fmla="*/ 15 w 110"/>
                  <a:gd name="T19" fmla="*/ 168 h 168"/>
                  <a:gd name="T20" fmla="*/ 13 w 110"/>
                  <a:gd name="T21" fmla="*/ 168 h 168"/>
                  <a:gd name="T22" fmla="*/ 11 w 110"/>
                  <a:gd name="T23" fmla="*/ 168 h 168"/>
                  <a:gd name="T24" fmla="*/ 13 w 110"/>
                  <a:gd name="T25" fmla="*/ 166 h 168"/>
                  <a:gd name="T26" fmla="*/ 13 w 110"/>
                  <a:gd name="T27" fmla="*/ 164 h 168"/>
                  <a:gd name="T28" fmla="*/ 13 w 110"/>
                  <a:gd name="T29" fmla="*/ 162 h 168"/>
                  <a:gd name="T30" fmla="*/ 15 w 110"/>
                  <a:gd name="T31" fmla="*/ 162 h 168"/>
                  <a:gd name="T32" fmla="*/ 15 w 110"/>
                  <a:gd name="T33" fmla="*/ 160 h 168"/>
                  <a:gd name="T34" fmla="*/ 17 w 110"/>
                  <a:gd name="T35" fmla="*/ 160 h 168"/>
                  <a:gd name="T36" fmla="*/ 15 w 110"/>
                  <a:gd name="T37" fmla="*/ 158 h 168"/>
                  <a:gd name="T38" fmla="*/ 17 w 110"/>
                  <a:gd name="T39" fmla="*/ 160 h 168"/>
                  <a:gd name="T40" fmla="*/ 17 w 110"/>
                  <a:gd name="T41" fmla="*/ 158 h 168"/>
                  <a:gd name="T42" fmla="*/ 108 w 110"/>
                  <a:gd name="T43" fmla="*/ 155 h 168"/>
                  <a:gd name="T44" fmla="*/ 110 w 110"/>
                  <a:gd name="T45" fmla="*/ 155 h 168"/>
                  <a:gd name="T46" fmla="*/ 108 w 110"/>
                  <a:gd name="T47" fmla="*/ 155 h 168"/>
                  <a:gd name="T48" fmla="*/ 0 w 110"/>
                  <a:gd name="T49" fmla="*/ 0 h 168"/>
                  <a:gd name="T50" fmla="*/ 2 w 110"/>
                  <a:gd name="T51" fmla="*/ 0 h 168"/>
                  <a:gd name="T52" fmla="*/ 2 w 110"/>
                  <a:gd name="T53" fmla="*/ 2 h 168"/>
                  <a:gd name="T54" fmla="*/ 0 w 110"/>
                  <a:gd name="T55" fmla="*/ 2 h 168"/>
                  <a:gd name="T56" fmla="*/ 0 w 110"/>
                  <a:gd name="T57" fmla="*/ 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10" h="168">
                    <a:moveTo>
                      <a:pt x="17" y="158"/>
                    </a:moveTo>
                    <a:lnTo>
                      <a:pt x="19" y="160"/>
                    </a:lnTo>
                    <a:lnTo>
                      <a:pt x="19" y="162"/>
                    </a:lnTo>
                    <a:lnTo>
                      <a:pt x="21" y="164"/>
                    </a:lnTo>
                    <a:lnTo>
                      <a:pt x="19" y="164"/>
                    </a:lnTo>
                    <a:lnTo>
                      <a:pt x="21" y="164"/>
                    </a:lnTo>
                    <a:lnTo>
                      <a:pt x="19" y="164"/>
                    </a:lnTo>
                    <a:lnTo>
                      <a:pt x="19" y="166"/>
                    </a:lnTo>
                    <a:lnTo>
                      <a:pt x="19" y="168"/>
                    </a:lnTo>
                    <a:lnTo>
                      <a:pt x="15" y="168"/>
                    </a:lnTo>
                    <a:lnTo>
                      <a:pt x="13" y="168"/>
                    </a:lnTo>
                    <a:lnTo>
                      <a:pt x="11" y="168"/>
                    </a:lnTo>
                    <a:lnTo>
                      <a:pt x="13" y="166"/>
                    </a:lnTo>
                    <a:lnTo>
                      <a:pt x="13" y="164"/>
                    </a:lnTo>
                    <a:lnTo>
                      <a:pt x="13" y="162"/>
                    </a:lnTo>
                    <a:lnTo>
                      <a:pt x="15" y="162"/>
                    </a:lnTo>
                    <a:lnTo>
                      <a:pt x="15" y="160"/>
                    </a:lnTo>
                    <a:lnTo>
                      <a:pt x="17" y="160"/>
                    </a:lnTo>
                    <a:lnTo>
                      <a:pt x="15" y="158"/>
                    </a:lnTo>
                    <a:lnTo>
                      <a:pt x="17" y="160"/>
                    </a:lnTo>
                    <a:lnTo>
                      <a:pt x="17" y="158"/>
                    </a:lnTo>
                    <a:close/>
                    <a:moveTo>
                      <a:pt x="108" y="155"/>
                    </a:moveTo>
                    <a:lnTo>
                      <a:pt x="110" y="155"/>
                    </a:lnTo>
                    <a:lnTo>
                      <a:pt x="108" y="155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2" name="Freeform 183">
                <a:extLst>
                  <a:ext uri="{FF2B5EF4-FFF2-40B4-BE49-F238E27FC236}">
                    <a16:creationId xmlns:a16="http://schemas.microsoft.com/office/drawing/2014/main" id="{B436CE97-135C-0AE8-2018-69B0AB3757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76846" y="-1605097"/>
                <a:ext cx="182768" cy="361486"/>
              </a:xfrm>
              <a:custGeom>
                <a:avLst/>
                <a:gdLst>
                  <a:gd name="T0" fmla="*/ 97 w 116"/>
                  <a:gd name="T1" fmla="*/ 4 h 229"/>
                  <a:gd name="T2" fmla="*/ 99 w 116"/>
                  <a:gd name="T3" fmla="*/ 6 h 229"/>
                  <a:gd name="T4" fmla="*/ 105 w 116"/>
                  <a:gd name="T5" fmla="*/ 13 h 229"/>
                  <a:gd name="T6" fmla="*/ 111 w 116"/>
                  <a:gd name="T7" fmla="*/ 32 h 229"/>
                  <a:gd name="T8" fmla="*/ 112 w 116"/>
                  <a:gd name="T9" fmla="*/ 49 h 229"/>
                  <a:gd name="T10" fmla="*/ 112 w 116"/>
                  <a:gd name="T11" fmla="*/ 63 h 229"/>
                  <a:gd name="T12" fmla="*/ 105 w 116"/>
                  <a:gd name="T13" fmla="*/ 55 h 229"/>
                  <a:gd name="T14" fmla="*/ 103 w 116"/>
                  <a:gd name="T15" fmla="*/ 68 h 229"/>
                  <a:gd name="T16" fmla="*/ 105 w 116"/>
                  <a:gd name="T17" fmla="*/ 80 h 229"/>
                  <a:gd name="T18" fmla="*/ 97 w 116"/>
                  <a:gd name="T19" fmla="*/ 101 h 229"/>
                  <a:gd name="T20" fmla="*/ 90 w 116"/>
                  <a:gd name="T21" fmla="*/ 131 h 229"/>
                  <a:gd name="T22" fmla="*/ 80 w 116"/>
                  <a:gd name="T23" fmla="*/ 154 h 229"/>
                  <a:gd name="T24" fmla="*/ 72 w 116"/>
                  <a:gd name="T25" fmla="*/ 183 h 229"/>
                  <a:gd name="T26" fmla="*/ 69 w 116"/>
                  <a:gd name="T27" fmla="*/ 193 h 229"/>
                  <a:gd name="T28" fmla="*/ 63 w 116"/>
                  <a:gd name="T29" fmla="*/ 217 h 229"/>
                  <a:gd name="T30" fmla="*/ 50 w 116"/>
                  <a:gd name="T31" fmla="*/ 221 h 229"/>
                  <a:gd name="T32" fmla="*/ 25 w 116"/>
                  <a:gd name="T33" fmla="*/ 225 h 229"/>
                  <a:gd name="T34" fmla="*/ 13 w 116"/>
                  <a:gd name="T35" fmla="*/ 217 h 229"/>
                  <a:gd name="T36" fmla="*/ 8 w 116"/>
                  <a:gd name="T37" fmla="*/ 198 h 229"/>
                  <a:gd name="T38" fmla="*/ 6 w 116"/>
                  <a:gd name="T39" fmla="*/ 191 h 229"/>
                  <a:gd name="T40" fmla="*/ 0 w 116"/>
                  <a:gd name="T41" fmla="*/ 173 h 229"/>
                  <a:gd name="T42" fmla="*/ 2 w 116"/>
                  <a:gd name="T43" fmla="*/ 164 h 229"/>
                  <a:gd name="T44" fmla="*/ 8 w 116"/>
                  <a:gd name="T45" fmla="*/ 154 h 229"/>
                  <a:gd name="T46" fmla="*/ 13 w 116"/>
                  <a:gd name="T47" fmla="*/ 145 h 229"/>
                  <a:gd name="T48" fmla="*/ 19 w 116"/>
                  <a:gd name="T49" fmla="*/ 133 h 229"/>
                  <a:gd name="T50" fmla="*/ 19 w 116"/>
                  <a:gd name="T51" fmla="*/ 128 h 229"/>
                  <a:gd name="T52" fmla="*/ 17 w 116"/>
                  <a:gd name="T53" fmla="*/ 116 h 229"/>
                  <a:gd name="T54" fmla="*/ 15 w 116"/>
                  <a:gd name="T55" fmla="*/ 109 h 229"/>
                  <a:gd name="T56" fmla="*/ 11 w 116"/>
                  <a:gd name="T57" fmla="*/ 89 h 229"/>
                  <a:gd name="T58" fmla="*/ 17 w 116"/>
                  <a:gd name="T59" fmla="*/ 80 h 229"/>
                  <a:gd name="T60" fmla="*/ 23 w 116"/>
                  <a:gd name="T61" fmla="*/ 68 h 229"/>
                  <a:gd name="T62" fmla="*/ 32 w 116"/>
                  <a:gd name="T63" fmla="*/ 65 h 229"/>
                  <a:gd name="T64" fmla="*/ 36 w 116"/>
                  <a:gd name="T65" fmla="*/ 67 h 229"/>
                  <a:gd name="T66" fmla="*/ 44 w 116"/>
                  <a:gd name="T67" fmla="*/ 63 h 229"/>
                  <a:gd name="T68" fmla="*/ 50 w 116"/>
                  <a:gd name="T69" fmla="*/ 65 h 229"/>
                  <a:gd name="T70" fmla="*/ 53 w 116"/>
                  <a:gd name="T71" fmla="*/ 55 h 229"/>
                  <a:gd name="T72" fmla="*/ 59 w 116"/>
                  <a:gd name="T73" fmla="*/ 59 h 229"/>
                  <a:gd name="T74" fmla="*/ 61 w 116"/>
                  <a:gd name="T75" fmla="*/ 51 h 229"/>
                  <a:gd name="T76" fmla="*/ 67 w 116"/>
                  <a:gd name="T77" fmla="*/ 46 h 229"/>
                  <a:gd name="T78" fmla="*/ 72 w 116"/>
                  <a:gd name="T79" fmla="*/ 42 h 229"/>
                  <a:gd name="T80" fmla="*/ 72 w 116"/>
                  <a:gd name="T81" fmla="*/ 42 h 229"/>
                  <a:gd name="T82" fmla="*/ 76 w 116"/>
                  <a:gd name="T83" fmla="*/ 38 h 229"/>
                  <a:gd name="T84" fmla="*/ 74 w 116"/>
                  <a:gd name="T85" fmla="*/ 28 h 229"/>
                  <a:gd name="T86" fmla="*/ 76 w 116"/>
                  <a:gd name="T87" fmla="*/ 27 h 229"/>
                  <a:gd name="T88" fmla="*/ 82 w 116"/>
                  <a:gd name="T89" fmla="*/ 28 h 229"/>
                  <a:gd name="T90" fmla="*/ 84 w 116"/>
                  <a:gd name="T91" fmla="*/ 25 h 229"/>
                  <a:gd name="T92" fmla="*/ 90 w 116"/>
                  <a:gd name="T93" fmla="*/ 19 h 229"/>
                  <a:gd name="T94" fmla="*/ 88 w 116"/>
                  <a:gd name="T95" fmla="*/ 7 h 229"/>
                  <a:gd name="T96" fmla="*/ 93 w 116"/>
                  <a:gd name="T97" fmla="*/ 2 h 229"/>
                  <a:gd name="T98" fmla="*/ 80 w 116"/>
                  <a:gd name="T99" fmla="*/ 23 h 229"/>
                  <a:gd name="T100" fmla="*/ 105 w 116"/>
                  <a:gd name="T101" fmla="*/ 84 h 229"/>
                  <a:gd name="T102" fmla="*/ 53 w 116"/>
                  <a:gd name="T103" fmla="*/ 67 h 229"/>
                  <a:gd name="T104" fmla="*/ 84 w 116"/>
                  <a:gd name="T105" fmla="*/ 13 h 229"/>
                  <a:gd name="T106" fmla="*/ 50 w 116"/>
                  <a:gd name="T107" fmla="*/ 65 h 229"/>
                  <a:gd name="T108" fmla="*/ 72 w 116"/>
                  <a:gd name="T109" fmla="*/ 32 h 229"/>
                  <a:gd name="T110" fmla="*/ 50 w 116"/>
                  <a:gd name="T111" fmla="*/ 65 h 229"/>
                  <a:gd name="T112" fmla="*/ 63 w 116"/>
                  <a:gd name="T113" fmla="*/ 55 h 229"/>
                  <a:gd name="T114" fmla="*/ 61 w 116"/>
                  <a:gd name="T115" fmla="*/ 57 h 229"/>
                  <a:gd name="T116" fmla="*/ 51 w 116"/>
                  <a:gd name="T117" fmla="*/ 65 h 229"/>
                  <a:gd name="T118" fmla="*/ 51 w 116"/>
                  <a:gd name="T119" fmla="*/ 63 h 229"/>
                  <a:gd name="T120" fmla="*/ 19 w 116"/>
                  <a:gd name="T121" fmla="*/ 131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6" h="229">
                    <a:moveTo>
                      <a:pt x="95" y="0"/>
                    </a:moveTo>
                    <a:lnTo>
                      <a:pt x="97" y="0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5" y="4"/>
                    </a:lnTo>
                    <a:lnTo>
                      <a:pt x="95" y="2"/>
                    </a:lnTo>
                    <a:lnTo>
                      <a:pt x="95" y="4"/>
                    </a:lnTo>
                    <a:lnTo>
                      <a:pt x="97" y="4"/>
                    </a:lnTo>
                    <a:lnTo>
                      <a:pt x="95" y="6"/>
                    </a:lnTo>
                    <a:lnTo>
                      <a:pt x="95" y="4"/>
                    </a:lnTo>
                    <a:lnTo>
                      <a:pt x="95" y="6"/>
                    </a:lnTo>
                    <a:lnTo>
                      <a:pt x="97" y="4"/>
                    </a:lnTo>
                    <a:lnTo>
                      <a:pt x="97" y="6"/>
                    </a:lnTo>
                    <a:lnTo>
                      <a:pt x="97" y="4"/>
                    </a:lnTo>
                    <a:lnTo>
                      <a:pt x="99" y="6"/>
                    </a:lnTo>
                    <a:lnTo>
                      <a:pt x="101" y="6"/>
                    </a:lnTo>
                    <a:lnTo>
                      <a:pt x="101" y="7"/>
                    </a:lnTo>
                    <a:lnTo>
                      <a:pt x="99" y="6"/>
                    </a:lnTo>
                    <a:lnTo>
                      <a:pt x="99" y="7"/>
                    </a:lnTo>
                    <a:lnTo>
                      <a:pt x="101" y="7"/>
                    </a:lnTo>
                    <a:lnTo>
                      <a:pt x="101" y="9"/>
                    </a:lnTo>
                    <a:lnTo>
                      <a:pt x="101" y="7"/>
                    </a:lnTo>
                    <a:lnTo>
                      <a:pt x="101" y="9"/>
                    </a:lnTo>
                    <a:lnTo>
                      <a:pt x="101" y="11"/>
                    </a:lnTo>
                    <a:lnTo>
                      <a:pt x="103" y="13"/>
                    </a:lnTo>
                    <a:lnTo>
                      <a:pt x="103" y="11"/>
                    </a:lnTo>
                    <a:lnTo>
                      <a:pt x="103" y="13"/>
                    </a:lnTo>
                    <a:lnTo>
                      <a:pt x="105" y="13"/>
                    </a:lnTo>
                    <a:lnTo>
                      <a:pt x="105" y="15"/>
                    </a:lnTo>
                    <a:lnTo>
                      <a:pt x="107" y="17"/>
                    </a:lnTo>
                    <a:lnTo>
                      <a:pt x="107" y="19"/>
                    </a:lnTo>
                    <a:lnTo>
                      <a:pt x="107" y="21"/>
                    </a:lnTo>
                    <a:lnTo>
                      <a:pt x="107" y="23"/>
                    </a:lnTo>
                    <a:lnTo>
                      <a:pt x="109" y="23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8"/>
                    </a:lnTo>
                    <a:lnTo>
                      <a:pt x="111" y="32"/>
                    </a:lnTo>
                    <a:lnTo>
                      <a:pt x="111" y="34"/>
                    </a:lnTo>
                    <a:lnTo>
                      <a:pt x="111" y="36"/>
                    </a:lnTo>
                    <a:lnTo>
                      <a:pt x="111" y="38"/>
                    </a:lnTo>
                    <a:lnTo>
                      <a:pt x="111" y="40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6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49"/>
                    </a:lnTo>
                    <a:lnTo>
                      <a:pt x="114" y="51"/>
                    </a:lnTo>
                    <a:lnTo>
                      <a:pt x="114" y="53"/>
                    </a:lnTo>
                    <a:lnTo>
                      <a:pt x="116" y="53"/>
                    </a:lnTo>
                    <a:lnTo>
                      <a:pt x="114" y="53"/>
                    </a:lnTo>
                    <a:lnTo>
                      <a:pt x="116" y="55"/>
                    </a:lnTo>
                    <a:lnTo>
                      <a:pt x="114" y="55"/>
                    </a:lnTo>
                    <a:lnTo>
                      <a:pt x="114" y="57"/>
                    </a:lnTo>
                    <a:lnTo>
                      <a:pt x="114" y="59"/>
                    </a:lnTo>
                    <a:lnTo>
                      <a:pt x="112" y="61"/>
                    </a:lnTo>
                    <a:lnTo>
                      <a:pt x="112" y="63"/>
                    </a:lnTo>
                    <a:lnTo>
                      <a:pt x="112" y="65"/>
                    </a:lnTo>
                    <a:lnTo>
                      <a:pt x="111" y="65"/>
                    </a:lnTo>
                    <a:lnTo>
                      <a:pt x="109" y="65"/>
                    </a:lnTo>
                    <a:lnTo>
                      <a:pt x="109" y="63"/>
                    </a:lnTo>
                    <a:lnTo>
                      <a:pt x="107" y="61"/>
                    </a:lnTo>
                    <a:lnTo>
                      <a:pt x="107" y="59"/>
                    </a:lnTo>
                    <a:lnTo>
                      <a:pt x="107" y="57"/>
                    </a:lnTo>
                    <a:lnTo>
                      <a:pt x="105" y="55"/>
                    </a:lnTo>
                    <a:lnTo>
                      <a:pt x="105" y="57"/>
                    </a:lnTo>
                    <a:lnTo>
                      <a:pt x="105" y="55"/>
                    </a:lnTo>
                    <a:lnTo>
                      <a:pt x="103" y="57"/>
                    </a:lnTo>
                    <a:lnTo>
                      <a:pt x="101" y="59"/>
                    </a:lnTo>
                    <a:lnTo>
                      <a:pt x="103" y="59"/>
                    </a:lnTo>
                    <a:lnTo>
                      <a:pt x="103" y="61"/>
                    </a:lnTo>
                    <a:lnTo>
                      <a:pt x="101" y="61"/>
                    </a:lnTo>
                    <a:lnTo>
                      <a:pt x="103" y="61"/>
                    </a:lnTo>
                    <a:lnTo>
                      <a:pt x="103" y="63"/>
                    </a:lnTo>
                    <a:lnTo>
                      <a:pt x="103" y="65"/>
                    </a:lnTo>
                    <a:lnTo>
                      <a:pt x="103" y="67"/>
                    </a:lnTo>
                    <a:lnTo>
                      <a:pt x="103" y="68"/>
                    </a:lnTo>
                    <a:lnTo>
                      <a:pt x="105" y="68"/>
                    </a:lnTo>
                    <a:lnTo>
                      <a:pt x="105" y="70"/>
                    </a:lnTo>
                    <a:lnTo>
                      <a:pt x="105" y="72"/>
                    </a:lnTo>
                    <a:lnTo>
                      <a:pt x="105" y="74"/>
                    </a:lnTo>
                    <a:lnTo>
                      <a:pt x="105" y="76"/>
                    </a:lnTo>
                    <a:lnTo>
                      <a:pt x="103" y="78"/>
                    </a:lnTo>
                    <a:lnTo>
                      <a:pt x="103" y="76"/>
                    </a:lnTo>
                    <a:lnTo>
                      <a:pt x="103" y="78"/>
                    </a:lnTo>
                    <a:lnTo>
                      <a:pt x="105" y="78"/>
                    </a:lnTo>
                    <a:lnTo>
                      <a:pt x="105" y="80"/>
                    </a:lnTo>
                    <a:lnTo>
                      <a:pt x="103" y="80"/>
                    </a:lnTo>
                    <a:lnTo>
                      <a:pt x="101" y="80"/>
                    </a:lnTo>
                    <a:lnTo>
                      <a:pt x="99" y="88"/>
                    </a:lnTo>
                    <a:lnTo>
                      <a:pt x="99" y="89"/>
                    </a:lnTo>
                    <a:lnTo>
                      <a:pt x="99" y="91"/>
                    </a:lnTo>
                    <a:lnTo>
                      <a:pt x="99" y="93"/>
                    </a:lnTo>
                    <a:lnTo>
                      <a:pt x="99" y="99"/>
                    </a:lnTo>
                    <a:lnTo>
                      <a:pt x="97" y="99"/>
                    </a:lnTo>
                    <a:lnTo>
                      <a:pt x="99" y="101"/>
                    </a:lnTo>
                    <a:lnTo>
                      <a:pt x="97" y="101"/>
                    </a:lnTo>
                    <a:lnTo>
                      <a:pt x="97" y="103"/>
                    </a:lnTo>
                    <a:lnTo>
                      <a:pt x="97" y="105"/>
                    </a:lnTo>
                    <a:lnTo>
                      <a:pt x="95" y="109"/>
                    </a:lnTo>
                    <a:lnTo>
                      <a:pt x="91" y="118"/>
                    </a:lnTo>
                    <a:lnTo>
                      <a:pt x="91" y="122"/>
                    </a:lnTo>
                    <a:lnTo>
                      <a:pt x="90" y="126"/>
                    </a:lnTo>
                    <a:lnTo>
                      <a:pt x="90" y="130"/>
                    </a:lnTo>
                    <a:lnTo>
                      <a:pt x="90" y="131"/>
                    </a:lnTo>
                    <a:lnTo>
                      <a:pt x="88" y="131"/>
                    </a:lnTo>
                    <a:lnTo>
                      <a:pt x="90" y="131"/>
                    </a:lnTo>
                    <a:lnTo>
                      <a:pt x="86" y="139"/>
                    </a:lnTo>
                    <a:lnTo>
                      <a:pt x="84" y="145"/>
                    </a:lnTo>
                    <a:lnTo>
                      <a:pt x="84" y="147"/>
                    </a:lnTo>
                    <a:lnTo>
                      <a:pt x="84" y="149"/>
                    </a:lnTo>
                    <a:lnTo>
                      <a:pt x="82" y="149"/>
                    </a:lnTo>
                    <a:lnTo>
                      <a:pt x="84" y="149"/>
                    </a:lnTo>
                    <a:lnTo>
                      <a:pt x="82" y="154"/>
                    </a:lnTo>
                    <a:lnTo>
                      <a:pt x="80" y="154"/>
                    </a:lnTo>
                    <a:lnTo>
                      <a:pt x="82" y="154"/>
                    </a:lnTo>
                    <a:lnTo>
                      <a:pt x="80" y="154"/>
                    </a:lnTo>
                    <a:lnTo>
                      <a:pt x="82" y="154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0" y="158"/>
                    </a:lnTo>
                    <a:lnTo>
                      <a:pt x="80" y="160"/>
                    </a:lnTo>
                    <a:lnTo>
                      <a:pt x="78" y="162"/>
                    </a:lnTo>
                    <a:lnTo>
                      <a:pt x="74" y="172"/>
                    </a:lnTo>
                    <a:lnTo>
                      <a:pt x="74" y="175"/>
                    </a:lnTo>
                    <a:lnTo>
                      <a:pt x="74" y="179"/>
                    </a:lnTo>
                    <a:lnTo>
                      <a:pt x="72" y="183"/>
                    </a:lnTo>
                    <a:lnTo>
                      <a:pt x="72" y="185"/>
                    </a:lnTo>
                    <a:lnTo>
                      <a:pt x="72" y="189"/>
                    </a:lnTo>
                    <a:lnTo>
                      <a:pt x="70" y="189"/>
                    </a:lnTo>
                    <a:lnTo>
                      <a:pt x="70" y="191"/>
                    </a:lnTo>
                    <a:lnTo>
                      <a:pt x="70" y="189"/>
                    </a:lnTo>
                    <a:lnTo>
                      <a:pt x="70" y="193"/>
                    </a:lnTo>
                    <a:lnTo>
                      <a:pt x="70" y="194"/>
                    </a:lnTo>
                    <a:lnTo>
                      <a:pt x="70" y="193"/>
                    </a:lnTo>
                    <a:lnTo>
                      <a:pt x="69" y="194"/>
                    </a:lnTo>
                    <a:lnTo>
                      <a:pt x="69" y="193"/>
                    </a:lnTo>
                    <a:lnTo>
                      <a:pt x="69" y="194"/>
                    </a:lnTo>
                    <a:lnTo>
                      <a:pt x="70" y="194"/>
                    </a:lnTo>
                    <a:lnTo>
                      <a:pt x="69" y="198"/>
                    </a:lnTo>
                    <a:lnTo>
                      <a:pt x="67" y="202"/>
                    </a:lnTo>
                    <a:lnTo>
                      <a:pt x="65" y="206"/>
                    </a:lnTo>
                    <a:lnTo>
                      <a:pt x="65" y="210"/>
                    </a:lnTo>
                    <a:lnTo>
                      <a:pt x="63" y="214"/>
                    </a:lnTo>
                    <a:lnTo>
                      <a:pt x="63" y="215"/>
                    </a:lnTo>
                    <a:lnTo>
                      <a:pt x="61" y="217"/>
                    </a:lnTo>
                    <a:lnTo>
                      <a:pt x="63" y="217"/>
                    </a:lnTo>
                    <a:lnTo>
                      <a:pt x="61" y="217"/>
                    </a:lnTo>
                    <a:lnTo>
                      <a:pt x="61" y="219"/>
                    </a:lnTo>
                    <a:lnTo>
                      <a:pt x="61" y="217"/>
                    </a:lnTo>
                    <a:lnTo>
                      <a:pt x="61" y="219"/>
                    </a:lnTo>
                    <a:lnTo>
                      <a:pt x="59" y="219"/>
                    </a:lnTo>
                    <a:lnTo>
                      <a:pt x="57" y="221"/>
                    </a:lnTo>
                    <a:lnTo>
                      <a:pt x="55" y="221"/>
                    </a:lnTo>
                    <a:lnTo>
                      <a:pt x="53" y="221"/>
                    </a:lnTo>
                    <a:lnTo>
                      <a:pt x="51" y="221"/>
                    </a:lnTo>
                    <a:lnTo>
                      <a:pt x="50" y="221"/>
                    </a:lnTo>
                    <a:lnTo>
                      <a:pt x="48" y="223"/>
                    </a:lnTo>
                    <a:lnTo>
                      <a:pt x="42" y="225"/>
                    </a:lnTo>
                    <a:lnTo>
                      <a:pt x="40" y="227"/>
                    </a:lnTo>
                    <a:lnTo>
                      <a:pt x="38" y="227"/>
                    </a:lnTo>
                    <a:lnTo>
                      <a:pt x="36" y="229"/>
                    </a:lnTo>
                    <a:lnTo>
                      <a:pt x="32" y="229"/>
                    </a:lnTo>
                    <a:lnTo>
                      <a:pt x="30" y="229"/>
                    </a:lnTo>
                    <a:lnTo>
                      <a:pt x="29" y="227"/>
                    </a:lnTo>
                    <a:lnTo>
                      <a:pt x="27" y="225"/>
                    </a:lnTo>
                    <a:lnTo>
                      <a:pt x="25" y="225"/>
                    </a:lnTo>
                    <a:lnTo>
                      <a:pt x="23" y="223"/>
                    </a:lnTo>
                    <a:lnTo>
                      <a:pt x="19" y="223"/>
                    </a:lnTo>
                    <a:lnTo>
                      <a:pt x="17" y="223"/>
                    </a:lnTo>
                    <a:lnTo>
                      <a:pt x="17" y="221"/>
                    </a:lnTo>
                    <a:lnTo>
                      <a:pt x="17" y="223"/>
                    </a:lnTo>
                    <a:lnTo>
                      <a:pt x="19" y="223"/>
                    </a:lnTo>
                    <a:lnTo>
                      <a:pt x="17" y="221"/>
                    </a:lnTo>
                    <a:lnTo>
                      <a:pt x="15" y="219"/>
                    </a:lnTo>
                    <a:lnTo>
                      <a:pt x="13" y="219"/>
                    </a:lnTo>
                    <a:lnTo>
                      <a:pt x="13" y="217"/>
                    </a:lnTo>
                    <a:lnTo>
                      <a:pt x="13" y="215"/>
                    </a:lnTo>
                    <a:lnTo>
                      <a:pt x="11" y="215"/>
                    </a:lnTo>
                    <a:lnTo>
                      <a:pt x="11" y="214"/>
                    </a:lnTo>
                    <a:lnTo>
                      <a:pt x="11" y="212"/>
                    </a:lnTo>
                    <a:lnTo>
                      <a:pt x="9" y="210"/>
                    </a:lnTo>
                    <a:lnTo>
                      <a:pt x="8" y="208"/>
                    </a:lnTo>
                    <a:lnTo>
                      <a:pt x="8" y="206"/>
                    </a:lnTo>
                    <a:lnTo>
                      <a:pt x="8" y="202"/>
                    </a:lnTo>
                    <a:lnTo>
                      <a:pt x="8" y="200"/>
                    </a:lnTo>
                    <a:lnTo>
                      <a:pt x="8" y="198"/>
                    </a:lnTo>
                    <a:lnTo>
                      <a:pt x="6" y="196"/>
                    </a:lnTo>
                    <a:lnTo>
                      <a:pt x="8" y="196"/>
                    </a:lnTo>
                    <a:lnTo>
                      <a:pt x="6" y="196"/>
                    </a:lnTo>
                    <a:lnTo>
                      <a:pt x="8" y="196"/>
                    </a:lnTo>
                    <a:lnTo>
                      <a:pt x="6" y="194"/>
                    </a:lnTo>
                    <a:lnTo>
                      <a:pt x="8" y="194"/>
                    </a:lnTo>
                    <a:lnTo>
                      <a:pt x="8" y="193"/>
                    </a:lnTo>
                    <a:lnTo>
                      <a:pt x="9" y="193"/>
                    </a:lnTo>
                    <a:lnTo>
                      <a:pt x="8" y="191"/>
                    </a:lnTo>
                    <a:lnTo>
                      <a:pt x="6" y="191"/>
                    </a:lnTo>
                    <a:lnTo>
                      <a:pt x="6" y="189"/>
                    </a:lnTo>
                    <a:lnTo>
                      <a:pt x="6" y="187"/>
                    </a:lnTo>
                    <a:lnTo>
                      <a:pt x="6" y="185"/>
                    </a:lnTo>
                    <a:lnTo>
                      <a:pt x="4" y="183"/>
                    </a:lnTo>
                    <a:lnTo>
                      <a:pt x="2" y="181"/>
                    </a:lnTo>
                    <a:lnTo>
                      <a:pt x="2" y="179"/>
                    </a:lnTo>
                    <a:lnTo>
                      <a:pt x="2" y="177"/>
                    </a:lnTo>
                    <a:lnTo>
                      <a:pt x="2" y="175"/>
                    </a:lnTo>
                    <a:lnTo>
                      <a:pt x="0" y="175"/>
                    </a:lnTo>
                    <a:lnTo>
                      <a:pt x="0" y="173"/>
                    </a:lnTo>
                    <a:lnTo>
                      <a:pt x="0" y="172"/>
                    </a:lnTo>
                    <a:lnTo>
                      <a:pt x="0" y="170"/>
                    </a:lnTo>
                    <a:lnTo>
                      <a:pt x="2" y="170"/>
                    </a:lnTo>
                    <a:lnTo>
                      <a:pt x="2" y="172"/>
                    </a:lnTo>
                    <a:lnTo>
                      <a:pt x="2" y="170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0" y="166"/>
                    </a:lnTo>
                    <a:lnTo>
                      <a:pt x="0" y="164"/>
                    </a:lnTo>
                    <a:lnTo>
                      <a:pt x="2" y="164"/>
                    </a:lnTo>
                    <a:lnTo>
                      <a:pt x="2" y="166"/>
                    </a:lnTo>
                    <a:lnTo>
                      <a:pt x="2" y="164"/>
                    </a:lnTo>
                    <a:lnTo>
                      <a:pt x="2" y="162"/>
                    </a:lnTo>
                    <a:lnTo>
                      <a:pt x="4" y="160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6" y="154"/>
                    </a:lnTo>
                    <a:lnTo>
                      <a:pt x="4" y="154"/>
                    </a:lnTo>
                    <a:lnTo>
                      <a:pt x="6" y="154"/>
                    </a:lnTo>
                    <a:lnTo>
                      <a:pt x="8" y="154"/>
                    </a:lnTo>
                    <a:lnTo>
                      <a:pt x="9" y="154"/>
                    </a:lnTo>
                    <a:lnTo>
                      <a:pt x="9" y="152"/>
                    </a:lnTo>
                    <a:lnTo>
                      <a:pt x="9" y="147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3" y="145"/>
                    </a:lnTo>
                    <a:lnTo>
                      <a:pt x="11" y="145"/>
                    </a:lnTo>
                    <a:lnTo>
                      <a:pt x="13" y="145"/>
                    </a:lnTo>
                    <a:lnTo>
                      <a:pt x="13" y="141"/>
                    </a:lnTo>
                    <a:lnTo>
                      <a:pt x="15" y="141"/>
                    </a:lnTo>
                    <a:lnTo>
                      <a:pt x="13" y="141"/>
                    </a:lnTo>
                    <a:lnTo>
                      <a:pt x="15" y="141"/>
                    </a:lnTo>
                    <a:lnTo>
                      <a:pt x="15" y="139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5"/>
                    </a:lnTo>
                    <a:lnTo>
                      <a:pt x="19" y="135"/>
                    </a:lnTo>
                    <a:lnTo>
                      <a:pt x="19" y="133"/>
                    </a:lnTo>
                    <a:lnTo>
                      <a:pt x="19" y="131"/>
                    </a:lnTo>
                    <a:lnTo>
                      <a:pt x="19" y="133"/>
                    </a:lnTo>
                    <a:lnTo>
                      <a:pt x="21" y="133"/>
                    </a:lnTo>
                    <a:lnTo>
                      <a:pt x="19" y="131"/>
                    </a:lnTo>
                    <a:lnTo>
                      <a:pt x="21" y="131"/>
                    </a:lnTo>
                    <a:lnTo>
                      <a:pt x="19" y="131"/>
                    </a:lnTo>
                    <a:lnTo>
                      <a:pt x="21" y="131"/>
                    </a:lnTo>
                    <a:lnTo>
                      <a:pt x="19" y="131"/>
                    </a:lnTo>
                    <a:lnTo>
                      <a:pt x="19" y="130"/>
                    </a:lnTo>
                    <a:lnTo>
                      <a:pt x="19" y="128"/>
                    </a:lnTo>
                    <a:lnTo>
                      <a:pt x="19" y="130"/>
                    </a:lnTo>
                    <a:lnTo>
                      <a:pt x="19" y="128"/>
                    </a:lnTo>
                    <a:lnTo>
                      <a:pt x="19" y="126"/>
                    </a:lnTo>
                    <a:lnTo>
                      <a:pt x="19" y="124"/>
                    </a:lnTo>
                    <a:lnTo>
                      <a:pt x="19" y="126"/>
                    </a:lnTo>
                    <a:lnTo>
                      <a:pt x="19" y="124"/>
                    </a:lnTo>
                    <a:lnTo>
                      <a:pt x="19" y="122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17" y="116"/>
                    </a:lnTo>
                    <a:lnTo>
                      <a:pt x="17" y="118"/>
                    </a:lnTo>
                    <a:lnTo>
                      <a:pt x="15" y="116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5" y="114"/>
                    </a:lnTo>
                    <a:lnTo>
                      <a:pt x="17" y="112"/>
                    </a:lnTo>
                    <a:lnTo>
                      <a:pt x="15" y="110"/>
                    </a:lnTo>
                    <a:lnTo>
                      <a:pt x="15" y="109"/>
                    </a:lnTo>
                    <a:lnTo>
                      <a:pt x="15" y="107"/>
                    </a:lnTo>
                    <a:lnTo>
                      <a:pt x="15" y="109"/>
                    </a:lnTo>
                    <a:lnTo>
                      <a:pt x="13" y="105"/>
                    </a:lnTo>
                    <a:lnTo>
                      <a:pt x="13" y="103"/>
                    </a:lnTo>
                    <a:lnTo>
                      <a:pt x="13" y="101"/>
                    </a:lnTo>
                    <a:lnTo>
                      <a:pt x="13" y="97"/>
                    </a:lnTo>
                    <a:lnTo>
                      <a:pt x="13" y="95"/>
                    </a:lnTo>
                    <a:lnTo>
                      <a:pt x="11" y="93"/>
                    </a:lnTo>
                    <a:lnTo>
                      <a:pt x="11" y="91"/>
                    </a:lnTo>
                    <a:lnTo>
                      <a:pt x="11" y="89"/>
                    </a:lnTo>
                    <a:lnTo>
                      <a:pt x="11" y="88"/>
                    </a:lnTo>
                    <a:lnTo>
                      <a:pt x="13" y="88"/>
                    </a:lnTo>
                    <a:lnTo>
                      <a:pt x="13" y="86"/>
                    </a:lnTo>
                    <a:lnTo>
                      <a:pt x="13" y="84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7" y="78"/>
                    </a:lnTo>
                    <a:lnTo>
                      <a:pt x="19" y="78"/>
                    </a:lnTo>
                    <a:lnTo>
                      <a:pt x="19" y="76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4"/>
                    </a:lnTo>
                    <a:lnTo>
                      <a:pt x="19" y="70"/>
                    </a:lnTo>
                    <a:lnTo>
                      <a:pt x="19" y="68"/>
                    </a:lnTo>
                    <a:lnTo>
                      <a:pt x="21" y="68"/>
                    </a:lnTo>
                    <a:lnTo>
                      <a:pt x="23" y="68"/>
                    </a:lnTo>
                    <a:lnTo>
                      <a:pt x="25" y="68"/>
                    </a:lnTo>
                    <a:lnTo>
                      <a:pt x="25" y="70"/>
                    </a:lnTo>
                    <a:lnTo>
                      <a:pt x="27" y="70"/>
                    </a:lnTo>
                    <a:lnTo>
                      <a:pt x="25" y="70"/>
                    </a:lnTo>
                    <a:lnTo>
                      <a:pt x="27" y="68"/>
                    </a:lnTo>
                    <a:lnTo>
                      <a:pt x="29" y="68"/>
                    </a:lnTo>
                    <a:lnTo>
                      <a:pt x="27" y="68"/>
                    </a:lnTo>
                    <a:lnTo>
                      <a:pt x="29" y="67"/>
                    </a:lnTo>
                    <a:lnTo>
                      <a:pt x="30" y="65"/>
                    </a:lnTo>
                    <a:lnTo>
                      <a:pt x="32" y="65"/>
                    </a:lnTo>
                    <a:lnTo>
                      <a:pt x="32" y="67"/>
                    </a:lnTo>
                    <a:lnTo>
                      <a:pt x="32" y="68"/>
                    </a:lnTo>
                    <a:lnTo>
                      <a:pt x="32" y="67"/>
                    </a:lnTo>
                    <a:lnTo>
                      <a:pt x="34" y="67"/>
                    </a:lnTo>
                    <a:lnTo>
                      <a:pt x="34" y="65"/>
                    </a:lnTo>
                    <a:lnTo>
                      <a:pt x="34" y="67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8" y="65"/>
                    </a:lnTo>
                    <a:lnTo>
                      <a:pt x="36" y="67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8" y="63"/>
                    </a:lnTo>
                    <a:lnTo>
                      <a:pt x="38" y="61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42" y="61"/>
                    </a:lnTo>
                    <a:lnTo>
                      <a:pt x="42" y="63"/>
                    </a:lnTo>
                    <a:lnTo>
                      <a:pt x="42" y="61"/>
                    </a:lnTo>
                    <a:lnTo>
                      <a:pt x="44" y="63"/>
                    </a:lnTo>
                    <a:lnTo>
                      <a:pt x="46" y="63"/>
                    </a:lnTo>
                    <a:lnTo>
                      <a:pt x="44" y="63"/>
                    </a:lnTo>
                    <a:lnTo>
                      <a:pt x="46" y="63"/>
                    </a:lnTo>
                    <a:lnTo>
                      <a:pt x="46" y="61"/>
                    </a:lnTo>
                    <a:lnTo>
                      <a:pt x="46" y="63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48" y="61"/>
                    </a:lnTo>
                    <a:lnTo>
                      <a:pt x="48" y="63"/>
                    </a:lnTo>
                    <a:lnTo>
                      <a:pt x="50" y="65"/>
                    </a:lnTo>
                    <a:lnTo>
                      <a:pt x="50" y="67"/>
                    </a:lnTo>
                    <a:lnTo>
                      <a:pt x="51" y="67"/>
                    </a:lnTo>
                    <a:lnTo>
                      <a:pt x="53" y="67"/>
                    </a:lnTo>
                    <a:lnTo>
                      <a:pt x="51" y="65"/>
                    </a:lnTo>
                    <a:lnTo>
                      <a:pt x="50" y="63"/>
                    </a:lnTo>
                    <a:lnTo>
                      <a:pt x="50" y="61"/>
                    </a:lnTo>
                    <a:lnTo>
                      <a:pt x="50" y="59"/>
                    </a:lnTo>
                    <a:lnTo>
                      <a:pt x="51" y="59"/>
                    </a:lnTo>
                    <a:lnTo>
                      <a:pt x="51" y="57"/>
                    </a:lnTo>
                    <a:lnTo>
                      <a:pt x="53" y="55"/>
                    </a:lnTo>
                    <a:lnTo>
                      <a:pt x="55" y="55"/>
                    </a:lnTo>
                    <a:lnTo>
                      <a:pt x="55" y="57"/>
                    </a:lnTo>
                    <a:lnTo>
                      <a:pt x="55" y="55"/>
                    </a:lnTo>
                    <a:lnTo>
                      <a:pt x="53" y="55"/>
                    </a:lnTo>
                    <a:lnTo>
                      <a:pt x="57" y="53"/>
                    </a:lnTo>
                    <a:lnTo>
                      <a:pt x="59" y="51"/>
                    </a:lnTo>
                    <a:lnTo>
                      <a:pt x="59" y="53"/>
                    </a:lnTo>
                    <a:lnTo>
                      <a:pt x="61" y="55"/>
                    </a:lnTo>
                    <a:lnTo>
                      <a:pt x="59" y="55"/>
                    </a:lnTo>
                    <a:lnTo>
                      <a:pt x="59" y="59"/>
                    </a:lnTo>
                    <a:lnTo>
                      <a:pt x="57" y="59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1" y="59"/>
                    </a:lnTo>
                    <a:lnTo>
                      <a:pt x="61" y="57"/>
                    </a:lnTo>
                    <a:lnTo>
                      <a:pt x="63" y="57"/>
                    </a:lnTo>
                    <a:lnTo>
                      <a:pt x="63" y="55"/>
                    </a:lnTo>
                    <a:lnTo>
                      <a:pt x="63" y="53"/>
                    </a:lnTo>
                    <a:lnTo>
                      <a:pt x="61" y="53"/>
                    </a:lnTo>
                    <a:lnTo>
                      <a:pt x="61" y="51"/>
                    </a:lnTo>
                    <a:lnTo>
                      <a:pt x="63" y="51"/>
                    </a:lnTo>
                    <a:lnTo>
                      <a:pt x="63" y="49"/>
                    </a:lnTo>
                    <a:lnTo>
                      <a:pt x="65" y="49"/>
                    </a:lnTo>
                    <a:lnTo>
                      <a:pt x="65" y="48"/>
                    </a:lnTo>
                    <a:lnTo>
                      <a:pt x="67" y="48"/>
                    </a:lnTo>
                    <a:lnTo>
                      <a:pt x="65" y="46"/>
                    </a:lnTo>
                    <a:lnTo>
                      <a:pt x="65" y="48"/>
                    </a:lnTo>
                    <a:lnTo>
                      <a:pt x="67" y="44"/>
                    </a:lnTo>
                    <a:lnTo>
                      <a:pt x="69" y="44"/>
                    </a:lnTo>
                    <a:lnTo>
                      <a:pt x="67" y="46"/>
                    </a:lnTo>
                    <a:lnTo>
                      <a:pt x="69" y="46"/>
                    </a:lnTo>
                    <a:lnTo>
                      <a:pt x="67" y="49"/>
                    </a:lnTo>
                    <a:lnTo>
                      <a:pt x="67" y="51"/>
                    </a:lnTo>
                    <a:lnTo>
                      <a:pt x="69" y="49"/>
                    </a:lnTo>
                    <a:lnTo>
                      <a:pt x="67" y="49"/>
                    </a:lnTo>
                    <a:lnTo>
                      <a:pt x="69" y="49"/>
                    </a:lnTo>
                    <a:lnTo>
                      <a:pt x="69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72" y="42"/>
                    </a:lnTo>
                    <a:lnTo>
                      <a:pt x="72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6" y="42"/>
                    </a:lnTo>
                    <a:lnTo>
                      <a:pt x="76" y="44"/>
                    </a:lnTo>
                    <a:lnTo>
                      <a:pt x="76" y="42"/>
                    </a:lnTo>
                    <a:lnTo>
                      <a:pt x="74" y="42"/>
                    </a:lnTo>
                    <a:lnTo>
                      <a:pt x="72" y="42"/>
                    </a:lnTo>
                    <a:lnTo>
                      <a:pt x="70" y="42"/>
                    </a:lnTo>
                    <a:lnTo>
                      <a:pt x="72" y="42"/>
                    </a:lnTo>
                    <a:lnTo>
                      <a:pt x="70" y="40"/>
                    </a:lnTo>
                    <a:lnTo>
                      <a:pt x="70" y="38"/>
                    </a:lnTo>
                    <a:lnTo>
                      <a:pt x="72" y="38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4"/>
                    </a:lnTo>
                    <a:lnTo>
                      <a:pt x="76" y="34"/>
                    </a:lnTo>
                    <a:lnTo>
                      <a:pt x="76" y="36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6" y="34"/>
                    </a:lnTo>
                    <a:lnTo>
                      <a:pt x="74" y="32"/>
                    </a:lnTo>
                    <a:lnTo>
                      <a:pt x="76" y="32"/>
                    </a:lnTo>
                    <a:lnTo>
                      <a:pt x="76" y="30"/>
                    </a:lnTo>
                    <a:lnTo>
                      <a:pt x="76" y="32"/>
                    </a:lnTo>
                    <a:lnTo>
                      <a:pt x="74" y="30"/>
                    </a:lnTo>
                    <a:lnTo>
                      <a:pt x="74" y="28"/>
                    </a:lnTo>
                    <a:lnTo>
                      <a:pt x="74" y="27"/>
                    </a:lnTo>
                    <a:lnTo>
                      <a:pt x="76" y="27"/>
                    </a:lnTo>
                    <a:lnTo>
                      <a:pt x="74" y="25"/>
                    </a:lnTo>
                    <a:lnTo>
                      <a:pt x="76" y="25"/>
                    </a:lnTo>
                    <a:lnTo>
                      <a:pt x="76" y="27"/>
                    </a:lnTo>
                    <a:lnTo>
                      <a:pt x="76" y="25"/>
                    </a:lnTo>
                    <a:lnTo>
                      <a:pt x="76" y="27"/>
                    </a:lnTo>
                    <a:lnTo>
                      <a:pt x="76" y="25"/>
                    </a:lnTo>
                    <a:lnTo>
                      <a:pt x="78" y="25"/>
                    </a:lnTo>
                    <a:lnTo>
                      <a:pt x="76" y="27"/>
                    </a:lnTo>
                    <a:lnTo>
                      <a:pt x="78" y="27"/>
                    </a:lnTo>
                    <a:lnTo>
                      <a:pt x="76" y="27"/>
                    </a:lnTo>
                    <a:lnTo>
                      <a:pt x="78" y="27"/>
                    </a:lnTo>
                    <a:lnTo>
                      <a:pt x="78" y="28"/>
                    </a:lnTo>
                    <a:lnTo>
                      <a:pt x="80" y="28"/>
                    </a:lnTo>
                    <a:lnTo>
                      <a:pt x="80" y="30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0" y="27"/>
                    </a:lnTo>
                    <a:lnTo>
                      <a:pt x="82" y="27"/>
                    </a:lnTo>
                    <a:lnTo>
                      <a:pt x="80" y="27"/>
                    </a:lnTo>
                    <a:lnTo>
                      <a:pt x="82" y="27"/>
                    </a:lnTo>
                    <a:lnTo>
                      <a:pt x="82" y="25"/>
                    </a:lnTo>
                    <a:lnTo>
                      <a:pt x="82" y="27"/>
                    </a:lnTo>
                    <a:lnTo>
                      <a:pt x="82" y="25"/>
                    </a:lnTo>
                    <a:lnTo>
                      <a:pt x="82" y="27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4" y="23"/>
                    </a:lnTo>
                    <a:lnTo>
                      <a:pt x="86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88" y="23"/>
                    </a:lnTo>
                    <a:lnTo>
                      <a:pt x="88" y="21"/>
                    </a:lnTo>
                    <a:lnTo>
                      <a:pt x="90" y="21"/>
                    </a:lnTo>
                    <a:lnTo>
                      <a:pt x="88" y="19"/>
                    </a:lnTo>
                    <a:lnTo>
                      <a:pt x="90" y="19"/>
                    </a:lnTo>
                    <a:lnTo>
                      <a:pt x="90" y="17"/>
                    </a:lnTo>
                    <a:lnTo>
                      <a:pt x="90" y="15"/>
                    </a:lnTo>
                    <a:lnTo>
                      <a:pt x="91" y="15"/>
                    </a:lnTo>
                    <a:lnTo>
                      <a:pt x="90" y="15"/>
                    </a:lnTo>
                    <a:lnTo>
                      <a:pt x="91" y="15"/>
                    </a:lnTo>
                    <a:lnTo>
                      <a:pt x="91" y="13"/>
                    </a:lnTo>
                    <a:lnTo>
                      <a:pt x="90" y="13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88" y="7"/>
                    </a:lnTo>
                    <a:lnTo>
                      <a:pt x="88" y="6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1" y="7"/>
                    </a:lnTo>
                    <a:lnTo>
                      <a:pt x="91" y="6"/>
                    </a:lnTo>
                    <a:lnTo>
                      <a:pt x="93" y="4"/>
                    </a:lnTo>
                    <a:lnTo>
                      <a:pt x="93" y="6"/>
                    </a:lnTo>
                    <a:lnTo>
                      <a:pt x="93" y="4"/>
                    </a:lnTo>
                    <a:lnTo>
                      <a:pt x="95" y="2"/>
                    </a:lnTo>
                    <a:lnTo>
                      <a:pt x="93" y="2"/>
                    </a:lnTo>
                    <a:lnTo>
                      <a:pt x="95" y="2"/>
                    </a:lnTo>
                    <a:lnTo>
                      <a:pt x="93" y="2"/>
                    </a:lnTo>
                    <a:lnTo>
                      <a:pt x="93" y="0"/>
                    </a:lnTo>
                    <a:lnTo>
                      <a:pt x="95" y="2"/>
                    </a:lnTo>
                    <a:lnTo>
                      <a:pt x="95" y="0"/>
                    </a:lnTo>
                    <a:close/>
                    <a:moveTo>
                      <a:pt x="80" y="19"/>
                    </a:moveTo>
                    <a:lnTo>
                      <a:pt x="80" y="21"/>
                    </a:lnTo>
                    <a:lnTo>
                      <a:pt x="82" y="21"/>
                    </a:lnTo>
                    <a:lnTo>
                      <a:pt x="82" y="23"/>
                    </a:lnTo>
                    <a:lnTo>
                      <a:pt x="80" y="23"/>
                    </a:lnTo>
                    <a:lnTo>
                      <a:pt x="82" y="23"/>
                    </a:lnTo>
                    <a:lnTo>
                      <a:pt x="80" y="23"/>
                    </a:lnTo>
                    <a:lnTo>
                      <a:pt x="78" y="23"/>
                    </a:lnTo>
                    <a:lnTo>
                      <a:pt x="78" y="21"/>
                    </a:lnTo>
                    <a:lnTo>
                      <a:pt x="80" y="21"/>
                    </a:lnTo>
                    <a:lnTo>
                      <a:pt x="80" y="19"/>
                    </a:lnTo>
                    <a:close/>
                    <a:moveTo>
                      <a:pt x="109" y="78"/>
                    </a:moveTo>
                    <a:lnTo>
                      <a:pt x="107" y="82"/>
                    </a:lnTo>
                    <a:lnTo>
                      <a:pt x="107" y="80"/>
                    </a:lnTo>
                    <a:lnTo>
                      <a:pt x="105" y="84"/>
                    </a:lnTo>
                    <a:lnTo>
                      <a:pt x="105" y="82"/>
                    </a:lnTo>
                    <a:lnTo>
                      <a:pt x="105" y="80"/>
                    </a:lnTo>
                    <a:lnTo>
                      <a:pt x="107" y="80"/>
                    </a:lnTo>
                    <a:lnTo>
                      <a:pt x="107" y="78"/>
                    </a:lnTo>
                    <a:lnTo>
                      <a:pt x="109" y="78"/>
                    </a:lnTo>
                    <a:close/>
                    <a:moveTo>
                      <a:pt x="53" y="67"/>
                    </a:moveTo>
                    <a:lnTo>
                      <a:pt x="51" y="65"/>
                    </a:lnTo>
                    <a:lnTo>
                      <a:pt x="51" y="63"/>
                    </a:lnTo>
                    <a:lnTo>
                      <a:pt x="51" y="65"/>
                    </a:lnTo>
                    <a:lnTo>
                      <a:pt x="53" y="67"/>
                    </a:lnTo>
                    <a:close/>
                    <a:moveTo>
                      <a:pt x="50" y="65"/>
                    </a:moveTo>
                    <a:lnTo>
                      <a:pt x="53" y="67"/>
                    </a:lnTo>
                    <a:lnTo>
                      <a:pt x="51" y="67"/>
                    </a:lnTo>
                    <a:lnTo>
                      <a:pt x="50" y="65"/>
                    </a:lnTo>
                    <a:close/>
                    <a:moveTo>
                      <a:pt x="69" y="40"/>
                    </a:moveTo>
                    <a:lnTo>
                      <a:pt x="70" y="40"/>
                    </a:lnTo>
                    <a:lnTo>
                      <a:pt x="70" y="42"/>
                    </a:lnTo>
                    <a:lnTo>
                      <a:pt x="69" y="42"/>
                    </a:lnTo>
                    <a:lnTo>
                      <a:pt x="69" y="40"/>
                    </a:lnTo>
                    <a:close/>
                    <a:moveTo>
                      <a:pt x="84" y="13"/>
                    </a:moveTo>
                    <a:lnTo>
                      <a:pt x="86" y="13"/>
                    </a:lnTo>
                    <a:lnTo>
                      <a:pt x="86" y="15"/>
                    </a:lnTo>
                    <a:lnTo>
                      <a:pt x="84" y="15"/>
                    </a:lnTo>
                    <a:lnTo>
                      <a:pt x="84" y="13"/>
                    </a:lnTo>
                    <a:close/>
                    <a:moveTo>
                      <a:pt x="51" y="65"/>
                    </a:moveTo>
                    <a:lnTo>
                      <a:pt x="53" y="65"/>
                    </a:lnTo>
                    <a:lnTo>
                      <a:pt x="53" y="67"/>
                    </a:lnTo>
                    <a:lnTo>
                      <a:pt x="51" y="67"/>
                    </a:lnTo>
                    <a:lnTo>
                      <a:pt x="51" y="65"/>
                    </a:lnTo>
                    <a:close/>
                    <a:moveTo>
                      <a:pt x="50" y="65"/>
                    </a:moveTo>
                    <a:lnTo>
                      <a:pt x="51" y="65"/>
                    </a:lnTo>
                    <a:lnTo>
                      <a:pt x="51" y="67"/>
                    </a:lnTo>
                    <a:lnTo>
                      <a:pt x="50" y="67"/>
                    </a:lnTo>
                    <a:lnTo>
                      <a:pt x="50" y="65"/>
                    </a:lnTo>
                    <a:close/>
                    <a:moveTo>
                      <a:pt x="82" y="23"/>
                    </a:moveTo>
                    <a:lnTo>
                      <a:pt x="82" y="25"/>
                    </a:lnTo>
                    <a:lnTo>
                      <a:pt x="82" y="23"/>
                    </a:lnTo>
                    <a:close/>
                    <a:moveTo>
                      <a:pt x="72" y="32"/>
                    </a:moveTo>
                    <a:lnTo>
                      <a:pt x="72" y="34"/>
                    </a:lnTo>
                    <a:lnTo>
                      <a:pt x="72" y="32"/>
                    </a:lnTo>
                    <a:close/>
                    <a:moveTo>
                      <a:pt x="84" y="21"/>
                    </a:moveTo>
                    <a:lnTo>
                      <a:pt x="84" y="23"/>
                    </a:lnTo>
                    <a:lnTo>
                      <a:pt x="84" y="21"/>
                    </a:lnTo>
                    <a:close/>
                    <a:moveTo>
                      <a:pt x="40" y="63"/>
                    </a:moveTo>
                    <a:lnTo>
                      <a:pt x="42" y="63"/>
                    </a:lnTo>
                    <a:lnTo>
                      <a:pt x="40" y="63"/>
                    </a:lnTo>
                    <a:close/>
                    <a:moveTo>
                      <a:pt x="50" y="63"/>
                    </a:moveTo>
                    <a:lnTo>
                      <a:pt x="51" y="63"/>
                    </a:lnTo>
                    <a:lnTo>
                      <a:pt x="51" y="65"/>
                    </a:lnTo>
                    <a:lnTo>
                      <a:pt x="50" y="65"/>
                    </a:lnTo>
                    <a:lnTo>
                      <a:pt x="50" y="63"/>
                    </a:lnTo>
                    <a:close/>
                    <a:moveTo>
                      <a:pt x="50" y="65"/>
                    </a:moveTo>
                    <a:lnTo>
                      <a:pt x="51" y="65"/>
                    </a:lnTo>
                    <a:lnTo>
                      <a:pt x="50" y="65"/>
                    </a:lnTo>
                    <a:close/>
                    <a:moveTo>
                      <a:pt x="72" y="34"/>
                    </a:moveTo>
                    <a:lnTo>
                      <a:pt x="72" y="36"/>
                    </a:lnTo>
                    <a:lnTo>
                      <a:pt x="72" y="34"/>
                    </a:lnTo>
                    <a:close/>
                    <a:moveTo>
                      <a:pt x="63" y="55"/>
                    </a:moveTo>
                    <a:lnTo>
                      <a:pt x="63" y="57"/>
                    </a:lnTo>
                    <a:lnTo>
                      <a:pt x="63" y="55"/>
                    </a:lnTo>
                    <a:close/>
                    <a:moveTo>
                      <a:pt x="40" y="63"/>
                    </a:moveTo>
                    <a:lnTo>
                      <a:pt x="42" y="63"/>
                    </a:lnTo>
                    <a:lnTo>
                      <a:pt x="40" y="63"/>
                    </a:lnTo>
                    <a:close/>
                    <a:moveTo>
                      <a:pt x="50" y="63"/>
                    </a:moveTo>
                    <a:lnTo>
                      <a:pt x="51" y="63"/>
                    </a:lnTo>
                    <a:lnTo>
                      <a:pt x="50" y="63"/>
                    </a:lnTo>
                    <a:close/>
                    <a:moveTo>
                      <a:pt x="103" y="57"/>
                    </a:moveTo>
                    <a:lnTo>
                      <a:pt x="105" y="57"/>
                    </a:lnTo>
                    <a:lnTo>
                      <a:pt x="103" y="57"/>
                    </a:lnTo>
                    <a:close/>
                    <a:moveTo>
                      <a:pt x="61" y="57"/>
                    </a:moveTo>
                    <a:lnTo>
                      <a:pt x="61" y="59"/>
                    </a:lnTo>
                    <a:lnTo>
                      <a:pt x="61" y="57"/>
                    </a:lnTo>
                    <a:close/>
                    <a:moveTo>
                      <a:pt x="50" y="63"/>
                    </a:moveTo>
                    <a:lnTo>
                      <a:pt x="50" y="65"/>
                    </a:lnTo>
                    <a:lnTo>
                      <a:pt x="50" y="63"/>
                    </a:lnTo>
                    <a:close/>
                    <a:moveTo>
                      <a:pt x="86" y="11"/>
                    </a:moveTo>
                    <a:lnTo>
                      <a:pt x="88" y="11"/>
                    </a:lnTo>
                    <a:lnTo>
                      <a:pt x="86" y="11"/>
                    </a:lnTo>
                    <a:close/>
                    <a:moveTo>
                      <a:pt x="50" y="65"/>
                    </a:moveTo>
                    <a:lnTo>
                      <a:pt x="51" y="65"/>
                    </a:lnTo>
                    <a:lnTo>
                      <a:pt x="50" y="65"/>
                    </a:lnTo>
                    <a:close/>
                    <a:moveTo>
                      <a:pt x="101" y="11"/>
                    </a:moveTo>
                    <a:lnTo>
                      <a:pt x="103" y="11"/>
                    </a:lnTo>
                    <a:lnTo>
                      <a:pt x="101" y="11"/>
                    </a:lnTo>
                    <a:close/>
                    <a:moveTo>
                      <a:pt x="50" y="63"/>
                    </a:moveTo>
                    <a:lnTo>
                      <a:pt x="50" y="65"/>
                    </a:lnTo>
                    <a:lnTo>
                      <a:pt x="50" y="63"/>
                    </a:lnTo>
                    <a:close/>
                    <a:moveTo>
                      <a:pt x="51" y="63"/>
                    </a:moveTo>
                    <a:lnTo>
                      <a:pt x="51" y="65"/>
                    </a:lnTo>
                    <a:lnTo>
                      <a:pt x="51" y="63"/>
                    </a:lnTo>
                    <a:close/>
                    <a:moveTo>
                      <a:pt x="101" y="6"/>
                    </a:moveTo>
                    <a:lnTo>
                      <a:pt x="101" y="7"/>
                    </a:lnTo>
                    <a:lnTo>
                      <a:pt x="101" y="6"/>
                    </a:lnTo>
                    <a:close/>
                    <a:moveTo>
                      <a:pt x="105" y="11"/>
                    </a:moveTo>
                    <a:lnTo>
                      <a:pt x="105" y="13"/>
                    </a:lnTo>
                    <a:lnTo>
                      <a:pt x="105" y="11"/>
                    </a:lnTo>
                    <a:close/>
                    <a:moveTo>
                      <a:pt x="50" y="65"/>
                    </a:moveTo>
                    <a:lnTo>
                      <a:pt x="50" y="67"/>
                    </a:lnTo>
                    <a:lnTo>
                      <a:pt x="50" y="65"/>
                    </a:lnTo>
                    <a:close/>
                    <a:moveTo>
                      <a:pt x="19" y="131"/>
                    </a:moveTo>
                    <a:lnTo>
                      <a:pt x="19" y="133"/>
                    </a:lnTo>
                    <a:lnTo>
                      <a:pt x="19" y="131"/>
                    </a:lnTo>
                    <a:close/>
                    <a:moveTo>
                      <a:pt x="51" y="65"/>
                    </a:moveTo>
                    <a:lnTo>
                      <a:pt x="53" y="65"/>
                    </a:lnTo>
                    <a:lnTo>
                      <a:pt x="51" y="65"/>
                    </a:lnTo>
                    <a:close/>
                    <a:moveTo>
                      <a:pt x="105" y="72"/>
                    </a:moveTo>
                    <a:lnTo>
                      <a:pt x="107" y="72"/>
                    </a:lnTo>
                    <a:lnTo>
                      <a:pt x="105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3" name="Freeform 184">
                <a:extLst>
                  <a:ext uri="{FF2B5EF4-FFF2-40B4-BE49-F238E27FC236}">
                    <a16:creationId xmlns:a16="http://schemas.microsoft.com/office/drawing/2014/main" id="{B8D9C7D9-8DA4-52DF-F545-039A1178DEC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22538" y="-1590889"/>
                <a:ext cx="4727" cy="12628"/>
              </a:xfrm>
              <a:custGeom>
                <a:avLst/>
                <a:gdLst>
                  <a:gd name="T0" fmla="*/ 1 w 3"/>
                  <a:gd name="T1" fmla="*/ 2 h 8"/>
                  <a:gd name="T2" fmla="*/ 3 w 3"/>
                  <a:gd name="T3" fmla="*/ 2 h 8"/>
                  <a:gd name="T4" fmla="*/ 3 w 3"/>
                  <a:gd name="T5" fmla="*/ 4 h 8"/>
                  <a:gd name="T6" fmla="*/ 1 w 3"/>
                  <a:gd name="T7" fmla="*/ 4 h 8"/>
                  <a:gd name="T8" fmla="*/ 3 w 3"/>
                  <a:gd name="T9" fmla="*/ 4 h 8"/>
                  <a:gd name="T10" fmla="*/ 1 w 3"/>
                  <a:gd name="T11" fmla="*/ 6 h 8"/>
                  <a:gd name="T12" fmla="*/ 3 w 3"/>
                  <a:gd name="T13" fmla="*/ 6 h 8"/>
                  <a:gd name="T14" fmla="*/ 1 w 3"/>
                  <a:gd name="T15" fmla="*/ 6 h 8"/>
                  <a:gd name="T16" fmla="*/ 3 w 3"/>
                  <a:gd name="T17" fmla="*/ 6 h 8"/>
                  <a:gd name="T18" fmla="*/ 1 w 3"/>
                  <a:gd name="T19" fmla="*/ 8 h 8"/>
                  <a:gd name="T20" fmla="*/ 1 w 3"/>
                  <a:gd name="T21" fmla="*/ 6 h 8"/>
                  <a:gd name="T22" fmla="*/ 1 w 3"/>
                  <a:gd name="T23" fmla="*/ 8 h 8"/>
                  <a:gd name="T24" fmla="*/ 1 w 3"/>
                  <a:gd name="T25" fmla="*/ 6 h 8"/>
                  <a:gd name="T26" fmla="*/ 0 w 3"/>
                  <a:gd name="T27" fmla="*/ 6 h 8"/>
                  <a:gd name="T28" fmla="*/ 1 w 3"/>
                  <a:gd name="T29" fmla="*/ 6 h 8"/>
                  <a:gd name="T30" fmla="*/ 0 w 3"/>
                  <a:gd name="T31" fmla="*/ 6 h 8"/>
                  <a:gd name="T32" fmla="*/ 1 w 3"/>
                  <a:gd name="T33" fmla="*/ 6 h 8"/>
                  <a:gd name="T34" fmla="*/ 1 w 3"/>
                  <a:gd name="T35" fmla="*/ 4 h 8"/>
                  <a:gd name="T36" fmla="*/ 0 w 3"/>
                  <a:gd name="T37" fmla="*/ 2 h 8"/>
                  <a:gd name="T38" fmla="*/ 1 w 3"/>
                  <a:gd name="T39" fmla="*/ 2 h 8"/>
                  <a:gd name="T40" fmla="*/ 3 w 3"/>
                  <a:gd name="T41" fmla="*/ 2 h 8"/>
                  <a:gd name="T42" fmla="*/ 3 w 3"/>
                  <a:gd name="T43" fmla="*/ 4 h 8"/>
                  <a:gd name="T44" fmla="*/ 3 w 3"/>
                  <a:gd name="T45" fmla="*/ 2 h 8"/>
                  <a:gd name="T46" fmla="*/ 0 w 3"/>
                  <a:gd name="T47" fmla="*/ 0 h 8"/>
                  <a:gd name="T48" fmla="*/ 0 w 3"/>
                  <a:gd name="T49" fmla="*/ 2 h 8"/>
                  <a:gd name="T50" fmla="*/ 0 w 3"/>
                  <a:gd name="T5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" h="8">
                    <a:moveTo>
                      <a:pt x="1" y="2"/>
                    </a:moveTo>
                    <a:lnTo>
                      <a:pt x="3" y="2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1" y="2"/>
                    </a:lnTo>
                    <a:close/>
                    <a:moveTo>
                      <a:pt x="3" y="2"/>
                    </a:moveTo>
                    <a:lnTo>
                      <a:pt x="3" y="4"/>
                    </a:lnTo>
                    <a:lnTo>
                      <a:pt x="3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4" name="Freeform 185">
                <a:extLst>
                  <a:ext uri="{FF2B5EF4-FFF2-40B4-BE49-F238E27FC236}">
                    <a16:creationId xmlns:a16="http://schemas.microsoft.com/office/drawing/2014/main" id="{A4CEC252-006A-90D9-EC40-8A2F785987F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52473" y="-1800836"/>
                <a:ext cx="242641" cy="149962"/>
              </a:xfrm>
              <a:custGeom>
                <a:avLst/>
                <a:gdLst>
                  <a:gd name="T0" fmla="*/ 146 w 154"/>
                  <a:gd name="T1" fmla="*/ 4 h 95"/>
                  <a:gd name="T2" fmla="*/ 146 w 154"/>
                  <a:gd name="T3" fmla="*/ 6 h 95"/>
                  <a:gd name="T4" fmla="*/ 148 w 154"/>
                  <a:gd name="T5" fmla="*/ 6 h 95"/>
                  <a:gd name="T6" fmla="*/ 148 w 154"/>
                  <a:gd name="T7" fmla="*/ 7 h 95"/>
                  <a:gd name="T8" fmla="*/ 146 w 154"/>
                  <a:gd name="T9" fmla="*/ 7 h 95"/>
                  <a:gd name="T10" fmla="*/ 148 w 154"/>
                  <a:gd name="T11" fmla="*/ 7 h 95"/>
                  <a:gd name="T12" fmla="*/ 146 w 154"/>
                  <a:gd name="T13" fmla="*/ 7 h 95"/>
                  <a:gd name="T14" fmla="*/ 146 w 154"/>
                  <a:gd name="T15" fmla="*/ 6 h 95"/>
                  <a:gd name="T16" fmla="*/ 145 w 154"/>
                  <a:gd name="T17" fmla="*/ 6 h 95"/>
                  <a:gd name="T18" fmla="*/ 146 w 154"/>
                  <a:gd name="T19" fmla="*/ 6 h 95"/>
                  <a:gd name="T20" fmla="*/ 146 w 154"/>
                  <a:gd name="T21" fmla="*/ 4 h 95"/>
                  <a:gd name="T22" fmla="*/ 3 w 154"/>
                  <a:gd name="T23" fmla="*/ 82 h 95"/>
                  <a:gd name="T24" fmla="*/ 5 w 154"/>
                  <a:gd name="T25" fmla="*/ 82 h 95"/>
                  <a:gd name="T26" fmla="*/ 3 w 154"/>
                  <a:gd name="T27" fmla="*/ 82 h 95"/>
                  <a:gd name="T28" fmla="*/ 2 w 154"/>
                  <a:gd name="T29" fmla="*/ 82 h 95"/>
                  <a:gd name="T30" fmla="*/ 2 w 154"/>
                  <a:gd name="T31" fmla="*/ 84 h 95"/>
                  <a:gd name="T32" fmla="*/ 0 w 154"/>
                  <a:gd name="T33" fmla="*/ 84 h 95"/>
                  <a:gd name="T34" fmla="*/ 0 w 154"/>
                  <a:gd name="T35" fmla="*/ 82 h 95"/>
                  <a:gd name="T36" fmla="*/ 3 w 154"/>
                  <a:gd name="T37" fmla="*/ 82 h 95"/>
                  <a:gd name="T38" fmla="*/ 150 w 154"/>
                  <a:gd name="T39" fmla="*/ 0 h 95"/>
                  <a:gd name="T40" fmla="*/ 152 w 154"/>
                  <a:gd name="T41" fmla="*/ 0 h 95"/>
                  <a:gd name="T42" fmla="*/ 152 w 154"/>
                  <a:gd name="T43" fmla="*/ 2 h 95"/>
                  <a:gd name="T44" fmla="*/ 150 w 154"/>
                  <a:gd name="T45" fmla="*/ 2 h 95"/>
                  <a:gd name="T46" fmla="*/ 150 w 154"/>
                  <a:gd name="T47" fmla="*/ 0 h 95"/>
                  <a:gd name="T48" fmla="*/ 2 w 154"/>
                  <a:gd name="T49" fmla="*/ 82 h 95"/>
                  <a:gd name="T50" fmla="*/ 3 w 154"/>
                  <a:gd name="T51" fmla="*/ 82 h 95"/>
                  <a:gd name="T52" fmla="*/ 0 w 154"/>
                  <a:gd name="T53" fmla="*/ 82 h 95"/>
                  <a:gd name="T54" fmla="*/ 2 w 154"/>
                  <a:gd name="T55" fmla="*/ 82 h 95"/>
                  <a:gd name="T56" fmla="*/ 143 w 154"/>
                  <a:gd name="T57" fmla="*/ 2 h 95"/>
                  <a:gd name="T58" fmla="*/ 143 w 154"/>
                  <a:gd name="T59" fmla="*/ 4 h 95"/>
                  <a:gd name="T60" fmla="*/ 143 w 154"/>
                  <a:gd name="T61" fmla="*/ 2 h 95"/>
                  <a:gd name="T62" fmla="*/ 3 w 154"/>
                  <a:gd name="T63" fmla="*/ 86 h 95"/>
                  <a:gd name="T64" fmla="*/ 5 w 154"/>
                  <a:gd name="T65" fmla="*/ 86 h 95"/>
                  <a:gd name="T66" fmla="*/ 5 w 154"/>
                  <a:gd name="T67" fmla="*/ 88 h 95"/>
                  <a:gd name="T68" fmla="*/ 3 w 154"/>
                  <a:gd name="T69" fmla="*/ 88 h 95"/>
                  <a:gd name="T70" fmla="*/ 3 w 154"/>
                  <a:gd name="T71" fmla="*/ 86 h 95"/>
                  <a:gd name="T72" fmla="*/ 22 w 154"/>
                  <a:gd name="T73" fmla="*/ 91 h 95"/>
                  <a:gd name="T74" fmla="*/ 24 w 154"/>
                  <a:gd name="T75" fmla="*/ 91 h 95"/>
                  <a:gd name="T76" fmla="*/ 24 w 154"/>
                  <a:gd name="T77" fmla="*/ 93 h 95"/>
                  <a:gd name="T78" fmla="*/ 22 w 154"/>
                  <a:gd name="T79" fmla="*/ 93 h 95"/>
                  <a:gd name="T80" fmla="*/ 22 w 154"/>
                  <a:gd name="T81" fmla="*/ 91 h 95"/>
                  <a:gd name="T82" fmla="*/ 152 w 154"/>
                  <a:gd name="T83" fmla="*/ 0 h 95"/>
                  <a:gd name="T84" fmla="*/ 152 w 154"/>
                  <a:gd name="T85" fmla="*/ 2 h 95"/>
                  <a:gd name="T86" fmla="*/ 152 w 154"/>
                  <a:gd name="T87" fmla="*/ 0 h 95"/>
                  <a:gd name="T88" fmla="*/ 78 w 154"/>
                  <a:gd name="T89" fmla="*/ 93 h 95"/>
                  <a:gd name="T90" fmla="*/ 78 w 154"/>
                  <a:gd name="T91" fmla="*/ 95 h 95"/>
                  <a:gd name="T92" fmla="*/ 78 w 154"/>
                  <a:gd name="T93" fmla="*/ 93 h 95"/>
                  <a:gd name="T94" fmla="*/ 152 w 154"/>
                  <a:gd name="T95" fmla="*/ 0 h 95"/>
                  <a:gd name="T96" fmla="*/ 154 w 154"/>
                  <a:gd name="T97" fmla="*/ 0 h 95"/>
                  <a:gd name="T98" fmla="*/ 152 w 154"/>
                  <a:gd name="T99" fmla="*/ 0 h 95"/>
                  <a:gd name="T100" fmla="*/ 154 w 154"/>
                  <a:gd name="T101" fmla="*/ 4 h 95"/>
                  <a:gd name="T102" fmla="*/ 154 w 154"/>
                  <a:gd name="T103" fmla="*/ 6 h 95"/>
                  <a:gd name="T104" fmla="*/ 154 w 154"/>
                  <a:gd name="T105" fmla="*/ 4 h 95"/>
                  <a:gd name="T106" fmla="*/ 76 w 154"/>
                  <a:gd name="T107" fmla="*/ 78 h 95"/>
                  <a:gd name="T108" fmla="*/ 76 w 154"/>
                  <a:gd name="T109" fmla="*/ 80 h 95"/>
                  <a:gd name="T110" fmla="*/ 76 w 154"/>
                  <a:gd name="T111" fmla="*/ 78 h 95"/>
                  <a:gd name="T112" fmla="*/ 112 w 154"/>
                  <a:gd name="T113" fmla="*/ 19 h 95"/>
                  <a:gd name="T114" fmla="*/ 114 w 154"/>
                  <a:gd name="T115" fmla="*/ 19 h 95"/>
                  <a:gd name="T116" fmla="*/ 112 w 154"/>
                  <a:gd name="T117" fmla="*/ 19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4" h="95">
                    <a:moveTo>
                      <a:pt x="146" y="4"/>
                    </a:moveTo>
                    <a:lnTo>
                      <a:pt x="146" y="6"/>
                    </a:lnTo>
                    <a:lnTo>
                      <a:pt x="148" y="6"/>
                    </a:lnTo>
                    <a:lnTo>
                      <a:pt x="148" y="7"/>
                    </a:lnTo>
                    <a:lnTo>
                      <a:pt x="146" y="7"/>
                    </a:lnTo>
                    <a:lnTo>
                      <a:pt x="148" y="7"/>
                    </a:lnTo>
                    <a:lnTo>
                      <a:pt x="146" y="7"/>
                    </a:lnTo>
                    <a:lnTo>
                      <a:pt x="146" y="6"/>
                    </a:lnTo>
                    <a:lnTo>
                      <a:pt x="145" y="6"/>
                    </a:lnTo>
                    <a:lnTo>
                      <a:pt x="146" y="6"/>
                    </a:lnTo>
                    <a:lnTo>
                      <a:pt x="146" y="4"/>
                    </a:lnTo>
                    <a:close/>
                    <a:moveTo>
                      <a:pt x="3" y="82"/>
                    </a:moveTo>
                    <a:lnTo>
                      <a:pt x="5" y="82"/>
                    </a:lnTo>
                    <a:lnTo>
                      <a:pt x="3" y="82"/>
                    </a:lnTo>
                    <a:lnTo>
                      <a:pt x="2" y="82"/>
                    </a:lnTo>
                    <a:lnTo>
                      <a:pt x="2" y="84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3" y="82"/>
                    </a:lnTo>
                    <a:close/>
                    <a:moveTo>
                      <a:pt x="150" y="0"/>
                    </a:moveTo>
                    <a:lnTo>
                      <a:pt x="152" y="0"/>
                    </a:lnTo>
                    <a:lnTo>
                      <a:pt x="152" y="2"/>
                    </a:lnTo>
                    <a:lnTo>
                      <a:pt x="150" y="2"/>
                    </a:lnTo>
                    <a:lnTo>
                      <a:pt x="150" y="0"/>
                    </a:lnTo>
                    <a:close/>
                    <a:moveTo>
                      <a:pt x="2" y="82"/>
                    </a:moveTo>
                    <a:lnTo>
                      <a:pt x="3" y="82"/>
                    </a:lnTo>
                    <a:lnTo>
                      <a:pt x="0" y="82"/>
                    </a:lnTo>
                    <a:lnTo>
                      <a:pt x="2" y="82"/>
                    </a:lnTo>
                    <a:close/>
                    <a:moveTo>
                      <a:pt x="143" y="2"/>
                    </a:moveTo>
                    <a:lnTo>
                      <a:pt x="143" y="4"/>
                    </a:lnTo>
                    <a:lnTo>
                      <a:pt x="143" y="2"/>
                    </a:lnTo>
                    <a:close/>
                    <a:moveTo>
                      <a:pt x="3" y="86"/>
                    </a:moveTo>
                    <a:lnTo>
                      <a:pt x="5" y="86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3" y="86"/>
                    </a:lnTo>
                    <a:close/>
                    <a:moveTo>
                      <a:pt x="22" y="91"/>
                    </a:moveTo>
                    <a:lnTo>
                      <a:pt x="24" y="91"/>
                    </a:lnTo>
                    <a:lnTo>
                      <a:pt x="24" y="93"/>
                    </a:lnTo>
                    <a:lnTo>
                      <a:pt x="22" y="93"/>
                    </a:lnTo>
                    <a:lnTo>
                      <a:pt x="22" y="91"/>
                    </a:lnTo>
                    <a:close/>
                    <a:moveTo>
                      <a:pt x="152" y="0"/>
                    </a:moveTo>
                    <a:lnTo>
                      <a:pt x="152" y="2"/>
                    </a:lnTo>
                    <a:lnTo>
                      <a:pt x="152" y="0"/>
                    </a:lnTo>
                    <a:close/>
                    <a:moveTo>
                      <a:pt x="78" y="93"/>
                    </a:moveTo>
                    <a:lnTo>
                      <a:pt x="78" y="95"/>
                    </a:lnTo>
                    <a:lnTo>
                      <a:pt x="78" y="93"/>
                    </a:lnTo>
                    <a:close/>
                    <a:moveTo>
                      <a:pt x="152" y="0"/>
                    </a:moveTo>
                    <a:lnTo>
                      <a:pt x="154" y="0"/>
                    </a:lnTo>
                    <a:lnTo>
                      <a:pt x="152" y="0"/>
                    </a:lnTo>
                    <a:close/>
                    <a:moveTo>
                      <a:pt x="154" y="4"/>
                    </a:moveTo>
                    <a:lnTo>
                      <a:pt x="154" y="6"/>
                    </a:lnTo>
                    <a:lnTo>
                      <a:pt x="154" y="4"/>
                    </a:lnTo>
                    <a:close/>
                    <a:moveTo>
                      <a:pt x="76" y="78"/>
                    </a:moveTo>
                    <a:lnTo>
                      <a:pt x="76" y="80"/>
                    </a:lnTo>
                    <a:lnTo>
                      <a:pt x="76" y="78"/>
                    </a:lnTo>
                    <a:close/>
                    <a:moveTo>
                      <a:pt x="112" y="19"/>
                    </a:moveTo>
                    <a:lnTo>
                      <a:pt x="114" y="19"/>
                    </a:lnTo>
                    <a:lnTo>
                      <a:pt x="112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5" name="Freeform 186">
                <a:extLst>
                  <a:ext uri="{FF2B5EF4-FFF2-40B4-BE49-F238E27FC236}">
                    <a16:creationId xmlns:a16="http://schemas.microsoft.com/office/drawing/2014/main" id="{D542EE6F-EFAD-BE8E-689C-E02B0E46C59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31793" y="-1886076"/>
                <a:ext cx="275728" cy="274666"/>
              </a:xfrm>
              <a:custGeom>
                <a:avLst/>
                <a:gdLst>
                  <a:gd name="T0" fmla="*/ 125 w 175"/>
                  <a:gd name="T1" fmla="*/ 31 h 174"/>
                  <a:gd name="T2" fmla="*/ 133 w 175"/>
                  <a:gd name="T3" fmla="*/ 44 h 174"/>
                  <a:gd name="T4" fmla="*/ 154 w 175"/>
                  <a:gd name="T5" fmla="*/ 65 h 174"/>
                  <a:gd name="T6" fmla="*/ 152 w 175"/>
                  <a:gd name="T7" fmla="*/ 75 h 174"/>
                  <a:gd name="T8" fmla="*/ 150 w 175"/>
                  <a:gd name="T9" fmla="*/ 84 h 174"/>
                  <a:gd name="T10" fmla="*/ 156 w 175"/>
                  <a:gd name="T11" fmla="*/ 94 h 174"/>
                  <a:gd name="T12" fmla="*/ 160 w 175"/>
                  <a:gd name="T13" fmla="*/ 96 h 174"/>
                  <a:gd name="T14" fmla="*/ 156 w 175"/>
                  <a:gd name="T15" fmla="*/ 107 h 174"/>
                  <a:gd name="T16" fmla="*/ 156 w 175"/>
                  <a:gd name="T17" fmla="*/ 119 h 174"/>
                  <a:gd name="T18" fmla="*/ 160 w 175"/>
                  <a:gd name="T19" fmla="*/ 126 h 174"/>
                  <a:gd name="T20" fmla="*/ 160 w 175"/>
                  <a:gd name="T21" fmla="*/ 132 h 174"/>
                  <a:gd name="T22" fmla="*/ 162 w 175"/>
                  <a:gd name="T23" fmla="*/ 134 h 174"/>
                  <a:gd name="T24" fmla="*/ 164 w 175"/>
                  <a:gd name="T25" fmla="*/ 142 h 174"/>
                  <a:gd name="T26" fmla="*/ 167 w 175"/>
                  <a:gd name="T27" fmla="*/ 149 h 174"/>
                  <a:gd name="T28" fmla="*/ 173 w 175"/>
                  <a:gd name="T29" fmla="*/ 151 h 174"/>
                  <a:gd name="T30" fmla="*/ 167 w 175"/>
                  <a:gd name="T31" fmla="*/ 159 h 174"/>
                  <a:gd name="T32" fmla="*/ 156 w 175"/>
                  <a:gd name="T33" fmla="*/ 164 h 174"/>
                  <a:gd name="T34" fmla="*/ 143 w 175"/>
                  <a:gd name="T35" fmla="*/ 168 h 174"/>
                  <a:gd name="T36" fmla="*/ 133 w 175"/>
                  <a:gd name="T37" fmla="*/ 168 h 174"/>
                  <a:gd name="T38" fmla="*/ 124 w 175"/>
                  <a:gd name="T39" fmla="*/ 172 h 174"/>
                  <a:gd name="T40" fmla="*/ 114 w 175"/>
                  <a:gd name="T41" fmla="*/ 172 h 174"/>
                  <a:gd name="T42" fmla="*/ 108 w 175"/>
                  <a:gd name="T43" fmla="*/ 174 h 174"/>
                  <a:gd name="T44" fmla="*/ 101 w 175"/>
                  <a:gd name="T45" fmla="*/ 170 h 174"/>
                  <a:gd name="T46" fmla="*/ 85 w 175"/>
                  <a:gd name="T47" fmla="*/ 166 h 174"/>
                  <a:gd name="T48" fmla="*/ 84 w 175"/>
                  <a:gd name="T49" fmla="*/ 157 h 174"/>
                  <a:gd name="T50" fmla="*/ 80 w 175"/>
                  <a:gd name="T51" fmla="*/ 145 h 174"/>
                  <a:gd name="T52" fmla="*/ 68 w 175"/>
                  <a:gd name="T53" fmla="*/ 140 h 174"/>
                  <a:gd name="T54" fmla="*/ 63 w 175"/>
                  <a:gd name="T55" fmla="*/ 138 h 174"/>
                  <a:gd name="T56" fmla="*/ 49 w 175"/>
                  <a:gd name="T57" fmla="*/ 134 h 174"/>
                  <a:gd name="T58" fmla="*/ 38 w 175"/>
                  <a:gd name="T59" fmla="*/ 128 h 174"/>
                  <a:gd name="T60" fmla="*/ 30 w 175"/>
                  <a:gd name="T61" fmla="*/ 122 h 174"/>
                  <a:gd name="T62" fmla="*/ 13 w 175"/>
                  <a:gd name="T63" fmla="*/ 100 h 174"/>
                  <a:gd name="T64" fmla="*/ 2 w 175"/>
                  <a:gd name="T65" fmla="*/ 82 h 174"/>
                  <a:gd name="T66" fmla="*/ 0 w 175"/>
                  <a:gd name="T67" fmla="*/ 56 h 174"/>
                  <a:gd name="T68" fmla="*/ 11 w 175"/>
                  <a:gd name="T69" fmla="*/ 52 h 174"/>
                  <a:gd name="T70" fmla="*/ 15 w 175"/>
                  <a:gd name="T71" fmla="*/ 44 h 174"/>
                  <a:gd name="T72" fmla="*/ 21 w 175"/>
                  <a:gd name="T73" fmla="*/ 39 h 174"/>
                  <a:gd name="T74" fmla="*/ 21 w 175"/>
                  <a:gd name="T75" fmla="*/ 33 h 174"/>
                  <a:gd name="T76" fmla="*/ 17 w 175"/>
                  <a:gd name="T77" fmla="*/ 27 h 174"/>
                  <a:gd name="T78" fmla="*/ 21 w 175"/>
                  <a:gd name="T79" fmla="*/ 23 h 174"/>
                  <a:gd name="T80" fmla="*/ 23 w 175"/>
                  <a:gd name="T81" fmla="*/ 16 h 174"/>
                  <a:gd name="T82" fmla="*/ 19 w 175"/>
                  <a:gd name="T83" fmla="*/ 8 h 174"/>
                  <a:gd name="T84" fmla="*/ 21 w 175"/>
                  <a:gd name="T85" fmla="*/ 2 h 174"/>
                  <a:gd name="T86" fmla="*/ 158 w 175"/>
                  <a:gd name="T87" fmla="*/ 79 h 174"/>
                  <a:gd name="T88" fmla="*/ 160 w 175"/>
                  <a:gd name="T89" fmla="*/ 86 h 174"/>
                  <a:gd name="T90" fmla="*/ 156 w 175"/>
                  <a:gd name="T91" fmla="*/ 86 h 174"/>
                  <a:gd name="T92" fmla="*/ 154 w 175"/>
                  <a:gd name="T93" fmla="*/ 80 h 174"/>
                  <a:gd name="T94" fmla="*/ 166 w 175"/>
                  <a:gd name="T95" fmla="*/ 63 h 174"/>
                  <a:gd name="T96" fmla="*/ 166 w 175"/>
                  <a:gd name="T97" fmla="*/ 71 h 174"/>
                  <a:gd name="T98" fmla="*/ 162 w 175"/>
                  <a:gd name="T99" fmla="*/ 69 h 174"/>
                  <a:gd name="T100" fmla="*/ 162 w 175"/>
                  <a:gd name="T101" fmla="*/ 67 h 174"/>
                  <a:gd name="T102" fmla="*/ 164 w 175"/>
                  <a:gd name="T103" fmla="*/ 65 h 174"/>
                  <a:gd name="T104" fmla="*/ 164 w 175"/>
                  <a:gd name="T105" fmla="*/ 113 h 174"/>
                  <a:gd name="T106" fmla="*/ 166 w 175"/>
                  <a:gd name="T107" fmla="*/ 107 h 174"/>
                  <a:gd name="T108" fmla="*/ 160 w 175"/>
                  <a:gd name="T109" fmla="*/ 128 h 174"/>
                  <a:gd name="T110" fmla="*/ 166 w 175"/>
                  <a:gd name="T111" fmla="*/ 67 h 174"/>
                  <a:gd name="T112" fmla="*/ 160 w 175"/>
                  <a:gd name="T113" fmla="*/ 121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5" h="174">
                    <a:moveTo>
                      <a:pt x="72" y="2"/>
                    </a:moveTo>
                    <a:lnTo>
                      <a:pt x="74" y="2"/>
                    </a:lnTo>
                    <a:lnTo>
                      <a:pt x="76" y="4"/>
                    </a:lnTo>
                    <a:lnTo>
                      <a:pt x="78" y="4"/>
                    </a:lnTo>
                    <a:lnTo>
                      <a:pt x="93" y="12"/>
                    </a:lnTo>
                    <a:lnTo>
                      <a:pt x="105" y="19"/>
                    </a:lnTo>
                    <a:lnTo>
                      <a:pt x="125" y="31"/>
                    </a:lnTo>
                    <a:lnTo>
                      <a:pt x="131" y="35"/>
                    </a:lnTo>
                    <a:lnTo>
                      <a:pt x="131" y="39"/>
                    </a:lnTo>
                    <a:lnTo>
                      <a:pt x="129" y="40"/>
                    </a:lnTo>
                    <a:lnTo>
                      <a:pt x="129" y="42"/>
                    </a:lnTo>
                    <a:lnTo>
                      <a:pt x="131" y="40"/>
                    </a:lnTo>
                    <a:lnTo>
                      <a:pt x="131" y="42"/>
                    </a:lnTo>
                    <a:lnTo>
                      <a:pt x="133" y="44"/>
                    </a:lnTo>
                    <a:lnTo>
                      <a:pt x="156" y="60"/>
                    </a:lnTo>
                    <a:lnTo>
                      <a:pt x="156" y="61"/>
                    </a:lnTo>
                    <a:lnTo>
                      <a:pt x="154" y="61"/>
                    </a:lnTo>
                    <a:lnTo>
                      <a:pt x="156" y="61"/>
                    </a:lnTo>
                    <a:lnTo>
                      <a:pt x="156" y="63"/>
                    </a:lnTo>
                    <a:lnTo>
                      <a:pt x="154" y="63"/>
                    </a:lnTo>
                    <a:lnTo>
                      <a:pt x="154" y="65"/>
                    </a:lnTo>
                    <a:lnTo>
                      <a:pt x="154" y="67"/>
                    </a:lnTo>
                    <a:lnTo>
                      <a:pt x="154" y="65"/>
                    </a:lnTo>
                    <a:lnTo>
                      <a:pt x="154" y="67"/>
                    </a:lnTo>
                    <a:lnTo>
                      <a:pt x="152" y="69"/>
                    </a:lnTo>
                    <a:lnTo>
                      <a:pt x="152" y="71"/>
                    </a:lnTo>
                    <a:lnTo>
                      <a:pt x="152" y="73"/>
                    </a:lnTo>
                    <a:lnTo>
                      <a:pt x="152" y="75"/>
                    </a:lnTo>
                    <a:lnTo>
                      <a:pt x="150" y="75"/>
                    </a:lnTo>
                    <a:lnTo>
                      <a:pt x="150" y="77"/>
                    </a:lnTo>
                    <a:lnTo>
                      <a:pt x="148" y="79"/>
                    </a:lnTo>
                    <a:lnTo>
                      <a:pt x="148" y="80"/>
                    </a:lnTo>
                    <a:lnTo>
                      <a:pt x="148" y="82"/>
                    </a:lnTo>
                    <a:lnTo>
                      <a:pt x="148" y="84"/>
                    </a:lnTo>
                    <a:lnTo>
                      <a:pt x="150" y="84"/>
                    </a:lnTo>
                    <a:lnTo>
                      <a:pt x="148" y="86"/>
                    </a:lnTo>
                    <a:lnTo>
                      <a:pt x="150" y="88"/>
                    </a:lnTo>
                    <a:lnTo>
                      <a:pt x="152" y="88"/>
                    </a:lnTo>
                    <a:lnTo>
                      <a:pt x="152" y="90"/>
                    </a:lnTo>
                    <a:lnTo>
                      <a:pt x="154" y="90"/>
                    </a:lnTo>
                    <a:lnTo>
                      <a:pt x="156" y="92"/>
                    </a:lnTo>
                    <a:lnTo>
                      <a:pt x="156" y="94"/>
                    </a:lnTo>
                    <a:lnTo>
                      <a:pt x="156" y="92"/>
                    </a:lnTo>
                    <a:lnTo>
                      <a:pt x="156" y="94"/>
                    </a:lnTo>
                    <a:lnTo>
                      <a:pt x="156" y="96"/>
                    </a:lnTo>
                    <a:lnTo>
                      <a:pt x="156" y="94"/>
                    </a:lnTo>
                    <a:lnTo>
                      <a:pt x="158" y="94"/>
                    </a:lnTo>
                    <a:lnTo>
                      <a:pt x="158" y="96"/>
                    </a:lnTo>
                    <a:lnTo>
                      <a:pt x="160" y="96"/>
                    </a:lnTo>
                    <a:lnTo>
                      <a:pt x="160" y="98"/>
                    </a:lnTo>
                    <a:lnTo>
                      <a:pt x="160" y="100"/>
                    </a:lnTo>
                    <a:lnTo>
                      <a:pt x="158" y="100"/>
                    </a:lnTo>
                    <a:lnTo>
                      <a:pt x="158" y="101"/>
                    </a:lnTo>
                    <a:lnTo>
                      <a:pt x="158" y="103"/>
                    </a:lnTo>
                    <a:lnTo>
                      <a:pt x="156" y="105"/>
                    </a:lnTo>
                    <a:lnTo>
                      <a:pt x="156" y="107"/>
                    </a:lnTo>
                    <a:lnTo>
                      <a:pt x="156" y="109"/>
                    </a:lnTo>
                    <a:lnTo>
                      <a:pt x="158" y="109"/>
                    </a:lnTo>
                    <a:lnTo>
                      <a:pt x="158" y="111"/>
                    </a:lnTo>
                    <a:lnTo>
                      <a:pt x="160" y="113"/>
                    </a:lnTo>
                    <a:lnTo>
                      <a:pt x="158" y="117"/>
                    </a:lnTo>
                    <a:lnTo>
                      <a:pt x="158" y="119"/>
                    </a:lnTo>
                    <a:lnTo>
                      <a:pt x="156" y="119"/>
                    </a:lnTo>
                    <a:lnTo>
                      <a:pt x="156" y="117"/>
                    </a:lnTo>
                    <a:lnTo>
                      <a:pt x="156" y="119"/>
                    </a:lnTo>
                    <a:lnTo>
                      <a:pt x="156" y="121"/>
                    </a:lnTo>
                    <a:lnTo>
                      <a:pt x="156" y="122"/>
                    </a:lnTo>
                    <a:lnTo>
                      <a:pt x="158" y="122"/>
                    </a:lnTo>
                    <a:lnTo>
                      <a:pt x="158" y="124"/>
                    </a:lnTo>
                    <a:lnTo>
                      <a:pt x="160" y="126"/>
                    </a:lnTo>
                    <a:lnTo>
                      <a:pt x="160" y="128"/>
                    </a:lnTo>
                    <a:lnTo>
                      <a:pt x="160" y="126"/>
                    </a:lnTo>
                    <a:lnTo>
                      <a:pt x="158" y="126"/>
                    </a:lnTo>
                    <a:lnTo>
                      <a:pt x="158" y="128"/>
                    </a:lnTo>
                    <a:lnTo>
                      <a:pt x="160" y="128"/>
                    </a:lnTo>
                    <a:lnTo>
                      <a:pt x="160" y="130"/>
                    </a:lnTo>
                    <a:lnTo>
                      <a:pt x="160" y="132"/>
                    </a:lnTo>
                    <a:lnTo>
                      <a:pt x="160" y="130"/>
                    </a:lnTo>
                    <a:lnTo>
                      <a:pt x="162" y="132"/>
                    </a:lnTo>
                    <a:lnTo>
                      <a:pt x="162" y="130"/>
                    </a:lnTo>
                    <a:lnTo>
                      <a:pt x="160" y="130"/>
                    </a:lnTo>
                    <a:lnTo>
                      <a:pt x="162" y="130"/>
                    </a:lnTo>
                    <a:lnTo>
                      <a:pt x="162" y="132"/>
                    </a:lnTo>
                    <a:lnTo>
                      <a:pt x="162" y="134"/>
                    </a:lnTo>
                    <a:lnTo>
                      <a:pt x="162" y="136"/>
                    </a:lnTo>
                    <a:lnTo>
                      <a:pt x="160" y="136"/>
                    </a:lnTo>
                    <a:lnTo>
                      <a:pt x="162" y="136"/>
                    </a:lnTo>
                    <a:lnTo>
                      <a:pt x="162" y="138"/>
                    </a:lnTo>
                    <a:lnTo>
                      <a:pt x="164" y="138"/>
                    </a:lnTo>
                    <a:lnTo>
                      <a:pt x="164" y="140"/>
                    </a:lnTo>
                    <a:lnTo>
                      <a:pt x="164" y="142"/>
                    </a:lnTo>
                    <a:lnTo>
                      <a:pt x="164" y="143"/>
                    </a:lnTo>
                    <a:lnTo>
                      <a:pt x="164" y="145"/>
                    </a:lnTo>
                    <a:lnTo>
                      <a:pt x="162" y="145"/>
                    </a:lnTo>
                    <a:lnTo>
                      <a:pt x="164" y="145"/>
                    </a:lnTo>
                    <a:lnTo>
                      <a:pt x="166" y="145"/>
                    </a:lnTo>
                    <a:lnTo>
                      <a:pt x="167" y="147"/>
                    </a:lnTo>
                    <a:lnTo>
                      <a:pt x="167" y="149"/>
                    </a:lnTo>
                    <a:lnTo>
                      <a:pt x="167" y="147"/>
                    </a:lnTo>
                    <a:lnTo>
                      <a:pt x="169" y="149"/>
                    </a:lnTo>
                    <a:lnTo>
                      <a:pt x="171" y="149"/>
                    </a:lnTo>
                    <a:lnTo>
                      <a:pt x="173" y="149"/>
                    </a:lnTo>
                    <a:lnTo>
                      <a:pt x="173" y="151"/>
                    </a:lnTo>
                    <a:lnTo>
                      <a:pt x="175" y="151"/>
                    </a:lnTo>
                    <a:lnTo>
                      <a:pt x="173" y="151"/>
                    </a:lnTo>
                    <a:lnTo>
                      <a:pt x="175" y="151"/>
                    </a:lnTo>
                    <a:lnTo>
                      <a:pt x="175" y="153"/>
                    </a:lnTo>
                    <a:lnTo>
                      <a:pt x="173" y="153"/>
                    </a:lnTo>
                    <a:lnTo>
                      <a:pt x="173" y="155"/>
                    </a:lnTo>
                    <a:lnTo>
                      <a:pt x="171" y="155"/>
                    </a:lnTo>
                    <a:lnTo>
                      <a:pt x="169" y="157"/>
                    </a:lnTo>
                    <a:lnTo>
                      <a:pt x="167" y="159"/>
                    </a:lnTo>
                    <a:lnTo>
                      <a:pt x="166" y="159"/>
                    </a:lnTo>
                    <a:lnTo>
                      <a:pt x="164" y="161"/>
                    </a:lnTo>
                    <a:lnTo>
                      <a:pt x="162" y="161"/>
                    </a:lnTo>
                    <a:lnTo>
                      <a:pt x="160" y="161"/>
                    </a:lnTo>
                    <a:lnTo>
                      <a:pt x="160" y="163"/>
                    </a:lnTo>
                    <a:lnTo>
                      <a:pt x="158" y="163"/>
                    </a:lnTo>
                    <a:lnTo>
                      <a:pt x="156" y="164"/>
                    </a:lnTo>
                    <a:lnTo>
                      <a:pt x="154" y="164"/>
                    </a:lnTo>
                    <a:lnTo>
                      <a:pt x="152" y="164"/>
                    </a:lnTo>
                    <a:lnTo>
                      <a:pt x="150" y="164"/>
                    </a:lnTo>
                    <a:lnTo>
                      <a:pt x="148" y="164"/>
                    </a:lnTo>
                    <a:lnTo>
                      <a:pt x="148" y="166"/>
                    </a:lnTo>
                    <a:lnTo>
                      <a:pt x="146" y="166"/>
                    </a:lnTo>
                    <a:lnTo>
                      <a:pt x="143" y="168"/>
                    </a:lnTo>
                    <a:lnTo>
                      <a:pt x="141" y="168"/>
                    </a:lnTo>
                    <a:lnTo>
                      <a:pt x="141" y="166"/>
                    </a:lnTo>
                    <a:lnTo>
                      <a:pt x="139" y="166"/>
                    </a:lnTo>
                    <a:lnTo>
                      <a:pt x="137" y="166"/>
                    </a:lnTo>
                    <a:lnTo>
                      <a:pt x="135" y="166"/>
                    </a:lnTo>
                    <a:lnTo>
                      <a:pt x="133" y="166"/>
                    </a:lnTo>
                    <a:lnTo>
                      <a:pt x="133" y="168"/>
                    </a:lnTo>
                    <a:lnTo>
                      <a:pt x="131" y="168"/>
                    </a:lnTo>
                    <a:lnTo>
                      <a:pt x="133" y="170"/>
                    </a:lnTo>
                    <a:lnTo>
                      <a:pt x="131" y="170"/>
                    </a:lnTo>
                    <a:lnTo>
                      <a:pt x="129" y="172"/>
                    </a:lnTo>
                    <a:lnTo>
                      <a:pt x="127" y="172"/>
                    </a:lnTo>
                    <a:lnTo>
                      <a:pt x="125" y="172"/>
                    </a:lnTo>
                    <a:lnTo>
                      <a:pt x="124" y="172"/>
                    </a:lnTo>
                    <a:lnTo>
                      <a:pt x="122" y="172"/>
                    </a:lnTo>
                    <a:lnTo>
                      <a:pt x="120" y="170"/>
                    </a:lnTo>
                    <a:lnTo>
                      <a:pt x="118" y="172"/>
                    </a:lnTo>
                    <a:lnTo>
                      <a:pt x="118" y="170"/>
                    </a:lnTo>
                    <a:lnTo>
                      <a:pt x="116" y="172"/>
                    </a:lnTo>
                    <a:lnTo>
                      <a:pt x="114" y="174"/>
                    </a:lnTo>
                    <a:lnTo>
                      <a:pt x="114" y="172"/>
                    </a:lnTo>
                    <a:lnTo>
                      <a:pt x="112" y="174"/>
                    </a:lnTo>
                    <a:lnTo>
                      <a:pt x="112" y="172"/>
                    </a:lnTo>
                    <a:lnTo>
                      <a:pt x="110" y="172"/>
                    </a:lnTo>
                    <a:lnTo>
                      <a:pt x="110" y="174"/>
                    </a:lnTo>
                    <a:lnTo>
                      <a:pt x="108" y="174"/>
                    </a:lnTo>
                    <a:lnTo>
                      <a:pt x="108" y="172"/>
                    </a:lnTo>
                    <a:lnTo>
                      <a:pt x="108" y="174"/>
                    </a:lnTo>
                    <a:lnTo>
                      <a:pt x="106" y="172"/>
                    </a:lnTo>
                    <a:lnTo>
                      <a:pt x="106" y="170"/>
                    </a:lnTo>
                    <a:lnTo>
                      <a:pt x="105" y="170"/>
                    </a:lnTo>
                    <a:lnTo>
                      <a:pt x="105" y="168"/>
                    </a:lnTo>
                    <a:lnTo>
                      <a:pt x="103" y="168"/>
                    </a:lnTo>
                    <a:lnTo>
                      <a:pt x="101" y="168"/>
                    </a:lnTo>
                    <a:lnTo>
                      <a:pt x="101" y="170"/>
                    </a:lnTo>
                    <a:lnTo>
                      <a:pt x="99" y="170"/>
                    </a:lnTo>
                    <a:lnTo>
                      <a:pt x="97" y="170"/>
                    </a:lnTo>
                    <a:lnTo>
                      <a:pt x="95" y="170"/>
                    </a:lnTo>
                    <a:lnTo>
                      <a:pt x="93" y="170"/>
                    </a:lnTo>
                    <a:lnTo>
                      <a:pt x="87" y="170"/>
                    </a:lnTo>
                    <a:lnTo>
                      <a:pt x="87" y="168"/>
                    </a:lnTo>
                    <a:lnTo>
                      <a:pt x="85" y="166"/>
                    </a:lnTo>
                    <a:lnTo>
                      <a:pt x="84" y="166"/>
                    </a:lnTo>
                    <a:lnTo>
                      <a:pt x="84" y="164"/>
                    </a:lnTo>
                    <a:lnTo>
                      <a:pt x="82" y="163"/>
                    </a:lnTo>
                    <a:lnTo>
                      <a:pt x="84" y="161"/>
                    </a:lnTo>
                    <a:lnTo>
                      <a:pt x="84" y="157"/>
                    </a:lnTo>
                    <a:lnTo>
                      <a:pt x="82" y="157"/>
                    </a:lnTo>
                    <a:lnTo>
                      <a:pt x="84" y="157"/>
                    </a:lnTo>
                    <a:lnTo>
                      <a:pt x="82" y="155"/>
                    </a:lnTo>
                    <a:lnTo>
                      <a:pt x="82" y="153"/>
                    </a:lnTo>
                    <a:lnTo>
                      <a:pt x="82" y="151"/>
                    </a:lnTo>
                    <a:lnTo>
                      <a:pt x="82" y="149"/>
                    </a:lnTo>
                    <a:lnTo>
                      <a:pt x="80" y="147"/>
                    </a:lnTo>
                    <a:lnTo>
                      <a:pt x="82" y="147"/>
                    </a:lnTo>
                    <a:lnTo>
                      <a:pt x="80" y="145"/>
                    </a:lnTo>
                    <a:lnTo>
                      <a:pt x="78" y="142"/>
                    </a:lnTo>
                    <a:lnTo>
                      <a:pt x="72" y="138"/>
                    </a:lnTo>
                    <a:lnTo>
                      <a:pt x="72" y="140"/>
                    </a:lnTo>
                    <a:lnTo>
                      <a:pt x="72" y="142"/>
                    </a:lnTo>
                    <a:lnTo>
                      <a:pt x="70" y="142"/>
                    </a:lnTo>
                    <a:lnTo>
                      <a:pt x="70" y="140"/>
                    </a:lnTo>
                    <a:lnTo>
                      <a:pt x="68" y="140"/>
                    </a:lnTo>
                    <a:lnTo>
                      <a:pt x="68" y="138"/>
                    </a:lnTo>
                    <a:lnTo>
                      <a:pt x="68" y="140"/>
                    </a:lnTo>
                    <a:lnTo>
                      <a:pt x="66" y="140"/>
                    </a:lnTo>
                    <a:lnTo>
                      <a:pt x="66" y="138"/>
                    </a:lnTo>
                    <a:lnTo>
                      <a:pt x="64" y="140"/>
                    </a:lnTo>
                    <a:lnTo>
                      <a:pt x="63" y="140"/>
                    </a:lnTo>
                    <a:lnTo>
                      <a:pt x="63" y="138"/>
                    </a:lnTo>
                    <a:lnTo>
                      <a:pt x="61" y="138"/>
                    </a:lnTo>
                    <a:lnTo>
                      <a:pt x="59" y="138"/>
                    </a:lnTo>
                    <a:lnTo>
                      <a:pt x="57" y="136"/>
                    </a:lnTo>
                    <a:lnTo>
                      <a:pt x="55" y="136"/>
                    </a:lnTo>
                    <a:lnTo>
                      <a:pt x="53" y="134"/>
                    </a:lnTo>
                    <a:lnTo>
                      <a:pt x="51" y="134"/>
                    </a:lnTo>
                    <a:lnTo>
                      <a:pt x="49" y="134"/>
                    </a:lnTo>
                    <a:lnTo>
                      <a:pt x="47" y="132"/>
                    </a:lnTo>
                    <a:lnTo>
                      <a:pt x="45" y="132"/>
                    </a:lnTo>
                    <a:lnTo>
                      <a:pt x="43" y="130"/>
                    </a:lnTo>
                    <a:lnTo>
                      <a:pt x="42" y="130"/>
                    </a:lnTo>
                    <a:lnTo>
                      <a:pt x="40" y="130"/>
                    </a:lnTo>
                    <a:lnTo>
                      <a:pt x="40" y="128"/>
                    </a:lnTo>
                    <a:lnTo>
                      <a:pt x="38" y="128"/>
                    </a:lnTo>
                    <a:lnTo>
                      <a:pt x="36" y="128"/>
                    </a:lnTo>
                    <a:lnTo>
                      <a:pt x="34" y="128"/>
                    </a:lnTo>
                    <a:lnTo>
                      <a:pt x="34" y="126"/>
                    </a:lnTo>
                    <a:lnTo>
                      <a:pt x="34" y="124"/>
                    </a:lnTo>
                    <a:lnTo>
                      <a:pt x="32" y="124"/>
                    </a:lnTo>
                    <a:lnTo>
                      <a:pt x="30" y="124"/>
                    </a:lnTo>
                    <a:lnTo>
                      <a:pt x="30" y="122"/>
                    </a:lnTo>
                    <a:lnTo>
                      <a:pt x="28" y="122"/>
                    </a:lnTo>
                    <a:lnTo>
                      <a:pt x="26" y="122"/>
                    </a:lnTo>
                    <a:lnTo>
                      <a:pt x="24" y="121"/>
                    </a:lnTo>
                    <a:lnTo>
                      <a:pt x="21" y="117"/>
                    </a:lnTo>
                    <a:lnTo>
                      <a:pt x="17" y="109"/>
                    </a:lnTo>
                    <a:lnTo>
                      <a:pt x="15" y="105"/>
                    </a:lnTo>
                    <a:lnTo>
                      <a:pt x="13" y="100"/>
                    </a:lnTo>
                    <a:lnTo>
                      <a:pt x="13" y="98"/>
                    </a:lnTo>
                    <a:lnTo>
                      <a:pt x="7" y="92"/>
                    </a:lnTo>
                    <a:lnTo>
                      <a:pt x="5" y="90"/>
                    </a:lnTo>
                    <a:lnTo>
                      <a:pt x="3" y="88"/>
                    </a:lnTo>
                    <a:lnTo>
                      <a:pt x="2" y="88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2" y="80"/>
                    </a:lnTo>
                    <a:lnTo>
                      <a:pt x="3" y="79"/>
                    </a:lnTo>
                    <a:lnTo>
                      <a:pt x="3" y="77"/>
                    </a:lnTo>
                    <a:lnTo>
                      <a:pt x="3" y="75"/>
                    </a:lnTo>
                    <a:lnTo>
                      <a:pt x="2" y="71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3" y="56"/>
                    </a:lnTo>
                    <a:lnTo>
                      <a:pt x="5" y="56"/>
                    </a:lnTo>
                    <a:lnTo>
                      <a:pt x="7" y="56"/>
                    </a:lnTo>
                    <a:lnTo>
                      <a:pt x="7" y="54"/>
                    </a:lnTo>
                    <a:lnTo>
                      <a:pt x="9" y="54"/>
                    </a:lnTo>
                    <a:lnTo>
                      <a:pt x="9" y="52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13" y="46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9" y="40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21" y="37"/>
                    </a:lnTo>
                    <a:lnTo>
                      <a:pt x="21" y="39"/>
                    </a:lnTo>
                    <a:lnTo>
                      <a:pt x="23" y="37"/>
                    </a:lnTo>
                    <a:lnTo>
                      <a:pt x="21" y="37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1" y="35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19" y="33"/>
                    </a:lnTo>
                    <a:lnTo>
                      <a:pt x="17" y="31"/>
                    </a:lnTo>
                    <a:lnTo>
                      <a:pt x="17" y="33"/>
                    </a:lnTo>
                    <a:lnTo>
                      <a:pt x="15" y="31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3" y="12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19" y="8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40" y="2"/>
                    </a:lnTo>
                    <a:lnTo>
                      <a:pt x="53" y="2"/>
                    </a:lnTo>
                    <a:lnTo>
                      <a:pt x="72" y="2"/>
                    </a:lnTo>
                    <a:close/>
                    <a:moveTo>
                      <a:pt x="156" y="77"/>
                    </a:moveTo>
                    <a:lnTo>
                      <a:pt x="158" y="79"/>
                    </a:lnTo>
                    <a:lnTo>
                      <a:pt x="158" y="80"/>
                    </a:lnTo>
                    <a:lnTo>
                      <a:pt x="158" y="82"/>
                    </a:lnTo>
                    <a:lnTo>
                      <a:pt x="158" y="84"/>
                    </a:lnTo>
                    <a:lnTo>
                      <a:pt x="160" y="84"/>
                    </a:lnTo>
                    <a:lnTo>
                      <a:pt x="160" y="82"/>
                    </a:lnTo>
                    <a:lnTo>
                      <a:pt x="160" y="84"/>
                    </a:lnTo>
                    <a:lnTo>
                      <a:pt x="160" y="86"/>
                    </a:lnTo>
                    <a:lnTo>
                      <a:pt x="162" y="88"/>
                    </a:lnTo>
                    <a:lnTo>
                      <a:pt x="160" y="88"/>
                    </a:lnTo>
                    <a:lnTo>
                      <a:pt x="158" y="86"/>
                    </a:lnTo>
                    <a:lnTo>
                      <a:pt x="158" y="88"/>
                    </a:lnTo>
                    <a:lnTo>
                      <a:pt x="158" y="86"/>
                    </a:lnTo>
                    <a:lnTo>
                      <a:pt x="156" y="84"/>
                    </a:lnTo>
                    <a:lnTo>
                      <a:pt x="156" y="86"/>
                    </a:lnTo>
                    <a:lnTo>
                      <a:pt x="156" y="84"/>
                    </a:lnTo>
                    <a:lnTo>
                      <a:pt x="156" y="86"/>
                    </a:lnTo>
                    <a:lnTo>
                      <a:pt x="154" y="84"/>
                    </a:lnTo>
                    <a:lnTo>
                      <a:pt x="156" y="82"/>
                    </a:lnTo>
                    <a:lnTo>
                      <a:pt x="154" y="80"/>
                    </a:lnTo>
                    <a:lnTo>
                      <a:pt x="154" y="79"/>
                    </a:lnTo>
                    <a:lnTo>
                      <a:pt x="154" y="80"/>
                    </a:lnTo>
                    <a:lnTo>
                      <a:pt x="156" y="80"/>
                    </a:lnTo>
                    <a:lnTo>
                      <a:pt x="156" y="79"/>
                    </a:lnTo>
                    <a:lnTo>
                      <a:pt x="156" y="77"/>
                    </a:lnTo>
                    <a:close/>
                    <a:moveTo>
                      <a:pt x="162" y="63"/>
                    </a:moveTo>
                    <a:lnTo>
                      <a:pt x="164" y="63"/>
                    </a:lnTo>
                    <a:lnTo>
                      <a:pt x="166" y="65"/>
                    </a:lnTo>
                    <a:lnTo>
                      <a:pt x="166" y="63"/>
                    </a:lnTo>
                    <a:lnTo>
                      <a:pt x="166" y="65"/>
                    </a:lnTo>
                    <a:lnTo>
                      <a:pt x="166" y="63"/>
                    </a:lnTo>
                    <a:lnTo>
                      <a:pt x="166" y="65"/>
                    </a:lnTo>
                    <a:lnTo>
                      <a:pt x="166" y="67"/>
                    </a:lnTo>
                    <a:lnTo>
                      <a:pt x="166" y="69"/>
                    </a:lnTo>
                    <a:lnTo>
                      <a:pt x="164" y="71"/>
                    </a:lnTo>
                    <a:lnTo>
                      <a:pt x="166" y="71"/>
                    </a:lnTo>
                    <a:lnTo>
                      <a:pt x="164" y="71"/>
                    </a:lnTo>
                    <a:lnTo>
                      <a:pt x="164" y="73"/>
                    </a:lnTo>
                    <a:lnTo>
                      <a:pt x="162" y="73"/>
                    </a:lnTo>
                    <a:lnTo>
                      <a:pt x="162" y="71"/>
                    </a:lnTo>
                    <a:lnTo>
                      <a:pt x="162" y="69"/>
                    </a:lnTo>
                    <a:lnTo>
                      <a:pt x="164" y="69"/>
                    </a:lnTo>
                    <a:lnTo>
                      <a:pt x="162" y="69"/>
                    </a:lnTo>
                    <a:lnTo>
                      <a:pt x="164" y="69"/>
                    </a:lnTo>
                    <a:lnTo>
                      <a:pt x="162" y="69"/>
                    </a:lnTo>
                    <a:lnTo>
                      <a:pt x="162" y="67"/>
                    </a:lnTo>
                    <a:lnTo>
                      <a:pt x="162" y="69"/>
                    </a:lnTo>
                    <a:lnTo>
                      <a:pt x="164" y="69"/>
                    </a:lnTo>
                    <a:lnTo>
                      <a:pt x="164" y="67"/>
                    </a:lnTo>
                    <a:lnTo>
                      <a:pt x="162" y="67"/>
                    </a:lnTo>
                    <a:lnTo>
                      <a:pt x="164" y="67"/>
                    </a:lnTo>
                    <a:lnTo>
                      <a:pt x="162" y="67"/>
                    </a:lnTo>
                    <a:lnTo>
                      <a:pt x="164" y="67"/>
                    </a:lnTo>
                    <a:lnTo>
                      <a:pt x="162" y="65"/>
                    </a:lnTo>
                    <a:lnTo>
                      <a:pt x="164" y="65"/>
                    </a:lnTo>
                    <a:lnTo>
                      <a:pt x="162" y="65"/>
                    </a:lnTo>
                    <a:lnTo>
                      <a:pt x="164" y="65"/>
                    </a:lnTo>
                    <a:lnTo>
                      <a:pt x="162" y="65"/>
                    </a:lnTo>
                    <a:lnTo>
                      <a:pt x="162" y="63"/>
                    </a:lnTo>
                    <a:close/>
                    <a:moveTo>
                      <a:pt x="166" y="107"/>
                    </a:moveTo>
                    <a:lnTo>
                      <a:pt x="166" y="109"/>
                    </a:lnTo>
                    <a:lnTo>
                      <a:pt x="166" y="111"/>
                    </a:lnTo>
                    <a:lnTo>
                      <a:pt x="164" y="111"/>
                    </a:lnTo>
                    <a:lnTo>
                      <a:pt x="164" y="113"/>
                    </a:lnTo>
                    <a:lnTo>
                      <a:pt x="162" y="113"/>
                    </a:lnTo>
                    <a:lnTo>
                      <a:pt x="162" y="111"/>
                    </a:lnTo>
                    <a:lnTo>
                      <a:pt x="164" y="111"/>
                    </a:lnTo>
                    <a:lnTo>
                      <a:pt x="166" y="109"/>
                    </a:lnTo>
                    <a:lnTo>
                      <a:pt x="164" y="109"/>
                    </a:lnTo>
                    <a:lnTo>
                      <a:pt x="166" y="109"/>
                    </a:lnTo>
                    <a:lnTo>
                      <a:pt x="166" y="107"/>
                    </a:lnTo>
                    <a:close/>
                    <a:moveTo>
                      <a:pt x="162" y="71"/>
                    </a:moveTo>
                    <a:lnTo>
                      <a:pt x="162" y="73"/>
                    </a:lnTo>
                    <a:lnTo>
                      <a:pt x="162" y="71"/>
                    </a:lnTo>
                    <a:close/>
                    <a:moveTo>
                      <a:pt x="164" y="113"/>
                    </a:moveTo>
                    <a:lnTo>
                      <a:pt x="166" y="113"/>
                    </a:lnTo>
                    <a:lnTo>
                      <a:pt x="164" y="113"/>
                    </a:lnTo>
                    <a:close/>
                    <a:moveTo>
                      <a:pt x="160" y="128"/>
                    </a:moveTo>
                    <a:lnTo>
                      <a:pt x="160" y="130"/>
                    </a:lnTo>
                    <a:lnTo>
                      <a:pt x="160" y="128"/>
                    </a:lnTo>
                    <a:close/>
                    <a:moveTo>
                      <a:pt x="156" y="77"/>
                    </a:moveTo>
                    <a:lnTo>
                      <a:pt x="156" y="79"/>
                    </a:lnTo>
                    <a:lnTo>
                      <a:pt x="156" y="77"/>
                    </a:lnTo>
                    <a:close/>
                    <a:moveTo>
                      <a:pt x="166" y="65"/>
                    </a:moveTo>
                    <a:lnTo>
                      <a:pt x="166" y="67"/>
                    </a:lnTo>
                    <a:lnTo>
                      <a:pt x="166" y="65"/>
                    </a:lnTo>
                    <a:close/>
                    <a:moveTo>
                      <a:pt x="162" y="65"/>
                    </a:moveTo>
                    <a:lnTo>
                      <a:pt x="162" y="67"/>
                    </a:lnTo>
                    <a:lnTo>
                      <a:pt x="162" y="65"/>
                    </a:lnTo>
                    <a:close/>
                    <a:moveTo>
                      <a:pt x="160" y="121"/>
                    </a:moveTo>
                    <a:lnTo>
                      <a:pt x="160" y="122"/>
                    </a:lnTo>
                    <a:lnTo>
                      <a:pt x="160" y="1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6" name="Freeform 187">
                <a:extLst>
                  <a:ext uri="{FF2B5EF4-FFF2-40B4-BE49-F238E27FC236}">
                    <a16:creationId xmlns:a16="http://schemas.microsoft.com/office/drawing/2014/main" id="{5E6E08D0-C5B0-64EE-26C6-BD6D1B5DD65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98505" y="-2045508"/>
                <a:ext cx="480553" cy="476719"/>
              </a:xfrm>
              <a:custGeom>
                <a:avLst/>
                <a:gdLst>
                  <a:gd name="T0" fmla="*/ 254 w 305"/>
                  <a:gd name="T1" fmla="*/ 15 h 302"/>
                  <a:gd name="T2" fmla="*/ 269 w 305"/>
                  <a:gd name="T3" fmla="*/ 15 h 302"/>
                  <a:gd name="T4" fmla="*/ 282 w 305"/>
                  <a:gd name="T5" fmla="*/ 17 h 302"/>
                  <a:gd name="T6" fmla="*/ 296 w 305"/>
                  <a:gd name="T7" fmla="*/ 29 h 302"/>
                  <a:gd name="T8" fmla="*/ 298 w 305"/>
                  <a:gd name="T9" fmla="*/ 40 h 302"/>
                  <a:gd name="T10" fmla="*/ 303 w 305"/>
                  <a:gd name="T11" fmla="*/ 56 h 302"/>
                  <a:gd name="T12" fmla="*/ 288 w 305"/>
                  <a:gd name="T13" fmla="*/ 71 h 302"/>
                  <a:gd name="T14" fmla="*/ 278 w 305"/>
                  <a:gd name="T15" fmla="*/ 86 h 302"/>
                  <a:gd name="T16" fmla="*/ 277 w 305"/>
                  <a:gd name="T17" fmla="*/ 103 h 302"/>
                  <a:gd name="T18" fmla="*/ 267 w 305"/>
                  <a:gd name="T19" fmla="*/ 124 h 302"/>
                  <a:gd name="T20" fmla="*/ 271 w 305"/>
                  <a:gd name="T21" fmla="*/ 136 h 302"/>
                  <a:gd name="T22" fmla="*/ 277 w 305"/>
                  <a:gd name="T23" fmla="*/ 172 h 302"/>
                  <a:gd name="T24" fmla="*/ 288 w 305"/>
                  <a:gd name="T25" fmla="*/ 201 h 302"/>
                  <a:gd name="T26" fmla="*/ 263 w 305"/>
                  <a:gd name="T27" fmla="*/ 243 h 302"/>
                  <a:gd name="T28" fmla="*/ 261 w 305"/>
                  <a:gd name="T29" fmla="*/ 262 h 302"/>
                  <a:gd name="T30" fmla="*/ 263 w 305"/>
                  <a:gd name="T31" fmla="*/ 279 h 302"/>
                  <a:gd name="T32" fmla="*/ 277 w 305"/>
                  <a:gd name="T33" fmla="*/ 283 h 302"/>
                  <a:gd name="T34" fmla="*/ 278 w 305"/>
                  <a:gd name="T35" fmla="*/ 300 h 302"/>
                  <a:gd name="T36" fmla="*/ 265 w 305"/>
                  <a:gd name="T37" fmla="*/ 296 h 302"/>
                  <a:gd name="T38" fmla="*/ 254 w 305"/>
                  <a:gd name="T39" fmla="*/ 285 h 302"/>
                  <a:gd name="T40" fmla="*/ 240 w 305"/>
                  <a:gd name="T41" fmla="*/ 273 h 302"/>
                  <a:gd name="T42" fmla="*/ 225 w 305"/>
                  <a:gd name="T43" fmla="*/ 279 h 302"/>
                  <a:gd name="T44" fmla="*/ 208 w 305"/>
                  <a:gd name="T45" fmla="*/ 271 h 302"/>
                  <a:gd name="T46" fmla="*/ 198 w 305"/>
                  <a:gd name="T47" fmla="*/ 269 h 302"/>
                  <a:gd name="T48" fmla="*/ 185 w 305"/>
                  <a:gd name="T49" fmla="*/ 262 h 302"/>
                  <a:gd name="T50" fmla="*/ 164 w 305"/>
                  <a:gd name="T51" fmla="*/ 265 h 302"/>
                  <a:gd name="T52" fmla="*/ 160 w 305"/>
                  <a:gd name="T53" fmla="*/ 254 h 302"/>
                  <a:gd name="T54" fmla="*/ 153 w 305"/>
                  <a:gd name="T55" fmla="*/ 237 h 302"/>
                  <a:gd name="T56" fmla="*/ 153 w 305"/>
                  <a:gd name="T57" fmla="*/ 216 h 302"/>
                  <a:gd name="T58" fmla="*/ 135 w 305"/>
                  <a:gd name="T59" fmla="*/ 197 h 302"/>
                  <a:gd name="T60" fmla="*/ 114 w 305"/>
                  <a:gd name="T61" fmla="*/ 214 h 302"/>
                  <a:gd name="T62" fmla="*/ 86 w 305"/>
                  <a:gd name="T63" fmla="*/ 216 h 302"/>
                  <a:gd name="T64" fmla="*/ 80 w 305"/>
                  <a:gd name="T65" fmla="*/ 204 h 302"/>
                  <a:gd name="T66" fmla="*/ 73 w 305"/>
                  <a:gd name="T67" fmla="*/ 191 h 302"/>
                  <a:gd name="T68" fmla="*/ 44 w 305"/>
                  <a:gd name="T69" fmla="*/ 180 h 302"/>
                  <a:gd name="T70" fmla="*/ 19 w 305"/>
                  <a:gd name="T71" fmla="*/ 181 h 302"/>
                  <a:gd name="T72" fmla="*/ 6 w 305"/>
                  <a:gd name="T73" fmla="*/ 181 h 302"/>
                  <a:gd name="T74" fmla="*/ 10 w 305"/>
                  <a:gd name="T75" fmla="*/ 166 h 302"/>
                  <a:gd name="T76" fmla="*/ 19 w 305"/>
                  <a:gd name="T77" fmla="*/ 162 h 302"/>
                  <a:gd name="T78" fmla="*/ 27 w 305"/>
                  <a:gd name="T79" fmla="*/ 159 h 302"/>
                  <a:gd name="T80" fmla="*/ 34 w 305"/>
                  <a:gd name="T81" fmla="*/ 159 h 302"/>
                  <a:gd name="T82" fmla="*/ 48 w 305"/>
                  <a:gd name="T83" fmla="*/ 155 h 302"/>
                  <a:gd name="T84" fmla="*/ 65 w 305"/>
                  <a:gd name="T85" fmla="*/ 140 h 302"/>
                  <a:gd name="T86" fmla="*/ 69 w 305"/>
                  <a:gd name="T87" fmla="*/ 117 h 302"/>
                  <a:gd name="T88" fmla="*/ 86 w 305"/>
                  <a:gd name="T89" fmla="*/ 96 h 302"/>
                  <a:gd name="T90" fmla="*/ 90 w 305"/>
                  <a:gd name="T91" fmla="*/ 69 h 302"/>
                  <a:gd name="T92" fmla="*/ 97 w 305"/>
                  <a:gd name="T93" fmla="*/ 46 h 302"/>
                  <a:gd name="T94" fmla="*/ 103 w 305"/>
                  <a:gd name="T95" fmla="*/ 19 h 302"/>
                  <a:gd name="T96" fmla="*/ 114 w 305"/>
                  <a:gd name="T97" fmla="*/ 4 h 302"/>
                  <a:gd name="T98" fmla="*/ 132 w 305"/>
                  <a:gd name="T99" fmla="*/ 14 h 302"/>
                  <a:gd name="T100" fmla="*/ 155 w 305"/>
                  <a:gd name="T101" fmla="*/ 19 h 302"/>
                  <a:gd name="T102" fmla="*/ 170 w 305"/>
                  <a:gd name="T103" fmla="*/ 12 h 302"/>
                  <a:gd name="T104" fmla="*/ 183 w 305"/>
                  <a:gd name="T105" fmla="*/ 10 h 302"/>
                  <a:gd name="T106" fmla="*/ 195 w 305"/>
                  <a:gd name="T107" fmla="*/ 4 h 302"/>
                  <a:gd name="T108" fmla="*/ 210 w 305"/>
                  <a:gd name="T109" fmla="*/ 4 h 302"/>
                  <a:gd name="T110" fmla="*/ 216 w 305"/>
                  <a:gd name="T111" fmla="*/ 2 h 302"/>
                  <a:gd name="T112" fmla="*/ 223 w 305"/>
                  <a:gd name="T113" fmla="*/ 2 h 302"/>
                  <a:gd name="T114" fmla="*/ 240 w 305"/>
                  <a:gd name="T115" fmla="*/ 4 h 302"/>
                  <a:gd name="T116" fmla="*/ 4 w 305"/>
                  <a:gd name="T117" fmla="*/ 183 h 302"/>
                  <a:gd name="T118" fmla="*/ 6 w 305"/>
                  <a:gd name="T119" fmla="*/ 181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05" h="302">
                    <a:moveTo>
                      <a:pt x="242" y="6"/>
                    </a:moveTo>
                    <a:lnTo>
                      <a:pt x="244" y="8"/>
                    </a:lnTo>
                    <a:lnTo>
                      <a:pt x="244" y="10"/>
                    </a:lnTo>
                    <a:lnTo>
                      <a:pt x="246" y="8"/>
                    </a:lnTo>
                    <a:lnTo>
                      <a:pt x="246" y="10"/>
                    </a:lnTo>
                    <a:lnTo>
                      <a:pt x="248" y="10"/>
                    </a:lnTo>
                    <a:lnTo>
                      <a:pt x="248" y="12"/>
                    </a:lnTo>
                    <a:lnTo>
                      <a:pt x="248" y="14"/>
                    </a:lnTo>
                    <a:lnTo>
                      <a:pt x="250" y="14"/>
                    </a:lnTo>
                    <a:lnTo>
                      <a:pt x="252" y="14"/>
                    </a:lnTo>
                    <a:lnTo>
                      <a:pt x="252" y="15"/>
                    </a:lnTo>
                    <a:lnTo>
                      <a:pt x="254" y="15"/>
                    </a:lnTo>
                    <a:lnTo>
                      <a:pt x="256" y="17"/>
                    </a:lnTo>
                    <a:lnTo>
                      <a:pt x="257" y="17"/>
                    </a:lnTo>
                    <a:lnTo>
                      <a:pt x="257" y="19"/>
                    </a:lnTo>
                    <a:lnTo>
                      <a:pt x="259" y="17"/>
                    </a:lnTo>
                    <a:lnTo>
                      <a:pt x="261" y="17"/>
                    </a:lnTo>
                    <a:lnTo>
                      <a:pt x="261" y="15"/>
                    </a:lnTo>
                    <a:lnTo>
                      <a:pt x="263" y="15"/>
                    </a:lnTo>
                    <a:lnTo>
                      <a:pt x="263" y="14"/>
                    </a:lnTo>
                    <a:lnTo>
                      <a:pt x="265" y="14"/>
                    </a:lnTo>
                    <a:lnTo>
                      <a:pt x="265" y="15"/>
                    </a:lnTo>
                    <a:lnTo>
                      <a:pt x="267" y="15"/>
                    </a:lnTo>
                    <a:lnTo>
                      <a:pt x="269" y="15"/>
                    </a:lnTo>
                    <a:lnTo>
                      <a:pt x="271" y="17"/>
                    </a:lnTo>
                    <a:lnTo>
                      <a:pt x="273" y="17"/>
                    </a:lnTo>
                    <a:lnTo>
                      <a:pt x="273" y="15"/>
                    </a:lnTo>
                    <a:lnTo>
                      <a:pt x="275" y="15"/>
                    </a:lnTo>
                    <a:lnTo>
                      <a:pt x="275" y="14"/>
                    </a:lnTo>
                    <a:lnTo>
                      <a:pt x="277" y="12"/>
                    </a:lnTo>
                    <a:lnTo>
                      <a:pt x="278" y="12"/>
                    </a:lnTo>
                    <a:lnTo>
                      <a:pt x="278" y="14"/>
                    </a:lnTo>
                    <a:lnTo>
                      <a:pt x="280" y="14"/>
                    </a:lnTo>
                    <a:lnTo>
                      <a:pt x="280" y="15"/>
                    </a:lnTo>
                    <a:lnTo>
                      <a:pt x="280" y="17"/>
                    </a:lnTo>
                    <a:lnTo>
                      <a:pt x="282" y="17"/>
                    </a:lnTo>
                    <a:lnTo>
                      <a:pt x="282" y="19"/>
                    </a:lnTo>
                    <a:lnTo>
                      <a:pt x="284" y="19"/>
                    </a:lnTo>
                    <a:lnTo>
                      <a:pt x="284" y="21"/>
                    </a:lnTo>
                    <a:lnTo>
                      <a:pt x="286" y="21"/>
                    </a:lnTo>
                    <a:lnTo>
                      <a:pt x="286" y="23"/>
                    </a:lnTo>
                    <a:lnTo>
                      <a:pt x="288" y="23"/>
                    </a:lnTo>
                    <a:lnTo>
                      <a:pt x="290" y="25"/>
                    </a:lnTo>
                    <a:lnTo>
                      <a:pt x="292" y="25"/>
                    </a:lnTo>
                    <a:lnTo>
                      <a:pt x="292" y="27"/>
                    </a:lnTo>
                    <a:lnTo>
                      <a:pt x="292" y="29"/>
                    </a:lnTo>
                    <a:lnTo>
                      <a:pt x="294" y="29"/>
                    </a:lnTo>
                    <a:lnTo>
                      <a:pt x="296" y="29"/>
                    </a:lnTo>
                    <a:lnTo>
                      <a:pt x="296" y="27"/>
                    </a:lnTo>
                    <a:lnTo>
                      <a:pt x="296" y="29"/>
                    </a:lnTo>
                    <a:lnTo>
                      <a:pt x="298" y="29"/>
                    </a:lnTo>
                    <a:lnTo>
                      <a:pt x="298" y="31"/>
                    </a:lnTo>
                    <a:lnTo>
                      <a:pt x="299" y="33"/>
                    </a:lnTo>
                    <a:lnTo>
                      <a:pt x="298" y="33"/>
                    </a:lnTo>
                    <a:lnTo>
                      <a:pt x="298" y="35"/>
                    </a:lnTo>
                    <a:lnTo>
                      <a:pt x="296" y="35"/>
                    </a:lnTo>
                    <a:lnTo>
                      <a:pt x="298" y="35"/>
                    </a:lnTo>
                    <a:lnTo>
                      <a:pt x="296" y="38"/>
                    </a:lnTo>
                    <a:lnTo>
                      <a:pt x="298" y="38"/>
                    </a:lnTo>
                    <a:lnTo>
                      <a:pt x="298" y="40"/>
                    </a:lnTo>
                    <a:lnTo>
                      <a:pt x="296" y="44"/>
                    </a:lnTo>
                    <a:lnTo>
                      <a:pt x="296" y="46"/>
                    </a:lnTo>
                    <a:lnTo>
                      <a:pt x="296" y="48"/>
                    </a:lnTo>
                    <a:lnTo>
                      <a:pt x="298" y="48"/>
                    </a:lnTo>
                    <a:lnTo>
                      <a:pt x="298" y="50"/>
                    </a:lnTo>
                    <a:lnTo>
                      <a:pt x="299" y="48"/>
                    </a:lnTo>
                    <a:lnTo>
                      <a:pt x="301" y="48"/>
                    </a:lnTo>
                    <a:lnTo>
                      <a:pt x="301" y="50"/>
                    </a:lnTo>
                    <a:lnTo>
                      <a:pt x="303" y="50"/>
                    </a:lnTo>
                    <a:lnTo>
                      <a:pt x="303" y="52"/>
                    </a:lnTo>
                    <a:lnTo>
                      <a:pt x="305" y="52"/>
                    </a:lnTo>
                    <a:lnTo>
                      <a:pt x="303" y="56"/>
                    </a:lnTo>
                    <a:lnTo>
                      <a:pt x="299" y="57"/>
                    </a:lnTo>
                    <a:lnTo>
                      <a:pt x="296" y="63"/>
                    </a:lnTo>
                    <a:lnTo>
                      <a:pt x="294" y="65"/>
                    </a:lnTo>
                    <a:lnTo>
                      <a:pt x="292" y="65"/>
                    </a:lnTo>
                    <a:lnTo>
                      <a:pt x="290" y="67"/>
                    </a:lnTo>
                    <a:lnTo>
                      <a:pt x="290" y="69"/>
                    </a:lnTo>
                    <a:lnTo>
                      <a:pt x="288" y="69"/>
                    </a:lnTo>
                    <a:lnTo>
                      <a:pt x="288" y="67"/>
                    </a:lnTo>
                    <a:lnTo>
                      <a:pt x="288" y="69"/>
                    </a:lnTo>
                    <a:lnTo>
                      <a:pt x="288" y="71"/>
                    </a:lnTo>
                    <a:lnTo>
                      <a:pt x="286" y="71"/>
                    </a:lnTo>
                    <a:lnTo>
                      <a:pt x="288" y="71"/>
                    </a:lnTo>
                    <a:lnTo>
                      <a:pt x="286" y="71"/>
                    </a:lnTo>
                    <a:lnTo>
                      <a:pt x="286" y="73"/>
                    </a:lnTo>
                    <a:lnTo>
                      <a:pt x="282" y="73"/>
                    </a:lnTo>
                    <a:lnTo>
                      <a:pt x="282" y="75"/>
                    </a:lnTo>
                    <a:lnTo>
                      <a:pt x="282" y="77"/>
                    </a:lnTo>
                    <a:lnTo>
                      <a:pt x="282" y="78"/>
                    </a:lnTo>
                    <a:lnTo>
                      <a:pt x="282" y="80"/>
                    </a:lnTo>
                    <a:lnTo>
                      <a:pt x="280" y="80"/>
                    </a:lnTo>
                    <a:lnTo>
                      <a:pt x="282" y="82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78" y="86"/>
                    </a:lnTo>
                    <a:lnTo>
                      <a:pt x="280" y="86"/>
                    </a:lnTo>
                    <a:lnTo>
                      <a:pt x="278" y="88"/>
                    </a:lnTo>
                    <a:lnTo>
                      <a:pt x="280" y="88"/>
                    </a:lnTo>
                    <a:lnTo>
                      <a:pt x="278" y="90"/>
                    </a:lnTo>
                    <a:lnTo>
                      <a:pt x="277" y="92"/>
                    </a:lnTo>
                    <a:lnTo>
                      <a:pt x="278" y="94"/>
                    </a:lnTo>
                    <a:lnTo>
                      <a:pt x="278" y="96"/>
                    </a:lnTo>
                    <a:lnTo>
                      <a:pt x="278" y="98"/>
                    </a:lnTo>
                    <a:lnTo>
                      <a:pt x="278" y="99"/>
                    </a:lnTo>
                    <a:lnTo>
                      <a:pt x="278" y="101"/>
                    </a:lnTo>
                    <a:lnTo>
                      <a:pt x="277" y="101"/>
                    </a:lnTo>
                    <a:lnTo>
                      <a:pt x="277" y="103"/>
                    </a:lnTo>
                    <a:lnTo>
                      <a:pt x="277" y="105"/>
                    </a:lnTo>
                    <a:lnTo>
                      <a:pt x="277" y="107"/>
                    </a:lnTo>
                    <a:lnTo>
                      <a:pt x="277" y="109"/>
                    </a:lnTo>
                    <a:lnTo>
                      <a:pt x="275" y="109"/>
                    </a:lnTo>
                    <a:lnTo>
                      <a:pt x="275" y="111"/>
                    </a:lnTo>
                    <a:lnTo>
                      <a:pt x="273" y="111"/>
                    </a:lnTo>
                    <a:lnTo>
                      <a:pt x="271" y="113"/>
                    </a:lnTo>
                    <a:lnTo>
                      <a:pt x="271" y="115"/>
                    </a:lnTo>
                    <a:lnTo>
                      <a:pt x="271" y="120"/>
                    </a:lnTo>
                    <a:lnTo>
                      <a:pt x="269" y="122"/>
                    </a:lnTo>
                    <a:lnTo>
                      <a:pt x="267" y="122"/>
                    </a:lnTo>
                    <a:lnTo>
                      <a:pt x="267" y="124"/>
                    </a:lnTo>
                    <a:lnTo>
                      <a:pt x="265" y="124"/>
                    </a:lnTo>
                    <a:lnTo>
                      <a:pt x="265" y="126"/>
                    </a:lnTo>
                    <a:lnTo>
                      <a:pt x="267" y="128"/>
                    </a:lnTo>
                    <a:lnTo>
                      <a:pt x="267" y="130"/>
                    </a:lnTo>
                    <a:lnTo>
                      <a:pt x="269" y="130"/>
                    </a:lnTo>
                    <a:lnTo>
                      <a:pt x="267" y="130"/>
                    </a:lnTo>
                    <a:lnTo>
                      <a:pt x="267" y="132"/>
                    </a:lnTo>
                    <a:lnTo>
                      <a:pt x="269" y="132"/>
                    </a:lnTo>
                    <a:lnTo>
                      <a:pt x="269" y="134"/>
                    </a:lnTo>
                    <a:lnTo>
                      <a:pt x="271" y="134"/>
                    </a:lnTo>
                    <a:lnTo>
                      <a:pt x="273" y="136"/>
                    </a:lnTo>
                    <a:lnTo>
                      <a:pt x="271" y="136"/>
                    </a:lnTo>
                    <a:lnTo>
                      <a:pt x="273" y="136"/>
                    </a:lnTo>
                    <a:lnTo>
                      <a:pt x="271" y="138"/>
                    </a:lnTo>
                    <a:lnTo>
                      <a:pt x="273" y="140"/>
                    </a:lnTo>
                    <a:lnTo>
                      <a:pt x="271" y="141"/>
                    </a:lnTo>
                    <a:lnTo>
                      <a:pt x="271" y="145"/>
                    </a:lnTo>
                    <a:lnTo>
                      <a:pt x="271" y="147"/>
                    </a:lnTo>
                    <a:lnTo>
                      <a:pt x="273" y="149"/>
                    </a:lnTo>
                    <a:lnTo>
                      <a:pt x="273" y="151"/>
                    </a:lnTo>
                    <a:lnTo>
                      <a:pt x="275" y="153"/>
                    </a:lnTo>
                    <a:lnTo>
                      <a:pt x="275" y="157"/>
                    </a:lnTo>
                    <a:lnTo>
                      <a:pt x="275" y="166"/>
                    </a:lnTo>
                    <a:lnTo>
                      <a:pt x="277" y="172"/>
                    </a:lnTo>
                    <a:lnTo>
                      <a:pt x="278" y="176"/>
                    </a:lnTo>
                    <a:lnTo>
                      <a:pt x="278" y="178"/>
                    </a:lnTo>
                    <a:lnTo>
                      <a:pt x="278" y="180"/>
                    </a:lnTo>
                    <a:lnTo>
                      <a:pt x="277" y="181"/>
                    </a:lnTo>
                    <a:lnTo>
                      <a:pt x="277" y="183"/>
                    </a:lnTo>
                    <a:lnTo>
                      <a:pt x="277" y="185"/>
                    </a:lnTo>
                    <a:lnTo>
                      <a:pt x="277" y="189"/>
                    </a:lnTo>
                    <a:lnTo>
                      <a:pt x="278" y="189"/>
                    </a:lnTo>
                    <a:lnTo>
                      <a:pt x="280" y="191"/>
                    </a:lnTo>
                    <a:lnTo>
                      <a:pt x="282" y="193"/>
                    </a:lnTo>
                    <a:lnTo>
                      <a:pt x="288" y="199"/>
                    </a:lnTo>
                    <a:lnTo>
                      <a:pt x="288" y="201"/>
                    </a:lnTo>
                    <a:lnTo>
                      <a:pt x="290" y="206"/>
                    </a:lnTo>
                    <a:lnTo>
                      <a:pt x="292" y="210"/>
                    </a:lnTo>
                    <a:lnTo>
                      <a:pt x="296" y="218"/>
                    </a:lnTo>
                    <a:lnTo>
                      <a:pt x="292" y="218"/>
                    </a:lnTo>
                    <a:lnTo>
                      <a:pt x="267" y="222"/>
                    </a:lnTo>
                    <a:lnTo>
                      <a:pt x="265" y="225"/>
                    </a:lnTo>
                    <a:lnTo>
                      <a:pt x="259" y="235"/>
                    </a:lnTo>
                    <a:lnTo>
                      <a:pt x="261" y="237"/>
                    </a:lnTo>
                    <a:lnTo>
                      <a:pt x="261" y="239"/>
                    </a:lnTo>
                    <a:lnTo>
                      <a:pt x="263" y="239"/>
                    </a:lnTo>
                    <a:lnTo>
                      <a:pt x="263" y="241"/>
                    </a:lnTo>
                    <a:lnTo>
                      <a:pt x="263" y="243"/>
                    </a:lnTo>
                    <a:lnTo>
                      <a:pt x="263" y="244"/>
                    </a:lnTo>
                    <a:lnTo>
                      <a:pt x="261" y="246"/>
                    </a:lnTo>
                    <a:lnTo>
                      <a:pt x="261" y="248"/>
                    </a:lnTo>
                    <a:lnTo>
                      <a:pt x="261" y="250"/>
                    </a:lnTo>
                    <a:lnTo>
                      <a:pt x="261" y="252"/>
                    </a:lnTo>
                    <a:lnTo>
                      <a:pt x="261" y="254"/>
                    </a:lnTo>
                    <a:lnTo>
                      <a:pt x="261" y="256"/>
                    </a:lnTo>
                    <a:lnTo>
                      <a:pt x="263" y="256"/>
                    </a:lnTo>
                    <a:lnTo>
                      <a:pt x="263" y="258"/>
                    </a:lnTo>
                    <a:lnTo>
                      <a:pt x="261" y="258"/>
                    </a:lnTo>
                    <a:lnTo>
                      <a:pt x="261" y="260"/>
                    </a:lnTo>
                    <a:lnTo>
                      <a:pt x="261" y="262"/>
                    </a:lnTo>
                    <a:lnTo>
                      <a:pt x="259" y="262"/>
                    </a:lnTo>
                    <a:lnTo>
                      <a:pt x="259" y="264"/>
                    </a:lnTo>
                    <a:lnTo>
                      <a:pt x="259" y="265"/>
                    </a:lnTo>
                    <a:lnTo>
                      <a:pt x="259" y="267"/>
                    </a:lnTo>
                    <a:lnTo>
                      <a:pt x="259" y="269"/>
                    </a:lnTo>
                    <a:lnTo>
                      <a:pt x="257" y="271"/>
                    </a:lnTo>
                    <a:lnTo>
                      <a:pt x="257" y="273"/>
                    </a:lnTo>
                    <a:lnTo>
                      <a:pt x="259" y="273"/>
                    </a:lnTo>
                    <a:lnTo>
                      <a:pt x="259" y="275"/>
                    </a:lnTo>
                    <a:lnTo>
                      <a:pt x="259" y="277"/>
                    </a:lnTo>
                    <a:lnTo>
                      <a:pt x="261" y="277"/>
                    </a:lnTo>
                    <a:lnTo>
                      <a:pt x="263" y="279"/>
                    </a:lnTo>
                    <a:lnTo>
                      <a:pt x="265" y="281"/>
                    </a:lnTo>
                    <a:lnTo>
                      <a:pt x="267" y="283"/>
                    </a:lnTo>
                    <a:lnTo>
                      <a:pt x="269" y="285"/>
                    </a:lnTo>
                    <a:lnTo>
                      <a:pt x="271" y="285"/>
                    </a:lnTo>
                    <a:lnTo>
                      <a:pt x="273" y="285"/>
                    </a:lnTo>
                    <a:lnTo>
                      <a:pt x="273" y="286"/>
                    </a:lnTo>
                    <a:lnTo>
                      <a:pt x="275" y="286"/>
                    </a:lnTo>
                    <a:lnTo>
                      <a:pt x="277" y="286"/>
                    </a:lnTo>
                    <a:lnTo>
                      <a:pt x="277" y="285"/>
                    </a:lnTo>
                    <a:lnTo>
                      <a:pt x="275" y="285"/>
                    </a:lnTo>
                    <a:lnTo>
                      <a:pt x="275" y="283"/>
                    </a:lnTo>
                    <a:lnTo>
                      <a:pt x="277" y="283"/>
                    </a:lnTo>
                    <a:lnTo>
                      <a:pt x="278" y="283"/>
                    </a:lnTo>
                    <a:lnTo>
                      <a:pt x="280" y="283"/>
                    </a:lnTo>
                    <a:lnTo>
                      <a:pt x="278" y="283"/>
                    </a:lnTo>
                    <a:lnTo>
                      <a:pt x="280" y="281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7" y="302"/>
                    </a:lnTo>
                    <a:lnTo>
                      <a:pt x="278" y="302"/>
                    </a:lnTo>
                    <a:lnTo>
                      <a:pt x="277" y="302"/>
                    </a:lnTo>
                    <a:lnTo>
                      <a:pt x="278" y="300"/>
                    </a:lnTo>
                    <a:lnTo>
                      <a:pt x="278" y="298"/>
                    </a:lnTo>
                    <a:lnTo>
                      <a:pt x="278" y="300"/>
                    </a:lnTo>
                    <a:lnTo>
                      <a:pt x="277" y="298"/>
                    </a:lnTo>
                    <a:lnTo>
                      <a:pt x="275" y="300"/>
                    </a:lnTo>
                    <a:lnTo>
                      <a:pt x="273" y="300"/>
                    </a:lnTo>
                    <a:lnTo>
                      <a:pt x="273" y="302"/>
                    </a:lnTo>
                    <a:lnTo>
                      <a:pt x="273" y="300"/>
                    </a:lnTo>
                    <a:lnTo>
                      <a:pt x="273" y="302"/>
                    </a:lnTo>
                    <a:lnTo>
                      <a:pt x="271" y="302"/>
                    </a:lnTo>
                    <a:lnTo>
                      <a:pt x="269" y="302"/>
                    </a:lnTo>
                    <a:lnTo>
                      <a:pt x="267" y="302"/>
                    </a:lnTo>
                    <a:lnTo>
                      <a:pt x="267" y="298"/>
                    </a:lnTo>
                    <a:lnTo>
                      <a:pt x="265" y="298"/>
                    </a:lnTo>
                    <a:lnTo>
                      <a:pt x="265" y="296"/>
                    </a:lnTo>
                    <a:lnTo>
                      <a:pt x="265" y="294"/>
                    </a:lnTo>
                    <a:lnTo>
                      <a:pt x="263" y="294"/>
                    </a:lnTo>
                    <a:lnTo>
                      <a:pt x="263" y="292"/>
                    </a:lnTo>
                    <a:lnTo>
                      <a:pt x="261" y="292"/>
                    </a:lnTo>
                    <a:lnTo>
                      <a:pt x="261" y="294"/>
                    </a:lnTo>
                    <a:lnTo>
                      <a:pt x="261" y="292"/>
                    </a:lnTo>
                    <a:lnTo>
                      <a:pt x="259" y="290"/>
                    </a:lnTo>
                    <a:lnTo>
                      <a:pt x="259" y="288"/>
                    </a:lnTo>
                    <a:lnTo>
                      <a:pt x="259" y="286"/>
                    </a:lnTo>
                    <a:lnTo>
                      <a:pt x="257" y="286"/>
                    </a:lnTo>
                    <a:lnTo>
                      <a:pt x="256" y="286"/>
                    </a:lnTo>
                    <a:lnTo>
                      <a:pt x="254" y="285"/>
                    </a:lnTo>
                    <a:lnTo>
                      <a:pt x="254" y="286"/>
                    </a:lnTo>
                    <a:lnTo>
                      <a:pt x="254" y="285"/>
                    </a:lnTo>
                    <a:lnTo>
                      <a:pt x="252" y="285"/>
                    </a:lnTo>
                    <a:lnTo>
                      <a:pt x="250" y="283"/>
                    </a:lnTo>
                    <a:lnTo>
                      <a:pt x="248" y="283"/>
                    </a:lnTo>
                    <a:lnTo>
                      <a:pt x="246" y="283"/>
                    </a:lnTo>
                    <a:lnTo>
                      <a:pt x="244" y="283"/>
                    </a:lnTo>
                    <a:lnTo>
                      <a:pt x="244" y="281"/>
                    </a:lnTo>
                    <a:lnTo>
                      <a:pt x="244" y="279"/>
                    </a:lnTo>
                    <a:lnTo>
                      <a:pt x="240" y="277"/>
                    </a:lnTo>
                    <a:lnTo>
                      <a:pt x="240" y="275"/>
                    </a:lnTo>
                    <a:lnTo>
                      <a:pt x="240" y="273"/>
                    </a:lnTo>
                    <a:lnTo>
                      <a:pt x="238" y="271"/>
                    </a:lnTo>
                    <a:lnTo>
                      <a:pt x="238" y="273"/>
                    </a:lnTo>
                    <a:lnTo>
                      <a:pt x="237" y="273"/>
                    </a:lnTo>
                    <a:lnTo>
                      <a:pt x="237" y="275"/>
                    </a:lnTo>
                    <a:lnTo>
                      <a:pt x="237" y="277"/>
                    </a:lnTo>
                    <a:lnTo>
                      <a:pt x="235" y="277"/>
                    </a:lnTo>
                    <a:lnTo>
                      <a:pt x="235" y="279"/>
                    </a:lnTo>
                    <a:lnTo>
                      <a:pt x="233" y="279"/>
                    </a:lnTo>
                    <a:lnTo>
                      <a:pt x="231" y="279"/>
                    </a:lnTo>
                    <a:lnTo>
                      <a:pt x="229" y="279"/>
                    </a:lnTo>
                    <a:lnTo>
                      <a:pt x="227" y="277"/>
                    </a:lnTo>
                    <a:lnTo>
                      <a:pt x="225" y="279"/>
                    </a:lnTo>
                    <a:lnTo>
                      <a:pt x="223" y="277"/>
                    </a:lnTo>
                    <a:lnTo>
                      <a:pt x="219" y="279"/>
                    </a:lnTo>
                    <a:lnTo>
                      <a:pt x="219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6" y="275"/>
                    </a:lnTo>
                    <a:lnTo>
                      <a:pt x="214" y="275"/>
                    </a:lnTo>
                    <a:lnTo>
                      <a:pt x="212" y="275"/>
                    </a:lnTo>
                    <a:lnTo>
                      <a:pt x="212" y="273"/>
                    </a:lnTo>
                    <a:lnTo>
                      <a:pt x="210" y="273"/>
                    </a:lnTo>
                    <a:lnTo>
                      <a:pt x="210" y="271"/>
                    </a:lnTo>
                    <a:lnTo>
                      <a:pt x="208" y="271"/>
                    </a:lnTo>
                    <a:lnTo>
                      <a:pt x="210" y="271"/>
                    </a:lnTo>
                    <a:lnTo>
                      <a:pt x="208" y="269"/>
                    </a:lnTo>
                    <a:lnTo>
                      <a:pt x="210" y="267"/>
                    </a:lnTo>
                    <a:lnTo>
                      <a:pt x="208" y="267"/>
                    </a:lnTo>
                    <a:lnTo>
                      <a:pt x="210" y="267"/>
                    </a:lnTo>
                    <a:lnTo>
                      <a:pt x="210" y="265"/>
                    </a:lnTo>
                    <a:lnTo>
                      <a:pt x="208" y="265"/>
                    </a:lnTo>
                    <a:lnTo>
                      <a:pt x="206" y="267"/>
                    </a:lnTo>
                    <a:lnTo>
                      <a:pt x="202" y="267"/>
                    </a:lnTo>
                    <a:lnTo>
                      <a:pt x="200" y="267"/>
                    </a:lnTo>
                    <a:lnTo>
                      <a:pt x="198" y="267"/>
                    </a:lnTo>
                    <a:lnTo>
                      <a:pt x="198" y="269"/>
                    </a:lnTo>
                    <a:lnTo>
                      <a:pt x="195" y="269"/>
                    </a:lnTo>
                    <a:lnTo>
                      <a:pt x="193" y="269"/>
                    </a:lnTo>
                    <a:lnTo>
                      <a:pt x="195" y="267"/>
                    </a:lnTo>
                    <a:lnTo>
                      <a:pt x="195" y="264"/>
                    </a:lnTo>
                    <a:lnTo>
                      <a:pt x="193" y="264"/>
                    </a:lnTo>
                    <a:lnTo>
                      <a:pt x="191" y="264"/>
                    </a:lnTo>
                    <a:lnTo>
                      <a:pt x="191" y="262"/>
                    </a:lnTo>
                    <a:lnTo>
                      <a:pt x="189" y="262"/>
                    </a:lnTo>
                    <a:lnTo>
                      <a:pt x="189" y="260"/>
                    </a:lnTo>
                    <a:lnTo>
                      <a:pt x="187" y="262"/>
                    </a:lnTo>
                    <a:lnTo>
                      <a:pt x="187" y="264"/>
                    </a:lnTo>
                    <a:lnTo>
                      <a:pt x="185" y="262"/>
                    </a:lnTo>
                    <a:lnTo>
                      <a:pt x="183" y="264"/>
                    </a:lnTo>
                    <a:lnTo>
                      <a:pt x="183" y="262"/>
                    </a:lnTo>
                    <a:lnTo>
                      <a:pt x="181" y="262"/>
                    </a:lnTo>
                    <a:lnTo>
                      <a:pt x="179" y="262"/>
                    </a:lnTo>
                    <a:lnTo>
                      <a:pt x="175" y="264"/>
                    </a:lnTo>
                    <a:lnTo>
                      <a:pt x="174" y="264"/>
                    </a:lnTo>
                    <a:lnTo>
                      <a:pt x="172" y="264"/>
                    </a:lnTo>
                    <a:lnTo>
                      <a:pt x="170" y="264"/>
                    </a:lnTo>
                    <a:lnTo>
                      <a:pt x="168" y="264"/>
                    </a:lnTo>
                    <a:lnTo>
                      <a:pt x="166" y="264"/>
                    </a:lnTo>
                    <a:lnTo>
                      <a:pt x="164" y="264"/>
                    </a:lnTo>
                    <a:lnTo>
                      <a:pt x="164" y="265"/>
                    </a:lnTo>
                    <a:lnTo>
                      <a:pt x="162" y="265"/>
                    </a:lnTo>
                    <a:lnTo>
                      <a:pt x="162" y="267"/>
                    </a:lnTo>
                    <a:lnTo>
                      <a:pt x="160" y="267"/>
                    </a:lnTo>
                    <a:lnTo>
                      <a:pt x="160" y="265"/>
                    </a:lnTo>
                    <a:lnTo>
                      <a:pt x="160" y="264"/>
                    </a:lnTo>
                    <a:lnTo>
                      <a:pt x="160" y="262"/>
                    </a:lnTo>
                    <a:lnTo>
                      <a:pt x="158" y="260"/>
                    </a:lnTo>
                    <a:lnTo>
                      <a:pt x="160" y="260"/>
                    </a:lnTo>
                    <a:lnTo>
                      <a:pt x="162" y="260"/>
                    </a:lnTo>
                    <a:lnTo>
                      <a:pt x="162" y="258"/>
                    </a:lnTo>
                    <a:lnTo>
                      <a:pt x="162" y="256"/>
                    </a:lnTo>
                    <a:lnTo>
                      <a:pt x="160" y="254"/>
                    </a:lnTo>
                    <a:lnTo>
                      <a:pt x="162" y="252"/>
                    </a:lnTo>
                    <a:lnTo>
                      <a:pt x="160" y="248"/>
                    </a:lnTo>
                    <a:lnTo>
                      <a:pt x="160" y="246"/>
                    </a:lnTo>
                    <a:lnTo>
                      <a:pt x="160" y="244"/>
                    </a:lnTo>
                    <a:lnTo>
                      <a:pt x="158" y="244"/>
                    </a:lnTo>
                    <a:lnTo>
                      <a:pt x="156" y="244"/>
                    </a:lnTo>
                    <a:lnTo>
                      <a:pt x="156" y="243"/>
                    </a:lnTo>
                    <a:lnTo>
                      <a:pt x="155" y="243"/>
                    </a:lnTo>
                    <a:lnTo>
                      <a:pt x="155" y="241"/>
                    </a:lnTo>
                    <a:lnTo>
                      <a:pt x="155" y="239"/>
                    </a:lnTo>
                    <a:lnTo>
                      <a:pt x="155" y="237"/>
                    </a:lnTo>
                    <a:lnTo>
                      <a:pt x="153" y="237"/>
                    </a:lnTo>
                    <a:lnTo>
                      <a:pt x="153" y="235"/>
                    </a:lnTo>
                    <a:lnTo>
                      <a:pt x="155" y="233"/>
                    </a:lnTo>
                    <a:lnTo>
                      <a:pt x="155" y="231"/>
                    </a:lnTo>
                    <a:lnTo>
                      <a:pt x="155" y="229"/>
                    </a:lnTo>
                    <a:lnTo>
                      <a:pt x="155" y="227"/>
                    </a:lnTo>
                    <a:lnTo>
                      <a:pt x="155" y="225"/>
                    </a:lnTo>
                    <a:lnTo>
                      <a:pt x="155" y="223"/>
                    </a:lnTo>
                    <a:lnTo>
                      <a:pt x="156" y="222"/>
                    </a:lnTo>
                    <a:lnTo>
                      <a:pt x="155" y="220"/>
                    </a:lnTo>
                    <a:lnTo>
                      <a:pt x="155" y="218"/>
                    </a:lnTo>
                    <a:lnTo>
                      <a:pt x="155" y="216"/>
                    </a:lnTo>
                    <a:lnTo>
                      <a:pt x="153" y="216"/>
                    </a:lnTo>
                    <a:lnTo>
                      <a:pt x="153" y="214"/>
                    </a:lnTo>
                    <a:lnTo>
                      <a:pt x="153" y="212"/>
                    </a:lnTo>
                    <a:lnTo>
                      <a:pt x="153" y="210"/>
                    </a:lnTo>
                    <a:lnTo>
                      <a:pt x="153" y="208"/>
                    </a:lnTo>
                    <a:lnTo>
                      <a:pt x="155" y="208"/>
                    </a:lnTo>
                    <a:lnTo>
                      <a:pt x="155" y="206"/>
                    </a:lnTo>
                    <a:lnTo>
                      <a:pt x="155" y="204"/>
                    </a:lnTo>
                    <a:lnTo>
                      <a:pt x="153" y="202"/>
                    </a:lnTo>
                    <a:lnTo>
                      <a:pt x="134" y="202"/>
                    </a:lnTo>
                    <a:lnTo>
                      <a:pt x="134" y="201"/>
                    </a:lnTo>
                    <a:lnTo>
                      <a:pt x="134" y="199"/>
                    </a:lnTo>
                    <a:lnTo>
                      <a:pt x="135" y="197"/>
                    </a:lnTo>
                    <a:lnTo>
                      <a:pt x="130" y="197"/>
                    </a:lnTo>
                    <a:lnTo>
                      <a:pt x="130" y="199"/>
                    </a:lnTo>
                    <a:lnTo>
                      <a:pt x="118" y="199"/>
                    </a:lnTo>
                    <a:lnTo>
                      <a:pt x="116" y="201"/>
                    </a:lnTo>
                    <a:lnTo>
                      <a:pt x="116" y="202"/>
                    </a:lnTo>
                    <a:lnTo>
                      <a:pt x="116" y="204"/>
                    </a:lnTo>
                    <a:lnTo>
                      <a:pt x="116" y="206"/>
                    </a:lnTo>
                    <a:lnTo>
                      <a:pt x="116" y="208"/>
                    </a:lnTo>
                    <a:lnTo>
                      <a:pt x="114" y="208"/>
                    </a:lnTo>
                    <a:lnTo>
                      <a:pt x="114" y="210"/>
                    </a:lnTo>
                    <a:lnTo>
                      <a:pt x="114" y="212"/>
                    </a:lnTo>
                    <a:lnTo>
                      <a:pt x="114" y="214"/>
                    </a:lnTo>
                    <a:lnTo>
                      <a:pt x="105" y="214"/>
                    </a:lnTo>
                    <a:lnTo>
                      <a:pt x="105" y="212"/>
                    </a:lnTo>
                    <a:lnTo>
                      <a:pt x="101" y="212"/>
                    </a:lnTo>
                    <a:lnTo>
                      <a:pt x="101" y="214"/>
                    </a:lnTo>
                    <a:lnTo>
                      <a:pt x="99" y="214"/>
                    </a:lnTo>
                    <a:lnTo>
                      <a:pt x="97" y="214"/>
                    </a:lnTo>
                    <a:lnTo>
                      <a:pt x="95" y="214"/>
                    </a:lnTo>
                    <a:lnTo>
                      <a:pt x="93" y="216"/>
                    </a:lnTo>
                    <a:lnTo>
                      <a:pt x="92" y="216"/>
                    </a:lnTo>
                    <a:lnTo>
                      <a:pt x="90" y="216"/>
                    </a:lnTo>
                    <a:lnTo>
                      <a:pt x="88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6" y="214"/>
                    </a:lnTo>
                    <a:lnTo>
                      <a:pt x="86" y="216"/>
                    </a:lnTo>
                    <a:lnTo>
                      <a:pt x="86" y="214"/>
                    </a:lnTo>
                    <a:lnTo>
                      <a:pt x="84" y="214"/>
                    </a:lnTo>
                    <a:lnTo>
                      <a:pt x="84" y="212"/>
                    </a:lnTo>
                    <a:lnTo>
                      <a:pt x="82" y="212"/>
                    </a:lnTo>
                    <a:lnTo>
                      <a:pt x="82" y="210"/>
                    </a:lnTo>
                    <a:lnTo>
                      <a:pt x="82" y="208"/>
                    </a:lnTo>
                    <a:lnTo>
                      <a:pt x="80" y="208"/>
                    </a:lnTo>
                    <a:lnTo>
                      <a:pt x="80" y="206"/>
                    </a:lnTo>
                    <a:lnTo>
                      <a:pt x="80" y="204"/>
                    </a:lnTo>
                    <a:lnTo>
                      <a:pt x="78" y="204"/>
                    </a:lnTo>
                    <a:lnTo>
                      <a:pt x="78" y="202"/>
                    </a:lnTo>
                    <a:lnTo>
                      <a:pt x="76" y="202"/>
                    </a:lnTo>
                    <a:lnTo>
                      <a:pt x="76" y="201"/>
                    </a:lnTo>
                    <a:lnTo>
                      <a:pt x="76" y="199"/>
                    </a:lnTo>
                    <a:lnTo>
                      <a:pt x="74" y="199"/>
                    </a:lnTo>
                    <a:lnTo>
                      <a:pt x="76" y="197"/>
                    </a:lnTo>
                    <a:lnTo>
                      <a:pt x="74" y="197"/>
                    </a:lnTo>
                    <a:lnTo>
                      <a:pt x="74" y="195"/>
                    </a:lnTo>
                    <a:lnTo>
                      <a:pt x="74" y="193"/>
                    </a:lnTo>
                    <a:lnTo>
                      <a:pt x="73" y="193"/>
                    </a:lnTo>
                    <a:lnTo>
                      <a:pt x="73" y="191"/>
                    </a:lnTo>
                    <a:lnTo>
                      <a:pt x="73" y="189"/>
                    </a:lnTo>
                    <a:lnTo>
                      <a:pt x="73" y="187"/>
                    </a:lnTo>
                    <a:lnTo>
                      <a:pt x="73" y="185"/>
                    </a:lnTo>
                    <a:lnTo>
                      <a:pt x="73" y="183"/>
                    </a:lnTo>
                    <a:lnTo>
                      <a:pt x="71" y="183"/>
                    </a:lnTo>
                    <a:lnTo>
                      <a:pt x="71" y="181"/>
                    </a:lnTo>
                    <a:lnTo>
                      <a:pt x="71" y="180"/>
                    </a:lnTo>
                    <a:lnTo>
                      <a:pt x="69" y="180"/>
                    </a:lnTo>
                    <a:lnTo>
                      <a:pt x="67" y="180"/>
                    </a:lnTo>
                    <a:lnTo>
                      <a:pt x="57" y="180"/>
                    </a:lnTo>
                    <a:lnTo>
                      <a:pt x="55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38" y="181"/>
                    </a:lnTo>
                    <a:lnTo>
                      <a:pt x="36" y="180"/>
                    </a:lnTo>
                    <a:lnTo>
                      <a:pt x="34" y="180"/>
                    </a:lnTo>
                    <a:lnTo>
                      <a:pt x="32" y="180"/>
                    </a:lnTo>
                    <a:lnTo>
                      <a:pt x="31" y="180"/>
                    </a:lnTo>
                    <a:lnTo>
                      <a:pt x="29" y="180"/>
                    </a:lnTo>
                    <a:lnTo>
                      <a:pt x="25" y="180"/>
                    </a:lnTo>
                    <a:lnTo>
                      <a:pt x="23" y="180"/>
                    </a:lnTo>
                    <a:lnTo>
                      <a:pt x="21" y="180"/>
                    </a:lnTo>
                    <a:lnTo>
                      <a:pt x="19" y="180"/>
                    </a:lnTo>
                    <a:lnTo>
                      <a:pt x="19" y="181"/>
                    </a:lnTo>
                    <a:lnTo>
                      <a:pt x="17" y="180"/>
                    </a:lnTo>
                    <a:lnTo>
                      <a:pt x="15" y="180"/>
                    </a:lnTo>
                    <a:lnTo>
                      <a:pt x="15" y="181"/>
                    </a:lnTo>
                    <a:lnTo>
                      <a:pt x="15" y="180"/>
                    </a:lnTo>
                    <a:lnTo>
                      <a:pt x="11" y="180"/>
                    </a:lnTo>
                    <a:lnTo>
                      <a:pt x="10" y="180"/>
                    </a:lnTo>
                    <a:lnTo>
                      <a:pt x="10" y="181"/>
                    </a:lnTo>
                    <a:lnTo>
                      <a:pt x="8" y="181"/>
                    </a:lnTo>
                    <a:lnTo>
                      <a:pt x="6" y="181"/>
                    </a:lnTo>
                    <a:lnTo>
                      <a:pt x="6" y="183"/>
                    </a:lnTo>
                    <a:lnTo>
                      <a:pt x="4" y="183"/>
                    </a:lnTo>
                    <a:lnTo>
                      <a:pt x="6" y="181"/>
                    </a:lnTo>
                    <a:lnTo>
                      <a:pt x="4" y="181"/>
                    </a:lnTo>
                    <a:lnTo>
                      <a:pt x="4" y="183"/>
                    </a:lnTo>
                    <a:lnTo>
                      <a:pt x="0" y="178"/>
                    </a:lnTo>
                    <a:lnTo>
                      <a:pt x="2" y="178"/>
                    </a:lnTo>
                    <a:lnTo>
                      <a:pt x="6" y="178"/>
                    </a:lnTo>
                    <a:lnTo>
                      <a:pt x="6" y="168"/>
                    </a:lnTo>
                    <a:lnTo>
                      <a:pt x="4" y="168"/>
                    </a:lnTo>
                    <a:lnTo>
                      <a:pt x="6" y="166"/>
                    </a:lnTo>
                    <a:lnTo>
                      <a:pt x="8" y="166"/>
                    </a:lnTo>
                    <a:lnTo>
                      <a:pt x="8" y="164"/>
                    </a:lnTo>
                    <a:lnTo>
                      <a:pt x="8" y="166"/>
                    </a:lnTo>
                    <a:lnTo>
                      <a:pt x="10" y="166"/>
                    </a:lnTo>
                    <a:lnTo>
                      <a:pt x="10" y="164"/>
                    </a:lnTo>
                    <a:lnTo>
                      <a:pt x="10" y="162"/>
                    </a:lnTo>
                    <a:lnTo>
                      <a:pt x="11" y="162"/>
                    </a:lnTo>
                    <a:lnTo>
                      <a:pt x="13" y="161"/>
                    </a:lnTo>
                    <a:lnTo>
                      <a:pt x="13" y="162"/>
                    </a:lnTo>
                    <a:lnTo>
                      <a:pt x="13" y="161"/>
                    </a:lnTo>
                    <a:lnTo>
                      <a:pt x="15" y="161"/>
                    </a:lnTo>
                    <a:lnTo>
                      <a:pt x="15" y="159"/>
                    </a:lnTo>
                    <a:lnTo>
                      <a:pt x="15" y="161"/>
                    </a:lnTo>
                    <a:lnTo>
                      <a:pt x="17" y="161"/>
                    </a:lnTo>
                    <a:lnTo>
                      <a:pt x="17" y="162"/>
                    </a:lnTo>
                    <a:lnTo>
                      <a:pt x="19" y="162"/>
                    </a:lnTo>
                    <a:lnTo>
                      <a:pt x="19" y="164"/>
                    </a:lnTo>
                    <a:lnTo>
                      <a:pt x="21" y="164"/>
                    </a:lnTo>
                    <a:lnTo>
                      <a:pt x="19" y="164"/>
                    </a:lnTo>
                    <a:lnTo>
                      <a:pt x="21" y="164"/>
                    </a:lnTo>
                    <a:lnTo>
                      <a:pt x="21" y="162"/>
                    </a:lnTo>
                    <a:lnTo>
                      <a:pt x="23" y="162"/>
                    </a:lnTo>
                    <a:lnTo>
                      <a:pt x="25" y="162"/>
                    </a:lnTo>
                    <a:lnTo>
                      <a:pt x="25" y="161"/>
                    </a:lnTo>
                    <a:lnTo>
                      <a:pt x="25" y="159"/>
                    </a:lnTo>
                    <a:lnTo>
                      <a:pt x="25" y="157"/>
                    </a:lnTo>
                    <a:lnTo>
                      <a:pt x="27" y="157"/>
                    </a:lnTo>
                    <a:lnTo>
                      <a:pt x="27" y="159"/>
                    </a:lnTo>
                    <a:lnTo>
                      <a:pt x="29" y="159"/>
                    </a:lnTo>
                    <a:lnTo>
                      <a:pt x="29" y="157"/>
                    </a:lnTo>
                    <a:lnTo>
                      <a:pt x="29" y="159"/>
                    </a:lnTo>
                    <a:lnTo>
                      <a:pt x="29" y="157"/>
                    </a:lnTo>
                    <a:lnTo>
                      <a:pt x="31" y="157"/>
                    </a:lnTo>
                    <a:lnTo>
                      <a:pt x="32" y="157"/>
                    </a:lnTo>
                    <a:lnTo>
                      <a:pt x="34" y="155"/>
                    </a:lnTo>
                    <a:lnTo>
                      <a:pt x="36" y="155"/>
                    </a:lnTo>
                    <a:lnTo>
                      <a:pt x="34" y="155"/>
                    </a:lnTo>
                    <a:lnTo>
                      <a:pt x="36" y="157"/>
                    </a:lnTo>
                    <a:lnTo>
                      <a:pt x="36" y="159"/>
                    </a:lnTo>
                    <a:lnTo>
                      <a:pt x="34" y="159"/>
                    </a:lnTo>
                    <a:lnTo>
                      <a:pt x="34" y="161"/>
                    </a:lnTo>
                    <a:lnTo>
                      <a:pt x="36" y="161"/>
                    </a:lnTo>
                    <a:lnTo>
                      <a:pt x="36" y="162"/>
                    </a:lnTo>
                    <a:lnTo>
                      <a:pt x="36" y="164"/>
                    </a:lnTo>
                    <a:lnTo>
                      <a:pt x="38" y="164"/>
                    </a:lnTo>
                    <a:lnTo>
                      <a:pt x="40" y="164"/>
                    </a:lnTo>
                    <a:lnTo>
                      <a:pt x="42" y="162"/>
                    </a:lnTo>
                    <a:lnTo>
                      <a:pt x="44" y="161"/>
                    </a:lnTo>
                    <a:lnTo>
                      <a:pt x="46" y="159"/>
                    </a:lnTo>
                    <a:lnTo>
                      <a:pt x="48" y="159"/>
                    </a:lnTo>
                    <a:lnTo>
                      <a:pt x="48" y="157"/>
                    </a:lnTo>
                    <a:lnTo>
                      <a:pt x="48" y="155"/>
                    </a:lnTo>
                    <a:lnTo>
                      <a:pt x="50" y="155"/>
                    </a:lnTo>
                    <a:lnTo>
                      <a:pt x="52" y="155"/>
                    </a:lnTo>
                    <a:lnTo>
                      <a:pt x="53" y="155"/>
                    </a:lnTo>
                    <a:lnTo>
                      <a:pt x="53" y="153"/>
                    </a:lnTo>
                    <a:lnTo>
                      <a:pt x="53" y="151"/>
                    </a:lnTo>
                    <a:lnTo>
                      <a:pt x="55" y="151"/>
                    </a:lnTo>
                    <a:lnTo>
                      <a:pt x="57" y="149"/>
                    </a:lnTo>
                    <a:lnTo>
                      <a:pt x="59" y="149"/>
                    </a:lnTo>
                    <a:lnTo>
                      <a:pt x="61" y="143"/>
                    </a:lnTo>
                    <a:lnTo>
                      <a:pt x="63" y="143"/>
                    </a:lnTo>
                    <a:lnTo>
                      <a:pt x="63" y="141"/>
                    </a:lnTo>
                    <a:lnTo>
                      <a:pt x="65" y="140"/>
                    </a:lnTo>
                    <a:lnTo>
                      <a:pt x="63" y="138"/>
                    </a:lnTo>
                    <a:lnTo>
                      <a:pt x="63" y="136"/>
                    </a:lnTo>
                    <a:lnTo>
                      <a:pt x="65" y="134"/>
                    </a:lnTo>
                    <a:lnTo>
                      <a:pt x="63" y="132"/>
                    </a:lnTo>
                    <a:lnTo>
                      <a:pt x="65" y="130"/>
                    </a:lnTo>
                    <a:lnTo>
                      <a:pt x="65" y="128"/>
                    </a:lnTo>
                    <a:lnTo>
                      <a:pt x="65" y="126"/>
                    </a:lnTo>
                    <a:lnTo>
                      <a:pt x="63" y="124"/>
                    </a:lnTo>
                    <a:lnTo>
                      <a:pt x="65" y="122"/>
                    </a:lnTo>
                    <a:lnTo>
                      <a:pt x="65" y="120"/>
                    </a:lnTo>
                    <a:lnTo>
                      <a:pt x="67" y="119"/>
                    </a:lnTo>
                    <a:lnTo>
                      <a:pt x="69" y="117"/>
                    </a:lnTo>
                    <a:lnTo>
                      <a:pt x="71" y="117"/>
                    </a:lnTo>
                    <a:lnTo>
                      <a:pt x="71" y="115"/>
                    </a:lnTo>
                    <a:lnTo>
                      <a:pt x="73" y="111"/>
                    </a:lnTo>
                    <a:lnTo>
                      <a:pt x="73" y="109"/>
                    </a:lnTo>
                    <a:lnTo>
                      <a:pt x="74" y="107"/>
                    </a:lnTo>
                    <a:lnTo>
                      <a:pt x="76" y="105"/>
                    </a:lnTo>
                    <a:lnTo>
                      <a:pt x="78" y="103"/>
                    </a:lnTo>
                    <a:lnTo>
                      <a:pt x="80" y="103"/>
                    </a:lnTo>
                    <a:lnTo>
                      <a:pt x="82" y="101"/>
                    </a:lnTo>
                    <a:lnTo>
                      <a:pt x="84" y="99"/>
                    </a:lnTo>
                    <a:lnTo>
                      <a:pt x="86" y="98"/>
                    </a:lnTo>
                    <a:lnTo>
                      <a:pt x="86" y="96"/>
                    </a:lnTo>
                    <a:lnTo>
                      <a:pt x="88" y="96"/>
                    </a:lnTo>
                    <a:lnTo>
                      <a:pt x="88" y="92"/>
                    </a:lnTo>
                    <a:lnTo>
                      <a:pt x="88" y="90"/>
                    </a:lnTo>
                    <a:lnTo>
                      <a:pt x="88" y="88"/>
                    </a:lnTo>
                    <a:lnTo>
                      <a:pt x="90" y="84"/>
                    </a:lnTo>
                    <a:lnTo>
                      <a:pt x="90" y="82"/>
                    </a:lnTo>
                    <a:lnTo>
                      <a:pt x="92" y="80"/>
                    </a:lnTo>
                    <a:lnTo>
                      <a:pt x="92" y="78"/>
                    </a:lnTo>
                    <a:lnTo>
                      <a:pt x="92" y="77"/>
                    </a:lnTo>
                    <a:lnTo>
                      <a:pt x="92" y="75"/>
                    </a:lnTo>
                    <a:lnTo>
                      <a:pt x="90" y="71"/>
                    </a:lnTo>
                    <a:lnTo>
                      <a:pt x="90" y="69"/>
                    </a:lnTo>
                    <a:lnTo>
                      <a:pt x="92" y="67"/>
                    </a:lnTo>
                    <a:lnTo>
                      <a:pt x="93" y="65"/>
                    </a:lnTo>
                    <a:lnTo>
                      <a:pt x="93" y="61"/>
                    </a:lnTo>
                    <a:lnTo>
                      <a:pt x="93" y="59"/>
                    </a:lnTo>
                    <a:lnTo>
                      <a:pt x="93" y="57"/>
                    </a:lnTo>
                    <a:lnTo>
                      <a:pt x="93" y="56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3" y="50"/>
                    </a:lnTo>
                    <a:lnTo>
                      <a:pt x="95" y="50"/>
                    </a:lnTo>
                    <a:lnTo>
                      <a:pt x="95" y="48"/>
                    </a:lnTo>
                    <a:lnTo>
                      <a:pt x="97" y="46"/>
                    </a:lnTo>
                    <a:lnTo>
                      <a:pt x="97" y="44"/>
                    </a:lnTo>
                    <a:lnTo>
                      <a:pt x="99" y="42"/>
                    </a:lnTo>
                    <a:lnTo>
                      <a:pt x="99" y="40"/>
                    </a:lnTo>
                    <a:lnTo>
                      <a:pt x="101" y="38"/>
                    </a:lnTo>
                    <a:lnTo>
                      <a:pt x="103" y="36"/>
                    </a:lnTo>
                    <a:lnTo>
                      <a:pt x="103" y="33"/>
                    </a:lnTo>
                    <a:lnTo>
                      <a:pt x="103" y="31"/>
                    </a:lnTo>
                    <a:lnTo>
                      <a:pt x="101" y="27"/>
                    </a:lnTo>
                    <a:lnTo>
                      <a:pt x="103" y="25"/>
                    </a:lnTo>
                    <a:lnTo>
                      <a:pt x="103" y="23"/>
                    </a:lnTo>
                    <a:lnTo>
                      <a:pt x="103" y="21"/>
                    </a:lnTo>
                    <a:lnTo>
                      <a:pt x="103" y="19"/>
                    </a:lnTo>
                    <a:lnTo>
                      <a:pt x="101" y="17"/>
                    </a:lnTo>
                    <a:lnTo>
                      <a:pt x="103" y="17"/>
                    </a:lnTo>
                    <a:lnTo>
                      <a:pt x="105" y="15"/>
                    </a:lnTo>
                    <a:lnTo>
                      <a:pt x="107" y="14"/>
                    </a:lnTo>
                    <a:lnTo>
                      <a:pt x="107" y="12"/>
                    </a:lnTo>
                    <a:lnTo>
                      <a:pt x="109" y="12"/>
                    </a:lnTo>
                    <a:lnTo>
                      <a:pt x="109" y="10"/>
                    </a:lnTo>
                    <a:lnTo>
                      <a:pt x="111" y="8"/>
                    </a:lnTo>
                    <a:lnTo>
                      <a:pt x="113" y="8"/>
                    </a:lnTo>
                    <a:lnTo>
                      <a:pt x="113" y="6"/>
                    </a:lnTo>
                    <a:lnTo>
                      <a:pt x="114" y="6"/>
                    </a:lnTo>
                    <a:lnTo>
                      <a:pt x="114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0" y="4"/>
                    </a:lnTo>
                    <a:lnTo>
                      <a:pt x="122" y="6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28" y="8"/>
                    </a:lnTo>
                    <a:lnTo>
                      <a:pt x="128" y="10"/>
                    </a:lnTo>
                    <a:lnTo>
                      <a:pt x="130" y="10"/>
                    </a:lnTo>
                    <a:lnTo>
                      <a:pt x="130" y="12"/>
                    </a:lnTo>
                    <a:lnTo>
                      <a:pt x="132" y="12"/>
                    </a:lnTo>
                    <a:lnTo>
                      <a:pt x="132" y="14"/>
                    </a:lnTo>
                    <a:lnTo>
                      <a:pt x="134" y="15"/>
                    </a:lnTo>
                    <a:lnTo>
                      <a:pt x="135" y="15"/>
                    </a:lnTo>
                    <a:lnTo>
                      <a:pt x="137" y="15"/>
                    </a:lnTo>
                    <a:lnTo>
                      <a:pt x="139" y="15"/>
                    </a:lnTo>
                    <a:lnTo>
                      <a:pt x="141" y="17"/>
                    </a:lnTo>
                    <a:lnTo>
                      <a:pt x="143" y="17"/>
                    </a:lnTo>
                    <a:lnTo>
                      <a:pt x="145" y="17"/>
                    </a:lnTo>
                    <a:lnTo>
                      <a:pt x="147" y="17"/>
                    </a:lnTo>
                    <a:lnTo>
                      <a:pt x="149" y="19"/>
                    </a:lnTo>
                    <a:lnTo>
                      <a:pt x="151" y="17"/>
                    </a:lnTo>
                    <a:lnTo>
                      <a:pt x="153" y="17"/>
                    </a:lnTo>
                    <a:lnTo>
                      <a:pt x="155" y="19"/>
                    </a:lnTo>
                    <a:lnTo>
                      <a:pt x="156" y="19"/>
                    </a:lnTo>
                    <a:lnTo>
                      <a:pt x="158" y="19"/>
                    </a:lnTo>
                    <a:lnTo>
                      <a:pt x="158" y="21"/>
                    </a:lnTo>
                    <a:lnTo>
                      <a:pt x="160" y="21"/>
                    </a:lnTo>
                    <a:lnTo>
                      <a:pt x="164" y="21"/>
                    </a:lnTo>
                    <a:lnTo>
                      <a:pt x="166" y="19"/>
                    </a:lnTo>
                    <a:lnTo>
                      <a:pt x="166" y="17"/>
                    </a:lnTo>
                    <a:lnTo>
                      <a:pt x="166" y="15"/>
                    </a:lnTo>
                    <a:lnTo>
                      <a:pt x="168" y="15"/>
                    </a:lnTo>
                    <a:lnTo>
                      <a:pt x="168" y="14"/>
                    </a:lnTo>
                    <a:lnTo>
                      <a:pt x="168" y="12"/>
                    </a:lnTo>
                    <a:lnTo>
                      <a:pt x="170" y="12"/>
                    </a:lnTo>
                    <a:lnTo>
                      <a:pt x="170" y="10"/>
                    </a:lnTo>
                    <a:lnTo>
                      <a:pt x="172" y="10"/>
                    </a:lnTo>
                    <a:lnTo>
                      <a:pt x="174" y="12"/>
                    </a:lnTo>
                    <a:lnTo>
                      <a:pt x="175" y="12"/>
                    </a:lnTo>
                    <a:lnTo>
                      <a:pt x="177" y="14"/>
                    </a:lnTo>
                    <a:lnTo>
                      <a:pt x="177" y="12"/>
                    </a:lnTo>
                    <a:lnTo>
                      <a:pt x="177" y="14"/>
                    </a:lnTo>
                    <a:lnTo>
                      <a:pt x="179" y="14"/>
                    </a:lnTo>
                    <a:lnTo>
                      <a:pt x="179" y="12"/>
                    </a:lnTo>
                    <a:lnTo>
                      <a:pt x="181" y="12"/>
                    </a:lnTo>
                    <a:lnTo>
                      <a:pt x="181" y="10"/>
                    </a:lnTo>
                    <a:lnTo>
                      <a:pt x="183" y="10"/>
                    </a:lnTo>
                    <a:lnTo>
                      <a:pt x="185" y="10"/>
                    </a:lnTo>
                    <a:lnTo>
                      <a:pt x="187" y="10"/>
                    </a:lnTo>
                    <a:lnTo>
                      <a:pt x="187" y="8"/>
                    </a:lnTo>
                    <a:lnTo>
                      <a:pt x="189" y="8"/>
                    </a:lnTo>
                    <a:lnTo>
                      <a:pt x="189" y="10"/>
                    </a:lnTo>
                    <a:lnTo>
                      <a:pt x="191" y="8"/>
                    </a:lnTo>
                    <a:lnTo>
                      <a:pt x="193" y="8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3" y="6"/>
                    </a:lnTo>
                    <a:lnTo>
                      <a:pt x="195" y="6"/>
                    </a:lnTo>
                    <a:lnTo>
                      <a:pt x="195" y="4"/>
                    </a:lnTo>
                    <a:lnTo>
                      <a:pt x="195" y="6"/>
                    </a:lnTo>
                    <a:lnTo>
                      <a:pt x="196" y="6"/>
                    </a:lnTo>
                    <a:lnTo>
                      <a:pt x="198" y="6"/>
                    </a:lnTo>
                    <a:lnTo>
                      <a:pt x="198" y="8"/>
                    </a:lnTo>
                    <a:lnTo>
                      <a:pt x="200" y="8"/>
                    </a:lnTo>
                    <a:lnTo>
                      <a:pt x="202" y="8"/>
                    </a:lnTo>
                    <a:lnTo>
                      <a:pt x="204" y="8"/>
                    </a:lnTo>
                    <a:lnTo>
                      <a:pt x="206" y="8"/>
                    </a:lnTo>
                    <a:lnTo>
                      <a:pt x="206" y="6"/>
                    </a:lnTo>
                    <a:lnTo>
                      <a:pt x="208" y="6"/>
                    </a:lnTo>
                    <a:lnTo>
                      <a:pt x="210" y="6"/>
                    </a:lnTo>
                    <a:lnTo>
                      <a:pt x="210" y="4"/>
                    </a:lnTo>
                    <a:lnTo>
                      <a:pt x="210" y="2"/>
                    </a:lnTo>
                    <a:lnTo>
                      <a:pt x="212" y="2"/>
                    </a:lnTo>
                    <a:lnTo>
                      <a:pt x="212" y="0"/>
                    </a:lnTo>
                    <a:lnTo>
                      <a:pt x="212" y="2"/>
                    </a:lnTo>
                    <a:lnTo>
                      <a:pt x="212" y="0"/>
                    </a:lnTo>
                    <a:lnTo>
                      <a:pt x="214" y="0"/>
                    </a:lnTo>
                    <a:lnTo>
                      <a:pt x="214" y="2"/>
                    </a:lnTo>
                    <a:lnTo>
                      <a:pt x="214" y="0"/>
                    </a:lnTo>
                    <a:lnTo>
                      <a:pt x="214" y="2"/>
                    </a:lnTo>
                    <a:lnTo>
                      <a:pt x="216" y="2"/>
                    </a:lnTo>
                    <a:lnTo>
                      <a:pt x="217" y="2"/>
                    </a:lnTo>
                    <a:lnTo>
                      <a:pt x="216" y="2"/>
                    </a:lnTo>
                    <a:lnTo>
                      <a:pt x="217" y="2"/>
                    </a:lnTo>
                    <a:lnTo>
                      <a:pt x="217" y="4"/>
                    </a:lnTo>
                    <a:lnTo>
                      <a:pt x="219" y="4"/>
                    </a:lnTo>
                    <a:lnTo>
                      <a:pt x="219" y="2"/>
                    </a:lnTo>
                    <a:lnTo>
                      <a:pt x="219" y="4"/>
                    </a:lnTo>
                    <a:lnTo>
                      <a:pt x="219" y="2"/>
                    </a:lnTo>
                    <a:lnTo>
                      <a:pt x="219" y="4"/>
                    </a:lnTo>
                    <a:lnTo>
                      <a:pt x="221" y="4"/>
                    </a:lnTo>
                    <a:lnTo>
                      <a:pt x="221" y="2"/>
                    </a:lnTo>
                    <a:lnTo>
                      <a:pt x="223" y="2"/>
                    </a:lnTo>
                    <a:lnTo>
                      <a:pt x="223" y="4"/>
                    </a:lnTo>
                    <a:lnTo>
                      <a:pt x="223" y="2"/>
                    </a:lnTo>
                    <a:lnTo>
                      <a:pt x="223" y="4"/>
                    </a:lnTo>
                    <a:lnTo>
                      <a:pt x="225" y="4"/>
                    </a:lnTo>
                    <a:lnTo>
                      <a:pt x="227" y="4"/>
                    </a:lnTo>
                    <a:lnTo>
                      <a:pt x="227" y="6"/>
                    </a:lnTo>
                    <a:lnTo>
                      <a:pt x="229" y="6"/>
                    </a:lnTo>
                    <a:lnTo>
                      <a:pt x="231" y="6"/>
                    </a:lnTo>
                    <a:lnTo>
                      <a:pt x="233" y="6"/>
                    </a:lnTo>
                    <a:lnTo>
                      <a:pt x="235" y="6"/>
                    </a:lnTo>
                    <a:lnTo>
                      <a:pt x="235" y="4"/>
                    </a:lnTo>
                    <a:lnTo>
                      <a:pt x="237" y="4"/>
                    </a:lnTo>
                    <a:lnTo>
                      <a:pt x="238" y="4"/>
                    </a:lnTo>
                    <a:lnTo>
                      <a:pt x="240" y="4"/>
                    </a:lnTo>
                    <a:lnTo>
                      <a:pt x="242" y="6"/>
                    </a:lnTo>
                    <a:close/>
                    <a:moveTo>
                      <a:pt x="11" y="180"/>
                    </a:moveTo>
                    <a:lnTo>
                      <a:pt x="13" y="180"/>
                    </a:lnTo>
                    <a:lnTo>
                      <a:pt x="11" y="180"/>
                    </a:lnTo>
                    <a:lnTo>
                      <a:pt x="11" y="181"/>
                    </a:lnTo>
                    <a:lnTo>
                      <a:pt x="10" y="181"/>
                    </a:lnTo>
                    <a:lnTo>
                      <a:pt x="10" y="180"/>
                    </a:lnTo>
                    <a:lnTo>
                      <a:pt x="11" y="180"/>
                    </a:lnTo>
                    <a:close/>
                    <a:moveTo>
                      <a:pt x="4" y="181"/>
                    </a:moveTo>
                    <a:lnTo>
                      <a:pt x="6" y="181"/>
                    </a:lnTo>
                    <a:lnTo>
                      <a:pt x="6" y="183"/>
                    </a:lnTo>
                    <a:lnTo>
                      <a:pt x="4" y="183"/>
                    </a:lnTo>
                    <a:lnTo>
                      <a:pt x="4" y="181"/>
                    </a:lnTo>
                    <a:close/>
                    <a:moveTo>
                      <a:pt x="11" y="180"/>
                    </a:moveTo>
                    <a:lnTo>
                      <a:pt x="13" y="180"/>
                    </a:lnTo>
                    <a:lnTo>
                      <a:pt x="11" y="180"/>
                    </a:lnTo>
                    <a:close/>
                    <a:moveTo>
                      <a:pt x="10" y="180"/>
                    </a:moveTo>
                    <a:lnTo>
                      <a:pt x="10" y="181"/>
                    </a:lnTo>
                    <a:lnTo>
                      <a:pt x="10" y="180"/>
                    </a:lnTo>
                    <a:close/>
                    <a:moveTo>
                      <a:pt x="6" y="181"/>
                    </a:moveTo>
                    <a:lnTo>
                      <a:pt x="8" y="181"/>
                    </a:lnTo>
                    <a:lnTo>
                      <a:pt x="8" y="183"/>
                    </a:lnTo>
                    <a:lnTo>
                      <a:pt x="6" y="183"/>
                    </a:lnTo>
                    <a:lnTo>
                      <a:pt x="6" y="18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7" name="Freeform 188">
                <a:extLst>
                  <a:ext uri="{FF2B5EF4-FFF2-40B4-BE49-F238E27FC236}">
                    <a16:creationId xmlns:a16="http://schemas.microsoft.com/office/drawing/2014/main" id="{4F674CBE-AB0E-DA3D-20FC-397B638B893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11849" y="-1966584"/>
                <a:ext cx="146530" cy="156276"/>
              </a:xfrm>
              <a:custGeom>
                <a:avLst/>
                <a:gdLst>
                  <a:gd name="T0" fmla="*/ 70 w 93"/>
                  <a:gd name="T1" fmla="*/ 7 h 99"/>
                  <a:gd name="T2" fmla="*/ 70 w 93"/>
                  <a:gd name="T3" fmla="*/ 9 h 99"/>
                  <a:gd name="T4" fmla="*/ 70 w 93"/>
                  <a:gd name="T5" fmla="*/ 15 h 99"/>
                  <a:gd name="T6" fmla="*/ 74 w 93"/>
                  <a:gd name="T7" fmla="*/ 17 h 99"/>
                  <a:gd name="T8" fmla="*/ 78 w 93"/>
                  <a:gd name="T9" fmla="*/ 17 h 99"/>
                  <a:gd name="T10" fmla="*/ 86 w 93"/>
                  <a:gd name="T11" fmla="*/ 15 h 99"/>
                  <a:gd name="T12" fmla="*/ 91 w 93"/>
                  <a:gd name="T13" fmla="*/ 19 h 99"/>
                  <a:gd name="T14" fmla="*/ 89 w 93"/>
                  <a:gd name="T15" fmla="*/ 28 h 99"/>
                  <a:gd name="T16" fmla="*/ 84 w 93"/>
                  <a:gd name="T17" fmla="*/ 30 h 99"/>
                  <a:gd name="T18" fmla="*/ 84 w 93"/>
                  <a:gd name="T19" fmla="*/ 38 h 99"/>
                  <a:gd name="T20" fmla="*/ 87 w 93"/>
                  <a:gd name="T21" fmla="*/ 44 h 99"/>
                  <a:gd name="T22" fmla="*/ 93 w 93"/>
                  <a:gd name="T23" fmla="*/ 48 h 99"/>
                  <a:gd name="T24" fmla="*/ 91 w 93"/>
                  <a:gd name="T25" fmla="*/ 55 h 99"/>
                  <a:gd name="T26" fmla="*/ 89 w 93"/>
                  <a:gd name="T27" fmla="*/ 63 h 99"/>
                  <a:gd name="T28" fmla="*/ 89 w 93"/>
                  <a:gd name="T29" fmla="*/ 69 h 99"/>
                  <a:gd name="T30" fmla="*/ 87 w 93"/>
                  <a:gd name="T31" fmla="*/ 70 h 99"/>
                  <a:gd name="T32" fmla="*/ 84 w 93"/>
                  <a:gd name="T33" fmla="*/ 76 h 99"/>
                  <a:gd name="T34" fmla="*/ 82 w 93"/>
                  <a:gd name="T35" fmla="*/ 72 h 99"/>
                  <a:gd name="T36" fmla="*/ 76 w 93"/>
                  <a:gd name="T37" fmla="*/ 74 h 99"/>
                  <a:gd name="T38" fmla="*/ 68 w 93"/>
                  <a:gd name="T39" fmla="*/ 72 h 99"/>
                  <a:gd name="T40" fmla="*/ 66 w 93"/>
                  <a:gd name="T41" fmla="*/ 67 h 99"/>
                  <a:gd name="T42" fmla="*/ 63 w 93"/>
                  <a:gd name="T43" fmla="*/ 65 h 99"/>
                  <a:gd name="T44" fmla="*/ 59 w 93"/>
                  <a:gd name="T45" fmla="*/ 69 h 99"/>
                  <a:gd name="T46" fmla="*/ 59 w 93"/>
                  <a:gd name="T47" fmla="*/ 74 h 99"/>
                  <a:gd name="T48" fmla="*/ 47 w 93"/>
                  <a:gd name="T49" fmla="*/ 76 h 99"/>
                  <a:gd name="T50" fmla="*/ 46 w 93"/>
                  <a:gd name="T51" fmla="*/ 80 h 99"/>
                  <a:gd name="T52" fmla="*/ 47 w 93"/>
                  <a:gd name="T53" fmla="*/ 86 h 99"/>
                  <a:gd name="T54" fmla="*/ 49 w 93"/>
                  <a:gd name="T55" fmla="*/ 93 h 99"/>
                  <a:gd name="T56" fmla="*/ 46 w 93"/>
                  <a:gd name="T57" fmla="*/ 91 h 99"/>
                  <a:gd name="T58" fmla="*/ 40 w 93"/>
                  <a:gd name="T59" fmla="*/ 97 h 99"/>
                  <a:gd name="T60" fmla="*/ 30 w 93"/>
                  <a:gd name="T61" fmla="*/ 90 h 99"/>
                  <a:gd name="T62" fmla="*/ 15 w 93"/>
                  <a:gd name="T63" fmla="*/ 74 h 99"/>
                  <a:gd name="T64" fmla="*/ 9 w 93"/>
                  <a:gd name="T65" fmla="*/ 63 h 99"/>
                  <a:gd name="T66" fmla="*/ 4 w 93"/>
                  <a:gd name="T67" fmla="*/ 55 h 99"/>
                  <a:gd name="T68" fmla="*/ 0 w 93"/>
                  <a:gd name="T69" fmla="*/ 46 h 99"/>
                  <a:gd name="T70" fmla="*/ 2 w 93"/>
                  <a:gd name="T71" fmla="*/ 49 h 99"/>
                  <a:gd name="T72" fmla="*/ 5 w 93"/>
                  <a:gd name="T73" fmla="*/ 48 h 99"/>
                  <a:gd name="T74" fmla="*/ 7 w 93"/>
                  <a:gd name="T75" fmla="*/ 46 h 99"/>
                  <a:gd name="T76" fmla="*/ 9 w 93"/>
                  <a:gd name="T77" fmla="*/ 36 h 99"/>
                  <a:gd name="T78" fmla="*/ 11 w 93"/>
                  <a:gd name="T79" fmla="*/ 32 h 99"/>
                  <a:gd name="T80" fmla="*/ 15 w 93"/>
                  <a:gd name="T81" fmla="*/ 34 h 99"/>
                  <a:gd name="T82" fmla="*/ 17 w 93"/>
                  <a:gd name="T83" fmla="*/ 34 h 99"/>
                  <a:gd name="T84" fmla="*/ 19 w 93"/>
                  <a:gd name="T85" fmla="*/ 34 h 99"/>
                  <a:gd name="T86" fmla="*/ 13 w 93"/>
                  <a:gd name="T87" fmla="*/ 30 h 99"/>
                  <a:gd name="T88" fmla="*/ 9 w 93"/>
                  <a:gd name="T89" fmla="*/ 27 h 99"/>
                  <a:gd name="T90" fmla="*/ 13 w 93"/>
                  <a:gd name="T91" fmla="*/ 28 h 99"/>
                  <a:gd name="T92" fmla="*/ 15 w 93"/>
                  <a:gd name="T93" fmla="*/ 28 h 99"/>
                  <a:gd name="T94" fmla="*/ 15 w 93"/>
                  <a:gd name="T95" fmla="*/ 19 h 99"/>
                  <a:gd name="T96" fmla="*/ 21 w 93"/>
                  <a:gd name="T97" fmla="*/ 21 h 99"/>
                  <a:gd name="T98" fmla="*/ 46 w 93"/>
                  <a:gd name="T99" fmla="*/ 0 h 99"/>
                  <a:gd name="T100" fmla="*/ 55 w 93"/>
                  <a:gd name="T101" fmla="*/ 0 h 99"/>
                  <a:gd name="T102" fmla="*/ 63 w 93"/>
                  <a:gd name="T103" fmla="*/ 2 h 99"/>
                  <a:gd name="T104" fmla="*/ 66 w 93"/>
                  <a:gd name="T105" fmla="*/ 0 h 99"/>
                  <a:gd name="T106" fmla="*/ 70 w 93"/>
                  <a:gd name="T107" fmla="*/ 0 h 99"/>
                  <a:gd name="T108" fmla="*/ 19 w 93"/>
                  <a:gd name="T109" fmla="*/ 3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3" h="99">
                    <a:moveTo>
                      <a:pt x="72" y="2"/>
                    </a:moveTo>
                    <a:lnTo>
                      <a:pt x="72" y="4"/>
                    </a:lnTo>
                    <a:lnTo>
                      <a:pt x="72" y="6"/>
                    </a:lnTo>
                    <a:lnTo>
                      <a:pt x="70" y="6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0" y="7"/>
                    </a:lnTo>
                    <a:lnTo>
                      <a:pt x="70" y="9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2" y="13"/>
                    </a:lnTo>
                    <a:lnTo>
                      <a:pt x="72" y="15"/>
                    </a:lnTo>
                    <a:lnTo>
                      <a:pt x="70" y="15"/>
                    </a:lnTo>
                    <a:lnTo>
                      <a:pt x="70" y="17"/>
                    </a:lnTo>
                    <a:lnTo>
                      <a:pt x="72" y="17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6" y="15"/>
                    </a:lnTo>
                    <a:lnTo>
                      <a:pt x="76" y="17"/>
                    </a:lnTo>
                    <a:lnTo>
                      <a:pt x="76" y="15"/>
                    </a:lnTo>
                    <a:lnTo>
                      <a:pt x="78" y="17"/>
                    </a:lnTo>
                    <a:lnTo>
                      <a:pt x="78" y="15"/>
                    </a:lnTo>
                    <a:lnTo>
                      <a:pt x="80" y="15"/>
                    </a:lnTo>
                    <a:lnTo>
                      <a:pt x="82" y="13"/>
                    </a:lnTo>
                    <a:lnTo>
                      <a:pt x="84" y="13"/>
                    </a:lnTo>
                    <a:lnTo>
                      <a:pt x="86" y="15"/>
                    </a:lnTo>
                    <a:lnTo>
                      <a:pt x="87" y="15"/>
                    </a:lnTo>
                    <a:lnTo>
                      <a:pt x="89" y="15"/>
                    </a:lnTo>
                    <a:lnTo>
                      <a:pt x="89" y="17"/>
                    </a:lnTo>
                    <a:lnTo>
                      <a:pt x="89" y="19"/>
                    </a:lnTo>
                    <a:lnTo>
                      <a:pt x="91" y="19"/>
                    </a:lnTo>
                    <a:lnTo>
                      <a:pt x="91" y="21"/>
                    </a:lnTo>
                    <a:lnTo>
                      <a:pt x="91" y="23"/>
                    </a:lnTo>
                    <a:lnTo>
                      <a:pt x="89" y="25"/>
                    </a:lnTo>
                    <a:lnTo>
                      <a:pt x="89" y="27"/>
                    </a:lnTo>
                    <a:lnTo>
                      <a:pt x="89" y="28"/>
                    </a:lnTo>
                    <a:lnTo>
                      <a:pt x="87" y="28"/>
                    </a:lnTo>
                    <a:lnTo>
                      <a:pt x="86" y="27"/>
                    </a:lnTo>
                    <a:lnTo>
                      <a:pt x="86" y="28"/>
                    </a:lnTo>
                    <a:lnTo>
                      <a:pt x="86" y="30"/>
                    </a:lnTo>
                    <a:lnTo>
                      <a:pt x="84" y="30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6" y="42"/>
                    </a:lnTo>
                    <a:lnTo>
                      <a:pt x="87" y="42"/>
                    </a:lnTo>
                    <a:lnTo>
                      <a:pt x="87" y="44"/>
                    </a:lnTo>
                    <a:lnTo>
                      <a:pt x="89" y="44"/>
                    </a:lnTo>
                    <a:lnTo>
                      <a:pt x="91" y="44"/>
                    </a:lnTo>
                    <a:lnTo>
                      <a:pt x="91" y="46"/>
                    </a:lnTo>
                    <a:lnTo>
                      <a:pt x="93" y="46"/>
                    </a:lnTo>
                    <a:lnTo>
                      <a:pt x="93" y="48"/>
                    </a:lnTo>
                    <a:lnTo>
                      <a:pt x="91" y="48"/>
                    </a:lnTo>
                    <a:lnTo>
                      <a:pt x="91" y="49"/>
                    </a:lnTo>
                    <a:lnTo>
                      <a:pt x="91" y="51"/>
                    </a:lnTo>
                    <a:lnTo>
                      <a:pt x="91" y="53"/>
                    </a:lnTo>
                    <a:lnTo>
                      <a:pt x="91" y="55"/>
                    </a:lnTo>
                    <a:lnTo>
                      <a:pt x="91" y="57"/>
                    </a:lnTo>
                    <a:lnTo>
                      <a:pt x="93" y="59"/>
                    </a:lnTo>
                    <a:lnTo>
                      <a:pt x="91" y="59"/>
                    </a:lnTo>
                    <a:lnTo>
                      <a:pt x="91" y="61"/>
                    </a:lnTo>
                    <a:lnTo>
                      <a:pt x="89" y="63"/>
                    </a:lnTo>
                    <a:lnTo>
                      <a:pt x="91" y="63"/>
                    </a:lnTo>
                    <a:lnTo>
                      <a:pt x="91" y="65"/>
                    </a:lnTo>
                    <a:lnTo>
                      <a:pt x="91" y="67"/>
                    </a:lnTo>
                    <a:lnTo>
                      <a:pt x="89" y="67"/>
                    </a:lnTo>
                    <a:lnTo>
                      <a:pt x="89" y="69"/>
                    </a:lnTo>
                    <a:lnTo>
                      <a:pt x="87" y="69"/>
                    </a:lnTo>
                    <a:lnTo>
                      <a:pt x="89" y="69"/>
                    </a:lnTo>
                    <a:lnTo>
                      <a:pt x="87" y="70"/>
                    </a:lnTo>
                    <a:lnTo>
                      <a:pt x="89" y="70"/>
                    </a:lnTo>
                    <a:lnTo>
                      <a:pt x="87" y="70"/>
                    </a:lnTo>
                    <a:lnTo>
                      <a:pt x="87" y="72"/>
                    </a:lnTo>
                    <a:lnTo>
                      <a:pt x="87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82" y="72"/>
                    </a:lnTo>
                    <a:lnTo>
                      <a:pt x="82" y="70"/>
                    </a:lnTo>
                    <a:lnTo>
                      <a:pt x="80" y="70"/>
                    </a:lnTo>
                    <a:lnTo>
                      <a:pt x="80" y="72"/>
                    </a:lnTo>
                    <a:lnTo>
                      <a:pt x="78" y="74"/>
                    </a:lnTo>
                    <a:lnTo>
                      <a:pt x="76" y="74"/>
                    </a:lnTo>
                    <a:lnTo>
                      <a:pt x="74" y="74"/>
                    </a:lnTo>
                    <a:lnTo>
                      <a:pt x="72" y="74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8" y="70"/>
                    </a:lnTo>
                    <a:lnTo>
                      <a:pt x="66" y="72"/>
                    </a:lnTo>
                    <a:lnTo>
                      <a:pt x="66" y="70"/>
                    </a:lnTo>
                    <a:lnTo>
                      <a:pt x="66" y="69"/>
                    </a:lnTo>
                    <a:lnTo>
                      <a:pt x="66" y="67"/>
                    </a:lnTo>
                    <a:lnTo>
                      <a:pt x="65" y="67"/>
                    </a:lnTo>
                    <a:lnTo>
                      <a:pt x="66" y="67"/>
                    </a:lnTo>
                    <a:lnTo>
                      <a:pt x="65" y="67"/>
                    </a:lnTo>
                    <a:lnTo>
                      <a:pt x="63" y="67"/>
                    </a:lnTo>
                    <a:lnTo>
                      <a:pt x="63" y="65"/>
                    </a:lnTo>
                    <a:lnTo>
                      <a:pt x="61" y="65"/>
                    </a:lnTo>
                    <a:lnTo>
                      <a:pt x="63" y="67"/>
                    </a:lnTo>
                    <a:lnTo>
                      <a:pt x="61" y="67"/>
                    </a:lnTo>
                    <a:lnTo>
                      <a:pt x="59" y="67"/>
                    </a:lnTo>
                    <a:lnTo>
                      <a:pt x="59" y="69"/>
                    </a:lnTo>
                    <a:lnTo>
                      <a:pt x="61" y="70"/>
                    </a:lnTo>
                    <a:lnTo>
                      <a:pt x="61" y="72"/>
                    </a:lnTo>
                    <a:lnTo>
                      <a:pt x="59" y="72"/>
                    </a:lnTo>
                    <a:lnTo>
                      <a:pt x="61" y="74"/>
                    </a:lnTo>
                    <a:lnTo>
                      <a:pt x="59" y="74"/>
                    </a:lnTo>
                    <a:lnTo>
                      <a:pt x="61" y="74"/>
                    </a:lnTo>
                    <a:lnTo>
                      <a:pt x="53" y="74"/>
                    </a:lnTo>
                    <a:lnTo>
                      <a:pt x="51" y="74"/>
                    </a:lnTo>
                    <a:lnTo>
                      <a:pt x="49" y="74"/>
                    </a:lnTo>
                    <a:lnTo>
                      <a:pt x="47" y="76"/>
                    </a:lnTo>
                    <a:lnTo>
                      <a:pt x="47" y="74"/>
                    </a:lnTo>
                    <a:lnTo>
                      <a:pt x="46" y="74"/>
                    </a:lnTo>
                    <a:lnTo>
                      <a:pt x="46" y="76"/>
                    </a:lnTo>
                    <a:lnTo>
                      <a:pt x="47" y="78"/>
                    </a:lnTo>
                    <a:lnTo>
                      <a:pt x="46" y="80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7" y="86"/>
                    </a:lnTo>
                    <a:lnTo>
                      <a:pt x="49" y="88"/>
                    </a:lnTo>
                    <a:lnTo>
                      <a:pt x="51" y="88"/>
                    </a:lnTo>
                    <a:lnTo>
                      <a:pt x="51" y="91"/>
                    </a:lnTo>
                    <a:lnTo>
                      <a:pt x="49" y="91"/>
                    </a:lnTo>
                    <a:lnTo>
                      <a:pt x="49" y="93"/>
                    </a:lnTo>
                    <a:lnTo>
                      <a:pt x="51" y="95"/>
                    </a:lnTo>
                    <a:lnTo>
                      <a:pt x="49" y="95"/>
                    </a:lnTo>
                    <a:lnTo>
                      <a:pt x="47" y="95"/>
                    </a:lnTo>
                    <a:lnTo>
                      <a:pt x="47" y="93"/>
                    </a:lnTo>
                    <a:lnTo>
                      <a:pt x="46" y="91"/>
                    </a:lnTo>
                    <a:lnTo>
                      <a:pt x="44" y="91"/>
                    </a:lnTo>
                    <a:lnTo>
                      <a:pt x="44" y="93"/>
                    </a:lnTo>
                    <a:lnTo>
                      <a:pt x="42" y="93"/>
                    </a:lnTo>
                    <a:lnTo>
                      <a:pt x="40" y="95"/>
                    </a:lnTo>
                    <a:lnTo>
                      <a:pt x="40" y="97"/>
                    </a:lnTo>
                    <a:lnTo>
                      <a:pt x="38" y="99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0" y="91"/>
                    </a:lnTo>
                    <a:lnTo>
                      <a:pt x="30" y="90"/>
                    </a:lnTo>
                    <a:lnTo>
                      <a:pt x="28" y="88"/>
                    </a:lnTo>
                    <a:lnTo>
                      <a:pt x="26" y="86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15" y="74"/>
                    </a:lnTo>
                    <a:lnTo>
                      <a:pt x="13" y="74"/>
                    </a:lnTo>
                    <a:lnTo>
                      <a:pt x="13" y="72"/>
                    </a:lnTo>
                    <a:lnTo>
                      <a:pt x="9" y="67"/>
                    </a:lnTo>
                    <a:lnTo>
                      <a:pt x="9" y="65"/>
                    </a:lnTo>
                    <a:lnTo>
                      <a:pt x="9" y="63"/>
                    </a:lnTo>
                    <a:lnTo>
                      <a:pt x="7" y="61"/>
                    </a:lnTo>
                    <a:lnTo>
                      <a:pt x="5" y="57"/>
                    </a:lnTo>
                    <a:lnTo>
                      <a:pt x="4" y="57"/>
                    </a:lnTo>
                    <a:lnTo>
                      <a:pt x="5" y="57"/>
                    </a:lnTo>
                    <a:lnTo>
                      <a:pt x="4" y="55"/>
                    </a:lnTo>
                    <a:lnTo>
                      <a:pt x="2" y="53"/>
                    </a:lnTo>
                    <a:lnTo>
                      <a:pt x="2" y="51"/>
                    </a:lnTo>
                    <a:lnTo>
                      <a:pt x="4" y="53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9"/>
                    </a:lnTo>
                    <a:lnTo>
                      <a:pt x="4" y="49"/>
                    </a:lnTo>
                    <a:lnTo>
                      <a:pt x="2" y="49"/>
                    </a:lnTo>
                    <a:lnTo>
                      <a:pt x="2" y="48"/>
                    </a:lnTo>
                    <a:lnTo>
                      <a:pt x="4" y="49"/>
                    </a:lnTo>
                    <a:lnTo>
                      <a:pt x="4" y="48"/>
                    </a:lnTo>
                    <a:lnTo>
                      <a:pt x="5" y="46"/>
                    </a:lnTo>
                    <a:lnTo>
                      <a:pt x="5" y="48"/>
                    </a:lnTo>
                    <a:lnTo>
                      <a:pt x="5" y="49"/>
                    </a:lnTo>
                    <a:lnTo>
                      <a:pt x="5" y="48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7" y="46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9" y="32"/>
                    </a:lnTo>
                    <a:lnTo>
                      <a:pt x="9" y="30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3" y="34"/>
                    </a:lnTo>
                    <a:lnTo>
                      <a:pt x="15" y="36"/>
                    </a:lnTo>
                    <a:lnTo>
                      <a:pt x="13" y="34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7" y="34"/>
                    </a:lnTo>
                    <a:lnTo>
                      <a:pt x="19" y="34"/>
                    </a:lnTo>
                    <a:lnTo>
                      <a:pt x="21" y="34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19" y="34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5" y="32"/>
                    </a:lnTo>
                    <a:lnTo>
                      <a:pt x="13" y="32"/>
                    </a:lnTo>
                    <a:lnTo>
                      <a:pt x="13" y="30"/>
                    </a:lnTo>
                    <a:lnTo>
                      <a:pt x="13" y="32"/>
                    </a:lnTo>
                    <a:lnTo>
                      <a:pt x="11" y="30"/>
                    </a:lnTo>
                    <a:lnTo>
                      <a:pt x="11" y="28"/>
                    </a:lnTo>
                    <a:lnTo>
                      <a:pt x="9" y="28"/>
                    </a:lnTo>
                    <a:lnTo>
                      <a:pt x="9" y="27"/>
                    </a:lnTo>
                    <a:lnTo>
                      <a:pt x="11" y="27"/>
                    </a:lnTo>
                    <a:lnTo>
                      <a:pt x="13" y="27"/>
                    </a:lnTo>
                    <a:lnTo>
                      <a:pt x="11" y="27"/>
                    </a:lnTo>
                    <a:lnTo>
                      <a:pt x="13" y="27"/>
                    </a:lnTo>
                    <a:lnTo>
                      <a:pt x="13" y="28"/>
                    </a:lnTo>
                    <a:lnTo>
                      <a:pt x="13" y="27"/>
                    </a:lnTo>
                    <a:lnTo>
                      <a:pt x="13" y="28"/>
                    </a:lnTo>
                    <a:lnTo>
                      <a:pt x="15" y="28"/>
                    </a:lnTo>
                    <a:lnTo>
                      <a:pt x="13" y="28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7" y="19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21" y="21"/>
                    </a:lnTo>
                    <a:lnTo>
                      <a:pt x="42" y="21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51" y="0"/>
                    </a:lnTo>
                    <a:lnTo>
                      <a:pt x="53" y="0"/>
                    </a:lnTo>
                    <a:lnTo>
                      <a:pt x="55" y="0"/>
                    </a:lnTo>
                    <a:lnTo>
                      <a:pt x="57" y="0"/>
                    </a:lnTo>
                    <a:lnTo>
                      <a:pt x="59" y="0"/>
                    </a:lnTo>
                    <a:lnTo>
                      <a:pt x="61" y="0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6" y="2"/>
                    </a:lnTo>
                    <a:lnTo>
                      <a:pt x="66" y="0"/>
                    </a:lnTo>
                    <a:lnTo>
                      <a:pt x="66" y="2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70" y="0"/>
                    </a:lnTo>
                    <a:lnTo>
                      <a:pt x="72" y="0"/>
                    </a:lnTo>
                    <a:lnTo>
                      <a:pt x="72" y="2"/>
                    </a:lnTo>
                    <a:close/>
                    <a:moveTo>
                      <a:pt x="19" y="34"/>
                    </a:moveTo>
                    <a:lnTo>
                      <a:pt x="21" y="34"/>
                    </a:lnTo>
                    <a:lnTo>
                      <a:pt x="19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8" name="Freeform 189">
                <a:extLst>
                  <a:ext uri="{FF2B5EF4-FFF2-40B4-BE49-F238E27FC236}">
                    <a16:creationId xmlns:a16="http://schemas.microsoft.com/office/drawing/2014/main" id="{AFFB9C7E-1714-DAF4-D876-F2F92DDC4C3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85903" y="-1797681"/>
                <a:ext cx="310390" cy="348858"/>
              </a:xfrm>
              <a:custGeom>
                <a:avLst/>
                <a:gdLst>
                  <a:gd name="T0" fmla="*/ 197 w 197"/>
                  <a:gd name="T1" fmla="*/ 114 h 221"/>
                  <a:gd name="T2" fmla="*/ 197 w 197"/>
                  <a:gd name="T3" fmla="*/ 129 h 221"/>
                  <a:gd name="T4" fmla="*/ 189 w 197"/>
                  <a:gd name="T5" fmla="*/ 139 h 221"/>
                  <a:gd name="T6" fmla="*/ 168 w 197"/>
                  <a:gd name="T7" fmla="*/ 196 h 221"/>
                  <a:gd name="T8" fmla="*/ 176 w 197"/>
                  <a:gd name="T9" fmla="*/ 206 h 221"/>
                  <a:gd name="T10" fmla="*/ 183 w 197"/>
                  <a:gd name="T11" fmla="*/ 213 h 221"/>
                  <a:gd name="T12" fmla="*/ 153 w 197"/>
                  <a:gd name="T13" fmla="*/ 219 h 221"/>
                  <a:gd name="T14" fmla="*/ 143 w 197"/>
                  <a:gd name="T15" fmla="*/ 221 h 221"/>
                  <a:gd name="T16" fmla="*/ 130 w 197"/>
                  <a:gd name="T17" fmla="*/ 219 h 221"/>
                  <a:gd name="T18" fmla="*/ 122 w 197"/>
                  <a:gd name="T19" fmla="*/ 217 h 221"/>
                  <a:gd name="T20" fmla="*/ 111 w 197"/>
                  <a:gd name="T21" fmla="*/ 213 h 221"/>
                  <a:gd name="T22" fmla="*/ 40 w 197"/>
                  <a:gd name="T23" fmla="*/ 211 h 221"/>
                  <a:gd name="T24" fmla="*/ 27 w 197"/>
                  <a:gd name="T25" fmla="*/ 204 h 221"/>
                  <a:gd name="T26" fmla="*/ 18 w 197"/>
                  <a:gd name="T27" fmla="*/ 208 h 221"/>
                  <a:gd name="T28" fmla="*/ 4 w 197"/>
                  <a:gd name="T29" fmla="*/ 208 h 221"/>
                  <a:gd name="T30" fmla="*/ 2 w 197"/>
                  <a:gd name="T31" fmla="*/ 194 h 221"/>
                  <a:gd name="T32" fmla="*/ 2 w 197"/>
                  <a:gd name="T33" fmla="*/ 185 h 221"/>
                  <a:gd name="T34" fmla="*/ 8 w 197"/>
                  <a:gd name="T35" fmla="*/ 173 h 221"/>
                  <a:gd name="T36" fmla="*/ 12 w 197"/>
                  <a:gd name="T37" fmla="*/ 162 h 221"/>
                  <a:gd name="T38" fmla="*/ 14 w 197"/>
                  <a:gd name="T39" fmla="*/ 152 h 221"/>
                  <a:gd name="T40" fmla="*/ 16 w 197"/>
                  <a:gd name="T41" fmla="*/ 141 h 221"/>
                  <a:gd name="T42" fmla="*/ 23 w 197"/>
                  <a:gd name="T43" fmla="*/ 133 h 221"/>
                  <a:gd name="T44" fmla="*/ 29 w 197"/>
                  <a:gd name="T45" fmla="*/ 128 h 221"/>
                  <a:gd name="T46" fmla="*/ 33 w 197"/>
                  <a:gd name="T47" fmla="*/ 114 h 221"/>
                  <a:gd name="T48" fmla="*/ 29 w 197"/>
                  <a:gd name="T49" fmla="*/ 95 h 221"/>
                  <a:gd name="T50" fmla="*/ 23 w 197"/>
                  <a:gd name="T51" fmla="*/ 80 h 221"/>
                  <a:gd name="T52" fmla="*/ 21 w 197"/>
                  <a:gd name="T53" fmla="*/ 74 h 221"/>
                  <a:gd name="T54" fmla="*/ 27 w 197"/>
                  <a:gd name="T55" fmla="*/ 65 h 221"/>
                  <a:gd name="T56" fmla="*/ 21 w 197"/>
                  <a:gd name="T57" fmla="*/ 53 h 221"/>
                  <a:gd name="T58" fmla="*/ 14 w 197"/>
                  <a:gd name="T59" fmla="*/ 36 h 221"/>
                  <a:gd name="T60" fmla="*/ 18 w 197"/>
                  <a:gd name="T61" fmla="*/ 26 h 221"/>
                  <a:gd name="T62" fmla="*/ 23 w 197"/>
                  <a:gd name="T63" fmla="*/ 24 h 221"/>
                  <a:gd name="T64" fmla="*/ 33 w 197"/>
                  <a:gd name="T65" fmla="*/ 23 h 221"/>
                  <a:gd name="T66" fmla="*/ 48 w 197"/>
                  <a:gd name="T67" fmla="*/ 23 h 221"/>
                  <a:gd name="T68" fmla="*/ 79 w 197"/>
                  <a:gd name="T69" fmla="*/ 24 h 221"/>
                  <a:gd name="T70" fmla="*/ 81 w 197"/>
                  <a:gd name="T71" fmla="*/ 36 h 221"/>
                  <a:gd name="T72" fmla="*/ 84 w 197"/>
                  <a:gd name="T73" fmla="*/ 44 h 221"/>
                  <a:gd name="T74" fmla="*/ 90 w 197"/>
                  <a:gd name="T75" fmla="*/ 51 h 221"/>
                  <a:gd name="T76" fmla="*/ 94 w 197"/>
                  <a:gd name="T77" fmla="*/ 57 h 221"/>
                  <a:gd name="T78" fmla="*/ 103 w 197"/>
                  <a:gd name="T79" fmla="*/ 57 h 221"/>
                  <a:gd name="T80" fmla="*/ 122 w 197"/>
                  <a:gd name="T81" fmla="*/ 57 h 221"/>
                  <a:gd name="T82" fmla="*/ 124 w 197"/>
                  <a:gd name="T83" fmla="*/ 45 h 221"/>
                  <a:gd name="T84" fmla="*/ 142 w 197"/>
                  <a:gd name="T85" fmla="*/ 44 h 221"/>
                  <a:gd name="T86" fmla="*/ 161 w 197"/>
                  <a:gd name="T87" fmla="*/ 53 h 221"/>
                  <a:gd name="T88" fmla="*/ 164 w 197"/>
                  <a:gd name="T89" fmla="*/ 65 h 221"/>
                  <a:gd name="T90" fmla="*/ 161 w 197"/>
                  <a:gd name="T91" fmla="*/ 78 h 221"/>
                  <a:gd name="T92" fmla="*/ 164 w 197"/>
                  <a:gd name="T93" fmla="*/ 87 h 221"/>
                  <a:gd name="T94" fmla="*/ 170 w 197"/>
                  <a:gd name="T95" fmla="*/ 99 h 221"/>
                  <a:gd name="T96" fmla="*/ 168 w 197"/>
                  <a:gd name="T97" fmla="*/ 108 h 221"/>
                  <a:gd name="T98" fmla="*/ 176 w 197"/>
                  <a:gd name="T99" fmla="*/ 107 h 221"/>
                  <a:gd name="T100" fmla="*/ 191 w 197"/>
                  <a:gd name="T101" fmla="*/ 105 h 221"/>
                  <a:gd name="T102" fmla="*/ 21 w 197"/>
                  <a:gd name="T103" fmla="*/ 4 h 221"/>
                  <a:gd name="T104" fmla="*/ 16 w 197"/>
                  <a:gd name="T105" fmla="*/ 9 h 221"/>
                  <a:gd name="T106" fmla="*/ 10 w 197"/>
                  <a:gd name="T107" fmla="*/ 21 h 221"/>
                  <a:gd name="T108" fmla="*/ 8 w 197"/>
                  <a:gd name="T109" fmla="*/ 7 h 221"/>
                  <a:gd name="T110" fmla="*/ 19 w 197"/>
                  <a:gd name="T111" fmla="*/ 0 h 221"/>
                  <a:gd name="T112" fmla="*/ 0 w 197"/>
                  <a:gd name="T113" fmla="*/ 196 h 221"/>
                  <a:gd name="T114" fmla="*/ 18 w 197"/>
                  <a:gd name="T115" fmla="*/ 24 h 221"/>
                  <a:gd name="T116" fmla="*/ 19 w 197"/>
                  <a:gd name="T117" fmla="*/ 26 h 221"/>
                  <a:gd name="T118" fmla="*/ 18 w 197"/>
                  <a:gd name="T119" fmla="*/ 24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7" h="221">
                    <a:moveTo>
                      <a:pt x="197" y="103"/>
                    </a:moveTo>
                    <a:lnTo>
                      <a:pt x="197" y="105"/>
                    </a:lnTo>
                    <a:lnTo>
                      <a:pt x="197" y="107"/>
                    </a:lnTo>
                    <a:lnTo>
                      <a:pt x="197" y="108"/>
                    </a:lnTo>
                    <a:lnTo>
                      <a:pt x="197" y="110"/>
                    </a:lnTo>
                    <a:lnTo>
                      <a:pt x="197" y="112"/>
                    </a:lnTo>
                    <a:lnTo>
                      <a:pt x="197" y="114"/>
                    </a:lnTo>
                    <a:lnTo>
                      <a:pt x="195" y="116"/>
                    </a:lnTo>
                    <a:lnTo>
                      <a:pt x="197" y="116"/>
                    </a:lnTo>
                    <a:lnTo>
                      <a:pt x="197" y="120"/>
                    </a:lnTo>
                    <a:lnTo>
                      <a:pt x="197" y="124"/>
                    </a:lnTo>
                    <a:lnTo>
                      <a:pt x="197" y="126"/>
                    </a:lnTo>
                    <a:lnTo>
                      <a:pt x="197" y="128"/>
                    </a:lnTo>
                    <a:lnTo>
                      <a:pt x="197" y="129"/>
                    </a:lnTo>
                    <a:lnTo>
                      <a:pt x="195" y="131"/>
                    </a:lnTo>
                    <a:lnTo>
                      <a:pt x="195" y="133"/>
                    </a:lnTo>
                    <a:lnTo>
                      <a:pt x="195" y="135"/>
                    </a:lnTo>
                    <a:lnTo>
                      <a:pt x="195" y="137"/>
                    </a:lnTo>
                    <a:lnTo>
                      <a:pt x="197" y="137"/>
                    </a:lnTo>
                    <a:lnTo>
                      <a:pt x="197" y="139"/>
                    </a:lnTo>
                    <a:lnTo>
                      <a:pt x="189" y="139"/>
                    </a:lnTo>
                    <a:lnTo>
                      <a:pt x="164" y="139"/>
                    </a:lnTo>
                    <a:lnTo>
                      <a:pt x="164" y="162"/>
                    </a:lnTo>
                    <a:lnTo>
                      <a:pt x="164" y="190"/>
                    </a:lnTo>
                    <a:lnTo>
                      <a:pt x="166" y="192"/>
                    </a:lnTo>
                    <a:lnTo>
                      <a:pt x="166" y="194"/>
                    </a:lnTo>
                    <a:lnTo>
                      <a:pt x="166" y="196"/>
                    </a:lnTo>
                    <a:lnTo>
                      <a:pt x="168" y="196"/>
                    </a:lnTo>
                    <a:lnTo>
                      <a:pt x="168" y="198"/>
                    </a:lnTo>
                    <a:lnTo>
                      <a:pt x="170" y="198"/>
                    </a:lnTo>
                    <a:lnTo>
                      <a:pt x="172" y="200"/>
                    </a:lnTo>
                    <a:lnTo>
                      <a:pt x="172" y="202"/>
                    </a:lnTo>
                    <a:lnTo>
                      <a:pt x="174" y="202"/>
                    </a:lnTo>
                    <a:lnTo>
                      <a:pt x="176" y="204"/>
                    </a:lnTo>
                    <a:lnTo>
                      <a:pt x="176" y="206"/>
                    </a:lnTo>
                    <a:lnTo>
                      <a:pt x="178" y="206"/>
                    </a:lnTo>
                    <a:lnTo>
                      <a:pt x="178" y="208"/>
                    </a:lnTo>
                    <a:lnTo>
                      <a:pt x="180" y="208"/>
                    </a:lnTo>
                    <a:lnTo>
                      <a:pt x="182" y="210"/>
                    </a:lnTo>
                    <a:lnTo>
                      <a:pt x="182" y="211"/>
                    </a:lnTo>
                    <a:lnTo>
                      <a:pt x="183" y="211"/>
                    </a:lnTo>
                    <a:lnTo>
                      <a:pt x="183" y="213"/>
                    </a:lnTo>
                    <a:lnTo>
                      <a:pt x="185" y="213"/>
                    </a:lnTo>
                    <a:lnTo>
                      <a:pt x="187" y="213"/>
                    </a:lnTo>
                    <a:lnTo>
                      <a:pt x="187" y="215"/>
                    </a:lnTo>
                    <a:lnTo>
                      <a:pt x="170" y="217"/>
                    </a:lnTo>
                    <a:lnTo>
                      <a:pt x="155" y="221"/>
                    </a:lnTo>
                    <a:lnTo>
                      <a:pt x="153" y="221"/>
                    </a:lnTo>
                    <a:lnTo>
                      <a:pt x="153" y="219"/>
                    </a:lnTo>
                    <a:lnTo>
                      <a:pt x="151" y="219"/>
                    </a:lnTo>
                    <a:lnTo>
                      <a:pt x="149" y="219"/>
                    </a:lnTo>
                    <a:lnTo>
                      <a:pt x="147" y="219"/>
                    </a:lnTo>
                    <a:lnTo>
                      <a:pt x="145" y="221"/>
                    </a:lnTo>
                    <a:lnTo>
                      <a:pt x="147" y="221"/>
                    </a:lnTo>
                    <a:lnTo>
                      <a:pt x="145" y="221"/>
                    </a:lnTo>
                    <a:lnTo>
                      <a:pt x="143" y="221"/>
                    </a:lnTo>
                    <a:lnTo>
                      <a:pt x="142" y="221"/>
                    </a:lnTo>
                    <a:lnTo>
                      <a:pt x="140" y="219"/>
                    </a:lnTo>
                    <a:lnTo>
                      <a:pt x="138" y="219"/>
                    </a:lnTo>
                    <a:lnTo>
                      <a:pt x="136" y="219"/>
                    </a:lnTo>
                    <a:lnTo>
                      <a:pt x="134" y="219"/>
                    </a:lnTo>
                    <a:lnTo>
                      <a:pt x="132" y="219"/>
                    </a:lnTo>
                    <a:lnTo>
                      <a:pt x="130" y="219"/>
                    </a:lnTo>
                    <a:lnTo>
                      <a:pt x="128" y="219"/>
                    </a:lnTo>
                    <a:lnTo>
                      <a:pt x="126" y="219"/>
                    </a:lnTo>
                    <a:lnTo>
                      <a:pt x="124" y="219"/>
                    </a:lnTo>
                    <a:lnTo>
                      <a:pt x="122" y="219"/>
                    </a:lnTo>
                    <a:lnTo>
                      <a:pt x="122" y="217"/>
                    </a:lnTo>
                    <a:lnTo>
                      <a:pt x="122" y="219"/>
                    </a:lnTo>
                    <a:lnTo>
                      <a:pt x="122" y="217"/>
                    </a:lnTo>
                    <a:lnTo>
                      <a:pt x="121" y="217"/>
                    </a:lnTo>
                    <a:lnTo>
                      <a:pt x="119" y="217"/>
                    </a:lnTo>
                    <a:lnTo>
                      <a:pt x="115" y="217"/>
                    </a:lnTo>
                    <a:lnTo>
                      <a:pt x="113" y="217"/>
                    </a:lnTo>
                    <a:lnTo>
                      <a:pt x="113" y="215"/>
                    </a:lnTo>
                    <a:lnTo>
                      <a:pt x="111" y="215"/>
                    </a:lnTo>
                    <a:lnTo>
                      <a:pt x="111" y="213"/>
                    </a:lnTo>
                    <a:lnTo>
                      <a:pt x="109" y="213"/>
                    </a:lnTo>
                    <a:lnTo>
                      <a:pt x="109" y="211"/>
                    </a:lnTo>
                    <a:lnTo>
                      <a:pt x="107" y="210"/>
                    </a:lnTo>
                    <a:lnTo>
                      <a:pt x="92" y="210"/>
                    </a:lnTo>
                    <a:lnTo>
                      <a:pt x="71" y="210"/>
                    </a:lnTo>
                    <a:lnTo>
                      <a:pt x="56" y="210"/>
                    </a:lnTo>
                    <a:lnTo>
                      <a:pt x="40" y="211"/>
                    </a:lnTo>
                    <a:lnTo>
                      <a:pt x="39" y="211"/>
                    </a:lnTo>
                    <a:lnTo>
                      <a:pt x="37" y="211"/>
                    </a:lnTo>
                    <a:lnTo>
                      <a:pt x="35" y="210"/>
                    </a:lnTo>
                    <a:lnTo>
                      <a:pt x="33" y="208"/>
                    </a:lnTo>
                    <a:lnTo>
                      <a:pt x="29" y="206"/>
                    </a:lnTo>
                    <a:lnTo>
                      <a:pt x="29" y="204"/>
                    </a:lnTo>
                    <a:lnTo>
                      <a:pt x="27" y="204"/>
                    </a:lnTo>
                    <a:lnTo>
                      <a:pt x="25" y="204"/>
                    </a:lnTo>
                    <a:lnTo>
                      <a:pt x="23" y="204"/>
                    </a:lnTo>
                    <a:lnTo>
                      <a:pt x="21" y="204"/>
                    </a:lnTo>
                    <a:lnTo>
                      <a:pt x="19" y="204"/>
                    </a:lnTo>
                    <a:lnTo>
                      <a:pt x="19" y="206"/>
                    </a:lnTo>
                    <a:lnTo>
                      <a:pt x="18" y="206"/>
                    </a:lnTo>
                    <a:lnTo>
                      <a:pt x="18" y="208"/>
                    </a:lnTo>
                    <a:lnTo>
                      <a:pt x="16" y="208"/>
                    </a:lnTo>
                    <a:lnTo>
                      <a:pt x="14" y="208"/>
                    </a:lnTo>
                    <a:lnTo>
                      <a:pt x="12" y="208"/>
                    </a:lnTo>
                    <a:lnTo>
                      <a:pt x="10" y="208"/>
                    </a:lnTo>
                    <a:lnTo>
                      <a:pt x="8" y="208"/>
                    </a:lnTo>
                    <a:lnTo>
                      <a:pt x="6" y="206"/>
                    </a:lnTo>
                    <a:lnTo>
                      <a:pt x="4" y="208"/>
                    </a:lnTo>
                    <a:lnTo>
                      <a:pt x="2" y="208"/>
                    </a:lnTo>
                    <a:lnTo>
                      <a:pt x="2" y="204"/>
                    </a:lnTo>
                    <a:lnTo>
                      <a:pt x="2" y="202"/>
                    </a:lnTo>
                    <a:lnTo>
                      <a:pt x="2" y="200"/>
                    </a:lnTo>
                    <a:lnTo>
                      <a:pt x="2" y="202"/>
                    </a:lnTo>
                    <a:lnTo>
                      <a:pt x="2" y="200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2" y="189"/>
                    </a:lnTo>
                    <a:lnTo>
                      <a:pt x="0" y="187"/>
                    </a:lnTo>
                    <a:lnTo>
                      <a:pt x="0" y="185"/>
                    </a:lnTo>
                    <a:lnTo>
                      <a:pt x="2" y="185"/>
                    </a:lnTo>
                    <a:lnTo>
                      <a:pt x="2" y="183"/>
                    </a:lnTo>
                    <a:lnTo>
                      <a:pt x="2" y="185"/>
                    </a:lnTo>
                    <a:lnTo>
                      <a:pt x="4" y="185"/>
                    </a:lnTo>
                    <a:lnTo>
                      <a:pt x="4" y="183"/>
                    </a:lnTo>
                    <a:lnTo>
                      <a:pt x="6" y="181"/>
                    </a:lnTo>
                    <a:lnTo>
                      <a:pt x="6" y="177"/>
                    </a:lnTo>
                    <a:lnTo>
                      <a:pt x="6" y="175"/>
                    </a:lnTo>
                    <a:lnTo>
                      <a:pt x="6" y="173"/>
                    </a:lnTo>
                    <a:lnTo>
                      <a:pt x="8" y="173"/>
                    </a:lnTo>
                    <a:lnTo>
                      <a:pt x="8" y="171"/>
                    </a:lnTo>
                    <a:lnTo>
                      <a:pt x="8" y="170"/>
                    </a:lnTo>
                    <a:lnTo>
                      <a:pt x="8" y="168"/>
                    </a:lnTo>
                    <a:lnTo>
                      <a:pt x="10" y="168"/>
                    </a:lnTo>
                    <a:lnTo>
                      <a:pt x="10" y="166"/>
                    </a:lnTo>
                    <a:lnTo>
                      <a:pt x="10" y="164"/>
                    </a:lnTo>
                    <a:lnTo>
                      <a:pt x="12" y="162"/>
                    </a:lnTo>
                    <a:lnTo>
                      <a:pt x="12" y="160"/>
                    </a:lnTo>
                    <a:lnTo>
                      <a:pt x="10" y="158"/>
                    </a:lnTo>
                    <a:lnTo>
                      <a:pt x="12" y="158"/>
                    </a:lnTo>
                    <a:lnTo>
                      <a:pt x="12" y="156"/>
                    </a:lnTo>
                    <a:lnTo>
                      <a:pt x="12" y="154"/>
                    </a:lnTo>
                    <a:lnTo>
                      <a:pt x="12" y="152"/>
                    </a:lnTo>
                    <a:lnTo>
                      <a:pt x="14" y="152"/>
                    </a:lnTo>
                    <a:lnTo>
                      <a:pt x="14" y="150"/>
                    </a:lnTo>
                    <a:lnTo>
                      <a:pt x="14" y="149"/>
                    </a:lnTo>
                    <a:lnTo>
                      <a:pt x="14" y="147"/>
                    </a:lnTo>
                    <a:lnTo>
                      <a:pt x="14" y="145"/>
                    </a:lnTo>
                    <a:lnTo>
                      <a:pt x="16" y="145"/>
                    </a:lnTo>
                    <a:lnTo>
                      <a:pt x="16" y="143"/>
                    </a:lnTo>
                    <a:lnTo>
                      <a:pt x="16" y="141"/>
                    </a:lnTo>
                    <a:lnTo>
                      <a:pt x="18" y="143"/>
                    </a:lnTo>
                    <a:lnTo>
                      <a:pt x="18" y="141"/>
                    </a:lnTo>
                    <a:lnTo>
                      <a:pt x="19" y="141"/>
                    </a:lnTo>
                    <a:lnTo>
                      <a:pt x="19" y="139"/>
                    </a:lnTo>
                    <a:lnTo>
                      <a:pt x="21" y="137"/>
                    </a:lnTo>
                    <a:lnTo>
                      <a:pt x="19" y="135"/>
                    </a:lnTo>
                    <a:lnTo>
                      <a:pt x="23" y="133"/>
                    </a:lnTo>
                    <a:lnTo>
                      <a:pt x="23" y="131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9" y="129"/>
                    </a:lnTo>
                    <a:lnTo>
                      <a:pt x="29" y="128"/>
                    </a:lnTo>
                    <a:lnTo>
                      <a:pt x="31" y="128"/>
                    </a:lnTo>
                    <a:lnTo>
                      <a:pt x="29" y="128"/>
                    </a:lnTo>
                    <a:lnTo>
                      <a:pt x="31" y="128"/>
                    </a:lnTo>
                    <a:lnTo>
                      <a:pt x="31" y="126"/>
                    </a:lnTo>
                    <a:lnTo>
                      <a:pt x="33" y="124"/>
                    </a:lnTo>
                    <a:lnTo>
                      <a:pt x="33" y="122"/>
                    </a:lnTo>
                    <a:lnTo>
                      <a:pt x="35" y="118"/>
                    </a:lnTo>
                    <a:lnTo>
                      <a:pt x="33" y="116"/>
                    </a:lnTo>
                    <a:lnTo>
                      <a:pt x="33" y="114"/>
                    </a:lnTo>
                    <a:lnTo>
                      <a:pt x="35" y="112"/>
                    </a:lnTo>
                    <a:lnTo>
                      <a:pt x="35" y="110"/>
                    </a:lnTo>
                    <a:lnTo>
                      <a:pt x="35" y="107"/>
                    </a:lnTo>
                    <a:lnTo>
                      <a:pt x="35" y="105"/>
                    </a:lnTo>
                    <a:lnTo>
                      <a:pt x="33" y="101"/>
                    </a:lnTo>
                    <a:lnTo>
                      <a:pt x="31" y="97"/>
                    </a:lnTo>
                    <a:lnTo>
                      <a:pt x="29" y="95"/>
                    </a:lnTo>
                    <a:lnTo>
                      <a:pt x="29" y="93"/>
                    </a:lnTo>
                    <a:lnTo>
                      <a:pt x="29" y="91"/>
                    </a:lnTo>
                    <a:lnTo>
                      <a:pt x="27" y="89"/>
                    </a:lnTo>
                    <a:lnTo>
                      <a:pt x="27" y="87"/>
                    </a:lnTo>
                    <a:lnTo>
                      <a:pt x="25" y="84"/>
                    </a:lnTo>
                    <a:lnTo>
                      <a:pt x="25" y="82"/>
                    </a:lnTo>
                    <a:lnTo>
                      <a:pt x="23" y="80"/>
                    </a:lnTo>
                    <a:lnTo>
                      <a:pt x="23" y="78"/>
                    </a:lnTo>
                    <a:lnTo>
                      <a:pt x="21" y="74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3" y="72"/>
                    </a:lnTo>
                    <a:lnTo>
                      <a:pt x="21" y="72"/>
                    </a:lnTo>
                    <a:lnTo>
                      <a:pt x="21" y="74"/>
                    </a:lnTo>
                    <a:lnTo>
                      <a:pt x="23" y="72"/>
                    </a:lnTo>
                    <a:lnTo>
                      <a:pt x="25" y="70"/>
                    </a:lnTo>
                    <a:lnTo>
                      <a:pt x="25" y="68"/>
                    </a:lnTo>
                    <a:lnTo>
                      <a:pt x="27" y="70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5" y="61"/>
                    </a:lnTo>
                    <a:lnTo>
                      <a:pt x="25" y="59"/>
                    </a:lnTo>
                    <a:lnTo>
                      <a:pt x="23" y="57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1" y="53"/>
                    </a:lnTo>
                    <a:lnTo>
                      <a:pt x="21" y="51"/>
                    </a:lnTo>
                    <a:lnTo>
                      <a:pt x="19" y="47"/>
                    </a:lnTo>
                    <a:lnTo>
                      <a:pt x="19" y="45"/>
                    </a:lnTo>
                    <a:lnTo>
                      <a:pt x="19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14" y="36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21" y="24"/>
                    </a:lnTo>
                    <a:lnTo>
                      <a:pt x="21" y="23"/>
                    </a:lnTo>
                    <a:lnTo>
                      <a:pt x="21" y="24"/>
                    </a:lnTo>
                    <a:lnTo>
                      <a:pt x="23" y="23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7" y="24"/>
                    </a:lnTo>
                    <a:lnTo>
                      <a:pt x="27" y="23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40" y="23"/>
                    </a:lnTo>
                    <a:lnTo>
                      <a:pt x="42" y="23"/>
                    </a:lnTo>
                    <a:lnTo>
                      <a:pt x="44" y="23"/>
                    </a:lnTo>
                    <a:lnTo>
                      <a:pt x="46" y="24"/>
                    </a:lnTo>
                    <a:lnTo>
                      <a:pt x="48" y="23"/>
                    </a:lnTo>
                    <a:lnTo>
                      <a:pt x="52" y="23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75" y="23"/>
                    </a:lnTo>
                    <a:lnTo>
                      <a:pt x="77" y="23"/>
                    </a:lnTo>
                    <a:lnTo>
                      <a:pt x="79" y="23"/>
                    </a:lnTo>
                    <a:lnTo>
                      <a:pt x="79" y="24"/>
                    </a:lnTo>
                    <a:lnTo>
                      <a:pt x="79" y="26"/>
                    </a:lnTo>
                    <a:lnTo>
                      <a:pt x="81" y="26"/>
                    </a:lnTo>
                    <a:lnTo>
                      <a:pt x="81" y="28"/>
                    </a:lnTo>
                    <a:lnTo>
                      <a:pt x="81" y="30"/>
                    </a:lnTo>
                    <a:lnTo>
                      <a:pt x="81" y="32"/>
                    </a:lnTo>
                    <a:lnTo>
                      <a:pt x="81" y="34"/>
                    </a:lnTo>
                    <a:lnTo>
                      <a:pt x="81" y="36"/>
                    </a:lnTo>
                    <a:lnTo>
                      <a:pt x="82" y="36"/>
                    </a:lnTo>
                    <a:lnTo>
                      <a:pt x="82" y="38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4" y="44"/>
                    </a:lnTo>
                    <a:lnTo>
                      <a:pt x="84" y="45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8" y="47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90" y="51"/>
                    </a:lnTo>
                    <a:lnTo>
                      <a:pt x="90" y="53"/>
                    </a:lnTo>
                    <a:lnTo>
                      <a:pt x="90" y="55"/>
                    </a:lnTo>
                    <a:lnTo>
                      <a:pt x="92" y="55"/>
                    </a:lnTo>
                    <a:lnTo>
                      <a:pt x="92" y="57"/>
                    </a:lnTo>
                    <a:lnTo>
                      <a:pt x="94" y="57"/>
                    </a:lnTo>
                    <a:lnTo>
                      <a:pt x="94" y="59"/>
                    </a:lnTo>
                    <a:lnTo>
                      <a:pt x="94" y="57"/>
                    </a:lnTo>
                    <a:lnTo>
                      <a:pt x="92" y="59"/>
                    </a:lnTo>
                    <a:lnTo>
                      <a:pt x="94" y="59"/>
                    </a:lnTo>
                    <a:lnTo>
                      <a:pt x="96" y="59"/>
                    </a:lnTo>
                    <a:lnTo>
                      <a:pt x="98" y="59"/>
                    </a:lnTo>
                    <a:lnTo>
                      <a:pt x="100" y="59"/>
                    </a:lnTo>
                    <a:lnTo>
                      <a:pt x="101" y="59"/>
                    </a:lnTo>
                    <a:lnTo>
                      <a:pt x="103" y="57"/>
                    </a:lnTo>
                    <a:lnTo>
                      <a:pt x="105" y="57"/>
                    </a:lnTo>
                    <a:lnTo>
                      <a:pt x="107" y="57"/>
                    </a:lnTo>
                    <a:lnTo>
                      <a:pt x="109" y="57"/>
                    </a:lnTo>
                    <a:lnTo>
                      <a:pt x="109" y="55"/>
                    </a:lnTo>
                    <a:lnTo>
                      <a:pt x="113" y="55"/>
                    </a:lnTo>
                    <a:lnTo>
                      <a:pt x="113" y="57"/>
                    </a:lnTo>
                    <a:lnTo>
                      <a:pt x="122" y="57"/>
                    </a:lnTo>
                    <a:lnTo>
                      <a:pt x="122" y="55"/>
                    </a:lnTo>
                    <a:lnTo>
                      <a:pt x="122" y="53"/>
                    </a:lnTo>
                    <a:lnTo>
                      <a:pt x="122" y="51"/>
                    </a:lnTo>
                    <a:lnTo>
                      <a:pt x="124" y="51"/>
                    </a:lnTo>
                    <a:lnTo>
                      <a:pt x="124" y="49"/>
                    </a:lnTo>
                    <a:lnTo>
                      <a:pt x="124" y="47"/>
                    </a:lnTo>
                    <a:lnTo>
                      <a:pt x="124" y="45"/>
                    </a:lnTo>
                    <a:lnTo>
                      <a:pt x="124" y="44"/>
                    </a:lnTo>
                    <a:lnTo>
                      <a:pt x="126" y="42"/>
                    </a:lnTo>
                    <a:lnTo>
                      <a:pt x="138" y="42"/>
                    </a:lnTo>
                    <a:lnTo>
                      <a:pt x="138" y="40"/>
                    </a:lnTo>
                    <a:lnTo>
                      <a:pt x="143" y="40"/>
                    </a:lnTo>
                    <a:lnTo>
                      <a:pt x="142" y="42"/>
                    </a:lnTo>
                    <a:lnTo>
                      <a:pt x="142" y="44"/>
                    </a:lnTo>
                    <a:lnTo>
                      <a:pt x="142" y="45"/>
                    </a:lnTo>
                    <a:lnTo>
                      <a:pt x="161" y="45"/>
                    </a:lnTo>
                    <a:lnTo>
                      <a:pt x="163" y="47"/>
                    </a:lnTo>
                    <a:lnTo>
                      <a:pt x="163" y="49"/>
                    </a:lnTo>
                    <a:lnTo>
                      <a:pt x="163" y="51"/>
                    </a:lnTo>
                    <a:lnTo>
                      <a:pt x="161" y="51"/>
                    </a:lnTo>
                    <a:lnTo>
                      <a:pt x="161" y="53"/>
                    </a:lnTo>
                    <a:lnTo>
                      <a:pt x="161" y="55"/>
                    </a:lnTo>
                    <a:lnTo>
                      <a:pt x="161" y="57"/>
                    </a:lnTo>
                    <a:lnTo>
                      <a:pt x="161" y="59"/>
                    </a:lnTo>
                    <a:lnTo>
                      <a:pt x="163" y="59"/>
                    </a:lnTo>
                    <a:lnTo>
                      <a:pt x="163" y="61"/>
                    </a:lnTo>
                    <a:lnTo>
                      <a:pt x="163" y="63"/>
                    </a:lnTo>
                    <a:lnTo>
                      <a:pt x="164" y="65"/>
                    </a:lnTo>
                    <a:lnTo>
                      <a:pt x="163" y="66"/>
                    </a:lnTo>
                    <a:lnTo>
                      <a:pt x="163" y="68"/>
                    </a:lnTo>
                    <a:lnTo>
                      <a:pt x="163" y="70"/>
                    </a:lnTo>
                    <a:lnTo>
                      <a:pt x="163" y="72"/>
                    </a:lnTo>
                    <a:lnTo>
                      <a:pt x="163" y="74"/>
                    </a:lnTo>
                    <a:lnTo>
                      <a:pt x="163" y="76"/>
                    </a:lnTo>
                    <a:lnTo>
                      <a:pt x="161" y="78"/>
                    </a:lnTo>
                    <a:lnTo>
                      <a:pt x="161" y="80"/>
                    </a:lnTo>
                    <a:lnTo>
                      <a:pt x="163" y="80"/>
                    </a:lnTo>
                    <a:lnTo>
                      <a:pt x="163" y="82"/>
                    </a:lnTo>
                    <a:lnTo>
                      <a:pt x="163" y="84"/>
                    </a:lnTo>
                    <a:lnTo>
                      <a:pt x="163" y="86"/>
                    </a:lnTo>
                    <a:lnTo>
                      <a:pt x="164" y="86"/>
                    </a:lnTo>
                    <a:lnTo>
                      <a:pt x="164" y="87"/>
                    </a:lnTo>
                    <a:lnTo>
                      <a:pt x="166" y="87"/>
                    </a:lnTo>
                    <a:lnTo>
                      <a:pt x="168" y="87"/>
                    </a:lnTo>
                    <a:lnTo>
                      <a:pt x="168" y="89"/>
                    </a:lnTo>
                    <a:lnTo>
                      <a:pt x="168" y="91"/>
                    </a:lnTo>
                    <a:lnTo>
                      <a:pt x="170" y="95"/>
                    </a:lnTo>
                    <a:lnTo>
                      <a:pt x="168" y="97"/>
                    </a:lnTo>
                    <a:lnTo>
                      <a:pt x="170" y="99"/>
                    </a:lnTo>
                    <a:lnTo>
                      <a:pt x="170" y="101"/>
                    </a:lnTo>
                    <a:lnTo>
                      <a:pt x="170" y="103"/>
                    </a:lnTo>
                    <a:lnTo>
                      <a:pt x="168" y="103"/>
                    </a:lnTo>
                    <a:lnTo>
                      <a:pt x="166" y="103"/>
                    </a:lnTo>
                    <a:lnTo>
                      <a:pt x="168" y="105"/>
                    </a:lnTo>
                    <a:lnTo>
                      <a:pt x="168" y="107"/>
                    </a:lnTo>
                    <a:lnTo>
                      <a:pt x="168" y="108"/>
                    </a:lnTo>
                    <a:lnTo>
                      <a:pt x="168" y="110"/>
                    </a:lnTo>
                    <a:lnTo>
                      <a:pt x="170" y="110"/>
                    </a:lnTo>
                    <a:lnTo>
                      <a:pt x="170" y="108"/>
                    </a:lnTo>
                    <a:lnTo>
                      <a:pt x="172" y="108"/>
                    </a:lnTo>
                    <a:lnTo>
                      <a:pt x="172" y="107"/>
                    </a:lnTo>
                    <a:lnTo>
                      <a:pt x="174" y="107"/>
                    </a:lnTo>
                    <a:lnTo>
                      <a:pt x="176" y="107"/>
                    </a:lnTo>
                    <a:lnTo>
                      <a:pt x="178" y="107"/>
                    </a:lnTo>
                    <a:lnTo>
                      <a:pt x="180" y="107"/>
                    </a:lnTo>
                    <a:lnTo>
                      <a:pt x="182" y="107"/>
                    </a:lnTo>
                    <a:lnTo>
                      <a:pt x="183" y="107"/>
                    </a:lnTo>
                    <a:lnTo>
                      <a:pt x="187" y="105"/>
                    </a:lnTo>
                    <a:lnTo>
                      <a:pt x="189" y="105"/>
                    </a:lnTo>
                    <a:lnTo>
                      <a:pt x="191" y="105"/>
                    </a:lnTo>
                    <a:lnTo>
                      <a:pt x="191" y="107"/>
                    </a:lnTo>
                    <a:lnTo>
                      <a:pt x="193" y="105"/>
                    </a:lnTo>
                    <a:lnTo>
                      <a:pt x="195" y="107"/>
                    </a:lnTo>
                    <a:lnTo>
                      <a:pt x="195" y="105"/>
                    </a:lnTo>
                    <a:lnTo>
                      <a:pt x="197" y="103"/>
                    </a:lnTo>
                    <a:close/>
                    <a:moveTo>
                      <a:pt x="23" y="4"/>
                    </a:moveTo>
                    <a:lnTo>
                      <a:pt x="21" y="4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19" y="5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6" y="7"/>
                    </a:lnTo>
                    <a:lnTo>
                      <a:pt x="16" y="9"/>
                    </a:lnTo>
                    <a:lnTo>
                      <a:pt x="14" y="9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4" y="21"/>
                    </a:lnTo>
                    <a:lnTo>
                      <a:pt x="10" y="21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3" y="4"/>
                    </a:lnTo>
                    <a:close/>
                    <a:moveTo>
                      <a:pt x="0" y="196"/>
                    </a:moveTo>
                    <a:lnTo>
                      <a:pt x="0" y="200"/>
                    </a:lnTo>
                    <a:lnTo>
                      <a:pt x="0" y="198"/>
                    </a:lnTo>
                    <a:lnTo>
                      <a:pt x="0" y="196"/>
                    </a:lnTo>
                    <a:close/>
                    <a:moveTo>
                      <a:pt x="10" y="26"/>
                    </a:moveTo>
                    <a:lnTo>
                      <a:pt x="10" y="28"/>
                    </a:lnTo>
                    <a:lnTo>
                      <a:pt x="10" y="26"/>
                    </a:lnTo>
                    <a:close/>
                    <a:moveTo>
                      <a:pt x="21" y="23"/>
                    </a:moveTo>
                    <a:lnTo>
                      <a:pt x="23" y="23"/>
                    </a:lnTo>
                    <a:lnTo>
                      <a:pt x="21" y="23"/>
                    </a:lnTo>
                    <a:close/>
                    <a:moveTo>
                      <a:pt x="18" y="24"/>
                    </a:moveTo>
                    <a:lnTo>
                      <a:pt x="19" y="24"/>
                    </a:lnTo>
                    <a:lnTo>
                      <a:pt x="18" y="24"/>
                    </a:lnTo>
                    <a:close/>
                    <a:moveTo>
                      <a:pt x="18" y="24"/>
                    </a:moveTo>
                    <a:lnTo>
                      <a:pt x="19" y="24"/>
                    </a:lnTo>
                    <a:lnTo>
                      <a:pt x="18" y="24"/>
                    </a:lnTo>
                    <a:close/>
                    <a:moveTo>
                      <a:pt x="19" y="24"/>
                    </a:moveTo>
                    <a:lnTo>
                      <a:pt x="19" y="26"/>
                    </a:lnTo>
                    <a:lnTo>
                      <a:pt x="19" y="24"/>
                    </a:lnTo>
                    <a:close/>
                    <a:moveTo>
                      <a:pt x="19" y="24"/>
                    </a:moveTo>
                    <a:lnTo>
                      <a:pt x="21" y="24"/>
                    </a:lnTo>
                    <a:lnTo>
                      <a:pt x="19" y="24"/>
                    </a:lnTo>
                    <a:close/>
                    <a:moveTo>
                      <a:pt x="18" y="24"/>
                    </a:moveTo>
                    <a:lnTo>
                      <a:pt x="18" y="26"/>
                    </a:lnTo>
                    <a:lnTo>
                      <a:pt x="18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9" name="Freeform 190">
                <a:extLst>
                  <a:ext uri="{FF2B5EF4-FFF2-40B4-BE49-F238E27FC236}">
                    <a16:creationId xmlns:a16="http://schemas.microsoft.com/office/drawing/2014/main" id="{7B00125A-3B94-3067-9C7B-CAF3A52CB0A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76846" y="-1620882"/>
                <a:ext cx="33088" cy="26835"/>
              </a:xfrm>
              <a:custGeom>
                <a:avLst/>
                <a:gdLst>
                  <a:gd name="T0" fmla="*/ 2 w 21"/>
                  <a:gd name="T1" fmla="*/ 0 h 17"/>
                  <a:gd name="T2" fmla="*/ 4 w 21"/>
                  <a:gd name="T3" fmla="*/ 0 h 17"/>
                  <a:gd name="T4" fmla="*/ 2 w 21"/>
                  <a:gd name="T5" fmla="*/ 2 h 17"/>
                  <a:gd name="T6" fmla="*/ 4 w 21"/>
                  <a:gd name="T7" fmla="*/ 2 h 17"/>
                  <a:gd name="T8" fmla="*/ 2 w 21"/>
                  <a:gd name="T9" fmla="*/ 4 h 17"/>
                  <a:gd name="T10" fmla="*/ 4 w 21"/>
                  <a:gd name="T11" fmla="*/ 6 h 17"/>
                  <a:gd name="T12" fmla="*/ 4 w 21"/>
                  <a:gd name="T13" fmla="*/ 8 h 17"/>
                  <a:gd name="T14" fmla="*/ 2 w 21"/>
                  <a:gd name="T15" fmla="*/ 8 h 17"/>
                  <a:gd name="T16" fmla="*/ 0 w 21"/>
                  <a:gd name="T17" fmla="*/ 6 h 17"/>
                  <a:gd name="T18" fmla="*/ 0 w 21"/>
                  <a:gd name="T19" fmla="*/ 4 h 17"/>
                  <a:gd name="T20" fmla="*/ 0 w 21"/>
                  <a:gd name="T21" fmla="*/ 0 h 17"/>
                  <a:gd name="T22" fmla="*/ 2 w 21"/>
                  <a:gd name="T23" fmla="*/ 0 h 17"/>
                  <a:gd name="T24" fmla="*/ 21 w 21"/>
                  <a:gd name="T25" fmla="*/ 12 h 17"/>
                  <a:gd name="T26" fmla="*/ 21 w 21"/>
                  <a:gd name="T27" fmla="*/ 14 h 17"/>
                  <a:gd name="T28" fmla="*/ 21 w 21"/>
                  <a:gd name="T29" fmla="*/ 16 h 17"/>
                  <a:gd name="T30" fmla="*/ 19 w 21"/>
                  <a:gd name="T31" fmla="*/ 14 h 17"/>
                  <a:gd name="T32" fmla="*/ 17 w 21"/>
                  <a:gd name="T33" fmla="*/ 14 h 17"/>
                  <a:gd name="T34" fmla="*/ 15 w 21"/>
                  <a:gd name="T35" fmla="*/ 12 h 17"/>
                  <a:gd name="T36" fmla="*/ 17 w 21"/>
                  <a:gd name="T37" fmla="*/ 14 h 17"/>
                  <a:gd name="T38" fmla="*/ 19 w 21"/>
                  <a:gd name="T39" fmla="*/ 14 h 17"/>
                  <a:gd name="T40" fmla="*/ 19 w 21"/>
                  <a:gd name="T41" fmla="*/ 12 h 17"/>
                  <a:gd name="T42" fmla="*/ 21 w 21"/>
                  <a:gd name="T43" fmla="*/ 12 h 17"/>
                  <a:gd name="T44" fmla="*/ 8 w 21"/>
                  <a:gd name="T45" fmla="*/ 14 h 17"/>
                  <a:gd name="T46" fmla="*/ 9 w 21"/>
                  <a:gd name="T47" fmla="*/ 16 h 17"/>
                  <a:gd name="T48" fmla="*/ 8 w 21"/>
                  <a:gd name="T49" fmla="*/ 16 h 17"/>
                  <a:gd name="T50" fmla="*/ 6 w 21"/>
                  <a:gd name="T51" fmla="*/ 16 h 17"/>
                  <a:gd name="T52" fmla="*/ 6 w 21"/>
                  <a:gd name="T53" fmla="*/ 14 h 17"/>
                  <a:gd name="T54" fmla="*/ 8 w 21"/>
                  <a:gd name="T55" fmla="*/ 14 h 17"/>
                  <a:gd name="T56" fmla="*/ 8 w 21"/>
                  <a:gd name="T57" fmla="*/ 16 h 17"/>
                  <a:gd name="T58" fmla="*/ 8 w 21"/>
                  <a:gd name="T59" fmla="*/ 17 h 17"/>
                  <a:gd name="T60" fmla="*/ 8 w 21"/>
                  <a:gd name="T61" fmla="*/ 16 h 17"/>
                  <a:gd name="T62" fmla="*/ 8 w 21"/>
                  <a:gd name="T63" fmla="*/ 16 h 17"/>
                  <a:gd name="T64" fmla="*/ 8 w 21"/>
                  <a:gd name="T65" fmla="*/ 17 h 17"/>
                  <a:gd name="T66" fmla="*/ 8 w 21"/>
                  <a:gd name="T67" fmla="*/ 16 h 17"/>
                  <a:gd name="T68" fmla="*/ 8 w 21"/>
                  <a:gd name="T69" fmla="*/ 16 h 17"/>
                  <a:gd name="T70" fmla="*/ 8 w 21"/>
                  <a:gd name="T71" fmla="*/ 17 h 17"/>
                  <a:gd name="T72" fmla="*/ 8 w 21"/>
                  <a:gd name="T7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1" h="17">
                    <a:moveTo>
                      <a:pt x="2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  <a:moveTo>
                      <a:pt x="21" y="12"/>
                    </a:moveTo>
                    <a:lnTo>
                      <a:pt x="21" y="14"/>
                    </a:lnTo>
                    <a:lnTo>
                      <a:pt x="21" y="16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5" y="12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21" y="12"/>
                    </a:lnTo>
                    <a:close/>
                    <a:moveTo>
                      <a:pt x="8" y="14"/>
                    </a:moveTo>
                    <a:lnTo>
                      <a:pt x="9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8" y="14"/>
                    </a:lnTo>
                    <a:close/>
                    <a:moveTo>
                      <a:pt x="8" y="16"/>
                    </a:moveTo>
                    <a:lnTo>
                      <a:pt x="8" y="17"/>
                    </a:lnTo>
                    <a:lnTo>
                      <a:pt x="8" y="16"/>
                    </a:lnTo>
                    <a:close/>
                    <a:moveTo>
                      <a:pt x="8" y="16"/>
                    </a:moveTo>
                    <a:lnTo>
                      <a:pt x="8" y="17"/>
                    </a:lnTo>
                    <a:lnTo>
                      <a:pt x="8" y="16"/>
                    </a:lnTo>
                    <a:close/>
                    <a:moveTo>
                      <a:pt x="8" y="16"/>
                    </a:moveTo>
                    <a:lnTo>
                      <a:pt x="8" y="17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0" name="Freeform 191">
                <a:extLst>
                  <a:ext uri="{FF2B5EF4-FFF2-40B4-BE49-F238E27FC236}">
                    <a16:creationId xmlns:a16="http://schemas.microsoft.com/office/drawing/2014/main" id="{D56120F4-87A3-B632-30D0-D76411E993E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52275" y="-1644560"/>
                <a:ext cx="264698" cy="437257"/>
              </a:xfrm>
              <a:custGeom>
                <a:avLst/>
                <a:gdLst>
                  <a:gd name="T0" fmla="*/ 27 w 168"/>
                  <a:gd name="T1" fmla="*/ 261 h 277"/>
                  <a:gd name="T2" fmla="*/ 27 w 168"/>
                  <a:gd name="T3" fmla="*/ 231 h 277"/>
                  <a:gd name="T4" fmla="*/ 17 w 168"/>
                  <a:gd name="T5" fmla="*/ 198 h 277"/>
                  <a:gd name="T6" fmla="*/ 36 w 168"/>
                  <a:gd name="T7" fmla="*/ 166 h 277"/>
                  <a:gd name="T8" fmla="*/ 44 w 168"/>
                  <a:gd name="T9" fmla="*/ 158 h 277"/>
                  <a:gd name="T10" fmla="*/ 42 w 168"/>
                  <a:gd name="T11" fmla="*/ 151 h 277"/>
                  <a:gd name="T12" fmla="*/ 38 w 168"/>
                  <a:gd name="T13" fmla="*/ 139 h 277"/>
                  <a:gd name="T14" fmla="*/ 44 w 168"/>
                  <a:gd name="T15" fmla="*/ 128 h 277"/>
                  <a:gd name="T16" fmla="*/ 44 w 168"/>
                  <a:gd name="T17" fmla="*/ 116 h 277"/>
                  <a:gd name="T18" fmla="*/ 42 w 168"/>
                  <a:gd name="T19" fmla="*/ 101 h 277"/>
                  <a:gd name="T20" fmla="*/ 27 w 168"/>
                  <a:gd name="T21" fmla="*/ 95 h 277"/>
                  <a:gd name="T22" fmla="*/ 11 w 168"/>
                  <a:gd name="T23" fmla="*/ 92 h 277"/>
                  <a:gd name="T24" fmla="*/ 2 w 168"/>
                  <a:gd name="T25" fmla="*/ 73 h 277"/>
                  <a:gd name="T26" fmla="*/ 48 w 168"/>
                  <a:gd name="T27" fmla="*/ 57 h 277"/>
                  <a:gd name="T28" fmla="*/ 57 w 168"/>
                  <a:gd name="T29" fmla="*/ 65 h 277"/>
                  <a:gd name="T30" fmla="*/ 69 w 168"/>
                  <a:gd name="T31" fmla="*/ 69 h 277"/>
                  <a:gd name="T32" fmla="*/ 67 w 168"/>
                  <a:gd name="T33" fmla="*/ 82 h 277"/>
                  <a:gd name="T34" fmla="*/ 67 w 168"/>
                  <a:gd name="T35" fmla="*/ 95 h 277"/>
                  <a:gd name="T36" fmla="*/ 76 w 168"/>
                  <a:gd name="T37" fmla="*/ 105 h 277"/>
                  <a:gd name="T38" fmla="*/ 80 w 168"/>
                  <a:gd name="T39" fmla="*/ 103 h 277"/>
                  <a:gd name="T40" fmla="*/ 84 w 168"/>
                  <a:gd name="T41" fmla="*/ 92 h 277"/>
                  <a:gd name="T42" fmla="*/ 84 w 168"/>
                  <a:gd name="T43" fmla="*/ 61 h 277"/>
                  <a:gd name="T44" fmla="*/ 69 w 168"/>
                  <a:gd name="T45" fmla="*/ 42 h 277"/>
                  <a:gd name="T46" fmla="*/ 82 w 168"/>
                  <a:gd name="T47" fmla="*/ 17 h 277"/>
                  <a:gd name="T48" fmla="*/ 93 w 168"/>
                  <a:gd name="T49" fmla="*/ 19 h 277"/>
                  <a:gd name="T50" fmla="*/ 101 w 168"/>
                  <a:gd name="T51" fmla="*/ 21 h 277"/>
                  <a:gd name="T52" fmla="*/ 116 w 168"/>
                  <a:gd name="T53" fmla="*/ 19 h 277"/>
                  <a:gd name="T54" fmla="*/ 128 w 168"/>
                  <a:gd name="T55" fmla="*/ 13 h 277"/>
                  <a:gd name="T56" fmla="*/ 143 w 168"/>
                  <a:gd name="T57" fmla="*/ 11 h 277"/>
                  <a:gd name="T58" fmla="*/ 158 w 168"/>
                  <a:gd name="T59" fmla="*/ 2 h 277"/>
                  <a:gd name="T60" fmla="*/ 162 w 168"/>
                  <a:gd name="T61" fmla="*/ 4 h 277"/>
                  <a:gd name="T62" fmla="*/ 160 w 168"/>
                  <a:gd name="T63" fmla="*/ 13 h 277"/>
                  <a:gd name="T64" fmla="*/ 162 w 168"/>
                  <a:gd name="T65" fmla="*/ 27 h 277"/>
                  <a:gd name="T66" fmla="*/ 164 w 168"/>
                  <a:gd name="T67" fmla="*/ 38 h 277"/>
                  <a:gd name="T68" fmla="*/ 164 w 168"/>
                  <a:gd name="T69" fmla="*/ 44 h 277"/>
                  <a:gd name="T70" fmla="*/ 164 w 168"/>
                  <a:gd name="T71" fmla="*/ 59 h 277"/>
                  <a:gd name="T72" fmla="*/ 164 w 168"/>
                  <a:gd name="T73" fmla="*/ 65 h 277"/>
                  <a:gd name="T74" fmla="*/ 166 w 168"/>
                  <a:gd name="T75" fmla="*/ 67 h 277"/>
                  <a:gd name="T76" fmla="*/ 166 w 168"/>
                  <a:gd name="T77" fmla="*/ 74 h 277"/>
                  <a:gd name="T78" fmla="*/ 166 w 168"/>
                  <a:gd name="T79" fmla="*/ 78 h 277"/>
                  <a:gd name="T80" fmla="*/ 153 w 168"/>
                  <a:gd name="T81" fmla="*/ 93 h 277"/>
                  <a:gd name="T82" fmla="*/ 139 w 168"/>
                  <a:gd name="T83" fmla="*/ 107 h 277"/>
                  <a:gd name="T84" fmla="*/ 112 w 168"/>
                  <a:gd name="T85" fmla="*/ 118 h 277"/>
                  <a:gd name="T86" fmla="*/ 99 w 168"/>
                  <a:gd name="T87" fmla="*/ 132 h 277"/>
                  <a:gd name="T88" fmla="*/ 93 w 168"/>
                  <a:gd name="T89" fmla="*/ 139 h 277"/>
                  <a:gd name="T90" fmla="*/ 86 w 168"/>
                  <a:gd name="T91" fmla="*/ 141 h 277"/>
                  <a:gd name="T92" fmla="*/ 78 w 168"/>
                  <a:gd name="T93" fmla="*/ 151 h 277"/>
                  <a:gd name="T94" fmla="*/ 71 w 168"/>
                  <a:gd name="T95" fmla="*/ 158 h 277"/>
                  <a:gd name="T96" fmla="*/ 72 w 168"/>
                  <a:gd name="T97" fmla="*/ 168 h 277"/>
                  <a:gd name="T98" fmla="*/ 76 w 168"/>
                  <a:gd name="T99" fmla="*/ 174 h 277"/>
                  <a:gd name="T100" fmla="*/ 76 w 168"/>
                  <a:gd name="T101" fmla="*/ 179 h 277"/>
                  <a:gd name="T102" fmla="*/ 82 w 168"/>
                  <a:gd name="T103" fmla="*/ 193 h 277"/>
                  <a:gd name="T104" fmla="*/ 84 w 168"/>
                  <a:gd name="T105" fmla="*/ 206 h 277"/>
                  <a:gd name="T106" fmla="*/ 80 w 168"/>
                  <a:gd name="T107" fmla="*/ 221 h 277"/>
                  <a:gd name="T108" fmla="*/ 84 w 168"/>
                  <a:gd name="T109" fmla="*/ 223 h 277"/>
                  <a:gd name="T110" fmla="*/ 44 w 168"/>
                  <a:gd name="T111" fmla="*/ 252 h 277"/>
                  <a:gd name="T112" fmla="*/ 34 w 168"/>
                  <a:gd name="T113" fmla="*/ 261 h 277"/>
                  <a:gd name="T114" fmla="*/ 42 w 168"/>
                  <a:gd name="T115" fmla="*/ 277 h 277"/>
                  <a:gd name="T116" fmla="*/ 84 w 168"/>
                  <a:gd name="T117" fmla="*/ 185 h 277"/>
                  <a:gd name="T118" fmla="*/ 72 w 168"/>
                  <a:gd name="T119" fmla="*/ 168 h 277"/>
                  <a:gd name="T120" fmla="*/ 164 w 168"/>
                  <a:gd name="T121" fmla="*/ 32 h 277"/>
                  <a:gd name="T122" fmla="*/ 38 w 168"/>
                  <a:gd name="T123" fmla="*/ 259 h 277"/>
                  <a:gd name="T124" fmla="*/ 166 w 168"/>
                  <a:gd name="T125" fmla="*/ 15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8" h="277">
                    <a:moveTo>
                      <a:pt x="42" y="277"/>
                    </a:moveTo>
                    <a:lnTo>
                      <a:pt x="32" y="277"/>
                    </a:lnTo>
                    <a:lnTo>
                      <a:pt x="30" y="277"/>
                    </a:lnTo>
                    <a:lnTo>
                      <a:pt x="29" y="277"/>
                    </a:lnTo>
                    <a:lnTo>
                      <a:pt x="29" y="271"/>
                    </a:lnTo>
                    <a:lnTo>
                      <a:pt x="29" y="267"/>
                    </a:lnTo>
                    <a:lnTo>
                      <a:pt x="29" y="263"/>
                    </a:lnTo>
                    <a:lnTo>
                      <a:pt x="29" y="261"/>
                    </a:lnTo>
                    <a:lnTo>
                      <a:pt x="27" y="261"/>
                    </a:lnTo>
                    <a:lnTo>
                      <a:pt x="27" y="259"/>
                    </a:lnTo>
                    <a:lnTo>
                      <a:pt x="27" y="258"/>
                    </a:lnTo>
                    <a:lnTo>
                      <a:pt x="27" y="256"/>
                    </a:lnTo>
                    <a:lnTo>
                      <a:pt x="27" y="252"/>
                    </a:lnTo>
                    <a:lnTo>
                      <a:pt x="29" y="250"/>
                    </a:lnTo>
                    <a:lnTo>
                      <a:pt x="29" y="246"/>
                    </a:lnTo>
                    <a:lnTo>
                      <a:pt x="27" y="239"/>
                    </a:lnTo>
                    <a:lnTo>
                      <a:pt x="27" y="235"/>
                    </a:lnTo>
                    <a:lnTo>
                      <a:pt x="27" y="231"/>
                    </a:lnTo>
                    <a:lnTo>
                      <a:pt x="27" y="229"/>
                    </a:lnTo>
                    <a:lnTo>
                      <a:pt x="25" y="225"/>
                    </a:lnTo>
                    <a:lnTo>
                      <a:pt x="23" y="223"/>
                    </a:lnTo>
                    <a:lnTo>
                      <a:pt x="23" y="221"/>
                    </a:lnTo>
                    <a:lnTo>
                      <a:pt x="23" y="219"/>
                    </a:lnTo>
                    <a:lnTo>
                      <a:pt x="21" y="218"/>
                    </a:lnTo>
                    <a:lnTo>
                      <a:pt x="21" y="216"/>
                    </a:lnTo>
                    <a:lnTo>
                      <a:pt x="21" y="212"/>
                    </a:lnTo>
                    <a:lnTo>
                      <a:pt x="17" y="198"/>
                    </a:lnTo>
                    <a:lnTo>
                      <a:pt x="19" y="197"/>
                    </a:lnTo>
                    <a:lnTo>
                      <a:pt x="34" y="179"/>
                    </a:lnTo>
                    <a:lnTo>
                      <a:pt x="34" y="177"/>
                    </a:lnTo>
                    <a:lnTo>
                      <a:pt x="32" y="177"/>
                    </a:lnTo>
                    <a:lnTo>
                      <a:pt x="34" y="176"/>
                    </a:lnTo>
                    <a:lnTo>
                      <a:pt x="36" y="174"/>
                    </a:lnTo>
                    <a:lnTo>
                      <a:pt x="36" y="172"/>
                    </a:lnTo>
                    <a:lnTo>
                      <a:pt x="34" y="168"/>
                    </a:lnTo>
                    <a:lnTo>
                      <a:pt x="36" y="166"/>
                    </a:lnTo>
                    <a:lnTo>
                      <a:pt x="38" y="166"/>
                    </a:lnTo>
                    <a:lnTo>
                      <a:pt x="40" y="164"/>
                    </a:lnTo>
                    <a:lnTo>
                      <a:pt x="42" y="162"/>
                    </a:lnTo>
                    <a:lnTo>
                      <a:pt x="40" y="160"/>
                    </a:lnTo>
                    <a:lnTo>
                      <a:pt x="42" y="160"/>
                    </a:lnTo>
                    <a:lnTo>
                      <a:pt x="42" y="158"/>
                    </a:lnTo>
                    <a:lnTo>
                      <a:pt x="42" y="160"/>
                    </a:lnTo>
                    <a:lnTo>
                      <a:pt x="42" y="158"/>
                    </a:lnTo>
                    <a:lnTo>
                      <a:pt x="44" y="158"/>
                    </a:lnTo>
                    <a:lnTo>
                      <a:pt x="44" y="156"/>
                    </a:lnTo>
                    <a:lnTo>
                      <a:pt x="44" y="155"/>
                    </a:lnTo>
                    <a:lnTo>
                      <a:pt x="44" y="153"/>
                    </a:lnTo>
                    <a:lnTo>
                      <a:pt x="42" y="153"/>
                    </a:lnTo>
                    <a:lnTo>
                      <a:pt x="44" y="153"/>
                    </a:lnTo>
                    <a:lnTo>
                      <a:pt x="42" y="151"/>
                    </a:lnTo>
                    <a:lnTo>
                      <a:pt x="42" y="153"/>
                    </a:lnTo>
                    <a:lnTo>
                      <a:pt x="40" y="153"/>
                    </a:lnTo>
                    <a:lnTo>
                      <a:pt x="42" y="151"/>
                    </a:lnTo>
                    <a:lnTo>
                      <a:pt x="40" y="151"/>
                    </a:lnTo>
                    <a:lnTo>
                      <a:pt x="42" y="149"/>
                    </a:lnTo>
                    <a:lnTo>
                      <a:pt x="40" y="149"/>
                    </a:lnTo>
                    <a:lnTo>
                      <a:pt x="40" y="147"/>
                    </a:lnTo>
                    <a:lnTo>
                      <a:pt x="40" y="145"/>
                    </a:lnTo>
                    <a:lnTo>
                      <a:pt x="42" y="141"/>
                    </a:lnTo>
                    <a:lnTo>
                      <a:pt x="40" y="141"/>
                    </a:lnTo>
                    <a:lnTo>
                      <a:pt x="38" y="141"/>
                    </a:lnTo>
                    <a:lnTo>
                      <a:pt x="38" y="139"/>
                    </a:lnTo>
                    <a:lnTo>
                      <a:pt x="38" y="137"/>
                    </a:lnTo>
                    <a:lnTo>
                      <a:pt x="40" y="137"/>
                    </a:lnTo>
                    <a:lnTo>
                      <a:pt x="42" y="137"/>
                    </a:lnTo>
                    <a:lnTo>
                      <a:pt x="42" y="135"/>
                    </a:lnTo>
                    <a:lnTo>
                      <a:pt x="42" y="134"/>
                    </a:lnTo>
                    <a:lnTo>
                      <a:pt x="42" y="132"/>
                    </a:lnTo>
                    <a:lnTo>
                      <a:pt x="44" y="132"/>
                    </a:lnTo>
                    <a:lnTo>
                      <a:pt x="44" y="130"/>
                    </a:lnTo>
                    <a:lnTo>
                      <a:pt x="44" y="128"/>
                    </a:lnTo>
                    <a:lnTo>
                      <a:pt x="44" y="126"/>
                    </a:lnTo>
                    <a:lnTo>
                      <a:pt x="42" y="124"/>
                    </a:lnTo>
                    <a:lnTo>
                      <a:pt x="42" y="122"/>
                    </a:lnTo>
                    <a:lnTo>
                      <a:pt x="44" y="122"/>
                    </a:lnTo>
                    <a:lnTo>
                      <a:pt x="42" y="122"/>
                    </a:lnTo>
                    <a:lnTo>
                      <a:pt x="42" y="120"/>
                    </a:lnTo>
                    <a:lnTo>
                      <a:pt x="44" y="120"/>
                    </a:lnTo>
                    <a:lnTo>
                      <a:pt x="44" y="118"/>
                    </a:lnTo>
                    <a:lnTo>
                      <a:pt x="44" y="116"/>
                    </a:lnTo>
                    <a:lnTo>
                      <a:pt x="42" y="114"/>
                    </a:lnTo>
                    <a:lnTo>
                      <a:pt x="44" y="114"/>
                    </a:lnTo>
                    <a:lnTo>
                      <a:pt x="44" y="113"/>
                    </a:lnTo>
                    <a:lnTo>
                      <a:pt x="44" y="111"/>
                    </a:lnTo>
                    <a:lnTo>
                      <a:pt x="42" y="109"/>
                    </a:lnTo>
                    <a:lnTo>
                      <a:pt x="40" y="105"/>
                    </a:lnTo>
                    <a:lnTo>
                      <a:pt x="42" y="105"/>
                    </a:lnTo>
                    <a:lnTo>
                      <a:pt x="44" y="103"/>
                    </a:lnTo>
                    <a:lnTo>
                      <a:pt x="42" y="101"/>
                    </a:lnTo>
                    <a:lnTo>
                      <a:pt x="42" y="103"/>
                    </a:lnTo>
                    <a:lnTo>
                      <a:pt x="40" y="101"/>
                    </a:lnTo>
                    <a:lnTo>
                      <a:pt x="40" y="103"/>
                    </a:lnTo>
                    <a:lnTo>
                      <a:pt x="38" y="101"/>
                    </a:lnTo>
                    <a:lnTo>
                      <a:pt x="36" y="99"/>
                    </a:lnTo>
                    <a:lnTo>
                      <a:pt x="32" y="97"/>
                    </a:lnTo>
                    <a:lnTo>
                      <a:pt x="29" y="97"/>
                    </a:lnTo>
                    <a:lnTo>
                      <a:pt x="27" y="97"/>
                    </a:lnTo>
                    <a:lnTo>
                      <a:pt x="27" y="95"/>
                    </a:lnTo>
                    <a:lnTo>
                      <a:pt x="25" y="95"/>
                    </a:lnTo>
                    <a:lnTo>
                      <a:pt x="23" y="93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17" y="93"/>
                    </a:lnTo>
                    <a:lnTo>
                      <a:pt x="17" y="92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1" y="92"/>
                    </a:lnTo>
                    <a:lnTo>
                      <a:pt x="10" y="90"/>
                    </a:lnTo>
                    <a:lnTo>
                      <a:pt x="2" y="90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2" y="80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4"/>
                    </a:lnTo>
                    <a:lnTo>
                      <a:pt x="2" y="73"/>
                    </a:lnTo>
                    <a:lnTo>
                      <a:pt x="8" y="71"/>
                    </a:lnTo>
                    <a:lnTo>
                      <a:pt x="19" y="67"/>
                    </a:lnTo>
                    <a:lnTo>
                      <a:pt x="23" y="65"/>
                    </a:lnTo>
                    <a:lnTo>
                      <a:pt x="25" y="65"/>
                    </a:lnTo>
                    <a:lnTo>
                      <a:pt x="27" y="65"/>
                    </a:lnTo>
                    <a:lnTo>
                      <a:pt x="32" y="63"/>
                    </a:lnTo>
                    <a:lnTo>
                      <a:pt x="34" y="63"/>
                    </a:lnTo>
                    <a:lnTo>
                      <a:pt x="38" y="61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50" y="61"/>
                    </a:lnTo>
                    <a:lnTo>
                      <a:pt x="51" y="65"/>
                    </a:lnTo>
                    <a:lnTo>
                      <a:pt x="53" y="65"/>
                    </a:lnTo>
                    <a:lnTo>
                      <a:pt x="53" y="67"/>
                    </a:lnTo>
                    <a:lnTo>
                      <a:pt x="55" y="67"/>
                    </a:lnTo>
                    <a:lnTo>
                      <a:pt x="55" y="65"/>
                    </a:lnTo>
                    <a:lnTo>
                      <a:pt x="57" y="67"/>
                    </a:lnTo>
                    <a:lnTo>
                      <a:pt x="57" y="65"/>
                    </a:lnTo>
                    <a:lnTo>
                      <a:pt x="57" y="67"/>
                    </a:lnTo>
                    <a:lnTo>
                      <a:pt x="57" y="65"/>
                    </a:lnTo>
                    <a:lnTo>
                      <a:pt x="61" y="65"/>
                    </a:lnTo>
                    <a:lnTo>
                      <a:pt x="63" y="65"/>
                    </a:lnTo>
                    <a:lnTo>
                      <a:pt x="65" y="65"/>
                    </a:lnTo>
                    <a:lnTo>
                      <a:pt x="65" y="63"/>
                    </a:lnTo>
                    <a:lnTo>
                      <a:pt x="65" y="65"/>
                    </a:lnTo>
                    <a:lnTo>
                      <a:pt x="67" y="67"/>
                    </a:lnTo>
                    <a:lnTo>
                      <a:pt x="69" y="69"/>
                    </a:lnTo>
                    <a:lnTo>
                      <a:pt x="67" y="69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69" y="74"/>
                    </a:lnTo>
                    <a:lnTo>
                      <a:pt x="69" y="76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7" y="82"/>
                    </a:lnTo>
                    <a:lnTo>
                      <a:pt x="67" y="84"/>
                    </a:lnTo>
                    <a:lnTo>
                      <a:pt x="65" y="86"/>
                    </a:lnTo>
                    <a:lnTo>
                      <a:pt x="63" y="88"/>
                    </a:lnTo>
                    <a:lnTo>
                      <a:pt x="63" y="90"/>
                    </a:lnTo>
                    <a:lnTo>
                      <a:pt x="65" y="90"/>
                    </a:lnTo>
                    <a:lnTo>
                      <a:pt x="65" y="92"/>
                    </a:lnTo>
                    <a:lnTo>
                      <a:pt x="67" y="92"/>
                    </a:lnTo>
                    <a:lnTo>
                      <a:pt x="65" y="92"/>
                    </a:lnTo>
                    <a:lnTo>
                      <a:pt x="67" y="95"/>
                    </a:lnTo>
                    <a:lnTo>
                      <a:pt x="69" y="95"/>
                    </a:lnTo>
                    <a:lnTo>
                      <a:pt x="69" y="97"/>
                    </a:lnTo>
                    <a:lnTo>
                      <a:pt x="71" y="97"/>
                    </a:lnTo>
                    <a:lnTo>
                      <a:pt x="71" y="99"/>
                    </a:lnTo>
                    <a:lnTo>
                      <a:pt x="72" y="99"/>
                    </a:lnTo>
                    <a:lnTo>
                      <a:pt x="72" y="101"/>
                    </a:lnTo>
                    <a:lnTo>
                      <a:pt x="74" y="101"/>
                    </a:lnTo>
                    <a:lnTo>
                      <a:pt x="74" y="103"/>
                    </a:lnTo>
                    <a:lnTo>
                      <a:pt x="76" y="105"/>
                    </a:lnTo>
                    <a:lnTo>
                      <a:pt x="76" y="103"/>
                    </a:lnTo>
                    <a:lnTo>
                      <a:pt x="78" y="105"/>
                    </a:lnTo>
                    <a:lnTo>
                      <a:pt x="78" y="107"/>
                    </a:lnTo>
                    <a:lnTo>
                      <a:pt x="76" y="107"/>
                    </a:lnTo>
                    <a:lnTo>
                      <a:pt x="76" y="109"/>
                    </a:lnTo>
                    <a:lnTo>
                      <a:pt x="80" y="109"/>
                    </a:lnTo>
                    <a:lnTo>
                      <a:pt x="80" y="107"/>
                    </a:lnTo>
                    <a:lnTo>
                      <a:pt x="80" y="105"/>
                    </a:lnTo>
                    <a:lnTo>
                      <a:pt x="80" y="103"/>
                    </a:lnTo>
                    <a:lnTo>
                      <a:pt x="78" y="101"/>
                    </a:lnTo>
                    <a:lnTo>
                      <a:pt x="78" y="99"/>
                    </a:lnTo>
                    <a:lnTo>
                      <a:pt x="80" y="99"/>
                    </a:lnTo>
                    <a:lnTo>
                      <a:pt x="80" y="97"/>
                    </a:lnTo>
                    <a:lnTo>
                      <a:pt x="80" y="95"/>
                    </a:lnTo>
                    <a:lnTo>
                      <a:pt x="80" y="93"/>
                    </a:lnTo>
                    <a:lnTo>
                      <a:pt x="82" y="92"/>
                    </a:lnTo>
                    <a:lnTo>
                      <a:pt x="84" y="93"/>
                    </a:lnTo>
                    <a:lnTo>
                      <a:pt x="84" y="92"/>
                    </a:lnTo>
                    <a:lnTo>
                      <a:pt x="84" y="93"/>
                    </a:lnTo>
                    <a:lnTo>
                      <a:pt x="86" y="92"/>
                    </a:lnTo>
                    <a:lnTo>
                      <a:pt x="88" y="92"/>
                    </a:lnTo>
                    <a:lnTo>
                      <a:pt x="88" y="90"/>
                    </a:lnTo>
                    <a:lnTo>
                      <a:pt x="90" y="80"/>
                    </a:lnTo>
                    <a:lnTo>
                      <a:pt x="88" y="76"/>
                    </a:lnTo>
                    <a:lnTo>
                      <a:pt x="90" y="73"/>
                    </a:lnTo>
                    <a:lnTo>
                      <a:pt x="90" y="69"/>
                    </a:lnTo>
                    <a:lnTo>
                      <a:pt x="84" y="61"/>
                    </a:lnTo>
                    <a:lnTo>
                      <a:pt x="82" y="61"/>
                    </a:lnTo>
                    <a:lnTo>
                      <a:pt x="78" y="55"/>
                    </a:lnTo>
                    <a:lnTo>
                      <a:pt x="76" y="52"/>
                    </a:lnTo>
                    <a:lnTo>
                      <a:pt x="72" y="50"/>
                    </a:lnTo>
                    <a:lnTo>
                      <a:pt x="69" y="50"/>
                    </a:lnTo>
                    <a:lnTo>
                      <a:pt x="67" y="48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69" y="42"/>
                    </a:lnTo>
                    <a:lnTo>
                      <a:pt x="67" y="38"/>
                    </a:lnTo>
                    <a:lnTo>
                      <a:pt x="67" y="36"/>
                    </a:lnTo>
                    <a:lnTo>
                      <a:pt x="67" y="31"/>
                    </a:lnTo>
                    <a:lnTo>
                      <a:pt x="67" y="27"/>
                    </a:lnTo>
                    <a:lnTo>
                      <a:pt x="69" y="21"/>
                    </a:lnTo>
                    <a:lnTo>
                      <a:pt x="69" y="17"/>
                    </a:lnTo>
                    <a:lnTo>
                      <a:pt x="74" y="17"/>
                    </a:lnTo>
                    <a:lnTo>
                      <a:pt x="80" y="17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2" y="15"/>
                    </a:lnTo>
                    <a:lnTo>
                      <a:pt x="92" y="17"/>
                    </a:lnTo>
                    <a:lnTo>
                      <a:pt x="93" y="17"/>
                    </a:lnTo>
                    <a:lnTo>
                      <a:pt x="93" y="19"/>
                    </a:lnTo>
                    <a:lnTo>
                      <a:pt x="95" y="21"/>
                    </a:lnTo>
                    <a:lnTo>
                      <a:pt x="95" y="19"/>
                    </a:lnTo>
                    <a:lnTo>
                      <a:pt x="95" y="21"/>
                    </a:lnTo>
                    <a:lnTo>
                      <a:pt x="97" y="21"/>
                    </a:lnTo>
                    <a:lnTo>
                      <a:pt x="97" y="19"/>
                    </a:lnTo>
                    <a:lnTo>
                      <a:pt x="99" y="19"/>
                    </a:lnTo>
                    <a:lnTo>
                      <a:pt x="99" y="21"/>
                    </a:lnTo>
                    <a:lnTo>
                      <a:pt x="101" y="19"/>
                    </a:lnTo>
                    <a:lnTo>
                      <a:pt x="101" y="21"/>
                    </a:lnTo>
                    <a:lnTo>
                      <a:pt x="103" y="19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7" y="17"/>
                    </a:lnTo>
                    <a:lnTo>
                      <a:pt x="109" y="19"/>
                    </a:lnTo>
                    <a:lnTo>
                      <a:pt x="111" y="19"/>
                    </a:lnTo>
                    <a:lnTo>
                      <a:pt x="112" y="19"/>
                    </a:lnTo>
                    <a:lnTo>
                      <a:pt x="114" y="19"/>
                    </a:lnTo>
                    <a:lnTo>
                      <a:pt x="116" y="19"/>
                    </a:lnTo>
                    <a:lnTo>
                      <a:pt x="118" y="17"/>
                    </a:lnTo>
                    <a:lnTo>
                      <a:pt x="120" y="17"/>
                    </a:lnTo>
                    <a:lnTo>
                      <a:pt x="118" y="15"/>
                    </a:lnTo>
                    <a:lnTo>
                      <a:pt x="120" y="15"/>
                    </a:lnTo>
                    <a:lnTo>
                      <a:pt x="120" y="13"/>
                    </a:lnTo>
                    <a:lnTo>
                      <a:pt x="122" y="13"/>
                    </a:lnTo>
                    <a:lnTo>
                      <a:pt x="124" y="13"/>
                    </a:lnTo>
                    <a:lnTo>
                      <a:pt x="126" y="13"/>
                    </a:lnTo>
                    <a:lnTo>
                      <a:pt x="128" y="13"/>
                    </a:lnTo>
                    <a:lnTo>
                      <a:pt x="128" y="15"/>
                    </a:lnTo>
                    <a:lnTo>
                      <a:pt x="130" y="15"/>
                    </a:lnTo>
                    <a:lnTo>
                      <a:pt x="133" y="13"/>
                    </a:lnTo>
                    <a:lnTo>
                      <a:pt x="135" y="13"/>
                    </a:lnTo>
                    <a:lnTo>
                      <a:pt x="135" y="11"/>
                    </a:lnTo>
                    <a:lnTo>
                      <a:pt x="137" y="11"/>
                    </a:lnTo>
                    <a:lnTo>
                      <a:pt x="139" y="11"/>
                    </a:lnTo>
                    <a:lnTo>
                      <a:pt x="141" y="11"/>
                    </a:lnTo>
                    <a:lnTo>
                      <a:pt x="143" y="11"/>
                    </a:lnTo>
                    <a:lnTo>
                      <a:pt x="145" y="10"/>
                    </a:lnTo>
                    <a:lnTo>
                      <a:pt x="147" y="10"/>
                    </a:lnTo>
                    <a:lnTo>
                      <a:pt x="147" y="8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6"/>
                    </a:lnTo>
                    <a:lnTo>
                      <a:pt x="154" y="6"/>
                    </a:lnTo>
                    <a:lnTo>
                      <a:pt x="156" y="4"/>
                    </a:lnTo>
                    <a:lnTo>
                      <a:pt x="158" y="2"/>
                    </a:lnTo>
                    <a:lnTo>
                      <a:pt x="160" y="2"/>
                    </a:lnTo>
                    <a:lnTo>
                      <a:pt x="160" y="0"/>
                    </a:lnTo>
                    <a:lnTo>
                      <a:pt x="162" y="0"/>
                    </a:lnTo>
                    <a:lnTo>
                      <a:pt x="164" y="0"/>
                    </a:lnTo>
                    <a:lnTo>
                      <a:pt x="164" y="2"/>
                    </a:lnTo>
                    <a:lnTo>
                      <a:pt x="162" y="2"/>
                    </a:lnTo>
                    <a:lnTo>
                      <a:pt x="164" y="2"/>
                    </a:lnTo>
                    <a:lnTo>
                      <a:pt x="164" y="4"/>
                    </a:lnTo>
                    <a:lnTo>
                      <a:pt x="162" y="4"/>
                    </a:lnTo>
                    <a:lnTo>
                      <a:pt x="164" y="6"/>
                    </a:lnTo>
                    <a:lnTo>
                      <a:pt x="162" y="8"/>
                    </a:lnTo>
                    <a:lnTo>
                      <a:pt x="162" y="10"/>
                    </a:lnTo>
                    <a:lnTo>
                      <a:pt x="164" y="10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0" y="13"/>
                    </a:lnTo>
                    <a:lnTo>
                      <a:pt x="160" y="15"/>
                    </a:lnTo>
                    <a:lnTo>
                      <a:pt x="160" y="13"/>
                    </a:lnTo>
                    <a:lnTo>
                      <a:pt x="162" y="15"/>
                    </a:lnTo>
                    <a:lnTo>
                      <a:pt x="162" y="17"/>
                    </a:lnTo>
                    <a:lnTo>
                      <a:pt x="162" y="19"/>
                    </a:lnTo>
                    <a:lnTo>
                      <a:pt x="162" y="21"/>
                    </a:lnTo>
                    <a:lnTo>
                      <a:pt x="162" y="23"/>
                    </a:lnTo>
                    <a:lnTo>
                      <a:pt x="162" y="25"/>
                    </a:lnTo>
                    <a:lnTo>
                      <a:pt x="164" y="25"/>
                    </a:lnTo>
                    <a:lnTo>
                      <a:pt x="162" y="25"/>
                    </a:lnTo>
                    <a:lnTo>
                      <a:pt x="162" y="27"/>
                    </a:lnTo>
                    <a:lnTo>
                      <a:pt x="162" y="29"/>
                    </a:lnTo>
                    <a:lnTo>
                      <a:pt x="162" y="31"/>
                    </a:lnTo>
                    <a:lnTo>
                      <a:pt x="164" y="31"/>
                    </a:lnTo>
                    <a:lnTo>
                      <a:pt x="162" y="32"/>
                    </a:lnTo>
                    <a:lnTo>
                      <a:pt x="162" y="34"/>
                    </a:lnTo>
                    <a:lnTo>
                      <a:pt x="162" y="32"/>
                    </a:lnTo>
                    <a:lnTo>
                      <a:pt x="164" y="34"/>
                    </a:lnTo>
                    <a:lnTo>
                      <a:pt x="164" y="36"/>
                    </a:lnTo>
                    <a:lnTo>
                      <a:pt x="164" y="38"/>
                    </a:lnTo>
                    <a:lnTo>
                      <a:pt x="164" y="36"/>
                    </a:lnTo>
                    <a:lnTo>
                      <a:pt x="164" y="38"/>
                    </a:lnTo>
                    <a:lnTo>
                      <a:pt x="162" y="40"/>
                    </a:lnTo>
                    <a:lnTo>
                      <a:pt x="160" y="40"/>
                    </a:lnTo>
                    <a:lnTo>
                      <a:pt x="162" y="42"/>
                    </a:lnTo>
                    <a:lnTo>
                      <a:pt x="162" y="40"/>
                    </a:lnTo>
                    <a:lnTo>
                      <a:pt x="164" y="40"/>
                    </a:lnTo>
                    <a:lnTo>
                      <a:pt x="164" y="42"/>
                    </a:lnTo>
                    <a:lnTo>
                      <a:pt x="164" y="44"/>
                    </a:lnTo>
                    <a:lnTo>
                      <a:pt x="164" y="46"/>
                    </a:lnTo>
                    <a:lnTo>
                      <a:pt x="164" y="48"/>
                    </a:lnTo>
                    <a:lnTo>
                      <a:pt x="162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4" y="59"/>
                    </a:lnTo>
                    <a:lnTo>
                      <a:pt x="162" y="61"/>
                    </a:lnTo>
                    <a:lnTo>
                      <a:pt x="164" y="61"/>
                    </a:lnTo>
                    <a:lnTo>
                      <a:pt x="164" y="63"/>
                    </a:lnTo>
                    <a:lnTo>
                      <a:pt x="164" y="61"/>
                    </a:lnTo>
                    <a:lnTo>
                      <a:pt x="166" y="61"/>
                    </a:lnTo>
                    <a:lnTo>
                      <a:pt x="166" y="63"/>
                    </a:lnTo>
                    <a:lnTo>
                      <a:pt x="164" y="63"/>
                    </a:lnTo>
                    <a:lnTo>
                      <a:pt x="166" y="63"/>
                    </a:lnTo>
                    <a:lnTo>
                      <a:pt x="164" y="65"/>
                    </a:lnTo>
                    <a:lnTo>
                      <a:pt x="166" y="65"/>
                    </a:lnTo>
                    <a:lnTo>
                      <a:pt x="164" y="65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6" y="67"/>
                    </a:lnTo>
                    <a:lnTo>
                      <a:pt x="166" y="65"/>
                    </a:lnTo>
                    <a:lnTo>
                      <a:pt x="168" y="65"/>
                    </a:lnTo>
                    <a:lnTo>
                      <a:pt x="168" y="67"/>
                    </a:lnTo>
                    <a:lnTo>
                      <a:pt x="166" y="67"/>
                    </a:lnTo>
                    <a:lnTo>
                      <a:pt x="168" y="67"/>
                    </a:lnTo>
                    <a:lnTo>
                      <a:pt x="168" y="69"/>
                    </a:lnTo>
                    <a:lnTo>
                      <a:pt x="168" y="71"/>
                    </a:lnTo>
                    <a:lnTo>
                      <a:pt x="166" y="73"/>
                    </a:lnTo>
                    <a:lnTo>
                      <a:pt x="164" y="71"/>
                    </a:lnTo>
                    <a:lnTo>
                      <a:pt x="164" y="73"/>
                    </a:lnTo>
                    <a:lnTo>
                      <a:pt x="166" y="73"/>
                    </a:lnTo>
                    <a:lnTo>
                      <a:pt x="168" y="74"/>
                    </a:lnTo>
                    <a:lnTo>
                      <a:pt x="166" y="74"/>
                    </a:lnTo>
                    <a:lnTo>
                      <a:pt x="164" y="73"/>
                    </a:lnTo>
                    <a:lnTo>
                      <a:pt x="166" y="74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64" y="76"/>
                    </a:lnTo>
                    <a:lnTo>
                      <a:pt x="162" y="76"/>
                    </a:lnTo>
                    <a:lnTo>
                      <a:pt x="164" y="76"/>
                    </a:lnTo>
                    <a:lnTo>
                      <a:pt x="166" y="76"/>
                    </a:lnTo>
                    <a:lnTo>
                      <a:pt x="166" y="78"/>
                    </a:lnTo>
                    <a:lnTo>
                      <a:pt x="164" y="80"/>
                    </a:lnTo>
                    <a:lnTo>
                      <a:pt x="164" y="82"/>
                    </a:lnTo>
                    <a:lnTo>
                      <a:pt x="162" y="84"/>
                    </a:lnTo>
                    <a:lnTo>
                      <a:pt x="160" y="86"/>
                    </a:lnTo>
                    <a:lnTo>
                      <a:pt x="156" y="90"/>
                    </a:lnTo>
                    <a:lnTo>
                      <a:pt x="156" y="92"/>
                    </a:lnTo>
                    <a:lnTo>
                      <a:pt x="156" y="93"/>
                    </a:lnTo>
                    <a:lnTo>
                      <a:pt x="154" y="93"/>
                    </a:lnTo>
                    <a:lnTo>
                      <a:pt x="153" y="93"/>
                    </a:lnTo>
                    <a:lnTo>
                      <a:pt x="151" y="95"/>
                    </a:lnTo>
                    <a:lnTo>
                      <a:pt x="153" y="95"/>
                    </a:lnTo>
                    <a:lnTo>
                      <a:pt x="154" y="95"/>
                    </a:lnTo>
                    <a:lnTo>
                      <a:pt x="153" y="97"/>
                    </a:lnTo>
                    <a:lnTo>
                      <a:pt x="147" y="101"/>
                    </a:lnTo>
                    <a:lnTo>
                      <a:pt x="143" y="103"/>
                    </a:lnTo>
                    <a:lnTo>
                      <a:pt x="141" y="105"/>
                    </a:lnTo>
                    <a:lnTo>
                      <a:pt x="141" y="107"/>
                    </a:lnTo>
                    <a:lnTo>
                      <a:pt x="139" y="107"/>
                    </a:lnTo>
                    <a:lnTo>
                      <a:pt x="135" y="109"/>
                    </a:lnTo>
                    <a:lnTo>
                      <a:pt x="133" y="109"/>
                    </a:lnTo>
                    <a:lnTo>
                      <a:pt x="130" y="109"/>
                    </a:lnTo>
                    <a:lnTo>
                      <a:pt x="126" y="111"/>
                    </a:lnTo>
                    <a:lnTo>
                      <a:pt x="126" y="113"/>
                    </a:lnTo>
                    <a:lnTo>
                      <a:pt x="122" y="113"/>
                    </a:lnTo>
                    <a:lnTo>
                      <a:pt x="118" y="114"/>
                    </a:lnTo>
                    <a:lnTo>
                      <a:pt x="116" y="116"/>
                    </a:lnTo>
                    <a:lnTo>
                      <a:pt x="112" y="118"/>
                    </a:lnTo>
                    <a:lnTo>
                      <a:pt x="111" y="120"/>
                    </a:lnTo>
                    <a:lnTo>
                      <a:pt x="109" y="120"/>
                    </a:lnTo>
                    <a:lnTo>
                      <a:pt x="107" y="124"/>
                    </a:lnTo>
                    <a:lnTo>
                      <a:pt x="105" y="126"/>
                    </a:lnTo>
                    <a:lnTo>
                      <a:pt x="103" y="128"/>
                    </a:lnTo>
                    <a:lnTo>
                      <a:pt x="105" y="128"/>
                    </a:lnTo>
                    <a:lnTo>
                      <a:pt x="101" y="130"/>
                    </a:lnTo>
                    <a:lnTo>
                      <a:pt x="101" y="132"/>
                    </a:lnTo>
                    <a:lnTo>
                      <a:pt x="99" y="132"/>
                    </a:lnTo>
                    <a:lnTo>
                      <a:pt x="99" y="134"/>
                    </a:lnTo>
                    <a:lnTo>
                      <a:pt x="97" y="134"/>
                    </a:lnTo>
                    <a:lnTo>
                      <a:pt x="99" y="134"/>
                    </a:lnTo>
                    <a:lnTo>
                      <a:pt x="97" y="134"/>
                    </a:lnTo>
                    <a:lnTo>
                      <a:pt x="97" y="135"/>
                    </a:lnTo>
                    <a:lnTo>
                      <a:pt x="97" y="137"/>
                    </a:lnTo>
                    <a:lnTo>
                      <a:pt x="95" y="137"/>
                    </a:lnTo>
                    <a:lnTo>
                      <a:pt x="95" y="139"/>
                    </a:lnTo>
                    <a:lnTo>
                      <a:pt x="93" y="139"/>
                    </a:lnTo>
                    <a:lnTo>
                      <a:pt x="93" y="137"/>
                    </a:lnTo>
                    <a:lnTo>
                      <a:pt x="93" y="139"/>
                    </a:lnTo>
                    <a:lnTo>
                      <a:pt x="92" y="139"/>
                    </a:lnTo>
                    <a:lnTo>
                      <a:pt x="93" y="139"/>
                    </a:lnTo>
                    <a:lnTo>
                      <a:pt x="92" y="139"/>
                    </a:lnTo>
                    <a:lnTo>
                      <a:pt x="92" y="137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8" y="141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4" y="145"/>
                    </a:lnTo>
                    <a:lnTo>
                      <a:pt x="82" y="149"/>
                    </a:lnTo>
                    <a:lnTo>
                      <a:pt x="78" y="153"/>
                    </a:lnTo>
                    <a:lnTo>
                      <a:pt x="78" y="151"/>
                    </a:lnTo>
                    <a:lnTo>
                      <a:pt x="76" y="153"/>
                    </a:lnTo>
                    <a:lnTo>
                      <a:pt x="72" y="155"/>
                    </a:lnTo>
                    <a:lnTo>
                      <a:pt x="72" y="153"/>
                    </a:lnTo>
                    <a:lnTo>
                      <a:pt x="71" y="153"/>
                    </a:lnTo>
                    <a:lnTo>
                      <a:pt x="71" y="155"/>
                    </a:lnTo>
                    <a:lnTo>
                      <a:pt x="72" y="155"/>
                    </a:lnTo>
                    <a:lnTo>
                      <a:pt x="71" y="155"/>
                    </a:lnTo>
                    <a:lnTo>
                      <a:pt x="71" y="156"/>
                    </a:lnTo>
                    <a:lnTo>
                      <a:pt x="71" y="158"/>
                    </a:lnTo>
                    <a:lnTo>
                      <a:pt x="72" y="160"/>
                    </a:lnTo>
                    <a:lnTo>
                      <a:pt x="71" y="160"/>
                    </a:lnTo>
                    <a:lnTo>
                      <a:pt x="71" y="162"/>
                    </a:lnTo>
                    <a:lnTo>
                      <a:pt x="71" y="164"/>
                    </a:lnTo>
                    <a:lnTo>
                      <a:pt x="71" y="162"/>
                    </a:lnTo>
                    <a:lnTo>
                      <a:pt x="71" y="164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8"/>
                    </a:lnTo>
                    <a:lnTo>
                      <a:pt x="72" y="170"/>
                    </a:lnTo>
                    <a:lnTo>
                      <a:pt x="72" y="168"/>
                    </a:lnTo>
                    <a:lnTo>
                      <a:pt x="74" y="168"/>
                    </a:lnTo>
                    <a:lnTo>
                      <a:pt x="72" y="170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4" y="172"/>
                    </a:lnTo>
                    <a:lnTo>
                      <a:pt x="76" y="172"/>
                    </a:lnTo>
                    <a:lnTo>
                      <a:pt x="76" y="174"/>
                    </a:lnTo>
                    <a:lnTo>
                      <a:pt x="76" y="172"/>
                    </a:lnTo>
                    <a:lnTo>
                      <a:pt x="76" y="174"/>
                    </a:lnTo>
                    <a:lnTo>
                      <a:pt x="76" y="176"/>
                    </a:lnTo>
                    <a:lnTo>
                      <a:pt x="76" y="174"/>
                    </a:lnTo>
                    <a:lnTo>
                      <a:pt x="76" y="176"/>
                    </a:lnTo>
                    <a:lnTo>
                      <a:pt x="74" y="176"/>
                    </a:lnTo>
                    <a:lnTo>
                      <a:pt x="76" y="176"/>
                    </a:lnTo>
                    <a:lnTo>
                      <a:pt x="76" y="177"/>
                    </a:lnTo>
                    <a:lnTo>
                      <a:pt x="76" y="179"/>
                    </a:lnTo>
                    <a:lnTo>
                      <a:pt x="76" y="177"/>
                    </a:lnTo>
                    <a:lnTo>
                      <a:pt x="76" y="179"/>
                    </a:lnTo>
                    <a:lnTo>
                      <a:pt x="76" y="181"/>
                    </a:lnTo>
                    <a:lnTo>
                      <a:pt x="80" y="185"/>
                    </a:lnTo>
                    <a:lnTo>
                      <a:pt x="80" y="189"/>
                    </a:lnTo>
                    <a:lnTo>
                      <a:pt x="80" y="191"/>
                    </a:lnTo>
                    <a:lnTo>
                      <a:pt x="80" y="195"/>
                    </a:lnTo>
                    <a:lnTo>
                      <a:pt x="82" y="195"/>
                    </a:lnTo>
                    <a:lnTo>
                      <a:pt x="82" y="193"/>
                    </a:lnTo>
                    <a:lnTo>
                      <a:pt x="84" y="195"/>
                    </a:lnTo>
                    <a:lnTo>
                      <a:pt x="84" y="197"/>
                    </a:lnTo>
                    <a:lnTo>
                      <a:pt x="84" y="195"/>
                    </a:lnTo>
                    <a:lnTo>
                      <a:pt x="84" y="197"/>
                    </a:lnTo>
                    <a:lnTo>
                      <a:pt x="84" y="198"/>
                    </a:lnTo>
                    <a:lnTo>
                      <a:pt x="84" y="202"/>
                    </a:lnTo>
                    <a:lnTo>
                      <a:pt x="84" y="206"/>
                    </a:lnTo>
                    <a:lnTo>
                      <a:pt x="84" y="208"/>
                    </a:lnTo>
                    <a:lnTo>
                      <a:pt x="84" y="206"/>
                    </a:lnTo>
                    <a:lnTo>
                      <a:pt x="84" y="208"/>
                    </a:lnTo>
                    <a:lnTo>
                      <a:pt x="84" y="210"/>
                    </a:lnTo>
                    <a:lnTo>
                      <a:pt x="82" y="212"/>
                    </a:lnTo>
                    <a:lnTo>
                      <a:pt x="84" y="214"/>
                    </a:lnTo>
                    <a:lnTo>
                      <a:pt x="82" y="218"/>
                    </a:lnTo>
                    <a:lnTo>
                      <a:pt x="82" y="219"/>
                    </a:lnTo>
                    <a:lnTo>
                      <a:pt x="82" y="221"/>
                    </a:lnTo>
                    <a:lnTo>
                      <a:pt x="82" y="219"/>
                    </a:lnTo>
                    <a:lnTo>
                      <a:pt x="80" y="221"/>
                    </a:lnTo>
                    <a:lnTo>
                      <a:pt x="82" y="221"/>
                    </a:lnTo>
                    <a:lnTo>
                      <a:pt x="80" y="223"/>
                    </a:lnTo>
                    <a:lnTo>
                      <a:pt x="80" y="225"/>
                    </a:lnTo>
                    <a:lnTo>
                      <a:pt x="80" y="227"/>
                    </a:lnTo>
                    <a:lnTo>
                      <a:pt x="82" y="225"/>
                    </a:lnTo>
                    <a:lnTo>
                      <a:pt x="80" y="225"/>
                    </a:lnTo>
                    <a:lnTo>
                      <a:pt x="82" y="225"/>
                    </a:lnTo>
                    <a:lnTo>
                      <a:pt x="82" y="223"/>
                    </a:lnTo>
                    <a:lnTo>
                      <a:pt x="84" y="223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2" y="231"/>
                    </a:lnTo>
                    <a:lnTo>
                      <a:pt x="78" y="235"/>
                    </a:lnTo>
                    <a:lnTo>
                      <a:pt x="78" y="237"/>
                    </a:lnTo>
                    <a:lnTo>
                      <a:pt x="76" y="237"/>
                    </a:lnTo>
                    <a:lnTo>
                      <a:pt x="72" y="239"/>
                    </a:lnTo>
                    <a:lnTo>
                      <a:pt x="51" y="246"/>
                    </a:lnTo>
                    <a:lnTo>
                      <a:pt x="44" y="252"/>
                    </a:lnTo>
                    <a:lnTo>
                      <a:pt x="40" y="254"/>
                    </a:lnTo>
                    <a:lnTo>
                      <a:pt x="40" y="256"/>
                    </a:lnTo>
                    <a:lnTo>
                      <a:pt x="38" y="258"/>
                    </a:lnTo>
                    <a:lnTo>
                      <a:pt x="40" y="259"/>
                    </a:lnTo>
                    <a:lnTo>
                      <a:pt x="38" y="258"/>
                    </a:lnTo>
                    <a:lnTo>
                      <a:pt x="38" y="259"/>
                    </a:lnTo>
                    <a:lnTo>
                      <a:pt x="36" y="261"/>
                    </a:lnTo>
                    <a:lnTo>
                      <a:pt x="36" y="259"/>
                    </a:lnTo>
                    <a:lnTo>
                      <a:pt x="34" y="261"/>
                    </a:lnTo>
                    <a:lnTo>
                      <a:pt x="36" y="261"/>
                    </a:lnTo>
                    <a:lnTo>
                      <a:pt x="38" y="263"/>
                    </a:lnTo>
                    <a:lnTo>
                      <a:pt x="38" y="265"/>
                    </a:lnTo>
                    <a:lnTo>
                      <a:pt x="40" y="267"/>
                    </a:lnTo>
                    <a:lnTo>
                      <a:pt x="42" y="265"/>
                    </a:lnTo>
                    <a:lnTo>
                      <a:pt x="42" y="263"/>
                    </a:lnTo>
                    <a:lnTo>
                      <a:pt x="42" y="269"/>
                    </a:lnTo>
                    <a:lnTo>
                      <a:pt x="42" y="273"/>
                    </a:lnTo>
                    <a:lnTo>
                      <a:pt x="42" y="277"/>
                    </a:lnTo>
                    <a:close/>
                    <a:moveTo>
                      <a:pt x="71" y="25"/>
                    </a:moveTo>
                    <a:lnTo>
                      <a:pt x="71" y="27"/>
                    </a:lnTo>
                    <a:lnTo>
                      <a:pt x="71" y="25"/>
                    </a:lnTo>
                    <a:close/>
                    <a:moveTo>
                      <a:pt x="84" y="185"/>
                    </a:moveTo>
                    <a:lnTo>
                      <a:pt x="82" y="187"/>
                    </a:lnTo>
                    <a:lnTo>
                      <a:pt x="82" y="185"/>
                    </a:lnTo>
                    <a:lnTo>
                      <a:pt x="82" y="183"/>
                    </a:lnTo>
                    <a:lnTo>
                      <a:pt x="84" y="183"/>
                    </a:lnTo>
                    <a:lnTo>
                      <a:pt x="84" y="185"/>
                    </a:lnTo>
                    <a:close/>
                    <a:moveTo>
                      <a:pt x="42" y="261"/>
                    </a:moveTo>
                    <a:lnTo>
                      <a:pt x="44" y="261"/>
                    </a:lnTo>
                    <a:lnTo>
                      <a:pt x="44" y="263"/>
                    </a:lnTo>
                    <a:lnTo>
                      <a:pt x="42" y="263"/>
                    </a:lnTo>
                    <a:lnTo>
                      <a:pt x="42" y="261"/>
                    </a:lnTo>
                    <a:close/>
                    <a:moveTo>
                      <a:pt x="82" y="189"/>
                    </a:moveTo>
                    <a:lnTo>
                      <a:pt x="82" y="191"/>
                    </a:lnTo>
                    <a:lnTo>
                      <a:pt x="82" y="189"/>
                    </a:lnTo>
                    <a:close/>
                    <a:moveTo>
                      <a:pt x="72" y="168"/>
                    </a:moveTo>
                    <a:lnTo>
                      <a:pt x="74" y="168"/>
                    </a:lnTo>
                    <a:lnTo>
                      <a:pt x="72" y="168"/>
                    </a:lnTo>
                    <a:close/>
                    <a:moveTo>
                      <a:pt x="164" y="8"/>
                    </a:moveTo>
                    <a:lnTo>
                      <a:pt x="166" y="8"/>
                    </a:lnTo>
                    <a:lnTo>
                      <a:pt x="166" y="10"/>
                    </a:lnTo>
                    <a:lnTo>
                      <a:pt x="164" y="10"/>
                    </a:lnTo>
                    <a:lnTo>
                      <a:pt x="164" y="8"/>
                    </a:lnTo>
                    <a:close/>
                    <a:moveTo>
                      <a:pt x="164" y="31"/>
                    </a:moveTo>
                    <a:lnTo>
                      <a:pt x="164" y="32"/>
                    </a:lnTo>
                    <a:lnTo>
                      <a:pt x="164" y="31"/>
                    </a:lnTo>
                    <a:close/>
                    <a:moveTo>
                      <a:pt x="164" y="6"/>
                    </a:moveTo>
                    <a:lnTo>
                      <a:pt x="166" y="6"/>
                    </a:lnTo>
                    <a:lnTo>
                      <a:pt x="164" y="6"/>
                    </a:lnTo>
                    <a:close/>
                    <a:moveTo>
                      <a:pt x="164" y="6"/>
                    </a:moveTo>
                    <a:lnTo>
                      <a:pt x="166" y="6"/>
                    </a:lnTo>
                    <a:lnTo>
                      <a:pt x="164" y="6"/>
                    </a:lnTo>
                    <a:close/>
                    <a:moveTo>
                      <a:pt x="38" y="258"/>
                    </a:moveTo>
                    <a:lnTo>
                      <a:pt x="38" y="259"/>
                    </a:lnTo>
                    <a:lnTo>
                      <a:pt x="38" y="258"/>
                    </a:lnTo>
                    <a:close/>
                    <a:moveTo>
                      <a:pt x="168" y="71"/>
                    </a:moveTo>
                    <a:lnTo>
                      <a:pt x="168" y="73"/>
                    </a:lnTo>
                    <a:lnTo>
                      <a:pt x="168" y="71"/>
                    </a:lnTo>
                    <a:close/>
                    <a:moveTo>
                      <a:pt x="162" y="15"/>
                    </a:moveTo>
                    <a:lnTo>
                      <a:pt x="164" y="15"/>
                    </a:lnTo>
                    <a:lnTo>
                      <a:pt x="162" y="15"/>
                    </a:lnTo>
                    <a:close/>
                    <a:moveTo>
                      <a:pt x="164" y="15"/>
                    </a:moveTo>
                    <a:lnTo>
                      <a:pt x="166" y="15"/>
                    </a:lnTo>
                    <a:lnTo>
                      <a:pt x="164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1" name="Freeform 192">
                <a:extLst>
                  <a:ext uri="{FF2B5EF4-FFF2-40B4-BE49-F238E27FC236}">
                    <a16:creationId xmlns:a16="http://schemas.microsoft.com/office/drawing/2014/main" id="{419C590F-800A-48EA-9769-C3AFE0C9015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07221" y="-1339904"/>
                <a:ext cx="411228" cy="364643"/>
              </a:xfrm>
              <a:custGeom>
                <a:avLst/>
                <a:gdLst>
                  <a:gd name="T0" fmla="*/ 246 w 261"/>
                  <a:gd name="T1" fmla="*/ 38 h 231"/>
                  <a:gd name="T2" fmla="*/ 238 w 261"/>
                  <a:gd name="T3" fmla="*/ 63 h 231"/>
                  <a:gd name="T4" fmla="*/ 227 w 261"/>
                  <a:gd name="T5" fmla="*/ 84 h 231"/>
                  <a:gd name="T6" fmla="*/ 246 w 261"/>
                  <a:gd name="T7" fmla="*/ 91 h 231"/>
                  <a:gd name="T8" fmla="*/ 255 w 261"/>
                  <a:gd name="T9" fmla="*/ 101 h 231"/>
                  <a:gd name="T10" fmla="*/ 230 w 261"/>
                  <a:gd name="T11" fmla="*/ 137 h 231"/>
                  <a:gd name="T12" fmla="*/ 219 w 261"/>
                  <a:gd name="T13" fmla="*/ 160 h 231"/>
                  <a:gd name="T14" fmla="*/ 200 w 261"/>
                  <a:gd name="T15" fmla="*/ 179 h 231"/>
                  <a:gd name="T16" fmla="*/ 183 w 261"/>
                  <a:gd name="T17" fmla="*/ 196 h 231"/>
                  <a:gd name="T18" fmla="*/ 160 w 261"/>
                  <a:gd name="T19" fmla="*/ 210 h 231"/>
                  <a:gd name="T20" fmla="*/ 145 w 261"/>
                  <a:gd name="T21" fmla="*/ 215 h 231"/>
                  <a:gd name="T22" fmla="*/ 127 w 261"/>
                  <a:gd name="T23" fmla="*/ 219 h 231"/>
                  <a:gd name="T24" fmla="*/ 103 w 261"/>
                  <a:gd name="T25" fmla="*/ 217 h 231"/>
                  <a:gd name="T26" fmla="*/ 86 w 261"/>
                  <a:gd name="T27" fmla="*/ 221 h 231"/>
                  <a:gd name="T28" fmla="*/ 68 w 261"/>
                  <a:gd name="T29" fmla="*/ 223 h 231"/>
                  <a:gd name="T30" fmla="*/ 55 w 261"/>
                  <a:gd name="T31" fmla="*/ 231 h 231"/>
                  <a:gd name="T32" fmla="*/ 42 w 261"/>
                  <a:gd name="T33" fmla="*/ 223 h 231"/>
                  <a:gd name="T34" fmla="*/ 36 w 261"/>
                  <a:gd name="T35" fmla="*/ 217 h 231"/>
                  <a:gd name="T36" fmla="*/ 28 w 261"/>
                  <a:gd name="T37" fmla="*/ 217 h 231"/>
                  <a:gd name="T38" fmla="*/ 30 w 261"/>
                  <a:gd name="T39" fmla="*/ 208 h 231"/>
                  <a:gd name="T40" fmla="*/ 23 w 261"/>
                  <a:gd name="T41" fmla="*/ 198 h 231"/>
                  <a:gd name="T42" fmla="*/ 23 w 261"/>
                  <a:gd name="T43" fmla="*/ 198 h 231"/>
                  <a:gd name="T44" fmla="*/ 26 w 261"/>
                  <a:gd name="T45" fmla="*/ 192 h 231"/>
                  <a:gd name="T46" fmla="*/ 26 w 261"/>
                  <a:gd name="T47" fmla="*/ 171 h 231"/>
                  <a:gd name="T48" fmla="*/ 13 w 261"/>
                  <a:gd name="T49" fmla="*/ 147 h 231"/>
                  <a:gd name="T50" fmla="*/ 5 w 261"/>
                  <a:gd name="T51" fmla="*/ 124 h 231"/>
                  <a:gd name="T52" fmla="*/ 4 w 261"/>
                  <a:gd name="T53" fmla="*/ 112 h 231"/>
                  <a:gd name="T54" fmla="*/ 11 w 261"/>
                  <a:gd name="T55" fmla="*/ 108 h 231"/>
                  <a:gd name="T56" fmla="*/ 19 w 261"/>
                  <a:gd name="T57" fmla="*/ 118 h 231"/>
                  <a:gd name="T58" fmla="*/ 36 w 261"/>
                  <a:gd name="T59" fmla="*/ 118 h 231"/>
                  <a:gd name="T60" fmla="*/ 49 w 261"/>
                  <a:gd name="T61" fmla="*/ 114 h 231"/>
                  <a:gd name="T62" fmla="*/ 57 w 261"/>
                  <a:gd name="T63" fmla="*/ 47 h 231"/>
                  <a:gd name="T64" fmla="*/ 65 w 261"/>
                  <a:gd name="T65" fmla="*/ 57 h 231"/>
                  <a:gd name="T66" fmla="*/ 68 w 261"/>
                  <a:gd name="T67" fmla="*/ 65 h 231"/>
                  <a:gd name="T68" fmla="*/ 65 w 261"/>
                  <a:gd name="T69" fmla="*/ 78 h 231"/>
                  <a:gd name="T70" fmla="*/ 70 w 261"/>
                  <a:gd name="T71" fmla="*/ 82 h 231"/>
                  <a:gd name="T72" fmla="*/ 87 w 261"/>
                  <a:gd name="T73" fmla="*/ 80 h 231"/>
                  <a:gd name="T74" fmla="*/ 99 w 261"/>
                  <a:gd name="T75" fmla="*/ 70 h 231"/>
                  <a:gd name="T76" fmla="*/ 103 w 261"/>
                  <a:gd name="T77" fmla="*/ 55 h 231"/>
                  <a:gd name="T78" fmla="*/ 110 w 261"/>
                  <a:gd name="T79" fmla="*/ 57 h 231"/>
                  <a:gd name="T80" fmla="*/ 118 w 261"/>
                  <a:gd name="T81" fmla="*/ 61 h 231"/>
                  <a:gd name="T82" fmla="*/ 126 w 261"/>
                  <a:gd name="T83" fmla="*/ 63 h 231"/>
                  <a:gd name="T84" fmla="*/ 143 w 261"/>
                  <a:gd name="T85" fmla="*/ 63 h 231"/>
                  <a:gd name="T86" fmla="*/ 160 w 261"/>
                  <a:gd name="T87" fmla="*/ 42 h 231"/>
                  <a:gd name="T88" fmla="*/ 166 w 261"/>
                  <a:gd name="T89" fmla="*/ 28 h 231"/>
                  <a:gd name="T90" fmla="*/ 171 w 261"/>
                  <a:gd name="T91" fmla="*/ 23 h 231"/>
                  <a:gd name="T92" fmla="*/ 183 w 261"/>
                  <a:gd name="T93" fmla="*/ 15 h 231"/>
                  <a:gd name="T94" fmla="*/ 194 w 261"/>
                  <a:gd name="T95" fmla="*/ 7 h 231"/>
                  <a:gd name="T96" fmla="*/ 209 w 261"/>
                  <a:gd name="T97" fmla="*/ 0 h 231"/>
                  <a:gd name="T98" fmla="*/ 223 w 261"/>
                  <a:gd name="T99" fmla="*/ 4 h 231"/>
                  <a:gd name="T100" fmla="*/ 188 w 261"/>
                  <a:gd name="T101" fmla="*/ 116 h 231"/>
                  <a:gd name="T102" fmla="*/ 177 w 261"/>
                  <a:gd name="T103" fmla="*/ 122 h 231"/>
                  <a:gd name="T104" fmla="*/ 171 w 261"/>
                  <a:gd name="T105" fmla="*/ 131 h 231"/>
                  <a:gd name="T106" fmla="*/ 175 w 261"/>
                  <a:gd name="T107" fmla="*/ 147 h 231"/>
                  <a:gd name="T108" fmla="*/ 185 w 261"/>
                  <a:gd name="T109" fmla="*/ 149 h 231"/>
                  <a:gd name="T110" fmla="*/ 198 w 261"/>
                  <a:gd name="T111" fmla="*/ 141 h 231"/>
                  <a:gd name="T112" fmla="*/ 206 w 261"/>
                  <a:gd name="T113" fmla="*/ 128 h 231"/>
                  <a:gd name="T114" fmla="*/ 196 w 261"/>
                  <a:gd name="T115" fmla="*/ 118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1" h="231">
                    <a:moveTo>
                      <a:pt x="236" y="5"/>
                    </a:moveTo>
                    <a:lnTo>
                      <a:pt x="240" y="19"/>
                    </a:lnTo>
                    <a:lnTo>
                      <a:pt x="240" y="23"/>
                    </a:lnTo>
                    <a:lnTo>
                      <a:pt x="240" y="25"/>
                    </a:lnTo>
                    <a:lnTo>
                      <a:pt x="242" y="26"/>
                    </a:lnTo>
                    <a:lnTo>
                      <a:pt x="242" y="28"/>
                    </a:lnTo>
                    <a:lnTo>
                      <a:pt x="242" y="30"/>
                    </a:lnTo>
                    <a:lnTo>
                      <a:pt x="244" y="32"/>
                    </a:lnTo>
                    <a:lnTo>
                      <a:pt x="246" y="36"/>
                    </a:lnTo>
                    <a:lnTo>
                      <a:pt x="246" y="38"/>
                    </a:lnTo>
                    <a:lnTo>
                      <a:pt x="246" y="42"/>
                    </a:lnTo>
                    <a:lnTo>
                      <a:pt x="246" y="46"/>
                    </a:lnTo>
                    <a:lnTo>
                      <a:pt x="248" y="53"/>
                    </a:lnTo>
                    <a:lnTo>
                      <a:pt x="248" y="57"/>
                    </a:lnTo>
                    <a:lnTo>
                      <a:pt x="246" y="59"/>
                    </a:lnTo>
                    <a:lnTo>
                      <a:pt x="246" y="63"/>
                    </a:lnTo>
                    <a:lnTo>
                      <a:pt x="246" y="65"/>
                    </a:lnTo>
                    <a:lnTo>
                      <a:pt x="246" y="66"/>
                    </a:lnTo>
                    <a:lnTo>
                      <a:pt x="244" y="68"/>
                    </a:lnTo>
                    <a:lnTo>
                      <a:pt x="238" y="63"/>
                    </a:lnTo>
                    <a:lnTo>
                      <a:pt x="236" y="63"/>
                    </a:lnTo>
                    <a:lnTo>
                      <a:pt x="234" y="65"/>
                    </a:lnTo>
                    <a:lnTo>
                      <a:pt x="232" y="66"/>
                    </a:lnTo>
                    <a:lnTo>
                      <a:pt x="232" y="68"/>
                    </a:lnTo>
                    <a:lnTo>
                      <a:pt x="230" y="72"/>
                    </a:lnTo>
                    <a:lnTo>
                      <a:pt x="229" y="74"/>
                    </a:lnTo>
                    <a:lnTo>
                      <a:pt x="229" y="76"/>
                    </a:lnTo>
                    <a:lnTo>
                      <a:pt x="227" y="76"/>
                    </a:lnTo>
                    <a:lnTo>
                      <a:pt x="227" y="78"/>
                    </a:lnTo>
                    <a:lnTo>
                      <a:pt x="227" y="84"/>
                    </a:lnTo>
                    <a:lnTo>
                      <a:pt x="229" y="84"/>
                    </a:lnTo>
                    <a:lnTo>
                      <a:pt x="229" y="82"/>
                    </a:lnTo>
                    <a:lnTo>
                      <a:pt x="229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0" y="87"/>
                    </a:lnTo>
                    <a:lnTo>
                      <a:pt x="232" y="87"/>
                    </a:lnTo>
                    <a:lnTo>
                      <a:pt x="232" y="89"/>
                    </a:lnTo>
                    <a:lnTo>
                      <a:pt x="238" y="91"/>
                    </a:lnTo>
                    <a:lnTo>
                      <a:pt x="246" y="91"/>
                    </a:lnTo>
                    <a:lnTo>
                      <a:pt x="246" y="87"/>
                    </a:lnTo>
                    <a:lnTo>
                      <a:pt x="246" y="82"/>
                    </a:lnTo>
                    <a:lnTo>
                      <a:pt x="248" y="82"/>
                    </a:lnTo>
                    <a:lnTo>
                      <a:pt x="248" y="84"/>
                    </a:lnTo>
                    <a:lnTo>
                      <a:pt x="249" y="84"/>
                    </a:lnTo>
                    <a:lnTo>
                      <a:pt x="251" y="84"/>
                    </a:lnTo>
                    <a:lnTo>
                      <a:pt x="261" y="84"/>
                    </a:lnTo>
                    <a:lnTo>
                      <a:pt x="259" y="87"/>
                    </a:lnTo>
                    <a:lnTo>
                      <a:pt x="257" y="95"/>
                    </a:lnTo>
                    <a:lnTo>
                      <a:pt x="255" y="101"/>
                    </a:lnTo>
                    <a:lnTo>
                      <a:pt x="255" y="107"/>
                    </a:lnTo>
                    <a:lnTo>
                      <a:pt x="253" y="110"/>
                    </a:lnTo>
                    <a:lnTo>
                      <a:pt x="253" y="112"/>
                    </a:lnTo>
                    <a:lnTo>
                      <a:pt x="253" y="114"/>
                    </a:lnTo>
                    <a:lnTo>
                      <a:pt x="248" y="118"/>
                    </a:lnTo>
                    <a:lnTo>
                      <a:pt x="246" y="120"/>
                    </a:lnTo>
                    <a:lnTo>
                      <a:pt x="242" y="122"/>
                    </a:lnTo>
                    <a:lnTo>
                      <a:pt x="236" y="129"/>
                    </a:lnTo>
                    <a:lnTo>
                      <a:pt x="232" y="133"/>
                    </a:lnTo>
                    <a:lnTo>
                      <a:pt x="230" y="137"/>
                    </a:lnTo>
                    <a:lnTo>
                      <a:pt x="232" y="137"/>
                    </a:lnTo>
                    <a:lnTo>
                      <a:pt x="230" y="137"/>
                    </a:lnTo>
                    <a:lnTo>
                      <a:pt x="230" y="139"/>
                    </a:lnTo>
                    <a:lnTo>
                      <a:pt x="230" y="137"/>
                    </a:lnTo>
                    <a:lnTo>
                      <a:pt x="230" y="139"/>
                    </a:lnTo>
                    <a:lnTo>
                      <a:pt x="232" y="137"/>
                    </a:lnTo>
                    <a:lnTo>
                      <a:pt x="229" y="141"/>
                    </a:lnTo>
                    <a:lnTo>
                      <a:pt x="227" y="147"/>
                    </a:lnTo>
                    <a:lnTo>
                      <a:pt x="223" y="152"/>
                    </a:lnTo>
                    <a:lnTo>
                      <a:pt x="219" y="160"/>
                    </a:lnTo>
                    <a:lnTo>
                      <a:pt x="215" y="164"/>
                    </a:lnTo>
                    <a:lnTo>
                      <a:pt x="211" y="166"/>
                    </a:lnTo>
                    <a:lnTo>
                      <a:pt x="209" y="168"/>
                    </a:lnTo>
                    <a:lnTo>
                      <a:pt x="208" y="171"/>
                    </a:lnTo>
                    <a:lnTo>
                      <a:pt x="206" y="171"/>
                    </a:lnTo>
                    <a:lnTo>
                      <a:pt x="206" y="173"/>
                    </a:lnTo>
                    <a:lnTo>
                      <a:pt x="204" y="173"/>
                    </a:lnTo>
                    <a:lnTo>
                      <a:pt x="204" y="175"/>
                    </a:lnTo>
                    <a:lnTo>
                      <a:pt x="202" y="177"/>
                    </a:lnTo>
                    <a:lnTo>
                      <a:pt x="200" y="179"/>
                    </a:lnTo>
                    <a:lnTo>
                      <a:pt x="198" y="183"/>
                    </a:lnTo>
                    <a:lnTo>
                      <a:pt x="196" y="183"/>
                    </a:lnTo>
                    <a:lnTo>
                      <a:pt x="194" y="185"/>
                    </a:lnTo>
                    <a:lnTo>
                      <a:pt x="194" y="187"/>
                    </a:lnTo>
                    <a:lnTo>
                      <a:pt x="192" y="187"/>
                    </a:lnTo>
                    <a:lnTo>
                      <a:pt x="190" y="189"/>
                    </a:lnTo>
                    <a:lnTo>
                      <a:pt x="188" y="191"/>
                    </a:lnTo>
                    <a:lnTo>
                      <a:pt x="185" y="192"/>
                    </a:lnTo>
                    <a:lnTo>
                      <a:pt x="185" y="194"/>
                    </a:lnTo>
                    <a:lnTo>
                      <a:pt x="183" y="196"/>
                    </a:lnTo>
                    <a:lnTo>
                      <a:pt x="181" y="196"/>
                    </a:lnTo>
                    <a:lnTo>
                      <a:pt x="179" y="198"/>
                    </a:lnTo>
                    <a:lnTo>
                      <a:pt x="177" y="200"/>
                    </a:lnTo>
                    <a:lnTo>
                      <a:pt x="175" y="202"/>
                    </a:lnTo>
                    <a:lnTo>
                      <a:pt x="169" y="206"/>
                    </a:lnTo>
                    <a:lnTo>
                      <a:pt x="168" y="206"/>
                    </a:lnTo>
                    <a:lnTo>
                      <a:pt x="168" y="208"/>
                    </a:lnTo>
                    <a:lnTo>
                      <a:pt x="166" y="208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8" y="212"/>
                    </a:lnTo>
                    <a:lnTo>
                      <a:pt x="156" y="212"/>
                    </a:lnTo>
                    <a:lnTo>
                      <a:pt x="154" y="210"/>
                    </a:lnTo>
                    <a:lnTo>
                      <a:pt x="152" y="210"/>
                    </a:lnTo>
                    <a:lnTo>
                      <a:pt x="148" y="210"/>
                    </a:lnTo>
                    <a:lnTo>
                      <a:pt x="147" y="212"/>
                    </a:lnTo>
                    <a:lnTo>
                      <a:pt x="145" y="213"/>
                    </a:lnTo>
                    <a:lnTo>
                      <a:pt x="145" y="215"/>
                    </a:lnTo>
                    <a:lnTo>
                      <a:pt x="147" y="215"/>
                    </a:lnTo>
                    <a:lnTo>
                      <a:pt x="145" y="215"/>
                    </a:lnTo>
                    <a:lnTo>
                      <a:pt x="145" y="217"/>
                    </a:lnTo>
                    <a:lnTo>
                      <a:pt x="143" y="215"/>
                    </a:lnTo>
                    <a:lnTo>
                      <a:pt x="141" y="215"/>
                    </a:lnTo>
                    <a:lnTo>
                      <a:pt x="139" y="215"/>
                    </a:lnTo>
                    <a:lnTo>
                      <a:pt x="135" y="215"/>
                    </a:lnTo>
                    <a:lnTo>
                      <a:pt x="133" y="215"/>
                    </a:lnTo>
                    <a:lnTo>
                      <a:pt x="133" y="217"/>
                    </a:lnTo>
                    <a:lnTo>
                      <a:pt x="133" y="219"/>
                    </a:lnTo>
                    <a:lnTo>
                      <a:pt x="129" y="219"/>
                    </a:lnTo>
                    <a:lnTo>
                      <a:pt x="127" y="219"/>
                    </a:lnTo>
                    <a:lnTo>
                      <a:pt x="126" y="217"/>
                    </a:lnTo>
                    <a:lnTo>
                      <a:pt x="124" y="217"/>
                    </a:lnTo>
                    <a:lnTo>
                      <a:pt x="122" y="217"/>
                    </a:lnTo>
                    <a:lnTo>
                      <a:pt x="116" y="215"/>
                    </a:lnTo>
                    <a:lnTo>
                      <a:pt x="114" y="215"/>
                    </a:lnTo>
                    <a:lnTo>
                      <a:pt x="112" y="215"/>
                    </a:lnTo>
                    <a:lnTo>
                      <a:pt x="110" y="215"/>
                    </a:lnTo>
                    <a:lnTo>
                      <a:pt x="108" y="217"/>
                    </a:lnTo>
                    <a:lnTo>
                      <a:pt x="110" y="217"/>
                    </a:lnTo>
                    <a:lnTo>
                      <a:pt x="103" y="217"/>
                    </a:lnTo>
                    <a:lnTo>
                      <a:pt x="101" y="215"/>
                    </a:lnTo>
                    <a:lnTo>
                      <a:pt x="99" y="215"/>
                    </a:lnTo>
                    <a:lnTo>
                      <a:pt x="97" y="215"/>
                    </a:lnTo>
                    <a:lnTo>
                      <a:pt x="95" y="217"/>
                    </a:lnTo>
                    <a:lnTo>
                      <a:pt x="93" y="217"/>
                    </a:lnTo>
                    <a:lnTo>
                      <a:pt x="91" y="217"/>
                    </a:lnTo>
                    <a:lnTo>
                      <a:pt x="89" y="217"/>
                    </a:lnTo>
                    <a:lnTo>
                      <a:pt x="89" y="219"/>
                    </a:lnTo>
                    <a:lnTo>
                      <a:pt x="87" y="219"/>
                    </a:lnTo>
                    <a:lnTo>
                      <a:pt x="86" y="221"/>
                    </a:lnTo>
                    <a:lnTo>
                      <a:pt x="87" y="221"/>
                    </a:lnTo>
                    <a:lnTo>
                      <a:pt x="86" y="221"/>
                    </a:lnTo>
                    <a:lnTo>
                      <a:pt x="86" y="223"/>
                    </a:lnTo>
                    <a:lnTo>
                      <a:pt x="82" y="223"/>
                    </a:lnTo>
                    <a:lnTo>
                      <a:pt x="80" y="223"/>
                    </a:lnTo>
                    <a:lnTo>
                      <a:pt x="78" y="223"/>
                    </a:lnTo>
                    <a:lnTo>
                      <a:pt x="76" y="223"/>
                    </a:lnTo>
                    <a:lnTo>
                      <a:pt x="72" y="223"/>
                    </a:lnTo>
                    <a:lnTo>
                      <a:pt x="70" y="223"/>
                    </a:lnTo>
                    <a:lnTo>
                      <a:pt x="68" y="223"/>
                    </a:lnTo>
                    <a:lnTo>
                      <a:pt x="70" y="225"/>
                    </a:lnTo>
                    <a:lnTo>
                      <a:pt x="68" y="225"/>
                    </a:lnTo>
                    <a:lnTo>
                      <a:pt x="66" y="225"/>
                    </a:lnTo>
                    <a:lnTo>
                      <a:pt x="65" y="225"/>
                    </a:lnTo>
                    <a:lnTo>
                      <a:pt x="63" y="225"/>
                    </a:lnTo>
                    <a:lnTo>
                      <a:pt x="63" y="227"/>
                    </a:lnTo>
                    <a:lnTo>
                      <a:pt x="59" y="229"/>
                    </a:lnTo>
                    <a:lnTo>
                      <a:pt x="57" y="229"/>
                    </a:lnTo>
                    <a:lnTo>
                      <a:pt x="57" y="231"/>
                    </a:lnTo>
                    <a:lnTo>
                      <a:pt x="55" y="231"/>
                    </a:lnTo>
                    <a:lnTo>
                      <a:pt x="53" y="231"/>
                    </a:lnTo>
                    <a:lnTo>
                      <a:pt x="51" y="231"/>
                    </a:lnTo>
                    <a:lnTo>
                      <a:pt x="49" y="231"/>
                    </a:lnTo>
                    <a:lnTo>
                      <a:pt x="49" y="229"/>
                    </a:lnTo>
                    <a:lnTo>
                      <a:pt x="47" y="229"/>
                    </a:lnTo>
                    <a:lnTo>
                      <a:pt x="45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4" y="223"/>
                    </a:lnTo>
                    <a:lnTo>
                      <a:pt x="42" y="223"/>
                    </a:lnTo>
                    <a:lnTo>
                      <a:pt x="40" y="221"/>
                    </a:lnTo>
                    <a:lnTo>
                      <a:pt x="40" y="223"/>
                    </a:lnTo>
                    <a:lnTo>
                      <a:pt x="38" y="223"/>
                    </a:lnTo>
                    <a:lnTo>
                      <a:pt x="36" y="223"/>
                    </a:lnTo>
                    <a:lnTo>
                      <a:pt x="38" y="221"/>
                    </a:lnTo>
                    <a:lnTo>
                      <a:pt x="36" y="221"/>
                    </a:lnTo>
                    <a:lnTo>
                      <a:pt x="38" y="221"/>
                    </a:lnTo>
                    <a:lnTo>
                      <a:pt x="36" y="219"/>
                    </a:lnTo>
                    <a:lnTo>
                      <a:pt x="38" y="219"/>
                    </a:lnTo>
                    <a:lnTo>
                      <a:pt x="36" y="217"/>
                    </a:lnTo>
                    <a:lnTo>
                      <a:pt x="34" y="217"/>
                    </a:lnTo>
                    <a:lnTo>
                      <a:pt x="32" y="217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2" y="219"/>
                    </a:lnTo>
                    <a:lnTo>
                      <a:pt x="30" y="221"/>
                    </a:lnTo>
                    <a:lnTo>
                      <a:pt x="32" y="223"/>
                    </a:lnTo>
                    <a:lnTo>
                      <a:pt x="30" y="221"/>
                    </a:lnTo>
                    <a:lnTo>
                      <a:pt x="30" y="219"/>
                    </a:lnTo>
                    <a:lnTo>
                      <a:pt x="28" y="217"/>
                    </a:lnTo>
                    <a:lnTo>
                      <a:pt x="30" y="217"/>
                    </a:lnTo>
                    <a:lnTo>
                      <a:pt x="30" y="215"/>
                    </a:lnTo>
                    <a:lnTo>
                      <a:pt x="28" y="217"/>
                    </a:lnTo>
                    <a:lnTo>
                      <a:pt x="28" y="215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32" y="213"/>
                    </a:lnTo>
                    <a:lnTo>
                      <a:pt x="32" y="212"/>
                    </a:lnTo>
                    <a:lnTo>
                      <a:pt x="30" y="210"/>
                    </a:lnTo>
                    <a:lnTo>
                      <a:pt x="30" y="208"/>
                    </a:lnTo>
                    <a:lnTo>
                      <a:pt x="28" y="208"/>
                    </a:lnTo>
                    <a:lnTo>
                      <a:pt x="28" y="206"/>
                    </a:lnTo>
                    <a:lnTo>
                      <a:pt x="28" y="204"/>
                    </a:lnTo>
                    <a:lnTo>
                      <a:pt x="26" y="204"/>
                    </a:lnTo>
                    <a:lnTo>
                      <a:pt x="26" y="202"/>
                    </a:lnTo>
                    <a:lnTo>
                      <a:pt x="26" y="200"/>
                    </a:lnTo>
                    <a:lnTo>
                      <a:pt x="24" y="200"/>
                    </a:lnTo>
                    <a:lnTo>
                      <a:pt x="23" y="198"/>
                    </a:lnTo>
                    <a:lnTo>
                      <a:pt x="24" y="198"/>
                    </a:lnTo>
                    <a:lnTo>
                      <a:pt x="23" y="198"/>
                    </a:lnTo>
                    <a:lnTo>
                      <a:pt x="24" y="198"/>
                    </a:lnTo>
                    <a:lnTo>
                      <a:pt x="24" y="200"/>
                    </a:lnTo>
                    <a:lnTo>
                      <a:pt x="26" y="200"/>
                    </a:lnTo>
                    <a:lnTo>
                      <a:pt x="24" y="200"/>
                    </a:lnTo>
                    <a:lnTo>
                      <a:pt x="24" y="198"/>
                    </a:lnTo>
                    <a:lnTo>
                      <a:pt x="24" y="196"/>
                    </a:lnTo>
                    <a:lnTo>
                      <a:pt x="23" y="196"/>
                    </a:lnTo>
                    <a:lnTo>
                      <a:pt x="24" y="196"/>
                    </a:lnTo>
                    <a:lnTo>
                      <a:pt x="23" y="196"/>
                    </a:lnTo>
                    <a:lnTo>
                      <a:pt x="23" y="198"/>
                    </a:lnTo>
                    <a:lnTo>
                      <a:pt x="23" y="196"/>
                    </a:lnTo>
                    <a:lnTo>
                      <a:pt x="23" y="194"/>
                    </a:lnTo>
                    <a:lnTo>
                      <a:pt x="21" y="194"/>
                    </a:lnTo>
                    <a:lnTo>
                      <a:pt x="23" y="194"/>
                    </a:lnTo>
                    <a:lnTo>
                      <a:pt x="21" y="192"/>
                    </a:lnTo>
                    <a:lnTo>
                      <a:pt x="23" y="192"/>
                    </a:lnTo>
                    <a:lnTo>
                      <a:pt x="23" y="191"/>
                    </a:lnTo>
                    <a:lnTo>
                      <a:pt x="24" y="191"/>
                    </a:lnTo>
                    <a:lnTo>
                      <a:pt x="24" y="192"/>
                    </a:lnTo>
                    <a:lnTo>
                      <a:pt x="26" y="192"/>
                    </a:lnTo>
                    <a:lnTo>
                      <a:pt x="28" y="191"/>
                    </a:lnTo>
                    <a:lnTo>
                      <a:pt x="28" y="189"/>
                    </a:lnTo>
                    <a:lnTo>
                      <a:pt x="28" y="187"/>
                    </a:lnTo>
                    <a:lnTo>
                      <a:pt x="28" y="183"/>
                    </a:lnTo>
                    <a:lnTo>
                      <a:pt x="28" y="179"/>
                    </a:lnTo>
                    <a:lnTo>
                      <a:pt x="28" y="177"/>
                    </a:lnTo>
                    <a:lnTo>
                      <a:pt x="28" y="175"/>
                    </a:lnTo>
                    <a:lnTo>
                      <a:pt x="28" y="173"/>
                    </a:lnTo>
                    <a:lnTo>
                      <a:pt x="26" y="173"/>
                    </a:lnTo>
                    <a:lnTo>
                      <a:pt x="26" y="171"/>
                    </a:lnTo>
                    <a:lnTo>
                      <a:pt x="26" y="170"/>
                    </a:lnTo>
                    <a:lnTo>
                      <a:pt x="23" y="166"/>
                    </a:lnTo>
                    <a:lnTo>
                      <a:pt x="21" y="164"/>
                    </a:lnTo>
                    <a:lnTo>
                      <a:pt x="19" y="162"/>
                    </a:lnTo>
                    <a:lnTo>
                      <a:pt x="19" y="158"/>
                    </a:lnTo>
                    <a:lnTo>
                      <a:pt x="17" y="158"/>
                    </a:lnTo>
                    <a:lnTo>
                      <a:pt x="17" y="154"/>
                    </a:lnTo>
                    <a:lnTo>
                      <a:pt x="15" y="152"/>
                    </a:lnTo>
                    <a:lnTo>
                      <a:pt x="15" y="150"/>
                    </a:lnTo>
                    <a:lnTo>
                      <a:pt x="13" y="147"/>
                    </a:lnTo>
                    <a:lnTo>
                      <a:pt x="11" y="143"/>
                    </a:lnTo>
                    <a:lnTo>
                      <a:pt x="11" y="141"/>
                    </a:lnTo>
                    <a:lnTo>
                      <a:pt x="9" y="139"/>
                    </a:lnTo>
                    <a:lnTo>
                      <a:pt x="9" y="137"/>
                    </a:lnTo>
                    <a:lnTo>
                      <a:pt x="9" y="135"/>
                    </a:lnTo>
                    <a:lnTo>
                      <a:pt x="9" y="133"/>
                    </a:lnTo>
                    <a:lnTo>
                      <a:pt x="7" y="133"/>
                    </a:lnTo>
                    <a:lnTo>
                      <a:pt x="7" y="129"/>
                    </a:lnTo>
                    <a:lnTo>
                      <a:pt x="5" y="126"/>
                    </a:lnTo>
                    <a:lnTo>
                      <a:pt x="5" y="124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2" y="116"/>
                    </a:lnTo>
                    <a:lnTo>
                      <a:pt x="0" y="116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4" y="110"/>
                    </a:lnTo>
                    <a:lnTo>
                      <a:pt x="5" y="110"/>
                    </a:lnTo>
                    <a:lnTo>
                      <a:pt x="4" y="108"/>
                    </a:lnTo>
                    <a:lnTo>
                      <a:pt x="5" y="108"/>
                    </a:lnTo>
                    <a:lnTo>
                      <a:pt x="5" y="107"/>
                    </a:lnTo>
                    <a:lnTo>
                      <a:pt x="5" y="105"/>
                    </a:lnTo>
                    <a:lnTo>
                      <a:pt x="7" y="105"/>
                    </a:lnTo>
                    <a:lnTo>
                      <a:pt x="9" y="105"/>
                    </a:lnTo>
                    <a:lnTo>
                      <a:pt x="11" y="107"/>
                    </a:lnTo>
                    <a:lnTo>
                      <a:pt x="11" y="108"/>
                    </a:lnTo>
                    <a:lnTo>
                      <a:pt x="13" y="108"/>
                    </a:lnTo>
                    <a:lnTo>
                      <a:pt x="13" y="110"/>
                    </a:lnTo>
                    <a:lnTo>
                      <a:pt x="15" y="110"/>
                    </a:lnTo>
                    <a:lnTo>
                      <a:pt x="13" y="112"/>
                    </a:lnTo>
                    <a:lnTo>
                      <a:pt x="13" y="114"/>
                    </a:lnTo>
                    <a:lnTo>
                      <a:pt x="15" y="114"/>
                    </a:lnTo>
                    <a:lnTo>
                      <a:pt x="15" y="116"/>
                    </a:lnTo>
                    <a:lnTo>
                      <a:pt x="17" y="116"/>
                    </a:lnTo>
                    <a:lnTo>
                      <a:pt x="17" y="118"/>
                    </a:lnTo>
                    <a:lnTo>
                      <a:pt x="19" y="118"/>
                    </a:lnTo>
                    <a:lnTo>
                      <a:pt x="21" y="118"/>
                    </a:lnTo>
                    <a:lnTo>
                      <a:pt x="23" y="118"/>
                    </a:lnTo>
                    <a:lnTo>
                      <a:pt x="24" y="118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8" y="120"/>
                    </a:lnTo>
                    <a:lnTo>
                      <a:pt x="30" y="120"/>
                    </a:lnTo>
                    <a:lnTo>
                      <a:pt x="32" y="120"/>
                    </a:lnTo>
                    <a:lnTo>
                      <a:pt x="34" y="120"/>
                    </a:lnTo>
                    <a:lnTo>
                      <a:pt x="36" y="118"/>
                    </a:lnTo>
                    <a:lnTo>
                      <a:pt x="38" y="120"/>
                    </a:lnTo>
                    <a:lnTo>
                      <a:pt x="40" y="120"/>
                    </a:lnTo>
                    <a:lnTo>
                      <a:pt x="42" y="122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4" y="118"/>
                    </a:lnTo>
                    <a:lnTo>
                      <a:pt x="45" y="118"/>
                    </a:lnTo>
                    <a:lnTo>
                      <a:pt x="47" y="116"/>
                    </a:lnTo>
                    <a:lnTo>
                      <a:pt x="47" y="114"/>
                    </a:lnTo>
                    <a:lnTo>
                      <a:pt x="49" y="114"/>
                    </a:lnTo>
                    <a:lnTo>
                      <a:pt x="49" y="112"/>
                    </a:lnTo>
                    <a:lnTo>
                      <a:pt x="51" y="114"/>
                    </a:lnTo>
                    <a:lnTo>
                      <a:pt x="51" y="112"/>
                    </a:lnTo>
                    <a:lnTo>
                      <a:pt x="53" y="112"/>
                    </a:lnTo>
                    <a:lnTo>
                      <a:pt x="55" y="112"/>
                    </a:lnTo>
                    <a:lnTo>
                      <a:pt x="55" y="103"/>
                    </a:lnTo>
                    <a:lnTo>
                      <a:pt x="55" y="80"/>
                    </a:lnTo>
                    <a:lnTo>
                      <a:pt x="55" y="61"/>
                    </a:lnTo>
                    <a:lnTo>
                      <a:pt x="55" y="46"/>
                    </a:lnTo>
                    <a:lnTo>
                      <a:pt x="57" y="47"/>
                    </a:lnTo>
                    <a:lnTo>
                      <a:pt x="57" y="49"/>
                    </a:lnTo>
                    <a:lnTo>
                      <a:pt x="59" y="49"/>
                    </a:lnTo>
                    <a:lnTo>
                      <a:pt x="61" y="49"/>
                    </a:lnTo>
                    <a:lnTo>
                      <a:pt x="63" y="51"/>
                    </a:lnTo>
                    <a:lnTo>
                      <a:pt x="61" y="51"/>
                    </a:lnTo>
                    <a:lnTo>
                      <a:pt x="63" y="51"/>
                    </a:lnTo>
                    <a:lnTo>
                      <a:pt x="63" y="53"/>
                    </a:lnTo>
                    <a:lnTo>
                      <a:pt x="63" y="55"/>
                    </a:lnTo>
                    <a:lnTo>
                      <a:pt x="65" y="55"/>
                    </a:lnTo>
                    <a:lnTo>
                      <a:pt x="65" y="57"/>
                    </a:lnTo>
                    <a:lnTo>
                      <a:pt x="65" y="59"/>
                    </a:lnTo>
                    <a:lnTo>
                      <a:pt x="66" y="59"/>
                    </a:lnTo>
                    <a:lnTo>
                      <a:pt x="65" y="59"/>
                    </a:lnTo>
                    <a:lnTo>
                      <a:pt x="66" y="59"/>
                    </a:lnTo>
                    <a:lnTo>
                      <a:pt x="66" y="61"/>
                    </a:lnTo>
                    <a:lnTo>
                      <a:pt x="66" y="63"/>
                    </a:lnTo>
                    <a:lnTo>
                      <a:pt x="66" y="61"/>
                    </a:lnTo>
                    <a:lnTo>
                      <a:pt x="66" y="63"/>
                    </a:lnTo>
                    <a:lnTo>
                      <a:pt x="66" y="65"/>
                    </a:lnTo>
                    <a:lnTo>
                      <a:pt x="68" y="65"/>
                    </a:lnTo>
                    <a:lnTo>
                      <a:pt x="66" y="65"/>
                    </a:lnTo>
                    <a:lnTo>
                      <a:pt x="68" y="65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8" y="70"/>
                    </a:lnTo>
                    <a:lnTo>
                      <a:pt x="68" y="72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5" y="76"/>
                    </a:lnTo>
                    <a:lnTo>
                      <a:pt x="65" y="78"/>
                    </a:lnTo>
                    <a:lnTo>
                      <a:pt x="66" y="78"/>
                    </a:lnTo>
                    <a:lnTo>
                      <a:pt x="66" y="80"/>
                    </a:lnTo>
                    <a:lnTo>
                      <a:pt x="65" y="80"/>
                    </a:lnTo>
                    <a:lnTo>
                      <a:pt x="66" y="82"/>
                    </a:lnTo>
                    <a:lnTo>
                      <a:pt x="65" y="82"/>
                    </a:lnTo>
                    <a:lnTo>
                      <a:pt x="66" y="82"/>
                    </a:lnTo>
                    <a:lnTo>
                      <a:pt x="66" y="84"/>
                    </a:lnTo>
                    <a:lnTo>
                      <a:pt x="68" y="84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2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8" y="84"/>
                    </a:lnTo>
                    <a:lnTo>
                      <a:pt x="80" y="84"/>
                    </a:lnTo>
                    <a:lnTo>
                      <a:pt x="82" y="84"/>
                    </a:lnTo>
                    <a:lnTo>
                      <a:pt x="84" y="82"/>
                    </a:lnTo>
                    <a:lnTo>
                      <a:pt x="84" y="80"/>
                    </a:lnTo>
                    <a:lnTo>
                      <a:pt x="86" y="80"/>
                    </a:lnTo>
                    <a:lnTo>
                      <a:pt x="87" y="80"/>
                    </a:lnTo>
                    <a:lnTo>
                      <a:pt x="89" y="78"/>
                    </a:lnTo>
                    <a:lnTo>
                      <a:pt x="89" y="76"/>
                    </a:lnTo>
                    <a:lnTo>
                      <a:pt x="91" y="76"/>
                    </a:lnTo>
                    <a:lnTo>
                      <a:pt x="91" y="74"/>
                    </a:lnTo>
                    <a:lnTo>
                      <a:pt x="93" y="74"/>
                    </a:lnTo>
                    <a:lnTo>
                      <a:pt x="93" y="72"/>
                    </a:lnTo>
                    <a:lnTo>
                      <a:pt x="95" y="72"/>
                    </a:lnTo>
                    <a:lnTo>
                      <a:pt x="97" y="72"/>
                    </a:lnTo>
                    <a:lnTo>
                      <a:pt x="97" y="70"/>
                    </a:lnTo>
                    <a:lnTo>
                      <a:pt x="99" y="70"/>
                    </a:lnTo>
                    <a:lnTo>
                      <a:pt x="99" y="68"/>
                    </a:lnTo>
                    <a:lnTo>
                      <a:pt x="99" y="66"/>
                    </a:lnTo>
                    <a:lnTo>
                      <a:pt x="99" y="65"/>
                    </a:lnTo>
                    <a:lnTo>
                      <a:pt x="99" y="63"/>
                    </a:lnTo>
                    <a:lnTo>
                      <a:pt x="101" y="63"/>
                    </a:lnTo>
                    <a:lnTo>
                      <a:pt x="101" y="61"/>
                    </a:lnTo>
                    <a:lnTo>
                      <a:pt x="101" y="59"/>
                    </a:lnTo>
                    <a:lnTo>
                      <a:pt x="103" y="59"/>
                    </a:lnTo>
                    <a:lnTo>
                      <a:pt x="103" y="57"/>
                    </a:lnTo>
                    <a:lnTo>
                      <a:pt x="103" y="55"/>
                    </a:lnTo>
                    <a:lnTo>
                      <a:pt x="105" y="57"/>
                    </a:lnTo>
                    <a:lnTo>
                      <a:pt x="105" y="55"/>
                    </a:lnTo>
                    <a:lnTo>
                      <a:pt x="105" y="57"/>
                    </a:lnTo>
                    <a:lnTo>
                      <a:pt x="105" y="55"/>
                    </a:lnTo>
                    <a:lnTo>
                      <a:pt x="105" y="57"/>
                    </a:lnTo>
                    <a:lnTo>
                      <a:pt x="106" y="55"/>
                    </a:lnTo>
                    <a:lnTo>
                      <a:pt x="108" y="55"/>
                    </a:lnTo>
                    <a:lnTo>
                      <a:pt x="110" y="57"/>
                    </a:lnTo>
                    <a:lnTo>
                      <a:pt x="110" y="55"/>
                    </a:lnTo>
                    <a:lnTo>
                      <a:pt x="110" y="57"/>
                    </a:lnTo>
                    <a:lnTo>
                      <a:pt x="112" y="57"/>
                    </a:lnTo>
                    <a:lnTo>
                      <a:pt x="114" y="57"/>
                    </a:lnTo>
                    <a:lnTo>
                      <a:pt x="114" y="59"/>
                    </a:lnTo>
                    <a:lnTo>
                      <a:pt x="114" y="57"/>
                    </a:lnTo>
                    <a:lnTo>
                      <a:pt x="114" y="59"/>
                    </a:lnTo>
                    <a:lnTo>
                      <a:pt x="116" y="59"/>
                    </a:lnTo>
                    <a:lnTo>
                      <a:pt x="116" y="61"/>
                    </a:lnTo>
                    <a:lnTo>
                      <a:pt x="118" y="61"/>
                    </a:lnTo>
                    <a:lnTo>
                      <a:pt x="118" y="63"/>
                    </a:lnTo>
                    <a:lnTo>
                      <a:pt x="118" y="61"/>
                    </a:lnTo>
                    <a:lnTo>
                      <a:pt x="120" y="61"/>
                    </a:lnTo>
                    <a:lnTo>
                      <a:pt x="120" y="63"/>
                    </a:lnTo>
                    <a:lnTo>
                      <a:pt x="120" y="61"/>
                    </a:lnTo>
                    <a:lnTo>
                      <a:pt x="120" y="63"/>
                    </a:lnTo>
                    <a:lnTo>
                      <a:pt x="120" y="61"/>
                    </a:lnTo>
                    <a:lnTo>
                      <a:pt x="120" y="63"/>
                    </a:lnTo>
                    <a:lnTo>
                      <a:pt x="122" y="61"/>
                    </a:lnTo>
                    <a:lnTo>
                      <a:pt x="124" y="63"/>
                    </a:lnTo>
                    <a:lnTo>
                      <a:pt x="126" y="65"/>
                    </a:lnTo>
                    <a:lnTo>
                      <a:pt x="126" y="63"/>
                    </a:lnTo>
                    <a:lnTo>
                      <a:pt x="127" y="63"/>
                    </a:lnTo>
                    <a:lnTo>
                      <a:pt x="129" y="65"/>
                    </a:lnTo>
                    <a:lnTo>
                      <a:pt x="131" y="65"/>
                    </a:lnTo>
                    <a:lnTo>
                      <a:pt x="133" y="65"/>
                    </a:lnTo>
                    <a:lnTo>
                      <a:pt x="135" y="65"/>
                    </a:lnTo>
                    <a:lnTo>
                      <a:pt x="135" y="63"/>
                    </a:lnTo>
                    <a:lnTo>
                      <a:pt x="137" y="63"/>
                    </a:lnTo>
                    <a:lnTo>
                      <a:pt x="137" y="65"/>
                    </a:lnTo>
                    <a:lnTo>
                      <a:pt x="141" y="65"/>
                    </a:lnTo>
                    <a:lnTo>
                      <a:pt x="143" y="63"/>
                    </a:lnTo>
                    <a:lnTo>
                      <a:pt x="145" y="63"/>
                    </a:lnTo>
                    <a:lnTo>
                      <a:pt x="145" y="61"/>
                    </a:lnTo>
                    <a:lnTo>
                      <a:pt x="147" y="57"/>
                    </a:lnTo>
                    <a:lnTo>
                      <a:pt x="147" y="55"/>
                    </a:lnTo>
                    <a:lnTo>
                      <a:pt x="148" y="49"/>
                    </a:lnTo>
                    <a:lnTo>
                      <a:pt x="148" y="47"/>
                    </a:lnTo>
                    <a:lnTo>
                      <a:pt x="148" y="46"/>
                    </a:lnTo>
                    <a:lnTo>
                      <a:pt x="150" y="46"/>
                    </a:lnTo>
                    <a:lnTo>
                      <a:pt x="158" y="44"/>
                    </a:lnTo>
                    <a:lnTo>
                      <a:pt x="160" y="42"/>
                    </a:lnTo>
                    <a:lnTo>
                      <a:pt x="160" y="40"/>
                    </a:lnTo>
                    <a:lnTo>
                      <a:pt x="162" y="40"/>
                    </a:lnTo>
                    <a:lnTo>
                      <a:pt x="162" y="38"/>
                    </a:lnTo>
                    <a:lnTo>
                      <a:pt x="164" y="38"/>
                    </a:lnTo>
                    <a:lnTo>
                      <a:pt x="166" y="38"/>
                    </a:lnTo>
                    <a:lnTo>
                      <a:pt x="166" y="36"/>
                    </a:lnTo>
                    <a:lnTo>
                      <a:pt x="166" y="34"/>
                    </a:lnTo>
                    <a:lnTo>
                      <a:pt x="166" y="32"/>
                    </a:lnTo>
                    <a:lnTo>
                      <a:pt x="166" y="30"/>
                    </a:lnTo>
                    <a:lnTo>
                      <a:pt x="166" y="28"/>
                    </a:lnTo>
                    <a:lnTo>
                      <a:pt x="168" y="28"/>
                    </a:lnTo>
                    <a:lnTo>
                      <a:pt x="168" y="26"/>
                    </a:lnTo>
                    <a:lnTo>
                      <a:pt x="168" y="28"/>
                    </a:lnTo>
                    <a:lnTo>
                      <a:pt x="168" y="26"/>
                    </a:lnTo>
                    <a:lnTo>
                      <a:pt x="169" y="26"/>
                    </a:lnTo>
                    <a:lnTo>
                      <a:pt x="169" y="25"/>
                    </a:lnTo>
                    <a:lnTo>
                      <a:pt x="169" y="26"/>
                    </a:lnTo>
                    <a:lnTo>
                      <a:pt x="169" y="25"/>
                    </a:lnTo>
                    <a:lnTo>
                      <a:pt x="171" y="25"/>
                    </a:lnTo>
                    <a:lnTo>
                      <a:pt x="171" y="23"/>
                    </a:lnTo>
                    <a:lnTo>
                      <a:pt x="173" y="23"/>
                    </a:lnTo>
                    <a:lnTo>
                      <a:pt x="175" y="23"/>
                    </a:lnTo>
                    <a:lnTo>
                      <a:pt x="175" y="21"/>
                    </a:lnTo>
                    <a:lnTo>
                      <a:pt x="177" y="21"/>
                    </a:lnTo>
                    <a:lnTo>
                      <a:pt x="177" y="19"/>
                    </a:lnTo>
                    <a:lnTo>
                      <a:pt x="179" y="19"/>
                    </a:lnTo>
                    <a:lnTo>
                      <a:pt x="179" y="17"/>
                    </a:lnTo>
                    <a:lnTo>
                      <a:pt x="181" y="17"/>
                    </a:lnTo>
                    <a:lnTo>
                      <a:pt x="181" y="15"/>
                    </a:lnTo>
                    <a:lnTo>
                      <a:pt x="183" y="15"/>
                    </a:lnTo>
                    <a:lnTo>
                      <a:pt x="183" y="13"/>
                    </a:lnTo>
                    <a:lnTo>
                      <a:pt x="185" y="13"/>
                    </a:lnTo>
                    <a:lnTo>
                      <a:pt x="185" y="11"/>
                    </a:lnTo>
                    <a:lnTo>
                      <a:pt x="187" y="11"/>
                    </a:lnTo>
                    <a:lnTo>
                      <a:pt x="187" y="9"/>
                    </a:lnTo>
                    <a:lnTo>
                      <a:pt x="188" y="9"/>
                    </a:lnTo>
                    <a:lnTo>
                      <a:pt x="190" y="7"/>
                    </a:lnTo>
                    <a:lnTo>
                      <a:pt x="190" y="9"/>
                    </a:lnTo>
                    <a:lnTo>
                      <a:pt x="192" y="7"/>
                    </a:lnTo>
                    <a:lnTo>
                      <a:pt x="194" y="7"/>
                    </a:lnTo>
                    <a:lnTo>
                      <a:pt x="196" y="7"/>
                    </a:lnTo>
                    <a:lnTo>
                      <a:pt x="196" y="5"/>
                    </a:lnTo>
                    <a:lnTo>
                      <a:pt x="198" y="5"/>
                    </a:lnTo>
                    <a:lnTo>
                      <a:pt x="198" y="4"/>
                    </a:lnTo>
                    <a:lnTo>
                      <a:pt x="200" y="2"/>
                    </a:lnTo>
                    <a:lnTo>
                      <a:pt x="202" y="2"/>
                    </a:lnTo>
                    <a:lnTo>
                      <a:pt x="204" y="2"/>
                    </a:lnTo>
                    <a:lnTo>
                      <a:pt x="206" y="2"/>
                    </a:lnTo>
                    <a:lnTo>
                      <a:pt x="208" y="2"/>
                    </a:lnTo>
                    <a:lnTo>
                      <a:pt x="209" y="0"/>
                    </a:lnTo>
                    <a:lnTo>
                      <a:pt x="209" y="2"/>
                    </a:lnTo>
                    <a:lnTo>
                      <a:pt x="211" y="2"/>
                    </a:lnTo>
                    <a:lnTo>
                      <a:pt x="213" y="2"/>
                    </a:lnTo>
                    <a:lnTo>
                      <a:pt x="215" y="2"/>
                    </a:lnTo>
                    <a:lnTo>
                      <a:pt x="215" y="4"/>
                    </a:lnTo>
                    <a:lnTo>
                      <a:pt x="217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21" y="5"/>
                    </a:lnTo>
                    <a:lnTo>
                      <a:pt x="223" y="4"/>
                    </a:lnTo>
                    <a:lnTo>
                      <a:pt x="225" y="4"/>
                    </a:lnTo>
                    <a:lnTo>
                      <a:pt x="227" y="4"/>
                    </a:lnTo>
                    <a:lnTo>
                      <a:pt x="229" y="4"/>
                    </a:lnTo>
                    <a:lnTo>
                      <a:pt x="230" y="4"/>
                    </a:lnTo>
                    <a:lnTo>
                      <a:pt x="232" y="4"/>
                    </a:lnTo>
                    <a:lnTo>
                      <a:pt x="234" y="5"/>
                    </a:lnTo>
                    <a:lnTo>
                      <a:pt x="236" y="5"/>
                    </a:lnTo>
                    <a:close/>
                    <a:moveTo>
                      <a:pt x="192" y="114"/>
                    </a:moveTo>
                    <a:lnTo>
                      <a:pt x="190" y="114"/>
                    </a:lnTo>
                    <a:lnTo>
                      <a:pt x="188" y="116"/>
                    </a:lnTo>
                    <a:lnTo>
                      <a:pt x="187" y="116"/>
                    </a:lnTo>
                    <a:lnTo>
                      <a:pt x="185" y="118"/>
                    </a:lnTo>
                    <a:lnTo>
                      <a:pt x="185" y="116"/>
                    </a:lnTo>
                    <a:lnTo>
                      <a:pt x="185" y="118"/>
                    </a:lnTo>
                    <a:lnTo>
                      <a:pt x="183" y="118"/>
                    </a:lnTo>
                    <a:lnTo>
                      <a:pt x="183" y="120"/>
                    </a:lnTo>
                    <a:lnTo>
                      <a:pt x="181" y="120"/>
                    </a:lnTo>
                    <a:lnTo>
                      <a:pt x="179" y="120"/>
                    </a:lnTo>
                    <a:lnTo>
                      <a:pt x="179" y="122"/>
                    </a:lnTo>
                    <a:lnTo>
                      <a:pt x="177" y="122"/>
                    </a:lnTo>
                    <a:lnTo>
                      <a:pt x="177" y="124"/>
                    </a:lnTo>
                    <a:lnTo>
                      <a:pt x="177" y="126"/>
                    </a:lnTo>
                    <a:lnTo>
                      <a:pt x="175" y="126"/>
                    </a:lnTo>
                    <a:lnTo>
                      <a:pt x="175" y="128"/>
                    </a:lnTo>
                    <a:lnTo>
                      <a:pt x="173" y="128"/>
                    </a:lnTo>
                    <a:lnTo>
                      <a:pt x="175" y="128"/>
                    </a:lnTo>
                    <a:lnTo>
                      <a:pt x="173" y="128"/>
                    </a:lnTo>
                    <a:lnTo>
                      <a:pt x="173" y="129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69" y="133"/>
                    </a:lnTo>
                    <a:lnTo>
                      <a:pt x="169" y="131"/>
                    </a:lnTo>
                    <a:lnTo>
                      <a:pt x="168" y="133"/>
                    </a:lnTo>
                    <a:lnTo>
                      <a:pt x="168" y="135"/>
                    </a:lnTo>
                    <a:lnTo>
                      <a:pt x="171" y="141"/>
                    </a:lnTo>
                    <a:lnTo>
                      <a:pt x="171" y="143"/>
                    </a:lnTo>
                    <a:lnTo>
                      <a:pt x="173" y="143"/>
                    </a:lnTo>
                    <a:lnTo>
                      <a:pt x="173" y="145"/>
                    </a:lnTo>
                    <a:lnTo>
                      <a:pt x="173" y="147"/>
                    </a:lnTo>
                    <a:lnTo>
                      <a:pt x="175" y="147"/>
                    </a:lnTo>
                    <a:lnTo>
                      <a:pt x="175" y="149"/>
                    </a:lnTo>
                    <a:lnTo>
                      <a:pt x="177" y="149"/>
                    </a:lnTo>
                    <a:lnTo>
                      <a:pt x="177" y="150"/>
                    </a:lnTo>
                    <a:lnTo>
                      <a:pt x="179" y="152"/>
                    </a:lnTo>
                    <a:lnTo>
                      <a:pt x="181" y="150"/>
                    </a:lnTo>
                    <a:lnTo>
                      <a:pt x="183" y="152"/>
                    </a:lnTo>
                    <a:lnTo>
                      <a:pt x="185" y="152"/>
                    </a:lnTo>
                    <a:lnTo>
                      <a:pt x="185" y="150"/>
                    </a:lnTo>
                    <a:lnTo>
                      <a:pt x="187" y="149"/>
                    </a:lnTo>
                    <a:lnTo>
                      <a:pt x="185" y="149"/>
                    </a:lnTo>
                    <a:lnTo>
                      <a:pt x="187" y="149"/>
                    </a:lnTo>
                    <a:lnTo>
                      <a:pt x="187" y="147"/>
                    </a:lnTo>
                    <a:lnTo>
                      <a:pt x="187" y="145"/>
                    </a:lnTo>
                    <a:lnTo>
                      <a:pt x="188" y="145"/>
                    </a:lnTo>
                    <a:lnTo>
                      <a:pt x="188" y="143"/>
                    </a:lnTo>
                    <a:lnTo>
                      <a:pt x="190" y="143"/>
                    </a:lnTo>
                    <a:lnTo>
                      <a:pt x="192" y="143"/>
                    </a:lnTo>
                    <a:lnTo>
                      <a:pt x="194" y="143"/>
                    </a:lnTo>
                    <a:lnTo>
                      <a:pt x="196" y="143"/>
                    </a:lnTo>
                    <a:lnTo>
                      <a:pt x="198" y="141"/>
                    </a:lnTo>
                    <a:lnTo>
                      <a:pt x="200" y="139"/>
                    </a:lnTo>
                    <a:lnTo>
                      <a:pt x="202" y="139"/>
                    </a:lnTo>
                    <a:lnTo>
                      <a:pt x="200" y="137"/>
                    </a:lnTo>
                    <a:lnTo>
                      <a:pt x="200" y="135"/>
                    </a:lnTo>
                    <a:lnTo>
                      <a:pt x="202" y="135"/>
                    </a:lnTo>
                    <a:lnTo>
                      <a:pt x="202" y="133"/>
                    </a:lnTo>
                    <a:lnTo>
                      <a:pt x="204" y="133"/>
                    </a:lnTo>
                    <a:lnTo>
                      <a:pt x="204" y="131"/>
                    </a:lnTo>
                    <a:lnTo>
                      <a:pt x="206" y="129"/>
                    </a:lnTo>
                    <a:lnTo>
                      <a:pt x="206" y="128"/>
                    </a:lnTo>
                    <a:lnTo>
                      <a:pt x="206" y="126"/>
                    </a:lnTo>
                    <a:lnTo>
                      <a:pt x="204" y="126"/>
                    </a:lnTo>
                    <a:lnTo>
                      <a:pt x="204" y="124"/>
                    </a:lnTo>
                    <a:lnTo>
                      <a:pt x="202" y="124"/>
                    </a:lnTo>
                    <a:lnTo>
                      <a:pt x="202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198" y="120"/>
                    </a:lnTo>
                    <a:lnTo>
                      <a:pt x="198" y="118"/>
                    </a:lnTo>
                    <a:lnTo>
                      <a:pt x="196" y="118"/>
                    </a:lnTo>
                    <a:lnTo>
                      <a:pt x="196" y="116"/>
                    </a:lnTo>
                    <a:lnTo>
                      <a:pt x="194" y="116"/>
                    </a:lnTo>
                    <a:lnTo>
                      <a:pt x="194" y="114"/>
                    </a:lnTo>
                    <a:lnTo>
                      <a:pt x="192" y="11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2" name="Freeform 193">
                <a:extLst>
                  <a:ext uri="{FF2B5EF4-FFF2-40B4-BE49-F238E27FC236}">
                    <a16:creationId xmlns:a16="http://schemas.microsoft.com/office/drawing/2014/main" id="{14622C78-DB2B-86AD-453D-89FD533AA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85903" y="-1475657"/>
                <a:ext cx="340327" cy="328337"/>
              </a:xfrm>
              <a:custGeom>
                <a:avLst/>
                <a:gdLst>
                  <a:gd name="T0" fmla="*/ 208 w 216"/>
                  <a:gd name="T1" fmla="*/ 7 h 208"/>
                  <a:gd name="T2" fmla="*/ 214 w 216"/>
                  <a:gd name="T3" fmla="*/ 9 h 208"/>
                  <a:gd name="T4" fmla="*/ 212 w 216"/>
                  <a:gd name="T5" fmla="*/ 13 h 208"/>
                  <a:gd name="T6" fmla="*/ 206 w 216"/>
                  <a:gd name="T7" fmla="*/ 15 h 208"/>
                  <a:gd name="T8" fmla="*/ 203 w 216"/>
                  <a:gd name="T9" fmla="*/ 17 h 208"/>
                  <a:gd name="T10" fmla="*/ 197 w 216"/>
                  <a:gd name="T11" fmla="*/ 19 h 208"/>
                  <a:gd name="T12" fmla="*/ 191 w 216"/>
                  <a:gd name="T13" fmla="*/ 25 h 208"/>
                  <a:gd name="T14" fmla="*/ 187 w 216"/>
                  <a:gd name="T15" fmla="*/ 19 h 208"/>
                  <a:gd name="T16" fmla="*/ 149 w 216"/>
                  <a:gd name="T17" fmla="*/ 23 h 208"/>
                  <a:gd name="T18" fmla="*/ 132 w 216"/>
                  <a:gd name="T19" fmla="*/ 84 h 208"/>
                  <a:gd name="T20" fmla="*/ 132 w 216"/>
                  <a:gd name="T21" fmla="*/ 166 h 208"/>
                  <a:gd name="T22" fmla="*/ 128 w 216"/>
                  <a:gd name="T23" fmla="*/ 200 h 208"/>
                  <a:gd name="T24" fmla="*/ 122 w 216"/>
                  <a:gd name="T25" fmla="*/ 204 h 208"/>
                  <a:gd name="T26" fmla="*/ 117 w 216"/>
                  <a:gd name="T27" fmla="*/ 206 h 208"/>
                  <a:gd name="T28" fmla="*/ 107 w 216"/>
                  <a:gd name="T29" fmla="*/ 206 h 208"/>
                  <a:gd name="T30" fmla="*/ 100 w 216"/>
                  <a:gd name="T31" fmla="*/ 204 h 208"/>
                  <a:gd name="T32" fmla="*/ 92 w 216"/>
                  <a:gd name="T33" fmla="*/ 202 h 208"/>
                  <a:gd name="T34" fmla="*/ 90 w 216"/>
                  <a:gd name="T35" fmla="*/ 196 h 208"/>
                  <a:gd name="T36" fmla="*/ 84 w 216"/>
                  <a:gd name="T37" fmla="*/ 191 h 208"/>
                  <a:gd name="T38" fmla="*/ 82 w 216"/>
                  <a:gd name="T39" fmla="*/ 196 h 208"/>
                  <a:gd name="T40" fmla="*/ 77 w 216"/>
                  <a:gd name="T41" fmla="*/ 200 h 208"/>
                  <a:gd name="T42" fmla="*/ 63 w 216"/>
                  <a:gd name="T43" fmla="*/ 189 h 208"/>
                  <a:gd name="T44" fmla="*/ 60 w 216"/>
                  <a:gd name="T45" fmla="*/ 181 h 208"/>
                  <a:gd name="T46" fmla="*/ 58 w 216"/>
                  <a:gd name="T47" fmla="*/ 172 h 208"/>
                  <a:gd name="T48" fmla="*/ 56 w 216"/>
                  <a:gd name="T49" fmla="*/ 166 h 208"/>
                  <a:gd name="T50" fmla="*/ 52 w 216"/>
                  <a:gd name="T51" fmla="*/ 158 h 208"/>
                  <a:gd name="T52" fmla="*/ 52 w 216"/>
                  <a:gd name="T53" fmla="*/ 147 h 208"/>
                  <a:gd name="T54" fmla="*/ 50 w 216"/>
                  <a:gd name="T55" fmla="*/ 135 h 208"/>
                  <a:gd name="T56" fmla="*/ 44 w 216"/>
                  <a:gd name="T57" fmla="*/ 124 h 208"/>
                  <a:gd name="T58" fmla="*/ 46 w 216"/>
                  <a:gd name="T59" fmla="*/ 112 h 208"/>
                  <a:gd name="T60" fmla="*/ 44 w 216"/>
                  <a:gd name="T61" fmla="*/ 101 h 208"/>
                  <a:gd name="T62" fmla="*/ 46 w 216"/>
                  <a:gd name="T63" fmla="*/ 97 h 208"/>
                  <a:gd name="T64" fmla="*/ 44 w 216"/>
                  <a:gd name="T65" fmla="*/ 91 h 208"/>
                  <a:gd name="T66" fmla="*/ 37 w 216"/>
                  <a:gd name="T67" fmla="*/ 80 h 208"/>
                  <a:gd name="T68" fmla="*/ 31 w 216"/>
                  <a:gd name="T69" fmla="*/ 69 h 208"/>
                  <a:gd name="T70" fmla="*/ 25 w 216"/>
                  <a:gd name="T71" fmla="*/ 55 h 208"/>
                  <a:gd name="T72" fmla="*/ 18 w 216"/>
                  <a:gd name="T73" fmla="*/ 40 h 208"/>
                  <a:gd name="T74" fmla="*/ 6 w 216"/>
                  <a:gd name="T75" fmla="*/ 25 h 208"/>
                  <a:gd name="T76" fmla="*/ 2 w 216"/>
                  <a:gd name="T77" fmla="*/ 15 h 208"/>
                  <a:gd name="T78" fmla="*/ 4 w 216"/>
                  <a:gd name="T79" fmla="*/ 4 h 208"/>
                  <a:gd name="T80" fmla="*/ 14 w 216"/>
                  <a:gd name="T81" fmla="*/ 4 h 208"/>
                  <a:gd name="T82" fmla="*/ 19 w 216"/>
                  <a:gd name="T83" fmla="*/ 0 h 208"/>
                  <a:gd name="T84" fmla="*/ 29 w 216"/>
                  <a:gd name="T85" fmla="*/ 0 h 208"/>
                  <a:gd name="T86" fmla="*/ 39 w 216"/>
                  <a:gd name="T87" fmla="*/ 7 h 208"/>
                  <a:gd name="T88" fmla="*/ 107 w 216"/>
                  <a:gd name="T89" fmla="*/ 6 h 208"/>
                  <a:gd name="T90" fmla="*/ 113 w 216"/>
                  <a:gd name="T91" fmla="*/ 11 h 208"/>
                  <a:gd name="T92" fmla="*/ 122 w 216"/>
                  <a:gd name="T93" fmla="*/ 13 h 208"/>
                  <a:gd name="T94" fmla="*/ 126 w 216"/>
                  <a:gd name="T95" fmla="*/ 15 h 208"/>
                  <a:gd name="T96" fmla="*/ 136 w 216"/>
                  <a:gd name="T97" fmla="*/ 15 h 208"/>
                  <a:gd name="T98" fmla="*/ 145 w 216"/>
                  <a:gd name="T99" fmla="*/ 17 h 208"/>
                  <a:gd name="T100" fmla="*/ 151 w 216"/>
                  <a:gd name="T101" fmla="*/ 15 h 208"/>
                  <a:gd name="T102" fmla="*/ 187 w 216"/>
                  <a:gd name="T103" fmla="*/ 1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08">
                    <a:moveTo>
                      <a:pt x="187" y="11"/>
                    </a:moveTo>
                    <a:lnTo>
                      <a:pt x="201" y="7"/>
                    </a:lnTo>
                    <a:lnTo>
                      <a:pt x="203" y="7"/>
                    </a:lnTo>
                    <a:lnTo>
                      <a:pt x="204" y="9"/>
                    </a:lnTo>
                    <a:lnTo>
                      <a:pt x="208" y="7"/>
                    </a:lnTo>
                    <a:lnTo>
                      <a:pt x="208" y="9"/>
                    </a:lnTo>
                    <a:lnTo>
                      <a:pt x="210" y="9"/>
                    </a:lnTo>
                    <a:lnTo>
                      <a:pt x="212" y="9"/>
                    </a:lnTo>
                    <a:lnTo>
                      <a:pt x="212" y="11"/>
                    </a:lnTo>
                    <a:lnTo>
                      <a:pt x="214" y="9"/>
                    </a:lnTo>
                    <a:lnTo>
                      <a:pt x="214" y="11"/>
                    </a:lnTo>
                    <a:lnTo>
                      <a:pt x="214" y="13"/>
                    </a:lnTo>
                    <a:lnTo>
                      <a:pt x="216" y="13"/>
                    </a:lnTo>
                    <a:lnTo>
                      <a:pt x="214" y="13"/>
                    </a:lnTo>
                    <a:lnTo>
                      <a:pt x="212" y="13"/>
                    </a:lnTo>
                    <a:lnTo>
                      <a:pt x="214" y="13"/>
                    </a:lnTo>
                    <a:lnTo>
                      <a:pt x="212" y="13"/>
                    </a:lnTo>
                    <a:lnTo>
                      <a:pt x="210" y="13"/>
                    </a:lnTo>
                    <a:lnTo>
                      <a:pt x="208" y="15"/>
                    </a:lnTo>
                    <a:lnTo>
                      <a:pt x="206" y="15"/>
                    </a:lnTo>
                    <a:lnTo>
                      <a:pt x="206" y="17"/>
                    </a:lnTo>
                    <a:lnTo>
                      <a:pt x="204" y="17"/>
                    </a:lnTo>
                    <a:lnTo>
                      <a:pt x="203" y="17"/>
                    </a:lnTo>
                    <a:lnTo>
                      <a:pt x="204" y="17"/>
                    </a:lnTo>
                    <a:lnTo>
                      <a:pt x="203" y="17"/>
                    </a:lnTo>
                    <a:lnTo>
                      <a:pt x="203" y="15"/>
                    </a:lnTo>
                    <a:lnTo>
                      <a:pt x="201" y="17"/>
                    </a:lnTo>
                    <a:lnTo>
                      <a:pt x="199" y="17"/>
                    </a:lnTo>
                    <a:lnTo>
                      <a:pt x="199" y="19"/>
                    </a:lnTo>
                    <a:lnTo>
                      <a:pt x="197" y="19"/>
                    </a:lnTo>
                    <a:lnTo>
                      <a:pt x="195" y="21"/>
                    </a:lnTo>
                    <a:lnTo>
                      <a:pt x="195" y="19"/>
                    </a:lnTo>
                    <a:lnTo>
                      <a:pt x="195" y="21"/>
                    </a:lnTo>
                    <a:lnTo>
                      <a:pt x="193" y="23"/>
                    </a:lnTo>
                    <a:lnTo>
                      <a:pt x="191" y="25"/>
                    </a:lnTo>
                    <a:lnTo>
                      <a:pt x="189" y="25"/>
                    </a:lnTo>
                    <a:lnTo>
                      <a:pt x="189" y="23"/>
                    </a:lnTo>
                    <a:lnTo>
                      <a:pt x="189" y="21"/>
                    </a:lnTo>
                    <a:lnTo>
                      <a:pt x="187" y="21"/>
                    </a:lnTo>
                    <a:lnTo>
                      <a:pt x="187" y="19"/>
                    </a:lnTo>
                    <a:lnTo>
                      <a:pt x="185" y="19"/>
                    </a:lnTo>
                    <a:lnTo>
                      <a:pt x="185" y="17"/>
                    </a:lnTo>
                    <a:lnTo>
                      <a:pt x="182" y="17"/>
                    </a:lnTo>
                    <a:lnTo>
                      <a:pt x="155" y="23"/>
                    </a:lnTo>
                    <a:lnTo>
                      <a:pt x="149" y="23"/>
                    </a:lnTo>
                    <a:lnTo>
                      <a:pt x="149" y="30"/>
                    </a:lnTo>
                    <a:lnTo>
                      <a:pt x="149" y="36"/>
                    </a:lnTo>
                    <a:lnTo>
                      <a:pt x="149" y="67"/>
                    </a:lnTo>
                    <a:lnTo>
                      <a:pt x="149" y="84"/>
                    </a:lnTo>
                    <a:lnTo>
                      <a:pt x="132" y="84"/>
                    </a:lnTo>
                    <a:lnTo>
                      <a:pt x="132" y="107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47"/>
                    </a:lnTo>
                    <a:lnTo>
                      <a:pt x="132" y="166"/>
                    </a:lnTo>
                    <a:lnTo>
                      <a:pt x="132" y="189"/>
                    </a:lnTo>
                    <a:lnTo>
                      <a:pt x="132" y="198"/>
                    </a:lnTo>
                    <a:lnTo>
                      <a:pt x="130" y="198"/>
                    </a:lnTo>
                    <a:lnTo>
                      <a:pt x="128" y="198"/>
                    </a:lnTo>
                    <a:lnTo>
                      <a:pt x="128" y="200"/>
                    </a:lnTo>
                    <a:lnTo>
                      <a:pt x="126" y="198"/>
                    </a:lnTo>
                    <a:lnTo>
                      <a:pt x="126" y="200"/>
                    </a:lnTo>
                    <a:lnTo>
                      <a:pt x="124" y="200"/>
                    </a:lnTo>
                    <a:lnTo>
                      <a:pt x="124" y="202"/>
                    </a:lnTo>
                    <a:lnTo>
                      <a:pt x="122" y="204"/>
                    </a:lnTo>
                    <a:lnTo>
                      <a:pt x="121" y="204"/>
                    </a:lnTo>
                    <a:lnTo>
                      <a:pt x="121" y="206"/>
                    </a:lnTo>
                    <a:lnTo>
                      <a:pt x="121" y="208"/>
                    </a:lnTo>
                    <a:lnTo>
                      <a:pt x="119" y="208"/>
                    </a:lnTo>
                    <a:lnTo>
                      <a:pt x="117" y="206"/>
                    </a:lnTo>
                    <a:lnTo>
                      <a:pt x="115" y="206"/>
                    </a:lnTo>
                    <a:lnTo>
                      <a:pt x="113" y="204"/>
                    </a:lnTo>
                    <a:lnTo>
                      <a:pt x="111" y="206"/>
                    </a:lnTo>
                    <a:lnTo>
                      <a:pt x="109" y="206"/>
                    </a:lnTo>
                    <a:lnTo>
                      <a:pt x="107" y="206"/>
                    </a:lnTo>
                    <a:lnTo>
                      <a:pt x="105" y="206"/>
                    </a:lnTo>
                    <a:lnTo>
                      <a:pt x="103" y="206"/>
                    </a:lnTo>
                    <a:lnTo>
                      <a:pt x="101" y="206"/>
                    </a:lnTo>
                    <a:lnTo>
                      <a:pt x="101" y="204"/>
                    </a:lnTo>
                    <a:lnTo>
                      <a:pt x="100" y="204"/>
                    </a:lnTo>
                    <a:lnTo>
                      <a:pt x="98" y="204"/>
                    </a:lnTo>
                    <a:lnTo>
                      <a:pt x="96" y="204"/>
                    </a:lnTo>
                    <a:lnTo>
                      <a:pt x="94" y="204"/>
                    </a:lnTo>
                    <a:lnTo>
                      <a:pt x="94" y="202"/>
                    </a:lnTo>
                    <a:lnTo>
                      <a:pt x="92" y="202"/>
                    </a:lnTo>
                    <a:lnTo>
                      <a:pt x="92" y="200"/>
                    </a:lnTo>
                    <a:lnTo>
                      <a:pt x="90" y="200"/>
                    </a:lnTo>
                    <a:lnTo>
                      <a:pt x="90" y="198"/>
                    </a:lnTo>
                    <a:lnTo>
                      <a:pt x="92" y="196"/>
                    </a:lnTo>
                    <a:lnTo>
                      <a:pt x="90" y="196"/>
                    </a:lnTo>
                    <a:lnTo>
                      <a:pt x="90" y="194"/>
                    </a:lnTo>
                    <a:lnTo>
                      <a:pt x="88" y="194"/>
                    </a:lnTo>
                    <a:lnTo>
                      <a:pt x="88" y="193"/>
                    </a:lnTo>
                    <a:lnTo>
                      <a:pt x="86" y="191"/>
                    </a:lnTo>
                    <a:lnTo>
                      <a:pt x="84" y="191"/>
                    </a:lnTo>
                    <a:lnTo>
                      <a:pt x="82" y="191"/>
                    </a:lnTo>
                    <a:lnTo>
                      <a:pt x="82" y="193"/>
                    </a:lnTo>
                    <a:lnTo>
                      <a:pt x="82" y="194"/>
                    </a:lnTo>
                    <a:lnTo>
                      <a:pt x="81" y="194"/>
                    </a:lnTo>
                    <a:lnTo>
                      <a:pt x="82" y="196"/>
                    </a:lnTo>
                    <a:lnTo>
                      <a:pt x="81" y="196"/>
                    </a:lnTo>
                    <a:lnTo>
                      <a:pt x="81" y="198"/>
                    </a:lnTo>
                    <a:lnTo>
                      <a:pt x="79" y="198"/>
                    </a:lnTo>
                    <a:lnTo>
                      <a:pt x="79" y="200"/>
                    </a:lnTo>
                    <a:lnTo>
                      <a:pt x="77" y="200"/>
                    </a:lnTo>
                    <a:lnTo>
                      <a:pt x="77" y="202"/>
                    </a:lnTo>
                    <a:lnTo>
                      <a:pt x="75" y="200"/>
                    </a:lnTo>
                    <a:lnTo>
                      <a:pt x="69" y="194"/>
                    </a:lnTo>
                    <a:lnTo>
                      <a:pt x="65" y="191"/>
                    </a:lnTo>
                    <a:lnTo>
                      <a:pt x="63" y="189"/>
                    </a:lnTo>
                    <a:lnTo>
                      <a:pt x="61" y="185"/>
                    </a:lnTo>
                    <a:lnTo>
                      <a:pt x="61" y="183"/>
                    </a:lnTo>
                    <a:lnTo>
                      <a:pt x="60" y="183"/>
                    </a:lnTo>
                    <a:lnTo>
                      <a:pt x="61" y="181"/>
                    </a:lnTo>
                    <a:lnTo>
                      <a:pt x="60" y="181"/>
                    </a:lnTo>
                    <a:lnTo>
                      <a:pt x="60" y="179"/>
                    </a:lnTo>
                    <a:lnTo>
                      <a:pt x="58" y="177"/>
                    </a:lnTo>
                    <a:lnTo>
                      <a:pt x="58" y="175"/>
                    </a:lnTo>
                    <a:lnTo>
                      <a:pt x="58" y="173"/>
                    </a:lnTo>
                    <a:lnTo>
                      <a:pt x="58" y="172"/>
                    </a:lnTo>
                    <a:lnTo>
                      <a:pt x="56" y="170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4" y="166"/>
                    </a:lnTo>
                    <a:lnTo>
                      <a:pt x="56" y="166"/>
                    </a:lnTo>
                    <a:lnTo>
                      <a:pt x="56" y="164"/>
                    </a:lnTo>
                    <a:lnTo>
                      <a:pt x="56" y="162"/>
                    </a:lnTo>
                    <a:lnTo>
                      <a:pt x="54" y="162"/>
                    </a:lnTo>
                    <a:lnTo>
                      <a:pt x="52" y="160"/>
                    </a:lnTo>
                    <a:lnTo>
                      <a:pt x="52" y="158"/>
                    </a:lnTo>
                    <a:lnTo>
                      <a:pt x="52" y="156"/>
                    </a:lnTo>
                    <a:lnTo>
                      <a:pt x="52" y="154"/>
                    </a:lnTo>
                    <a:lnTo>
                      <a:pt x="52" y="152"/>
                    </a:lnTo>
                    <a:lnTo>
                      <a:pt x="50" y="149"/>
                    </a:lnTo>
                    <a:lnTo>
                      <a:pt x="52" y="147"/>
                    </a:lnTo>
                    <a:lnTo>
                      <a:pt x="50" y="145"/>
                    </a:lnTo>
                    <a:lnTo>
                      <a:pt x="50" y="143"/>
                    </a:lnTo>
                    <a:lnTo>
                      <a:pt x="50" y="141"/>
                    </a:lnTo>
                    <a:lnTo>
                      <a:pt x="52" y="137"/>
                    </a:lnTo>
                    <a:lnTo>
                      <a:pt x="50" y="135"/>
                    </a:lnTo>
                    <a:lnTo>
                      <a:pt x="50" y="133"/>
                    </a:lnTo>
                    <a:lnTo>
                      <a:pt x="50" y="132"/>
                    </a:lnTo>
                    <a:lnTo>
                      <a:pt x="46" y="130"/>
                    </a:lnTo>
                    <a:lnTo>
                      <a:pt x="46" y="128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18"/>
                    </a:lnTo>
                    <a:lnTo>
                      <a:pt x="46" y="118"/>
                    </a:lnTo>
                    <a:lnTo>
                      <a:pt x="44" y="114"/>
                    </a:lnTo>
                    <a:lnTo>
                      <a:pt x="46" y="112"/>
                    </a:lnTo>
                    <a:lnTo>
                      <a:pt x="44" y="109"/>
                    </a:lnTo>
                    <a:lnTo>
                      <a:pt x="44" y="107"/>
                    </a:lnTo>
                    <a:lnTo>
                      <a:pt x="44" y="101"/>
                    </a:lnTo>
                    <a:lnTo>
                      <a:pt x="44" y="99"/>
                    </a:lnTo>
                    <a:lnTo>
                      <a:pt x="44" y="101"/>
                    </a:lnTo>
                    <a:lnTo>
                      <a:pt x="44" y="103"/>
                    </a:lnTo>
                    <a:lnTo>
                      <a:pt x="44" y="101"/>
                    </a:lnTo>
                    <a:lnTo>
                      <a:pt x="46" y="101"/>
                    </a:lnTo>
                    <a:lnTo>
                      <a:pt x="46" y="99"/>
                    </a:lnTo>
                    <a:lnTo>
                      <a:pt x="46" y="97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6" y="93"/>
                    </a:lnTo>
                    <a:lnTo>
                      <a:pt x="44" y="93"/>
                    </a:lnTo>
                    <a:lnTo>
                      <a:pt x="44" y="91"/>
                    </a:lnTo>
                    <a:lnTo>
                      <a:pt x="44" y="90"/>
                    </a:lnTo>
                    <a:lnTo>
                      <a:pt x="42" y="88"/>
                    </a:lnTo>
                    <a:lnTo>
                      <a:pt x="42" y="86"/>
                    </a:lnTo>
                    <a:lnTo>
                      <a:pt x="39" y="82"/>
                    </a:lnTo>
                    <a:lnTo>
                      <a:pt x="37" y="80"/>
                    </a:lnTo>
                    <a:lnTo>
                      <a:pt x="35" y="78"/>
                    </a:lnTo>
                    <a:lnTo>
                      <a:pt x="35" y="76"/>
                    </a:lnTo>
                    <a:lnTo>
                      <a:pt x="33" y="72"/>
                    </a:lnTo>
                    <a:lnTo>
                      <a:pt x="31" y="70"/>
                    </a:lnTo>
                    <a:lnTo>
                      <a:pt x="31" y="69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7" y="61"/>
                    </a:lnTo>
                    <a:lnTo>
                      <a:pt x="25" y="59"/>
                    </a:lnTo>
                    <a:lnTo>
                      <a:pt x="25" y="55"/>
                    </a:lnTo>
                    <a:lnTo>
                      <a:pt x="25" y="53"/>
                    </a:lnTo>
                    <a:lnTo>
                      <a:pt x="23" y="53"/>
                    </a:lnTo>
                    <a:lnTo>
                      <a:pt x="21" y="51"/>
                    </a:lnTo>
                    <a:lnTo>
                      <a:pt x="21" y="49"/>
                    </a:lnTo>
                    <a:lnTo>
                      <a:pt x="18" y="40"/>
                    </a:lnTo>
                    <a:lnTo>
                      <a:pt x="16" y="38"/>
                    </a:lnTo>
                    <a:lnTo>
                      <a:pt x="14" y="34"/>
                    </a:lnTo>
                    <a:lnTo>
                      <a:pt x="12" y="32"/>
                    </a:lnTo>
                    <a:lnTo>
                      <a:pt x="10" y="28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4" y="21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9" y="0"/>
                    </a:lnTo>
                    <a:lnTo>
                      <a:pt x="29" y="2"/>
                    </a:lnTo>
                    <a:lnTo>
                      <a:pt x="33" y="4"/>
                    </a:lnTo>
                    <a:lnTo>
                      <a:pt x="35" y="6"/>
                    </a:lnTo>
                    <a:lnTo>
                      <a:pt x="37" y="7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56" y="6"/>
                    </a:lnTo>
                    <a:lnTo>
                      <a:pt x="71" y="6"/>
                    </a:lnTo>
                    <a:lnTo>
                      <a:pt x="92" y="6"/>
                    </a:lnTo>
                    <a:lnTo>
                      <a:pt x="107" y="6"/>
                    </a:lnTo>
                    <a:lnTo>
                      <a:pt x="109" y="7"/>
                    </a:lnTo>
                    <a:lnTo>
                      <a:pt x="109" y="9"/>
                    </a:lnTo>
                    <a:lnTo>
                      <a:pt x="111" y="9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3" y="13"/>
                    </a:lnTo>
                    <a:lnTo>
                      <a:pt x="115" y="13"/>
                    </a:lnTo>
                    <a:lnTo>
                      <a:pt x="119" y="13"/>
                    </a:lnTo>
                    <a:lnTo>
                      <a:pt x="121" y="13"/>
                    </a:lnTo>
                    <a:lnTo>
                      <a:pt x="122" y="13"/>
                    </a:lnTo>
                    <a:lnTo>
                      <a:pt x="122" y="15"/>
                    </a:lnTo>
                    <a:lnTo>
                      <a:pt x="122" y="13"/>
                    </a:lnTo>
                    <a:lnTo>
                      <a:pt x="122" y="15"/>
                    </a:lnTo>
                    <a:lnTo>
                      <a:pt x="124" y="15"/>
                    </a:lnTo>
                    <a:lnTo>
                      <a:pt x="126" y="15"/>
                    </a:lnTo>
                    <a:lnTo>
                      <a:pt x="128" y="15"/>
                    </a:lnTo>
                    <a:lnTo>
                      <a:pt x="130" y="15"/>
                    </a:lnTo>
                    <a:lnTo>
                      <a:pt x="132" y="15"/>
                    </a:lnTo>
                    <a:lnTo>
                      <a:pt x="134" y="15"/>
                    </a:lnTo>
                    <a:lnTo>
                      <a:pt x="136" y="15"/>
                    </a:lnTo>
                    <a:lnTo>
                      <a:pt x="138" y="15"/>
                    </a:lnTo>
                    <a:lnTo>
                      <a:pt x="140" y="15"/>
                    </a:lnTo>
                    <a:lnTo>
                      <a:pt x="142" y="17"/>
                    </a:lnTo>
                    <a:lnTo>
                      <a:pt x="143" y="17"/>
                    </a:lnTo>
                    <a:lnTo>
                      <a:pt x="145" y="17"/>
                    </a:lnTo>
                    <a:lnTo>
                      <a:pt x="147" y="17"/>
                    </a:lnTo>
                    <a:lnTo>
                      <a:pt x="145" y="17"/>
                    </a:lnTo>
                    <a:lnTo>
                      <a:pt x="147" y="15"/>
                    </a:lnTo>
                    <a:lnTo>
                      <a:pt x="149" y="15"/>
                    </a:lnTo>
                    <a:lnTo>
                      <a:pt x="151" y="15"/>
                    </a:lnTo>
                    <a:lnTo>
                      <a:pt x="153" y="15"/>
                    </a:lnTo>
                    <a:lnTo>
                      <a:pt x="153" y="17"/>
                    </a:lnTo>
                    <a:lnTo>
                      <a:pt x="155" y="17"/>
                    </a:lnTo>
                    <a:lnTo>
                      <a:pt x="170" y="13"/>
                    </a:lnTo>
                    <a:lnTo>
                      <a:pt x="187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3" name="Freeform 194">
                <a:extLst>
                  <a:ext uri="{FF2B5EF4-FFF2-40B4-BE49-F238E27FC236}">
                    <a16:creationId xmlns:a16="http://schemas.microsoft.com/office/drawing/2014/main" id="{E45FBED6-D6C5-BEEC-B550-63FC7FCC5D5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04369" y="-1475657"/>
                <a:ext cx="934323" cy="1011846"/>
              </a:xfrm>
              <a:custGeom>
                <a:avLst/>
                <a:gdLst>
                  <a:gd name="T0" fmla="*/ 479 w 593"/>
                  <a:gd name="T1" fmla="*/ 633 h 641"/>
                  <a:gd name="T2" fmla="*/ 469 w 593"/>
                  <a:gd name="T3" fmla="*/ 631 h 641"/>
                  <a:gd name="T4" fmla="*/ 469 w 593"/>
                  <a:gd name="T5" fmla="*/ 631 h 641"/>
                  <a:gd name="T6" fmla="*/ 469 w 593"/>
                  <a:gd name="T7" fmla="*/ 633 h 641"/>
                  <a:gd name="T8" fmla="*/ 465 w 593"/>
                  <a:gd name="T9" fmla="*/ 633 h 641"/>
                  <a:gd name="T10" fmla="*/ 467 w 593"/>
                  <a:gd name="T11" fmla="*/ 635 h 641"/>
                  <a:gd name="T12" fmla="*/ 473 w 593"/>
                  <a:gd name="T13" fmla="*/ 637 h 641"/>
                  <a:gd name="T14" fmla="*/ 477 w 593"/>
                  <a:gd name="T15" fmla="*/ 637 h 641"/>
                  <a:gd name="T16" fmla="*/ 473 w 593"/>
                  <a:gd name="T17" fmla="*/ 639 h 641"/>
                  <a:gd name="T18" fmla="*/ 467 w 593"/>
                  <a:gd name="T19" fmla="*/ 635 h 641"/>
                  <a:gd name="T20" fmla="*/ 465 w 593"/>
                  <a:gd name="T21" fmla="*/ 635 h 641"/>
                  <a:gd name="T22" fmla="*/ 464 w 593"/>
                  <a:gd name="T23" fmla="*/ 637 h 641"/>
                  <a:gd name="T24" fmla="*/ 460 w 593"/>
                  <a:gd name="T25" fmla="*/ 635 h 641"/>
                  <a:gd name="T26" fmla="*/ 458 w 593"/>
                  <a:gd name="T27" fmla="*/ 635 h 641"/>
                  <a:gd name="T28" fmla="*/ 460 w 593"/>
                  <a:gd name="T29" fmla="*/ 635 h 641"/>
                  <a:gd name="T30" fmla="*/ 458 w 593"/>
                  <a:gd name="T31" fmla="*/ 637 h 641"/>
                  <a:gd name="T32" fmla="*/ 456 w 593"/>
                  <a:gd name="T33" fmla="*/ 639 h 641"/>
                  <a:gd name="T34" fmla="*/ 452 w 593"/>
                  <a:gd name="T35" fmla="*/ 639 h 641"/>
                  <a:gd name="T36" fmla="*/ 452 w 593"/>
                  <a:gd name="T37" fmla="*/ 635 h 641"/>
                  <a:gd name="T38" fmla="*/ 454 w 593"/>
                  <a:gd name="T39" fmla="*/ 631 h 641"/>
                  <a:gd name="T40" fmla="*/ 452 w 593"/>
                  <a:gd name="T41" fmla="*/ 630 h 641"/>
                  <a:gd name="T42" fmla="*/ 454 w 593"/>
                  <a:gd name="T43" fmla="*/ 628 h 641"/>
                  <a:gd name="T44" fmla="*/ 452 w 593"/>
                  <a:gd name="T45" fmla="*/ 624 h 641"/>
                  <a:gd name="T46" fmla="*/ 452 w 593"/>
                  <a:gd name="T47" fmla="*/ 618 h 641"/>
                  <a:gd name="T48" fmla="*/ 456 w 593"/>
                  <a:gd name="T49" fmla="*/ 616 h 641"/>
                  <a:gd name="T50" fmla="*/ 458 w 593"/>
                  <a:gd name="T51" fmla="*/ 614 h 641"/>
                  <a:gd name="T52" fmla="*/ 456 w 593"/>
                  <a:gd name="T53" fmla="*/ 618 h 641"/>
                  <a:gd name="T54" fmla="*/ 454 w 593"/>
                  <a:gd name="T55" fmla="*/ 618 h 641"/>
                  <a:gd name="T56" fmla="*/ 456 w 593"/>
                  <a:gd name="T57" fmla="*/ 620 h 641"/>
                  <a:gd name="T58" fmla="*/ 456 w 593"/>
                  <a:gd name="T59" fmla="*/ 624 h 641"/>
                  <a:gd name="T60" fmla="*/ 458 w 593"/>
                  <a:gd name="T61" fmla="*/ 624 h 641"/>
                  <a:gd name="T62" fmla="*/ 462 w 593"/>
                  <a:gd name="T63" fmla="*/ 624 h 641"/>
                  <a:gd name="T64" fmla="*/ 465 w 593"/>
                  <a:gd name="T65" fmla="*/ 622 h 641"/>
                  <a:gd name="T66" fmla="*/ 464 w 593"/>
                  <a:gd name="T67" fmla="*/ 626 h 641"/>
                  <a:gd name="T68" fmla="*/ 464 w 593"/>
                  <a:gd name="T69" fmla="*/ 626 h 641"/>
                  <a:gd name="T70" fmla="*/ 464 w 593"/>
                  <a:gd name="T71" fmla="*/ 628 h 641"/>
                  <a:gd name="T72" fmla="*/ 465 w 593"/>
                  <a:gd name="T73" fmla="*/ 628 h 641"/>
                  <a:gd name="T74" fmla="*/ 467 w 593"/>
                  <a:gd name="T75" fmla="*/ 630 h 641"/>
                  <a:gd name="T76" fmla="*/ 473 w 593"/>
                  <a:gd name="T77" fmla="*/ 626 h 641"/>
                  <a:gd name="T78" fmla="*/ 477 w 593"/>
                  <a:gd name="T79" fmla="*/ 624 h 641"/>
                  <a:gd name="T80" fmla="*/ 462 w 593"/>
                  <a:gd name="T81" fmla="*/ 624 h 641"/>
                  <a:gd name="T82" fmla="*/ 460 w 593"/>
                  <a:gd name="T83" fmla="*/ 622 h 641"/>
                  <a:gd name="T84" fmla="*/ 183 w 593"/>
                  <a:gd name="T85" fmla="*/ 561 h 641"/>
                  <a:gd name="T86" fmla="*/ 183 w 593"/>
                  <a:gd name="T87" fmla="*/ 561 h 641"/>
                  <a:gd name="T88" fmla="*/ 189 w 593"/>
                  <a:gd name="T89" fmla="*/ 561 h 641"/>
                  <a:gd name="T90" fmla="*/ 158 w 593"/>
                  <a:gd name="T91" fmla="*/ 555 h 641"/>
                  <a:gd name="T92" fmla="*/ 460 w 593"/>
                  <a:gd name="T93" fmla="*/ 622 h 641"/>
                  <a:gd name="T94" fmla="*/ 593 w 593"/>
                  <a:gd name="T95" fmla="*/ 378 h 641"/>
                  <a:gd name="T96" fmla="*/ 465 w 593"/>
                  <a:gd name="T97" fmla="*/ 628 h 641"/>
                  <a:gd name="T98" fmla="*/ 469 w 593"/>
                  <a:gd name="T99" fmla="*/ 635 h 641"/>
                  <a:gd name="T100" fmla="*/ 450 w 593"/>
                  <a:gd name="T101" fmla="*/ 631 h 641"/>
                  <a:gd name="T102" fmla="*/ 462 w 593"/>
                  <a:gd name="T103" fmla="*/ 620 h 641"/>
                  <a:gd name="T104" fmla="*/ 0 w 593"/>
                  <a:gd name="T105" fmla="*/ 90 h 641"/>
                  <a:gd name="T106" fmla="*/ 450 w 593"/>
                  <a:gd name="T107" fmla="*/ 612 h 641"/>
                  <a:gd name="T108" fmla="*/ 467 w 593"/>
                  <a:gd name="T109" fmla="*/ 637 h 641"/>
                  <a:gd name="T110" fmla="*/ 467 w 593"/>
                  <a:gd name="T111" fmla="*/ 639 h 641"/>
                  <a:gd name="T112" fmla="*/ 464 w 593"/>
                  <a:gd name="T113" fmla="*/ 622 h 641"/>
                  <a:gd name="T114" fmla="*/ 471 w 593"/>
                  <a:gd name="T115" fmla="*/ 631 h 641"/>
                  <a:gd name="T116" fmla="*/ 38 w 593"/>
                  <a:gd name="T117" fmla="*/ 2 h 641"/>
                  <a:gd name="T118" fmla="*/ 471 w 593"/>
                  <a:gd name="T119" fmla="*/ 633 h 641"/>
                  <a:gd name="T120" fmla="*/ 465 w 593"/>
                  <a:gd name="T121" fmla="*/ 626 h 641"/>
                  <a:gd name="T122" fmla="*/ 467 w 593"/>
                  <a:gd name="T123" fmla="*/ 622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93" h="641">
                    <a:moveTo>
                      <a:pt x="481" y="628"/>
                    </a:moveTo>
                    <a:lnTo>
                      <a:pt x="481" y="630"/>
                    </a:lnTo>
                    <a:lnTo>
                      <a:pt x="479" y="631"/>
                    </a:lnTo>
                    <a:lnTo>
                      <a:pt x="477" y="631"/>
                    </a:lnTo>
                    <a:lnTo>
                      <a:pt x="479" y="633"/>
                    </a:lnTo>
                    <a:lnTo>
                      <a:pt x="477" y="633"/>
                    </a:lnTo>
                    <a:lnTo>
                      <a:pt x="475" y="631"/>
                    </a:lnTo>
                    <a:lnTo>
                      <a:pt x="473" y="631"/>
                    </a:lnTo>
                    <a:lnTo>
                      <a:pt x="471" y="631"/>
                    </a:lnTo>
                    <a:lnTo>
                      <a:pt x="469" y="631"/>
                    </a:lnTo>
                    <a:lnTo>
                      <a:pt x="471" y="631"/>
                    </a:lnTo>
                    <a:lnTo>
                      <a:pt x="469" y="631"/>
                    </a:lnTo>
                    <a:lnTo>
                      <a:pt x="471" y="633"/>
                    </a:lnTo>
                    <a:lnTo>
                      <a:pt x="469" y="633"/>
                    </a:lnTo>
                    <a:lnTo>
                      <a:pt x="469" y="631"/>
                    </a:lnTo>
                    <a:lnTo>
                      <a:pt x="467" y="631"/>
                    </a:lnTo>
                    <a:lnTo>
                      <a:pt x="469" y="631"/>
                    </a:lnTo>
                    <a:lnTo>
                      <a:pt x="469" y="633"/>
                    </a:lnTo>
                    <a:lnTo>
                      <a:pt x="467" y="631"/>
                    </a:lnTo>
                    <a:lnTo>
                      <a:pt x="469" y="633"/>
                    </a:lnTo>
                    <a:lnTo>
                      <a:pt x="467" y="633"/>
                    </a:lnTo>
                    <a:lnTo>
                      <a:pt x="469" y="633"/>
                    </a:lnTo>
                    <a:lnTo>
                      <a:pt x="467" y="633"/>
                    </a:lnTo>
                    <a:lnTo>
                      <a:pt x="465" y="631"/>
                    </a:lnTo>
                    <a:lnTo>
                      <a:pt x="465" y="633"/>
                    </a:lnTo>
                    <a:lnTo>
                      <a:pt x="467" y="633"/>
                    </a:lnTo>
                    <a:lnTo>
                      <a:pt x="469" y="633"/>
                    </a:lnTo>
                    <a:lnTo>
                      <a:pt x="467" y="633"/>
                    </a:lnTo>
                    <a:lnTo>
                      <a:pt x="469" y="635"/>
                    </a:lnTo>
                    <a:lnTo>
                      <a:pt x="467" y="635"/>
                    </a:lnTo>
                    <a:lnTo>
                      <a:pt x="469" y="635"/>
                    </a:lnTo>
                    <a:lnTo>
                      <a:pt x="467" y="635"/>
                    </a:lnTo>
                    <a:lnTo>
                      <a:pt x="469" y="635"/>
                    </a:lnTo>
                    <a:lnTo>
                      <a:pt x="471" y="637"/>
                    </a:lnTo>
                    <a:lnTo>
                      <a:pt x="473" y="637"/>
                    </a:lnTo>
                    <a:lnTo>
                      <a:pt x="471" y="637"/>
                    </a:lnTo>
                    <a:lnTo>
                      <a:pt x="471" y="635"/>
                    </a:lnTo>
                    <a:lnTo>
                      <a:pt x="473" y="635"/>
                    </a:lnTo>
                    <a:lnTo>
                      <a:pt x="477" y="635"/>
                    </a:lnTo>
                    <a:lnTo>
                      <a:pt x="477" y="637"/>
                    </a:lnTo>
                    <a:lnTo>
                      <a:pt x="475" y="637"/>
                    </a:lnTo>
                    <a:lnTo>
                      <a:pt x="473" y="637"/>
                    </a:lnTo>
                    <a:lnTo>
                      <a:pt x="475" y="637"/>
                    </a:lnTo>
                    <a:lnTo>
                      <a:pt x="475" y="639"/>
                    </a:lnTo>
                    <a:lnTo>
                      <a:pt x="473" y="639"/>
                    </a:lnTo>
                    <a:lnTo>
                      <a:pt x="473" y="641"/>
                    </a:lnTo>
                    <a:lnTo>
                      <a:pt x="471" y="639"/>
                    </a:lnTo>
                    <a:lnTo>
                      <a:pt x="469" y="639"/>
                    </a:lnTo>
                    <a:lnTo>
                      <a:pt x="467" y="637"/>
                    </a:lnTo>
                    <a:lnTo>
                      <a:pt x="467" y="635"/>
                    </a:lnTo>
                    <a:lnTo>
                      <a:pt x="467" y="633"/>
                    </a:lnTo>
                    <a:lnTo>
                      <a:pt x="467" y="635"/>
                    </a:lnTo>
                    <a:lnTo>
                      <a:pt x="465" y="635"/>
                    </a:lnTo>
                    <a:lnTo>
                      <a:pt x="467" y="635"/>
                    </a:lnTo>
                    <a:lnTo>
                      <a:pt x="465" y="635"/>
                    </a:lnTo>
                    <a:lnTo>
                      <a:pt x="467" y="637"/>
                    </a:lnTo>
                    <a:lnTo>
                      <a:pt x="467" y="639"/>
                    </a:lnTo>
                    <a:lnTo>
                      <a:pt x="465" y="639"/>
                    </a:lnTo>
                    <a:lnTo>
                      <a:pt x="465" y="637"/>
                    </a:lnTo>
                    <a:lnTo>
                      <a:pt x="464" y="637"/>
                    </a:lnTo>
                    <a:lnTo>
                      <a:pt x="462" y="637"/>
                    </a:lnTo>
                    <a:lnTo>
                      <a:pt x="460" y="635"/>
                    </a:lnTo>
                    <a:lnTo>
                      <a:pt x="462" y="635"/>
                    </a:lnTo>
                    <a:lnTo>
                      <a:pt x="460" y="633"/>
                    </a:lnTo>
                    <a:lnTo>
                      <a:pt x="460" y="635"/>
                    </a:lnTo>
                    <a:lnTo>
                      <a:pt x="462" y="635"/>
                    </a:lnTo>
                    <a:lnTo>
                      <a:pt x="462" y="637"/>
                    </a:lnTo>
                    <a:lnTo>
                      <a:pt x="460" y="637"/>
                    </a:lnTo>
                    <a:lnTo>
                      <a:pt x="460" y="635"/>
                    </a:lnTo>
                    <a:lnTo>
                      <a:pt x="458" y="635"/>
                    </a:lnTo>
                    <a:lnTo>
                      <a:pt x="458" y="633"/>
                    </a:lnTo>
                    <a:lnTo>
                      <a:pt x="458" y="635"/>
                    </a:lnTo>
                    <a:lnTo>
                      <a:pt x="460" y="635"/>
                    </a:lnTo>
                    <a:lnTo>
                      <a:pt x="458" y="635"/>
                    </a:lnTo>
                    <a:lnTo>
                      <a:pt x="460" y="635"/>
                    </a:lnTo>
                    <a:lnTo>
                      <a:pt x="460" y="637"/>
                    </a:lnTo>
                    <a:lnTo>
                      <a:pt x="458" y="635"/>
                    </a:lnTo>
                    <a:lnTo>
                      <a:pt x="458" y="637"/>
                    </a:lnTo>
                    <a:lnTo>
                      <a:pt x="458" y="639"/>
                    </a:lnTo>
                    <a:lnTo>
                      <a:pt x="458" y="637"/>
                    </a:lnTo>
                    <a:lnTo>
                      <a:pt x="458" y="635"/>
                    </a:lnTo>
                    <a:lnTo>
                      <a:pt x="456" y="635"/>
                    </a:lnTo>
                    <a:lnTo>
                      <a:pt x="456" y="637"/>
                    </a:lnTo>
                    <a:lnTo>
                      <a:pt x="458" y="639"/>
                    </a:lnTo>
                    <a:lnTo>
                      <a:pt x="456" y="639"/>
                    </a:lnTo>
                    <a:lnTo>
                      <a:pt x="454" y="639"/>
                    </a:lnTo>
                    <a:lnTo>
                      <a:pt x="454" y="641"/>
                    </a:lnTo>
                    <a:lnTo>
                      <a:pt x="454" y="639"/>
                    </a:lnTo>
                    <a:lnTo>
                      <a:pt x="452" y="641"/>
                    </a:lnTo>
                    <a:lnTo>
                      <a:pt x="452" y="639"/>
                    </a:lnTo>
                    <a:lnTo>
                      <a:pt x="452" y="637"/>
                    </a:lnTo>
                    <a:lnTo>
                      <a:pt x="454" y="635"/>
                    </a:lnTo>
                    <a:lnTo>
                      <a:pt x="452" y="635"/>
                    </a:lnTo>
                    <a:lnTo>
                      <a:pt x="454" y="635"/>
                    </a:lnTo>
                    <a:lnTo>
                      <a:pt x="452" y="635"/>
                    </a:lnTo>
                    <a:lnTo>
                      <a:pt x="452" y="633"/>
                    </a:lnTo>
                    <a:lnTo>
                      <a:pt x="454" y="633"/>
                    </a:lnTo>
                    <a:lnTo>
                      <a:pt x="454" y="631"/>
                    </a:lnTo>
                    <a:lnTo>
                      <a:pt x="454" y="633"/>
                    </a:lnTo>
                    <a:lnTo>
                      <a:pt x="454" y="631"/>
                    </a:lnTo>
                    <a:lnTo>
                      <a:pt x="452" y="631"/>
                    </a:lnTo>
                    <a:lnTo>
                      <a:pt x="454" y="630"/>
                    </a:lnTo>
                    <a:lnTo>
                      <a:pt x="452" y="630"/>
                    </a:lnTo>
                    <a:lnTo>
                      <a:pt x="454" y="630"/>
                    </a:lnTo>
                    <a:lnTo>
                      <a:pt x="452" y="630"/>
                    </a:lnTo>
                    <a:lnTo>
                      <a:pt x="454" y="630"/>
                    </a:lnTo>
                    <a:lnTo>
                      <a:pt x="452" y="630"/>
                    </a:lnTo>
                    <a:lnTo>
                      <a:pt x="452" y="628"/>
                    </a:lnTo>
                    <a:lnTo>
                      <a:pt x="452" y="626"/>
                    </a:lnTo>
                    <a:lnTo>
                      <a:pt x="454" y="628"/>
                    </a:lnTo>
                    <a:lnTo>
                      <a:pt x="454" y="626"/>
                    </a:lnTo>
                    <a:lnTo>
                      <a:pt x="452" y="626"/>
                    </a:lnTo>
                    <a:lnTo>
                      <a:pt x="454" y="626"/>
                    </a:lnTo>
                    <a:lnTo>
                      <a:pt x="452" y="626"/>
                    </a:lnTo>
                    <a:lnTo>
                      <a:pt x="452" y="624"/>
                    </a:lnTo>
                    <a:lnTo>
                      <a:pt x="452" y="622"/>
                    </a:lnTo>
                    <a:lnTo>
                      <a:pt x="454" y="622"/>
                    </a:lnTo>
                    <a:lnTo>
                      <a:pt x="454" y="620"/>
                    </a:lnTo>
                    <a:lnTo>
                      <a:pt x="452" y="620"/>
                    </a:lnTo>
                    <a:lnTo>
                      <a:pt x="452" y="618"/>
                    </a:lnTo>
                    <a:lnTo>
                      <a:pt x="454" y="618"/>
                    </a:lnTo>
                    <a:lnTo>
                      <a:pt x="454" y="616"/>
                    </a:lnTo>
                    <a:lnTo>
                      <a:pt x="456" y="616"/>
                    </a:lnTo>
                    <a:lnTo>
                      <a:pt x="454" y="616"/>
                    </a:lnTo>
                    <a:lnTo>
                      <a:pt x="456" y="616"/>
                    </a:lnTo>
                    <a:lnTo>
                      <a:pt x="454" y="616"/>
                    </a:lnTo>
                    <a:lnTo>
                      <a:pt x="456" y="614"/>
                    </a:lnTo>
                    <a:lnTo>
                      <a:pt x="454" y="614"/>
                    </a:lnTo>
                    <a:lnTo>
                      <a:pt x="456" y="614"/>
                    </a:lnTo>
                    <a:lnTo>
                      <a:pt x="458" y="614"/>
                    </a:lnTo>
                    <a:lnTo>
                      <a:pt x="456" y="616"/>
                    </a:lnTo>
                    <a:lnTo>
                      <a:pt x="458" y="616"/>
                    </a:lnTo>
                    <a:lnTo>
                      <a:pt x="456" y="616"/>
                    </a:lnTo>
                    <a:lnTo>
                      <a:pt x="458" y="616"/>
                    </a:lnTo>
                    <a:lnTo>
                      <a:pt x="456" y="618"/>
                    </a:lnTo>
                    <a:lnTo>
                      <a:pt x="454" y="618"/>
                    </a:lnTo>
                    <a:lnTo>
                      <a:pt x="454" y="620"/>
                    </a:lnTo>
                    <a:lnTo>
                      <a:pt x="454" y="618"/>
                    </a:lnTo>
                    <a:lnTo>
                      <a:pt x="456" y="620"/>
                    </a:lnTo>
                    <a:lnTo>
                      <a:pt x="454" y="618"/>
                    </a:lnTo>
                    <a:lnTo>
                      <a:pt x="456" y="618"/>
                    </a:lnTo>
                    <a:lnTo>
                      <a:pt x="458" y="616"/>
                    </a:lnTo>
                    <a:lnTo>
                      <a:pt x="458" y="618"/>
                    </a:lnTo>
                    <a:lnTo>
                      <a:pt x="458" y="620"/>
                    </a:lnTo>
                    <a:lnTo>
                      <a:pt x="456" y="620"/>
                    </a:lnTo>
                    <a:lnTo>
                      <a:pt x="456" y="622"/>
                    </a:lnTo>
                    <a:lnTo>
                      <a:pt x="458" y="620"/>
                    </a:lnTo>
                    <a:lnTo>
                      <a:pt x="458" y="622"/>
                    </a:lnTo>
                    <a:lnTo>
                      <a:pt x="456" y="622"/>
                    </a:lnTo>
                    <a:lnTo>
                      <a:pt x="456" y="624"/>
                    </a:lnTo>
                    <a:lnTo>
                      <a:pt x="456" y="626"/>
                    </a:lnTo>
                    <a:lnTo>
                      <a:pt x="458" y="626"/>
                    </a:lnTo>
                    <a:lnTo>
                      <a:pt x="456" y="624"/>
                    </a:lnTo>
                    <a:lnTo>
                      <a:pt x="458" y="622"/>
                    </a:lnTo>
                    <a:lnTo>
                      <a:pt x="458" y="624"/>
                    </a:lnTo>
                    <a:lnTo>
                      <a:pt x="460" y="624"/>
                    </a:lnTo>
                    <a:lnTo>
                      <a:pt x="458" y="626"/>
                    </a:lnTo>
                    <a:lnTo>
                      <a:pt x="460" y="626"/>
                    </a:lnTo>
                    <a:lnTo>
                      <a:pt x="462" y="626"/>
                    </a:lnTo>
                    <a:lnTo>
                      <a:pt x="462" y="624"/>
                    </a:lnTo>
                    <a:lnTo>
                      <a:pt x="464" y="624"/>
                    </a:lnTo>
                    <a:lnTo>
                      <a:pt x="464" y="622"/>
                    </a:lnTo>
                    <a:lnTo>
                      <a:pt x="464" y="624"/>
                    </a:lnTo>
                    <a:lnTo>
                      <a:pt x="464" y="622"/>
                    </a:lnTo>
                    <a:lnTo>
                      <a:pt x="465" y="622"/>
                    </a:lnTo>
                    <a:lnTo>
                      <a:pt x="465" y="624"/>
                    </a:lnTo>
                    <a:lnTo>
                      <a:pt x="467" y="624"/>
                    </a:lnTo>
                    <a:lnTo>
                      <a:pt x="465" y="624"/>
                    </a:lnTo>
                    <a:lnTo>
                      <a:pt x="465" y="626"/>
                    </a:lnTo>
                    <a:lnTo>
                      <a:pt x="464" y="626"/>
                    </a:lnTo>
                    <a:lnTo>
                      <a:pt x="462" y="626"/>
                    </a:lnTo>
                    <a:lnTo>
                      <a:pt x="460" y="628"/>
                    </a:lnTo>
                    <a:lnTo>
                      <a:pt x="462" y="628"/>
                    </a:lnTo>
                    <a:lnTo>
                      <a:pt x="462" y="626"/>
                    </a:lnTo>
                    <a:lnTo>
                      <a:pt x="464" y="626"/>
                    </a:lnTo>
                    <a:lnTo>
                      <a:pt x="462" y="626"/>
                    </a:lnTo>
                    <a:lnTo>
                      <a:pt x="464" y="626"/>
                    </a:lnTo>
                    <a:lnTo>
                      <a:pt x="462" y="626"/>
                    </a:lnTo>
                    <a:lnTo>
                      <a:pt x="462" y="628"/>
                    </a:lnTo>
                    <a:lnTo>
                      <a:pt x="464" y="628"/>
                    </a:lnTo>
                    <a:lnTo>
                      <a:pt x="462" y="628"/>
                    </a:lnTo>
                    <a:lnTo>
                      <a:pt x="464" y="628"/>
                    </a:lnTo>
                    <a:lnTo>
                      <a:pt x="462" y="628"/>
                    </a:lnTo>
                    <a:lnTo>
                      <a:pt x="464" y="628"/>
                    </a:lnTo>
                    <a:lnTo>
                      <a:pt x="465" y="628"/>
                    </a:lnTo>
                    <a:lnTo>
                      <a:pt x="462" y="630"/>
                    </a:lnTo>
                    <a:lnTo>
                      <a:pt x="465" y="630"/>
                    </a:lnTo>
                    <a:lnTo>
                      <a:pt x="467" y="630"/>
                    </a:lnTo>
                    <a:lnTo>
                      <a:pt x="465" y="630"/>
                    </a:lnTo>
                    <a:lnTo>
                      <a:pt x="467" y="630"/>
                    </a:lnTo>
                    <a:lnTo>
                      <a:pt x="469" y="630"/>
                    </a:lnTo>
                    <a:lnTo>
                      <a:pt x="469" y="628"/>
                    </a:lnTo>
                    <a:lnTo>
                      <a:pt x="471" y="628"/>
                    </a:lnTo>
                    <a:lnTo>
                      <a:pt x="471" y="626"/>
                    </a:lnTo>
                    <a:lnTo>
                      <a:pt x="473" y="626"/>
                    </a:lnTo>
                    <a:lnTo>
                      <a:pt x="475" y="626"/>
                    </a:lnTo>
                    <a:lnTo>
                      <a:pt x="473" y="626"/>
                    </a:lnTo>
                    <a:lnTo>
                      <a:pt x="475" y="626"/>
                    </a:lnTo>
                    <a:lnTo>
                      <a:pt x="475" y="624"/>
                    </a:lnTo>
                    <a:lnTo>
                      <a:pt x="477" y="624"/>
                    </a:lnTo>
                    <a:lnTo>
                      <a:pt x="479" y="624"/>
                    </a:lnTo>
                    <a:lnTo>
                      <a:pt x="481" y="626"/>
                    </a:lnTo>
                    <a:lnTo>
                      <a:pt x="481" y="628"/>
                    </a:lnTo>
                    <a:close/>
                    <a:moveTo>
                      <a:pt x="462" y="622"/>
                    </a:moveTo>
                    <a:lnTo>
                      <a:pt x="462" y="624"/>
                    </a:lnTo>
                    <a:lnTo>
                      <a:pt x="460" y="624"/>
                    </a:lnTo>
                    <a:lnTo>
                      <a:pt x="462" y="624"/>
                    </a:lnTo>
                    <a:lnTo>
                      <a:pt x="460" y="626"/>
                    </a:lnTo>
                    <a:lnTo>
                      <a:pt x="460" y="624"/>
                    </a:lnTo>
                    <a:lnTo>
                      <a:pt x="460" y="622"/>
                    </a:lnTo>
                    <a:lnTo>
                      <a:pt x="462" y="620"/>
                    </a:lnTo>
                    <a:lnTo>
                      <a:pt x="462" y="622"/>
                    </a:lnTo>
                    <a:lnTo>
                      <a:pt x="462" y="620"/>
                    </a:lnTo>
                    <a:lnTo>
                      <a:pt x="462" y="622"/>
                    </a:lnTo>
                    <a:close/>
                    <a:moveTo>
                      <a:pt x="183" y="561"/>
                    </a:moveTo>
                    <a:lnTo>
                      <a:pt x="183" y="563"/>
                    </a:lnTo>
                    <a:lnTo>
                      <a:pt x="181" y="563"/>
                    </a:lnTo>
                    <a:lnTo>
                      <a:pt x="179" y="561"/>
                    </a:lnTo>
                    <a:lnTo>
                      <a:pt x="181" y="559"/>
                    </a:lnTo>
                    <a:lnTo>
                      <a:pt x="183" y="561"/>
                    </a:lnTo>
                    <a:close/>
                    <a:moveTo>
                      <a:pt x="191" y="563"/>
                    </a:moveTo>
                    <a:lnTo>
                      <a:pt x="189" y="563"/>
                    </a:lnTo>
                    <a:lnTo>
                      <a:pt x="187" y="563"/>
                    </a:lnTo>
                    <a:lnTo>
                      <a:pt x="187" y="561"/>
                    </a:lnTo>
                    <a:lnTo>
                      <a:pt x="189" y="561"/>
                    </a:lnTo>
                    <a:lnTo>
                      <a:pt x="191" y="561"/>
                    </a:lnTo>
                    <a:lnTo>
                      <a:pt x="191" y="563"/>
                    </a:lnTo>
                    <a:close/>
                    <a:moveTo>
                      <a:pt x="157" y="553"/>
                    </a:moveTo>
                    <a:lnTo>
                      <a:pt x="158" y="553"/>
                    </a:lnTo>
                    <a:lnTo>
                      <a:pt x="158" y="555"/>
                    </a:lnTo>
                    <a:lnTo>
                      <a:pt x="157" y="555"/>
                    </a:lnTo>
                    <a:lnTo>
                      <a:pt x="157" y="553"/>
                    </a:lnTo>
                    <a:close/>
                    <a:moveTo>
                      <a:pt x="458" y="618"/>
                    </a:moveTo>
                    <a:lnTo>
                      <a:pt x="460" y="618"/>
                    </a:lnTo>
                    <a:lnTo>
                      <a:pt x="460" y="622"/>
                    </a:lnTo>
                    <a:lnTo>
                      <a:pt x="458" y="622"/>
                    </a:lnTo>
                    <a:lnTo>
                      <a:pt x="458" y="618"/>
                    </a:lnTo>
                    <a:close/>
                    <a:moveTo>
                      <a:pt x="591" y="376"/>
                    </a:moveTo>
                    <a:lnTo>
                      <a:pt x="593" y="376"/>
                    </a:lnTo>
                    <a:lnTo>
                      <a:pt x="593" y="378"/>
                    </a:lnTo>
                    <a:lnTo>
                      <a:pt x="591" y="378"/>
                    </a:lnTo>
                    <a:lnTo>
                      <a:pt x="591" y="376"/>
                    </a:lnTo>
                    <a:close/>
                    <a:moveTo>
                      <a:pt x="464" y="626"/>
                    </a:moveTo>
                    <a:lnTo>
                      <a:pt x="465" y="626"/>
                    </a:lnTo>
                    <a:lnTo>
                      <a:pt x="465" y="628"/>
                    </a:lnTo>
                    <a:lnTo>
                      <a:pt x="464" y="628"/>
                    </a:lnTo>
                    <a:lnTo>
                      <a:pt x="464" y="626"/>
                    </a:lnTo>
                    <a:close/>
                    <a:moveTo>
                      <a:pt x="471" y="637"/>
                    </a:moveTo>
                    <a:lnTo>
                      <a:pt x="471" y="635"/>
                    </a:lnTo>
                    <a:lnTo>
                      <a:pt x="469" y="635"/>
                    </a:lnTo>
                    <a:lnTo>
                      <a:pt x="471" y="637"/>
                    </a:lnTo>
                    <a:close/>
                    <a:moveTo>
                      <a:pt x="450" y="630"/>
                    </a:moveTo>
                    <a:lnTo>
                      <a:pt x="452" y="630"/>
                    </a:lnTo>
                    <a:lnTo>
                      <a:pt x="452" y="631"/>
                    </a:lnTo>
                    <a:lnTo>
                      <a:pt x="450" y="631"/>
                    </a:lnTo>
                    <a:lnTo>
                      <a:pt x="450" y="630"/>
                    </a:lnTo>
                    <a:close/>
                    <a:moveTo>
                      <a:pt x="462" y="618"/>
                    </a:moveTo>
                    <a:lnTo>
                      <a:pt x="464" y="618"/>
                    </a:lnTo>
                    <a:lnTo>
                      <a:pt x="464" y="620"/>
                    </a:lnTo>
                    <a:lnTo>
                      <a:pt x="462" y="620"/>
                    </a:lnTo>
                    <a:lnTo>
                      <a:pt x="462" y="618"/>
                    </a:lnTo>
                    <a:close/>
                    <a:moveTo>
                      <a:pt x="469" y="633"/>
                    </a:moveTo>
                    <a:lnTo>
                      <a:pt x="469" y="635"/>
                    </a:lnTo>
                    <a:lnTo>
                      <a:pt x="469" y="633"/>
                    </a:lnTo>
                    <a:close/>
                    <a:moveTo>
                      <a:pt x="0" y="90"/>
                    </a:moveTo>
                    <a:lnTo>
                      <a:pt x="0" y="91"/>
                    </a:lnTo>
                    <a:lnTo>
                      <a:pt x="0" y="90"/>
                    </a:lnTo>
                    <a:close/>
                    <a:moveTo>
                      <a:pt x="450" y="612"/>
                    </a:moveTo>
                    <a:lnTo>
                      <a:pt x="450" y="614"/>
                    </a:lnTo>
                    <a:lnTo>
                      <a:pt x="450" y="612"/>
                    </a:lnTo>
                    <a:close/>
                    <a:moveTo>
                      <a:pt x="467" y="637"/>
                    </a:moveTo>
                    <a:lnTo>
                      <a:pt x="469" y="637"/>
                    </a:lnTo>
                    <a:lnTo>
                      <a:pt x="469" y="639"/>
                    </a:lnTo>
                    <a:lnTo>
                      <a:pt x="467" y="639"/>
                    </a:lnTo>
                    <a:lnTo>
                      <a:pt x="467" y="637"/>
                    </a:lnTo>
                    <a:close/>
                    <a:moveTo>
                      <a:pt x="469" y="631"/>
                    </a:moveTo>
                    <a:lnTo>
                      <a:pt x="471" y="631"/>
                    </a:lnTo>
                    <a:lnTo>
                      <a:pt x="469" y="631"/>
                    </a:lnTo>
                    <a:close/>
                    <a:moveTo>
                      <a:pt x="467" y="637"/>
                    </a:moveTo>
                    <a:lnTo>
                      <a:pt x="467" y="639"/>
                    </a:lnTo>
                    <a:lnTo>
                      <a:pt x="467" y="637"/>
                    </a:lnTo>
                    <a:close/>
                    <a:moveTo>
                      <a:pt x="462" y="620"/>
                    </a:moveTo>
                    <a:lnTo>
                      <a:pt x="464" y="620"/>
                    </a:lnTo>
                    <a:lnTo>
                      <a:pt x="462" y="620"/>
                    </a:lnTo>
                    <a:close/>
                    <a:moveTo>
                      <a:pt x="464" y="622"/>
                    </a:moveTo>
                    <a:lnTo>
                      <a:pt x="464" y="624"/>
                    </a:lnTo>
                    <a:lnTo>
                      <a:pt x="464" y="622"/>
                    </a:lnTo>
                    <a:close/>
                    <a:moveTo>
                      <a:pt x="471" y="631"/>
                    </a:moveTo>
                    <a:lnTo>
                      <a:pt x="471" y="633"/>
                    </a:lnTo>
                    <a:lnTo>
                      <a:pt x="471" y="631"/>
                    </a:lnTo>
                    <a:close/>
                    <a:moveTo>
                      <a:pt x="465" y="628"/>
                    </a:moveTo>
                    <a:lnTo>
                      <a:pt x="465" y="630"/>
                    </a:lnTo>
                    <a:lnTo>
                      <a:pt x="465" y="628"/>
                    </a:lnTo>
                    <a:close/>
                    <a:moveTo>
                      <a:pt x="38" y="0"/>
                    </a:moveTo>
                    <a:lnTo>
                      <a:pt x="38" y="2"/>
                    </a:lnTo>
                    <a:lnTo>
                      <a:pt x="38" y="0"/>
                    </a:lnTo>
                    <a:close/>
                    <a:moveTo>
                      <a:pt x="473" y="633"/>
                    </a:moveTo>
                    <a:lnTo>
                      <a:pt x="473" y="635"/>
                    </a:lnTo>
                    <a:lnTo>
                      <a:pt x="473" y="633"/>
                    </a:lnTo>
                    <a:close/>
                    <a:moveTo>
                      <a:pt x="471" y="633"/>
                    </a:moveTo>
                    <a:lnTo>
                      <a:pt x="471" y="635"/>
                    </a:lnTo>
                    <a:lnTo>
                      <a:pt x="471" y="633"/>
                    </a:lnTo>
                    <a:close/>
                    <a:moveTo>
                      <a:pt x="465" y="626"/>
                    </a:moveTo>
                    <a:lnTo>
                      <a:pt x="467" y="626"/>
                    </a:lnTo>
                    <a:lnTo>
                      <a:pt x="465" y="626"/>
                    </a:lnTo>
                    <a:close/>
                    <a:moveTo>
                      <a:pt x="464" y="628"/>
                    </a:moveTo>
                    <a:lnTo>
                      <a:pt x="465" y="628"/>
                    </a:lnTo>
                    <a:lnTo>
                      <a:pt x="464" y="628"/>
                    </a:lnTo>
                    <a:close/>
                    <a:moveTo>
                      <a:pt x="465" y="622"/>
                    </a:moveTo>
                    <a:lnTo>
                      <a:pt x="467" y="622"/>
                    </a:lnTo>
                    <a:lnTo>
                      <a:pt x="467" y="624"/>
                    </a:lnTo>
                    <a:lnTo>
                      <a:pt x="465" y="624"/>
                    </a:lnTo>
                    <a:lnTo>
                      <a:pt x="465" y="62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4" name="Freeform 196">
                <a:extLst>
                  <a:ext uri="{FF2B5EF4-FFF2-40B4-BE49-F238E27FC236}">
                    <a16:creationId xmlns:a16="http://schemas.microsoft.com/office/drawing/2014/main" id="{307547F3-BE33-5A56-AE0D-458A749263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65859" y="-2632728"/>
                <a:ext cx="209554" cy="189424"/>
              </a:xfrm>
              <a:custGeom>
                <a:avLst/>
                <a:gdLst>
                  <a:gd name="T0" fmla="*/ 0 w 133"/>
                  <a:gd name="T1" fmla="*/ 118 h 120"/>
                  <a:gd name="T2" fmla="*/ 0 w 133"/>
                  <a:gd name="T3" fmla="*/ 111 h 120"/>
                  <a:gd name="T4" fmla="*/ 2 w 133"/>
                  <a:gd name="T5" fmla="*/ 105 h 120"/>
                  <a:gd name="T6" fmla="*/ 4 w 133"/>
                  <a:gd name="T7" fmla="*/ 101 h 120"/>
                  <a:gd name="T8" fmla="*/ 5 w 133"/>
                  <a:gd name="T9" fmla="*/ 96 h 120"/>
                  <a:gd name="T10" fmla="*/ 7 w 133"/>
                  <a:gd name="T11" fmla="*/ 94 h 120"/>
                  <a:gd name="T12" fmla="*/ 9 w 133"/>
                  <a:gd name="T13" fmla="*/ 94 h 120"/>
                  <a:gd name="T14" fmla="*/ 9 w 133"/>
                  <a:gd name="T15" fmla="*/ 90 h 120"/>
                  <a:gd name="T16" fmla="*/ 11 w 133"/>
                  <a:gd name="T17" fmla="*/ 86 h 120"/>
                  <a:gd name="T18" fmla="*/ 15 w 133"/>
                  <a:gd name="T19" fmla="*/ 82 h 120"/>
                  <a:gd name="T20" fmla="*/ 13 w 133"/>
                  <a:gd name="T21" fmla="*/ 80 h 120"/>
                  <a:gd name="T22" fmla="*/ 17 w 133"/>
                  <a:gd name="T23" fmla="*/ 76 h 120"/>
                  <a:gd name="T24" fmla="*/ 17 w 133"/>
                  <a:gd name="T25" fmla="*/ 73 h 120"/>
                  <a:gd name="T26" fmla="*/ 19 w 133"/>
                  <a:gd name="T27" fmla="*/ 71 h 120"/>
                  <a:gd name="T28" fmla="*/ 21 w 133"/>
                  <a:gd name="T29" fmla="*/ 67 h 120"/>
                  <a:gd name="T30" fmla="*/ 19 w 133"/>
                  <a:gd name="T31" fmla="*/ 69 h 120"/>
                  <a:gd name="T32" fmla="*/ 17 w 133"/>
                  <a:gd name="T33" fmla="*/ 71 h 120"/>
                  <a:gd name="T34" fmla="*/ 21 w 133"/>
                  <a:gd name="T35" fmla="*/ 67 h 120"/>
                  <a:gd name="T36" fmla="*/ 25 w 133"/>
                  <a:gd name="T37" fmla="*/ 63 h 120"/>
                  <a:gd name="T38" fmla="*/ 30 w 133"/>
                  <a:gd name="T39" fmla="*/ 57 h 120"/>
                  <a:gd name="T40" fmla="*/ 32 w 133"/>
                  <a:gd name="T41" fmla="*/ 55 h 120"/>
                  <a:gd name="T42" fmla="*/ 34 w 133"/>
                  <a:gd name="T43" fmla="*/ 52 h 120"/>
                  <a:gd name="T44" fmla="*/ 36 w 133"/>
                  <a:gd name="T45" fmla="*/ 46 h 120"/>
                  <a:gd name="T46" fmla="*/ 36 w 133"/>
                  <a:gd name="T47" fmla="*/ 40 h 120"/>
                  <a:gd name="T48" fmla="*/ 38 w 133"/>
                  <a:gd name="T49" fmla="*/ 35 h 120"/>
                  <a:gd name="T50" fmla="*/ 42 w 133"/>
                  <a:gd name="T51" fmla="*/ 31 h 120"/>
                  <a:gd name="T52" fmla="*/ 42 w 133"/>
                  <a:gd name="T53" fmla="*/ 27 h 120"/>
                  <a:gd name="T54" fmla="*/ 44 w 133"/>
                  <a:gd name="T55" fmla="*/ 25 h 120"/>
                  <a:gd name="T56" fmla="*/ 47 w 133"/>
                  <a:gd name="T57" fmla="*/ 21 h 120"/>
                  <a:gd name="T58" fmla="*/ 53 w 133"/>
                  <a:gd name="T59" fmla="*/ 19 h 120"/>
                  <a:gd name="T60" fmla="*/ 57 w 133"/>
                  <a:gd name="T61" fmla="*/ 15 h 120"/>
                  <a:gd name="T62" fmla="*/ 61 w 133"/>
                  <a:gd name="T63" fmla="*/ 6 h 120"/>
                  <a:gd name="T64" fmla="*/ 84 w 133"/>
                  <a:gd name="T65" fmla="*/ 0 h 120"/>
                  <a:gd name="T66" fmla="*/ 110 w 133"/>
                  <a:gd name="T67" fmla="*/ 0 h 120"/>
                  <a:gd name="T68" fmla="*/ 133 w 133"/>
                  <a:gd name="T69" fmla="*/ 6 h 120"/>
                  <a:gd name="T70" fmla="*/ 99 w 133"/>
                  <a:gd name="T71" fmla="*/ 31 h 120"/>
                  <a:gd name="T72" fmla="*/ 80 w 133"/>
                  <a:gd name="T73" fmla="*/ 57 h 120"/>
                  <a:gd name="T74" fmla="*/ 78 w 133"/>
                  <a:gd name="T75" fmla="*/ 75 h 120"/>
                  <a:gd name="T76" fmla="*/ 72 w 133"/>
                  <a:gd name="T77" fmla="*/ 76 h 120"/>
                  <a:gd name="T78" fmla="*/ 65 w 133"/>
                  <a:gd name="T79" fmla="*/ 82 h 120"/>
                  <a:gd name="T80" fmla="*/ 63 w 133"/>
                  <a:gd name="T81" fmla="*/ 86 h 120"/>
                  <a:gd name="T82" fmla="*/ 46 w 133"/>
                  <a:gd name="T83" fmla="*/ 111 h 120"/>
                  <a:gd name="T84" fmla="*/ 2 w 133"/>
                  <a:gd name="T85" fmla="*/ 111 h 120"/>
                  <a:gd name="T86" fmla="*/ 0 w 133"/>
                  <a:gd name="T8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3" h="120">
                    <a:moveTo>
                      <a:pt x="0" y="120"/>
                    </a:moveTo>
                    <a:lnTo>
                      <a:pt x="0" y="118"/>
                    </a:lnTo>
                    <a:lnTo>
                      <a:pt x="0" y="117"/>
                    </a:lnTo>
                    <a:lnTo>
                      <a:pt x="0" y="111"/>
                    </a:lnTo>
                    <a:lnTo>
                      <a:pt x="2" y="107"/>
                    </a:lnTo>
                    <a:lnTo>
                      <a:pt x="2" y="105"/>
                    </a:lnTo>
                    <a:lnTo>
                      <a:pt x="2" y="103"/>
                    </a:lnTo>
                    <a:lnTo>
                      <a:pt x="4" y="101"/>
                    </a:lnTo>
                    <a:lnTo>
                      <a:pt x="4" y="97"/>
                    </a:lnTo>
                    <a:lnTo>
                      <a:pt x="5" y="96"/>
                    </a:lnTo>
                    <a:lnTo>
                      <a:pt x="5" y="94"/>
                    </a:lnTo>
                    <a:lnTo>
                      <a:pt x="7" y="94"/>
                    </a:lnTo>
                    <a:lnTo>
                      <a:pt x="7" y="96"/>
                    </a:lnTo>
                    <a:lnTo>
                      <a:pt x="9" y="94"/>
                    </a:lnTo>
                    <a:lnTo>
                      <a:pt x="9" y="92"/>
                    </a:lnTo>
                    <a:lnTo>
                      <a:pt x="9" y="90"/>
                    </a:lnTo>
                    <a:lnTo>
                      <a:pt x="11" y="90"/>
                    </a:lnTo>
                    <a:lnTo>
                      <a:pt x="11" y="86"/>
                    </a:lnTo>
                    <a:lnTo>
                      <a:pt x="13" y="84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3" y="80"/>
                    </a:lnTo>
                    <a:lnTo>
                      <a:pt x="15" y="78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9" y="73"/>
                    </a:lnTo>
                    <a:lnTo>
                      <a:pt x="19" y="71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21" y="67"/>
                    </a:lnTo>
                    <a:lnTo>
                      <a:pt x="23" y="63"/>
                    </a:lnTo>
                    <a:lnTo>
                      <a:pt x="25" y="63"/>
                    </a:lnTo>
                    <a:lnTo>
                      <a:pt x="28" y="59"/>
                    </a:lnTo>
                    <a:lnTo>
                      <a:pt x="30" y="57"/>
                    </a:lnTo>
                    <a:lnTo>
                      <a:pt x="30" y="55"/>
                    </a:lnTo>
                    <a:lnTo>
                      <a:pt x="32" y="55"/>
                    </a:lnTo>
                    <a:lnTo>
                      <a:pt x="34" y="54"/>
                    </a:lnTo>
                    <a:lnTo>
                      <a:pt x="34" y="52"/>
                    </a:lnTo>
                    <a:lnTo>
                      <a:pt x="36" y="50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0"/>
                    </a:lnTo>
                    <a:lnTo>
                      <a:pt x="38" y="38"/>
                    </a:lnTo>
                    <a:lnTo>
                      <a:pt x="38" y="35"/>
                    </a:lnTo>
                    <a:lnTo>
                      <a:pt x="40" y="33"/>
                    </a:lnTo>
                    <a:lnTo>
                      <a:pt x="42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2" y="25"/>
                    </a:lnTo>
                    <a:lnTo>
                      <a:pt x="44" y="25"/>
                    </a:lnTo>
                    <a:lnTo>
                      <a:pt x="46" y="23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53" y="19"/>
                    </a:lnTo>
                    <a:lnTo>
                      <a:pt x="55" y="17"/>
                    </a:lnTo>
                    <a:lnTo>
                      <a:pt x="57" y="15"/>
                    </a:lnTo>
                    <a:lnTo>
                      <a:pt x="59" y="10"/>
                    </a:lnTo>
                    <a:lnTo>
                      <a:pt x="61" y="6"/>
                    </a:lnTo>
                    <a:lnTo>
                      <a:pt x="63" y="0"/>
                    </a:lnTo>
                    <a:lnTo>
                      <a:pt x="84" y="0"/>
                    </a:lnTo>
                    <a:lnTo>
                      <a:pt x="97" y="0"/>
                    </a:lnTo>
                    <a:lnTo>
                      <a:pt x="110" y="0"/>
                    </a:lnTo>
                    <a:lnTo>
                      <a:pt x="133" y="0"/>
                    </a:lnTo>
                    <a:lnTo>
                      <a:pt x="133" y="6"/>
                    </a:lnTo>
                    <a:lnTo>
                      <a:pt x="133" y="31"/>
                    </a:lnTo>
                    <a:lnTo>
                      <a:pt x="99" y="31"/>
                    </a:lnTo>
                    <a:lnTo>
                      <a:pt x="80" y="31"/>
                    </a:lnTo>
                    <a:lnTo>
                      <a:pt x="80" y="57"/>
                    </a:lnTo>
                    <a:lnTo>
                      <a:pt x="80" y="75"/>
                    </a:lnTo>
                    <a:lnTo>
                      <a:pt x="78" y="75"/>
                    </a:lnTo>
                    <a:lnTo>
                      <a:pt x="76" y="76"/>
                    </a:lnTo>
                    <a:lnTo>
                      <a:pt x="72" y="76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3" y="84"/>
                    </a:lnTo>
                    <a:lnTo>
                      <a:pt x="63" y="86"/>
                    </a:lnTo>
                    <a:lnTo>
                      <a:pt x="65" y="111"/>
                    </a:lnTo>
                    <a:lnTo>
                      <a:pt x="46" y="111"/>
                    </a:lnTo>
                    <a:lnTo>
                      <a:pt x="21" y="111"/>
                    </a:lnTo>
                    <a:lnTo>
                      <a:pt x="2" y="111"/>
                    </a:lnTo>
                    <a:lnTo>
                      <a:pt x="0" y="118"/>
                    </a:lnTo>
                    <a:lnTo>
                      <a:pt x="0" y="12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5" name="Freeform 200">
                <a:extLst>
                  <a:ext uri="{FF2B5EF4-FFF2-40B4-BE49-F238E27FC236}">
                    <a16:creationId xmlns:a16="http://schemas.microsoft.com/office/drawing/2014/main" id="{D5D1CF17-FB1A-366D-522A-DA66480AC13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80182" y="-2354905"/>
                <a:ext cx="137076" cy="140490"/>
              </a:xfrm>
              <a:custGeom>
                <a:avLst/>
                <a:gdLst>
                  <a:gd name="T0" fmla="*/ 0 w 87"/>
                  <a:gd name="T1" fmla="*/ 86 h 89"/>
                  <a:gd name="T2" fmla="*/ 2 w 87"/>
                  <a:gd name="T3" fmla="*/ 86 h 89"/>
                  <a:gd name="T4" fmla="*/ 3 w 87"/>
                  <a:gd name="T5" fmla="*/ 86 h 89"/>
                  <a:gd name="T6" fmla="*/ 3 w 87"/>
                  <a:gd name="T7" fmla="*/ 87 h 89"/>
                  <a:gd name="T8" fmla="*/ 2 w 87"/>
                  <a:gd name="T9" fmla="*/ 87 h 89"/>
                  <a:gd name="T10" fmla="*/ 2 w 87"/>
                  <a:gd name="T11" fmla="*/ 89 h 89"/>
                  <a:gd name="T12" fmla="*/ 3 w 87"/>
                  <a:gd name="T13" fmla="*/ 89 h 89"/>
                  <a:gd name="T14" fmla="*/ 2 w 87"/>
                  <a:gd name="T15" fmla="*/ 89 h 89"/>
                  <a:gd name="T16" fmla="*/ 2 w 87"/>
                  <a:gd name="T17" fmla="*/ 87 h 89"/>
                  <a:gd name="T18" fmla="*/ 0 w 87"/>
                  <a:gd name="T19" fmla="*/ 86 h 89"/>
                  <a:gd name="T20" fmla="*/ 85 w 87"/>
                  <a:gd name="T21" fmla="*/ 0 h 89"/>
                  <a:gd name="T22" fmla="*/ 87 w 87"/>
                  <a:gd name="T23" fmla="*/ 0 h 89"/>
                  <a:gd name="T24" fmla="*/ 85 w 87"/>
                  <a:gd name="T25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89">
                    <a:moveTo>
                      <a:pt x="0" y="86"/>
                    </a:moveTo>
                    <a:lnTo>
                      <a:pt x="2" y="86"/>
                    </a:lnTo>
                    <a:lnTo>
                      <a:pt x="3" y="86"/>
                    </a:lnTo>
                    <a:lnTo>
                      <a:pt x="3" y="87"/>
                    </a:lnTo>
                    <a:lnTo>
                      <a:pt x="2" y="87"/>
                    </a:lnTo>
                    <a:lnTo>
                      <a:pt x="2" y="89"/>
                    </a:lnTo>
                    <a:lnTo>
                      <a:pt x="3" y="89"/>
                    </a:lnTo>
                    <a:lnTo>
                      <a:pt x="2" y="89"/>
                    </a:lnTo>
                    <a:lnTo>
                      <a:pt x="2" y="87"/>
                    </a:lnTo>
                    <a:lnTo>
                      <a:pt x="0" y="86"/>
                    </a:lnTo>
                    <a:close/>
                    <a:moveTo>
                      <a:pt x="85" y="0"/>
                    </a:moveTo>
                    <a:lnTo>
                      <a:pt x="87" y="0"/>
                    </a:lnTo>
                    <a:lnTo>
                      <a:pt x="8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6" name="Freeform 75">
                <a:extLst>
                  <a:ext uri="{FF2B5EF4-FFF2-40B4-BE49-F238E27FC236}">
                    <a16:creationId xmlns:a16="http://schemas.microsoft.com/office/drawing/2014/main" id="{FC65AA83-4921-AE46-A89C-471EE333482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013070" y="-2152851"/>
                <a:ext cx="146530" cy="63142"/>
              </a:xfrm>
              <a:custGeom>
                <a:avLst/>
                <a:gdLst>
                  <a:gd name="T0" fmla="*/ 91 w 93"/>
                  <a:gd name="T1" fmla="*/ 24 h 40"/>
                  <a:gd name="T2" fmla="*/ 91 w 93"/>
                  <a:gd name="T3" fmla="*/ 28 h 40"/>
                  <a:gd name="T4" fmla="*/ 86 w 93"/>
                  <a:gd name="T5" fmla="*/ 32 h 40"/>
                  <a:gd name="T6" fmla="*/ 80 w 93"/>
                  <a:gd name="T7" fmla="*/ 36 h 40"/>
                  <a:gd name="T8" fmla="*/ 76 w 93"/>
                  <a:gd name="T9" fmla="*/ 32 h 40"/>
                  <a:gd name="T10" fmla="*/ 74 w 93"/>
                  <a:gd name="T11" fmla="*/ 26 h 40"/>
                  <a:gd name="T12" fmla="*/ 80 w 93"/>
                  <a:gd name="T13" fmla="*/ 22 h 40"/>
                  <a:gd name="T14" fmla="*/ 78 w 93"/>
                  <a:gd name="T15" fmla="*/ 19 h 40"/>
                  <a:gd name="T16" fmla="*/ 76 w 93"/>
                  <a:gd name="T17" fmla="*/ 19 h 40"/>
                  <a:gd name="T18" fmla="*/ 74 w 93"/>
                  <a:gd name="T19" fmla="*/ 21 h 40"/>
                  <a:gd name="T20" fmla="*/ 72 w 93"/>
                  <a:gd name="T21" fmla="*/ 17 h 40"/>
                  <a:gd name="T22" fmla="*/ 69 w 93"/>
                  <a:gd name="T23" fmla="*/ 13 h 40"/>
                  <a:gd name="T24" fmla="*/ 63 w 93"/>
                  <a:gd name="T25" fmla="*/ 11 h 40"/>
                  <a:gd name="T26" fmla="*/ 55 w 93"/>
                  <a:gd name="T27" fmla="*/ 13 h 40"/>
                  <a:gd name="T28" fmla="*/ 51 w 93"/>
                  <a:gd name="T29" fmla="*/ 17 h 40"/>
                  <a:gd name="T30" fmla="*/ 40 w 93"/>
                  <a:gd name="T31" fmla="*/ 24 h 40"/>
                  <a:gd name="T32" fmla="*/ 48 w 93"/>
                  <a:gd name="T33" fmla="*/ 32 h 40"/>
                  <a:gd name="T34" fmla="*/ 42 w 93"/>
                  <a:gd name="T35" fmla="*/ 40 h 40"/>
                  <a:gd name="T36" fmla="*/ 34 w 93"/>
                  <a:gd name="T37" fmla="*/ 38 h 40"/>
                  <a:gd name="T38" fmla="*/ 30 w 93"/>
                  <a:gd name="T39" fmla="*/ 30 h 40"/>
                  <a:gd name="T40" fmla="*/ 30 w 93"/>
                  <a:gd name="T41" fmla="*/ 30 h 40"/>
                  <a:gd name="T42" fmla="*/ 25 w 93"/>
                  <a:gd name="T43" fmla="*/ 32 h 40"/>
                  <a:gd name="T44" fmla="*/ 23 w 93"/>
                  <a:gd name="T45" fmla="*/ 28 h 40"/>
                  <a:gd name="T46" fmla="*/ 21 w 93"/>
                  <a:gd name="T47" fmla="*/ 24 h 40"/>
                  <a:gd name="T48" fmla="*/ 15 w 93"/>
                  <a:gd name="T49" fmla="*/ 22 h 40"/>
                  <a:gd name="T50" fmla="*/ 13 w 93"/>
                  <a:gd name="T51" fmla="*/ 22 h 40"/>
                  <a:gd name="T52" fmla="*/ 9 w 93"/>
                  <a:gd name="T53" fmla="*/ 22 h 40"/>
                  <a:gd name="T54" fmla="*/ 9 w 93"/>
                  <a:gd name="T55" fmla="*/ 22 h 40"/>
                  <a:gd name="T56" fmla="*/ 2 w 93"/>
                  <a:gd name="T57" fmla="*/ 26 h 40"/>
                  <a:gd name="T58" fmla="*/ 4 w 93"/>
                  <a:gd name="T59" fmla="*/ 19 h 40"/>
                  <a:gd name="T60" fmla="*/ 4 w 93"/>
                  <a:gd name="T61" fmla="*/ 11 h 40"/>
                  <a:gd name="T62" fmla="*/ 6 w 93"/>
                  <a:gd name="T63" fmla="*/ 1 h 40"/>
                  <a:gd name="T64" fmla="*/ 9 w 93"/>
                  <a:gd name="T65" fmla="*/ 3 h 40"/>
                  <a:gd name="T66" fmla="*/ 9 w 93"/>
                  <a:gd name="T67" fmla="*/ 7 h 40"/>
                  <a:gd name="T68" fmla="*/ 13 w 93"/>
                  <a:gd name="T69" fmla="*/ 9 h 40"/>
                  <a:gd name="T70" fmla="*/ 15 w 93"/>
                  <a:gd name="T71" fmla="*/ 11 h 40"/>
                  <a:gd name="T72" fmla="*/ 17 w 93"/>
                  <a:gd name="T73" fmla="*/ 9 h 40"/>
                  <a:gd name="T74" fmla="*/ 23 w 93"/>
                  <a:gd name="T75" fmla="*/ 11 h 40"/>
                  <a:gd name="T76" fmla="*/ 32 w 93"/>
                  <a:gd name="T77" fmla="*/ 13 h 40"/>
                  <a:gd name="T78" fmla="*/ 48 w 93"/>
                  <a:gd name="T79" fmla="*/ 7 h 40"/>
                  <a:gd name="T80" fmla="*/ 51 w 93"/>
                  <a:gd name="T81" fmla="*/ 5 h 40"/>
                  <a:gd name="T82" fmla="*/ 55 w 93"/>
                  <a:gd name="T83" fmla="*/ 1 h 40"/>
                  <a:gd name="T84" fmla="*/ 63 w 93"/>
                  <a:gd name="T85" fmla="*/ 1 h 40"/>
                  <a:gd name="T86" fmla="*/ 69 w 93"/>
                  <a:gd name="T87" fmla="*/ 3 h 40"/>
                  <a:gd name="T88" fmla="*/ 78 w 93"/>
                  <a:gd name="T89" fmla="*/ 7 h 40"/>
                  <a:gd name="T90" fmla="*/ 86 w 93"/>
                  <a:gd name="T91" fmla="*/ 13 h 40"/>
                  <a:gd name="T92" fmla="*/ 23 w 93"/>
                  <a:gd name="T93" fmla="*/ 36 h 40"/>
                  <a:gd name="T94" fmla="*/ 21 w 93"/>
                  <a:gd name="T95" fmla="*/ 32 h 40"/>
                  <a:gd name="T96" fmla="*/ 65 w 93"/>
                  <a:gd name="T97" fmla="*/ 22 h 40"/>
                  <a:gd name="T98" fmla="*/ 65 w 93"/>
                  <a:gd name="T99" fmla="*/ 19 h 40"/>
                  <a:gd name="T100" fmla="*/ 29 w 93"/>
                  <a:gd name="T101" fmla="*/ 36 h 40"/>
                  <a:gd name="T102" fmla="*/ 11 w 93"/>
                  <a:gd name="T103" fmla="*/ 5 h 40"/>
                  <a:gd name="T104" fmla="*/ 13 w 93"/>
                  <a:gd name="T105" fmla="*/ 5 h 40"/>
                  <a:gd name="T106" fmla="*/ 61 w 93"/>
                  <a:gd name="T107" fmla="*/ 22 h 40"/>
                  <a:gd name="T108" fmla="*/ 11 w 93"/>
                  <a:gd name="T109" fmla="*/ 5 h 40"/>
                  <a:gd name="T110" fmla="*/ 13 w 93"/>
                  <a:gd name="T111" fmla="*/ 22 h 40"/>
                  <a:gd name="T112" fmla="*/ 21 w 93"/>
                  <a:gd name="T113" fmla="*/ 40 h 40"/>
                  <a:gd name="T114" fmla="*/ 30 w 93"/>
                  <a:gd name="T115" fmla="*/ 30 h 40"/>
                  <a:gd name="T116" fmla="*/ 15 w 93"/>
                  <a:gd name="T117" fmla="*/ 9 h 40"/>
                  <a:gd name="T118" fmla="*/ 63 w 93"/>
                  <a:gd name="T119" fmla="*/ 19 h 40"/>
                  <a:gd name="T120" fmla="*/ 29 w 93"/>
                  <a:gd name="T121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40">
                    <a:moveTo>
                      <a:pt x="90" y="17"/>
                    </a:moveTo>
                    <a:lnTo>
                      <a:pt x="90" y="19"/>
                    </a:lnTo>
                    <a:lnTo>
                      <a:pt x="90" y="21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4"/>
                    </a:lnTo>
                    <a:lnTo>
                      <a:pt x="93" y="26"/>
                    </a:lnTo>
                    <a:lnTo>
                      <a:pt x="91" y="26"/>
                    </a:lnTo>
                    <a:lnTo>
                      <a:pt x="93" y="26"/>
                    </a:lnTo>
                    <a:lnTo>
                      <a:pt x="91" y="26"/>
                    </a:lnTo>
                    <a:lnTo>
                      <a:pt x="93" y="28"/>
                    </a:lnTo>
                    <a:lnTo>
                      <a:pt x="91" y="28"/>
                    </a:lnTo>
                    <a:lnTo>
                      <a:pt x="90" y="30"/>
                    </a:lnTo>
                    <a:lnTo>
                      <a:pt x="90" y="32"/>
                    </a:lnTo>
                    <a:lnTo>
                      <a:pt x="88" y="32"/>
                    </a:lnTo>
                    <a:lnTo>
                      <a:pt x="88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4" y="32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2" y="40"/>
                    </a:lnTo>
                    <a:lnTo>
                      <a:pt x="80" y="38"/>
                    </a:lnTo>
                    <a:lnTo>
                      <a:pt x="80" y="36"/>
                    </a:lnTo>
                    <a:lnTo>
                      <a:pt x="78" y="36"/>
                    </a:lnTo>
                    <a:lnTo>
                      <a:pt x="78" y="34"/>
                    </a:lnTo>
                    <a:lnTo>
                      <a:pt x="76" y="34"/>
                    </a:lnTo>
                    <a:lnTo>
                      <a:pt x="78" y="34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6" y="30"/>
                    </a:lnTo>
                    <a:lnTo>
                      <a:pt x="74" y="28"/>
                    </a:lnTo>
                    <a:lnTo>
                      <a:pt x="72" y="26"/>
                    </a:lnTo>
                    <a:lnTo>
                      <a:pt x="72" y="24"/>
                    </a:lnTo>
                    <a:lnTo>
                      <a:pt x="74" y="24"/>
                    </a:lnTo>
                    <a:lnTo>
                      <a:pt x="74" y="26"/>
                    </a:lnTo>
                    <a:lnTo>
                      <a:pt x="76" y="24"/>
                    </a:lnTo>
                    <a:lnTo>
                      <a:pt x="74" y="22"/>
                    </a:lnTo>
                    <a:lnTo>
                      <a:pt x="76" y="22"/>
                    </a:lnTo>
                    <a:lnTo>
                      <a:pt x="76" y="21"/>
                    </a:lnTo>
                    <a:lnTo>
                      <a:pt x="78" y="21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2" y="24"/>
                    </a:lnTo>
                    <a:lnTo>
                      <a:pt x="82" y="22"/>
                    </a:lnTo>
                    <a:lnTo>
                      <a:pt x="80" y="22"/>
                    </a:lnTo>
                    <a:lnTo>
                      <a:pt x="78" y="21"/>
                    </a:lnTo>
                    <a:lnTo>
                      <a:pt x="78" y="19"/>
                    </a:lnTo>
                    <a:lnTo>
                      <a:pt x="78" y="21"/>
                    </a:lnTo>
                    <a:lnTo>
                      <a:pt x="78" y="19"/>
                    </a:lnTo>
                    <a:lnTo>
                      <a:pt x="76" y="21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4" y="21"/>
                    </a:lnTo>
                    <a:lnTo>
                      <a:pt x="74" y="19"/>
                    </a:lnTo>
                    <a:lnTo>
                      <a:pt x="74" y="21"/>
                    </a:lnTo>
                    <a:lnTo>
                      <a:pt x="74" y="19"/>
                    </a:lnTo>
                    <a:lnTo>
                      <a:pt x="74" y="21"/>
                    </a:lnTo>
                    <a:lnTo>
                      <a:pt x="72" y="21"/>
                    </a:lnTo>
                    <a:lnTo>
                      <a:pt x="72" y="19"/>
                    </a:lnTo>
                    <a:lnTo>
                      <a:pt x="72" y="21"/>
                    </a:lnTo>
                    <a:lnTo>
                      <a:pt x="72" y="19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1" y="17"/>
                    </a:lnTo>
                    <a:lnTo>
                      <a:pt x="71" y="15"/>
                    </a:lnTo>
                    <a:lnTo>
                      <a:pt x="71" y="17"/>
                    </a:lnTo>
                    <a:lnTo>
                      <a:pt x="71" y="15"/>
                    </a:lnTo>
                    <a:lnTo>
                      <a:pt x="69" y="15"/>
                    </a:lnTo>
                    <a:lnTo>
                      <a:pt x="69" y="13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59" y="11"/>
                    </a:lnTo>
                    <a:lnTo>
                      <a:pt x="57" y="11"/>
                    </a:lnTo>
                    <a:lnTo>
                      <a:pt x="55" y="11"/>
                    </a:lnTo>
                    <a:lnTo>
                      <a:pt x="55" y="13"/>
                    </a:lnTo>
                    <a:lnTo>
                      <a:pt x="55" y="11"/>
                    </a:lnTo>
                    <a:lnTo>
                      <a:pt x="55" y="13"/>
                    </a:lnTo>
                    <a:lnTo>
                      <a:pt x="53" y="13"/>
                    </a:lnTo>
                    <a:lnTo>
                      <a:pt x="51" y="13"/>
                    </a:lnTo>
                    <a:lnTo>
                      <a:pt x="51" y="15"/>
                    </a:lnTo>
                    <a:lnTo>
                      <a:pt x="51" y="17"/>
                    </a:lnTo>
                    <a:lnTo>
                      <a:pt x="53" y="17"/>
                    </a:lnTo>
                    <a:lnTo>
                      <a:pt x="51" y="17"/>
                    </a:lnTo>
                    <a:lnTo>
                      <a:pt x="50" y="19"/>
                    </a:lnTo>
                    <a:lnTo>
                      <a:pt x="46" y="21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0" y="22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2" y="26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6" y="30"/>
                    </a:lnTo>
                    <a:lnTo>
                      <a:pt x="48" y="32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46" y="36"/>
                    </a:lnTo>
                    <a:lnTo>
                      <a:pt x="44" y="36"/>
                    </a:lnTo>
                    <a:lnTo>
                      <a:pt x="42" y="38"/>
                    </a:lnTo>
                    <a:lnTo>
                      <a:pt x="42" y="40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30"/>
                    </a:lnTo>
                    <a:lnTo>
                      <a:pt x="29" y="28"/>
                    </a:lnTo>
                    <a:lnTo>
                      <a:pt x="29" y="30"/>
                    </a:lnTo>
                    <a:lnTo>
                      <a:pt x="30" y="30"/>
                    </a:lnTo>
                    <a:lnTo>
                      <a:pt x="29" y="30"/>
                    </a:lnTo>
                    <a:lnTo>
                      <a:pt x="29" y="32"/>
                    </a:lnTo>
                    <a:lnTo>
                      <a:pt x="29" y="34"/>
                    </a:lnTo>
                    <a:lnTo>
                      <a:pt x="29" y="32"/>
                    </a:lnTo>
                    <a:lnTo>
                      <a:pt x="27" y="32"/>
                    </a:lnTo>
                    <a:lnTo>
                      <a:pt x="25" y="32"/>
                    </a:lnTo>
                    <a:lnTo>
                      <a:pt x="23" y="32"/>
                    </a:lnTo>
                    <a:lnTo>
                      <a:pt x="25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3" y="28"/>
                    </a:lnTo>
                    <a:lnTo>
                      <a:pt x="21" y="26"/>
                    </a:lnTo>
                    <a:lnTo>
                      <a:pt x="21" y="24"/>
                    </a:lnTo>
                    <a:lnTo>
                      <a:pt x="19" y="24"/>
                    </a:lnTo>
                    <a:lnTo>
                      <a:pt x="21" y="24"/>
                    </a:lnTo>
                    <a:lnTo>
                      <a:pt x="19" y="24"/>
                    </a:lnTo>
                    <a:lnTo>
                      <a:pt x="21" y="24"/>
                    </a:lnTo>
                    <a:lnTo>
                      <a:pt x="17" y="24"/>
                    </a:lnTo>
                    <a:lnTo>
                      <a:pt x="17" y="22"/>
                    </a:lnTo>
                    <a:lnTo>
                      <a:pt x="17" y="24"/>
                    </a:lnTo>
                    <a:lnTo>
                      <a:pt x="15" y="22"/>
                    </a:lnTo>
                    <a:lnTo>
                      <a:pt x="17" y="22"/>
                    </a:lnTo>
                    <a:lnTo>
                      <a:pt x="15" y="22"/>
                    </a:lnTo>
                    <a:lnTo>
                      <a:pt x="13" y="22"/>
                    </a:lnTo>
                    <a:lnTo>
                      <a:pt x="15" y="22"/>
                    </a:lnTo>
                    <a:lnTo>
                      <a:pt x="13" y="24"/>
                    </a:lnTo>
                    <a:lnTo>
                      <a:pt x="13" y="22"/>
                    </a:lnTo>
                    <a:lnTo>
                      <a:pt x="13" y="24"/>
                    </a:lnTo>
                    <a:lnTo>
                      <a:pt x="13" y="22"/>
                    </a:lnTo>
                    <a:lnTo>
                      <a:pt x="13" y="21"/>
                    </a:lnTo>
                    <a:lnTo>
                      <a:pt x="13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9" y="21"/>
                    </a:lnTo>
                    <a:lnTo>
                      <a:pt x="9" y="22"/>
                    </a:lnTo>
                    <a:lnTo>
                      <a:pt x="8" y="22"/>
                    </a:lnTo>
                    <a:lnTo>
                      <a:pt x="9" y="22"/>
                    </a:lnTo>
                    <a:lnTo>
                      <a:pt x="8" y="22"/>
                    </a:lnTo>
                    <a:lnTo>
                      <a:pt x="9" y="22"/>
                    </a:lnTo>
                    <a:lnTo>
                      <a:pt x="6" y="21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3" y="7"/>
                    </a:lnTo>
                    <a:lnTo>
                      <a:pt x="13" y="9"/>
                    </a:lnTo>
                    <a:lnTo>
                      <a:pt x="13" y="7"/>
                    </a:lnTo>
                    <a:lnTo>
                      <a:pt x="11" y="9"/>
                    </a:lnTo>
                    <a:lnTo>
                      <a:pt x="13" y="9"/>
                    </a:lnTo>
                    <a:lnTo>
                      <a:pt x="11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1" y="11"/>
                    </a:lnTo>
                    <a:lnTo>
                      <a:pt x="13" y="11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19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21" y="9"/>
                    </a:lnTo>
                    <a:lnTo>
                      <a:pt x="23" y="11"/>
                    </a:lnTo>
                    <a:lnTo>
                      <a:pt x="25" y="13"/>
                    </a:lnTo>
                    <a:lnTo>
                      <a:pt x="25" y="15"/>
                    </a:lnTo>
                    <a:lnTo>
                      <a:pt x="27" y="13"/>
                    </a:lnTo>
                    <a:lnTo>
                      <a:pt x="27" y="15"/>
                    </a:lnTo>
                    <a:lnTo>
                      <a:pt x="30" y="13"/>
                    </a:lnTo>
                    <a:lnTo>
                      <a:pt x="32" y="13"/>
                    </a:lnTo>
                    <a:lnTo>
                      <a:pt x="34" y="13"/>
                    </a:lnTo>
                    <a:lnTo>
                      <a:pt x="36" y="11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7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0" y="3"/>
                    </a:lnTo>
                    <a:lnTo>
                      <a:pt x="51" y="5"/>
                    </a:lnTo>
                    <a:lnTo>
                      <a:pt x="51" y="3"/>
                    </a:lnTo>
                    <a:lnTo>
                      <a:pt x="51" y="5"/>
                    </a:lnTo>
                    <a:lnTo>
                      <a:pt x="51" y="3"/>
                    </a:lnTo>
                    <a:lnTo>
                      <a:pt x="51" y="5"/>
                    </a:lnTo>
                    <a:lnTo>
                      <a:pt x="51" y="3"/>
                    </a:lnTo>
                    <a:lnTo>
                      <a:pt x="53" y="3"/>
                    </a:lnTo>
                    <a:lnTo>
                      <a:pt x="53" y="1"/>
                    </a:lnTo>
                    <a:lnTo>
                      <a:pt x="55" y="1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7" y="1"/>
                    </a:lnTo>
                    <a:lnTo>
                      <a:pt x="59" y="1"/>
                    </a:lnTo>
                    <a:lnTo>
                      <a:pt x="61" y="1"/>
                    </a:lnTo>
                    <a:lnTo>
                      <a:pt x="63" y="1"/>
                    </a:lnTo>
                    <a:lnTo>
                      <a:pt x="65" y="1"/>
                    </a:lnTo>
                    <a:lnTo>
                      <a:pt x="63" y="1"/>
                    </a:lnTo>
                    <a:lnTo>
                      <a:pt x="63" y="3"/>
                    </a:lnTo>
                    <a:lnTo>
                      <a:pt x="65" y="3"/>
                    </a:lnTo>
                    <a:lnTo>
                      <a:pt x="67" y="3"/>
                    </a:lnTo>
                    <a:lnTo>
                      <a:pt x="69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4" y="5"/>
                    </a:lnTo>
                    <a:lnTo>
                      <a:pt x="76" y="5"/>
                    </a:lnTo>
                    <a:lnTo>
                      <a:pt x="78" y="5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80" y="9"/>
                    </a:lnTo>
                    <a:lnTo>
                      <a:pt x="82" y="9"/>
                    </a:lnTo>
                    <a:lnTo>
                      <a:pt x="84" y="9"/>
                    </a:lnTo>
                    <a:lnTo>
                      <a:pt x="84" y="11"/>
                    </a:lnTo>
                    <a:lnTo>
                      <a:pt x="86" y="13"/>
                    </a:lnTo>
                    <a:lnTo>
                      <a:pt x="88" y="15"/>
                    </a:lnTo>
                    <a:lnTo>
                      <a:pt x="90" y="17"/>
                    </a:lnTo>
                    <a:close/>
                    <a:moveTo>
                      <a:pt x="21" y="32"/>
                    </a:moveTo>
                    <a:lnTo>
                      <a:pt x="21" y="34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23" y="38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9" y="34"/>
                    </a:lnTo>
                    <a:lnTo>
                      <a:pt x="19" y="32"/>
                    </a:lnTo>
                    <a:lnTo>
                      <a:pt x="21" y="32"/>
                    </a:lnTo>
                    <a:close/>
                    <a:moveTo>
                      <a:pt x="67" y="19"/>
                    </a:moveTo>
                    <a:lnTo>
                      <a:pt x="67" y="21"/>
                    </a:lnTo>
                    <a:lnTo>
                      <a:pt x="67" y="19"/>
                    </a:lnTo>
                    <a:lnTo>
                      <a:pt x="67" y="21"/>
                    </a:lnTo>
                    <a:lnTo>
                      <a:pt x="67" y="22"/>
                    </a:lnTo>
                    <a:lnTo>
                      <a:pt x="65" y="22"/>
                    </a:lnTo>
                    <a:lnTo>
                      <a:pt x="67" y="22"/>
                    </a:lnTo>
                    <a:lnTo>
                      <a:pt x="65" y="22"/>
                    </a:lnTo>
                    <a:lnTo>
                      <a:pt x="65" y="21"/>
                    </a:lnTo>
                    <a:lnTo>
                      <a:pt x="65" y="22"/>
                    </a:lnTo>
                    <a:lnTo>
                      <a:pt x="65" y="21"/>
                    </a:lnTo>
                    <a:lnTo>
                      <a:pt x="65" y="19"/>
                    </a:lnTo>
                    <a:lnTo>
                      <a:pt x="67" y="19"/>
                    </a:lnTo>
                    <a:close/>
                    <a:moveTo>
                      <a:pt x="30" y="34"/>
                    </a:moveTo>
                    <a:lnTo>
                      <a:pt x="32" y="34"/>
                    </a:lnTo>
                    <a:lnTo>
                      <a:pt x="30" y="34"/>
                    </a:lnTo>
                    <a:lnTo>
                      <a:pt x="29" y="34"/>
                    </a:lnTo>
                    <a:lnTo>
                      <a:pt x="29" y="36"/>
                    </a:lnTo>
                    <a:lnTo>
                      <a:pt x="29" y="34"/>
                    </a:lnTo>
                    <a:lnTo>
                      <a:pt x="30" y="34"/>
                    </a:lnTo>
                    <a:close/>
                    <a:moveTo>
                      <a:pt x="11" y="3"/>
                    </a:moveTo>
                    <a:lnTo>
                      <a:pt x="13" y="3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1" y="3"/>
                    </a:lnTo>
                    <a:close/>
                    <a:moveTo>
                      <a:pt x="13" y="5"/>
                    </a:moveTo>
                    <a:lnTo>
                      <a:pt x="15" y="5"/>
                    </a:lnTo>
                    <a:lnTo>
                      <a:pt x="15" y="7"/>
                    </a:lnTo>
                    <a:lnTo>
                      <a:pt x="13" y="7"/>
                    </a:lnTo>
                    <a:lnTo>
                      <a:pt x="13" y="5"/>
                    </a:lnTo>
                    <a:close/>
                    <a:moveTo>
                      <a:pt x="13" y="7"/>
                    </a:moveTo>
                    <a:lnTo>
                      <a:pt x="15" y="7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3" y="7"/>
                    </a:lnTo>
                    <a:close/>
                    <a:moveTo>
                      <a:pt x="61" y="22"/>
                    </a:moveTo>
                    <a:lnTo>
                      <a:pt x="63" y="22"/>
                    </a:lnTo>
                    <a:lnTo>
                      <a:pt x="61" y="22"/>
                    </a:lnTo>
                    <a:close/>
                    <a:moveTo>
                      <a:pt x="9" y="22"/>
                    </a:moveTo>
                    <a:lnTo>
                      <a:pt x="11" y="22"/>
                    </a:lnTo>
                    <a:lnTo>
                      <a:pt x="9" y="22"/>
                    </a:lnTo>
                    <a:close/>
                    <a:moveTo>
                      <a:pt x="11" y="5"/>
                    </a:moveTo>
                    <a:lnTo>
                      <a:pt x="13" y="5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1" y="5"/>
                    </a:lnTo>
                    <a:close/>
                    <a:moveTo>
                      <a:pt x="11" y="22"/>
                    </a:moveTo>
                    <a:lnTo>
                      <a:pt x="13" y="22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11" y="22"/>
                    </a:lnTo>
                    <a:close/>
                    <a:moveTo>
                      <a:pt x="19" y="38"/>
                    </a:moveTo>
                    <a:lnTo>
                      <a:pt x="21" y="38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9" y="38"/>
                    </a:lnTo>
                    <a:close/>
                    <a:moveTo>
                      <a:pt x="9" y="22"/>
                    </a:moveTo>
                    <a:lnTo>
                      <a:pt x="11" y="22"/>
                    </a:lnTo>
                    <a:lnTo>
                      <a:pt x="9" y="22"/>
                    </a:lnTo>
                    <a:close/>
                    <a:moveTo>
                      <a:pt x="30" y="30"/>
                    </a:moveTo>
                    <a:lnTo>
                      <a:pt x="30" y="32"/>
                    </a:lnTo>
                    <a:lnTo>
                      <a:pt x="30" y="30"/>
                    </a:lnTo>
                    <a:close/>
                    <a:moveTo>
                      <a:pt x="15" y="7"/>
                    </a:moveTo>
                    <a:lnTo>
                      <a:pt x="17" y="7"/>
                    </a:lnTo>
                    <a:lnTo>
                      <a:pt x="17" y="9"/>
                    </a:lnTo>
                    <a:lnTo>
                      <a:pt x="15" y="9"/>
                    </a:lnTo>
                    <a:lnTo>
                      <a:pt x="15" y="7"/>
                    </a:lnTo>
                    <a:close/>
                    <a:moveTo>
                      <a:pt x="63" y="19"/>
                    </a:moveTo>
                    <a:lnTo>
                      <a:pt x="65" y="19"/>
                    </a:lnTo>
                    <a:lnTo>
                      <a:pt x="65" y="21"/>
                    </a:lnTo>
                    <a:lnTo>
                      <a:pt x="63" y="21"/>
                    </a:lnTo>
                    <a:lnTo>
                      <a:pt x="63" y="19"/>
                    </a:lnTo>
                    <a:close/>
                    <a:moveTo>
                      <a:pt x="13" y="7"/>
                    </a:moveTo>
                    <a:lnTo>
                      <a:pt x="13" y="9"/>
                    </a:lnTo>
                    <a:lnTo>
                      <a:pt x="13" y="7"/>
                    </a:lnTo>
                    <a:close/>
                    <a:moveTo>
                      <a:pt x="29" y="30"/>
                    </a:moveTo>
                    <a:lnTo>
                      <a:pt x="30" y="30"/>
                    </a:lnTo>
                    <a:lnTo>
                      <a:pt x="29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7" name="Freeform 205">
                <a:extLst>
                  <a:ext uri="{FF2B5EF4-FFF2-40B4-BE49-F238E27FC236}">
                    <a16:creationId xmlns:a16="http://schemas.microsoft.com/office/drawing/2014/main" id="{2579C378-DE79-A297-6133-6230ADB36D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72161" y="-2258615"/>
                <a:ext cx="74052" cy="17364"/>
              </a:xfrm>
              <a:custGeom>
                <a:avLst/>
                <a:gdLst>
                  <a:gd name="T0" fmla="*/ 1 w 47"/>
                  <a:gd name="T1" fmla="*/ 11 h 11"/>
                  <a:gd name="T2" fmla="*/ 1 w 47"/>
                  <a:gd name="T3" fmla="*/ 9 h 11"/>
                  <a:gd name="T4" fmla="*/ 0 w 47"/>
                  <a:gd name="T5" fmla="*/ 7 h 11"/>
                  <a:gd name="T6" fmla="*/ 1 w 47"/>
                  <a:gd name="T7" fmla="*/ 5 h 11"/>
                  <a:gd name="T8" fmla="*/ 3 w 47"/>
                  <a:gd name="T9" fmla="*/ 5 h 11"/>
                  <a:gd name="T10" fmla="*/ 5 w 47"/>
                  <a:gd name="T11" fmla="*/ 5 h 11"/>
                  <a:gd name="T12" fmla="*/ 3 w 47"/>
                  <a:gd name="T13" fmla="*/ 5 h 11"/>
                  <a:gd name="T14" fmla="*/ 5 w 47"/>
                  <a:gd name="T15" fmla="*/ 4 h 11"/>
                  <a:gd name="T16" fmla="*/ 21 w 47"/>
                  <a:gd name="T17" fmla="*/ 4 h 11"/>
                  <a:gd name="T18" fmla="*/ 22 w 47"/>
                  <a:gd name="T19" fmla="*/ 2 h 11"/>
                  <a:gd name="T20" fmla="*/ 22 w 47"/>
                  <a:gd name="T21" fmla="*/ 0 h 11"/>
                  <a:gd name="T22" fmla="*/ 24 w 47"/>
                  <a:gd name="T23" fmla="*/ 0 h 11"/>
                  <a:gd name="T24" fmla="*/ 26 w 47"/>
                  <a:gd name="T25" fmla="*/ 0 h 11"/>
                  <a:gd name="T26" fmla="*/ 28 w 47"/>
                  <a:gd name="T27" fmla="*/ 0 h 11"/>
                  <a:gd name="T28" fmla="*/ 30 w 47"/>
                  <a:gd name="T29" fmla="*/ 0 h 11"/>
                  <a:gd name="T30" fmla="*/ 32 w 47"/>
                  <a:gd name="T31" fmla="*/ 0 h 11"/>
                  <a:gd name="T32" fmla="*/ 32 w 47"/>
                  <a:gd name="T33" fmla="*/ 2 h 11"/>
                  <a:gd name="T34" fmla="*/ 34 w 47"/>
                  <a:gd name="T35" fmla="*/ 4 h 11"/>
                  <a:gd name="T36" fmla="*/ 36 w 47"/>
                  <a:gd name="T37" fmla="*/ 2 h 11"/>
                  <a:gd name="T38" fmla="*/ 38 w 47"/>
                  <a:gd name="T39" fmla="*/ 4 h 11"/>
                  <a:gd name="T40" fmla="*/ 40 w 47"/>
                  <a:gd name="T41" fmla="*/ 5 h 11"/>
                  <a:gd name="T42" fmla="*/ 42 w 47"/>
                  <a:gd name="T43" fmla="*/ 5 h 11"/>
                  <a:gd name="T44" fmla="*/ 42 w 47"/>
                  <a:gd name="T45" fmla="*/ 4 h 11"/>
                  <a:gd name="T46" fmla="*/ 43 w 47"/>
                  <a:gd name="T47" fmla="*/ 4 h 11"/>
                  <a:gd name="T48" fmla="*/ 45 w 47"/>
                  <a:gd name="T49" fmla="*/ 4 h 11"/>
                  <a:gd name="T50" fmla="*/ 47 w 47"/>
                  <a:gd name="T51" fmla="*/ 4 h 11"/>
                  <a:gd name="T52" fmla="*/ 47 w 47"/>
                  <a:gd name="T53" fmla="*/ 5 h 11"/>
                  <a:gd name="T54" fmla="*/ 47 w 47"/>
                  <a:gd name="T55" fmla="*/ 7 h 11"/>
                  <a:gd name="T56" fmla="*/ 45 w 47"/>
                  <a:gd name="T57" fmla="*/ 7 h 11"/>
                  <a:gd name="T58" fmla="*/ 43 w 47"/>
                  <a:gd name="T59" fmla="*/ 7 h 11"/>
                  <a:gd name="T60" fmla="*/ 43 w 47"/>
                  <a:gd name="T61" fmla="*/ 9 h 11"/>
                  <a:gd name="T62" fmla="*/ 42 w 47"/>
                  <a:gd name="T63" fmla="*/ 9 h 11"/>
                  <a:gd name="T64" fmla="*/ 40 w 47"/>
                  <a:gd name="T65" fmla="*/ 9 h 11"/>
                  <a:gd name="T66" fmla="*/ 38 w 47"/>
                  <a:gd name="T67" fmla="*/ 9 h 11"/>
                  <a:gd name="T68" fmla="*/ 38 w 47"/>
                  <a:gd name="T69" fmla="*/ 7 h 11"/>
                  <a:gd name="T70" fmla="*/ 36 w 47"/>
                  <a:gd name="T71" fmla="*/ 7 h 11"/>
                  <a:gd name="T72" fmla="*/ 34 w 47"/>
                  <a:gd name="T73" fmla="*/ 7 h 11"/>
                  <a:gd name="T74" fmla="*/ 32 w 47"/>
                  <a:gd name="T75" fmla="*/ 5 h 11"/>
                  <a:gd name="T76" fmla="*/ 30 w 47"/>
                  <a:gd name="T77" fmla="*/ 5 h 11"/>
                  <a:gd name="T78" fmla="*/ 28 w 47"/>
                  <a:gd name="T79" fmla="*/ 4 h 11"/>
                  <a:gd name="T80" fmla="*/ 26 w 47"/>
                  <a:gd name="T81" fmla="*/ 4 h 11"/>
                  <a:gd name="T82" fmla="*/ 26 w 47"/>
                  <a:gd name="T83" fmla="*/ 5 h 11"/>
                  <a:gd name="T84" fmla="*/ 24 w 47"/>
                  <a:gd name="T85" fmla="*/ 7 h 11"/>
                  <a:gd name="T86" fmla="*/ 22 w 47"/>
                  <a:gd name="T87" fmla="*/ 7 h 11"/>
                  <a:gd name="T88" fmla="*/ 21 w 47"/>
                  <a:gd name="T89" fmla="*/ 5 h 11"/>
                  <a:gd name="T90" fmla="*/ 21 w 47"/>
                  <a:gd name="T91" fmla="*/ 7 h 11"/>
                  <a:gd name="T92" fmla="*/ 19 w 47"/>
                  <a:gd name="T93" fmla="*/ 7 h 11"/>
                  <a:gd name="T94" fmla="*/ 17 w 47"/>
                  <a:gd name="T95" fmla="*/ 7 h 11"/>
                  <a:gd name="T96" fmla="*/ 17 w 47"/>
                  <a:gd name="T97" fmla="*/ 9 h 11"/>
                  <a:gd name="T98" fmla="*/ 1 w 47"/>
                  <a:gd name="T99" fmla="*/ 9 h 11"/>
                  <a:gd name="T100" fmla="*/ 1 w 47"/>
                  <a:gd name="T10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" h="11">
                    <a:moveTo>
                      <a:pt x="1" y="11"/>
                    </a:moveTo>
                    <a:lnTo>
                      <a:pt x="1" y="9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21" y="4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2" y="2"/>
                    </a:lnTo>
                    <a:lnTo>
                      <a:pt x="34" y="4"/>
                    </a:lnTo>
                    <a:lnTo>
                      <a:pt x="36" y="2"/>
                    </a:lnTo>
                    <a:lnTo>
                      <a:pt x="38" y="4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2" y="4"/>
                    </a:lnTo>
                    <a:lnTo>
                      <a:pt x="43" y="4"/>
                    </a:lnTo>
                    <a:lnTo>
                      <a:pt x="45" y="4"/>
                    </a:lnTo>
                    <a:lnTo>
                      <a:pt x="47" y="4"/>
                    </a:lnTo>
                    <a:lnTo>
                      <a:pt x="47" y="5"/>
                    </a:lnTo>
                    <a:lnTo>
                      <a:pt x="47" y="7"/>
                    </a:lnTo>
                    <a:lnTo>
                      <a:pt x="45" y="7"/>
                    </a:lnTo>
                    <a:lnTo>
                      <a:pt x="43" y="7"/>
                    </a:lnTo>
                    <a:lnTo>
                      <a:pt x="43" y="9"/>
                    </a:lnTo>
                    <a:lnTo>
                      <a:pt x="42" y="9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8" y="7"/>
                    </a:lnTo>
                    <a:lnTo>
                      <a:pt x="36" y="7"/>
                    </a:lnTo>
                    <a:lnTo>
                      <a:pt x="34" y="7"/>
                    </a:lnTo>
                    <a:lnTo>
                      <a:pt x="32" y="5"/>
                    </a:lnTo>
                    <a:lnTo>
                      <a:pt x="30" y="5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5"/>
                    </a:lnTo>
                    <a:lnTo>
                      <a:pt x="24" y="7"/>
                    </a:lnTo>
                    <a:lnTo>
                      <a:pt x="22" y="7"/>
                    </a:lnTo>
                    <a:lnTo>
                      <a:pt x="21" y="5"/>
                    </a:lnTo>
                    <a:lnTo>
                      <a:pt x="21" y="7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" y="9"/>
                    </a:lnTo>
                    <a:lnTo>
                      <a:pt x="1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8" name="Freeform 206">
                <a:extLst>
                  <a:ext uri="{FF2B5EF4-FFF2-40B4-BE49-F238E27FC236}">
                    <a16:creationId xmlns:a16="http://schemas.microsoft.com/office/drawing/2014/main" id="{1FA71C6E-CC50-FD1E-5874-904CEAC396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85603" y="-2556958"/>
                <a:ext cx="414379" cy="391477"/>
              </a:xfrm>
              <a:custGeom>
                <a:avLst/>
                <a:gdLst>
                  <a:gd name="T0" fmla="*/ 259 w 263"/>
                  <a:gd name="T1" fmla="*/ 153 h 248"/>
                  <a:gd name="T2" fmla="*/ 252 w 263"/>
                  <a:gd name="T3" fmla="*/ 164 h 248"/>
                  <a:gd name="T4" fmla="*/ 206 w 263"/>
                  <a:gd name="T5" fmla="*/ 170 h 248"/>
                  <a:gd name="T6" fmla="*/ 189 w 263"/>
                  <a:gd name="T7" fmla="*/ 170 h 248"/>
                  <a:gd name="T8" fmla="*/ 170 w 263"/>
                  <a:gd name="T9" fmla="*/ 177 h 248"/>
                  <a:gd name="T10" fmla="*/ 158 w 263"/>
                  <a:gd name="T11" fmla="*/ 181 h 248"/>
                  <a:gd name="T12" fmla="*/ 151 w 263"/>
                  <a:gd name="T13" fmla="*/ 191 h 248"/>
                  <a:gd name="T14" fmla="*/ 143 w 263"/>
                  <a:gd name="T15" fmla="*/ 191 h 248"/>
                  <a:gd name="T16" fmla="*/ 137 w 263"/>
                  <a:gd name="T17" fmla="*/ 198 h 248"/>
                  <a:gd name="T18" fmla="*/ 134 w 263"/>
                  <a:gd name="T19" fmla="*/ 194 h 248"/>
                  <a:gd name="T20" fmla="*/ 126 w 263"/>
                  <a:gd name="T21" fmla="*/ 200 h 248"/>
                  <a:gd name="T22" fmla="*/ 124 w 263"/>
                  <a:gd name="T23" fmla="*/ 208 h 248"/>
                  <a:gd name="T24" fmla="*/ 122 w 263"/>
                  <a:gd name="T25" fmla="*/ 215 h 248"/>
                  <a:gd name="T26" fmla="*/ 114 w 263"/>
                  <a:gd name="T27" fmla="*/ 219 h 248"/>
                  <a:gd name="T28" fmla="*/ 113 w 263"/>
                  <a:gd name="T29" fmla="*/ 221 h 248"/>
                  <a:gd name="T30" fmla="*/ 113 w 263"/>
                  <a:gd name="T31" fmla="*/ 231 h 248"/>
                  <a:gd name="T32" fmla="*/ 109 w 263"/>
                  <a:gd name="T33" fmla="*/ 238 h 248"/>
                  <a:gd name="T34" fmla="*/ 105 w 263"/>
                  <a:gd name="T35" fmla="*/ 242 h 248"/>
                  <a:gd name="T36" fmla="*/ 97 w 263"/>
                  <a:gd name="T37" fmla="*/ 248 h 248"/>
                  <a:gd name="T38" fmla="*/ 97 w 263"/>
                  <a:gd name="T39" fmla="*/ 238 h 248"/>
                  <a:gd name="T40" fmla="*/ 90 w 263"/>
                  <a:gd name="T41" fmla="*/ 240 h 248"/>
                  <a:gd name="T42" fmla="*/ 84 w 263"/>
                  <a:gd name="T43" fmla="*/ 248 h 248"/>
                  <a:gd name="T44" fmla="*/ 74 w 263"/>
                  <a:gd name="T45" fmla="*/ 244 h 248"/>
                  <a:gd name="T46" fmla="*/ 69 w 263"/>
                  <a:gd name="T47" fmla="*/ 248 h 248"/>
                  <a:gd name="T48" fmla="*/ 65 w 263"/>
                  <a:gd name="T49" fmla="*/ 240 h 248"/>
                  <a:gd name="T50" fmla="*/ 63 w 263"/>
                  <a:gd name="T51" fmla="*/ 233 h 248"/>
                  <a:gd name="T52" fmla="*/ 61 w 263"/>
                  <a:gd name="T53" fmla="*/ 231 h 248"/>
                  <a:gd name="T54" fmla="*/ 61 w 263"/>
                  <a:gd name="T55" fmla="*/ 227 h 248"/>
                  <a:gd name="T56" fmla="*/ 55 w 263"/>
                  <a:gd name="T57" fmla="*/ 225 h 248"/>
                  <a:gd name="T58" fmla="*/ 53 w 263"/>
                  <a:gd name="T59" fmla="*/ 215 h 248"/>
                  <a:gd name="T60" fmla="*/ 46 w 263"/>
                  <a:gd name="T61" fmla="*/ 210 h 248"/>
                  <a:gd name="T62" fmla="*/ 44 w 263"/>
                  <a:gd name="T63" fmla="*/ 215 h 248"/>
                  <a:gd name="T64" fmla="*/ 36 w 263"/>
                  <a:gd name="T65" fmla="*/ 215 h 248"/>
                  <a:gd name="T66" fmla="*/ 29 w 263"/>
                  <a:gd name="T67" fmla="*/ 215 h 248"/>
                  <a:gd name="T68" fmla="*/ 23 w 263"/>
                  <a:gd name="T69" fmla="*/ 217 h 248"/>
                  <a:gd name="T70" fmla="*/ 19 w 263"/>
                  <a:gd name="T71" fmla="*/ 215 h 248"/>
                  <a:gd name="T72" fmla="*/ 13 w 263"/>
                  <a:gd name="T73" fmla="*/ 214 h 248"/>
                  <a:gd name="T74" fmla="*/ 13 w 263"/>
                  <a:gd name="T75" fmla="*/ 206 h 248"/>
                  <a:gd name="T76" fmla="*/ 15 w 263"/>
                  <a:gd name="T77" fmla="*/ 204 h 248"/>
                  <a:gd name="T78" fmla="*/ 11 w 263"/>
                  <a:gd name="T79" fmla="*/ 200 h 248"/>
                  <a:gd name="T80" fmla="*/ 10 w 263"/>
                  <a:gd name="T81" fmla="*/ 194 h 248"/>
                  <a:gd name="T82" fmla="*/ 4 w 263"/>
                  <a:gd name="T83" fmla="*/ 189 h 248"/>
                  <a:gd name="T84" fmla="*/ 4 w 263"/>
                  <a:gd name="T85" fmla="*/ 179 h 248"/>
                  <a:gd name="T86" fmla="*/ 2 w 263"/>
                  <a:gd name="T87" fmla="*/ 173 h 248"/>
                  <a:gd name="T88" fmla="*/ 8 w 263"/>
                  <a:gd name="T89" fmla="*/ 168 h 248"/>
                  <a:gd name="T90" fmla="*/ 13 w 263"/>
                  <a:gd name="T91" fmla="*/ 158 h 248"/>
                  <a:gd name="T92" fmla="*/ 23 w 263"/>
                  <a:gd name="T93" fmla="*/ 168 h 248"/>
                  <a:gd name="T94" fmla="*/ 29 w 263"/>
                  <a:gd name="T95" fmla="*/ 162 h 248"/>
                  <a:gd name="T96" fmla="*/ 42 w 263"/>
                  <a:gd name="T97" fmla="*/ 162 h 248"/>
                  <a:gd name="T98" fmla="*/ 52 w 263"/>
                  <a:gd name="T99" fmla="*/ 160 h 248"/>
                  <a:gd name="T100" fmla="*/ 105 w 263"/>
                  <a:gd name="T101" fmla="*/ 137 h 248"/>
                  <a:gd name="T102" fmla="*/ 214 w 263"/>
                  <a:gd name="T103" fmla="*/ 67 h 248"/>
                  <a:gd name="T104" fmla="*/ 221 w 263"/>
                  <a:gd name="T105" fmla="*/ 76 h 248"/>
                  <a:gd name="T106" fmla="*/ 229 w 263"/>
                  <a:gd name="T107" fmla="*/ 80 h 248"/>
                  <a:gd name="T108" fmla="*/ 233 w 263"/>
                  <a:gd name="T109" fmla="*/ 84 h 248"/>
                  <a:gd name="T110" fmla="*/ 238 w 263"/>
                  <a:gd name="T111" fmla="*/ 84 h 248"/>
                  <a:gd name="T112" fmla="*/ 246 w 263"/>
                  <a:gd name="T113" fmla="*/ 90 h 248"/>
                  <a:gd name="T114" fmla="*/ 246 w 263"/>
                  <a:gd name="T115" fmla="*/ 97 h 248"/>
                  <a:gd name="T116" fmla="*/ 263 w 263"/>
                  <a:gd name="T117" fmla="*/ 101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3" h="248">
                    <a:moveTo>
                      <a:pt x="263" y="101"/>
                    </a:moveTo>
                    <a:lnTo>
                      <a:pt x="263" y="109"/>
                    </a:lnTo>
                    <a:lnTo>
                      <a:pt x="263" y="135"/>
                    </a:lnTo>
                    <a:lnTo>
                      <a:pt x="259" y="137"/>
                    </a:lnTo>
                    <a:lnTo>
                      <a:pt x="259" y="147"/>
                    </a:lnTo>
                    <a:lnTo>
                      <a:pt x="259" y="153"/>
                    </a:lnTo>
                    <a:lnTo>
                      <a:pt x="257" y="154"/>
                    </a:lnTo>
                    <a:lnTo>
                      <a:pt x="257" y="156"/>
                    </a:lnTo>
                    <a:lnTo>
                      <a:pt x="257" y="158"/>
                    </a:lnTo>
                    <a:lnTo>
                      <a:pt x="256" y="158"/>
                    </a:lnTo>
                    <a:lnTo>
                      <a:pt x="252" y="160"/>
                    </a:lnTo>
                    <a:lnTo>
                      <a:pt x="252" y="164"/>
                    </a:lnTo>
                    <a:lnTo>
                      <a:pt x="236" y="162"/>
                    </a:lnTo>
                    <a:lnTo>
                      <a:pt x="217" y="164"/>
                    </a:lnTo>
                    <a:lnTo>
                      <a:pt x="216" y="164"/>
                    </a:lnTo>
                    <a:lnTo>
                      <a:pt x="210" y="170"/>
                    </a:lnTo>
                    <a:lnTo>
                      <a:pt x="208" y="170"/>
                    </a:lnTo>
                    <a:lnTo>
                      <a:pt x="206" y="170"/>
                    </a:lnTo>
                    <a:lnTo>
                      <a:pt x="204" y="170"/>
                    </a:lnTo>
                    <a:lnTo>
                      <a:pt x="202" y="170"/>
                    </a:lnTo>
                    <a:lnTo>
                      <a:pt x="198" y="170"/>
                    </a:lnTo>
                    <a:lnTo>
                      <a:pt x="196" y="170"/>
                    </a:lnTo>
                    <a:lnTo>
                      <a:pt x="191" y="168"/>
                    </a:lnTo>
                    <a:lnTo>
                      <a:pt x="189" y="170"/>
                    </a:lnTo>
                    <a:lnTo>
                      <a:pt x="189" y="168"/>
                    </a:lnTo>
                    <a:lnTo>
                      <a:pt x="183" y="168"/>
                    </a:lnTo>
                    <a:lnTo>
                      <a:pt x="179" y="172"/>
                    </a:lnTo>
                    <a:lnTo>
                      <a:pt x="179" y="173"/>
                    </a:lnTo>
                    <a:lnTo>
                      <a:pt x="175" y="173"/>
                    </a:lnTo>
                    <a:lnTo>
                      <a:pt x="170" y="177"/>
                    </a:lnTo>
                    <a:lnTo>
                      <a:pt x="168" y="177"/>
                    </a:lnTo>
                    <a:lnTo>
                      <a:pt x="166" y="177"/>
                    </a:lnTo>
                    <a:lnTo>
                      <a:pt x="164" y="177"/>
                    </a:lnTo>
                    <a:lnTo>
                      <a:pt x="164" y="183"/>
                    </a:lnTo>
                    <a:lnTo>
                      <a:pt x="162" y="183"/>
                    </a:lnTo>
                    <a:lnTo>
                      <a:pt x="158" y="181"/>
                    </a:lnTo>
                    <a:lnTo>
                      <a:pt x="156" y="181"/>
                    </a:lnTo>
                    <a:lnTo>
                      <a:pt x="153" y="183"/>
                    </a:lnTo>
                    <a:lnTo>
                      <a:pt x="151" y="185"/>
                    </a:lnTo>
                    <a:lnTo>
                      <a:pt x="149" y="189"/>
                    </a:lnTo>
                    <a:lnTo>
                      <a:pt x="149" y="191"/>
                    </a:lnTo>
                    <a:lnTo>
                      <a:pt x="151" y="191"/>
                    </a:lnTo>
                    <a:lnTo>
                      <a:pt x="149" y="191"/>
                    </a:lnTo>
                    <a:lnTo>
                      <a:pt x="147" y="191"/>
                    </a:lnTo>
                    <a:lnTo>
                      <a:pt x="147" y="193"/>
                    </a:lnTo>
                    <a:lnTo>
                      <a:pt x="147" y="191"/>
                    </a:lnTo>
                    <a:lnTo>
                      <a:pt x="145" y="191"/>
                    </a:lnTo>
                    <a:lnTo>
                      <a:pt x="143" y="191"/>
                    </a:lnTo>
                    <a:lnTo>
                      <a:pt x="143" y="193"/>
                    </a:lnTo>
                    <a:lnTo>
                      <a:pt x="145" y="196"/>
                    </a:lnTo>
                    <a:lnTo>
                      <a:pt x="141" y="196"/>
                    </a:lnTo>
                    <a:lnTo>
                      <a:pt x="141" y="198"/>
                    </a:lnTo>
                    <a:lnTo>
                      <a:pt x="139" y="198"/>
                    </a:lnTo>
                    <a:lnTo>
                      <a:pt x="137" y="198"/>
                    </a:lnTo>
                    <a:lnTo>
                      <a:pt x="137" y="196"/>
                    </a:lnTo>
                    <a:lnTo>
                      <a:pt x="135" y="196"/>
                    </a:lnTo>
                    <a:lnTo>
                      <a:pt x="134" y="196"/>
                    </a:lnTo>
                    <a:lnTo>
                      <a:pt x="132" y="196"/>
                    </a:lnTo>
                    <a:lnTo>
                      <a:pt x="132" y="194"/>
                    </a:lnTo>
                    <a:lnTo>
                      <a:pt x="134" y="194"/>
                    </a:lnTo>
                    <a:lnTo>
                      <a:pt x="132" y="193"/>
                    </a:lnTo>
                    <a:lnTo>
                      <a:pt x="132" y="194"/>
                    </a:lnTo>
                    <a:lnTo>
                      <a:pt x="130" y="194"/>
                    </a:lnTo>
                    <a:lnTo>
                      <a:pt x="130" y="196"/>
                    </a:lnTo>
                    <a:lnTo>
                      <a:pt x="128" y="198"/>
                    </a:lnTo>
                    <a:lnTo>
                      <a:pt x="126" y="200"/>
                    </a:lnTo>
                    <a:lnTo>
                      <a:pt x="128" y="202"/>
                    </a:lnTo>
                    <a:lnTo>
                      <a:pt x="128" y="204"/>
                    </a:lnTo>
                    <a:lnTo>
                      <a:pt x="128" y="206"/>
                    </a:lnTo>
                    <a:lnTo>
                      <a:pt x="126" y="206"/>
                    </a:lnTo>
                    <a:lnTo>
                      <a:pt x="124" y="206"/>
                    </a:lnTo>
                    <a:lnTo>
                      <a:pt x="124" y="208"/>
                    </a:lnTo>
                    <a:lnTo>
                      <a:pt x="126" y="208"/>
                    </a:lnTo>
                    <a:lnTo>
                      <a:pt x="126" y="210"/>
                    </a:lnTo>
                    <a:lnTo>
                      <a:pt x="124" y="212"/>
                    </a:lnTo>
                    <a:lnTo>
                      <a:pt x="126" y="214"/>
                    </a:lnTo>
                    <a:lnTo>
                      <a:pt x="124" y="214"/>
                    </a:lnTo>
                    <a:lnTo>
                      <a:pt x="122" y="215"/>
                    </a:lnTo>
                    <a:lnTo>
                      <a:pt x="124" y="215"/>
                    </a:lnTo>
                    <a:lnTo>
                      <a:pt x="122" y="215"/>
                    </a:lnTo>
                    <a:lnTo>
                      <a:pt x="122" y="217"/>
                    </a:lnTo>
                    <a:lnTo>
                      <a:pt x="120" y="217"/>
                    </a:lnTo>
                    <a:lnTo>
                      <a:pt x="118" y="217"/>
                    </a:lnTo>
                    <a:lnTo>
                      <a:pt x="114" y="219"/>
                    </a:lnTo>
                    <a:lnTo>
                      <a:pt x="113" y="219"/>
                    </a:lnTo>
                    <a:lnTo>
                      <a:pt x="113" y="221"/>
                    </a:lnTo>
                    <a:lnTo>
                      <a:pt x="111" y="221"/>
                    </a:lnTo>
                    <a:lnTo>
                      <a:pt x="109" y="221"/>
                    </a:lnTo>
                    <a:lnTo>
                      <a:pt x="111" y="221"/>
                    </a:lnTo>
                    <a:lnTo>
                      <a:pt x="113" y="221"/>
                    </a:lnTo>
                    <a:lnTo>
                      <a:pt x="113" y="223"/>
                    </a:lnTo>
                    <a:lnTo>
                      <a:pt x="111" y="225"/>
                    </a:lnTo>
                    <a:lnTo>
                      <a:pt x="113" y="225"/>
                    </a:lnTo>
                    <a:lnTo>
                      <a:pt x="113" y="227"/>
                    </a:lnTo>
                    <a:lnTo>
                      <a:pt x="113" y="229"/>
                    </a:lnTo>
                    <a:lnTo>
                      <a:pt x="113" y="231"/>
                    </a:lnTo>
                    <a:lnTo>
                      <a:pt x="111" y="231"/>
                    </a:lnTo>
                    <a:lnTo>
                      <a:pt x="111" y="233"/>
                    </a:lnTo>
                    <a:lnTo>
                      <a:pt x="109" y="233"/>
                    </a:lnTo>
                    <a:lnTo>
                      <a:pt x="109" y="235"/>
                    </a:lnTo>
                    <a:lnTo>
                      <a:pt x="109" y="236"/>
                    </a:lnTo>
                    <a:lnTo>
                      <a:pt x="109" y="238"/>
                    </a:lnTo>
                    <a:lnTo>
                      <a:pt x="109" y="240"/>
                    </a:lnTo>
                    <a:lnTo>
                      <a:pt x="109" y="242"/>
                    </a:lnTo>
                    <a:lnTo>
                      <a:pt x="109" y="244"/>
                    </a:lnTo>
                    <a:lnTo>
                      <a:pt x="107" y="242"/>
                    </a:lnTo>
                    <a:lnTo>
                      <a:pt x="107" y="244"/>
                    </a:lnTo>
                    <a:lnTo>
                      <a:pt x="105" y="242"/>
                    </a:lnTo>
                    <a:lnTo>
                      <a:pt x="105" y="244"/>
                    </a:lnTo>
                    <a:lnTo>
                      <a:pt x="103" y="244"/>
                    </a:lnTo>
                    <a:lnTo>
                      <a:pt x="101" y="244"/>
                    </a:lnTo>
                    <a:lnTo>
                      <a:pt x="101" y="246"/>
                    </a:lnTo>
                    <a:lnTo>
                      <a:pt x="99" y="248"/>
                    </a:lnTo>
                    <a:lnTo>
                      <a:pt x="97" y="248"/>
                    </a:lnTo>
                    <a:lnTo>
                      <a:pt x="97" y="246"/>
                    </a:lnTo>
                    <a:lnTo>
                      <a:pt x="97" y="244"/>
                    </a:lnTo>
                    <a:lnTo>
                      <a:pt x="97" y="242"/>
                    </a:lnTo>
                    <a:lnTo>
                      <a:pt x="95" y="242"/>
                    </a:lnTo>
                    <a:lnTo>
                      <a:pt x="97" y="240"/>
                    </a:lnTo>
                    <a:lnTo>
                      <a:pt x="97" y="238"/>
                    </a:lnTo>
                    <a:lnTo>
                      <a:pt x="95" y="238"/>
                    </a:lnTo>
                    <a:lnTo>
                      <a:pt x="93" y="238"/>
                    </a:lnTo>
                    <a:lnTo>
                      <a:pt x="93" y="240"/>
                    </a:lnTo>
                    <a:lnTo>
                      <a:pt x="93" y="242"/>
                    </a:lnTo>
                    <a:lnTo>
                      <a:pt x="92" y="240"/>
                    </a:lnTo>
                    <a:lnTo>
                      <a:pt x="90" y="240"/>
                    </a:lnTo>
                    <a:lnTo>
                      <a:pt x="90" y="242"/>
                    </a:lnTo>
                    <a:lnTo>
                      <a:pt x="90" y="244"/>
                    </a:lnTo>
                    <a:lnTo>
                      <a:pt x="88" y="244"/>
                    </a:lnTo>
                    <a:lnTo>
                      <a:pt x="86" y="244"/>
                    </a:lnTo>
                    <a:lnTo>
                      <a:pt x="84" y="246"/>
                    </a:lnTo>
                    <a:lnTo>
                      <a:pt x="84" y="248"/>
                    </a:lnTo>
                    <a:lnTo>
                      <a:pt x="82" y="246"/>
                    </a:lnTo>
                    <a:lnTo>
                      <a:pt x="80" y="246"/>
                    </a:lnTo>
                    <a:lnTo>
                      <a:pt x="78" y="246"/>
                    </a:lnTo>
                    <a:lnTo>
                      <a:pt x="78" y="244"/>
                    </a:lnTo>
                    <a:lnTo>
                      <a:pt x="76" y="242"/>
                    </a:lnTo>
                    <a:lnTo>
                      <a:pt x="74" y="244"/>
                    </a:lnTo>
                    <a:lnTo>
                      <a:pt x="74" y="242"/>
                    </a:lnTo>
                    <a:lnTo>
                      <a:pt x="72" y="244"/>
                    </a:lnTo>
                    <a:lnTo>
                      <a:pt x="72" y="246"/>
                    </a:lnTo>
                    <a:lnTo>
                      <a:pt x="71" y="246"/>
                    </a:lnTo>
                    <a:lnTo>
                      <a:pt x="71" y="248"/>
                    </a:lnTo>
                    <a:lnTo>
                      <a:pt x="69" y="248"/>
                    </a:lnTo>
                    <a:lnTo>
                      <a:pt x="69" y="246"/>
                    </a:lnTo>
                    <a:lnTo>
                      <a:pt x="69" y="244"/>
                    </a:lnTo>
                    <a:lnTo>
                      <a:pt x="67" y="244"/>
                    </a:lnTo>
                    <a:lnTo>
                      <a:pt x="65" y="244"/>
                    </a:lnTo>
                    <a:lnTo>
                      <a:pt x="63" y="242"/>
                    </a:lnTo>
                    <a:lnTo>
                      <a:pt x="65" y="240"/>
                    </a:lnTo>
                    <a:lnTo>
                      <a:pt x="63" y="240"/>
                    </a:lnTo>
                    <a:lnTo>
                      <a:pt x="63" y="238"/>
                    </a:lnTo>
                    <a:lnTo>
                      <a:pt x="63" y="236"/>
                    </a:lnTo>
                    <a:lnTo>
                      <a:pt x="65" y="236"/>
                    </a:lnTo>
                    <a:lnTo>
                      <a:pt x="63" y="235"/>
                    </a:lnTo>
                    <a:lnTo>
                      <a:pt x="63" y="233"/>
                    </a:lnTo>
                    <a:lnTo>
                      <a:pt x="61" y="233"/>
                    </a:lnTo>
                    <a:lnTo>
                      <a:pt x="59" y="235"/>
                    </a:lnTo>
                    <a:lnTo>
                      <a:pt x="57" y="235"/>
                    </a:lnTo>
                    <a:lnTo>
                      <a:pt x="59" y="233"/>
                    </a:lnTo>
                    <a:lnTo>
                      <a:pt x="59" y="231"/>
                    </a:lnTo>
                    <a:lnTo>
                      <a:pt x="61" y="231"/>
                    </a:lnTo>
                    <a:lnTo>
                      <a:pt x="61" y="229"/>
                    </a:lnTo>
                    <a:lnTo>
                      <a:pt x="61" y="231"/>
                    </a:lnTo>
                    <a:lnTo>
                      <a:pt x="63" y="229"/>
                    </a:lnTo>
                    <a:lnTo>
                      <a:pt x="61" y="229"/>
                    </a:lnTo>
                    <a:lnTo>
                      <a:pt x="63" y="229"/>
                    </a:lnTo>
                    <a:lnTo>
                      <a:pt x="61" y="227"/>
                    </a:lnTo>
                    <a:lnTo>
                      <a:pt x="59" y="227"/>
                    </a:lnTo>
                    <a:lnTo>
                      <a:pt x="57" y="225"/>
                    </a:lnTo>
                    <a:lnTo>
                      <a:pt x="57" y="223"/>
                    </a:lnTo>
                    <a:lnTo>
                      <a:pt x="57" y="225"/>
                    </a:lnTo>
                    <a:lnTo>
                      <a:pt x="55" y="223"/>
                    </a:lnTo>
                    <a:lnTo>
                      <a:pt x="55" y="225"/>
                    </a:lnTo>
                    <a:lnTo>
                      <a:pt x="55" y="223"/>
                    </a:lnTo>
                    <a:lnTo>
                      <a:pt x="55" y="221"/>
                    </a:lnTo>
                    <a:lnTo>
                      <a:pt x="55" y="219"/>
                    </a:lnTo>
                    <a:lnTo>
                      <a:pt x="55" y="217"/>
                    </a:lnTo>
                    <a:lnTo>
                      <a:pt x="53" y="217"/>
                    </a:lnTo>
                    <a:lnTo>
                      <a:pt x="53" y="215"/>
                    </a:lnTo>
                    <a:lnTo>
                      <a:pt x="53" y="214"/>
                    </a:lnTo>
                    <a:lnTo>
                      <a:pt x="53" y="212"/>
                    </a:lnTo>
                    <a:lnTo>
                      <a:pt x="52" y="212"/>
                    </a:lnTo>
                    <a:lnTo>
                      <a:pt x="50" y="210"/>
                    </a:lnTo>
                    <a:lnTo>
                      <a:pt x="48" y="210"/>
                    </a:lnTo>
                    <a:lnTo>
                      <a:pt x="46" y="210"/>
                    </a:lnTo>
                    <a:lnTo>
                      <a:pt x="46" y="212"/>
                    </a:lnTo>
                    <a:lnTo>
                      <a:pt x="48" y="212"/>
                    </a:lnTo>
                    <a:lnTo>
                      <a:pt x="48" y="214"/>
                    </a:lnTo>
                    <a:lnTo>
                      <a:pt x="46" y="214"/>
                    </a:lnTo>
                    <a:lnTo>
                      <a:pt x="44" y="214"/>
                    </a:lnTo>
                    <a:lnTo>
                      <a:pt x="44" y="215"/>
                    </a:lnTo>
                    <a:lnTo>
                      <a:pt x="42" y="215"/>
                    </a:lnTo>
                    <a:lnTo>
                      <a:pt x="42" y="217"/>
                    </a:lnTo>
                    <a:lnTo>
                      <a:pt x="40" y="217"/>
                    </a:lnTo>
                    <a:lnTo>
                      <a:pt x="38" y="217"/>
                    </a:lnTo>
                    <a:lnTo>
                      <a:pt x="38" y="215"/>
                    </a:lnTo>
                    <a:lnTo>
                      <a:pt x="36" y="215"/>
                    </a:lnTo>
                    <a:lnTo>
                      <a:pt x="34" y="215"/>
                    </a:lnTo>
                    <a:lnTo>
                      <a:pt x="32" y="215"/>
                    </a:lnTo>
                    <a:lnTo>
                      <a:pt x="32" y="214"/>
                    </a:lnTo>
                    <a:lnTo>
                      <a:pt x="31" y="214"/>
                    </a:lnTo>
                    <a:lnTo>
                      <a:pt x="31" y="215"/>
                    </a:lnTo>
                    <a:lnTo>
                      <a:pt x="29" y="215"/>
                    </a:lnTo>
                    <a:lnTo>
                      <a:pt x="29" y="217"/>
                    </a:lnTo>
                    <a:lnTo>
                      <a:pt x="27" y="217"/>
                    </a:lnTo>
                    <a:lnTo>
                      <a:pt x="27" y="219"/>
                    </a:lnTo>
                    <a:lnTo>
                      <a:pt x="25" y="219"/>
                    </a:lnTo>
                    <a:lnTo>
                      <a:pt x="25" y="217"/>
                    </a:lnTo>
                    <a:lnTo>
                      <a:pt x="23" y="217"/>
                    </a:lnTo>
                    <a:lnTo>
                      <a:pt x="25" y="217"/>
                    </a:lnTo>
                    <a:lnTo>
                      <a:pt x="23" y="215"/>
                    </a:lnTo>
                    <a:lnTo>
                      <a:pt x="21" y="214"/>
                    </a:lnTo>
                    <a:lnTo>
                      <a:pt x="21" y="215"/>
                    </a:lnTo>
                    <a:lnTo>
                      <a:pt x="19" y="214"/>
                    </a:lnTo>
                    <a:lnTo>
                      <a:pt x="19" y="215"/>
                    </a:lnTo>
                    <a:lnTo>
                      <a:pt x="19" y="217"/>
                    </a:lnTo>
                    <a:lnTo>
                      <a:pt x="17" y="217"/>
                    </a:lnTo>
                    <a:lnTo>
                      <a:pt x="15" y="217"/>
                    </a:lnTo>
                    <a:lnTo>
                      <a:pt x="15" y="215"/>
                    </a:lnTo>
                    <a:lnTo>
                      <a:pt x="13" y="215"/>
                    </a:lnTo>
                    <a:lnTo>
                      <a:pt x="13" y="214"/>
                    </a:lnTo>
                    <a:lnTo>
                      <a:pt x="13" y="212"/>
                    </a:lnTo>
                    <a:lnTo>
                      <a:pt x="15" y="212"/>
                    </a:lnTo>
                    <a:lnTo>
                      <a:pt x="15" y="210"/>
                    </a:lnTo>
                    <a:lnTo>
                      <a:pt x="13" y="210"/>
                    </a:lnTo>
                    <a:lnTo>
                      <a:pt x="13" y="208"/>
                    </a:lnTo>
                    <a:lnTo>
                      <a:pt x="13" y="206"/>
                    </a:lnTo>
                    <a:lnTo>
                      <a:pt x="15" y="206"/>
                    </a:lnTo>
                    <a:lnTo>
                      <a:pt x="13" y="206"/>
                    </a:lnTo>
                    <a:lnTo>
                      <a:pt x="15" y="206"/>
                    </a:lnTo>
                    <a:lnTo>
                      <a:pt x="15" y="204"/>
                    </a:lnTo>
                    <a:lnTo>
                      <a:pt x="13" y="204"/>
                    </a:lnTo>
                    <a:lnTo>
                      <a:pt x="15" y="204"/>
                    </a:lnTo>
                    <a:lnTo>
                      <a:pt x="13" y="204"/>
                    </a:lnTo>
                    <a:lnTo>
                      <a:pt x="13" y="202"/>
                    </a:lnTo>
                    <a:lnTo>
                      <a:pt x="15" y="202"/>
                    </a:lnTo>
                    <a:lnTo>
                      <a:pt x="13" y="202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3" y="198"/>
                    </a:lnTo>
                    <a:lnTo>
                      <a:pt x="11" y="198"/>
                    </a:lnTo>
                    <a:lnTo>
                      <a:pt x="11" y="196"/>
                    </a:lnTo>
                    <a:lnTo>
                      <a:pt x="10" y="196"/>
                    </a:lnTo>
                    <a:lnTo>
                      <a:pt x="11" y="194"/>
                    </a:lnTo>
                    <a:lnTo>
                      <a:pt x="10" y="194"/>
                    </a:lnTo>
                    <a:lnTo>
                      <a:pt x="8" y="196"/>
                    </a:lnTo>
                    <a:lnTo>
                      <a:pt x="6" y="194"/>
                    </a:lnTo>
                    <a:lnTo>
                      <a:pt x="8" y="194"/>
                    </a:lnTo>
                    <a:lnTo>
                      <a:pt x="6" y="193"/>
                    </a:lnTo>
                    <a:lnTo>
                      <a:pt x="4" y="191"/>
                    </a:lnTo>
                    <a:lnTo>
                      <a:pt x="4" y="189"/>
                    </a:lnTo>
                    <a:lnTo>
                      <a:pt x="6" y="189"/>
                    </a:lnTo>
                    <a:lnTo>
                      <a:pt x="6" y="187"/>
                    </a:lnTo>
                    <a:lnTo>
                      <a:pt x="4" y="185"/>
                    </a:lnTo>
                    <a:lnTo>
                      <a:pt x="6" y="183"/>
                    </a:lnTo>
                    <a:lnTo>
                      <a:pt x="4" y="181"/>
                    </a:lnTo>
                    <a:lnTo>
                      <a:pt x="4" y="179"/>
                    </a:lnTo>
                    <a:lnTo>
                      <a:pt x="2" y="179"/>
                    </a:lnTo>
                    <a:lnTo>
                      <a:pt x="2" y="177"/>
                    </a:lnTo>
                    <a:lnTo>
                      <a:pt x="2" y="175"/>
                    </a:lnTo>
                    <a:lnTo>
                      <a:pt x="2" y="173"/>
                    </a:lnTo>
                    <a:lnTo>
                      <a:pt x="0" y="173"/>
                    </a:lnTo>
                    <a:lnTo>
                      <a:pt x="2" y="173"/>
                    </a:lnTo>
                    <a:lnTo>
                      <a:pt x="4" y="173"/>
                    </a:lnTo>
                    <a:lnTo>
                      <a:pt x="6" y="173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8" y="170"/>
                    </a:lnTo>
                    <a:lnTo>
                      <a:pt x="8" y="168"/>
                    </a:lnTo>
                    <a:lnTo>
                      <a:pt x="8" y="166"/>
                    </a:lnTo>
                    <a:lnTo>
                      <a:pt x="8" y="164"/>
                    </a:lnTo>
                    <a:lnTo>
                      <a:pt x="10" y="162"/>
                    </a:lnTo>
                    <a:lnTo>
                      <a:pt x="10" y="160"/>
                    </a:lnTo>
                    <a:lnTo>
                      <a:pt x="11" y="160"/>
                    </a:lnTo>
                    <a:lnTo>
                      <a:pt x="13" y="158"/>
                    </a:lnTo>
                    <a:lnTo>
                      <a:pt x="15" y="160"/>
                    </a:lnTo>
                    <a:lnTo>
                      <a:pt x="15" y="162"/>
                    </a:lnTo>
                    <a:lnTo>
                      <a:pt x="17" y="162"/>
                    </a:lnTo>
                    <a:lnTo>
                      <a:pt x="19" y="164"/>
                    </a:lnTo>
                    <a:lnTo>
                      <a:pt x="21" y="166"/>
                    </a:lnTo>
                    <a:lnTo>
                      <a:pt x="23" y="168"/>
                    </a:lnTo>
                    <a:lnTo>
                      <a:pt x="23" y="166"/>
                    </a:lnTo>
                    <a:lnTo>
                      <a:pt x="23" y="164"/>
                    </a:lnTo>
                    <a:lnTo>
                      <a:pt x="25" y="164"/>
                    </a:lnTo>
                    <a:lnTo>
                      <a:pt x="25" y="162"/>
                    </a:lnTo>
                    <a:lnTo>
                      <a:pt x="27" y="162"/>
                    </a:lnTo>
                    <a:lnTo>
                      <a:pt x="29" y="162"/>
                    </a:lnTo>
                    <a:lnTo>
                      <a:pt x="31" y="162"/>
                    </a:lnTo>
                    <a:lnTo>
                      <a:pt x="32" y="162"/>
                    </a:lnTo>
                    <a:lnTo>
                      <a:pt x="36" y="162"/>
                    </a:lnTo>
                    <a:lnTo>
                      <a:pt x="38" y="162"/>
                    </a:lnTo>
                    <a:lnTo>
                      <a:pt x="40" y="162"/>
                    </a:lnTo>
                    <a:lnTo>
                      <a:pt x="42" y="162"/>
                    </a:lnTo>
                    <a:lnTo>
                      <a:pt x="44" y="162"/>
                    </a:lnTo>
                    <a:lnTo>
                      <a:pt x="46" y="162"/>
                    </a:lnTo>
                    <a:lnTo>
                      <a:pt x="46" y="158"/>
                    </a:lnTo>
                    <a:lnTo>
                      <a:pt x="48" y="158"/>
                    </a:lnTo>
                    <a:lnTo>
                      <a:pt x="48" y="160"/>
                    </a:lnTo>
                    <a:lnTo>
                      <a:pt x="52" y="160"/>
                    </a:lnTo>
                    <a:lnTo>
                      <a:pt x="74" y="160"/>
                    </a:lnTo>
                    <a:lnTo>
                      <a:pt x="95" y="160"/>
                    </a:lnTo>
                    <a:lnTo>
                      <a:pt x="109" y="160"/>
                    </a:lnTo>
                    <a:lnTo>
                      <a:pt x="111" y="147"/>
                    </a:lnTo>
                    <a:lnTo>
                      <a:pt x="107" y="145"/>
                    </a:lnTo>
                    <a:lnTo>
                      <a:pt x="105" y="137"/>
                    </a:lnTo>
                    <a:lnTo>
                      <a:pt x="97" y="25"/>
                    </a:lnTo>
                    <a:lnTo>
                      <a:pt x="95" y="0"/>
                    </a:lnTo>
                    <a:lnTo>
                      <a:pt x="118" y="0"/>
                    </a:lnTo>
                    <a:lnTo>
                      <a:pt x="154" y="25"/>
                    </a:lnTo>
                    <a:lnTo>
                      <a:pt x="195" y="53"/>
                    </a:lnTo>
                    <a:lnTo>
                      <a:pt x="214" y="67"/>
                    </a:lnTo>
                    <a:lnTo>
                      <a:pt x="214" y="69"/>
                    </a:lnTo>
                    <a:lnTo>
                      <a:pt x="214" y="72"/>
                    </a:lnTo>
                    <a:lnTo>
                      <a:pt x="216" y="72"/>
                    </a:lnTo>
                    <a:lnTo>
                      <a:pt x="217" y="74"/>
                    </a:lnTo>
                    <a:lnTo>
                      <a:pt x="219" y="74"/>
                    </a:lnTo>
                    <a:lnTo>
                      <a:pt x="221" y="76"/>
                    </a:lnTo>
                    <a:lnTo>
                      <a:pt x="221" y="78"/>
                    </a:lnTo>
                    <a:lnTo>
                      <a:pt x="223" y="80"/>
                    </a:lnTo>
                    <a:lnTo>
                      <a:pt x="225" y="80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9" y="80"/>
                    </a:lnTo>
                    <a:lnTo>
                      <a:pt x="229" y="82"/>
                    </a:lnTo>
                    <a:lnTo>
                      <a:pt x="231" y="80"/>
                    </a:lnTo>
                    <a:lnTo>
                      <a:pt x="233" y="80"/>
                    </a:lnTo>
                    <a:lnTo>
                      <a:pt x="233" y="82"/>
                    </a:lnTo>
                    <a:lnTo>
                      <a:pt x="235" y="84"/>
                    </a:lnTo>
                    <a:lnTo>
                      <a:pt x="233" y="84"/>
                    </a:lnTo>
                    <a:lnTo>
                      <a:pt x="233" y="86"/>
                    </a:lnTo>
                    <a:lnTo>
                      <a:pt x="235" y="84"/>
                    </a:lnTo>
                    <a:lnTo>
                      <a:pt x="236" y="84"/>
                    </a:lnTo>
                    <a:lnTo>
                      <a:pt x="236" y="86"/>
                    </a:lnTo>
                    <a:lnTo>
                      <a:pt x="236" y="84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40" y="86"/>
                    </a:lnTo>
                    <a:lnTo>
                      <a:pt x="242" y="86"/>
                    </a:lnTo>
                    <a:lnTo>
                      <a:pt x="246" y="88"/>
                    </a:lnTo>
                    <a:lnTo>
                      <a:pt x="248" y="88"/>
                    </a:lnTo>
                    <a:lnTo>
                      <a:pt x="246" y="90"/>
                    </a:lnTo>
                    <a:lnTo>
                      <a:pt x="248" y="91"/>
                    </a:lnTo>
                    <a:lnTo>
                      <a:pt x="246" y="93"/>
                    </a:lnTo>
                    <a:lnTo>
                      <a:pt x="248" y="93"/>
                    </a:lnTo>
                    <a:lnTo>
                      <a:pt x="248" y="95"/>
                    </a:lnTo>
                    <a:lnTo>
                      <a:pt x="246" y="95"/>
                    </a:lnTo>
                    <a:lnTo>
                      <a:pt x="246" y="97"/>
                    </a:lnTo>
                    <a:lnTo>
                      <a:pt x="244" y="99"/>
                    </a:lnTo>
                    <a:lnTo>
                      <a:pt x="246" y="101"/>
                    </a:lnTo>
                    <a:lnTo>
                      <a:pt x="248" y="101"/>
                    </a:lnTo>
                    <a:lnTo>
                      <a:pt x="248" y="103"/>
                    </a:lnTo>
                    <a:lnTo>
                      <a:pt x="250" y="103"/>
                    </a:lnTo>
                    <a:lnTo>
                      <a:pt x="263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9" name="Freeform 207">
                <a:extLst>
                  <a:ext uri="{FF2B5EF4-FFF2-40B4-BE49-F238E27FC236}">
                    <a16:creationId xmlns:a16="http://schemas.microsoft.com/office/drawing/2014/main" id="{3660ADEB-FCD8-11C4-56C9-4A5C8D1D78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57345" y="-2291762"/>
                <a:ext cx="198524" cy="143649"/>
              </a:xfrm>
              <a:custGeom>
                <a:avLst/>
                <a:gdLst>
                  <a:gd name="T0" fmla="*/ 89 w 126"/>
                  <a:gd name="T1" fmla="*/ 9 h 91"/>
                  <a:gd name="T2" fmla="*/ 91 w 126"/>
                  <a:gd name="T3" fmla="*/ 15 h 91"/>
                  <a:gd name="T4" fmla="*/ 95 w 126"/>
                  <a:gd name="T5" fmla="*/ 19 h 91"/>
                  <a:gd name="T6" fmla="*/ 99 w 126"/>
                  <a:gd name="T7" fmla="*/ 23 h 91"/>
                  <a:gd name="T8" fmla="*/ 103 w 126"/>
                  <a:gd name="T9" fmla="*/ 26 h 91"/>
                  <a:gd name="T10" fmla="*/ 105 w 126"/>
                  <a:gd name="T11" fmla="*/ 28 h 91"/>
                  <a:gd name="T12" fmla="*/ 112 w 126"/>
                  <a:gd name="T13" fmla="*/ 40 h 91"/>
                  <a:gd name="T14" fmla="*/ 122 w 126"/>
                  <a:gd name="T15" fmla="*/ 38 h 91"/>
                  <a:gd name="T16" fmla="*/ 122 w 126"/>
                  <a:gd name="T17" fmla="*/ 44 h 91"/>
                  <a:gd name="T18" fmla="*/ 124 w 126"/>
                  <a:gd name="T19" fmla="*/ 55 h 91"/>
                  <a:gd name="T20" fmla="*/ 114 w 126"/>
                  <a:gd name="T21" fmla="*/ 59 h 91"/>
                  <a:gd name="T22" fmla="*/ 110 w 126"/>
                  <a:gd name="T23" fmla="*/ 59 h 91"/>
                  <a:gd name="T24" fmla="*/ 107 w 126"/>
                  <a:gd name="T25" fmla="*/ 63 h 91"/>
                  <a:gd name="T26" fmla="*/ 105 w 126"/>
                  <a:gd name="T27" fmla="*/ 65 h 91"/>
                  <a:gd name="T28" fmla="*/ 103 w 126"/>
                  <a:gd name="T29" fmla="*/ 65 h 91"/>
                  <a:gd name="T30" fmla="*/ 84 w 126"/>
                  <a:gd name="T31" fmla="*/ 65 h 91"/>
                  <a:gd name="T32" fmla="*/ 80 w 126"/>
                  <a:gd name="T33" fmla="*/ 67 h 91"/>
                  <a:gd name="T34" fmla="*/ 74 w 126"/>
                  <a:gd name="T35" fmla="*/ 67 h 91"/>
                  <a:gd name="T36" fmla="*/ 61 w 126"/>
                  <a:gd name="T37" fmla="*/ 67 h 91"/>
                  <a:gd name="T38" fmla="*/ 42 w 126"/>
                  <a:gd name="T39" fmla="*/ 68 h 91"/>
                  <a:gd name="T40" fmla="*/ 42 w 126"/>
                  <a:gd name="T41" fmla="*/ 78 h 91"/>
                  <a:gd name="T42" fmla="*/ 44 w 126"/>
                  <a:gd name="T43" fmla="*/ 84 h 91"/>
                  <a:gd name="T44" fmla="*/ 44 w 126"/>
                  <a:gd name="T45" fmla="*/ 88 h 91"/>
                  <a:gd name="T46" fmla="*/ 40 w 126"/>
                  <a:gd name="T47" fmla="*/ 89 h 91"/>
                  <a:gd name="T48" fmla="*/ 36 w 126"/>
                  <a:gd name="T49" fmla="*/ 84 h 91"/>
                  <a:gd name="T50" fmla="*/ 28 w 126"/>
                  <a:gd name="T51" fmla="*/ 84 h 91"/>
                  <a:gd name="T52" fmla="*/ 23 w 126"/>
                  <a:gd name="T53" fmla="*/ 86 h 91"/>
                  <a:gd name="T54" fmla="*/ 19 w 126"/>
                  <a:gd name="T55" fmla="*/ 89 h 91"/>
                  <a:gd name="T56" fmla="*/ 15 w 126"/>
                  <a:gd name="T57" fmla="*/ 86 h 91"/>
                  <a:gd name="T58" fmla="*/ 11 w 126"/>
                  <a:gd name="T59" fmla="*/ 86 h 91"/>
                  <a:gd name="T60" fmla="*/ 9 w 126"/>
                  <a:gd name="T61" fmla="*/ 86 h 91"/>
                  <a:gd name="T62" fmla="*/ 7 w 126"/>
                  <a:gd name="T63" fmla="*/ 80 h 91"/>
                  <a:gd name="T64" fmla="*/ 5 w 126"/>
                  <a:gd name="T65" fmla="*/ 80 h 91"/>
                  <a:gd name="T66" fmla="*/ 0 w 126"/>
                  <a:gd name="T67" fmla="*/ 76 h 91"/>
                  <a:gd name="T68" fmla="*/ 0 w 126"/>
                  <a:gd name="T69" fmla="*/ 68 h 91"/>
                  <a:gd name="T70" fmla="*/ 2 w 126"/>
                  <a:gd name="T71" fmla="*/ 63 h 91"/>
                  <a:gd name="T72" fmla="*/ 4 w 126"/>
                  <a:gd name="T73" fmla="*/ 57 h 91"/>
                  <a:gd name="T74" fmla="*/ 2 w 126"/>
                  <a:gd name="T75" fmla="*/ 53 h 91"/>
                  <a:gd name="T76" fmla="*/ 4 w 126"/>
                  <a:gd name="T77" fmla="*/ 51 h 91"/>
                  <a:gd name="T78" fmla="*/ 13 w 126"/>
                  <a:gd name="T79" fmla="*/ 49 h 91"/>
                  <a:gd name="T80" fmla="*/ 15 w 126"/>
                  <a:gd name="T81" fmla="*/ 46 h 91"/>
                  <a:gd name="T82" fmla="*/ 17 w 126"/>
                  <a:gd name="T83" fmla="*/ 40 h 91"/>
                  <a:gd name="T84" fmla="*/ 19 w 126"/>
                  <a:gd name="T85" fmla="*/ 38 h 91"/>
                  <a:gd name="T86" fmla="*/ 19 w 126"/>
                  <a:gd name="T87" fmla="*/ 30 h 91"/>
                  <a:gd name="T88" fmla="*/ 23 w 126"/>
                  <a:gd name="T89" fmla="*/ 25 h 91"/>
                  <a:gd name="T90" fmla="*/ 25 w 126"/>
                  <a:gd name="T91" fmla="*/ 28 h 91"/>
                  <a:gd name="T92" fmla="*/ 30 w 126"/>
                  <a:gd name="T93" fmla="*/ 30 h 91"/>
                  <a:gd name="T94" fmla="*/ 34 w 126"/>
                  <a:gd name="T95" fmla="*/ 25 h 91"/>
                  <a:gd name="T96" fmla="*/ 38 w 126"/>
                  <a:gd name="T97" fmla="*/ 25 h 91"/>
                  <a:gd name="T98" fmla="*/ 40 w 126"/>
                  <a:gd name="T99" fmla="*/ 23 h 91"/>
                  <a:gd name="T100" fmla="*/ 47 w 126"/>
                  <a:gd name="T101" fmla="*/ 13 h 91"/>
                  <a:gd name="T102" fmla="*/ 55 w 126"/>
                  <a:gd name="T103" fmla="*/ 9 h 91"/>
                  <a:gd name="T104" fmla="*/ 66 w 126"/>
                  <a:gd name="T105" fmla="*/ 5 h 91"/>
                  <a:gd name="T106" fmla="*/ 80 w 126"/>
                  <a:gd name="T107" fmla="*/ 0 h 91"/>
                  <a:gd name="T108" fmla="*/ 89 w 126"/>
                  <a:gd name="T109" fmla="*/ 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26" h="91">
                    <a:moveTo>
                      <a:pt x="89" y="2"/>
                    </a:moveTo>
                    <a:lnTo>
                      <a:pt x="89" y="4"/>
                    </a:lnTo>
                    <a:lnTo>
                      <a:pt x="89" y="5"/>
                    </a:lnTo>
                    <a:lnTo>
                      <a:pt x="89" y="9"/>
                    </a:lnTo>
                    <a:lnTo>
                      <a:pt x="91" y="11"/>
                    </a:lnTo>
                    <a:lnTo>
                      <a:pt x="93" y="13"/>
                    </a:lnTo>
                    <a:lnTo>
                      <a:pt x="93" y="15"/>
                    </a:lnTo>
                    <a:lnTo>
                      <a:pt x="91" y="15"/>
                    </a:lnTo>
                    <a:lnTo>
                      <a:pt x="93" y="15"/>
                    </a:lnTo>
                    <a:lnTo>
                      <a:pt x="93" y="17"/>
                    </a:lnTo>
                    <a:lnTo>
                      <a:pt x="93" y="19"/>
                    </a:lnTo>
                    <a:lnTo>
                      <a:pt x="95" y="19"/>
                    </a:lnTo>
                    <a:lnTo>
                      <a:pt x="95" y="21"/>
                    </a:lnTo>
                    <a:lnTo>
                      <a:pt x="97" y="21"/>
                    </a:lnTo>
                    <a:lnTo>
                      <a:pt x="97" y="23"/>
                    </a:lnTo>
                    <a:lnTo>
                      <a:pt x="99" y="23"/>
                    </a:lnTo>
                    <a:lnTo>
                      <a:pt x="99" y="25"/>
                    </a:lnTo>
                    <a:lnTo>
                      <a:pt x="101" y="25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5" y="26"/>
                    </a:lnTo>
                    <a:lnTo>
                      <a:pt x="107" y="26"/>
                    </a:lnTo>
                    <a:lnTo>
                      <a:pt x="107" y="28"/>
                    </a:lnTo>
                    <a:lnTo>
                      <a:pt x="105" y="28"/>
                    </a:lnTo>
                    <a:lnTo>
                      <a:pt x="103" y="28"/>
                    </a:lnTo>
                    <a:lnTo>
                      <a:pt x="103" y="34"/>
                    </a:lnTo>
                    <a:lnTo>
                      <a:pt x="105" y="34"/>
                    </a:lnTo>
                    <a:lnTo>
                      <a:pt x="112" y="40"/>
                    </a:lnTo>
                    <a:lnTo>
                      <a:pt x="116" y="40"/>
                    </a:lnTo>
                    <a:lnTo>
                      <a:pt x="118" y="38"/>
                    </a:lnTo>
                    <a:lnTo>
                      <a:pt x="120" y="38"/>
                    </a:lnTo>
                    <a:lnTo>
                      <a:pt x="122" y="38"/>
                    </a:lnTo>
                    <a:lnTo>
                      <a:pt x="120" y="40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0" y="44"/>
                    </a:lnTo>
                    <a:lnTo>
                      <a:pt x="126" y="51"/>
                    </a:lnTo>
                    <a:lnTo>
                      <a:pt x="124" y="53"/>
                    </a:lnTo>
                    <a:lnTo>
                      <a:pt x="124" y="55"/>
                    </a:lnTo>
                    <a:lnTo>
                      <a:pt x="122" y="57"/>
                    </a:lnTo>
                    <a:lnTo>
                      <a:pt x="118" y="59"/>
                    </a:lnTo>
                    <a:lnTo>
                      <a:pt x="116" y="59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2" y="61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08" y="59"/>
                    </a:lnTo>
                    <a:lnTo>
                      <a:pt x="108" y="61"/>
                    </a:lnTo>
                    <a:lnTo>
                      <a:pt x="107" y="61"/>
                    </a:lnTo>
                    <a:lnTo>
                      <a:pt x="107" y="63"/>
                    </a:lnTo>
                    <a:lnTo>
                      <a:pt x="105" y="63"/>
                    </a:lnTo>
                    <a:lnTo>
                      <a:pt x="105" y="61"/>
                    </a:lnTo>
                    <a:lnTo>
                      <a:pt x="105" y="63"/>
                    </a:lnTo>
                    <a:lnTo>
                      <a:pt x="105" y="65"/>
                    </a:lnTo>
                    <a:lnTo>
                      <a:pt x="103" y="65"/>
                    </a:lnTo>
                    <a:lnTo>
                      <a:pt x="105" y="65"/>
                    </a:lnTo>
                    <a:lnTo>
                      <a:pt x="105" y="67"/>
                    </a:lnTo>
                    <a:lnTo>
                      <a:pt x="103" y="65"/>
                    </a:lnTo>
                    <a:lnTo>
                      <a:pt x="101" y="67"/>
                    </a:lnTo>
                    <a:lnTo>
                      <a:pt x="97" y="67"/>
                    </a:lnTo>
                    <a:lnTo>
                      <a:pt x="95" y="67"/>
                    </a:lnTo>
                    <a:lnTo>
                      <a:pt x="84" y="65"/>
                    </a:lnTo>
                    <a:lnTo>
                      <a:pt x="82" y="63"/>
                    </a:lnTo>
                    <a:lnTo>
                      <a:pt x="82" y="65"/>
                    </a:lnTo>
                    <a:lnTo>
                      <a:pt x="80" y="65"/>
                    </a:lnTo>
                    <a:lnTo>
                      <a:pt x="80" y="67"/>
                    </a:lnTo>
                    <a:lnTo>
                      <a:pt x="78" y="67"/>
                    </a:lnTo>
                    <a:lnTo>
                      <a:pt x="76" y="68"/>
                    </a:lnTo>
                    <a:lnTo>
                      <a:pt x="76" y="67"/>
                    </a:lnTo>
                    <a:lnTo>
                      <a:pt x="74" y="67"/>
                    </a:lnTo>
                    <a:lnTo>
                      <a:pt x="72" y="67"/>
                    </a:lnTo>
                    <a:lnTo>
                      <a:pt x="68" y="67"/>
                    </a:lnTo>
                    <a:lnTo>
                      <a:pt x="65" y="67"/>
                    </a:lnTo>
                    <a:lnTo>
                      <a:pt x="61" y="67"/>
                    </a:lnTo>
                    <a:lnTo>
                      <a:pt x="59" y="67"/>
                    </a:lnTo>
                    <a:lnTo>
                      <a:pt x="47" y="67"/>
                    </a:lnTo>
                    <a:lnTo>
                      <a:pt x="42" y="67"/>
                    </a:lnTo>
                    <a:lnTo>
                      <a:pt x="42" y="68"/>
                    </a:lnTo>
                    <a:lnTo>
                      <a:pt x="40" y="70"/>
                    </a:lnTo>
                    <a:lnTo>
                      <a:pt x="40" y="72"/>
                    </a:lnTo>
                    <a:lnTo>
                      <a:pt x="42" y="76"/>
                    </a:lnTo>
                    <a:lnTo>
                      <a:pt x="42" y="78"/>
                    </a:lnTo>
                    <a:lnTo>
                      <a:pt x="44" y="78"/>
                    </a:lnTo>
                    <a:lnTo>
                      <a:pt x="42" y="80"/>
                    </a:lnTo>
                    <a:lnTo>
                      <a:pt x="42" y="82"/>
                    </a:lnTo>
                    <a:lnTo>
                      <a:pt x="44" y="84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2" y="88"/>
                    </a:lnTo>
                    <a:lnTo>
                      <a:pt x="44" y="88"/>
                    </a:lnTo>
                    <a:lnTo>
                      <a:pt x="42" y="89"/>
                    </a:lnTo>
                    <a:lnTo>
                      <a:pt x="44" y="91"/>
                    </a:lnTo>
                    <a:lnTo>
                      <a:pt x="42" y="91"/>
                    </a:lnTo>
                    <a:lnTo>
                      <a:pt x="40" y="89"/>
                    </a:lnTo>
                    <a:lnTo>
                      <a:pt x="38" y="88"/>
                    </a:lnTo>
                    <a:lnTo>
                      <a:pt x="38" y="86"/>
                    </a:lnTo>
                    <a:lnTo>
                      <a:pt x="36" y="86"/>
                    </a:lnTo>
                    <a:lnTo>
                      <a:pt x="36" y="84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2" y="84"/>
                    </a:lnTo>
                    <a:lnTo>
                      <a:pt x="28" y="84"/>
                    </a:lnTo>
                    <a:lnTo>
                      <a:pt x="26" y="84"/>
                    </a:lnTo>
                    <a:lnTo>
                      <a:pt x="25" y="84"/>
                    </a:lnTo>
                    <a:lnTo>
                      <a:pt x="23" y="84"/>
                    </a:lnTo>
                    <a:lnTo>
                      <a:pt x="23" y="86"/>
                    </a:lnTo>
                    <a:lnTo>
                      <a:pt x="21" y="86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7" y="88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3" y="88"/>
                    </a:lnTo>
                    <a:lnTo>
                      <a:pt x="11" y="88"/>
                    </a:lnTo>
                    <a:lnTo>
                      <a:pt x="11" y="86"/>
                    </a:lnTo>
                    <a:lnTo>
                      <a:pt x="11" y="88"/>
                    </a:lnTo>
                    <a:lnTo>
                      <a:pt x="9" y="86"/>
                    </a:lnTo>
                    <a:lnTo>
                      <a:pt x="11" y="86"/>
                    </a:lnTo>
                    <a:lnTo>
                      <a:pt x="9" y="86"/>
                    </a:lnTo>
                    <a:lnTo>
                      <a:pt x="9" y="84"/>
                    </a:lnTo>
                    <a:lnTo>
                      <a:pt x="7" y="84"/>
                    </a:lnTo>
                    <a:lnTo>
                      <a:pt x="7" y="82"/>
                    </a:lnTo>
                    <a:lnTo>
                      <a:pt x="7" y="80"/>
                    </a:lnTo>
                    <a:lnTo>
                      <a:pt x="5" y="82"/>
                    </a:lnTo>
                    <a:lnTo>
                      <a:pt x="5" y="80"/>
                    </a:lnTo>
                    <a:lnTo>
                      <a:pt x="5" y="78"/>
                    </a:lnTo>
                    <a:lnTo>
                      <a:pt x="5" y="80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8"/>
                    </a:lnTo>
                    <a:lnTo>
                      <a:pt x="0" y="76"/>
                    </a:lnTo>
                    <a:lnTo>
                      <a:pt x="0" y="74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63"/>
                    </a:lnTo>
                    <a:lnTo>
                      <a:pt x="4" y="61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2" y="57"/>
                    </a:lnTo>
                    <a:lnTo>
                      <a:pt x="4" y="55"/>
                    </a:lnTo>
                    <a:lnTo>
                      <a:pt x="4" y="53"/>
                    </a:lnTo>
                    <a:lnTo>
                      <a:pt x="2" y="53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4" y="53"/>
                    </a:lnTo>
                    <a:lnTo>
                      <a:pt x="4" y="51"/>
                    </a:lnTo>
                    <a:lnTo>
                      <a:pt x="5" y="51"/>
                    </a:lnTo>
                    <a:lnTo>
                      <a:pt x="9" y="49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3" y="47"/>
                    </a:lnTo>
                    <a:lnTo>
                      <a:pt x="15" y="46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9" y="34"/>
                    </a:lnTo>
                    <a:lnTo>
                      <a:pt x="17" y="32"/>
                    </a:lnTo>
                    <a:lnTo>
                      <a:pt x="19" y="30"/>
                    </a:lnTo>
                    <a:lnTo>
                      <a:pt x="21" y="28"/>
                    </a:lnTo>
                    <a:lnTo>
                      <a:pt x="21" y="26"/>
                    </a:lnTo>
                    <a:lnTo>
                      <a:pt x="23" y="26"/>
                    </a:lnTo>
                    <a:lnTo>
                      <a:pt x="23" y="25"/>
                    </a:lnTo>
                    <a:lnTo>
                      <a:pt x="25" y="26"/>
                    </a:lnTo>
                    <a:lnTo>
                      <a:pt x="23" y="26"/>
                    </a:lnTo>
                    <a:lnTo>
                      <a:pt x="23" y="28"/>
                    </a:lnTo>
                    <a:lnTo>
                      <a:pt x="25" y="28"/>
                    </a:lnTo>
                    <a:lnTo>
                      <a:pt x="26" y="28"/>
                    </a:lnTo>
                    <a:lnTo>
                      <a:pt x="28" y="28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28"/>
                    </a:lnTo>
                    <a:lnTo>
                      <a:pt x="36" y="28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6" y="23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38" y="23"/>
                    </a:lnTo>
                    <a:lnTo>
                      <a:pt x="40" y="23"/>
                    </a:lnTo>
                    <a:lnTo>
                      <a:pt x="42" y="23"/>
                    </a:lnTo>
                    <a:lnTo>
                      <a:pt x="40" y="23"/>
                    </a:lnTo>
                    <a:lnTo>
                      <a:pt x="40" y="21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7" y="13"/>
                    </a:lnTo>
                    <a:lnTo>
                      <a:pt x="49" y="13"/>
                    </a:lnTo>
                    <a:lnTo>
                      <a:pt x="53" y="15"/>
                    </a:lnTo>
                    <a:lnTo>
                      <a:pt x="55" y="15"/>
                    </a:lnTo>
                    <a:lnTo>
                      <a:pt x="55" y="9"/>
                    </a:lnTo>
                    <a:lnTo>
                      <a:pt x="57" y="9"/>
                    </a:lnTo>
                    <a:lnTo>
                      <a:pt x="59" y="9"/>
                    </a:lnTo>
                    <a:lnTo>
                      <a:pt x="61" y="9"/>
                    </a:lnTo>
                    <a:lnTo>
                      <a:pt x="66" y="5"/>
                    </a:lnTo>
                    <a:lnTo>
                      <a:pt x="70" y="5"/>
                    </a:lnTo>
                    <a:lnTo>
                      <a:pt x="70" y="4"/>
                    </a:lnTo>
                    <a:lnTo>
                      <a:pt x="74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82" y="0"/>
                    </a:lnTo>
                    <a:lnTo>
                      <a:pt x="87" y="2"/>
                    </a:lnTo>
                    <a:lnTo>
                      <a:pt x="89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0" name="Freeform 208">
                <a:extLst>
                  <a:ext uri="{FF2B5EF4-FFF2-40B4-BE49-F238E27FC236}">
                    <a16:creationId xmlns:a16="http://schemas.microsoft.com/office/drawing/2014/main" id="{C78234E6-6B5A-7A94-EB3A-8F9C0A0124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10912" y="-2192315"/>
                <a:ext cx="115018" cy="165748"/>
              </a:xfrm>
              <a:custGeom>
                <a:avLst/>
                <a:gdLst>
                  <a:gd name="T0" fmla="*/ 67 w 73"/>
                  <a:gd name="T1" fmla="*/ 88 h 105"/>
                  <a:gd name="T2" fmla="*/ 55 w 73"/>
                  <a:gd name="T3" fmla="*/ 89 h 105"/>
                  <a:gd name="T4" fmla="*/ 50 w 73"/>
                  <a:gd name="T5" fmla="*/ 91 h 105"/>
                  <a:gd name="T6" fmla="*/ 44 w 73"/>
                  <a:gd name="T7" fmla="*/ 93 h 105"/>
                  <a:gd name="T8" fmla="*/ 40 w 73"/>
                  <a:gd name="T9" fmla="*/ 97 h 105"/>
                  <a:gd name="T10" fmla="*/ 29 w 73"/>
                  <a:gd name="T11" fmla="*/ 99 h 105"/>
                  <a:gd name="T12" fmla="*/ 23 w 73"/>
                  <a:gd name="T13" fmla="*/ 101 h 105"/>
                  <a:gd name="T14" fmla="*/ 19 w 73"/>
                  <a:gd name="T15" fmla="*/ 103 h 105"/>
                  <a:gd name="T16" fmla="*/ 4 w 73"/>
                  <a:gd name="T17" fmla="*/ 99 h 105"/>
                  <a:gd name="T18" fmla="*/ 8 w 73"/>
                  <a:gd name="T19" fmla="*/ 99 h 105"/>
                  <a:gd name="T20" fmla="*/ 10 w 73"/>
                  <a:gd name="T21" fmla="*/ 99 h 105"/>
                  <a:gd name="T22" fmla="*/ 8 w 73"/>
                  <a:gd name="T23" fmla="*/ 95 h 105"/>
                  <a:gd name="T24" fmla="*/ 8 w 73"/>
                  <a:gd name="T25" fmla="*/ 91 h 105"/>
                  <a:gd name="T26" fmla="*/ 4 w 73"/>
                  <a:gd name="T27" fmla="*/ 88 h 105"/>
                  <a:gd name="T28" fmla="*/ 2 w 73"/>
                  <a:gd name="T29" fmla="*/ 80 h 105"/>
                  <a:gd name="T30" fmla="*/ 2 w 73"/>
                  <a:gd name="T31" fmla="*/ 72 h 105"/>
                  <a:gd name="T32" fmla="*/ 6 w 73"/>
                  <a:gd name="T33" fmla="*/ 65 h 105"/>
                  <a:gd name="T34" fmla="*/ 8 w 73"/>
                  <a:gd name="T35" fmla="*/ 55 h 105"/>
                  <a:gd name="T36" fmla="*/ 11 w 73"/>
                  <a:gd name="T37" fmla="*/ 51 h 105"/>
                  <a:gd name="T38" fmla="*/ 11 w 73"/>
                  <a:gd name="T39" fmla="*/ 40 h 105"/>
                  <a:gd name="T40" fmla="*/ 8 w 73"/>
                  <a:gd name="T41" fmla="*/ 34 h 105"/>
                  <a:gd name="T42" fmla="*/ 10 w 73"/>
                  <a:gd name="T43" fmla="*/ 28 h 105"/>
                  <a:gd name="T44" fmla="*/ 10 w 73"/>
                  <a:gd name="T45" fmla="*/ 23 h 105"/>
                  <a:gd name="T46" fmla="*/ 8 w 73"/>
                  <a:gd name="T47" fmla="*/ 17 h 105"/>
                  <a:gd name="T48" fmla="*/ 6 w 73"/>
                  <a:gd name="T49" fmla="*/ 9 h 105"/>
                  <a:gd name="T50" fmla="*/ 13 w 73"/>
                  <a:gd name="T51" fmla="*/ 4 h 105"/>
                  <a:gd name="T52" fmla="*/ 34 w 73"/>
                  <a:gd name="T53" fmla="*/ 4 h 105"/>
                  <a:gd name="T54" fmla="*/ 42 w 73"/>
                  <a:gd name="T55" fmla="*/ 5 h 105"/>
                  <a:gd name="T56" fmla="*/ 48 w 73"/>
                  <a:gd name="T57" fmla="*/ 2 h 105"/>
                  <a:gd name="T58" fmla="*/ 53 w 73"/>
                  <a:gd name="T59" fmla="*/ 2 h 105"/>
                  <a:gd name="T60" fmla="*/ 52 w 73"/>
                  <a:gd name="T61" fmla="*/ 7 h 105"/>
                  <a:gd name="T62" fmla="*/ 55 w 73"/>
                  <a:gd name="T63" fmla="*/ 11 h 105"/>
                  <a:gd name="T64" fmla="*/ 59 w 73"/>
                  <a:gd name="T65" fmla="*/ 15 h 105"/>
                  <a:gd name="T66" fmla="*/ 59 w 73"/>
                  <a:gd name="T67" fmla="*/ 21 h 105"/>
                  <a:gd name="T68" fmla="*/ 59 w 73"/>
                  <a:gd name="T69" fmla="*/ 25 h 105"/>
                  <a:gd name="T70" fmla="*/ 57 w 73"/>
                  <a:gd name="T71" fmla="*/ 28 h 105"/>
                  <a:gd name="T72" fmla="*/ 61 w 73"/>
                  <a:gd name="T73" fmla="*/ 28 h 105"/>
                  <a:gd name="T74" fmla="*/ 59 w 73"/>
                  <a:gd name="T75" fmla="*/ 34 h 105"/>
                  <a:gd name="T76" fmla="*/ 59 w 73"/>
                  <a:gd name="T77" fmla="*/ 38 h 105"/>
                  <a:gd name="T78" fmla="*/ 61 w 73"/>
                  <a:gd name="T79" fmla="*/ 44 h 105"/>
                  <a:gd name="T80" fmla="*/ 63 w 73"/>
                  <a:gd name="T81" fmla="*/ 46 h 105"/>
                  <a:gd name="T82" fmla="*/ 63 w 73"/>
                  <a:gd name="T83" fmla="*/ 49 h 105"/>
                  <a:gd name="T84" fmla="*/ 63 w 73"/>
                  <a:gd name="T85" fmla="*/ 57 h 105"/>
                  <a:gd name="T86" fmla="*/ 63 w 73"/>
                  <a:gd name="T87" fmla="*/ 61 h 105"/>
                  <a:gd name="T88" fmla="*/ 63 w 73"/>
                  <a:gd name="T89" fmla="*/ 67 h 105"/>
                  <a:gd name="T90" fmla="*/ 61 w 73"/>
                  <a:gd name="T91" fmla="*/ 72 h 105"/>
                  <a:gd name="T92" fmla="*/ 63 w 73"/>
                  <a:gd name="T93" fmla="*/ 76 h 105"/>
                  <a:gd name="T94" fmla="*/ 69 w 73"/>
                  <a:gd name="T95" fmla="*/ 78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" h="105">
                    <a:moveTo>
                      <a:pt x="73" y="82"/>
                    </a:moveTo>
                    <a:lnTo>
                      <a:pt x="69" y="84"/>
                    </a:lnTo>
                    <a:lnTo>
                      <a:pt x="69" y="86"/>
                    </a:lnTo>
                    <a:lnTo>
                      <a:pt x="67" y="88"/>
                    </a:lnTo>
                    <a:lnTo>
                      <a:pt x="63" y="88"/>
                    </a:lnTo>
                    <a:lnTo>
                      <a:pt x="59" y="88"/>
                    </a:lnTo>
                    <a:lnTo>
                      <a:pt x="55" y="88"/>
                    </a:lnTo>
                    <a:lnTo>
                      <a:pt x="55" y="89"/>
                    </a:lnTo>
                    <a:lnTo>
                      <a:pt x="53" y="89"/>
                    </a:lnTo>
                    <a:lnTo>
                      <a:pt x="52" y="89"/>
                    </a:lnTo>
                    <a:lnTo>
                      <a:pt x="52" y="91"/>
                    </a:lnTo>
                    <a:lnTo>
                      <a:pt x="50" y="91"/>
                    </a:lnTo>
                    <a:lnTo>
                      <a:pt x="48" y="91"/>
                    </a:lnTo>
                    <a:lnTo>
                      <a:pt x="46" y="91"/>
                    </a:lnTo>
                    <a:lnTo>
                      <a:pt x="46" y="93"/>
                    </a:lnTo>
                    <a:lnTo>
                      <a:pt x="44" y="93"/>
                    </a:lnTo>
                    <a:lnTo>
                      <a:pt x="42" y="93"/>
                    </a:lnTo>
                    <a:lnTo>
                      <a:pt x="42" y="95"/>
                    </a:lnTo>
                    <a:lnTo>
                      <a:pt x="40" y="95"/>
                    </a:lnTo>
                    <a:lnTo>
                      <a:pt x="40" y="97"/>
                    </a:lnTo>
                    <a:lnTo>
                      <a:pt x="34" y="97"/>
                    </a:lnTo>
                    <a:lnTo>
                      <a:pt x="32" y="99"/>
                    </a:lnTo>
                    <a:lnTo>
                      <a:pt x="31" y="99"/>
                    </a:lnTo>
                    <a:lnTo>
                      <a:pt x="29" y="99"/>
                    </a:lnTo>
                    <a:lnTo>
                      <a:pt x="27" y="99"/>
                    </a:lnTo>
                    <a:lnTo>
                      <a:pt x="27" y="101"/>
                    </a:lnTo>
                    <a:lnTo>
                      <a:pt x="25" y="101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1" y="103"/>
                    </a:lnTo>
                    <a:lnTo>
                      <a:pt x="19" y="105"/>
                    </a:lnTo>
                    <a:lnTo>
                      <a:pt x="19" y="103"/>
                    </a:lnTo>
                    <a:lnTo>
                      <a:pt x="17" y="103"/>
                    </a:lnTo>
                    <a:lnTo>
                      <a:pt x="17" y="101"/>
                    </a:lnTo>
                    <a:lnTo>
                      <a:pt x="15" y="101"/>
                    </a:lnTo>
                    <a:lnTo>
                      <a:pt x="4" y="99"/>
                    </a:lnTo>
                    <a:lnTo>
                      <a:pt x="4" y="97"/>
                    </a:lnTo>
                    <a:lnTo>
                      <a:pt x="6" y="99"/>
                    </a:lnTo>
                    <a:lnTo>
                      <a:pt x="6" y="97"/>
                    </a:lnTo>
                    <a:lnTo>
                      <a:pt x="8" y="99"/>
                    </a:lnTo>
                    <a:lnTo>
                      <a:pt x="8" y="97"/>
                    </a:lnTo>
                    <a:lnTo>
                      <a:pt x="8" y="99"/>
                    </a:lnTo>
                    <a:lnTo>
                      <a:pt x="8" y="97"/>
                    </a:lnTo>
                    <a:lnTo>
                      <a:pt x="10" y="99"/>
                    </a:lnTo>
                    <a:lnTo>
                      <a:pt x="10" y="97"/>
                    </a:lnTo>
                    <a:lnTo>
                      <a:pt x="8" y="97"/>
                    </a:lnTo>
                    <a:lnTo>
                      <a:pt x="10" y="95"/>
                    </a:lnTo>
                    <a:lnTo>
                      <a:pt x="8" y="95"/>
                    </a:lnTo>
                    <a:lnTo>
                      <a:pt x="8" y="93"/>
                    </a:lnTo>
                    <a:lnTo>
                      <a:pt x="10" y="95"/>
                    </a:lnTo>
                    <a:lnTo>
                      <a:pt x="10" y="93"/>
                    </a:lnTo>
                    <a:lnTo>
                      <a:pt x="8" y="91"/>
                    </a:lnTo>
                    <a:lnTo>
                      <a:pt x="8" y="89"/>
                    </a:lnTo>
                    <a:lnTo>
                      <a:pt x="6" y="89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4" y="82"/>
                    </a:lnTo>
                    <a:lnTo>
                      <a:pt x="2" y="80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0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4" y="67"/>
                    </a:lnTo>
                    <a:lnTo>
                      <a:pt x="4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6" y="61"/>
                    </a:lnTo>
                    <a:lnTo>
                      <a:pt x="6" y="59"/>
                    </a:lnTo>
                    <a:lnTo>
                      <a:pt x="8" y="55"/>
                    </a:lnTo>
                    <a:lnTo>
                      <a:pt x="8" y="53"/>
                    </a:lnTo>
                    <a:lnTo>
                      <a:pt x="10" y="53"/>
                    </a:lnTo>
                    <a:lnTo>
                      <a:pt x="10" y="51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1" y="40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0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0" y="30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10" y="23"/>
                    </a:lnTo>
                    <a:lnTo>
                      <a:pt x="8" y="21"/>
                    </a:lnTo>
                    <a:lnTo>
                      <a:pt x="10" y="21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13" y="4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31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5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0"/>
                    </a:lnTo>
                    <a:lnTo>
                      <a:pt x="50" y="2"/>
                    </a:lnTo>
                    <a:lnTo>
                      <a:pt x="52" y="2"/>
                    </a:lnTo>
                    <a:lnTo>
                      <a:pt x="53" y="2"/>
                    </a:lnTo>
                    <a:lnTo>
                      <a:pt x="53" y="4"/>
                    </a:lnTo>
                    <a:lnTo>
                      <a:pt x="52" y="4"/>
                    </a:lnTo>
                    <a:lnTo>
                      <a:pt x="52" y="5"/>
                    </a:lnTo>
                    <a:lnTo>
                      <a:pt x="52" y="7"/>
                    </a:lnTo>
                    <a:lnTo>
                      <a:pt x="52" y="9"/>
                    </a:lnTo>
                    <a:lnTo>
                      <a:pt x="53" y="9"/>
                    </a:lnTo>
                    <a:lnTo>
                      <a:pt x="53" y="11"/>
                    </a:lnTo>
                    <a:lnTo>
                      <a:pt x="55" y="11"/>
                    </a:lnTo>
                    <a:lnTo>
                      <a:pt x="55" y="13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57" y="17"/>
                    </a:lnTo>
                    <a:lnTo>
                      <a:pt x="59" y="19"/>
                    </a:lnTo>
                    <a:lnTo>
                      <a:pt x="57" y="19"/>
                    </a:lnTo>
                    <a:lnTo>
                      <a:pt x="59" y="21"/>
                    </a:lnTo>
                    <a:lnTo>
                      <a:pt x="57" y="21"/>
                    </a:lnTo>
                    <a:lnTo>
                      <a:pt x="57" y="23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7" y="26"/>
                    </a:lnTo>
                    <a:lnTo>
                      <a:pt x="59" y="26"/>
                    </a:lnTo>
                    <a:lnTo>
                      <a:pt x="57" y="26"/>
                    </a:lnTo>
                    <a:lnTo>
                      <a:pt x="57" y="28"/>
                    </a:lnTo>
                    <a:lnTo>
                      <a:pt x="55" y="28"/>
                    </a:lnTo>
                    <a:lnTo>
                      <a:pt x="57" y="28"/>
                    </a:lnTo>
                    <a:lnTo>
                      <a:pt x="59" y="28"/>
                    </a:lnTo>
                    <a:lnTo>
                      <a:pt x="61" y="28"/>
                    </a:lnTo>
                    <a:lnTo>
                      <a:pt x="61" y="30"/>
                    </a:lnTo>
                    <a:lnTo>
                      <a:pt x="61" y="32"/>
                    </a:lnTo>
                    <a:lnTo>
                      <a:pt x="61" y="34"/>
                    </a:lnTo>
                    <a:lnTo>
                      <a:pt x="59" y="34"/>
                    </a:lnTo>
                    <a:lnTo>
                      <a:pt x="61" y="36"/>
                    </a:lnTo>
                    <a:lnTo>
                      <a:pt x="61" y="38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63" y="44"/>
                    </a:lnTo>
                    <a:lnTo>
                      <a:pt x="63" y="46"/>
                    </a:lnTo>
                    <a:lnTo>
                      <a:pt x="65" y="47"/>
                    </a:lnTo>
                    <a:lnTo>
                      <a:pt x="63" y="47"/>
                    </a:lnTo>
                    <a:lnTo>
                      <a:pt x="61" y="49"/>
                    </a:lnTo>
                    <a:lnTo>
                      <a:pt x="63" y="49"/>
                    </a:lnTo>
                    <a:lnTo>
                      <a:pt x="61" y="49"/>
                    </a:lnTo>
                    <a:lnTo>
                      <a:pt x="61" y="51"/>
                    </a:lnTo>
                    <a:lnTo>
                      <a:pt x="63" y="55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3" y="61"/>
                    </a:lnTo>
                    <a:lnTo>
                      <a:pt x="63" y="63"/>
                    </a:lnTo>
                    <a:lnTo>
                      <a:pt x="63" y="65"/>
                    </a:lnTo>
                    <a:lnTo>
                      <a:pt x="61" y="67"/>
                    </a:lnTo>
                    <a:lnTo>
                      <a:pt x="63" y="67"/>
                    </a:lnTo>
                    <a:lnTo>
                      <a:pt x="61" y="67"/>
                    </a:lnTo>
                    <a:lnTo>
                      <a:pt x="61" y="68"/>
                    </a:lnTo>
                    <a:lnTo>
                      <a:pt x="61" y="70"/>
                    </a:lnTo>
                    <a:lnTo>
                      <a:pt x="61" y="72"/>
                    </a:lnTo>
                    <a:lnTo>
                      <a:pt x="63" y="72"/>
                    </a:lnTo>
                    <a:lnTo>
                      <a:pt x="63" y="74"/>
                    </a:lnTo>
                    <a:lnTo>
                      <a:pt x="65" y="74"/>
                    </a:lnTo>
                    <a:lnTo>
                      <a:pt x="63" y="76"/>
                    </a:lnTo>
                    <a:lnTo>
                      <a:pt x="65" y="76"/>
                    </a:lnTo>
                    <a:lnTo>
                      <a:pt x="65" y="78"/>
                    </a:lnTo>
                    <a:lnTo>
                      <a:pt x="67" y="78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71" y="82"/>
                    </a:lnTo>
                    <a:lnTo>
                      <a:pt x="73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1" name="Freeform 209">
                <a:extLst>
                  <a:ext uri="{FF2B5EF4-FFF2-40B4-BE49-F238E27FC236}">
                    <a16:creationId xmlns:a16="http://schemas.microsoft.com/office/drawing/2014/main" id="{065FFBAA-FADD-7896-666F-6ECCAE8435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8562" y="-2181267"/>
                <a:ext cx="152831" cy="162591"/>
              </a:xfrm>
              <a:custGeom>
                <a:avLst/>
                <a:gdLst>
                  <a:gd name="T0" fmla="*/ 55 w 97"/>
                  <a:gd name="T1" fmla="*/ 10 h 103"/>
                  <a:gd name="T2" fmla="*/ 57 w 97"/>
                  <a:gd name="T3" fmla="*/ 12 h 103"/>
                  <a:gd name="T4" fmla="*/ 59 w 97"/>
                  <a:gd name="T5" fmla="*/ 16 h 103"/>
                  <a:gd name="T6" fmla="*/ 65 w 97"/>
                  <a:gd name="T7" fmla="*/ 18 h 103"/>
                  <a:gd name="T8" fmla="*/ 69 w 97"/>
                  <a:gd name="T9" fmla="*/ 19 h 103"/>
                  <a:gd name="T10" fmla="*/ 73 w 97"/>
                  <a:gd name="T11" fmla="*/ 14 h 103"/>
                  <a:gd name="T12" fmla="*/ 84 w 97"/>
                  <a:gd name="T13" fmla="*/ 14 h 103"/>
                  <a:gd name="T14" fmla="*/ 88 w 97"/>
                  <a:gd name="T15" fmla="*/ 18 h 103"/>
                  <a:gd name="T16" fmla="*/ 94 w 97"/>
                  <a:gd name="T17" fmla="*/ 25 h 103"/>
                  <a:gd name="T18" fmla="*/ 95 w 97"/>
                  <a:gd name="T19" fmla="*/ 31 h 103"/>
                  <a:gd name="T20" fmla="*/ 95 w 97"/>
                  <a:gd name="T21" fmla="*/ 44 h 103"/>
                  <a:gd name="T22" fmla="*/ 90 w 97"/>
                  <a:gd name="T23" fmla="*/ 52 h 103"/>
                  <a:gd name="T24" fmla="*/ 88 w 97"/>
                  <a:gd name="T25" fmla="*/ 60 h 103"/>
                  <a:gd name="T26" fmla="*/ 86 w 97"/>
                  <a:gd name="T27" fmla="*/ 69 h 103"/>
                  <a:gd name="T28" fmla="*/ 88 w 97"/>
                  <a:gd name="T29" fmla="*/ 81 h 103"/>
                  <a:gd name="T30" fmla="*/ 94 w 97"/>
                  <a:gd name="T31" fmla="*/ 86 h 103"/>
                  <a:gd name="T32" fmla="*/ 92 w 97"/>
                  <a:gd name="T33" fmla="*/ 90 h 103"/>
                  <a:gd name="T34" fmla="*/ 92 w 97"/>
                  <a:gd name="T35" fmla="*/ 90 h 103"/>
                  <a:gd name="T36" fmla="*/ 88 w 97"/>
                  <a:gd name="T37" fmla="*/ 92 h 103"/>
                  <a:gd name="T38" fmla="*/ 44 w 97"/>
                  <a:gd name="T39" fmla="*/ 92 h 103"/>
                  <a:gd name="T40" fmla="*/ 31 w 97"/>
                  <a:gd name="T41" fmla="*/ 98 h 103"/>
                  <a:gd name="T42" fmla="*/ 19 w 97"/>
                  <a:gd name="T43" fmla="*/ 103 h 103"/>
                  <a:gd name="T44" fmla="*/ 17 w 97"/>
                  <a:gd name="T45" fmla="*/ 101 h 103"/>
                  <a:gd name="T46" fmla="*/ 15 w 97"/>
                  <a:gd name="T47" fmla="*/ 94 h 103"/>
                  <a:gd name="T48" fmla="*/ 17 w 97"/>
                  <a:gd name="T49" fmla="*/ 92 h 103"/>
                  <a:gd name="T50" fmla="*/ 17 w 97"/>
                  <a:gd name="T51" fmla="*/ 86 h 103"/>
                  <a:gd name="T52" fmla="*/ 19 w 97"/>
                  <a:gd name="T53" fmla="*/ 81 h 103"/>
                  <a:gd name="T54" fmla="*/ 17 w 97"/>
                  <a:gd name="T55" fmla="*/ 79 h 103"/>
                  <a:gd name="T56" fmla="*/ 12 w 97"/>
                  <a:gd name="T57" fmla="*/ 77 h 103"/>
                  <a:gd name="T58" fmla="*/ 6 w 97"/>
                  <a:gd name="T59" fmla="*/ 73 h 103"/>
                  <a:gd name="T60" fmla="*/ 2 w 97"/>
                  <a:gd name="T61" fmla="*/ 71 h 103"/>
                  <a:gd name="T62" fmla="*/ 2 w 97"/>
                  <a:gd name="T63" fmla="*/ 67 h 103"/>
                  <a:gd name="T64" fmla="*/ 2 w 97"/>
                  <a:gd name="T65" fmla="*/ 65 h 103"/>
                  <a:gd name="T66" fmla="*/ 4 w 97"/>
                  <a:gd name="T67" fmla="*/ 58 h 103"/>
                  <a:gd name="T68" fmla="*/ 2 w 97"/>
                  <a:gd name="T69" fmla="*/ 50 h 103"/>
                  <a:gd name="T70" fmla="*/ 8 w 97"/>
                  <a:gd name="T71" fmla="*/ 46 h 103"/>
                  <a:gd name="T72" fmla="*/ 6 w 97"/>
                  <a:gd name="T73" fmla="*/ 42 h 103"/>
                  <a:gd name="T74" fmla="*/ 12 w 97"/>
                  <a:gd name="T75" fmla="*/ 37 h 103"/>
                  <a:gd name="T76" fmla="*/ 12 w 97"/>
                  <a:gd name="T77" fmla="*/ 39 h 103"/>
                  <a:gd name="T78" fmla="*/ 13 w 97"/>
                  <a:gd name="T79" fmla="*/ 37 h 103"/>
                  <a:gd name="T80" fmla="*/ 12 w 97"/>
                  <a:gd name="T81" fmla="*/ 33 h 103"/>
                  <a:gd name="T82" fmla="*/ 12 w 97"/>
                  <a:gd name="T83" fmla="*/ 27 h 103"/>
                  <a:gd name="T84" fmla="*/ 12 w 97"/>
                  <a:gd name="T85" fmla="*/ 21 h 103"/>
                  <a:gd name="T86" fmla="*/ 8 w 97"/>
                  <a:gd name="T87" fmla="*/ 16 h 103"/>
                  <a:gd name="T88" fmla="*/ 8 w 97"/>
                  <a:gd name="T89" fmla="*/ 14 h 103"/>
                  <a:gd name="T90" fmla="*/ 12 w 97"/>
                  <a:gd name="T91" fmla="*/ 8 h 103"/>
                  <a:gd name="T92" fmla="*/ 17 w 97"/>
                  <a:gd name="T93" fmla="*/ 4 h 103"/>
                  <a:gd name="T94" fmla="*/ 25 w 97"/>
                  <a:gd name="T95" fmla="*/ 10 h 103"/>
                  <a:gd name="T96" fmla="*/ 31 w 97"/>
                  <a:gd name="T97" fmla="*/ 4 h 103"/>
                  <a:gd name="T98" fmla="*/ 34 w 97"/>
                  <a:gd name="T99" fmla="*/ 0 h 103"/>
                  <a:gd name="T100" fmla="*/ 38 w 97"/>
                  <a:gd name="T101" fmla="*/ 4 h 103"/>
                  <a:gd name="T102" fmla="*/ 42 w 97"/>
                  <a:gd name="T103" fmla="*/ 8 h 103"/>
                  <a:gd name="T104" fmla="*/ 48 w 97"/>
                  <a:gd name="T105" fmla="*/ 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7" h="103">
                    <a:moveTo>
                      <a:pt x="50" y="6"/>
                    </a:moveTo>
                    <a:lnTo>
                      <a:pt x="52" y="8"/>
                    </a:lnTo>
                    <a:lnTo>
                      <a:pt x="54" y="8"/>
                    </a:lnTo>
                    <a:lnTo>
                      <a:pt x="55" y="8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5" y="10"/>
                    </a:lnTo>
                    <a:lnTo>
                      <a:pt x="55" y="12"/>
                    </a:lnTo>
                    <a:lnTo>
                      <a:pt x="57" y="10"/>
                    </a:lnTo>
                    <a:lnTo>
                      <a:pt x="57" y="12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61" y="16"/>
                    </a:lnTo>
                    <a:lnTo>
                      <a:pt x="59" y="16"/>
                    </a:lnTo>
                    <a:lnTo>
                      <a:pt x="61" y="18"/>
                    </a:lnTo>
                    <a:lnTo>
                      <a:pt x="61" y="16"/>
                    </a:lnTo>
                    <a:lnTo>
                      <a:pt x="61" y="18"/>
                    </a:lnTo>
                    <a:lnTo>
                      <a:pt x="63" y="18"/>
                    </a:lnTo>
                    <a:lnTo>
                      <a:pt x="65" y="18"/>
                    </a:lnTo>
                    <a:lnTo>
                      <a:pt x="65" y="16"/>
                    </a:lnTo>
                    <a:lnTo>
                      <a:pt x="65" y="18"/>
                    </a:lnTo>
                    <a:lnTo>
                      <a:pt x="67" y="18"/>
                    </a:lnTo>
                    <a:lnTo>
                      <a:pt x="67" y="19"/>
                    </a:lnTo>
                    <a:lnTo>
                      <a:pt x="69" y="19"/>
                    </a:lnTo>
                    <a:lnTo>
                      <a:pt x="69" y="18"/>
                    </a:lnTo>
                    <a:lnTo>
                      <a:pt x="69" y="16"/>
                    </a:lnTo>
                    <a:lnTo>
                      <a:pt x="71" y="16"/>
                    </a:lnTo>
                    <a:lnTo>
                      <a:pt x="73" y="16"/>
                    </a:lnTo>
                    <a:lnTo>
                      <a:pt x="73" y="14"/>
                    </a:lnTo>
                    <a:lnTo>
                      <a:pt x="75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4" y="14"/>
                    </a:lnTo>
                    <a:lnTo>
                      <a:pt x="84" y="16"/>
                    </a:lnTo>
                    <a:lnTo>
                      <a:pt x="86" y="14"/>
                    </a:lnTo>
                    <a:lnTo>
                      <a:pt x="86" y="16"/>
                    </a:lnTo>
                    <a:lnTo>
                      <a:pt x="88" y="16"/>
                    </a:lnTo>
                    <a:lnTo>
                      <a:pt x="88" y="18"/>
                    </a:lnTo>
                    <a:lnTo>
                      <a:pt x="90" y="19"/>
                    </a:lnTo>
                    <a:lnTo>
                      <a:pt x="92" y="21"/>
                    </a:lnTo>
                    <a:lnTo>
                      <a:pt x="94" y="21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2" y="27"/>
                    </a:lnTo>
                    <a:lnTo>
                      <a:pt x="94" y="29"/>
                    </a:lnTo>
                    <a:lnTo>
                      <a:pt x="95" y="29"/>
                    </a:lnTo>
                    <a:lnTo>
                      <a:pt x="95" y="31"/>
                    </a:lnTo>
                    <a:lnTo>
                      <a:pt x="95" y="33"/>
                    </a:lnTo>
                    <a:lnTo>
                      <a:pt x="97" y="40"/>
                    </a:lnTo>
                    <a:lnTo>
                      <a:pt x="97" y="42"/>
                    </a:lnTo>
                    <a:lnTo>
                      <a:pt x="95" y="42"/>
                    </a:lnTo>
                    <a:lnTo>
                      <a:pt x="95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2" y="46"/>
                    </a:lnTo>
                    <a:lnTo>
                      <a:pt x="92" y="48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90" y="56"/>
                    </a:lnTo>
                    <a:lnTo>
                      <a:pt x="90" y="58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86" y="63"/>
                    </a:lnTo>
                    <a:lnTo>
                      <a:pt x="86" y="65"/>
                    </a:lnTo>
                    <a:lnTo>
                      <a:pt x="84" y="67"/>
                    </a:lnTo>
                    <a:lnTo>
                      <a:pt x="86" y="67"/>
                    </a:lnTo>
                    <a:lnTo>
                      <a:pt x="86" y="69"/>
                    </a:lnTo>
                    <a:lnTo>
                      <a:pt x="86" y="73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88" y="79"/>
                    </a:lnTo>
                    <a:lnTo>
                      <a:pt x="88" y="81"/>
                    </a:lnTo>
                    <a:lnTo>
                      <a:pt x="90" y="81"/>
                    </a:lnTo>
                    <a:lnTo>
                      <a:pt x="90" y="82"/>
                    </a:lnTo>
                    <a:lnTo>
                      <a:pt x="92" y="82"/>
                    </a:lnTo>
                    <a:lnTo>
                      <a:pt x="92" y="84"/>
                    </a:lnTo>
                    <a:lnTo>
                      <a:pt x="94" y="86"/>
                    </a:lnTo>
                    <a:lnTo>
                      <a:pt x="94" y="88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94" y="88"/>
                    </a:lnTo>
                    <a:lnTo>
                      <a:pt x="92" y="90"/>
                    </a:lnTo>
                    <a:lnTo>
                      <a:pt x="94" y="90"/>
                    </a:lnTo>
                    <a:lnTo>
                      <a:pt x="94" y="92"/>
                    </a:lnTo>
                    <a:lnTo>
                      <a:pt x="92" y="90"/>
                    </a:lnTo>
                    <a:lnTo>
                      <a:pt x="92" y="92"/>
                    </a:lnTo>
                    <a:lnTo>
                      <a:pt x="92" y="90"/>
                    </a:lnTo>
                    <a:lnTo>
                      <a:pt x="92" y="92"/>
                    </a:lnTo>
                    <a:lnTo>
                      <a:pt x="90" y="90"/>
                    </a:lnTo>
                    <a:lnTo>
                      <a:pt x="90" y="92"/>
                    </a:lnTo>
                    <a:lnTo>
                      <a:pt x="88" y="90"/>
                    </a:lnTo>
                    <a:lnTo>
                      <a:pt x="88" y="92"/>
                    </a:lnTo>
                    <a:lnTo>
                      <a:pt x="78" y="90"/>
                    </a:lnTo>
                    <a:lnTo>
                      <a:pt x="73" y="88"/>
                    </a:lnTo>
                    <a:lnTo>
                      <a:pt x="61" y="90"/>
                    </a:lnTo>
                    <a:lnTo>
                      <a:pt x="52" y="90"/>
                    </a:lnTo>
                    <a:lnTo>
                      <a:pt x="44" y="92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4" y="96"/>
                    </a:lnTo>
                    <a:lnTo>
                      <a:pt x="33" y="96"/>
                    </a:lnTo>
                    <a:lnTo>
                      <a:pt x="31" y="98"/>
                    </a:lnTo>
                    <a:lnTo>
                      <a:pt x="27" y="98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1" y="101"/>
                    </a:lnTo>
                    <a:lnTo>
                      <a:pt x="19" y="103"/>
                    </a:lnTo>
                    <a:lnTo>
                      <a:pt x="17" y="103"/>
                    </a:lnTo>
                    <a:lnTo>
                      <a:pt x="15" y="101"/>
                    </a:lnTo>
                    <a:lnTo>
                      <a:pt x="17" y="101"/>
                    </a:lnTo>
                    <a:lnTo>
                      <a:pt x="15" y="101"/>
                    </a:lnTo>
                    <a:lnTo>
                      <a:pt x="17" y="101"/>
                    </a:lnTo>
                    <a:lnTo>
                      <a:pt x="15" y="100"/>
                    </a:lnTo>
                    <a:lnTo>
                      <a:pt x="17" y="100"/>
                    </a:lnTo>
                    <a:lnTo>
                      <a:pt x="15" y="98"/>
                    </a:lnTo>
                    <a:lnTo>
                      <a:pt x="15" y="96"/>
                    </a:lnTo>
                    <a:lnTo>
                      <a:pt x="15" y="94"/>
                    </a:lnTo>
                    <a:lnTo>
                      <a:pt x="17" y="94"/>
                    </a:lnTo>
                    <a:lnTo>
                      <a:pt x="15" y="94"/>
                    </a:lnTo>
                    <a:lnTo>
                      <a:pt x="17" y="92"/>
                    </a:lnTo>
                    <a:lnTo>
                      <a:pt x="15" y="92"/>
                    </a:lnTo>
                    <a:lnTo>
                      <a:pt x="17" y="92"/>
                    </a:lnTo>
                    <a:lnTo>
                      <a:pt x="17" y="90"/>
                    </a:lnTo>
                    <a:lnTo>
                      <a:pt x="17" y="88"/>
                    </a:lnTo>
                    <a:lnTo>
                      <a:pt x="19" y="88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7" y="81"/>
                    </a:lnTo>
                    <a:lnTo>
                      <a:pt x="19" y="81"/>
                    </a:lnTo>
                    <a:lnTo>
                      <a:pt x="17" y="81"/>
                    </a:lnTo>
                    <a:lnTo>
                      <a:pt x="19" y="79"/>
                    </a:lnTo>
                    <a:lnTo>
                      <a:pt x="17" y="79"/>
                    </a:lnTo>
                    <a:lnTo>
                      <a:pt x="17" y="81"/>
                    </a:lnTo>
                    <a:lnTo>
                      <a:pt x="17" y="79"/>
                    </a:lnTo>
                    <a:lnTo>
                      <a:pt x="15" y="79"/>
                    </a:lnTo>
                    <a:lnTo>
                      <a:pt x="15" y="77"/>
                    </a:lnTo>
                    <a:lnTo>
                      <a:pt x="13" y="79"/>
                    </a:lnTo>
                    <a:lnTo>
                      <a:pt x="13" y="77"/>
                    </a:lnTo>
                    <a:lnTo>
                      <a:pt x="12" y="77"/>
                    </a:lnTo>
                    <a:lnTo>
                      <a:pt x="12" y="75"/>
                    </a:lnTo>
                    <a:lnTo>
                      <a:pt x="12" y="73"/>
                    </a:lnTo>
                    <a:lnTo>
                      <a:pt x="10" y="73"/>
                    </a:lnTo>
                    <a:lnTo>
                      <a:pt x="10" y="71"/>
                    </a:lnTo>
                    <a:lnTo>
                      <a:pt x="6" y="73"/>
                    </a:lnTo>
                    <a:lnTo>
                      <a:pt x="6" y="71"/>
                    </a:lnTo>
                    <a:lnTo>
                      <a:pt x="4" y="71"/>
                    </a:lnTo>
                    <a:lnTo>
                      <a:pt x="6" y="71"/>
                    </a:lnTo>
                    <a:lnTo>
                      <a:pt x="4" y="71"/>
                    </a:lnTo>
                    <a:lnTo>
                      <a:pt x="2" y="71"/>
                    </a:lnTo>
                    <a:lnTo>
                      <a:pt x="4" y="71"/>
                    </a:lnTo>
                    <a:lnTo>
                      <a:pt x="2" y="69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3"/>
                    </a:lnTo>
                    <a:lnTo>
                      <a:pt x="4" y="61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2" y="50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6" y="37"/>
                    </a:lnTo>
                    <a:lnTo>
                      <a:pt x="8" y="37"/>
                    </a:lnTo>
                    <a:lnTo>
                      <a:pt x="10" y="37"/>
                    </a:lnTo>
                    <a:lnTo>
                      <a:pt x="12" y="37"/>
                    </a:lnTo>
                    <a:lnTo>
                      <a:pt x="10" y="37"/>
                    </a:lnTo>
                    <a:lnTo>
                      <a:pt x="12" y="37"/>
                    </a:lnTo>
                    <a:lnTo>
                      <a:pt x="10" y="37"/>
                    </a:lnTo>
                    <a:lnTo>
                      <a:pt x="12" y="37"/>
                    </a:lnTo>
                    <a:lnTo>
                      <a:pt x="12" y="39"/>
                    </a:lnTo>
                    <a:lnTo>
                      <a:pt x="12" y="37"/>
                    </a:lnTo>
                    <a:lnTo>
                      <a:pt x="13" y="37"/>
                    </a:lnTo>
                    <a:lnTo>
                      <a:pt x="13" y="39"/>
                    </a:lnTo>
                    <a:lnTo>
                      <a:pt x="15" y="39"/>
                    </a:lnTo>
                    <a:lnTo>
                      <a:pt x="13" y="37"/>
                    </a:lnTo>
                    <a:lnTo>
                      <a:pt x="15" y="37"/>
                    </a:lnTo>
                    <a:lnTo>
                      <a:pt x="13" y="37"/>
                    </a:lnTo>
                    <a:lnTo>
                      <a:pt x="13" y="35"/>
                    </a:lnTo>
                    <a:lnTo>
                      <a:pt x="13" y="33"/>
                    </a:lnTo>
                    <a:lnTo>
                      <a:pt x="12" y="33"/>
                    </a:lnTo>
                    <a:lnTo>
                      <a:pt x="10" y="33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2" y="29"/>
                    </a:lnTo>
                    <a:lnTo>
                      <a:pt x="12" y="27"/>
                    </a:lnTo>
                    <a:lnTo>
                      <a:pt x="13" y="27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0" y="21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7" y="4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38" y="6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2" y="8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5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2" name="Freeform 210">
                <a:extLst>
                  <a:ext uri="{FF2B5EF4-FFF2-40B4-BE49-F238E27FC236}">
                    <a16:creationId xmlns:a16="http://schemas.microsoft.com/office/drawing/2014/main" id="{E572ED06-6143-8D78-7EAA-5677B37164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06088" y="-2122860"/>
                <a:ext cx="102413" cy="104183"/>
              </a:xfrm>
              <a:custGeom>
                <a:avLst/>
                <a:gdLst>
                  <a:gd name="T0" fmla="*/ 50 w 65"/>
                  <a:gd name="T1" fmla="*/ 19 h 66"/>
                  <a:gd name="T2" fmla="*/ 50 w 65"/>
                  <a:gd name="T3" fmla="*/ 24 h 66"/>
                  <a:gd name="T4" fmla="*/ 48 w 65"/>
                  <a:gd name="T5" fmla="*/ 28 h 66"/>
                  <a:gd name="T6" fmla="*/ 48 w 65"/>
                  <a:gd name="T7" fmla="*/ 30 h 66"/>
                  <a:gd name="T8" fmla="*/ 46 w 65"/>
                  <a:gd name="T9" fmla="*/ 30 h 66"/>
                  <a:gd name="T10" fmla="*/ 50 w 65"/>
                  <a:gd name="T11" fmla="*/ 34 h 66"/>
                  <a:gd name="T12" fmla="*/ 52 w 65"/>
                  <a:gd name="T13" fmla="*/ 34 h 66"/>
                  <a:gd name="T14" fmla="*/ 52 w 65"/>
                  <a:gd name="T15" fmla="*/ 36 h 66"/>
                  <a:gd name="T16" fmla="*/ 58 w 65"/>
                  <a:gd name="T17" fmla="*/ 36 h 66"/>
                  <a:gd name="T18" fmla="*/ 59 w 65"/>
                  <a:gd name="T19" fmla="*/ 40 h 66"/>
                  <a:gd name="T20" fmla="*/ 61 w 65"/>
                  <a:gd name="T21" fmla="*/ 42 h 66"/>
                  <a:gd name="T22" fmla="*/ 63 w 65"/>
                  <a:gd name="T23" fmla="*/ 42 h 66"/>
                  <a:gd name="T24" fmla="*/ 65 w 65"/>
                  <a:gd name="T25" fmla="*/ 44 h 66"/>
                  <a:gd name="T26" fmla="*/ 65 w 65"/>
                  <a:gd name="T27" fmla="*/ 47 h 66"/>
                  <a:gd name="T28" fmla="*/ 65 w 65"/>
                  <a:gd name="T29" fmla="*/ 49 h 66"/>
                  <a:gd name="T30" fmla="*/ 63 w 65"/>
                  <a:gd name="T31" fmla="*/ 53 h 66"/>
                  <a:gd name="T32" fmla="*/ 63 w 65"/>
                  <a:gd name="T33" fmla="*/ 55 h 66"/>
                  <a:gd name="T34" fmla="*/ 61 w 65"/>
                  <a:gd name="T35" fmla="*/ 57 h 66"/>
                  <a:gd name="T36" fmla="*/ 63 w 65"/>
                  <a:gd name="T37" fmla="*/ 63 h 66"/>
                  <a:gd name="T38" fmla="*/ 61 w 65"/>
                  <a:gd name="T39" fmla="*/ 64 h 66"/>
                  <a:gd name="T40" fmla="*/ 63 w 65"/>
                  <a:gd name="T41" fmla="*/ 66 h 66"/>
                  <a:gd name="T42" fmla="*/ 58 w 65"/>
                  <a:gd name="T43" fmla="*/ 64 h 66"/>
                  <a:gd name="T44" fmla="*/ 50 w 65"/>
                  <a:gd name="T45" fmla="*/ 63 h 66"/>
                  <a:gd name="T46" fmla="*/ 44 w 65"/>
                  <a:gd name="T47" fmla="*/ 59 h 66"/>
                  <a:gd name="T48" fmla="*/ 39 w 65"/>
                  <a:gd name="T49" fmla="*/ 57 h 66"/>
                  <a:gd name="T50" fmla="*/ 37 w 65"/>
                  <a:gd name="T51" fmla="*/ 53 h 66"/>
                  <a:gd name="T52" fmla="*/ 33 w 65"/>
                  <a:gd name="T53" fmla="*/ 51 h 66"/>
                  <a:gd name="T54" fmla="*/ 31 w 65"/>
                  <a:gd name="T55" fmla="*/ 49 h 66"/>
                  <a:gd name="T56" fmla="*/ 25 w 65"/>
                  <a:gd name="T57" fmla="*/ 45 h 66"/>
                  <a:gd name="T58" fmla="*/ 19 w 65"/>
                  <a:gd name="T59" fmla="*/ 40 h 66"/>
                  <a:gd name="T60" fmla="*/ 10 w 65"/>
                  <a:gd name="T61" fmla="*/ 34 h 66"/>
                  <a:gd name="T62" fmla="*/ 2 w 65"/>
                  <a:gd name="T63" fmla="*/ 28 h 66"/>
                  <a:gd name="T64" fmla="*/ 2 w 65"/>
                  <a:gd name="T65" fmla="*/ 28 h 66"/>
                  <a:gd name="T66" fmla="*/ 2 w 65"/>
                  <a:gd name="T67" fmla="*/ 23 h 66"/>
                  <a:gd name="T68" fmla="*/ 4 w 65"/>
                  <a:gd name="T69" fmla="*/ 19 h 66"/>
                  <a:gd name="T70" fmla="*/ 8 w 65"/>
                  <a:gd name="T71" fmla="*/ 15 h 66"/>
                  <a:gd name="T72" fmla="*/ 12 w 65"/>
                  <a:gd name="T73" fmla="*/ 13 h 66"/>
                  <a:gd name="T74" fmla="*/ 14 w 65"/>
                  <a:gd name="T75" fmla="*/ 7 h 66"/>
                  <a:gd name="T76" fmla="*/ 19 w 65"/>
                  <a:gd name="T77" fmla="*/ 5 h 66"/>
                  <a:gd name="T78" fmla="*/ 19 w 65"/>
                  <a:gd name="T79" fmla="*/ 3 h 66"/>
                  <a:gd name="T80" fmla="*/ 21 w 65"/>
                  <a:gd name="T81" fmla="*/ 0 h 66"/>
                  <a:gd name="T82" fmla="*/ 23 w 65"/>
                  <a:gd name="T83" fmla="*/ 0 h 66"/>
                  <a:gd name="T84" fmla="*/ 27 w 65"/>
                  <a:gd name="T85" fmla="*/ 2 h 66"/>
                  <a:gd name="T86" fmla="*/ 31 w 65"/>
                  <a:gd name="T87" fmla="*/ 2 h 66"/>
                  <a:gd name="T88" fmla="*/ 33 w 65"/>
                  <a:gd name="T89" fmla="*/ 5 h 66"/>
                  <a:gd name="T90" fmla="*/ 35 w 65"/>
                  <a:gd name="T91" fmla="*/ 11 h 66"/>
                  <a:gd name="T92" fmla="*/ 31 w 65"/>
                  <a:gd name="T93" fmla="*/ 19 h 66"/>
                  <a:gd name="T94" fmla="*/ 35 w 65"/>
                  <a:gd name="T95" fmla="*/ 19 h 66"/>
                  <a:gd name="T96" fmla="*/ 37 w 65"/>
                  <a:gd name="T97" fmla="*/ 19 h 66"/>
                  <a:gd name="T98" fmla="*/ 40 w 65"/>
                  <a:gd name="T99" fmla="*/ 21 h 66"/>
                  <a:gd name="T100" fmla="*/ 42 w 65"/>
                  <a:gd name="T101" fmla="*/ 19 h 66"/>
                  <a:gd name="T102" fmla="*/ 44 w 65"/>
                  <a:gd name="T103" fmla="*/ 13 h 66"/>
                  <a:gd name="T104" fmla="*/ 46 w 65"/>
                  <a:gd name="T105" fmla="*/ 1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5" h="66">
                    <a:moveTo>
                      <a:pt x="48" y="17"/>
                    </a:moveTo>
                    <a:lnTo>
                      <a:pt x="48" y="19"/>
                    </a:lnTo>
                    <a:lnTo>
                      <a:pt x="50" y="19"/>
                    </a:lnTo>
                    <a:lnTo>
                      <a:pt x="50" y="21"/>
                    </a:lnTo>
                    <a:lnTo>
                      <a:pt x="50" y="23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8"/>
                    </a:lnTo>
                    <a:lnTo>
                      <a:pt x="48" y="28"/>
                    </a:lnTo>
                    <a:lnTo>
                      <a:pt x="50" y="28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4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58" y="38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61" y="40"/>
                    </a:lnTo>
                    <a:lnTo>
                      <a:pt x="61" y="42"/>
                    </a:lnTo>
                    <a:lnTo>
                      <a:pt x="63" y="42"/>
                    </a:lnTo>
                    <a:lnTo>
                      <a:pt x="63" y="44"/>
                    </a:lnTo>
                    <a:lnTo>
                      <a:pt x="63" y="42"/>
                    </a:lnTo>
                    <a:lnTo>
                      <a:pt x="65" y="42"/>
                    </a:lnTo>
                    <a:lnTo>
                      <a:pt x="63" y="44"/>
                    </a:lnTo>
                    <a:lnTo>
                      <a:pt x="65" y="44"/>
                    </a:lnTo>
                    <a:lnTo>
                      <a:pt x="63" y="44"/>
                    </a:lnTo>
                    <a:lnTo>
                      <a:pt x="65" y="45"/>
                    </a:lnTo>
                    <a:lnTo>
                      <a:pt x="65" y="47"/>
                    </a:lnTo>
                    <a:lnTo>
                      <a:pt x="65" y="49"/>
                    </a:lnTo>
                    <a:lnTo>
                      <a:pt x="63" y="49"/>
                    </a:lnTo>
                    <a:lnTo>
                      <a:pt x="65" y="49"/>
                    </a:lnTo>
                    <a:lnTo>
                      <a:pt x="65" y="51"/>
                    </a:lnTo>
                    <a:lnTo>
                      <a:pt x="63" y="51"/>
                    </a:lnTo>
                    <a:lnTo>
                      <a:pt x="63" y="53"/>
                    </a:lnTo>
                    <a:lnTo>
                      <a:pt x="63" y="55"/>
                    </a:lnTo>
                    <a:lnTo>
                      <a:pt x="61" y="55"/>
                    </a:lnTo>
                    <a:lnTo>
                      <a:pt x="63" y="55"/>
                    </a:lnTo>
                    <a:lnTo>
                      <a:pt x="61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3" y="63"/>
                    </a:lnTo>
                    <a:lnTo>
                      <a:pt x="61" y="63"/>
                    </a:lnTo>
                    <a:lnTo>
                      <a:pt x="63" y="64"/>
                    </a:lnTo>
                    <a:lnTo>
                      <a:pt x="61" y="64"/>
                    </a:lnTo>
                    <a:lnTo>
                      <a:pt x="63" y="64"/>
                    </a:lnTo>
                    <a:lnTo>
                      <a:pt x="61" y="64"/>
                    </a:lnTo>
                    <a:lnTo>
                      <a:pt x="63" y="66"/>
                    </a:lnTo>
                    <a:lnTo>
                      <a:pt x="61" y="66"/>
                    </a:lnTo>
                    <a:lnTo>
                      <a:pt x="59" y="66"/>
                    </a:lnTo>
                    <a:lnTo>
                      <a:pt x="58" y="64"/>
                    </a:lnTo>
                    <a:lnTo>
                      <a:pt x="56" y="64"/>
                    </a:lnTo>
                    <a:lnTo>
                      <a:pt x="52" y="63"/>
                    </a:lnTo>
                    <a:lnTo>
                      <a:pt x="50" y="63"/>
                    </a:lnTo>
                    <a:lnTo>
                      <a:pt x="48" y="61"/>
                    </a:lnTo>
                    <a:lnTo>
                      <a:pt x="46" y="59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0" y="57"/>
                    </a:lnTo>
                    <a:lnTo>
                      <a:pt x="39" y="57"/>
                    </a:lnTo>
                    <a:lnTo>
                      <a:pt x="39" y="55"/>
                    </a:lnTo>
                    <a:lnTo>
                      <a:pt x="37" y="55"/>
                    </a:lnTo>
                    <a:lnTo>
                      <a:pt x="37" y="53"/>
                    </a:lnTo>
                    <a:lnTo>
                      <a:pt x="35" y="53"/>
                    </a:lnTo>
                    <a:lnTo>
                      <a:pt x="33" y="53"/>
                    </a:lnTo>
                    <a:lnTo>
                      <a:pt x="33" y="51"/>
                    </a:lnTo>
                    <a:lnTo>
                      <a:pt x="31" y="49"/>
                    </a:lnTo>
                    <a:lnTo>
                      <a:pt x="29" y="49"/>
                    </a:lnTo>
                    <a:lnTo>
                      <a:pt x="31" y="49"/>
                    </a:lnTo>
                    <a:lnTo>
                      <a:pt x="31" y="47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3" y="42"/>
                    </a:lnTo>
                    <a:lnTo>
                      <a:pt x="21" y="42"/>
                    </a:lnTo>
                    <a:lnTo>
                      <a:pt x="19" y="40"/>
                    </a:lnTo>
                    <a:lnTo>
                      <a:pt x="18" y="38"/>
                    </a:lnTo>
                    <a:lnTo>
                      <a:pt x="12" y="36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6" y="30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8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4" y="7"/>
                    </a:lnTo>
                    <a:lnTo>
                      <a:pt x="16" y="5"/>
                    </a:lnTo>
                    <a:lnTo>
                      <a:pt x="18" y="5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18" y="3"/>
                    </a:lnTo>
                    <a:lnTo>
                      <a:pt x="19" y="3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7" y="2"/>
                    </a:lnTo>
                    <a:lnTo>
                      <a:pt x="29" y="0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1" y="3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3" y="7"/>
                    </a:lnTo>
                    <a:lnTo>
                      <a:pt x="33" y="9"/>
                    </a:lnTo>
                    <a:lnTo>
                      <a:pt x="35" y="11"/>
                    </a:lnTo>
                    <a:lnTo>
                      <a:pt x="33" y="13"/>
                    </a:lnTo>
                    <a:lnTo>
                      <a:pt x="33" y="17"/>
                    </a:lnTo>
                    <a:lnTo>
                      <a:pt x="31" y="19"/>
                    </a:lnTo>
                    <a:lnTo>
                      <a:pt x="33" y="17"/>
                    </a:lnTo>
                    <a:lnTo>
                      <a:pt x="35" y="17"/>
                    </a:lnTo>
                    <a:lnTo>
                      <a:pt x="35" y="19"/>
                    </a:lnTo>
                    <a:lnTo>
                      <a:pt x="35" y="17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4" y="13"/>
                    </a:lnTo>
                    <a:lnTo>
                      <a:pt x="46" y="13"/>
                    </a:lnTo>
                    <a:lnTo>
                      <a:pt x="48" y="15"/>
                    </a:lnTo>
                    <a:lnTo>
                      <a:pt x="46" y="15"/>
                    </a:lnTo>
                    <a:lnTo>
                      <a:pt x="48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3" name="Freeform 211">
                <a:extLst>
                  <a:ext uri="{FF2B5EF4-FFF2-40B4-BE49-F238E27FC236}">
                    <a16:creationId xmlns:a16="http://schemas.microsoft.com/office/drawing/2014/main" id="{FDBE1CC2-D320-227B-6951-787795AEC9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55228" y="-2186001"/>
                <a:ext cx="324570" cy="222574"/>
              </a:xfrm>
              <a:custGeom>
                <a:avLst/>
                <a:gdLst>
                  <a:gd name="T0" fmla="*/ 147 w 206"/>
                  <a:gd name="T1" fmla="*/ 17 h 141"/>
                  <a:gd name="T2" fmla="*/ 143 w 206"/>
                  <a:gd name="T3" fmla="*/ 28 h 141"/>
                  <a:gd name="T4" fmla="*/ 149 w 206"/>
                  <a:gd name="T5" fmla="*/ 36 h 141"/>
                  <a:gd name="T6" fmla="*/ 155 w 206"/>
                  <a:gd name="T7" fmla="*/ 42 h 141"/>
                  <a:gd name="T8" fmla="*/ 166 w 206"/>
                  <a:gd name="T9" fmla="*/ 45 h 141"/>
                  <a:gd name="T10" fmla="*/ 174 w 206"/>
                  <a:gd name="T11" fmla="*/ 53 h 141"/>
                  <a:gd name="T12" fmla="*/ 178 w 206"/>
                  <a:gd name="T13" fmla="*/ 59 h 141"/>
                  <a:gd name="T14" fmla="*/ 183 w 206"/>
                  <a:gd name="T15" fmla="*/ 63 h 141"/>
                  <a:gd name="T16" fmla="*/ 191 w 206"/>
                  <a:gd name="T17" fmla="*/ 70 h 141"/>
                  <a:gd name="T18" fmla="*/ 191 w 206"/>
                  <a:gd name="T19" fmla="*/ 78 h 141"/>
                  <a:gd name="T20" fmla="*/ 201 w 206"/>
                  <a:gd name="T21" fmla="*/ 82 h 141"/>
                  <a:gd name="T22" fmla="*/ 204 w 206"/>
                  <a:gd name="T23" fmla="*/ 91 h 141"/>
                  <a:gd name="T24" fmla="*/ 199 w 206"/>
                  <a:gd name="T25" fmla="*/ 93 h 141"/>
                  <a:gd name="T26" fmla="*/ 189 w 206"/>
                  <a:gd name="T27" fmla="*/ 93 h 141"/>
                  <a:gd name="T28" fmla="*/ 183 w 206"/>
                  <a:gd name="T29" fmla="*/ 93 h 141"/>
                  <a:gd name="T30" fmla="*/ 180 w 206"/>
                  <a:gd name="T31" fmla="*/ 91 h 141"/>
                  <a:gd name="T32" fmla="*/ 176 w 206"/>
                  <a:gd name="T33" fmla="*/ 89 h 141"/>
                  <a:gd name="T34" fmla="*/ 172 w 206"/>
                  <a:gd name="T35" fmla="*/ 95 h 141"/>
                  <a:gd name="T36" fmla="*/ 162 w 206"/>
                  <a:gd name="T37" fmla="*/ 95 h 141"/>
                  <a:gd name="T38" fmla="*/ 157 w 206"/>
                  <a:gd name="T39" fmla="*/ 95 h 141"/>
                  <a:gd name="T40" fmla="*/ 149 w 206"/>
                  <a:gd name="T41" fmla="*/ 99 h 141"/>
                  <a:gd name="T42" fmla="*/ 141 w 206"/>
                  <a:gd name="T43" fmla="*/ 101 h 141"/>
                  <a:gd name="T44" fmla="*/ 132 w 206"/>
                  <a:gd name="T45" fmla="*/ 101 h 141"/>
                  <a:gd name="T46" fmla="*/ 124 w 206"/>
                  <a:gd name="T47" fmla="*/ 110 h 141"/>
                  <a:gd name="T48" fmla="*/ 113 w 206"/>
                  <a:gd name="T49" fmla="*/ 108 h 141"/>
                  <a:gd name="T50" fmla="*/ 99 w 206"/>
                  <a:gd name="T51" fmla="*/ 104 h 141"/>
                  <a:gd name="T52" fmla="*/ 92 w 206"/>
                  <a:gd name="T53" fmla="*/ 97 h 141"/>
                  <a:gd name="T54" fmla="*/ 78 w 206"/>
                  <a:gd name="T55" fmla="*/ 93 h 141"/>
                  <a:gd name="T56" fmla="*/ 71 w 206"/>
                  <a:gd name="T57" fmla="*/ 101 h 141"/>
                  <a:gd name="T58" fmla="*/ 67 w 206"/>
                  <a:gd name="T59" fmla="*/ 112 h 141"/>
                  <a:gd name="T60" fmla="*/ 61 w 206"/>
                  <a:gd name="T61" fmla="*/ 120 h 141"/>
                  <a:gd name="T62" fmla="*/ 54 w 206"/>
                  <a:gd name="T63" fmla="*/ 118 h 141"/>
                  <a:gd name="T64" fmla="*/ 44 w 206"/>
                  <a:gd name="T65" fmla="*/ 118 h 141"/>
                  <a:gd name="T66" fmla="*/ 33 w 206"/>
                  <a:gd name="T67" fmla="*/ 125 h 141"/>
                  <a:gd name="T68" fmla="*/ 25 w 206"/>
                  <a:gd name="T69" fmla="*/ 135 h 141"/>
                  <a:gd name="T70" fmla="*/ 27 w 206"/>
                  <a:gd name="T71" fmla="*/ 129 h 141"/>
                  <a:gd name="T72" fmla="*/ 12 w 206"/>
                  <a:gd name="T73" fmla="*/ 110 h 141"/>
                  <a:gd name="T74" fmla="*/ 4 w 206"/>
                  <a:gd name="T75" fmla="*/ 103 h 141"/>
                  <a:gd name="T76" fmla="*/ 2 w 206"/>
                  <a:gd name="T77" fmla="*/ 89 h 141"/>
                  <a:gd name="T78" fmla="*/ 0 w 206"/>
                  <a:gd name="T79" fmla="*/ 78 h 141"/>
                  <a:gd name="T80" fmla="*/ 12 w 206"/>
                  <a:gd name="T81" fmla="*/ 64 h 141"/>
                  <a:gd name="T82" fmla="*/ 21 w 206"/>
                  <a:gd name="T83" fmla="*/ 55 h 141"/>
                  <a:gd name="T84" fmla="*/ 29 w 206"/>
                  <a:gd name="T85" fmla="*/ 53 h 141"/>
                  <a:gd name="T86" fmla="*/ 37 w 206"/>
                  <a:gd name="T87" fmla="*/ 53 h 141"/>
                  <a:gd name="T88" fmla="*/ 44 w 206"/>
                  <a:gd name="T89" fmla="*/ 51 h 141"/>
                  <a:gd name="T90" fmla="*/ 52 w 206"/>
                  <a:gd name="T91" fmla="*/ 47 h 141"/>
                  <a:gd name="T92" fmla="*/ 71 w 206"/>
                  <a:gd name="T93" fmla="*/ 43 h 141"/>
                  <a:gd name="T94" fmla="*/ 71 w 206"/>
                  <a:gd name="T95" fmla="*/ 34 h 141"/>
                  <a:gd name="T96" fmla="*/ 82 w 206"/>
                  <a:gd name="T97" fmla="*/ 32 h 141"/>
                  <a:gd name="T98" fmla="*/ 90 w 206"/>
                  <a:gd name="T99" fmla="*/ 30 h 141"/>
                  <a:gd name="T100" fmla="*/ 98 w 206"/>
                  <a:gd name="T101" fmla="*/ 28 h 141"/>
                  <a:gd name="T102" fmla="*/ 103 w 206"/>
                  <a:gd name="T103" fmla="*/ 22 h 141"/>
                  <a:gd name="T104" fmla="*/ 107 w 206"/>
                  <a:gd name="T105" fmla="*/ 19 h 141"/>
                  <a:gd name="T106" fmla="*/ 111 w 206"/>
                  <a:gd name="T107" fmla="*/ 17 h 141"/>
                  <a:gd name="T108" fmla="*/ 113 w 206"/>
                  <a:gd name="T109" fmla="*/ 13 h 141"/>
                  <a:gd name="T110" fmla="*/ 117 w 206"/>
                  <a:gd name="T111" fmla="*/ 3 h 141"/>
                  <a:gd name="T112" fmla="*/ 128 w 206"/>
                  <a:gd name="T113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6" h="141">
                    <a:moveTo>
                      <a:pt x="134" y="0"/>
                    </a:moveTo>
                    <a:lnTo>
                      <a:pt x="136" y="1"/>
                    </a:lnTo>
                    <a:lnTo>
                      <a:pt x="138" y="3"/>
                    </a:lnTo>
                    <a:lnTo>
                      <a:pt x="138" y="5"/>
                    </a:lnTo>
                    <a:lnTo>
                      <a:pt x="139" y="5"/>
                    </a:lnTo>
                    <a:lnTo>
                      <a:pt x="141" y="7"/>
                    </a:lnTo>
                    <a:lnTo>
                      <a:pt x="147" y="17"/>
                    </a:lnTo>
                    <a:lnTo>
                      <a:pt x="147" y="21"/>
                    </a:lnTo>
                    <a:lnTo>
                      <a:pt x="147" y="22"/>
                    </a:lnTo>
                    <a:lnTo>
                      <a:pt x="147" y="24"/>
                    </a:lnTo>
                    <a:lnTo>
                      <a:pt x="147" y="26"/>
                    </a:lnTo>
                    <a:lnTo>
                      <a:pt x="147" y="28"/>
                    </a:lnTo>
                    <a:lnTo>
                      <a:pt x="145" y="28"/>
                    </a:lnTo>
                    <a:lnTo>
                      <a:pt x="143" y="28"/>
                    </a:lnTo>
                    <a:lnTo>
                      <a:pt x="143" y="30"/>
                    </a:lnTo>
                    <a:lnTo>
                      <a:pt x="143" y="32"/>
                    </a:lnTo>
                    <a:lnTo>
                      <a:pt x="145" y="32"/>
                    </a:lnTo>
                    <a:lnTo>
                      <a:pt x="145" y="34"/>
                    </a:lnTo>
                    <a:lnTo>
                      <a:pt x="145" y="36"/>
                    </a:lnTo>
                    <a:lnTo>
                      <a:pt x="147" y="36"/>
                    </a:lnTo>
                    <a:lnTo>
                      <a:pt x="149" y="36"/>
                    </a:lnTo>
                    <a:lnTo>
                      <a:pt x="151" y="36"/>
                    </a:lnTo>
                    <a:lnTo>
                      <a:pt x="153" y="36"/>
                    </a:lnTo>
                    <a:lnTo>
                      <a:pt x="155" y="36"/>
                    </a:lnTo>
                    <a:lnTo>
                      <a:pt x="157" y="36"/>
                    </a:lnTo>
                    <a:lnTo>
                      <a:pt x="157" y="38"/>
                    </a:lnTo>
                    <a:lnTo>
                      <a:pt x="155" y="40"/>
                    </a:lnTo>
                    <a:lnTo>
                      <a:pt x="155" y="42"/>
                    </a:lnTo>
                    <a:lnTo>
                      <a:pt x="155" y="43"/>
                    </a:lnTo>
                    <a:lnTo>
                      <a:pt x="157" y="43"/>
                    </a:lnTo>
                    <a:lnTo>
                      <a:pt x="159" y="43"/>
                    </a:lnTo>
                    <a:lnTo>
                      <a:pt x="160" y="43"/>
                    </a:lnTo>
                    <a:lnTo>
                      <a:pt x="162" y="43"/>
                    </a:lnTo>
                    <a:lnTo>
                      <a:pt x="164" y="45"/>
                    </a:lnTo>
                    <a:lnTo>
                      <a:pt x="166" y="45"/>
                    </a:lnTo>
                    <a:lnTo>
                      <a:pt x="166" y="47"/>
                    </a:lnTo>
                    <a:lnTo>
                      <a:pt x="168" y="47"/>
                    </a:lnTo>
                    <a:lnTo>
                      <a:pt x="170" y="49"/>
                    </a:lnTo>
                    <a:lnTo>
                      <a:pt x="172" y="49"/>
                    </a:lnTo>
                    <a:lnTo>
                      <a:pt x="172" y="51"/>
                    </a:lnTo>
                    <a:lnTo>
                      <a:pt x="172" y="53"/>
                    </a:lnTo>
                    <a:lnTo>
                      <a:pt x="174" y="53"/>
                    </a:lnTo>
                    <a:lnTo>
                      <a:pt x="172" y="53"/>
                    </a:lnTo>
                    <a:lnTo>
                      <a:pt x="170" y="55"/>
                    </a:lnTo>
                    <a:lnTo>
                      <a:pt x="172" y="55"/>
                    </a:lnTo>
                    <a:lnTo>
                      <a:pt x="174" y="57"/>
                    </a:lnTo>
                    <a:lnTo>
                      <a:pt x="174" y="59"/>
                    </a:lnTo>
                    <a:lnTo>
                      <a:pt x="176" y="59"/>
                    </a:lnTo>
                    <a:lnTo>
                      <a:pt x="178" y="59"/>
                    </a:lnTo>
                    <a:lnTo>
                      <a:pt x="178" y="61"/>
                    </a:lnTo>
                    <a:lnTo>
                      <a:pt x="180" y="61"/>
                    </a:lnTo>
                    <a:lnTo>
                      <a:pt x="181" y="61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5" y="64"/>
                    </a:lnTo>
                    <a:lnTo>
                      <a:pt x="185" y="66"/>
                    </a:lnTo>
                    <a:lnTo>
                      <a:pt x="187" y="66"/>
                    </a:lnTo>
                    <a:lnTo>
                      <a:pt x="187" y="68"/>
                    </a:lnTo>
                    <a:lnTo>
                      <a:pt x="189" y="68"/>
                    </a:lnTo>
                    <a:lnTo>
                      <a:pt x="191" y="70"/>
                    </a:lnTo>
                    <a:lnTo>
                      <a:pt x="189" y="72"/>
                    </a:lnTo>
                    <a:lnTo>
                      <a:pt x="189" y="74"/>
                    </a:lnTo>
                    <a:lnTo>
                      <a:pt x="191" y="74"/>
                    </a:lnTo>
                    <a:lnTo>
                      <a:pt x="191" y="76"/>
                    </a:lnTo>
                    <a:lnTo>
                      <a:pt x="193" y="76"/>
                    </a:lnTo>
                    <a:lnTo>
                      <a:pt x="193" y="78"/>
                    </a:lnTo>
                    <a:lnTo>
                      <a:pt x="191" y="78"/>
                    </a:lnTo>
                    <a:lnTo>
                      <a:pt x="193" y="78"/>
                    </a:lnTo>
                    <a:lnTo>
                      <a:pt x="193" y="80"/>
                    </a:lnTo>
                    <a:lnTo>
                      <a:pt x="195" y="80"/>
                    </a:lnTo>
                    <a:lnTo>
                      <a:pt x="197" y="80"/>
                    </a:lnTo>
                    <a:lnTo>
                      <a:pt x="197" y="82"/>
                    </a:lnTo>
                    <a:lnTo>
                      <a:pt x="199" y="82"/>
                    </a:lnTo>
                    <a:lnTo>
                      <a:pt x="201" y="82"/>
                    </a:lnTo>
                    <a:lnTo>
                      <a:pt x="201" y="84"/>
                    </a:lnTo>
                    <a:lnTo>
                      <a:pt x="202" y="84"/>
                    </a:lnTo>
                    <a:lnTo>
                      <a:pt x="202" y="85"/>
                    </a:lnTo>
                    <a:lnTo>
                      <a:pt x="204" y="85"/>
                    </a:lnTo>
                    <a:lnTo>
                      <a:pt x="204" y="87"/>
                    </a:lnTo>
                    <a:lnTo>
                      <a:pt x="204" y="89"/>
                    </a:lnTo>
                    <a:lnTo>
                      <a:pt x="204" y="91"/>
                    </a:lnTo>
                    <a:lnTo>
                      <a:pt x="204" y="93"/>
                    </a:lnTo>
                    <a:lnTo>
                      <a:pt x="206" y="93"/>
                    </a:lnTo>
                    <a:lnTo>
                      <a:pt x="206" y="95"/>
                    </a:lnTo>
                    <a:lnTo>
                      <a:pt x="204" y="93"/>
                    </a:lnTo>
                    <a:lnTo>
                      <a:pt x="202" y="93"/>
                    </a:lnTo>
                    <a:lnTo>
                      <a:pt x="201" y="93"/>
                    </a:lnTo>
                    <a:lnTo>
                      <a:pt x="199" y="93"/>
                    </a:lnTo>
                    <a:lnTo>
                      <a:pt x="199" y="95"/>
                    </a:lnTo>
                    <a:lnTo>
                      <a:pt x="197" y="95"/>
                    </a:lnTo>
                    <a:lnTo>
                      <a:pt x="195" y="95"/>
                    </a:lnTo>
                    <a:lnTo>
                      <a:pt x="193" y="95"/>
                    </a:lnTo>
                    <a:lnTo>
                      <a:pt x="191" y="95"/>
                    </a:lnTo>
                    <a:lnTo>
                      <a:pt x="191" y="93"/>
                    </a:lnTo>
                    <a:lnTo>
                      <a:pt x="189" y="93"/>
                    </a:lnTo>
                    <a:lnTo>
                      <a:pt x="187" y="93"/>
                    </a:lnTo>
                    <a:lnTo>
                      <a:pt x="187" y="91"/>
                    </a:lnTo>
                    <a:lnTo>
                      <a:pt x="187" y="93"/>
                    </a:lnTo>
                    <a:lnTo>
                      <a:pt x="187" y="91"/>
                    </a:lnTo>
                    <a:lnTo>
                      <a:pt x="185" y="91"/>
                    </a:lnTo>
                    <a:lnTo>
                      <a:pt x="185" y="93"/>
                    </a:lnTo>
                    <a:lnTo>
                      <a:pt x="183" y="93"/>
                    </a:lnTo>
                    <a:lnTo>
                      <a:pt x="183" y="91"/>
                    </a:lnTo>
                    <a:lnTo>
                      <a:pt x="183" y="93"/>
                    </a:lnTo>
                    <a:lnTo>
                      <a:pt x="183" y="91"/>
                    </a:lnTo>
                    <a:lnTo>
                      <a:pt x="183" y="93"/>
                    </a:lnTo>
                    <a:lnTo>
                      <a:pt x="181" y="93"/>
                    </a:lnTo>
                    <a:lnTo>
                      <a:pt x="181" y="91"/>
                    </a:lnTo>
                    <a:lnTo>
                      <a:pt x="180" y="91"/>
                    </a:lnTo>
                    <a:lnTo>
                      <a:pt x="181" y="91"/>
                    </a:lnTo>
                    <a:lnTo>
                      <a:pt x="180" y="91"/>
                    </a:lnTo>
                    <a:lnTo>
                      <a:pt x="178" y="91"/>
                    </a:lnTo>
                    <a:lnTo>
                      <a:pt x="178" y="89"/>
                    </a:lnTo>
                    <a:lnTo>
                      <a:pt x="178" y="91"/>
                    </a:lnTo>
                    <a:lnTo>
                      <a:pt x="178" y="89"/>
                    </a:lnTo>
                    <a:lnTo>
                      <a:pt x="176" y="89"/>
                    </a:lnTo>
                    <a:lnTo>
                      <a:pt x="176" y="91"/>
                    </a:lnTo>
                    <a:lnTo>
                      <a:pt x="176" y="89"/>
                    </a:lnTo>
                    <a:lnTo>
                      <a:pt x="176" y="91"/>
                    </a:lnTo>
                    <a:lnTo>
                      <a:pt x="174" y="91"/>
                    </a:lnTo>
                    <a:lnTo>
                      <a:pt x="174" y="93"/>
                    </a:lnTo>
                    <a:lnTo>
                      <a:pt x="174" y="95"/>
                    </a:lnTo>
                    <a:lnTo>
                      <a:pt x="172" y="95"/>
                    </a:lnTo>
                    <a:lnTo>
                      <a:pt x="170" y="95"/>
                    </a:lnTo>
                    <a:lnTo>
                      <a:pt x="170" y="97"/>
                    </a:lnTo>
                    <a:lnTo>
                      <a:pt x="168" y="97"/>
                    </a:lnTo>
                    <a:lnTo>
                      <a:pt x="166" y="97"/>
                    </a:lnTo>
                    <a:lnTo>
                      <a:pt x="164" y="97"/>
                    </a:lnTo>
                    <a:lnTo>
                      <a:pt x="162" y="97"/>
                    </a:lnTo>
                    <a:lnTo>
                      <a:pt x="162" y="95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3"/>
                    </a:lnTo>
                    <a:lnTo>
                      <a:pt x="159" y="95"/>
                    </a:lnTo>
                    <a:lnTo>
                      <a:pt x="157" y="95"/>
                    </a:lnTo>
                    <a:lnTo>
                      <a:pt x="159" y="95"/>
                    </a:lnTo>
                    <a:lnTo>
                      <a:pt x="157" y="95"/>
                    </a:lnTo>
                    <a:lnTo>
                      <a:pt x="157" y="97"/>
                    </a:lnTo>
                    <a:lnTo>
                      <a:pt x="155" y="97"/>
                    </a:lnTo>
                    <a:lnTo>
                      <a:pt x="153" y="99"/>
                    </a:lnTo>
                    <a:lnTo>
                      <a:pt x="153" y="97"/>
                    </a:lnTo>
                    <a:lnTo>
                      <a:pt x="151" y="97"/>
                    </a:lnTo>
                    <a:lnTo>
                      <a:pt x="151" y="99"/>
                    </a:lnTo>
                    <a:lnTo>
                      <a:pt x="149" y="99"/>
                    </a:lnTo>
                    <a:lnTo>
                      <a:pt x="147" y="99"/>
                    </a:lnTo>
                    <a:lnTo>
                      <a:pt x="145" y="99"/>
                    </a:lnTo>
                    <a:lnTo>
                      <a:pt x="145" y="101"/>
                    </a:lnTo>
                    <a:lnTo>
                      <a:pt x="143" y="101"/>
                    </a:lnTo>
                    <a:lnTo>
                      <a:pt x="143" y="103"/>
                    </a:lnTo>
                    <a:lnTo>
                      <a:pt x="141" y="103"/>
                    </a:lnTo>
                    <a:lnTo>
                      <a:pt x="141" y="101"/>
                    </a:lnTo>
                    <a:lnTo>
                      <a:pt x="141" y="103"/>
                    </a:lnTo>
                    <a:lnTo>
                      <a:pt x="139" y="101"/>
                    </a:lnTo>
                    <a:lnTo>
                      <a:pt x="138" y="101"/>
                    </a:lnTo>
                    <a:lnTo>
                      <a:pt x="136" y="99"/>
                    </a:lnTo>
                    <a:lnTo>
                      <a:pt x="134" y="99"/>
                    </a:lnTo>
                    <a:lnTo>
                      <a:pt x="134" y="101"/>
                    </a:lnTo>
                    <a:lnTo>
                      <a:pt x="132" y="101"/>
                    </a:lnTo>
                    <a:lnTo>
                      <a:pt x="132" y="103"/>
                    </a:lnTo>
                    <a:lnTo>
                      <a:pt x="132" y="104"/>
                    </a:lnTo>
                    <a:lnTo>
                      <a:pt x="130" y="104"/>
                    </a:lnTo>
                    <a:lnTo>
                      <a:pt x="130" y="106"/>
                    </a:lnTo>
                    <a:lnTo>
                      <a:pt x="130" y="108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2" y="110"/>
                    </a:lnTo>
                    <a:lnTo>
                      <a:pt x="122" y="108"/>
                    </a:lnTo>
                    <a:lnTo>
                      <a:pt x="120" y="108"/>
                    </a:lnTo>
                    <a:lnTo>
                      <a:pt x="119" y="108"/>
                    </a:lnTo>
                    <a:lnTo>
                      <a:pt x="117" y="106"/>
                    </a:lnTo>
                    <a:lnTo>
                      <a:pt x="115" y="106"/>
                    </a:lnTo>
                    <a:lnTo>
                      <a:pt x="113" y="108"/>
                    </a:lnTo>
                    <a:lnTo>
                      <a:pt x="111" y="106"/>
                    </a:lnTo>
                    <a:lnTo>
                      <a:pt x="109" y="106"/>
                    </a:lnTo>
                    <a:lnTo>
                      <a:pt x="107" y="106"/>
                    </a:lnTo>
                    <a:lnTo>
                      <a:pt x="105" y="106"/>
                    </a:lnTo>
                    <a:lnTo>
                      <a:pt x="103" y="104"/>
                    </a:lnTo>
                    <a:lnTo>
                      <a:pt x="101" y="104"/>
                    </a:lnTo>
                    <a:lnTo>
                      <a:pt x="99" y="104"/>
                    </a:lnTo>
                    <a:lnTo>
                      <a:pt x="98" y="104"/>
                    </a:lnTo>
                    <a:lnTo>
                      <a:pt x="96" y="103"/>
                    </a:lnTo>
                    <a:lnTo>
                      <a:pt x="96" y="101"/>
                    </a:lnTo>
                    <a:lnTo>
                      <a:pt x="94" y="101"/>
                    </a:lnTo>
                    <a:lnTo>
                      <a:pt x="94" y="99"/>
                    </a:lnTo>
                    <a:lnTo>
                      <a:pt x="92" y="99"/>
                    </a:lnTo>
                    <a:lnTo>
                      <a:pt x="92" y="97"/>
                    </a:lnTo>
                    <a:lnTo>
                      <a:pt x="90" y="97"/>
                    </a:lnTo>
                    <a:lnTo>
                      <a:pt x="88" y="97"/>
                    </a:lnTo>
                    <a:lnTo>
                      <a:pt x="86" y="95"/>
                    </a:lnTo>
                    <a:lnTo>
                      <a:pt x="84" y="93"/>
                    </a:lnTo>
                    <a:lnTo>
                      <a:pt x="82" y="93"/>
                    </a:lnTo>
                    <a:lnTo>
                      <a:pt x="80" y="93"/>
                    </a:lnTo>
                    <a:lnTo>
                      <a:pt x="78" y="93"/>
                    </a:lnTo>
                    <a:lnTo>
                      <a:pt x="78" y="95"/>
                    </a:lnTo>
                    <a:lnTo>
                      <a:pt x="77" y="95"/>
                    </a:lnTo>
                    <a:lnTo>
                      <a:pt x="77" y="97"/>
                    </a:lnTo>
                    <a:lnTo>
                      <a:pt x="75" y="97"/>
                    </a:lnTo>
                    <a:lnTo>
                      <a:pt x="73" y="99"/>
                    </a:lnTo>
                    <a:lnTo>
                      <a:pt x="73" y="101"/>
                    </a:lnTo>
                    <a:lnTo>
                      <a:pt x="71" y="101"/>
                    </a:lnTo>
                    <a:lnTo>
                      <a:pt x="71" y="103"/>
                    </a:lnTo>
                    <a:lnTo>
                      <a:pt x="69" y="104"/>
                    </a:lnTo>
                    <a:lnTo>
                      <a:pt x="67" y="106"/>
                    </a:lnTo>
                    <a:lnTo>
                      <a:pt x="65" y="106"/>
                    </a:lnTo>
                    <a:lnTo>
                      <a:pt x="67" y="108"/>
                    </a:lnTo>
                    <a:lnTo>
                      <a:pt x="67" y="110"/>
                    </a:lnTo>
                    <a:lnTo>
                      <a:pt x="67" y="112"/>
                    </a:lnTo>
                    <a:lnTo>
                      <a:pt x="67" y="114"/>
                    </a:lnTo>
                    <a:lnTo>
                      <a:pt x="65" y="116"/>
                    </a:lnTo>
                    <a:lnTo>
                      <a:pt x="67" y="120"/>
                    </a:lnTo>
                    <a:lnTo>
                      <a:pt x="65" y="118"/>
                    </a:lnTo>
                    <a:lnTo>
                      <a:pt x="63" y="118"/>
                    </a:lnTo>
                    <a:lnTo>
                      <a:pt x="61" y="118"/>
                    </a:lnTo>
                    <a:lnTo>
                      <a:pt x="61" y="120"/>
                    </a:lnTo>
                    <a:lnTo>
                      <a:pt x="59" y="120"/>
                    </a:lnTo>
                    <a:lnTo>
                      <a:pt x="59" y="118"/>
                    </a:lnTo>
                    <a:lnTo>
                      <a:pt x="57" y="118"/>
                    </a:lnTo>
                    <a:lnTo>
                      <a:pt x="57" y="120"/>
                    </a:lnTo>
                    <a:lnTo>
                      <a:pt x="56" y="118"/>
                    </a:lnTo>
                    <a:lnTo>
                      <a:pt x="54" y="120"/>
                    </a:lnTo>
                    <a:lnTo>
                      <a:pt x="54" y="118"/>
                    </a:lnTo>
                    <a:lnTo>
                      <a:pt x="52" y="118"/>
                    </a:lnTo>
                    <a:lnTo>
                      <a:pt x="50" y="118"/>
                    </a:lnTo>
                    <a:lnTo>
                      <a:pt x="50" y="116"/>
                    </a:lnTo>
                    <a:lnTo>
                      <a:pt x="48" y="116"/>
                    </a:lnTo>
                    <a:lnTo>
                      <a:pt x="48" y="118"/>
                    </a:lnTo>
                    <a:lnTo>
                      <a:pt x="46" y="118"/>
                    </a:lnTo>
                    <a:lnTo>
                      <a:pt x="44" y="118"/>
                    </a:lnTo>
                    <a:lnTo>
                      <a:pt x="40" y="120"/>
                    </a:lnTo>
                    <a:lnTo>
                      <a:pt x="38" y="118"/>
                    </a:lnTo>
                    <a:lnTo>
                      <a:pt x="38" y="120"/>
                    </a:lnTo>
                    <a:lnTo>
                      <a:pt x="37" y="120"/>
                    </a:lnTo>
                    <a:lnTo>
                      <a:pt x="35" y="120"/>
                    </a:lnTo>
                    <a:lnTo>
                      <a:pt x="35" y="122"/>
                    </a:lnTo>
                    <a:lnTo>
                      <a:pt x="33" y="125"/>
                    </a:lnTo>
                    <a:lnTo>
                      <a:pt x="33" y="127"/>
                    </a:lnTo>
                    <a:lnTo>
                      <a:pt x="33" y="129"/>
                    </a:lnTo>
                    <a:lnTo>
                      <a:pt x="29" y="141"/>
                    </a:lnTo>
                    <a:lnTo>
                      <a:pt x="27" y="139"/>
                    </a:lnTo>
                    <a:lnTo>
                      <a:pt x="27" y="137"/>
                    </a:lnTo>
                    <a:lnTo>
                      <a:pt x="27" y="135"/>
                    </a:lnTo>
                    <a:lnTo>
                      <a:pt x="25" y="135"/>
                    </a:lnTo>
                    <a:lnTo>
                      <a:pt x="27" y="135"/>
                    </a:lnTo>
                    <a:lnTo>
                      <a:pt x="25" y="133"/>
                    </a:lnTo>
                    <a:lnTo>
                      <a:pt x="27" y="133"/>
                    </a:lnTo>
                    <a:lnTo>
                      <a:pt x="25" y="133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7" y="129"/>
                    </a:lnTo>
                    <a:lnTo>
                      <a:pt x="25" y="127"/>
                    </a:lnTo>
                    <a:lnTo>
                      <a:pt x="23" y="125"/>
                    </a:lnTo>
                    <a:lnTo>
                      <a:pt x="21" y="125"/>
                    </a:lnTo>
                    <a:lnTo>
                      <a:pt x="17" y="120"/>
                    </a:lnTo>
                    <a:lnTo>
                      <a:pt x="14" y="116"/>
                    </a:lnTo>
                    <a:lnTo>
                      <a:pt x="10" y="112"/>
                    </a:lnTo>
                    <a:lnTo>
                      <a:pt x="12" y="110"/>
                    </a:lnTo>
                    <a:lnTo>
                      <a:pt x="10" y="110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0" y="104"/>
                    </a:lnTo>
                    <a:lnTo>
                      <a:pt x="8" y="104"/>
                    </a:lnTo>
                    <a:lnTo>
                      <a:pt x="6" y="103"/>
                    </a:lnTo>
                    <a:lnTo>
                      <a:pt x="4" y="103"/>
                    </a:lnTo>
                    <a:lnTo>
                      <a:pt x="4" y="101"/>
                    </a:lnTo>
                    <a:lnTo>
                      <a:pt x="4" y="99"/>
                    </a:lnTo>
                    <a:lnTo>
                      <a:pt x="4" y="97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2" y="91"/>
                    </a:lnTo>
                    <a:lnTo>
                      <a:pt x="2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2" y="76"/>
                    </a:lnTo>
                    <a:lnTo>
                      <a:pt x="4" y="76"/>
                    </a:lnTo>
                    <a:lnTo>
                      <a:pt x="6" y="76"/>
                    </a:lnTo>
                    <a:lnTo>
                      <a:pt x="6" y="74"/>
                    </a:lnTo>
                    <a:lnTo>
                      <a:pt x="8" y="68"/>
                    </a:lnTo>
                    <a:lnTo>
                      <a:pt x="10" y="68"/>
                    </a:lnTo>
                    <a:lnTo>
                      <a:pt x="12" y="64"/>
                    </a:lnTo>
                    <a:lnTo>
                      <a:pt x="12" y="63"/>
                    </a:lnTo>
                    <a:lnTo>
                      <a:pt x="12" y="61"/>
                    </a:lnTo>
                    <a:lnTo>
                      <a:pt x="14" y="61"/>
                    </a:lnTo>
                    <a:lnTo>
                      <a:pt x="12" y="61"/>
                    </a:lnTo>
                    <a:lnTo>
                      <a:pt x="16" y="57"/>
                    </a:lnTo>
                    <a:lnTo>
                      <a:pt x="17" y="55"/>
                    </a:lnTo>
                    <a:lnTo>
                      <a:pt x="21" y="55"/>
                    </a:lnTo>
                    <a:lnTo>
                      <a:pt x="21" y="57"/>
                    </a:lnTo>
                    <a:lnTo>
                      <a:pt x="25" y="57"/>
                    </a:lnTo>
                    <a:lnTo>
                      <a:pt x="25" y="55"/>
                    </a:lnTo>
                    <a:lnTo>
                      <a:pt x="27" y="55"/>
                    </a:lnTo>
                    <a:lnTo>
                      <a:pt x="27" y="53"/>
                    </a:lnTo>
                    <a:lnTo>
                      <a:pt x="29" y="55"/>
                    </a:lnTo>
                    <a:lnTo>
                      <a:pt x="29" y="53"/>
                    </a:lnTo>
                    <a:lnTo>
                      <a:pt x="31" y="53"/>
                    </a:lnTo>
                    <a:lnTo>
                      <a:pt x="31" y="51"/>
                    </a:lnTo>
                    <a:lnTo>
                      <a:pt x="33" y="51"/>
                    </a:lnTo>
                    <a:lnTo>
                      <a:pt x="35" y="49"/>
                    </a:lnTo>
                    <a:lnTo>
                      <a:pt x="35" y="51"/>
                    </a:lnTo>
                    <a:lnTo>
                      <a:pt x="35" y="53"/>
                    </a:lnTo>
                    <a:lnTo>
                      <a:pt x="37" y="53"/>
                    </a:lnTo>
                    <a:lnTo>
                      <a:pt x="38" y="55"/>
                    </a:lnTo>
                    <a:lnTo>
                      <a:pt x="38" y="53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2" y="53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6" y="51"/>
                    </a:lnTo>
                    <a:lnTo>
                      <a:pt x="46" y="49"/>
                    </a:lnTo>
                    <a:lnTo>
                      <a:pt x="48" y="51"/>
                    </a:lnTo>
                    <a:lnTo>
                      <a:pt x="48" y="49"/>
                    </a:lnTo>
                    <a:lnTo>
                      <a:pt x="50" y="49"/>
                    </a:lnTo>
                    <a:lnTo>
                      <a:pt x="52" y="49"/>
                    </a:lnTo>
                    <a:lnTo>
                      <a:pt x="52" y="47"/>
                    </a:lnTo>
                    <a:lnTo>
                      <a:pt x="56" y="49"/>
                    </a:lnTo>
                    <a:lnTo>
                      <a:pt x="57" y="47"/>
                    </a:lnTo>
                    <a:lnTo>
                      <a:pt x="67" y="47"/>
                    </a:lnTo>
                    <a:lnTo>
                      <a:pt x="67" y="45"/>
                    </a:lnTo>
                    <a:lnTo>
                      <a:pt x="67" y="43"/>
                    </a:lnTo>
                    <a:lnTo>
                      <a:pt x="69" y="43"/>
                    </a:lnTo>
                    <a:lnTo>
                      <a:pt x="71" y="43"/>
                    </a:lnTo>
                    <a:lnTo>
                      <a:pt x="71" y="42"/>
                    </a:lnTo>
                    <a:lnTo>
                      <a:pt x="73" y="40"/>
                    </a:lnTo>
                    <a:lnTo>
                      <a:pt x="75" y="38"/>
                    </a:lnTo>
                    <a:lnTo>
                      <a:pt x="75" y="36"/>
                    </a:lnTo>
                    <a:lnTo>
                      <a:pt x="73" y="36"/>
                    </a:lnTo>
                    <a:lnTo>
                      <a:pt x="73" y="34"/>
                    </a:lnTo>
                    <a:lnTo>
                      <a:pt x="71" y="34"/>
                    </a:lnTo>
                    <a:lnTo>
                      <a:pt x="71" y="32"/>
                    </a:lnTo>
                    <a:lnTo>
                      <a:pt x="73" y="32"/>
                    </a:lnTo>
                    <a:lnTo>
                      <a:pt x="75" y="32"/>
                    </a:lnTo>
                    <a:lnTo>
                      <a:pt x="77" y="32"/>
                    </a:lnTo>
                    <a:lnTo>
                      <a:pt x="78" y="32"/>
                    </a:lnTo>
                    <a:lnTo>
                      <a:pt x="80" y="32"/>
                    </a:lnTo>
                    <a:lnTo>
                      <a:pt x="82" y="32"/>
                    </a:lnTo>
                    <a:lnTo>
                      <a:pt x="84" y="32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90" y="30"/>
                    </a:lnTo>
                    <a:lnTo>
                      <a:pt x="90" y="28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4" y="30"/>
                    </a:lnTo>
                    <a:lnTo>
                      <a:pt x="96" y="30"/>
                    </a:lnTo>
                    <a:lnTo>
                      <a:pt x="96" y="28"/>
                    </a:lnTo>
                    <a:lnTo>
                      <a:pt x="98" y="28"/>
                    </a:lnTo>
                    <a:lnTo>
                      <a:pt x="96" y="26"/>
                    </a:lnTo>
                    <a:lnTo>
                      <a:pt x="98" y="26"/>
                    </a:lnTo>
                    <a:lnTo>
                      <a:pt x="99" y="26"/>
                    </a:lnTo>
                    <a:lnTo>
                      <a:pt x="99" y="24"/>
                    </a:lnTo>
                    <a:lnTo>
                      <a:pt x="101" y="24"/>
                    </a:lnTo>
                    <a:lnTo>
                      <a:pt x="103" y="24"/>
                    </a:lnTo>
                    <a:lnTo>
                      <a:pt x="103" y="22"/>
                    </a:lnTo>
                    <a:lnTo>
                      <a:pt x="105" y="22"/>
                    </a:lnTo>
                    <a:lnTo>
                      <a:pt x="103" y="21"/>
                    </a:lnTo>
                    <a:lnTo>
                      <a:pt x="105" y="21"/>
                    </a:lnTo>
                    <a:lnTo>
                      <a:pt x="103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7" y="19"/>
                    </a:lnTo>
                    <a:lnTo>
                      <a:pt x="107" y="17"/>
                    </a:lnTo>
                    <a:lnTo>
                      <a:pt x="109" y="17"/>
                    </a:lnTo>
                    <a:lnTo>
                      <a:pt x="109" y="15"/>
                    </a:lnTo>
                    <a:lnTo>
                      <a:pt x="109" y="17"/>
                    </a:lnTo>
                    <a:lnTo>
                      <a:pt x="109" y="15"/>
                    </a:lnTo>
                    <a:lnTo>
                      <a:pt x="109" y="17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3"/>
                    </a:lnTo>
                    <a:lnTo>
                      <a:pt x="113" y="13"/>
                    </a:lnTo>
                    <a:lnTo>
                      <a:pt x="113" y="11"/>
                    </a:lnTo>
                    <a:lnTo>
                      <a:pt x="113" y="13"/>
                    </a:lnTo>
                    <a:lnTo>
                      <a:pt x="115" y="13"/>
                    </a:lnTo>
                    <a:lnTo>
                      <a:pt x="115" y="11"/>
                    </a:lnTo>
                    <a:lnTo>
                      <a:pt x="117" y="11"/>
                    </a:lnTo>
                    <a:lnTo>
                      <a:pt x="117" y="9"/>
                    </a:lnTo>
                    <a:lnTo>
                      <a:pt x="117" y="7"/>
                    </a:lnTo>
                    <a:lnTo>
                      <a:pt x="117" y="5"/>
                    </a:lnTo>
                    <a:lnTo>
                      <a:pt x="117" y="3"/>
                    </a:lnTo>
                    <a:lnTo>
                      <a:pt x="119" y="1"/>
                    </a:lnTo>
                    <a:lnTo>
                      <a:pt x="120" y="1"/>
                    </a:lnTo>
                    <a:lnTo>
                      <a:pt x="122" y="1"/>
                    </a:lnTo>
                    <a:lnTo>
                      <a:pt x="124" y="1"/>
                    </a:lnTo>
                    <a:lnTo>
                      <a:pt x="124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30" y="0"/>
                    </a:lnTo>
                    <a:lnTo>
                      <a:pt x="132" y="0"/>
                    </a:lnTo>
                    <a:lnTo>
                      <a:pt x="13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4" name="Freeform 213">
                <a:extLst>
                  <a:ext uri="{FF2B5EF4-FFF2-40B4-BE49-F238E27FC236}">
                    <a16:creationId xmlns:a16="http://schemas.microsoft.com/office/drawing/2014/main" id="{1452A99C-CECF-7902-ABF8-C59137DCC0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89691" y="-2189158"/>
                <a:ext cx="50420" cy="126283"/>
              </a:xfrm>
              <a:custGeom>
                <a:avLst/>
                <a:gdLst>
                  <a:gd name="T0" fmla="*/ 17 w 32"/>
                  <a:gd name="T1" fmla="*/ 3 h 80"/>
                  <a:gd name="T2" fmla="*/ 15 w 32"/>
                  <a:gd name="T3" fmla="*/ 7 h 80"/>
                  <a:gd name="T4" fmla="*/ 15 w 32"/>
                  <a:gd name="T5" fmla="*/ 11 h 80"/>
                  <a:gd name="T6" fmla="*/ 24 w 32"/>
                  <a:gd name="T7" fmla="*/ 17 h 80"/>
                  <a:gd name="T8" fmla="*/ 24 w 32"/>
                  <a:gd name="T9" fmla="*/ 24 h 80"/>
                  <a:gd name="T10" fmla="*/ 24 w 32"/>
                  <a:gd name="T11" fmla="*/ 28 h 80"/>
                  <a:gd name="T12" fmla="*/ 28 w 32"/>
                  <a:gd name="T13" fmla="*/ 30 h 80"/>
                  <a:gd name="T14" fmla="*/ 28 w 32"/>
                  <a:gd name="T15" fmla="*/ 40 h 80"/>
                  <a:gd name="T16" fmla="*/ 28 w 32"/>
                  <a:gd name="T17" fmla="*/ 44 h 80"/>
                  <a:gd name="T18" fmla="*/ 28 w 32"/>
                  <a:gd name="T19" fmla="*/ 55 h 80"/>
                  <a:gd name="T20" fmla="*/ 28 w 32"/>
                  <a:gd name="T21" fmla="*/ 59 h 80"/>
                  <a:gd name="T22" fmla="*/ 28 w 32"/>
                  <a:gd name="T23" fmla="*/ 68 h 80"/>
                  <a:gd name="T24" fmla="*/ 28 w 32"/>
                  <a:gd name="T25" fmla="*/ 72 h 80"/>
                  <a:gd name="T26" fmla="*/ 30 w 32"/>
                  <a:gd name="T27" fmla="*/ 74 h 80"/>
                  <a:gd name="T28" fmla="*/ 32 w 32"/>
                  <a:gd name="T29" fmla="*/ 78 h 80"/>
                  <a:gd name="T30" fmla="*/ 24 w 32"/>
                  <a:gd name="T31" fmla="*/ 80 h 80"/>
                  <a:gd name="T32" fmla="*/ 21 w 32"/>
                  <a:gd name="T33" fmla="*/ 80 h 80"/>
                  <a:gd name="T34" fmla="*/ 19 w 32"/>
                  <a:gd name="T35" fmla="*/ 76 h 80"/>
                  <a:gd name="T36" fmla="*/ 15 w 32"/>
                  <a:gd name="T37" fmla="*/ 76 h 80"/>
                  <a:gd name="T38" fmla="*/ 13 w 32"/>
                  <a:gd name="T39" fmla="*/ 74 h 80"/>
                  <a:gd name="T40" fmla="*/ 13 w 32"/>
                  <a:gd name="T41" fmla="*/ 72 h 80"/>
                  <a:gd name="T42" fmla="*/ 11 w 32"/>
                  <a:gd name="T43" fmla="*/ 70 h 80"/>
                  <a:gd name="T44" fmla="*/ 11 w 32"/>
                  <a:gd name="T45" fmla="*/ 66 h 80"/>
                  <a:gd name="T46" fmla="*/ 13 w 32"/>
                  <a:gd name="T47" fmla="*/ 65 h 80"/>
                  <a:gd name="T48" fmla="*/ 13 w 32"/>
                  <a:gd name="T49" fmla="*/ 63 h 80"/>
                  <a:gd name="T50" fmla="*/ 13 w 32"/>
                  <a:gd name="T51" fmla="*/ 59 h 80"/>
                  <a:gd name="T52" fmla="*/ 11 w 32"/>
                  <a:gd name="T53" fmla="*/ 57 h 80"/>
                  <a:gd name="T54" fmla="*/ 13 w 32"/>
                  <a:gd name="T55" fmla="*/ 55 h 80"/>
                  <a:gd name="T56" fmla="*/ 11 w 32"/>
                  <a:gd name="T57" fmla="*/ 49 h 80"/>
                  <a:gd name="T58" fmla="*/ 13 w 32"/>
                  <a:gd name="T59" fmla="*/ 47 h 80"/>
                  <a:gd name="T60" fmla="*/ 13 w 32"/>
                  <a:gd name="T61" fmla="*/ 45 h 80"/>
                  <a:gd name="T62" fmla="*/ 13 w 32"/>
                  <a:gd name="T63" fmla="*/ 44 h 80"/>
                  <a:gd name="T64" fmla="*/ 11 w 32"/>
                  <a:gd name="T65" fmla="*/ 42 h 80"/>
                  <a:gd name="T66" fmla="*/ 11 w 32"/>
                  <a:gd name="T67" fmla="*/ 42 h 80"/>
                  <a:gd name="T68" fmla="*/ 9 w 32"/>
                  <a:gd name="T69" fmla="*/ 40 h 80"/>
                  <a:gd name="T70" fmla="*/ 9 w 32"/>
                  <a:gd name="T71" fmla="*/ 36 h 80"/>
                  <a:gd name="T72" fmla="*/ 11 w 32"/>
                  <a:gd name="T73" fmla="*/ 36 h 80"/>
                  <a:gd name="T74" fmla="*/ 9 w 32"/>
                  <a:gd name="T75" fmla="*/ 32 h 80"/>
                  <a:gd name="T76" fmla="*/ 11 w 32"/>
                  <a:gd name="T77" fmla="*/ 30 h 80"/>
                  <a:gd name="T78" fmla="*/ 11 w 32"/>
                  <a:gd name="T79" fmla="*/ 26 h 80"/>
                  <a:gd name="T80" fmla="*/ 7 w 32"/>
                  <a:gd name="T81" fmla="*/ 26 h 80"/>
                  <a:gd name="T82" fmla="*/ 7 w 32"/>
                  <a:gd name="T83" fmla="*/ 26 h 80"/>
                  <a:gd name="T84" fmla="*/ 9 w 32"/>
                  <a:gd name="T85" fmla="*/ 24 h 80"/>
                  <a:gd name="T86" fmla="*/ 9 w 32"/>
                  <a:gd name="T87" fmla="*/ 23 h 80"/>
                  <a:gd name="T88" fmla="*/ 7 w 32"/>
                  <a:gd name="T89" fmla="*/ 21 h 80"/>
                  <a:gd name="T90" fmla="*/ 9 w 32"/>
                  <a:gd name="T91" fmla="*/ 19 h 80"/>
                  <a:gd name="T92" fmla="*/ 9 w 32"/>
                  <a:gd name="T93" fmla="*/ 17 h 80"/>
                  <a:gd name="T94" fmla="*/ 9 w 32"/>
                  <a:gd name="T95" fmla="*/ 13 h 80"/>
                  <a:gd name="T96" fmla="*/ 7 w 32"/>
                  <a:gd name="T97" fmla="*/ 11 h 80"/>
                  <a:gd name="T98" fmla="*/ 5 w 32"/>
                  <a:gd name="T99" fmla="*/ 9 h 80"/>
                  <a:gd name="T100" fmla="*/ 3 w 32"/>
                  <a:gd name="T101" fmla="*/ 7 h 80"/>
                  <a:gd name="T102" fmla="*/ 2 w 32"/>
                  <a:gd name="T103" fmla="*/ 5 h 80"/>
                  <a:gd name="T104" fmla="*/ 2 w 32"/>
                  <a:gd name="T105" fmla="*/ 2 h 80"/>
                  <a:gd name="T106" fmla="*/ 3 w 32"/>
                  <a:gd name="T107" fmla="*/ 0 h 80"/>
                  <a:gd name="T108" fmla="*/ 0 w 32"/>
                  <a:gd name="T109" fmla="*/ 0 h 80"/>
                  <a:gd name="T110" fmla="*/ 13 w 32"/>
                  <a:gd name="T111" fmla="*/ 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" h="80">
                    <a:moveTo>
                      <a:pt x="17" y="2"/>
                    </a:moveTo>
                    <a:lnTo>
                      <a:pt x="17" y="3"/>
                    </a:lnTo>
                    <a:lnTo>
                      <a:pt x="15" y="5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19" y="15"/>
                    </a:lnTo>
                    <a:lnTo>
                      <a:pt x="24" y="17"/>
                    </a:lnTo>
                    <a:lnTo>
                      <a:pt x="24" y="23"/>
                    </a:lnTo>
                    <a:lnTo>
                      <a:pt x="24" y="24"/>
                    </a:lnTo>
                    <a:lnTo>
                      <a:pt x="24" y="26"/>
                    </a:lnTo>
                    <a:lnTo>
                      <a:pt x="24" y="28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40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8" y="47"/>
                    </a:lnTo>
                    <a:lnTo>
                      <a:pt x="28" y="55"/>
                    </a:lnTo>
                    <a:lnTo>
                      <a:pt x="28" y="57"/>
                    </a:lnTo>
                    <a:lnTo>
                      <a:pt x="28" y="59"/>
                    </a:lnTo>
                    <a:lnTo>
                      <a:pt x="28" y="66"/>
                    </a:lnTo>
                    <a:lnTo>
                      <a:pt x="28" y="68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0" y="74"/>
                    </a:lnTo>
                    <a:lnTo>
                      <a:pt x="30" y="76"/>
                    </a:lnTo>
                    <a:lnTo>
                      <a:pt x="32" y="78"/>
                    </a:lnTo>
                    <a:lnTo>
                      <a:pt x="28" y="78"/>
                    </a:lnTo>
                    <a:lnTo>
                      <a:pt x="24" y="80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19" y="78"/>
                    </a:lnTo>
                    <a:lnTo>
                      <a:pt x="19" y="76"/>
                    </a:lnTo>
                    <a:lnTo>
                      <a:pt x="17" y="76"/>
                    </a:lnTo>
                    <a:lnTo>
                      <a:pt x="15" y="76"/>
                    </a:lnTo>
                    <a:lnTo>
                      <a:pt x="15" y="74"/>
                    </a:lnTo>
                    <a:lnTo>
                      <a:pt x="13" y="74"/>
                    </a:lnTo>
                    <a:lnTo>
                      <a:pt x="15" y="72"/>
                    </a:lnTo>
                    <a:lnTo>
                      <a:pt x="13" y="72"/>
                    </a:lnTo>
                    <a:lnTo>
                      <a:pt x="13" y="70"/>
                    </a:lnTo>
                    <a:lnTo>
                      <a:pt x="11" y="70"/>
                    </a:lnTo>
                    <a:lnTo>
                      <a:pt x="11" y="68"/>
                    </a:lnTo>
                    <a:lnTo>
                      <a:pt x="11" y="66"/>
                    </a:lnTo>
                    <a:lnTo>
                      <a:pt x="11" y="65"/>
                    </a:lnTo>
                    <a:lnTo>
                      <a:pt x="13" y="65"/>
                    </a:lnTo>
                    <a:lnTo>
                      <a:pt x="11" y="65"/>
                    </a:lnTo>
                    <a:lnTo>
                      <a:pt x="13" y="63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1" y="59"/>
                    </a:lnTo>
                    <a:lnTo>
                      <a:pt x="11" y="57"/>
                    </a:lnTo>
                    <a:lnTo>
                      <a:pt x="11" y="55"/>
                    </a:lnTo>
                    <a:lnTo>
                      <a:pt x="13" y="55"/>
                    </a:lnTo>
                    <a:lnTo>
                      <a:pt x="13" y="53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1" y="47"/>
                    </a:lnTo>
                    <a:lnTo>
                      <a:pt x="13" y="45"/>
                    </a:lnTo>
                    <a:lnTo>
                      <a:pt x="15" y="45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9" y="38"/>
                    </a:lnTo>
                    <a:lnTo>
                      <a:pt x="11" y="36"/>
                    </a:lnTo>
                    <a:lnTo>
                      <a:pt x="11" y="34"/>
                    </a:lnTo>
                    <a:lnTo>
                      <a:pt x="9" y="32"/>
                    </a:lnTo>
                    <a:lnTo>
                      <a:pt x="11" y="32"/>
                    </a:lnTo>
                    <a:lnTo>
                      <a:pt x="11" y="30"/>
                    </a:lnTo>
                    <a:lnTo>
                      <a:pt x="11" y="28"/>
                    </a:lnTo>
                    <a:lnTo>
                      <a:pt x="11" y="26"/>
                    </a:lnTo>
                    <a:lnTo>
                      <a:pt x="9" y="26"/>
                    </a:lnTo>
                    <a:lnTo>
                      <a:pt x="7" y="26"/>
                    </a:lnTo>
                    <a:lnTo>
                      <a:pt x="5" y="26"/>
                    </a:lnTo>
                    <a:lnTo>
                      <a:pt x="7" y="26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7" y="24"/>
                    </a:lnTo>
                    <a:lnTo>
                      <a:pt x="9" y="23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7" y="17"/>
                    </a:lnTo>
                    <a:lnTo>
                      <a:pt x="9" y="17"/>
                    </a:lnTo>
                    <a:lnTo>
                      <a:pt x="7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5" name="Freeform 214">
                <a:extLst>
                  <a:ext uri="{FF2B5EF4-FFF2-40B4-BE49-F238E27FC236}">
                    <a16:creationId xmlns:a16="http://schemas.microsoft.com/office/drawing/2014/main" id="{6F3278F5-B942-1697-F116-A9E498D2D2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7568" y="-2517497"/>
                <a:ext cx="397047" cy="312552"/>
              </a:xfrm>
              <a:custGeom>
                <a:avLst/>
                <a:gdLst>
                  <a:gd name="T0" fmla="*/ 239 w 252"/>
                  <a:gd name="T1" fmla="*/ 36 h 198"/>
                  <a:gd name="T2" fmla="*/ 244 w 252"/>
                  <a:gd name="T3" fmla="*/ 45 h 198"/>
                  <a:gd name="T4" fmla="*/ 250 w 252"/>
                  <a:gd name="T5" fmla="*/ 53 h 198"/>
                  <a:gd name="T6" fmla="*/ 246 w 252"/>
                  <a:gd name="T7" fmla="*/ 82 h 198"/>
                  <a:gd name="T8" fmla="*/ 225 w 252"/>
                  <a:gd name="T9" fmla="*/ 131 h 198"/>
                  <a:gd name="T10" fmla="*/ 218 w 252"/>
                  <a:gd name="T11" fmla="*/ 147 h 198"/>
                  <a:gd name="T12" fmla="*/ 216 w 252"/>
                  <a:gd name="T13" fmla="*/ 150 h 198"/>
                  <a:gd name="T14" fmla="*/ 212 w 252"/>
                  <a:gd name="T15" fmla="*/ 152 h 198"/>
                  <a:gd name="T16" fmla="*/ 210 w 252"/>
                  <a:gd name="T17" fmla="*/ 166 h 198"/>
                  <a:gd name="T18" fmla="*/ 206 w 252"/>
                  <a:gd name="T19" fmla="*/ 168 h 198"/>
                  <a:gd name="T20" fmla="*/ 204 w 252"/>
                  <a:gd name="T21" fmla="*/ 168 h 198"/>
                  <a:gd name="T22" fmla="*/ 202 w 252"/>
                  <a:gd name="T23" fmla="*/ 169 h 198"/>
                  <a:gd name="T24" fmla="*/ 199 w 252"/>
                  <a:gd name="T25" fmla="*/ 171 h 198"/>
                  <a:gd name="T26" fmla="*/ 193 w 252"/>
                  <a:gd name="T27" fmla="*/ 175 h 198"/>
                  <a:gd name="T28" fmla="*/ 189 w 252"/>
                  <a:gd name="T29" fmla="*/ 173 h 198"/>
                  <a:gd name="T30" fmla="*/ 182 w 252"/>
                  <a:gd name="T31" fmla="*/ 171 h 198"/>
                  <a:gd name="T32" fmla="*/ 166 w 252"/>
                  <a:gd name="T33" fmla="*/ 171 h 198"/>
                  <a:gd name="T34" fmla="*/ 157 w 252"/>
                  <a:gd name="T35" fmla="*/ 173 h 198"/>
                  <a:gd name="T36" fmla="*/ 140 w 252"/>
                  <a:gd name="T37" fmla="*/ 179 h 198"/>
                  <a:gd name="T38" fmla="*/ 132 w 252"/>
                  <a:gd name="T39" fmla="*/ 175 h 198"/>
                  <a:gd name="T40" fmla="*/ 122 w 252"/>
                  <a:gd name="T41" fmla="*/ 171 h 198"/>
                  <a:gd name="T42" fmla="*/ 113 w 252"/>
                  <a:gd name="T43" fmla="*/ 175 h 198"/>
                  <a:gd name="T44" fmla="*/ 107 w 252"/>
                  <a:gd name="T45" fmla="*/ 177 h 198"/>
                  <a:gd name="T46" fmla="*/ 105 w 252"/>
                  <a:gd name="T47" fmla="*/ 171 h 198"/>
                  <a:gd name="T48" fmla="*/ 100 w 252"/>
                  <a:gd name="T49" fmla="*/ 168 h 198"/>
                  <a:gd name="T50" fmla="*/ 86 w 252"/>
                  <a:gd name="T51" fmla="*/ 162 h 198"/>
                  <a:gd name="T52" fmla="*/ 80 w 252"/>
                  <a:gd name="T53" fmla="*/ 164 h 198"/>
                  <a:gd name="T54" fmla="*/ 75 w 252"/>
                  <a:gd name="T55" fmla="*/ 164 h 198"/>
                  <a:gd name="T56" fmla="*/ 63 w 252"/>
                  <a:gd name="T57" fmla="*/ 169 h 198"/>
                  <a:gd name="T58" fmla="*/ 59 w 252"/>
                  <a:gd name="T59" fmla="*/ 181 h 198"/>
                  <a:gd name="T60" fmla="*/ 56 w 252"/>
                  <a:gd name="T61" fmla="*/ 190 h 198"/>
                  <a:gd name="T62" fmla="*/ 56 w 252"/>
                  <a:gd name="T63" fmla="*/ 198 h 198"/>
                  <a:gd name="T64" fmla="*/ 52 w 252"/>
                  <a:gd name="T65" fmla="*/ 194 h 198"/>
                  <a:gd name="T66" fmla="*/ 48 w 252"/>
                  <a:gd name="T67" fmla="*/ 190 h 198"/>
                  <a:gd name="T68" fmla="*/ 44 w 252"/>
                  <a:gd name="T69" fmla="*/ 189 h 198"/>
                  <a:gd name="T70" fmla="*/ 40 w 252"/>
                  <a:gd name="T71" fmla="*/ 189 h 198"/>
                  <a:gd name="T72" fmla="*/ 35 w 252"/>
                  <a:gd name="T73" fmla="*/ 189 h 198"/>
                  <a:gd name="T74" fmla="*/ 37 w 252"/>
                  <a:gd name="T75" fmla="*/ 192 h 198"/>
                  <a:gd name="T76" fmla="*/ 37 w 252"/>
                  <a:gd name="T77" fmla="*/ 194 h 198"/>
                  <a:gd name="T78" fmla="*/ 33 w 252"/>
                  <a:gd name="T79" fmla="*/ 185 h 198"/>
                  <a:gd name="T80" fmla="*/ 33 w 252"/>
                  <a:gd name="T81" fmla="*/ 181 h 198"/>
                  <a:gd name="T82" fmla="*/ 27 w 252"/>
                  <a:gd name="T83" fmla="*/ 183 h 198"/>
                  <a:gd name="T84" fmla="*/ 14 w 252"/>
                  <a:gd name="T85" fmla="*/ 177 h 198"/>
                  <a:gd name="T86" fmla="*/ 18 w 252"/>
                  <a:gd name="T87" fmla="*/ 171 h 198"/>
                  <a:gd name="T88" fmla="*/ 14 w 252"/>
                  <a:gd name="T89" fmla="*/ 169 h 198"/>
                  <a:gd name="T90" fmla="*/ 10 w 252"/>
                  <a:gd name="T91" fmla="*/ 168 h 198"/>
                  <a:gd name="T92" fmla="*/ 8 w 252"/>
                  <a:gd name="T93" fmla="*/ 164 h 198"/>
                  <a:gd name="T94" fmla="*/ 4 w 252"/>
                  <a:gd name="T95" fmla="*/ 162 h 198"/>
                  <a:gd name="T96" fmla="*/ 2 w 252"/>
                  <a:gd name="T97" fmla="*/ 158 h 198"/>
                  <a:gd name="T98" fmla="*/ 2 w 252"/>
                  <a:gd name="T99" fmla="*/ 154 h 198"/>
                  <a:gd name="T100" fmla="*/ 0 w 252"/>
                  <a:gd name="T101" fmla="*/ 147 h 198"/>
                  <a:gd name="T102" fmla="*/ 6 w 252"/>
                  <a:gd name="T103" fmla="*/ 145 h 198"/>
                  <a:gd name="T104" fmla="*/ 12 w 252"/>
                  <a:gd name="T105" fmla="*/ 145 h 198"/>
                  <a:gd name="T106" fmla="*/ 38 w 252"/>
                  <a:gd name="T107" fmla="*/ 137 h 198"/>
                  <a:gd name="T108" fmla="*/ 58 w 252"/>
                  <a:gd name="T109" fmla="*/ 133 h 198"/>
                  <a:gd name="T110" fmla="*/ 59 w 252"/>
                  <a:gd name="T111" fmla="*/ 129 h 198"/>
                  <a:gd name="T112" fmla="*/ 61 w 252"/>
                  <a:gd name="T113" fmla="*/ 112 h 198"/>
                  <a:gd name="T114" fmla="*/ 65 w 252"/>
                  <a:gd name="T115" fmla="*/ 76 h 198"/>
                  <a:gd name="T116" fmla="*/ 117 w 252"/>
                  <a:gd name="T117" fmla="*/ 45 h 198"/>
                  <a:gd name="T118" fmla="*/ 174 w 252"/>
                  <a:gd name="T119" fmla="*/ 9 h 198"/>
                  <a:gd name="T120" fmla="*/ 212 w 252"/>
                  <a:gd name="T121" fmla="*/ 7 h 198"/>
                  <a:gd name="T122" fmla="*/ 237 w 252"/>
                  <a:gd name="T123" fmla="*/ 9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2" h="198">
                    <a:moveTo>
                      <a:pt x="237" y="9"/>
                    </a:moveTo>
                    <a:lnTo>
                      <a:pt x="239" y="26"/>
                    </a:lnTo>
                    <a:lnTo>
                      <a:pt x="239" y="36"/>
                    </a:lnTo>
                    <a:lnTo>
                      <a:pt x="241" y="36"/>
                    </a:lnTo>
                    <a:lnTo>
                      <a:pt x="246" y="44"/>
                    </a:lnTo>
                    <a:lnTo>
                      <a:pt x="244" y="45"/>
                    </a:lnTo>
                    <a:lnTo>
                      <a:pt x="246" y="47"/>
                    </a:lnTo>
                    <a:lnTo>
                      <a:pt x="248" y="49"/>
                    </a:lnTo>
                    <a:lnTo>
                      <a:pt x="250" y="53"/>
                    </a:lnTo>
                    <a:lnTo>
                      <a:pt x="252" y="55"/>
                    </a:lnTo>
                    <a:lnTo>
                      <a:pt x="248" y="61"/>
                    </a:lnTo>
                    <a:lnTo>
                      <a:pt x="246" y="82"/>
                    </a:lnTo>
                    <a:lnTo>
                      <a:pt x="244" y="108"/>
                    </a:lnTo>
                    <a:lnTo>
                      <a:pt x="244" y="112"/>
                    </a:lnTo>
                    <a:lnTo>
                      <a:pt x="225" y="131"/>
                    </a:lnTo>
                    <a:lnTo>
                      <a:pt x="220" y="141"/>
                    </a:lnTo>
                    <a:lnTo>
                      <a:pt x="218" y="143"/>
                    </a:lnTo>
                    <a:lnTo>
                      <a:pt x="218" y="147"/>
                    </a:lnTo>
                    <a:lnTo>
                      <a:pt x="218" y="148"/>
                    </a:lnTo>
                    <a:lnTo>
                      <a:pt x="216" y="148"/>
                    </a:lnTo>
                    <a:lnTo>
                      <a:pt x="216" y="150"/>
                    </a:lnTo>
                    <a:lnTo>
                      <a:pt x="216" y="152"/>
                    </a:lnTo>
                    <a:lnTo>
                      <a:pt x="214" y="152"/>
                    </a:lnTo>
                    <a:lnTo>
                      <a:pt x="212" y="152"/>
                    </a:lnTo>
                    <a:lnTo>
                      <a:pt x="212" y="154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08" y="166"/>
                    </a:lnTo>
                    <a:lnTo>
                      <a:pt x="208" y="168"/>
                    </a:lnTo>
                    <a:lnTo>
                      <a:pt x="206" y="168"/>
                    </a:lnTo>
                    <a:lnTo>
                      <a:pt x="204" y="168"/>
                    </a:lnTo>
                    <a:lnTo>
                      <a:pt x="206" y="168"/>
                    </a:lnTo>
                    <a:lnTo>
                      <a:pt x="204" y="168"/>
                    </a:lnTo>
                    <a:lnTo>
                      <a:pt x="204" y="169"/>
                    </a:lnTo>
                    <a:lnTo>
                      <a:pt x="202" y="168"/>
                    </a:lnTo>
                    <a:lnTo>
                      <a:pt x="202" y="169"/>
                    </a:lnTo>
                    <a:lnTo>
                      <a:pt x="201" y="169"/>
                    </a:lnTo>
                    <a:lnTo>
                      <a:pt x="201" y="171"/>
                    </a:lnTo>
                    <a:lnTo>
                      <a:pt x="199" y="171"/>
                    </a:lnTo>
                    <a:lnTo>
                      <a:pt x="197" y="173"/>
                    </a:lnTo>
                    <a:lnTo>
                      <a:pt x="197" y="175"/>
                    </a:lnTo>
                    <a:lnTo>
                      <a:pt x="193" y="175"/>
                    </a:lnTo>
                    <a:lnTo>
                      <a:pt x="191" y="175"/>
                    </a:lnTo>
                    <a:lnTo>
                      <a:pt x="189" y="175"/>
                    </a:lnTo>
                    <a:lnTo>
                      <a:pt x="189" y="173"/>
                    </a:lnTo>
                    <a:lnTo>
                      <a:pt x="187" y="173"/>
                    </a:lnTo>
                    <a:lnTo>
                      <a:pt x="183" y="171"/>
                    </a:lnTo>
                    <a:lnTo>
                      <a:pt x="182" y="171"/>
                    </a:lnTo>
                    <a:lnTo>
                      <a:pt x="176" y="171"/>
                    </a:lnTo>
                    <a:lnTo>
                      <a:pt x="168" y="171"/>
                    </a:lnTo>
                    <a:lnTo>
                      <a:pt x="166" y="171"/>
                    </a:lnTo>
                    <a:lnTo>
                      <a:pt x="164" y="171"/>
                    </a:lnTo>
                    <a:lnTo>
                      <a:pt x="161" y="173"/>
                    </a:lnTo>
                    <a:lnTo>
                      <a:pt x="157" y="173"/>
                    </a:lnTo>
                    <a:lnTo>
                      <a:pt x="157" y="175"/>
                    </a:lnTo>
                    <a:lnTo>
                      <a:pt x="151" y="179"/>
                    </a:lnTo>
                    <a:lnTo>
                      <a:pt x="140" y="179"/>
                    </a:lnTo>
                    <a:lnTo>
                      <a:pt x="136" y="177"/>
                    </a:lnTo>
                    <a:lnTo>
                      <a:pt x="134" y="177"/>
                    </a:lnTo>
                    <a:lnTo>
                      <a:pt x="132" y="175"/>
                    </a:lnTo>
                    <a:lnTo>
                      <a:pt x="128" y="173"/>
                    </a:lnTo>
                    <a:lnTo>
                      <a:pt x="126" y="171"/>
                    </a:lnTo>
                    <a:lnTo>
                      <a:pt x="122" y="171"/>
                    </a:lnTo>
                    <a:lnTo>
                      <a:pt x="120" y="171"/>
                    </a:lnTo>
                    <a:lnTo>
                      <a:pt x="115" y="175"/>
                    </a:lnTo>
                    <a:lnTo>
                      <a:pt x="113" y="175"/>
                    </a:lnTo>
                    <a:lnTo>
                      <a:pt x="111" y="177"/>
                    </a:lnTo>
                    <a:lnTo>
                      <a:pt x="109" y="177"/>
                    </a:lnTo>
                    <a:lnTo>
                      <a:pt x="107" y="177"/>
                    </a:lnTo>
                    <a:lnTo>
                      <a:pt x="105" y="175"/>
                    </a:lnTo>
                    <a:lnTo>
                      <a:pt x="105" y="173"/>
                    </a:lnTo>
                    <a:lnTo>
                      <a:pt x="105" y="171"/>
                    </a:lnTo>
                    <a:lnTo>
                      <a:pt x="101" y="169"/>
                    </a:lnTo>
                    <a:lnTo>
                      <a:pt x="101" y="168"/>
                    </a:lnTo>
                    <a:lnTo>
                      <a:pt x="100" y="168"/>
                    </a:lnTo>
                    <a:lnTo>
                      <a:pt x="98" y="166"/>
                    </a:lnTo>
                    <a:lnTo>
                      <a:pt x="96" y="166"/>
                    </a:lnTo>
                    <a:lnTo>
                      <a:pt x="86" y="162"/>
                    </a:lnTo>
                    <a:lnTo>
                      <a:pt x="84" y="162"/>
                    </a:lnTo>
                    <a:lnTo>
                      <a:pt x="82" y="164"/>
                    </a:lnTo>
                    <a:lnTo>
                      <a:pt x="80" y="164"/>
                    </a:lnTo>
                    <a:lnTo>
                      <a:pt x="79" y="164"/>
                    </a:lnTo>
                    <a:lnTo>
                      <a:pt x="77" y="164"/>
                    </a:lnTo>
                    <a:lnTo>
                      <a:pt x="75" y="164"/>
                    </a:lnTo>
                    <a:lnTo>
                      <a:pt x="69" y="166"/>
                    </a:lnTo>
                    <a:lnTo>
                      <a:pt x="65" y="169"/>
                    </a:lnTo>
                    <a:lnTo>
                      <a:pt x="63" y="169"/>
                    </a:lnTo>
                    <a:lnTo>
                      <a:pt x="63" y="175"/>
                    </a:lnTo>
                    <a:lnTo>
                      <a:pt x="63" y="177"/>
                    </a:lnTo>
                    <a:lnTo>
                      <a:pt x="59" y="181"/>
                    </a:lnTo>
                    <a:lnTo>
                      <a:pt x="56" y="185"/>
                    </a:lnTo>
                    <a:lnTo>
                      <a:pt x="56" y="189"/>
                    </a:lnTo>
                    <a:lnTo>
                      <a:pt x="56" y="190"/>
                    </a:lnTo>
                    <a:lnTo>
                      <a:pt x="56" y="194"/>
                    </a:lnTo>
                    <a:lnTo>
                      <a:pt x="56" y="196"/>
                    </a:lnTo>
                    <a:lnTo>
                      <a:pt x="56" y="198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2" y="194"/>
                    </a:lnTo>
                    <a:lnTo>
                      <a:pt x="50" y="194"/>
                    </a:lnTo>
                    <a:lnTo>
                      <a:pt x="50" y="192"/>
                    </a:lnTo>
                    <a:lnTo>
                      <a:pt x="48" y="190"/>
                    </a:lnTo>
                    <a:lnTo>
                      <a:pt x="46" y="190"/>
                    </a:lnTo>
                    <a:lnTo>
                      <a:pt x="46" y="189"/>
                    </a:lnTo>
                    <a:lnTo>
                      <a:pt x="44" y="189"/>
                    </a:lnTo>
                    <a:lnTo>
                      <a:pt x="42" y="187"/>
                    </a:lnTo>
                    <a:lnTo>
                      <a:pt x="40" y="187"/>
                    </a:lnTo>
                    <a:lnTo>
                      <a:pt x="40" y="189"/>
                    </a:lnTo>
                    <a:lnTo>
                      <a:pt x="38" y="189"/>
                    </a:lnTo>
                    <a:lnTo>
                      <a:pt x="37" y="189"/>
                    </a:lnTo>
                    <a:lnTo>
                      <a:pt x="35" y="189"/>
                    </a:lnTo>
                    <a:lnTo>
                      <a:pt x="35" y="190"/>
                    </a:lnTo>
                    <a:lnTo>
                      <a:pt x="37" y="194"/>
                    </a:lnTo>
                    <a:lnTo>
                      <a:pt x="37" y="192"/>
                    </a:lnTo>
                    <a:lnTo>
                      <a:pt x="37" y="194"/>
                    </a:lnTo>
                    <a:lnTo>
                      <a:pt x="35" y="194"/>
                    </a:lnTo>
                    <a:lnTo>
                      <a:pt x="37" y="194"/>
                    </a:lnTo>
                    <a:lnTo>
                      <a:pt x="31" y="187"/>
                    </a:lnTo>
                    <a:lnTo>
                      <a:pt x="33" y="187"/>
                    </a:lnTo>
                    <a:lnTo>
                      <a:pt x="33" y="185"/>
                    </a:lnTo>
                    <a:lnTo>
                      <a:pt x="33" y="183"/>
                    </a:lnTo>
                    <a:lnTo>
                      <a:pt x="31" y="183"/>
                    </a:lnTo>
                    <a:lnTo>
                      <a:pt x="33" y="181"/>
                    </a:lnTo>
                    <a:lnTo>
                      <a:pt x="31" y="181"/>
                    </a:lnTo>
                    <a:lnTo>
                      <a:pt x="29" y="181"/>
                    </a:lnTo>
                    <a:lnTo>
                      <a:pt x="27" y="183"/>
                    </a:lnTo>
                    <a:lnTo>
                      <a:pt x="23" y="183"/>
                    </a:lnTo>
                    <a:lnTo>
                      <a:pt x="16" y="177"/>
                    </a:lnTo>
                    <a:lnTo>
                      <a:pt x="14" y="177"/>
                    </a:lnTo>
                    <a:lnTo>
                      <a:pt x="14" y="171"/>
                    </a:lnTo>
                    <a:lnTo>
                      <a:pt x="16" y="171"/>
                    </a:lnTo>
                    <a:lnTo>
                      <a:pt x="18" y="171"/>
                    </a:lnTo>
                    <a:lnTo>
                      <a:pt x="18" y="169"/>
                    </a:lnTo>
                    <a:lnTo>
                      <a:pt x="16" y="169"/>
                    </a:lnTo>
                    <a:lnTo>
                      <a:pt x="14" y="169"/>
                    </a:lnTo>
                    <a:lnTo>
                      <a:pt x="14" y="168"/>
                    </a:lnTo>
                    <a:lnTo>
                      <a:pt x="12" y="168"/>
                    </a:lnTo>
                    <a:lnTo>
                      <a:pt x="10" y="168"/>
                    </a:lnTo>
                    <a:lnTo>
                      <a:pt x="10" y="166"/>
                    </a:lnTo>
                    <a:lnTo>
                      <a:pt x="8" y="166"/>
                    </a:lnTo>
                    <a:lnTo>
                      <a:pt x="8" y="164"/>
                    </a:lnTo>
                    <a:lnTo>
                      <a:pt x="6" y="164"/>
                    </a:lnTo>
                    <a:lnTo>
                      <a:pt x="6" y="162"/>
                    </a:lnTo>
                    <a:lnTo>
                      <a:pt x="4" y="162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2" y="158"/>
                    </a:lnTo>
                    <a:lnTo>
                      <a:pt x="4" y="158"/>
                    </a:lnTo>
                    <a:lnTo>
                      <a:pt x="4" y="156"/>
                    </a:lnTo>
                    <a:lnTo>
                      <a:pt x="2" y="154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7"/>
                    </a:lnTo>
                    <a:lnTo>
                      <a:pt x="0" y="145"/>
                    </a:lnTo>
                    <a:lnTo>
                      <a:pt x="4" y="145"/>
                    </a:lnTo>
                    <a:lnTo>
                      <a:pt x="6" y="145"/>
                    </a:lnTo>
                    <a:lnTo>
                      <a:pt x="8" y="145"/>
                    </a:lnTo>
                    <a:lnTo>
                      <a:pt x="10" y="145"/>
                    </a:lnTo>
                    <a:lnTo>
                      <a:pt x="12" y="145"/>
                    </a:lnTo>
                    <a:lnTo>
                      <a:pt x="18" y="139"/>
                    </a:lnTo>
                    <a:lnTo>
                      <a:pt x="19" y="139"/>
                    </a:lnTo>
                    <a:lnTo>
                      <a:pt x="38" y="137"/>
                    </a:lnTo>
                    <a:lnTo>
                      <a:pt x="54" y="139"/>
                    </a:lnTo>
                    <a:lnTo>
                      <a:pt x="54" y="135"/>
                    </a:lnTo>
                    <a:lnTo>
                      <a:pt x="58" y="133"/>
                    </a:lnTo>
                    <a:lnTo>
                      <a:pt x="59" y="133"/>
                    </a:lnTo>
                    <a:lnTo>
                      <a:pt x="59" y="131"/>
                    </a:lnTo>
                    <a:lnTo>
                      <a:pt x="59" y="129"/>
                    </a:lnTo>
                    <a:lnTo>
                      <a:pt x="61" y="128"/>
                    </a:lnTo>
                    <a:lnTo>
                      <a:pt x="61" y="122"/>
                    </a:lnTo>
                    <a:lnTo>
                      <a:pt x="61" y="112"/>
                    </a:lnTo>
                    <a:lnTo>
                      <a:pt x="65" y="110"/>
                    </a:lnTo>
                    <a:lnTo>
                      <a:pt x="65" y="84"/>
                    </a:lnTo>
                    <a:lnTo>
                      <a:pt x="65" y="76"/>
                    </a:lnTo>
                    <a:lnTo>
                      <a:pt x="90" y="70"/>
                    </a:lnTo>
                    <a:lnTo>
                      <a:pt x="100" y="61"/>
                    </a:lnTo>
                    <a:lnTo>
                      <a:pt x="117" y="45"/>
                    </a:lnTo>
                    <a:lnTo>
                      <a:pt x="141" y="30"/>
                    </a:lnTo>
                    <a:lnTo>
                      <a:pt x="161" y="19"/>
                    </a:lnTo>
                    <a:lnTo>
                      <a:pt x="174" y="9"/>
                    </a:lnTo>
                    <a:lnTo>
                      <a:pt x="189" y="0"/>
                    </a:lnTo>
                    <a:lnTo>
                      <a:pt x="210" y="5"/>
                    </a:lnTo>
                    <a:lnTo>
                      <a:pt x="212" y="7"/>
                    </a:lnTo>
                    <a:lnTo>
                      <a:pt x="216" y="7"/>
                    </a:lnTo>
                    <a:lnTo>
                      <a:pt x="223" y="15"/>
                    </a:lnTo>
                    <a:lnTo>
                      <a:pt x="237" y="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6" name="Freeform 215">
                <a:extLst>
                  <a:ext uri="{FF2B5EF4-FFF2-40B4-BE49-F238E27FC236}">
                    <a16:creationId xmlns:a16="http://schemas.microsoft.com/office/drawing/2014/main" id="{1E87AA51-6E37-3CE9-7444-CCE6B9AECE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31590" y="-2514342"/>
                <a:ext cx="264698" cy="418313"/>
              </a:xfrm>
              <a:custGeom>
                <a:avLst/>
                <a:gdLst>
                  <a:gd name="T0" fmla="*/ 141 w 168"/>
                  <a:gd name="T1" fmla="*/ 208 h 265"/>
                  <a:gd name="T2" fmla="*/ 134 w 168"/>
                  <a:gd name="T3" fmla="*/ 209 h 265"/>
                  <a:gd name="T4" fmla="*/ 132 w 168"/>
                  <a:gd name="T5" fmla="*/ 219 h 265"/>
                  <a:gd name="T6" fmla="*/ 128 w 168"/>
                  <a:gd name="T7" fmla="*/ 221 h 265"/>
                  <a:gd name="T8" fmla="*/ 126 w 168"/>
                  <a:gd name="T9" fmla="*/ 225 h 265"/>
                  <a:gd name="T10" fmla="*/ 124 w 168"/>
                  <a:gd name="T11" fmla="*/ 225 h 265"/>
                  <a:gd name="T12" fmla="*/ 118 w 168"/>
                  <a:gd name="T13" fmla="*/ 229 h 265"/>
                  <a:gd name="T14" fmla="*/ 118 w 168"/>
                  <a:gd name="T15" fmla="*/ 232 h 265"/>
                  <a:gd name="T16" fmla="*/ 111 w 168"/>
                  <a:gd name="T17" fmla="*/ 234 h 265"/>
                  <a:gd name="T18" fmla="*/ 107 w 168"/>
                  <a:gd name="T19" fmla="*/ 238 h 265"/>
                  <a:gd name="T20" fmla="*/ 105 w 168"/>
                  <a:gd name="T21" fmla="*/ 238 h 265"/>
                  <a:gd name="T22" fmla="*/ 97 w 168"/>
                  <a:gd name="T23" fmla="*/ 240 h 265"/>
                  <a:gd name="T24" fmla="*/ 88 w 168"/>
                  <a:gd name="T25" fmla="*/ 240 h 265"/>
                  <a:gd name="T26" fmla="*/ 90 w 168"/>
                  <a:gd name="T27" fmla="*/ 244 h 265"/>
                  <a:gd name="T28" fmla="*/ 84 w 168"/>
                  <a:gd name="T29" fmla="*/ 251 h 265"/>
                  <a:gd name="T30" fmla="*/ 71 w 168"/>
                  <a:gd name="T31" fmla="*/ 257 h 265"/>
                  <a:gd name="T32" fmla="*/ 63 w 168"/>
                  <a:gd name="T33" fmla="*/ 259 h 265"/>
                  <a:gd name="T34" fmla="*/ 57 w 168"/>
                  <a:gd name="T35" fmla="*/ 261 h 265"/>
                  <a:gd name="T36" fmla="*/ 52 w 168"/>
                  <a:gd name="T37" fmla="*/ 261 h 265"/>
                  <a:gd name="T38" fmla="*/ 46 w 168"/>
                  <a:gd name="T39" fmla="*/ 259 h 265"/>
                  <a:gd name="T40" fmla="*/ 42 w 168"/>
                  <a:gd name="T41" fmla="*/ 263 h 265"/>
                  <a:gd name="T42" fmla="*/ 32 w 168"/>
                  <a:gd name="T43" fmla="*/ 263 h 265"/>
                  <a:gd name="T44" fmla="*/ 29 w 168"/>
                  <a:gd name="T45" fmla="*/ 251 h 265"/>
                  <a:gd name="T46" fmla="*/ 21 w 168"/>
                  <a:gd name="T47" fmla="*/ 242 h 265"/>
                  <a:gd name="T48" fmla="*/ 13 w 168"/>
                  <a:gd name="T49" fmla="*/ 236 h 265"/>
                  <a:gd name="T50" fmla="*/ 10 w 168"/>
                  <a:gd name="T51" fmla="*/ 227 h 265"/>
                  <a:gd name="T52" fmla="*/ 19 w 168"/>
                  <a:gd name="T53" fmla="*/ 225 h 265"/>
                  <a:gd name="T54" fmla="*/ 27 w 168"/>
                  <a:gd name="T55" fmla="*/ 225 h 265"/>
                  <a:gd name="T56" fmla="*/ 32 w 168"/>
                  <a:gd name="T57" fmla="*/ 221 h 265"/>
                  <a:gd name="T58" fmla="*/ 27 w 168"/>
                  <a:gd name="T59" fmla="*/ 215 h 265"/>
                  <a:gd name="T60" fmla="*/ 25 w 168"/>
                  <a:gd name="T61" fmla="*/ 208 h 265"/>
                  <a:gd name="T62" fmla="*/ 25 w 168"/>
                  <a:gd name="T63" fmla="*/ 200 h 265"/>
                  <a:gd name="T64" fmla="*/ 25 w 168"/>
                  <a:gd name="T65" fmla="*/ 194 h 265"/>
                  <a:gd name="T66" fmla="*/ 25 w 168"/>
                  <a:gd name="T67" fmla="*/ 188 h 265"/>
                  <a:gd name="T68" fmla="*/ 21 w 168"/>
                  <a:gd name="T69" fmla="*/ 183 h 265"/>
                  <a:gd name="T70" fmla="*/ 17 w 168"/>
                  <a:gd name="T71" fmla="*/ 179 h 265"/>
                  <a:gd name="T72" fmla="*/ 2 w 168"/>
                  <a:gd name="T73" fmla="*/ 164 h 265"/>
                  <a:gd name="T74" fmla="*/ 4 w 168"/>
                  <a:gd name="T75" fmla="*/ 148 h 265"/>
                  <a:gd name="T76" fmla="*/ 8 w 168"/>
                  <a:gd name="T77" fmla="*/ 139 h 265"/>
                  <a:gd name="T78" fmla="*/ 36 w 168"/>
                  <a:gd name="T79" fmla="*/ 59 h 265"/>
                  <a:gd name="T80" fmla="*/ 32 w 168"/>
                  <a:gd name="T81" fmla="*/ 43 h 265"/>
                  <a:gd name="T82" fmla="*/ 25 w 168"/>
                  <a:gd name="T83" fmla="*/ 7 h 265"/>
                  <a:gd name="T84" fmla="*/ 101 w 168"/>
                  <a:gd name="T85" fmla="*/ 32 h 265"/>
                  <a:gd name="T86" fmla="*/ 168 w 168"/>
                  <a:gd name="T87" fmla="*/ 95 h 265"/>
                  <a:gd name="T88" fmla="*/ 158 w 168"/>
                  <a:gd name="T89" fmla="*/ 131 h 265"/>
                  <a:gd name="T90" fmla="*/ 153 w 168"/>
                  <a:gd name="T91" fmla="*/ 131 h 265"/>
                  <a:gd name="T92" fmla="*/ 151 w 168"/>
                  <a:gd name="T93" fmla="*/ 141 h 265"/>
                  <a:gd name="T94" fmla="*/ 143 w 168"/>
                  <a:gd name="T95" fmla="*/ 148 h 265"/>
                  <a:gd name="T96" fmla="*/ 143 w 168"/>
                  <a:gd name="T97" fmla="*/ 154 h 265"/>
                  <a:gd name="T98" fmla="*/ 141 w 168"/>
                  <a:gd name="T99" fmla="*/ 158 h 265"/>
                  <a:gd name="T100" fmla="*/ 139 w 168"/>
                  <a:gd name="T101" fmla="*/ 167 h 265"/>
                  <a:gd name="T102" fmla="*/ 134 w 168"/>
                  <a:gd name="T103" fmla="*/ 173 h 265"/>
                  <a:gd name="T104" fmla="*/ 134 w 168"/>
                  <a:gd name="T105" fmla="*/ 181 h 265"/>
                  <a:gd name="T106" fmla="*/ 141 w 168"/>
                  <a:gd name="T107" fmla="*/ 181 h 265"/>
                  <a:gd name="T108" fmla="*/ 143 w 168"/>
                  <a:gd name="T109" fmla="*/ 187 h 265"/>
                  <a:gd name="T110" fmla="*/ 145 w 168"/>
                  <a:gd name="T111" fmla="*/ 198 h 265"/>
                  <a:gd name="T112" fmla="*/ 151 w 168"/>
                  <a:gd name="T113" fmla="*/ 204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8" h="265">
                    <a:moveTo>
                      <a:pt x="149" y="208"/>
                    </a:moveTo>
                    <a:lnTo>
                      <a:pt x="147" y="208"/>
                    </a:lnTo>
                    <a:lnTo>
                      <a:pt x="145" y="208"/>
                    </a:lnTo>
                    <a:lnTo>
                      <a:pt x="143" y="208"/>
                    </a:lnTo>
                    <a:lnTo>
                      <a:pt x="141" y="208"/>
                    </a:lnTo>
                    <a:lnTo>
                      <a:pt x="139" y="208"/>
                    </a:lnTo>
                    <a:lnTo>
                      <a:pt x="139" y="209"/>
                    </a:lnTo>
                    <a:lnTo>
                      <a:pt x="137" y="209"/>
                    </a:lnTo>
                    <a:lnTo>
                      <a:pt x="135" y="209"/>
                    </a:lnTo>
                    <a:lnTo>
                      <a:pt x="134" y="209"/>
                    </a:lnTo>
                    <a:lnTo>
                      <a:pt x="132" y="211"/>
                    </a:lnTo>
                    <a:lnTo>
                      <a:pt x="132" y="213"/>
                    </a:lnTo>
                    <a:lnTo>
                      <a:pt x="132" y="215"/>
                    </a:lnTo>
                    <a:lnTo>
                      <a:pt x="132" y="217"/>
                    </a:lnTo>
                    <a:lnTo>
                      <a:pt x="132" y="219"/>
                    </a:lnTo>
                    <a:lnTo>
                      <a:pt x="130" y="219"/>
                    </a:lnTo>
                    <a:lnTo>
                      <a:pt x="130" y="221"/>
                    </a:lnTo>
                    <a:lnTo>
                      <a:pt x="128" y="221"/>
                    </a:lnTo>
                    <a:lnTo>
                      <a:pt x="128" y="219"/>
                    </a:lnTo>
                    <a:lnTo>
                      <a:pt x="128" y="221"/>
                    </a:lnTo>
                    <a:lnTo>
                      <a:pt x="126" y="221"/>
                    </a:lnTo>
                    <a:lnTo>
                      <a:pt x="126" y="223"/>
                    </a:lnTo>
                    <a:lnTo>
                      <a:pt x="126" y="225"/>
                    </a:lnTo>
                    <a:lnTo>
                      <a:pt x="126" y="223"/>
                    </a:lnTo>
                    <a:lnTo>
                      <a:pt x="126" y="225"/>
                    </a:lnTo>
                    <a:lnTo>
                      <a:pt x="124" y="225"/>
                    </a:lnTo>
                    <a:lnTo>
                      <a:pt x="124" y="223"/>
                    </a:lnTo>
                    <a:lnTo>
                      <a:pt x="124" y="225"/>
                    </a:lnTo>
                    <a:lnTo>
                      <a:pt x="124" y="223"/>
                    </a:lnTo>
                    <a:lnTo>
                      <a:pt x="124" y="225"/>
                    </a:lnTo>
                    <a:lnTo>
                      <a:pt x="122" y="225"/>
                    </a:lnTo>
                    <a:lnTo>
                      <a:pt x="122" y="227"/>
                    </a:lnTo>
                    <a:lnTo>
                      <a:pt x="120" y="227"/>
                    </a:lnTo>
                    <a:lnTo>
                      <a:pt x="120" y="229"/>
                    </a:lnTo>
                    <a:lnTo>
                      <a:pt x="118" y="229"/>
                    </a:lnTo>
                    <a:lnTo>
                      <a:pt x="120" y="229"/>
                    </a:lnTo>
                    <a:lnTo>
                      <a:pt x="118" y="229"/>
                    </a:lnTo>
                    <a:lnTo>
                      <a:pt x="120" y="230"/>
                    </a:lnTo>
                    <a:lnTo>
                      <a:pt x="118" y="230"/>
                    </a:lnTo>
                    <a:lnTo>
                      <a:pt x="118" y="232"/>
                    </a:lnTo>
                    <a:lnTo>
                      <a:pt x="116" y="232"/>
                    </a:lnTo>
                    <a:lnTo>
                      <a:pt x="114" y="232"/>
                    </a:lnTo>
                    <a:lnTo>
                      <a:pt x="114" y="234"/>
                    </a:lnTo>
                    <a:lnTo>
                      <a:pt x="113" y="234"/>
                    </a:lnTo>
                    <a:lnTo>
                      <a:pt x="111" y="234"/>
                    </a:lnTo>
                    <a:lnTo>
                      <a:pt x="113" y="236"/>
                    </a:lnTo>
                    <a:lnTo>
                      <a:pt x="111" y="236"/>
                    </a:lnTo>
                    <a:lnTo>
                      <a:pt x="111" y="238"/>
                    </a:lnTo>
                    <a:lnTo>
                      <a:pt x="109" y="238"/>
                    </a:lnTo>
                    <a:lnTo>
                      <a:pt x="107" y="238"/>
                    </a:lnTo>
                    <a:lnTo>
                      <a:pt x="107" y="236"/>
                    </a:lnTo>
                    <a:lnTo>
                      <a:pt x="107" y="238"/>
                    </a:lnTo>
                    <a:lnTo>
                      <a:pt x="105" y="238"/>
                    </a:lnTo>
                    <a:lnTo>
                      <a:pt x="105" y="236"/>
                    </a:lnTo>
                    <a:lnTo>
                      <a:pt x="105" y="238"/>
                    </a:lnTo>
                    <a:lnTo>
                      <a:pt x="103" y="238"/>
                    </a:lnTo>
                    <a:lnTo>
                      <a:pt x="101" y="238"/>
                    </a:lnTo>
                    <a:lnTo>
                      <a:pt x="99" y="238"/>
                    </a:lnTo>
                    <a:lnTo>
                      <a:pt x="99" y="240"/>
                    </a:lnTo>
                    <a:lnTo>
                      <a:pt x="97" y="240"/>
                    </a:lnTo>
                    <a:lnTo>
                      <a:pt x="95" y="240"/>
                    </a:lnTo>
                    <a:lnTo>
                      <a:pt x="93" y="240"/>
                    </a:lnTo>
                    <a:lnTo>
                      <a:pt x="92" y="240"/>
                    </a:lnTo>
                    <a:lnTo>
                      <a:pt x="90" y="240"/>
                    </a:lnTo>
                    <a:lnTo>
                      <a:pt x="88" y="240"/>
                    </a:lnTo>
                    <a:lnTo>
                      <a:pt x="86" y="240"/>
                    </a:lnTo>
                    <a:lnTo>
                      <a:pt x="86" y="242"/>
                    </a:lnTo>
                    <a:lnTo>
                      <a:pt x="88" y="242"/>
                    </a:lnTo>
                    <a:lnTo>
                      <a:pt x="88" y="244"/>
                    </a:lnTo>
                    <a:lnTo>
                      <a:pt x="90" y="244"/>
                    </a:lnTo>
                    <a:lnTo>
                      <a:pt x="90" y="246"/>
                    </a:lnTo>
                    <a:lnTo>
                      <a:pt x="88" y="248"/>
                    </a:lnTo>
                    <a:lnTo>
                      <a:pt x="86" y="250"/>
                    </a:lnTo>
                    <a:lnTo>
                      <a:pt x="86" y="251"/>
                    </a:lnTo>
                    <a:lnTo>
                      <a:pt x="84" y="251"/>
                    </a:lnTo>
                    <a:lnTo>
                      <a:pt x="82" y="251"/>
                    </a:lnTo>
                    <a:lnTo>
                      <a:pt x="82" y="253"/>
                    </a:lnTo>
                    <a:lnTo>
                      <a:pt x="82" y="255"/>
                    </a:lnTo>
                    <a:lnTo>
                      <a:pt x="72" y="255"/>
                    </a:lnTo>
                    <a:lnTo>
                      <a:pt x="71" y="257"/>
                    </a:lnTo>
                    <a:lnTo>
                      <a:pt x="67" y="255"/>
                    </a:lnTo>
                    <a:lnTo>
                      <a:pt x="67" y="257"/>
                    </a:lnTo>
                    <a:lnTo>
                      <a:pt x="65" y="257"/>
                    </a:lnTo>
                    <a:lnTo>
                      <a:pt x="63" y="257"/>
                    </a:lnTo>
                    <a:lnTo>
                      <a:pt x="63" y="259"/>
                    </a:lnTo>
                    <a:lnTo>
                      <a:pt x="61" y="257"/>
                    </a:lnTo>
                    <a:lnTo>
                      <a:pt x="61" y="259"/>
                    </a:lnTo>
                    <a:lnTo>
                      <a:pt x="59" y="259"/>
                    </a:lnTo>
                    <a:lnTo>
                      <a:pt x="59" y="261"/>
                    </a:lnTo>
                    <a:lnTo>
                      <a:pt x="57" y="261"/>
                    </a:lnTo>
                    <a:lnTo>
                      <a:pt x="55" y="261"/>
                    </a:lnTo>
                    <a:lnTo>
                      <a:pt x="55" y="263"/>
                    </a:lnTo>
                    <a:lnTo>
                      <a:pt x="53" y="261"/>
                    </a:lnTo>
                    <a:lnTo>
                      <a:pt x="53" y="263"/>
                    </a:lnTo>
                    <a:lnTo>
                      <a:pt x="52" y="261"/>
                    </a:lnTo>
                    <a:lnTo>
                      <a:pt x="50" y="261"/>
                    </a:lnTo>
                    <a:lnTo>
                      <a:pt x="50" y="259"/>
                    </a:lnTo>
                    <a:lnTo>
                      <a:pt x="50" y="257"/>
                    </a:lnTo>
                    <a:lnTo>
                      <a:pt x="48" y="259"/>
                    </a:lnTo>
                    <a:lnTo>
                      <a:pt x="46" y="259"/>
                    </a:lnTo>
                    <a:lnTo>
                      <a:pt x="46" y="261"/>
                    </a:lnTo>
                    <a:lnTo>
                      <a:pt x="44" y="261"/>
                    </a:lnTo>
                    <a:lnTo>
                      <a:pt x="44" y="263"/>
                    </a:lnTo>
                    <a:lnTo>
                      <a:pt x="42" y="261"/>
                    </a:lnTo>
                    <a:lnTo>
                      <a:pt x="42" y="263"/>
                    </a:lnTo>
                    <a:lnTo>
                      <a:pt x="40" y="263"/>
                    </a:lnTo>
                    <a:lnTo>
                      <a:pt x="40" y="265"/>
                    </a:lnTo>
                    <a:lnTo>
                      <a:pt x="36" y="265"/>
                    </a:lnTo>
                    <a:lnTo>
                      <a:pt x="36" y="263"/>
                    </a:lnTo>
                    <a:lnTo>
                      <a:pt x="32" y="263"/>
                    </a:lnTo>
                    <a:lnTo>
                      <a:pt x="34" y="261"/>
                    </a:lnTo>
                    <a:lnTo>
                      <a:pt x="32" y="259"/>
                    </a:lnTo>
                    <a:lnTo>
                      <a:pt x="31" y="257"/>
                    </a:lnTo>
                    <a:lnTo>
                      <a:pt x="31" y="255"/>
                    </a:lnTo>
                    <a:lnTo>
                      <a:pt x="29" y="251"/>
                    </a:lnTo>
                    <a:lnTo>
                      <a:pt x="27" y="246"/>
                    </a:lnTo>
                    <a:lnTo>
                      <a:pt x="25" y="246"/>
                    </a:lnTo>
                    <a:lnTo>
                      <a:pt x="23" y="244"/>
                    </a:lnTo>
                    <a:lnTo>
                      <a:pt x="23" y="242"/>
                    </a:lnTo>
                    <a:lnTo>
                      <a:pt x="21" y="242"/>
                    </a:lnTo>
                    <a:lnTo>
                      <a:pt x="19" y="242"/>
                    </a:lnTo>
                    <a:lnTo>
                      <a:pt x="19" y="240"/>
                    </a:lnTo>
                    <a:lnTo>
                      <a:pt x="17" y="240"/>
                    </a:lnTo>
                    <a:lnTo>
                      <a:pt x="15" y="238"/>
                    </a:lnTo>
                    <a:lnTo>
                      <a:pt x="13" y="236"/>
                    </a:lnTo>
                    <a:lnTo>
                      <a:pt x="13" y="234"/>
                    </a:lnTo>
                    <a:lnTo>
                      <a:pt x="11" y="232"/>
                    </a:lnTo>
                    <a:lnTo>
                      <a:pt x="10" y="230"/>
                    </a:lnTo>
                    <a:lnTo>
                      <a:pt x="8" y="229"/>
                    </a:lnTo>
                    <a:lnTo>
                      <a:pt x="10" y="227"/>
                    </a:lnTo>
                    <a:lnTo>
                      <a:pt x="10" y="225"/>
                    </a:lnTo>
                    <a:lnTo>
                      <a:pt x="11" y="225"/>
                    </a:lnTo>
                    <a:lnTo>
                      <a:pt x="11" y="223"/>
                    </a:lnTo>
                    <a:lnTo>
                      <a:pt x="17" y="223"/>
                    </a:lnTo>
                    <a:lnTo>
                      <a:pt x="19" y="225"/>
                    </a:lnTo>
                    <a:lnTo>
                      <a:pt x="21" y="225"/>
                    </a:lnTo>
                    <a:lnTo>
                      <a:pt x="23" y="223"/>
                    </a:lnTo>
                    <a:lnTo>
                      <a:pt x="25" y="225"/>
                    </a:lnTo>
                    <a:lnTo>
                      <a:pt x="27" y="223"/>
                    </a:lnTo>
                    <a:lnTo>
                      <a:pt x="27" y="225"/>
                    </a:lnTo>
                    <a:lnTo>
                      <a:pt x="29" y="223"/>
                    </a:lnTo>
                    <a:lnTo>
                      <a:pt x="31" y="225"/>
                    </a:lnTo>
                    <a:lnTo>
                      <a:pt x="32" y="225"/>
                    </a:lnTo>
                    <a:lnTo>
                      <a:pt x="34" y="223"/>
                    </a:lnTo>
                    <a:lnTo>
                      <a:pt x="32" y="221"/>
                    </a:lnTo>
                    <a:lnTo>
                      <a:pt x="31" y="219"/>
                    </a:lnTo>
                    <a:lnTo>
                      <a:pt x="29" y="219"/>
                    </a:lnTo>
                    <a:lnTo>
                      <a:pt x="29" y="217"/>
                    </a:lnTo>
                    <a:lnTo>
                      <a:pt x="29" y="215"/>
                    </a:lnTo>
                    <a:lnTo>
                      <a:pt x="27" y="215"/>
                    </a:lnTo>
                    <a:lnTo>
                      <a:pt x="27" y="213"/>
                    </a:lnTo>
                    <a:lnTo>
                      <a:pt x="27" y="211"/>
                    </a:lnTo>
                    <a:lnTo>
                      <a:pt x="25" y="211"/>
                    </a:lnTo>
                    <a:lnTo>
                      <a:pt x="25" y="209"/>
                    </a:lnTo>
                    <a:lnTo>
                      <a:pt x="25" y="208"/>
                    </a:lnTo>
                    <a:lnTo>
                      <a:pt x="27" y="206"/>
                    </a:lnTo>
                    <a:lnTo>
                      <a:pt x="25" y="206"/>
                    </a:lnTo>
                    <a:lnTo>
                      <a:pt x="25" y="204"/>
                    </a:lnTo>
                    <a:lnTo>
                      <a:pt x="25" y="202"/>
                    </a:lnTo>
                    <a:lnTo>
                      <a:pt x="25" y="200"/>
                    </a:lnTo>
                    <a:lnTo>
                      <a:pt x="27" y="200"/>
                    </a:lnTo>
                    <a:lnTo>
                      <a:pt x="27" y="198"/>
                    </a:lnTo>
                    <a:lnTo>
                      <a:pt x="25" y="198"/>
                    </a:lnTo>
                    <a:lnTo>
                      <a:pt x="25" y="196"/>
                    </a:lnTo>
                    <a:lnTo>
                      <a:pt x="25" y="194"/>
                    </a:lnTo>
                    <a:lnTo>
                      <a:pt x="27" y="194"/>
                    </a:lnTo>
                    <a:lnTo>
                      <a:pt x="25" y="194"/>
                    </a:lnTo>
                    <a:lnTo>
                      <a:pt x="25" y="192"/>
                    </a:lnTo>
                    <a:lnTo>
                      <a:pt x="25" y="190"/>
                    </a:lnTo>
                    <a:lnTo>
                      <a:pt x="25" y="188"/>
                    </a:lnTo>
                    <a:lnTo>
                      <a:pt x="23" y="190"/>
                    </a:lnTo>
                    <a:lnTo>
                      <a:pt x="23" y="188"/>
                    </a:lnTo>
                    <a:lnTo>
                      <a:pt x="23" y="185"/>
                    </a:lnTo>
                    <a:lnTo>
                      <a:pt x="23" y="183"/>
                    </a:lnTo>
                    <a:lnTo>
                      <a:pt x="21" y="183"/>
                    </a:lnTo>
                    <a:lnTo>
                      <a:pt x="21" y="181"/>
                    </a:lnTo>
                    <a:lnTo>
                      <a:pt x="21" y="179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17" y="179"/>
                    </a:lnTo>
                    <a:lnTo>
                      <a:pt x="17" y="177"/>
                    </a:lnTo>
                    <a:lnTo>
                      <a:pt x="17" y="175"/>
                    </a:lnTo>
                    <a:lnTo>
                      <a:pt x="15" y="173"/>
                    </a:lnTo>
                    <a:lnTo>
                      <a:pt x="10" y="173"/>
                    </a:lnTo>
                    <a:lnTo>
                      <a:pt x="2" y="164"/>
                    </a:lnTo>
                    <a:lnTo>
                      <a:pt x="0" y="152"/>
                    </a:lnTo>
                    <a:lnTo>
                      <a:pt x="0" y="150"/>
                    </a:lnTo>
                    <a:lnTo>
                      <a:pt x="2" y="150"/>
                    </a:lnTo>
                    <a:lnTo>
                      <a:pt x="4" y="150"/>
                    </a:lnTo>
                    <a:lnTo>
                      <a:pt x="4" y="148"/>
                    </a:lnTo>
                    <a:lnTo>
                      <a:pt x="4" y="146"/>
                    </a:lnTo>
                    <a:lnTo>
                      <a:pt x="6" y="146"/>
                    </a:lnTo>
                    <a:lnTo>
                      <a:pt x="6" y="145"/>
                    </a:lnTo>
                    <a:lnTo>
                      <a:pt x="6" y="141"/>
                    </a:lnTo>
                    <a:lnTo>
                      <a:pt x="8" y="139"/>
                    </a:lnTo>
                    <a:lnTo>
                      <a:pt x="13" y="129"/>
                    </a:lnTo>
                    <a:lnTo>
                      <a:pt x="32" y="110"/>
                    </a:lnTo>
                    <a:lnTo>
                      <a:pt x="32" y="106"/>
                    </a:lnTo>
                    <a:lnTo>
                      <a:pt x="34" y="80"/>
                    </a:lnTo>
                    <a:lnTo>
                      <a:pt x="36" y="59"/>
                    </a:lnTo>
                    <a:lnTo>
                      <a:pt x="40" y="53"/>
                    </a:lnTo>
                    <a:lnTo>
                      <a:pt x="38" y="51"/>
                    </a:lnTo>
                    <a:lnTo>
                      <a:pt x="36" y="47"/>
                    </a:lnTo>
                    <a:lnTo>
                      <a:pt x="34" y="45"/>
                    </a:lnTo>
                    <a:lnTo>
                      <a:pt x="32" y="43"/>
                    </a:lnTo>
                    <a:lnTo>
                      <a:pt x="34" y="42"/>
                    </a:lnTo>
                    <a:lnTo>
                      <a:pt x="29" y="34"/>
                    </a:lnTo>
                    <a:lnTo>
                      <a:pt x="27" y="34"/>
                    </a:lnTo>
                    <a:lnTo>
                      <a:pt x="27" y="24"/>
                    </a:lnTo>
                    <a:lnTo>
                      <a:pt x="25" y="7"/>
                    </a:lnTo>
                    <a:lnTo>
                      <a:pt x="40" y="0"/>
                    </a:lnTo>
                    <a:lnTo>
                      <a:pt x="53" y="7"/>
                    </a:lnTo>
                    <a:lnTo>
                      <a:pt x="71" y="15"/>
                    </a:lnTo>
                    <a:lnTo>
                      <a:pt x="90" y="24"/>
                    </a:lnTo>
                    <a:lnTo>
                      <a:pt x="101" y="32"/>
                    </a:lnTo>
                    <a:lnTo>
                      <a:pt x="116" y="40"/>
                    </a:lnTo>
                    <a:lnTo>
                      <a:pt x="139" y="51"/>
                    </a:lnTo>
                    <a:lnTo>
                      <a:pt x="168" y="66"/>
                    </a:lnTo>
                    <a:lnTo>
                      <a:pt x="168" y="84"/>
                    </a:lnTo>
                    <a:lnTo>
                      <a:pt x="168" y="95"/>
                    </a:lnTo>
                    <a:lnTo>
                      <a:pt x="168" y="118"/>
                    </a:lnTo>
                    <a:lnTo>
                      <a:pt x="168" y="131"/>
                    </a:lnTo>
                    <a:lnTo>
                      <a:pt x="162" y="129"/>
                    </a:lnTo>
                    <a:lnTo>
                      <a:pt x="160" y="129"/>
                    </a:lnTo>
                    <a:lnTo>
                      <a:pt x="158" y="131"/>
                    </a:lnTo>
                    <a:lnTo>
                      <a:pt x="156" y="131"/>
                    </a:lnTo>
                    <a:lnTo>
                      <a:pt x="154" y="131"/>
                    </a:lnTo>
                    <a:lnTo>
                      <a:pt x="154" y="129"/>
                    </a:lnTo>
                    <a:lnTo>
                      <a:pt x="153" y="129"/>
                    </a:lnTo>
                    <a:lnTo>
                      <a:pt x="153" y="131"/>
                    </a:lnTo>
                    <a:lnTo>
                      <a:pt x="151" y="133"/>
                    </a:lnTo>
                    <a:lnTo>
                      <a:pt x="151" y="135"/>
                    </a:lnTo>
                    <a:lnTo>
                      <a:pt x="151" y="137"/>
                    </a:lnTo>
                    <a:lnTo>
                      <a:pt x="151" y="139"/>
                    </a:lnTo>
                    <a:lnTo>
                      <a:pt x="151" y="141"/>
                    </a:lnTo>
                    <a:lnTo>
                      <a:pt x="149" y="141"/>
                    </a:lnTo>
                    <a:lnTo>
                      <a:pt x="147" y="143"/>
                    </a:lnTo>
                    <a:lnTo>
                      <a:pt x="147" y="145"/>
                    </a:lnTo>
                    <a:lnTo>
                      <a:pt x="147" y="146"/>
                    </a:lnTo>
                    <a:lnTo>
                      <a:pt x="143" y="148"/>
                    </a:lnTo>
                    <a:lnTo>
                      <a:pt x="141" y="148"/>
                    </a:lnTo>
                    <a:lnTo>
                      <a:pt x="141" y="150"/>
                    </a:lnTo>
                    <a:lnTo>
                      <a:pt x="143" y="150"/>
                    </a:lnTo>
                    <a:lnTo>
                      <a:pt x="143" y="152"/>
                    </a:lnTo>
                    <a:lnTo>
                      <a:pt x="143" y="154"/>
                    </a:lnTo>
                    <a:lnTo>
                      <a:pt x="145" y="154"/>
                    </a:lnTo>
                    <a:lnTo>
                      <a:pt x="145" y="156"/>
                    </a:lnTo>
                    <a:lnTo>
                      <a:pt x="143" y="156"/>
                    </a:lnTo>
                    <a:lnTo>
                      <a:pt x="143" y="158"/>
                    </a:lnTo>
                    <a:lnTo>
                      <a:pt x="141" y="158"/>
                    </a:lnTo>
                    <a:lnTo>
                      <a:pt x="139" y="160"/>
                    </a:lnTo>
                    <a:lnTo>
                      <a:pt x="137" y="162"/>
                    </a:lnTo>
                    <a:lnTo>
                      <a:pt x="137" y="164"/>
                    </a:lnTo>
                    <a:lnTo>
                      <a:pt x="139" y="166"/>
                    </a:lnTo>
                    <a:lnTo>
                      <a:pt x="139" y="167"/>
                    </a:lnTo>
                    <a:lnTo>
                      <a:pt x="139" y="169"/>
                    </a:lnTo>
                    <a:lnTo>
                      <a:pt x="137" y="171"/>
                    </a:lnTo>
                    <a:lnTo>
                      <a:pt x="137" y="173"/>
                    </a:lnTo>
                    <a:lnTo>
                      <a:pt x="135" y="173"/>
                    </a:lnTo>
                    <a:lnTo>
                      <a:pt x="134" y="173"/>
                    </a:lnTo>
                    <a:lnTo>
                      <a:pt x="134" y="175"/>
                    </a:lnTo>
                    <a:lnTo>
                      <a:pt x="134" y="177"/>
                    </a:lnTo>
                    <a:lnTo>
                      <a:pt x="132" y="177"/>
                    </a:lnTo>
                    <a:lnTo>
                      <a:pt x="134" y="179"/>
                    </a:lnTo>
                    <a:lnTo>
                      <a:pt x="134" y="181"/>
                    </a:lnTo>
                    <a:lnTo>
                      <a:pt x="135" y="181"/>
                    </a:lnTo>
                    <a:lnTo>
                      <a:pt x="137" y="181"/>
                    </a:lnTo>
                    <a:lnTo>
                      <a:pt x="137" y="179"/>
                    </a:lnTo>
                    <a:lnTo>
                      <a:pt x="139" y="179"/>
                    </a:lnTo>
                    <a:lnTo>
                      <a:pt x="141" y="181"/>
                    </a:lnTo>
                    <a:lnTo>
                      <a:pt x="143" y="181"/>
                    </a:lnTo>
                    <a:lnTo>
                      <a:pt x="143" y="183"/>
                    </a:lnTo>
                    <a:lnTo>
                      <a:pt x="141" y="185"/>
                    </a:lnTo>
                    <a:lnTo>
                      <a:pt x="143" y="185"/>
                    </a:lnTo>
                    <a:lnTo>
                      <a:pt x="143" y="187"/>
                    </a:lnTo>
                    <a:lnTo>
                      <a:pt x="143" y="188"/>
                    </a:lnTo>
                    <a:lnTo>
                      <a:pt x="143" y="190"/>
                    </a:lnTo>
                    <a:lnTo>
                      <a:pt x="145" y="190"/>
                    </a:lnTo>
                    <a:lnTo>
                      <a:pt x="145" y="196"/>
                    </a:lnTo>
                    <a:lnTo>
                      <a:pt x="145" y="198"/>
                    </a:lnTo>
                    <a:lnTo>
                      <a:pt x="147" y="200"/>
                    </a:lnTo>
                    <a:lnTo>
                      <a:pt x="149" y="200"/>
                    </a:lnTo>
                    <a:lnTo>
                      <a:pt x="151" y="200"/>
                    </a:lnTo>
                    <a:lnTo>
                      <a:pt x="151" y="202"/>
                    </a:lnTo>
                    <a:lnTo>
                      <a:pt x="151" y="204"/>
                    </a:lnTo>
                    <a:lnTo>
                      <a:pt x="151" y="206"/>
                    </a:lnTo>
                    <a:lnTo>
                      <a:pt x="149" y="20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7" name="Freeform 216">
                <a:extLst>
                  <a:ext uri="{FF2B5EF4-FFF2-40B4-BE49-F238E27FC236}">
                    <a16:creationId xmlns:a16="http://schemas.microsoft.com/office/drawing/2014/main" id="{763D86DD-A66E-D443-BBA9-83AEAE2793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1601" y="-2285450"/>
                <a:ext cx="374990" cy="292032"/>
              </a:xfrm>
              <a:custGeom>
                <a:avLst/>
                <a:gdLst>
                  <a:gd name="T0" fmla="*/ 143 w 238"/>
                  <a:gd name="T1" fmla="*/ 49 h 185"/>
                  <a:gd name="T2" fmla="*/ 139 w 238"/>
                  <a:gd name="T3" fmla="*/ 63 h 185"/>
                  <a:gd name="T4" fmla="*/ 147 w 238"/>
                  <a:gd name="T5" fmla="*/ 63 h 185"/>
                  <a:gd name="T6" fmla="*/ 154 w 238"/>
                  <a:gd name="T7" fmla="*/ 63 h 185"/>
                  <a:gd name="T8" fmla="*/ 154 w 238"/>
                  <a:gd name="T9" fmla="*/ 70 h 185"/>
                  <a:gd name="T10" fmla="*/ 164 w 238"/>
                  <a:gd name="T11" fmla="*/ 85 h 185"/>
                  <a:gd name="T12" fmla="*/ 175 w 238"/>
                  <a:gd name="T13" fmla="*/ 95 h 185"/>
                  <a:gd name="T14" fmla="*/ 229 w 238"/>
                  <a:gd name="T15" fmla="*/ 122 h 185"/>
                  <a:gd name="T16" fmla="*/ 175 w 238"/>
                  <a:gd name="T17" fmla="*/ 160 h 185"/>
                  <a:gd name="T18" fmla="*/ 158 w 238"/>
                  <a:gd name="T19" fmla="*/ 167 h 185"/>
                  <a:gd name="T20" fmla="*/ 145 w 238"/>
                  <a:gd name="T21" fmla="*/ 171 h 185"/>
                  <a:gd name="T22" fmla="*/ 141 w 238"/>
                  <a:gd name="T23" fmla="*/ 173 h 185"/>
                  <a:gd name="T24" fmla="*/ 133 w 238"/>
                  <a:gd name="T25" fmla="*/ 175 h 185"/>
                  <a:gd name="T26" fmla="*/ 124 w 238"/>
                  <a:gd name="T27" fmla="*/ 171 h 185"/>
                  <a:gd name="T28" fmla="*/ 103 w 238"/>
                  <a:gd name="T29" fmla="*/ 185 h 185"/>
                  <a:gd name="T30" fmla="*/ 95 w 238"/>
                  <a:gd name="T31" fmla="*/ 183 h 185"/>
                  <a:gd name="T32" fmla="*/ 82 w 238"/>
                  <a:gd name="T33" fmla="*/ 181 h 185"/>
                  <a:gd name="T34" fmla="*/ 61 w 238"/>
                  <a:gd name="T35" fmla="*/ 167 h 185"/>
                  <a:gd name="T36" fmla="*/ 46 w 238"/>
                  <a:gd name="T37" fmla="*/ 164 h 185"/>
                  <a:gd name="T38" fmla="*/ 44 w 238"/>
                  <a:gd name="T39" fmla="*/ 154 h 185"/>
                  <a:gd name="T40" fmla="*/ 38 w 238"/>
                  <a:gd name="T41" fmla="*/ 152 h 185"/>
                  <a:gd name="T42" fmla="*/ 30 w 238"/>
                  <a:gd name="T43" fmla="*/ 145 h 185"/>
                  <a:gd name="T44" fmla="*/ 30 w 238"/>
                  <a:gd name="T45" fmla="*/ 135 h 185"/>
                  <a:gd name="T46" fmla="*/ 25 w 238"/>
                  <a:gd name="T47" fmla="*/ 131 h 185"/>
                  <a:gd name="T48" fmla="*/ 21 w 238"/>
                  <a:gd name="T49" fmla="*/ 127 h 185"/>
                  <a:gd name="T50" fmla="*/ 17 w 238"/>
                  <a:gd name="T51" fmla="*/ 124 h 185"/>
                  <a:gd name="T52" fmla="*/ 13 w 238"/>
                  <a:gd name="T53" fmla="*/ 118 h 185"/>
                  <a:gd name="T54" fmla="*/ 7 w 238"/>
                  <a:gd name="T55" fmla="*/ 114 h 185"/>
                  <a:gd name="T56" fmla="*/ 4 w 238"/>
                  <a:gd name="T57" fmla="*/ 116 h 185"/>
                  <a:gd name="T58" fmla="*/ 0 w 238"/>
                  <a:gd name="T59" fmla="*/ 110 h 185"/>
                  <a:gd name="T60" fmla="*/ 4 w 238"/>
                  <a:gd name="T61" fmla="*/ 105 h 185"/>
                  <a:gd name="T62" fmla="*/ 4 w 238"/>
                  <a:gd name="T63" fmla="*/ 103 h 185"/>
                  <a:gd name="T64" fmla="*/ 9 w 238"/>
                  <a:gd name="T65" fmla="*/ 103 h 185"/>
                  <a:gd name="T66" fmla="*/ 17 w 238"/>
                  <a:gd name="T67" fmla="*/ 103 h 185"/>
                  <a:gd name="T68" fmla="*/ 19 w 238"/>
                  <a:gd name="T69" fmla="*/ 80 h 185"/>
                  <a:gd name="T70" fmla="*/ 19 w 238"/>
                  <a:gd name="T71" fmla="*/ 70 h 185"/>
                  <a:gd name="T72" fmla="*/ 27 w 238"/>
                  <a:gd name="T73" fmla="*/ 66 h 185"/>
                  <a:gd name="T74" fmla="*/ 30 w 238"/>
                  <a:gd name="T75" fmla="*/ 63 h 185"/>
                  <a:gd name="T76" fmla="*/ 32 w 238"/>
                  <a:gd name="T77" fmla="*/ 53 h 185"/>
                  <a:gd name="T78" fmla="*/ 36 w 238"/>
                  <a:gd name="T79" fmla="*/ 43 h 185"/>
                  <a:gd name="T80" fmla="*/ 48 w 238"/>
                  <a:gd name="T81" fmla="*/ 34 h 185"/>
                  <a:gd name="T82" fmla="*/ 49 w 238"/>
                  <a:gd name="T83" fmla="*/ 30 h 185"/>
                  <a:gd name="T84" fmla="*/ 55 w 238"/>
                  <a:gd name="T85" fmla="*/ 13 h 185"/>
                  <a:gd name="T86" fmla="*/ 61 w 238"/>
                  <a:gd name="T87" fmla="*/ 7 h 185"/>
                  <a:gd name="T88" fmla="*/ 67 w 238"/>
                  <a:gd name="T89" fmla="*/ 5 h 185"/>
                  <a:gd name="T90" fmla="*/ 70 w 238"/>
                  <a:gd name="T91" fmla="*/ 5 h 185"/>
                  <a:gd name="T92" fmla="*/ 76 w 238"/>
                  <a:gd name="T93" fmla="*/ 1 h 185"/>
                  <a:gd name="T94" fmla="*/ 82 w 238"/>
                  <a:gd name="T95" fmla="*/ 1 h 185"/>
                  <a:gd name="T96" fmla="*/ 88 w 238"/>
                  <a:gd name="T97" fmla="*/ 7 h 185"/>
                  <a:gd name="T98" fmla="*/ 93 w 238"/>
                  <a:gd name="T99" fmla="*/ 5 h 185"/>
                  <a:gd name="T100" fmla="*/ 99 w 238"/>
                  <a:gd name="T101" fmla="*/ 5 h 185"/>
                  <a:gd name="T102" fmla="*/ 103 w 238"/>
                  <a:gd name="T103" fmla="*/ 5 h 185"/>
                  <a:gd name="T104" fmla="*/ 107 w 238"/>
                  <a:gd name="T105" fmla="*/ 5 h 185"/>
                  <a:gd name="T106" fmla="*/ 114 w 238"/>
                  <a:gd name="T107" fmla="*/ 5 h 185"/>
                  <a:gd name="T108" fmla="*/ 141 w 238"/>
                  <a:gd name="T109" fmla="*/ 28 h 185"/>
                  <a:gd name="T110" fmla="*/ 147 w 238"/>
                  <a:gd name="T111" fmla="*/ 36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8" h="185">
                    <a:moveTo>
                      <a:pt x="149" y="38"/>
                    </a:moveTo>
                    <a:lnTo>
                      <a:pt x="149" y="40"/>
                    </a:lnTo>
                    <a:lnTo>
                      <a:pt x="147" y="42"/>
                    </a:lnTo>
                    <a:lnTo>
                      <a:pt x="145" y="45"/>
                    </a:lnTo>
                    <a:lnTo>
                      <a:pt x="143" y="49"/>
                    </a:lnTo>
                    <a:lnTo>
                      <a:pt x="141" y="49"/>
                    </a:lnTo>
                    <a:lnTo>
                      <a:pt x="139" y="51"/>
                    </a:lnTo>
                    <a:lnTo>
                      <a:pt x="139" y="55"/>
                    </a:lnTo>
                    <a:lnTo>
                      <a:pt x="139" y="59"/>
                    </a:lnTo>
                    <a:lnTo>
                      <a:pt x="139" y="63"/>
                    </a:lnTo>
                    <a:lnTo>
                      <a:pt x="141" y="63"/>
                    </a:lnTo>
                    <a:lnTo>
                      <a:pt x="141" y="64"/>
                    </a:lnTo>
                    <a:lnTo>
                      <a:pt x="143" y="63"/>
                    </a:lnTo>
                    <a:lnTo>
                      <a:pt x="145" y="63"/>
                    </a:lnTo>
                    <a:lnTo>
                      <a:pt x="147" y="63"/>
                    </a:lnTo>
                    <a:lnTo>
                      <a:pt x="149" y="63"/>
                    </a:lnTo>
                    <a:lnTo>
                      <a:pt x="150" y="63"/>
                    </a:lnTo>
                    <a:lnTo>
                      <a:pt x="152" y="61"/>
                    </a:lnTo>
                    <a:lnTo>
                      <a:pt x="154" y="61"/>
                    </a:lnTo>
                    <a:lnTo>
                      <a:pt x="154" y="63"/>
                    </a:lnTo>
                    <a:lnTo>
                      <a:pt x="156" y="63"/>
                    </a:lnTo>
                    <a:lnTo>
                      <a:pt x="158" y="63"/>
                    </a:lnTo>
                    <a:lnTo>
                      <a:pt x="154" y="68"/>
                    </a:lnTo>
                    <a:lnTo>
                      <a:pt x="152" y="68"/>
                    </a:lnTo>
                    <a:lnTo>
                      <a:pt x="154" y="70"/>
                    </a:lnTo>
                    <a:lnTo>
                      <a:pt x="156" y="74"/>
                    </a:lnTo>
                    <a:lnTo>
                      <a:pt x="158" y="78"/>
                    </a:lnTo>
                    <a:lnTo>
                      <a:pt x="160" y="80"/>
                    </a:lnTo>
                    <a:lnTo>
                      <a:pt x="162" y="82"/>
                    </a:lnTo>
                    <a:lnTo>
                      <a:pt x="164" y="85"/>
                    </a:lnTo>
                    <a:lnTo>
                      <a:pt x="166" y="87"/>
                    </a:lnTo>
                    <a:lnTo>
                      <a:pt x="166" y="89"/>
                    </a:lnTo>
                    <a:lnTo>
                      <a:pt x="168" y="89"/>
                    </a:lnTo>
                    <a:lnTo>
                      <a:pt x="173" y="95"/>
                    </a:lnTo>
                    <a:lnTo>
                      <a:pt x="175" y="95"/>
                    </a:lnTo>
                    <a:lnTo>
                      <a:pt x="198" y="103"/>
                    </a:lnTo>
                    <a:lnTo>
                      <a:pt x="210" y="106"/>
                    </a:lnTo>
                    <a:lnTo>
                      <a:pt x="221" y="110"/>
                    </a:lnTo>
                    <a:lnTo>
                      <a:pt x="238" y="110"/>
                    </a:lnTo>
                    <a:lnTo>
                      <a:pt x="229" y="122"/>
                    </a:lnTo>
                    <a:lnTo>
                      <a:pt x="208" y="141"/>
                    </a:lnTo>
                    <a:lnTo>
                      <a:pt x="206" y="145"/>
                    </a:lnTo>
                    <a:lnTo>
                      <a:pt x="200" y="148"/>
                    </a:lnTo>
                    <a:lnTo>
                      <a:pt x="191" y="160"/>
                    </a:lnTo>
                    <a:lnTo>
                      <a:pt x="175" y="160"/>
                    </a:lnTo>
                    <a:lnTo>
                      <a:pt x="170" y="162"/>
                    </a:lnTo>
                    <a:lnTo>
                      <a:pt x="166" y="162"/>
                    </a:lnTo>
                    <a:lnTo>
                      <a:pt x="160" y="166"/>
                    </a:lnTo>
                    <a:lnTo>
                      <a:pt x="158" y="166"/>
                    </a:lnTo>
                    <a:lnTo>
                      <a:pt x="158" y="167"/>
                    </a:lnTo>
                    <a:lnTo>
                      <a:pt x="158" y="169"/>
                    </a:lnTo>
                    <a:lnTo>
                      <a:pt x="156" y="171"/>
                    </a:lnTo>
                    <a:lnTo>
                      <a:pt x="154" y="171"/>
                    </a:lnTo>
                    <a:lnTo>
                      <a:pt x="150" y="171"/>
                    </a:lnTo>
                    <a:lnTo>
                      <a:pt x="145" y="171"/>
                    </a:lnTo>
                    <a:lnTo>
                      <a:pt x="145" y="173"/>
                    </a:lnTo>
                    <a:lnTo>
                      <a:pt x="145" y="171"/>
                    </a:lnTo>
                    <a:lnTo>
                      <a:pt x="143" y="171"/>
                    </a:lnTo>
                    <a:lnTo>
                      <a:pt x="143" y="173"/>
                    </a:lnTo>
                    <a:lnTo>
                      <a:pt x="141" y="173"/>
                    </a:lnTo>
                    <a:lnTo>
                      <a:pt x="141" y="175"/>
                    </a:lnTo>
                    <a:lnTo>
                      <a:pt x="139" y="175"/>
                    </a:lnTo>
                    <a:lnTo>
                      <a:pt x="137" y="175"/>
                    </a:lnTo>
                    <a:lnTo>
                      <a:pt x="135" y="175"/>
                    </a:lnTo>
                    <a:lnTo>
                      <a:pt x="133" y="175"/>
                    </a:lnTo>
                    <a:lnTo>
                      <a:pt x="131" y="175"/>
                    </a:lnTo>
                    <a:lnTo>
                      <a:pt x="130" y="175"/>
                    </a:lnTo>
                    <a:lnTo>
                      <a:pt x="126" y="173"/>
                    </a:lnTo>
                    <a:lnTo>
                      <a:pt x="126" y="171"/>
                    </a:lnTo>
                    <a:lnTo>
                      <a:pt x="124" y="171"/>
                    </a:lnTo>
                    <a:lnTo>
                      <a:pt x="112" y="175"/>
                    </a:lnTo>
                    <a:lnTo>
                      <a:pt x="109" y="177"/>
                    </a:lnTo>
                    <a:lnTo>
                      <a:pt x="107" y="181"/>
                    </a:lnTo>
                    <a:lnTo>
                      <a:pt x="105" y="183"/>
                    </a:lnTo>
                    <a:lnTo>
                      <a:pt x="103" y="185"/>
                    </a:lnTo>
                    <a:lnTo>
                      <a:pt x="103" y="183"/>
                    </a:lnTo>
                    <a:lnTo>
                      <a:pt x="101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5" y="183"/>
                    </a:lnTo>
                    <a:lnTo>
                      <a:pt x="93" y="183"/>
                    </a:lnTo>
                    <a:lnTo>
                      <a:pt x="89" y="181"/>
                    </a:lnTo>
                    <a:lnTo>
                      <a:pt x="88" y="181"/>
                    </a:lnTo>
                    <a:lnTo>
                      <a:pt x="86" y="181"/>
                    </a:lnTo>
                    <a:lnTo>
                      <a:pt x="82" y="181"/>
                    </a:lnTo>
                    <a:lnTo>
                      <a:pt x="78" y="179"/>
                    </a:lnTo>
                    <a:lnTo>
                      <a:pt x="70" y="173"/>
                    </a:lnTo>
                    <a:lnTo>
                      <a:pt x="65" y="169"/>
                    </a:lnTo>
                    <a:lnTo>
                      <a:pt x="63" y="169"/>
                    </a:lnTo>
                    <a:lnTo>
                      <a:pt x="61" y="167"/>
                    </a:lnTo>
                    <a:lnTo>
                      <a:pt x="57" y="167"/>
                    </a:lnTo>
                    <a:lnTo>
                      <a:pt x="55" y="167"/>
                    </a:lnTo>
                    <a:lnTo>
                      <a:pt x="46" y="167"/>
                    </a:lnTo>
                    <a:lnTo>
                      <a:pt x="46" y="166"/>
                    </a:lnTo>
                    <a:lnTo>
                      <a:pt x="46" y="164"/>
                    </a:lnTo>
                    <a:lnTo>
                      <a:pt x="44" y="162"/>
                    </a:lnTo>
                    <a:lnTo>
                      <a:pt x="44" y="160"/>
                    </a:lnTo>
                    <a:lnTo>
                      <a:pt x="44" y="158"/>
                    </a:lnTo>
                    <a:lnTo>
                      <a:pt x="46" y="156"/>
                    </a:lnTo>
                    <a:lnTo>
                      <a:pt x="44" y="154"/>
                    </a:lnTo>
                    <a:lnTo>
                      <a:pt x="46" y="154"/>
                    </a:lnTo>
                    <a:lnTo>
                      <a:pt x="44" y="154"/>
                    </a:lnTo>
                    <a:lnTo>
                      <a:pt x="42" y="152"/>
                    </a:lnTo>
                    <a:lnTo>
                      <a:pt x="40" y="152"/>
                    </a:lnTo>
                    <a:lnTo>
                      <a:pt x="38" y="152"/>
                    </a:lnTo>
                    <a:lnTo>
                      <a:pt x="36" y="154"/>
                    </a:lnTo>
                    <a:lnTo>
                      <a:pt x="36" y="152"/>
                    </a:lnTo>
                    <a:lnTo>
                      <a:pt x="36" y="150"/>
                    </a:lnTo>
                    <a:lnTo>
                      <a:pt x="32" y="148"/>
                    </a:lnTo>
                    <a:lnTo>
                      <a:pt x="30" y="145"/>
                    </a:lnTo>
                    <a:lnTo>
                      <a:pt x="30" y="141"/>
                    </a:lnTo>
                    <a:lnTo>
                      <a:pt x="30" y="139"/>
                    </a:lnTo>
                    <a:lnTo>
                      <a:pt x="30" y="137"/>
                    </a:lnTo>
                    <a:lnTo>
                      <a:pt x="32" y="135"/>
                    </a:lnTo>
                    <a:lnTo>
                      <a:pt x="30" y="135"/>
                    </a:lnTo>
                    <a:lnTo>
                      <a:pt x="30" y="133"/>
                    </a:lnTo>
                    <a:lnTo>
                      <a:pt x="28" y="133"/>
                    </a:lnTo>
                    <a:lnTo>
                      <a:pt x="27" y="133"/>
                    </a:lnTo>
                    <a:lnTo>
                      <a:pt x="27" y="131"/>
                    </a:lnTo>
                    <a:lnTo>
                      <a:pt x="25" y="131"/>
                    </a:lnTo>
                    <a:lnTo>
                      <a:pt x="23" y="131"/>
                    </a:lnTo>
                    <a:lnTo>
                      <a:pt x="25" y="129"/>
                    </a:lnTo>
                    <a:lnTo>
                      <a:pt x="23" y="129"/>
                    </a:lnTo>
                    <a:lnTo>
                      <a:pt x="23" y="127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19" y="126"/>
                    </a:lnTo>
                    <a:lnTo>
                      <a:pt x="17" y="124"/>
                    </a:lnTo>
                    <a:lnTo>
                      <a:pt x="15" y="124"/>
                    </a:lnTo>
                    <a:lnTo>
                      <a:pt x="15" y="122"/>
                    </a:lnTo>
                    <a:lnTo>
                      <a:pt x="15" y="120"/>
                    </a:lnTo>
                    <a:lnTo>
                      <a:pt x="15" y="118"/>
                    </a:lnTo>
                    <a:lnTo>
                      <a:pt x="13" y="118"/>
                    </a:lnTo>
                    <a:lnTo>
                      <a:pt x="11" y="118"/>
                    </a:lnTo>
                    <a:lnTo>
                      <a:pt x="11" y="116"/>
                    </a:lnTo>
                    <a:lnTo>
                      <a:pt x="9" y="116"/>
                    </a:lnTo>
                    <a:lnTo>
                      <a:pt x="7" y="116"/>
                    </a:lnTo>
                    <a:lnTo>
                      <a:pt x="7" y="114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4" y="116"/>
                    </a:lnTo>
                    <a:lnTo>
                      <a:pt x="4" y="114"/>
                    </a:lnTo>
                    <a:lnTo>
                      <a:pt x="2" y="114"/>
                    </a:lnTo>
                    <a:lnTo>
                      <a:pt x="0" y="114"/>
                    </a:lnTo>
                    <a:lnTo>
                      <a:pt x="0" y="112"/>
                    </a:lnTo>
                    <a:lnTo>
                      <a:pt x="0" y="110"/>
                    </a:lnTo>
                    <a:lnTo>
                      <a:pt x="2" y="110"/>
                    </a:lnTo>
                    <a:lnTo>
                      <a:pt x="2" y="108"/>
                    </a:lnTo>
                    <a:lnTo>
                      <a:pt x="2" y="106"/>
                    </a:lnTo>
                    <a:lnTo>
                      <a:pt x="2" y="105"/>
                    </a:lnTo>
                    <a:lnTo>
                      <a:pt x="4" y="105"/>
                    </a:lnTo>
                    <a:lnTo>
                      <a:pt x="2" y="105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6" y="105"/>
                    </a:lnTo>
                    <a:lnTo>
                      <a:pt x="6" y="103"/>
                    </a:lnTo>
                    <a:lnTo>
                      <a:pt x="7" y="103"/>
                    </a:lnTo>
                    <a:lnTo>
                      <a:pt x="9" y="105"/>
                    </a:lnTo>
                    <a:lnTo>
                      <a:pt x="9" y="103"/>
                    </a:lnTo>
                    <a:lnTo>
                      <a:pt x="11" y="105"/>
                    </a:lnTo>
                    <a:lnTo>
                      <a:pt x="13" y="105"/>
                    </a:lnTo>
                    <a:lnTo>
                      <a:pt x="13" y="103"/>
                    </a:lnTo>
                    <a:lnTo>
                      <a:pt x="15" y="103"/>
                    </a:lnTo>
                    <a:lnTo>
                      <a:pt x="17" y="103"/>
                    </a:lnTo>
                    <a:lnTo>
                      <a:pt x="17" y="101"/>
                    </a:lnTo>
                    <a:lnTo>
                      <a:pt x="17" y="93"/>
                    </a:lnTo>
                    <a:lnTo>
                      <a:pt x="17" y="87"/>
                    </a:lnTo>
                    <a:lnTo>
                      <a:pt x="17" y="85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21" y="76"/>
                    </a:lnTo>
                    <a:lnTo>
                      <a:pt x="21" y="72"/>
                    </a:lnTo>
                    <a:lnTo>
                      <a:pt x="21" y="70"/>
                    </a:lnTo>
                    <a:lnTo>
                      <a:pt x="19" y="70"/>
                    </a:lnTo>
                    <a:lnTo>
                      <a:pt x="21" y="68"/>
                    </a:lnTo>
                    <a:lnTo>
                      <a:pt x="23" y="64"/>
                    </a:lnTo>
                    <a:lnTo>
                      <a:pt x="25" y="64"/>
                    </a:lnTo>
                    <a:lnTo>
                      <a:pt x="27" y="64"/>
                    </a:lnTo>
                    <a:lnTo>
                      <a:pt x="27" y="66"/>
                    </a:lnTo>
                    <a:lnTo>
                      <a:pt x="28" y="66"/>
                    </a:lnTo>
                    <a:lnTo>
                      <a:pt x="27" y="66"/>
                    </a:lnTo>
                    <a:lnTo>
                      <a:pt x="28" y="66"/>
                    </a:lnTo>
                    <a:lnTo>
                      <a:pt x="30" y="64"/>
                    </a:lnTo>
                    <a:lnTo>
                      <a:pt x="30" y="63"/>
                    </a:lnTo>
                    <a:lnTo>
                      <a:pt x="30" y="61"/>
                    </a:lnTo>
                    <a:lnTo>
                      <a:pt x="30" y="59"/>
                    </a:lnTo>
                    <a:lnTo>
                      <a:pt x="30" y="57"/>
                    </a:lnTo>
                    <a:lnTo>
                      <a:pt x="32" y="55"/>
                    </a:lnTo>
                    <a:lnTo>
                      <a:pt x="32" y="53"/>
                    </a:lnTo>
                    <a:lnTo>
                      <a:pt x="32" y="51"/>
                    </a:lnTo>
                    <a:lnTo>
                      <a:pt x="32" y="49"/>
                    </a:lnTo>
                    <a:lnTo>
                      <a:pt x="36" y="47"/>
                    </a:lnTo>
                    <a:lnTo>
                      <a:pt x="36" y="45"/>
                    </a:lnTo>
                    <a:lnTo>
                      <a:pt x="36" y="43"/>
                    </a:lnTo>
                    <a:lnTo>
                      <a:pt x="38" y="43"/>
                    </a:lnTo>
                    <a:lnTo>
                      <a:pt x="38" y="42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8" y="34"/>
                    </a:lnTo>
                    <a:lnTo>
                      <a:pt x="49" y="34"/>
                    </a:lnTo>
                    <a:lnTo>
                      <a:pt x="49" y="36"/>
                    </a:lnTo>
                    <a:lnTo>
                      <a:pt x="49" y="34"/>
                    </a:lnTo>
                    <a:lnTo>
                      <a:pt x="49" y="32"/>
                    </a:lnTo>
                    <a:lnTo>
                      <a:pt x="49" y="30"/>
                    </a:lnTo>
                    <a:lnTo>
                      <a:pt x="51" y="24"/>
                    </a:lnTo>
                    <a:lnTo>
                      <a:pt x="53" y="21"/>
                    </a:lnTo>
                    <a:lnTo>
                      <a:pt x="53" y="19"/>
                    </a:lnTo>
                    <a:lnTo>
                      <a:pt x="55" y="17"/>
                    </a:lnTo>
                    <a:lnTo>
                      <a:pt x="55" y="13"/>
                    </a:lnTo>
                    <a:lnTo>
                      <a:pt x="55" y="9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3" y="9"/>
                    </a:lnTo>
                    <a:lnTo>
                      <a:pt x="65" y="9"/>
                    </a:lnTo>
                    <a:lnTo>
                      <a:pt x="65" y="7"/>
                    </a:lnTo>
                    <a:lnTo>
                      <a:pt x="67" y="7"/>
                    </a:lnTo>
                    <a:lnTo>
                      <a:pt x="67" y="5"/>
                    </a:lnTo>
                    <a:lnTo>
                      <a:pt x="67" y="7"/>
                    </a:lnTo>
                    <a:lnTo>
                      <a:pt x="68" y="5"/>
                    </a:lnTo>
                    <a:lnTo>
                      <a:pt x="68" y="7"/>
                    </a:lnTo>
                    <a:lnTo>
                      <a:pt x="68" y="5"/>
                    </a:lnTo>
                    <a:lnTo>
                      <a:pt x="70" y="5"/>
                    </a:lnTo>
                    <a:lnTo>
                      <a:pt x="72" y="5"/>
                    </a:lnTo>
                    <a:lnTo>
                      <a:pt x="74" y="5"/>
                    </a:lnTo>
                    <a:lnTo>
                      <a:pt x="74" y="3"/>
                    </a:lnTo>
                    <a:lnTo>
                      <a:pt x="76" y="3"/>
                    </a:lnTo>
                    <a:lnTo>
                      <a:pt x="76" y="1"/>
                    </a:lnTo>
                    <a:lnTo>
                      <a:pt x="76" y="0"/>
                    </a:lnTo>
                    <a:lnTo>
                      <a:pt x="78" y="0"/>
                    </a:lnTo>
                    <a:lnTo>
                      <a:pt x="78" y="1"/>
                    </a:lnTo>
                    <a:lnTo>
                      <a:pt x="80" y="1"/>
                    </a:lnTo>
                    <a:lnTo>
                      <a:pt x="82" y="1"/>
                    </a:lnTo>
                    <a:lnTo>
                      <a:pt x="84" y="3"/>
                    </a:lnTo>
                    <a:lnTo>
                      <a:pt x="84" y="5"/>
                    </a:lnTo>
                    <a:lnTo>
                      <a:pt x="86" y="5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88" y="5"/>
                    </a:lnTo>
                    <a:lnTo>
                      <a:pt x="89" y="7"/>
                    </a:lnTo>
                    <a:lnTo>
                      <a:pt x="89" y="5"/>
                    </a:lnTo>
                    <a:lnTo>
                      <a:pt x="91" y="5"/>
                    </a:lnTo>
                    <a:lnTo>
                      <a:pt x="93" y="5"/>
                    </a:lnTo>
                    <a:lnTo>
                      <a:pt x="95" y="5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9" y="3"/>
                    </a:lnTo>
                    <a:lnTo>
                      <a:pt x="99" y="5"/>
                    </a:lnTo>
                    <a:lnTo>
                      <a:pt x="97" y="5"/>
                    </a:lnTo>
                    <a:lnTo>
                      <a:pt x="99" y="7"/>
                    </a:lnTo>
                    <a:lnTo>
                      <a:pt x="99" y="5"/>
                    </a:lnTo>
                    <a:lnTo>
                      <a:pt x="101" y="5"/>
                    </a:lnTo>
                    <a:lnTo>
                      <a:pt x="103" y="5"/>
                    </a:lnTo>
                    <a:lnTo>
                      <a:pt x="103" y="3"/>
                    </a:lnTo>
                    <a:lnTo>
                      <a:pt x="103" y="1"/>
                    </a:lnTo>
                    <a:lnTo>
                      <a:pt x="105" y="3"/>
                    </a:lnTo>
                    <a:lnTo>
                      <a:pt x="107" y="3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10" y="7"/>
                    </a:lnTo>
                    <a:lnTo>
                      <a:pt x="110" y="5"/>
                    </a:lnTo>
                    <a:lnTo>
                      <a:pt x="112" y="5"/>
                    </a:lnTo>
                    <a:lnTo>
                      <a:pt x="114" y="5"/>
                    </a:lnTo>
                    <a:lnTo>
                      <a:pt x="118" y="7"/>
                    </a:lnTo>
                    <a:lnTo>
                      <a:pt x="122" y="9"/>
                    </a:lnTo>
                    <a:lnTo>
                      <a:pt x="128" y="15"/>
                    </a:lnTo>
                    <a:lnTo>
                      <a:pt x="131" y="19"/>
                    </a:lnTo>
                    <a:lnTo>
                      <a:pt x="141" y="28"/>
                    </a:lnTo>
                    <a:lnTo>
                      <a:pt x="143" y="30"/>
                    </a:lnTo>
                    <a:lnTo>
                      <a:pt x="143" y="32"/>
                    </a:lnTo>
                    <a:lnTo>
                      <a:pt x="145" y="34"/>
                    </a:lnTo>
                    <a:lnTo>
                      <a:pt x="147" y="34"/>
                    </a:lnTo>
                    <a:lnTo>
                      <a:pt x="147" y="36"/>
                    </a:lnTo>
                    <a:lnTo>
                      <a:pt x="149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8" name="Freeform 217">
                <a:extLst>
                  <a:ext uri="{FF2B5EF4-FFF2-40B4-BE49-F238E27FC236}">
                    <a16:creationId xmlns:a16="http://schemas.microsoft.com/office/drawing/2014/main" id="{E71768C9-0D1D-D49C-75A7-49568F7F01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99443" y="-2219150"/>
                <a:ext cx="278878" cy="222574"/>
              </a:xfrm>
              <a:custGeom>
                <a:avLst/>
                <a:gdLst>
                  <a:gd name="T0" fmla="*/ 156 w 177"/>
                  <a:gd name="T1" fmla="*/ 61 h 141"/>
                  <a:gd name="T2" fmla="*/ 150 w 177"/>
                  <a:gd name="T3" fmla="*/ 63 h 141"/>
                  <a:gd name="T4" fmla="*/ 145 w 177"/>
                  <a:gd name="T5" fmla="*/ 63 h 141"/>
                  <a:gd name="T6" fmla="*/ 143 w 177"/>
                  <a:gd name="T7" fmla="*/ 63 h 141"/>
                  <a:gd name="T8" fmla="*/ 141 w 177"/>
                  <a:gd name="T9" fmla="*/ 70 h 141"/>
                  <a:gd name="T10" fmla="*/ 147 w 177"/>
                  <a:gd name="T11" fmla="*/ 74 h 141"/>
                  <a:gd name="T12" fmla="*/ 148 w 177"/>
                  <a:gd name="T13" fmla="*/ 74 h 141"/>
                  <a:gd name="T14" fmla="*/ 156 w 177"/>
                  <a:gd name="T15" fmla="*/ 76 h 141"/>
                  <a:gd name="T16" fmla="*/ 160 w 177"/>
                  <a:gd name="T17" fmla="*/ 84 h 141"/>
                  <a:gd name="T18" fmla="*/ 164 w 177"/>
                  <a:gd name="T19" fmla="*/ 85 h 141"/>
                  <a:gd name="T20" fmla="*/ 168 w 177"/>
                  <a:gd name="T21" fmla="*/ 89 h 141"/>
                  <a:gd name="T22" fmla="*/ 173 w 177"/>
                  <a:gd name="T23" fmla="*/ 93 h 141"/>
                  <a:gd name="T24" fmla="*/ 173 w 177"/>
                  <a:gd name="T25" fmla="*/ 106 h 141"/>
                  <a:gd name="T26" fmla="*/ 158 w 177"/>
                  <a:gd name="T27" fmla="*/ 127 h 141"/>
                  <a:gd name="T28" fmla="*/ 139 w 177"/>
                  <a:gd name="T29" fmla="*/ 135 h 141"/>
                  <a:gd name="T30" fmla="*/ 126 w 177"/>
                  <a:gd name="T31" fmla="*/ 141 h 141"/>
                  <a:gd name="T32" fmla="*/ 122 w 177"/>
                  <a:gd name="T33" fmla="*/ 137 h 141"/>
                  <a:gd name="T34" fmla="*/ 110 w 177"/>
                  <a:gd name="T35" fmla="*/ 137 h 141"/>
                  <a:gd name="T36" fmla="*/ 105 w 177"/>
                  <a:gd name="T37" fmla="*/ 137 h 141"/>
                  <a:gd name="T38" fmla="*/ 101 w 177"/>
                  <a:gd name="T39" fmla="*/ 135 h 141"/>
                  <a:gd name="T40" fmla="*/ 93 w 177"/>
                  <a:gd name="T41" fmla="*/ 131 h 141"/>
                  <a:gd name="T42" fmla="*/ 89 w 177"/>
                  <a:gd name="T43" fmla="*/ 125 h 141"/>
                  <a:gd name="T44" fmla="*/ 84 w 177"/>
                  <a:gd name="T45" fmla="*/ 124 h 141"/>
                  <a:gd name="T46" fmla="*/ 78 w 177"/>
                  <a:gd name="T47" fmla="*/ 125 h 141"/>
                  <a:gd name="T48" fmla="*/ 72 w 177"/>
                  <a:gd name="T49" fmla="*/ 125 h 141"/>
                  <a:gd name="T50" fmla="*/ 66 w 177"/>
                  <a:gd name="T51" fmla="*/ 127 h 141"/>
                  <a:gd name="T52" fmla="*/ 59 w 177"/>
                  <a:gd name="T53" fmla="*/ 124 h 141"/>
                  <a:gd name="T54" fmla="*/ 55 w 177"/>
                  <a:gd name="T55" fmla="*/ 118 h 141"/>
                  <a:gd name="T56" fmla="*/ 49 w 177"/>
                  <a:gd name="T57" fmla="*/ 114 h 141"/>
                  <a:gd name="T58" fmla="*/ 47 w 177"/>
                  <a:gd name="T59" fmla="*/ 106 h 141"/>
                  <a:gd name="T60" fmla="*/ 42 w 177"/>
                  <a:gd name="T61" fmla="*/ 103 h 141"/>
                  <a:gd name="T62" fmla="*/ 36 w 177"/>
                  <a:gd name="T63" fmla="*/ 99 h 141"/>
                  <a:gd name="T64" fmla="*/ 34 w 177"/>
                  <a:gd name="T65" fmla="*/ 95 h 141"/>
                  <a:gd name="T66" fmla="*/ 32 w 177"/>
                  <a:gd name="T67" fmla="*/ 87 h 141"/>
                  <a:gd name="T68" fmla="*/ 26 w 177"/>
                  <a:gd name="T69" fmla="*/ 84 h 141"/>
                  <a:gd name="T70" fmla="*/ 23 w 177"/>
                  <a:gd name="T71" fmla="*/ 82 h 141"/>
                  <a:gd name="T72" fmla="*/ 17 w 177"/>
                  <a:gd name="T73" fmla="*/ 76 h 141"/>
                  <a:gd name="T74" fmla="*/ 17 w 177"/>
                  <a:gd name="T75" fmla="*/ 72 h 141"/>
                  <a:gd name="T76" fmla="*/ 11 w 177"/>
                  <a:gd name="T77" fmla="*/ 66 h 141"/>
                  <a:gd name="T78" fmla="*/ 2 w 177"/>
                  <a:gd name="T79" fmla="*/ 64 h 141"/>
                  <a:gd name="T80" fmla="*/ 2 w 177"/>
                  <a:gd name="T81" fmla="*/ 57 h 141"/>
                  <a:gd name="T82" fmla="*/ 5 w 177"/>
                  <a:gd name="T83" fmla="*/ 51 h 141"/>
                  <a:gd name="T84" fmla="*/ 9 w 177"/>
                  <a:gd name="T85" fmla="*/ 42 h 141"/>
                  <a:gd name="T86" fmla="*/ 15 w 177"/>
                  <a:gd name="T87" fmla="*/ 36 h 141"/>
                  <a:gd name="T88" fmla="*/ 17 w 177"/>
                  <a:gd name="T89" fmla="*/ 32 h 141"/>
                  <a:gd name="T90" fmla="*/ 17 w 177"/>
                  <a:gd name="T91" fmla="*/ 30 h 141"/>
                  <a:gd name="T92" fmla="*/ 26 w 177"/>
                  <a:gd name="T93" fmla="*/ 30 h 141"/>
                  <a:gd name="T94" fmla="*/ 32 w 177"/>
                  <a:gd name="T95" fmla="*/ 38 h 141"/>
                  <a:gd name="T96" fmla="*/ 46 w 177"/>
                  <a:gd name="T97" fmla="*/ 43 h 141"/>
                  <a:gd name="T98" fmla="*/ 70 w 177"/>
                  <a:gd name="T99" fmla="*/ 47 h 141"/>
                  <a:gd name="T100" fmla="*/ 78 w 177"/>
                  <a:gd name="T101" fmla="*/ 42 h 141"/>
                  <a:gd name="T102" fmla="*/ 101 w 177"/>
                  <a:gd name="T103" fmla="*/ 38 h 141"/>
                  <a:gd name="T104" fmla="*/ 122 w 177"/>
                  <a:gd name="T105" fmla="*/ 32 h 141"/>
                  <a:gd name="T106" fmla="*/ 131 w 177"/>
                  <a:gd name="T107" fmla="*/ 9 h 141"/>
                  <a:gd name="T108" fmla="*/ 137 w 177"/>
                  <a:gd name="T109" fmla="*/ 1 h 141"/>
                  <a:gd name="T110" fmla="*/ 145 w 177"/>
                  <a:gd name="T111" fmla="*/ 22 h 141"/>
                  <a:gd name="T112" fmla="*/ 154 w 177"/>
                  <a:gd name="T113" fmla="*/ 34 h 141"/>
                  <a:gd name="T114" fmla="*/ 154 w 177"/>
                  <a:gd name="T115" fmla="*/ 42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7" h="141">
                    <a:moveTo>
                      <a:pt x="158" y="45"/>
                    </a:moveTo>
                    <a:lnTo>
                      <a:pt x="158" y="51"/>
                    </a:lnTo>
                    <a:lnTo>
                      <a:pt x="158" y="59"/>
                    </a:lnTo>
                    <a:lnTo>
                      <a:pt x="158" y="61"/>
                    </a:lnTo>
                    <a:lnTo>
                      <a:pt x="156" y="61"/>
                    </a:lnTo>
                    <a:lnTo>
                      <a:pt x="154" y="61"/>
                    </a:lnTo>
                    <a:lnTo>
                      <a:pt x="154" y="63"/>
                    </a:lnTo>
                    <a:lnTo>
                      <a:pt x="152" y="63"/>
                    </a:lnTo>
                    <a:lnTo>
                      <a:pt x="150" y="61"/>
                    </a:lnTo>
                    <a:lnTo>
                      <a:pt x="150" y="63"/>
                    </a:lnTo>
                    <a:lnTo>
                      <a:pt x="148" y="61"/>
                    </a:lnTo>
                    <a:lnTo>
                      <a:pt x="147" y="61"/>
                    </a:lnTo>
                    <a:lnTo>
                      <a:pt x="147" y="63"/>
                    </a:lnTo>
                    <a:lnTo>
                      <a:pt x="145" y="61"/>
                    </a:lnTo>
                    <a:lnTo>
                      <a:pt x="145" y="63"/>
                    </a:lnTo>
                    <a:lnTo>
                      <a:pt x="145" y="61"/>
                    </a:lnTo>
                    <a:lnTo>
                      <a:pt x="145" y="63"/>
                    </a:lnTo>
                    <a:lnTo>
                      <a:pt x="143" y="63"/>
                    </a:lnTo>
                    <a:lnTo>
                      <a:pt x="145" y="63"/>
                    </a:lnTo>
                    <a:lnTo>
                      <a:pt x="143" y="63"/>
                    </a:lnTo>
                    <a:lnTo>
                      <a:pt x="143" y="64"/>
                    </a:lnTo>
                    <a:lnTo>
                      <a:pt x="143" y="66"/>
                    </a:lnTo>
                    <a:lnTo>
                      <a:pt x="143" y="68"/>
                    </a:lnTo>
                    <a:lnTo>
                      <a:pt x="141" y="68"/>
                    </a:lnTo>
                    <a:lnTo>
                      <a:pt x="141" y="70"/>
                    </a:lnTo>
                    <a:lnTo>
                      <a:pt x="141" y="72"/>
                    </a:lnTo>
                    <a:lnTo>
                      <a:pt x="143" y="72"/>
                    </a:lnTo>
                    <a:lnTo>
                      <a:pt x="145" y="72"/>
                    </a:lnTo>
                    <a:lnTo>
                      <a:pt x="145" y="74"/>
                    </a:lnTo>
                    <a:lnTo>
                      <a:pt x="147" y="74"/>
                    </a:lnTo>
                    <a:lnTo>
                      <a:pt x="147" y="72"/>
                    </a:lnTo>
                    <a:lnTo>
                      <a:pt x="147" y="74"/>
                    </a:lnTo>
                    <a:lnTo>
                      <a:pt x="147" y="72"/>
                    </a:lnTo>
                    <a:lnTo>
                      <a:pt x="148" y="72"/>
                    </a:lnTo>
                    <a:lnTo>
                      <a:pt x="148" y="74"/>
                    </a:lnTo>
                    <a:lnTo>
                      <a:pt x="150" y="74"/>
                    </a:lnTo>
                    <a:lnTo>
                      <a:pt x="152" y="74"/>
                    </a:lnTo>
                    <a:lnTo>
                      <a:pt x="152" y="76"/>
                    </a:lnTo>
                    <a:lnTo>
                      <a:pt x="154" y="76"/>
                    </a:lnTo>
                    <a:lnTo>
                      <a:pt x="156" y="76"/>
                    </a:lnTo>
                    <a:lnTo>
                      <a:pt x="156" y="78"/>
                    </a:lnTo>
                    <a:lnTo>
                      <a:pt x="156" y="80"/>
                    </a:lnTo>
                    <a:lnTo>
                      <a:pt x="156" y="82"/>
                    </a:lnTo>
                    <a:lnTo>
                      <a:pt x="158" y="82"/>
                    </a:lnTo>
                    <a:lnTo>
                      <a:pt x="160" y="84"/>
                    </a:lnTo>
                    <a:lnTo>
                      <a:pt x="160" y="85"/>
                    </a:lnTo>
                    <a:lnTo>
                      <a:pt x="162" y="85"/>
                    </a:lnTo>
                    <a:lnTo>
                      <a:pt x="160" y="85"/>
                    </a:lnTo>
                    <a:lnTo>
                      <a:pt x="162" y="85"/>
                    </a:lnTo>
                    <a:lnTo>
                      <a:pt x="164" y="85"/>
                    </a:lnTo>
                    <a:lnTo>
                      <a:pt x="164" y="87"/>
                    </a:lnTo>
                    <a:lnTo>
                      <a:pt x="166" y="87"/>
                    </a:lnTo>
                    <a:lnTo>
                      <a:pt x="164" y="89"/>
                    </a:lnTo>
                    <a:lnTo>
                      <a:pt x="166" y="89"/>
                    </a:lnTo>
                    <a:lnTo>
                      <a:pt x="168" y="89"/>
                    </a:lnTo>
                    <a:lnTo>
                      <a:pt x="168" y="91"/>
                    </a:lnTo>
                    <a:lnTo>
                      <a:pt x="169" y="91"/>
                    </a:lnTo>
                    <a:lnTo>
                      <a:pt x="171" y="91"/>
                    </a:lnTo>
                    <a:lnTo>
                      <a:pt x="171" y="93"/>
                    </a:lnTo>
                    <a:lnTo>
                      <a:pt x="173" y="93"/>
                    </a:lnTo>
                    <a:lnTo>
                      <a:pt x="171" y="95"/>
                    </a:lnTo>
                    <a:lnTo>
                      <a:pt x="171" y="97"/>
                    </a:lnTo>
                    <a:lnTo>
                      <a:pt x="171" y="99"/>
                    </a:lnTo>
                    <a:lnTo>
                      <a:pt x="171" y="103"/>
                    </a:lnTo>
                    <a:lnTo>
                      <a:pt x="173" y="106"/>
                    </a:lnTo>
                    <a:lnTo>
                      <a:pt x="177" y="108"/>
                    </a:lnTo>
                    <a:lnTo>
                      <a:pt x="177" y="110"/>
                    </a:lnTo>
                    <a:lnTo>
                      <a:pt x="173" y="112"/>
                    </a:lnTo>
                    <a:lnTo>
                      <a:pt x="166" y="120"/>
                    </a:lnTo>
                    <a:lnTo>
                      <a:pt x="158" y="127"/>
                    </a:lnTo>
                    <a:lnTo>
                      <a:pt x="156" y="129"/>
                    </a:lnTo>
                    <a:lnTo>
                      <a:pt x="148" y="137"/>
                    </a:lnTo>
                    <a:lnTo>
                      <a:pt x="143" y="137"/>
                    </a:lnTo>
                    <a:lnTo>
                      <a:pt x="141" y="135"/>
                    </a:lnTo>
                    <a:lnTo>
                      <a:pt x="139" y="135"/>
                    </a:lnTo>
                    <a:lnTo>
                      <a:pt x="135" y="137"/>
                    </a:lnTo>
                    <a:lnTo>
                      <a:pt x="131" y="137"/>
                    </a:lnTo>
                    <a:lnTo>
                      <a:pt x="127" y="139"/>
                    </a:lnTo>
                    <a:lnTo>
                      <a:pt x="127" y="141"/>
                    </a:lnTo>
                    <a:lnTo>
                      <a:pt x="126" y="141"/>
                    </a:lnTo>
                    <a:lnTo>
                      <a:pt x="126" y="139"/>
                    </a:lnTo>
                    <a:lnTo>
                      <a:pt x="124" y="139"/>
                    </a:lnTo>
                    <a:lnTo>
                      <a:pt x="122" y="137"/>
                    </a:lnTo>
                    <a:lnTo>
                      <a:pt x="122" y="135"/>
                    </a:lnTo>
                    <a:lnTo>
                      <a:pt x="122" y="137"/>
                    </a:lnTo>
                    <a:lnTo>
                      <a:pt x="120" y="137"/>
                    </a:lnTo>
                    <a:lnTo>
                      <a:pt x="118" y="137"/>
                    </a:lnTo>
                    <a:lnTo>
                      <a:pt x="116" y="139"/>
                    </a:lnTo>
                    <a:lnTo>
                      <a:pt x="112" y="137"/>
                    </a:lnTo>
                    <a:lnTo>
                      <a:pt x="110" y="137"/>
                    </a:lnTo>
                    <a:lnTo>
                      <a:pt x="108" y="137"/>
                    </a:lnTo>
                    <a:lnTo>
                      <a:pt x="107" y="141"/>
                    </a:lnTo>
                    <a:lnTo>
                      <a:pt x="107" y="139"/>
                    </a:lnTo>
                    <a:lnTo>
                      <a:pt x="105" y="139"/>
                    </a:lnTo>
                    <a:lnTo>
                      <a:pt x="105" y="137"/>
                    </a:lnTo>
                    <a:lnTo>
                      <a:pt x="105" y="139"/>
                    </a:lnTo>
                    <a:lnTo>
                      <a:pt x="103" y="139"/>
                    </a:lnTo>
                    <a:lnTo>
                      <a:pt x="101" y="139"/>
                    </a:lnTo>
                    <a:lnTo>
                      <a:pt x="101" y="137"/>
                    </a:lnTo>
                    <a:lnTo>
                      <a:pt x="101" y="135"/>
                    </a:lnTo>
                    <a:lnTo>
                      <a:pt x="99" y="135"/>
                    </a:lnTo>
                    <a:lnTo>
                      <a:pt x="97" y="133"/>
                    </a:lnTo>
                    <a:lnTo>
                      <a:pt x="95" y="133"/>
                    </a:lnTo>
                    <a:lnTo>
                      <a:pt x="95" y="131"/>
                    </a:lnTo>
                    <a:lnTo>
                      <a:pt x="93" y="131"/>
                    </a:lnTo>
                    <a:lnTo>
                      <a:pt x="93" y="129"/>
                    </a:lnTo>
                    <a:lnTo>
                      <a:pt x="91" y="129"/>
                    </a:lnTo>
                    <a:lnTo>
                      <a:pt x="91" y="127"/>
                    </a:lnTo>
                    <a:lnTo>
                      <a:pt x="89" y="127"/>
                    </a:lnTo>
                    <a:lnTo>
                      <a:pt x="89" y="125"/>
                    </a:lnTo>
                    <a:lnTo>
                      <a:pt x="89" y="124"/>
                    </a:lnTo>
                    <a:lnTo>
                      <a:pt x="87" y="124"/>
                    </a:lnTo>
                    <a:lnTo>
                      <a:pt x="87" y="122"/>
                    </a:lnTo>
                    <a:lnTo>
                      <a:pt x="86" y="122"/>
                    </a:lnTo>
                    <a:lnTo>
                      <a:pt x="84" y="124"/>
                    </a:lnTo>
                    <a:lnTo>
                      <a:pt x="84" y="125"/>
                    </a:lnTo>
                    <a:lnTo>
                      <a:pt x="82" y="125"/>
                    </a:lnTo>
                    <a:lnTo>
                      <a:pt x="82" y="127"/>
                    </a:lnTo>
                    <a:lnTo>
                      <a:pt x="80" y="127"/>
                    </a:lnTo>
                    <a:lnTo>
                      <a:pt x="78" y="125"/>
                    </a:lnTo>
                    <a:lnTo>
                      <a:pt x="76" y="125"/>
                    </a:lnTo>
                    <a:lnTo>
                      <a:pt x="74" y="125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5"/>
                    </a:lnTo>
                    <a:lnTo>
                      <a:pt x="70" y="125"/>
                    </a:lnTo>
                    <a:lnTo>
                      <a:pt x="70" y="127"/>
                    </a:lnTo>
                    <a:lnTo>
                      <a:pt x="68" y="127"/>
                    </a:lnTo>
                    <a:lnTo>
                      <a:pt x="66" y="129"/>
                    </a:lnTo>
                    <a:lnTo>
                      <a:pt x="66" y="127"/>
                    </a:lnTo>
                    <a:lnTo>
                      <a:pt x="65" y="127"/>
                    </a:lnTo>
                    <a:lnTo>
                      <a:pt x="63" y="125"/>
                    </a:lnTo>
                    <a:lnTo>
                      <a:pt x="61" y="125"/>
                    </a:lnTo>
                    <a:lnTo>
                      <a:pt x="61" y="124"/>
                    </a:lnTo>
                    <a:lnTo>
                      <a:pt x="59" y="124"/>
                    </a:lnTo>
                    <a:lnTo>
                      <a:pt x="57" y="124"/>
                    </a:lnTo>
                    <a:lnTo>
                      <a:pt x="57" y="122"/>
                    </a:lnTo>
                    <a:lnTo>
                      <a:pt x="57" y="120"/>
                    </a:lnTo>
                    <a:lnTo>
                      <a:pt x="55" y="120"/>
                    </a:lnTo>
                    <a:lnTo>
                      <a:pt x="55" y="118"/>
                    </a:lnTo>
                    <a:lnTo>
                      <a:pt x="53" y="120"/>
                    </a:lnTo>
                    <a:lnTo>
                      <a:pt x="53" y="118"/>
                    </a:lnTo>
                    <a:lnTo>
                      <a:pt x="51" y="116"/>
                    </a:lnTo>
                    <a:lnTo>
                      <a:pt x="51" y="114"/>
                    </a:lnTo>
                    <a:lnTo>
                      <a:pt x="49" y="114"/>
                    </a:lnTo>
                    <a:lnTo>
                      <a:pt x="49" y="112"/>
                    </a:lnTo>
                    <a:lnTo>
                      <a:pt x="49" y="110"/>
                    </a:lnTo>
                    <a:lnTo>
                      <a:pt x="49" y="108"/>
                    </a:lnTo>
                    <a:lnTo>
                      <a:pt x="49" y="106"/>
                    </a:lnTo>
                    <a:lnTo>
                      <a:pt x="47" y="106"/>
                    </a:lnTo>
                    <a:lnTo>
                      <a:pt x="47" y="105"/>
                    </a:lnTo>
                    <a:lnTo>
                      <a:pt x="46" y="105"/>
                    </a:lnTo>
                    <a:lnTo>
                      <a:pt x="46" y="103"/>
                    </a:lnTo>
                    <a:lnTo>
                      <a:pt x="44" y="103"/>
                    </a:lnTo>
                    <a:lnTo>
                      <a:pt x="42" y="103"/>
                    </a:lnTo>
                    <a:lnTo>
                      <a:pt x="42" y="101"/>
                    </a:lnTo>
                    <a:lnTo>
                      <a:pt x="40" y="101"/>
                    </a:lnTo>
                    <a:lnTo>
                      <a:pt x="38" y="101"/>
                    </a:lnTo>
                    <a:lnTo>
                      <a:pt x="38" y="99"/>
                    </a:lnTo>
                    <a:lnTo>
                      <a:pt x="36" y="99"/>
                    </a:lnTo>
                    <a:lnTo>
                      <a:pt x="38" y="99"/>
                    </a:lnTo>
                    <a:lnTo>
                      <a:pt x="38" y="97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4" y="95"/>
                    </a:lnTo>
                    <a:lnTo>
                      <a:pt x="34" y="93"/>
                    </a:lnTo>
                    <a:lnTo>
                      <a:pt x="36" y="91"/>
                    </a:lnTo>
                    <a:lnTo>
                      <a:pt x="34" y="89"/>
                    </a:lnTo>
                    <a:lnTo>
                      <a:pt x="32" y="89"/>
                    </a:lnTo>
                    <a:lnTo>
                      <a:pt x="32" y="87"/>
                    </a:lnTo>
                    <a:lnTo>
                      <a:pt x="30" y="87"/>
                    </a:lnTo>
                    <a:lnTo>
                      <a:pt x="30" y="85"/>
                    </a:lnTo>
                    <a:lnTo>
                      <a:pt x="28" y="85"/>
                    </a:lnTo>
                    <a:lnTo>
                      <a:pt x="28" y="84"/>
                    </a:lnTo>
                    <a:lnTo>
                      <a:pt x="26" y="84"/>
                    </a:lnTo>
                    <a:lnTo>
                      <a:pt x="28" y="84"/>
                    </a:lnTo>
                    <a:lnTo>
                      <a:pt x="26" y="84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17" y="76"/>
                    </a:lnTo>
                    <a:lnTo>
                      <a:pt x="15" y="76"/>
                    </a:lnTo>
                    <a:lnTo>
                      <a:pt x="17" y="74"/>
                    </a:lnTo>
                    <a:lnTo>
                      <a:pt x="19" y="74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7" y="70"/>
                    </a:lnTo>
                    <a:lnTo>
                      <a:pt x="15" y="70"/>
                    </a:lnTo>
                    <a:lnTo>
                      <a:pt x="13" y="68"/>
                    </a:lnTo>
                    <a:lnTo>
                      <a:pt x="11" y="68"/>
                    </a:lnTo>
                    <a:lnTo>
                      <a:pt x="11" y="66"/>
                    </a:lnTo>
                    <a:lnTo>
                      <a:pt x="9" y="66"/>
                    </a:lnTo>
                    <a:lnTo>
                      <a:pt x="7" y="64"/>
                    </a:lnTo>
                    <a:lnTo>
                      <a:pt x="5" y="64"/>
                    </a:lnTo>
                    <a:lnTo>
                      <a:pt x="4" y="64"/>
                    </a:lnTo>
                    <a:lnTo>
                      <a:pt x="2" y="64"/>
                    </a:lnTo>
                    <a:lnTo>
                      <a:pt x="0" y="64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4" y="57"/>
                    </a:lnTo>
                    <a:lnTo>
                      <a:pt x="5" y="55"/>
                    </a:lnTo>
                    <a:lnTo>
                      <a:pt x="7" y="55"/>
                    </a:lnTo>
                    <a:lnTo>
                      <a:pt x="7" y="53"/>
                    </a:lnTo>
                    <a:lnTo>
                      <a:pt x="5" y="51"/>
                    </a:lnTo>
                    <a:lnTo>
                      <a:pt x="7" y="49"/>
                    </a:lnTo>
                    <a:lnTo>
                      <a:pt x="7" y="47"/>
                    </a:lnTo>
                    <a:lnTo>
                      <a:pt x="9" y="45"/>
                    </a:lnTo>
                    <a:lnTo>
                      <a:pt x="9" y="43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13" y="38"/>
                    </a:lnTo>
                    <a:lnTo>
                      <a:pt x="13" y="36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7" y="32"/>
                    </a:lnTo>
                    <a:lnTo>
                      <a:pt x="15" y="32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5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6"/>
                    </a:lnTo>
                    <a:lnTo>
                      <a:pt x="32" y="38"/>
                    </a:lnTo>
                    <a:lnTo>
                      <a:pt x="34" y="40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40" y="45"/>
                    </a:lnTo>
                    <a:lnTo>
                      <a:pt x="46" y="43"/>
                    </a:lnTo>
                    <a:lnTo>
                      <a:pt x="47" y="43"/>
                    </a:lnTo>
                    <a:lnTo>
                      <a:pt x="51" y="43"/>
                    </a:lnTo>
                    <a:lnTo>
                      <a:pt x="59" y="43"/>
                    </a:lnTo>
                    <a:lnTo>
                      <a:pt x="61" y="47"/>
                    </a:lnTo>
                    <a:lnTo>
                      <a:pt x="70" y="47"/>
                    </a:lnTo>
                    <a:lnTo>
                      <a:pt x="72" y="47"/>
                    </a:lnTo>
                    <a:lnTo>
                      <a:pt x="74" y="47"/>
                    </a:lnTo>
                    <a:lnTo>
                      <a:pt x="74" y="45"/>
                    </a:lnTo>
                    <a:lnTo>
                      <a:pt x="76" y="43"/>
                    </a:lnTo>
                    <a:lnTo>
                      <a:pt x="78" y="42"/>
                    </a:lnTo>
                    <a:lnTo>
                      <a:pt x="86" y="42"/>
                    </a:lnTo>
                    <a:lnTo>
                      <a:pt x="86" y="36"/>
                    </a:lnTo>
                    <a:lnTo>
                      <a:pt x="91" y="32"/>
                    </a:lnTo>
                    <a:lnTo>
                      <a:pt x="93" y="32"/>
                    </a:lnTo>
                    <a:lnTo>
                      <a:pt x="101" y="38"/>
                    </a:lnTo>
                    <a:lnTo>
                      <a:pt x="107" y="42"/>
                    </a:lnTo>
                    <a:lnTo>
                      <a:pt x="112" y="42"/>
                    </a:lnTo>
                    <a:lnTo>
                      <a:pt x="114" y="40"/>
                    </a:lnTo>
                    <a:lnTo>
                      <a:pt x="116" y="38"/>
                    </a:lnTo>
                    <a:lnTo>
                      <a:pt x="122" y="32"/>
                    </a:lnTo>
                    <a:lnTo>
                      <a:pt x="124" y="26"/>
                    </a:lnTo>
                    <a:lnTo>
                      <a:pt x="127" y="24"/>
                    </a:lnTo>
                    <a:lnTo>
                      <a:pt x="131" y="21"/>
                    </a:lnTo>
                    <a:lnTo>
                      <a:pt x="131" y="17"/>
                    </a:lnTo>
                    <a:lnTo>
                      <a:pt x="131" y="9"/>
                    </a:lnTo>
                    <a:lnTo>
                      <a:pt x="127" y="5"/>
                    </a:lnTo>
                    <a:lnTo>
                      <a:pt x="126" y="5"/>
                    </a:lnTo>
                    <a:lnTo>
                      <a:pt x="137" y="5"/>
                    </a:lnTo>
                    <a:lnTo>
                      <a:pt x="137" y="3"/>
                    </a:lnTo>
                    <a:lnTo>
                      <a:pt x="137" y="1"/>
                    </a:lnTo>
                    <a:lnTo>
                      <a:pt x="135" y="0"/>
                    </a:lnTo>
                    <a:lnTo>
                      <a:pt x="145" y="1"/>
                    </a:lnTo>
                    <a:lnTo>
                      <a:pt x="143" y="9"/>
                    </a:lnTo>
                    <a:lnTo>
                      <a:pt x="143" y="11"/>
                    </a:lnTo>
                    <a:lnTo>
                      <a:pt x="145" y="22"/>
                    </a:lnTo>
                    <a:lnTo>
                      <a:pt x="145" y="24"/>
                    </a:lnTo>
                    <a:lnTo>
                      <a:pt x="148" y="26"/>
                    </a:lnTo>
                    <a:lnTo>
                      <a:pt x="150" y="30"/>
                    </a:lnTo>
                    <a:lnTo>
                      <a:pt x="152" y="32"/>
                    </a:lnTo>
                    <a:lnTo>
                      <a:pt x="154" y="34"/>
                    </a:lnTo>
                    <a:lnTo>
                      <a:pt x="156" y="34"/>
                    </a:lnTo>
                    <a:lnTo>
                      <a:pt x="156" y="36"/>
                    </a:lnTo>
                    <a:lnTo>
                      <a:pt x="156" y="38"/>
                    </a:lnTo>
                    <a:lnTo>
                      <a:pt x="156" y="40"/>
                    </a:lnTo>
                    <a:lnTo>
                      <a:pt x="154" y="42"/>
                    </a:lnTo>
                    <a:lnTo>
                      <a:pt x="154" y="43"/>
                    </a:lnTo>
                    <a:lnTo>
                      <a:pt x="154" y="45"/>
                    </a:lnTo>
                    <a:lnTo>
                      <a:pt x="158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9" name="Freeform 218">
                <a:extLst>
                  <a:ext uri="{FF2B5EF4-FFF2-40B4-BE49-F238E27FC236}">
                    <a16:creationId xmlns:a16="http://schemas.microsoft.com/office/drawing/2014/main" id="{809A7296-E388-ED89-D780-8ABDF34AE3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4940" y="-2015518"/>
                <a:ext cx="137075" cy="145227"/>
              </a:xfrm>
              <a:custGeom>
                <a:avLst/>
                <a:gdLst>
                  <a:gd name="T0" fmla="*/ 38 w 87"/>
                  <a:gd name="T1" fmla="*/ 84 h 92"/>
                  <a:gd name="T2" fmla="*/ 19 w 87"/>
                  <a:gd name="T3" fmla="*/ 84 h 92"/>
                  <a:gd name="T4" fmla="*/ 13 w 87"/>
                  <a:gd name="T5" fmla="*/ 84 h 92"/>
                  <a:gd name="T6" fmla="*/ 9 w 87"/>
                  <a:gd name="T7" fmla="*/ 88 h 92"/>
                  <a:gd name="T8" fmla="*/ 5 w 87"/>
                  <a:gd name="T9" fmla="*/ 92 h 92"/>
                  <a:gd name="T10" fmla="*/ 3 w 87"/>
                  <a:gd name="T11" fmla="*/ 90 h 92"/>
                  <a:gd name="T12" fmla="*/ 0 w 87"/>
                  <a:gd name="T13" fmla="*/ 90 h 92"/>
                  <a:gd name="T14" fmla="*/ 0 w 87"/>
                  <a:gd name="T15" fmla="*/ 84 h 92"/>
                  <a:gd name="T16" fmla="*/ 1 w 87"/>
                  <a:gd name="T17" fmla="*/ 80 h 92"/>
                  <a:gd name="T18" fmla="*/ 1 w 87"/>
                  <a:gd name="T19" fmla="*/ 75 h 92"/>
                  <a:gd name="T20" fmla="*/ 3 w 87"/>
                  <a:gd name="T21" fmla="*/ 69 h 92"/>
                  <a:gd name="T22" fmla="*/ 1 w 87"/>
                  <a:gd name="T23" fmla="*/ 67 h 92"/>
                  <a:gd name="T24" fmla="*/ 5 w 87"/>
                  <a:gd name="T25" fmla="*/ 63 h 92"/>
                  <a:gd name="T26" fmla="*/ 5 w 87"/>
                  <a:gd name="T27" fmla="*/ 59 h 92"/>
                  <a:gd name="T28" fmla="*/ 5 w 87"/>
                  <a:gd name="T29" fmla="*/ 54 h 92"/>
                  <a:gd name="T30" fmla="*/ 11 w 87"/>
                  <a:gd name="T31" fmla="*/ 52 h 92"/>
                  <a:gd name="T32" fmla="*/ 11 w 87"/>
                  <a:gd name="T33" fmla="*/ 50 h 92"/>
                  <a:gd name="T34" fmla="*/ 13 w 87"/>
                  <a:gd name="T35" fmla="*/ 50 h 92"/>
                  <a:gd name="T36" fmla="*/ 17 w 87"/>
                  <a:gd name="T37" fmla="*/ 46 h 92"/>
                  <a:gd name="T38" fmla="*/ 26 w 87"/>
                  <a:gd name="T39" fmla="*/ 37 h 92"/>
                  <a:gd name="T40" fmla="*/ 26 w 87"/>
                  <a:gd name="T41" fmla="*/ 31 h 92"/>
                  <a:gd name="T42" fmla="*/ 22 w 87"/>
                  <a:gd name="T43" fmla="*/ 29 h 92"/>
                  <a:gd name="T44" fmla="*/ 19 w 87"/>
                  <a:gd name="T45" fmla="*/ 29 h 92"/>
                  <a:gd name="T46" fmla="*/ 21 w 87"/>
                  <a:gd name="T47" fmla="*/ 21 h 92"/>
                  <a:gd name="T48" fmla="*/ 21 w 87"/>
                  <a:gd name="T49" fmla="*/ 16 h 92"/>
                  <a:gd name="T50" fmla="*/ 21 w 87"/>
                  <a:gd name="T51" fmla="*/ 14 h 92"/>
                  <a:gd name="T52" fmla="*/ 22 w 87"/>
                  <a:gd name="T53" fmla="*/ 8 h 92"/>
                  <a:gd name="T54" fmla="*/ 30 w 87"/>
                  <a:gd name="T55" fmla="*/ 10 h 92"/>
                  <a:gd name="T56" fmla="*/ 36 w 87"/>
                  <a:gd name="T57" fmla="*/ 8 h 92"/>
                  <a:gd name="T58" fmla="*/ 38 w 87"/>
                  <a:gd name="T59" fmla="*/ 10 h 92"/>
                  <a:gd name="T60" fmla="*/ 41 w 87"/>
                  <a:gd name="T61" fmla="*/ 12 h 92"/>
                  <a:gd name="T62" fmla="*/ 49 w 87"/>
                  <a:gd name="T63" fmla="*/ 8 h 92"/>
                  <a:gd name="T64" fmla="*/ 57 w 87"/>
                  <a:gd name="T65" fmla="*/ 8 h 92"/>
                  <a:gd name="T66" fmla="*/ 72 w 87"/>
                  <a:gd name="T67" fmla="*/ 2 h 92"/>
                  <a:gd name="T68" fmla="*/ 70 w 87"/>
                  <a:gd name="T69" fmla="*/ 4 h 92"/>
                  <a:gd name="T70" fmla="*/ 74 w 87"/>
                  <a:gd name="T71" fmla="*/ 6 h 92"/>
                  <a:gd name="T72" fmla="*/ 72 w 87"/>
                  <a:gd name="T73" fmla="*/ 8 h 92"/>
                  <a:gd name="T74" fmla="*/ 78 w 87"/>
                  <a:gd name="T75" fmla="*/ 10 h 92"/>
                  <a:gd name="T76" fmla="*/ 76 w 87"/>
                  <a:gd name="T77" fmla="*/ 14 h 92"/>
                  <a:gd name="T78" fmla="*/ 80 w 87"/>
                  <a:gd name="T79" fmla="*/ 17 h 92"/>
                  <a:gd name="T80" fmla="*/ 82 w 87"/>
                  <a:gd name="T81" fmla="*/ 23 h 92"/>
                  <a:gd name="T82" fmla="*/ 83 w 87"/>
                  <a:gd name="T83" fmla="*/ 27 h 92"/>
                  <a:gd name="T84" fmla="*/ 85 w 87"/>
                  <a:gd name="T85" fmla="*/ 37 h 92"/>
                  <a:gd name="T86" fmla="*/ 85 w 87"/>
                  <a:gd name="T87" fmla="*/ 40 h 92"/>
                  <a:gd name="T88" fmla="*/ 83 w 87"/>
                  <a:gd name="T89" fmla="*/ 44 h 92"/>
                  <a:gd name="T90" fmla="*/ 82 w 87"/>
                  <a:gd name="T91" fmla="*/ 48 h 92"/>
                  <a:gd name="T92" fmla="*/ 78 w 87"/>
                  <a:gd name="T93" fmla="*/ 50 h 92"/>
                  <a:gd name="T94" fmla="*/ 76 w 87"/>
                  <a:gd name="T95" fmla="*/ 54 h 92"/>
                  <a:gd name="T96" fmla="*/ 74 w 87"/>
                  <a:gd name="T97" fmla="*/ 58 h 92"/>
                  <a:gd name="T98" fmla="*/ 72 w 87"/>
                  <a:gd name="T99" fmla="*/ 61 h 92"/>
                  <a:gd name="T100" fmla="*/ 70 w 87"/>
                  <a:gd name="T101" fmla="*/ 69 h 92"/>
                  <a:gd name="T102" fmla="*/ 70 w 87"/>
                  <a:gd name="T103" fmla="*/ 84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7" h="92">
                    <a:moveTo>
                      <a:pt x="70" y="84"/>
                    </a:moveTo>
                    <a:lnTo>
                      <a:pt x="51" y="84"/>
                    </a:lnTo>
                    <a:lnTo>
                      <a:pt x="38" y="84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9" y="84"/>
                    </a:lnTo>
                    <a:lnTo>
                      <a:pt x="17" y="84"/>
                    </a:lnTo>
                    <a:lnTo>
                      <a:pt x="15" y="84"/>
                    </a:lnTo>
                    <a:lnTo>
                      <a:pt x="13" y="84"/>
                    </a:lnTo>
                    <a:lnTo>
                      <a:pt x="13" y="86"/>
                    </a:lnTo>
                    <a:lnTo>
                      <a:pt x="11" y="86"/>
                    </a:lnTo>
                    <a:lnTo>
                      <a:pt x="9" y="88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5" y="92"/>
                    </a:lnTo>
                    <a:lnTo>
                      <a:pt x="5" y="90"/>
                    </a:lnTo>
                    <a:lnTo>
                      <a:pt x="3" y="88"/>
                    </a:lnTo>
                    <a:lnTo>
                      <a:pt x="3" y="90"/>
                    </a:lnTo>
                    <a:lnTo>
                      <a:pt x="1" y="88"/>
                    </a:lnTo>
                    <a:lnTo>
                      <a:pt x="1" y="90"/>
                    </a:lnTo>
                    <a:lnTo>
                      <a:pt x="0" y="90"/>
                    </a:lnTo>
                    <a:lnTo>
                      <a:pt x="0" y="88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1" y="82"/>
                    </a:lnTo>
                    <a:lnTo>
                      <a:pt x="1" y="80"/>
                    </a:lnTo>
                    <a:lnTo>
                      <a:pt x="1" y="79"/>
                    </a:lnTo>
                    <a:lnTo>
                      <a:pt x="1" y="77"/>
                    </a:lnTo>
                    <a:lnTo>
                      <a:pt x="1" y="75"/>
                    </a:lnTo>
                    <a:lnTo>
                      <a:pt x="0" y="73"/>
                    </a:lnTo>
                    <a:lnTo>
                      <a:pt x="1" y="71"/>
                    </a:lnTo>
                    <a:lnTo>
                      <a:pt x="3" y="69"/>
                    </a:lnTo>
                    <a:lnTo>
                      <a:pt x="1" y="69"/>
                    </a:lnTo>
                    <a:lnTo>
                      <a:pt x="3" y="67"/>
                    </a:lnTo>
                    <a:lnTo>
                      <a:pt x="1" y="67"/>
                    </a:lnTo>
                    <a:lnTo>
                      <a:pt x="3" y="65"/>
                    </a:lnTo>
                    <a:lnTo>
                      <a:pt x="3" y="63"/>
                    </a:lnTo>
                    <a:lnTo>
                      <a:pt x="5" y="63"/>
                    </a:lnTo>
                    <a:lnTo>
                      <a:pt x="3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5" y="58"/>
                    </a:lnTo>
                    <a:lnTo>
                      <a:pt x="5" y="5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9" y="52"/>
                    </a:lnTo>
                    <a:lnTo>
                      <a:pt x="11" y="52"/>
                    </a:lnTo>
                    <a:lnTo>
                      <a:pt x="9" y="52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5" y="46"/>
                    </a:lnTo>
                    <a:lnTo>
                      <a:pt x="17" y="46"/>
                    </a:lnTo>
                    <a:lnTo>
                      <a:pt x="19" y="44"/>
                    </a:lnTo>
                    <a:lnTo>
                      <a:pt x="22" y="38"/>
                    </a:lnTo>
                    <a:lnTo>
                      <a:pt x="26" y="37"/>
                    </a:lnTo>
                    <a:lnTo>
                      <a:pt x="28" y="33"/>
                    </a:lnTo>
                    <a:lnTo>
                      <a:pt x="26" y="33"/>
                    </a:lnTo>
                    <a:lnTo>
                      <a:pt x="26" y="31"/>
                    </a:lnTo>
                    <a:lnTo>
                      <a:pt x="24" y="31"/>
                    </a:lnTo>
                    <a:lnTo>
                      <a:pt x="24" y="29"/>
                    </a:lnTo>
                    <a:lnTo>
                      <a:pt x="22" y="29"/>
                    </a:lnTo>
                    <a:lnTo>
                      <a:pt x="21" y="31"/>
                    </a:lnTo>
                    <a:lnTo>
                      <a:pt x="21" y="29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19" y="25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19" y="19"/>
                    </a:lnTo>
                    <a:lnTo>
                      <a:pt x="21" y="16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21" y="14"/>
                    </a:lnTo>
                    <a:lnTo>
                      <a:pt x="22" y="14"/>
                    </a:lnTo>
                    <a:lnTo>
                      <a:pt x="21" y="12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6" y="8"/>
                    </a:lnTo>
                    <a:lnTo>
                      <a:pt x="30" y="10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6" y="8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1" y="10"/>
                    </a:lnTo>
                    <a:lnTo>
                      <a:pt x="45" y="8"/>
                    </a:lnTo>
                    <a:lnTo>
                      <a:pt x="49" y="8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57" y="8"/>
                    </a:lnTo>
                    <a:lnTo>
                      <a:pt x="62" y="8"/>
                    </a:lnTo>
                    <a:lnTo>
                      <a:pt x="70" y="0"/>
                    </a:lnTo>
                    <a:lnTo>
                      <a:pt x="72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0" y="4"/>
                    </a:lnTo>
                    <a:lnTo>
                      <a:pt x="72" y="4"/>
                    </a:lnTo>
                    <a:lnTo>
                      <a:pt x="72" y="6"/>
                    </a:lnTo>
                    <a:lnTo>
                      <a:pt x="74" y="6"/>
                    </a:lnTo>
                    <a:lnTo>
                      <a:pt x="72" y="6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74" y="8"/>
                    </a:lnTo>
                    <a:lnTo>
                      <a:pt x="76" y="8"/>
                    </a:lnTo>
                    <a:lnTo>
                      <a:pt x="78" y="10"/>
                    </a:lnTo>
                    <a:lnTo>
                      <a:pt x="78" y="12"/>
                    </a:lnTo>
                    <a:lnTo>
                      <a:pt x="76" y="12"/>
                    </a:lnTo>
                    <a:lnTo>
                      <a:pt x="76" y="14"/>
                    </a:lnTo>
                    <a:lnTo>
                      <a:pt x="78" y="16"/>
                    </a:lnTo>
                    <a:lnTo>
                      <a:pt x="78" y="17"/>
                    </a:lnTo>
                    <a:lnTo>
                      <a:pt x="80" y="17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2" y="23"/>
                    </a:lnTo>
                    <a:lnTo>
                      <a:pt x="83" y="23"/>
                    </a:lnTo>
                    <a:lnTo>
                      <a:pt x="82" y="25"/>
                    </a:lnTo>
                    <a:lnTo>
                      <a:pt x="83" y="27"/>
                    </a:lnTo>
                    <a:lnTo>
                      <a:pt x="85" y="27"/>
                    </a:lnTo>
                    <a:lnTo>
                      <a:pt x="85" y="29"/>
                    </a:lnTo>
                    <a:lnTo>
                      <a:pt x="85" y="37"/>
                    </a:lnTo>
                    <a:lnTo>
                      <a:pt x="87" y="37"/>
                    </a:lnTo>
                    <a:lnTo>
                      <a:pt x="85" y="38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3" y="42"/>
                    </a:lnTo>
                    <a:lnTo>
                      <a:pt x="83" y="44"/>
                    </a:lnTo>
                    <a:lnTo>
                      <a:pt x="83" y="46"/>
                    </a:lnTo>
                    <a:lnTo>
                      <a:pt x="83" y="48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50"/>
                    </a:lnTo>
                    <a:lnTo>
                      <a:pt x="78" y="50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6" y="56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72" y="59"/>
                    </a:lnTo>
                    <a:lnTo>
                      <a:pt x="72" y="61"/>
                    </a:lnTo>
                    <a:lnTo>
                      <a:pt x="70" y="63"/>
                    </a:lnTo>
                    <a:lnTo>
                      <a:pt x="68" y="65"/>
                    </a:lnTo>
                    <a:lnTo>
                      <a:pt x="70" y="69"/>
                    </a:lnTo>
                    <a:lnTo>
                      <a:pt x="70" y="71"/>
                    </a:lnTo>
                    <a:lnTo>
                      <a:pt x="70" y="75"/>
                    </a:lnTo>
                    <a:lnTo>
                      <a:pt x="70" y="8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0" name="Freeform 219">
                <a:extLst>
                  <a:ext uri="{FF2B5EF4-FFF2-40B4-BE49-F238E27FC236}">
                    <a16:creationId xmlns:a16="http://schemas.microsoft.com/office/drawing/2014/main" id="{3D9FBBDA-4794-1B17-BE8E-D81C5006AE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98561" y="-2713233"/>
                <a:ext cx="204826" cy="116811"/>
              </a:xfrm>
              <a:custGeom>
                <a:avLst/>
                <a:gdLst>
                  <a:gd name="T0" fmla="*/ 128 w 130"/>
                  <a:gd name="T1" fmla="*/ 55 h 74"/>
                  <a:gd name="T2" fmla="*/ 128 w 130"/>
                  <a:gd name="T3" fmla="*/ 63 h 74"/>
                  <a:gd name="T4" fmla="*/ 130 w 130"/>
                  <a:gd name="T5" fmla="*/ 70 h 74"/>
                  <a:gd name="T6" fmla="*/ 124 w 130"/>
                  <a:gd name="T7" fmla="*/ 72 h 74"/>
                  <a:gd name="T8" fmla="*/ 122 w 130"/>
                  <a:gd name="T9" fmla="*/ 74 h 74"/>
                  <a:gd name="T10" fmla="*/ 113 w 130"/>
                  <a:gd name="T11" fmla="*/ 74 h 74"/>
                  <a:gd name="T12" fmla="*/ 109 w 130"/>
                  <a:gd name="T13" fmla="*/ 72 h 74"/>
                  <a:gd name="T14" fmla="*/ 103 w 130"/>
                  <a:gd name="T15" fmla="*/ 70 h 74"/>
                  <a:gd name="T16" fmla="*/ 94 w 130"/>
                  <a:gd name="T17" fmla="*/ 70 h 74"/>
                  <a:gd name="T18" fmla="*/ 88 w 130"/>
                  <a:gd name="T19" fmla="*/ 66 h 74"/>
                  <a:gd name="T20" fmla="*/ 82 w 130"/>
                  <a:gd name="T21" fmla="*/ 66 h 74"/>
                  <a:gd name="T22" fmla="*/ 79 w 130"/>
                  <a:gd name="T23" fmla="*/ 65 h 74"/>
                  <a:gd name="T24" fmla="*/ 75 w 130"/>
                  <a:gd name="T25" fmla="*/ 61 h 74"/>
                  <a:gd name="T26" fmla="*/ 65 w 130"/>
                  <a:gd name="T27" fmla="*/ 55 h 74"/>
                  <a:gd name="T28" fmla="*/ 61 w 130"/>
                  <a:gd name="T29" fmla="*/ 57 h 74"/>
                  <a:gd name="T30" fmla="*/ 50 w 130"/>
                  <a:gd name="T31" fmla="*/ 55 h 74"/>
                  <a:gd name="T32" fmla="*/ 42 w 130"/>
                  <a:gd name="T33" fmla="*/ 51 h 74"/>
                  <a:gd name="T34" fmla="*/ 35 w 130"/>
                  <a:gd name="T35" fmla="*/ 47 h 74"/>
                  <a:gd name="T36" fmla="*/ 27 w 130"/>
                  <a:gd name="T37" fmla="*/ 45 h 74"/>
                  <a:gd name="T38" fmla="*/ 21 w 130"/>
                  <a:gd name="T39" fmla="*/ 44 h 74"/>
                  <a:gd name="T40" fmla="*/ 16 w 130"/>
                  <a:gd name="T41" fmla="*/ 36 h 74"/>
                  <a:gd name="T42" fmla="*/ 14 w 130"/>
                  <a:gd name="T43" fmla="*/ 36 h 74"/>
                  <a:gd name="T44" fmla="*/ 8 w 130"/>
                  <a:gd name="T45" fmla="*/ 32 h 74"/>
                  <a:gd name="T46" fmla="*/ 4 w 130"/>
                  <a:gd name="T47" fmla="*/ 32 h 74"/>
                  <a:gd name="T48" fmla="*/ 2 w 130"/>
                  <a:gd name="T49" fmla="*/ 26 h 74"/>
                  <a:gd name="T50" fmla="*/ 4 w 130"/>
                  <a:gd name="T51" fmla="*/ 19 h 74"/>
                  <a:gd name="T52" fmla="*/ 8 w 130"/>
                  <a:gd name="T53" fmla="*/ 11 h 74"/>
                  <a:gd name="T54" fmla="*/ 16 w 130"/>
                  <a:gd name="T55" fmla="*/ 5 h 74"/>
                  <a:gd name="T56" fmla="*/ 19 w 130"/>
                  <a:gd name="T57" fmla="*/ 7 h 74"/>
                  <a:gd name="T58" fmla="*/ 21 w 130"/>
                  <a:gd name="T59" fmla="*/ 3 h 74"/>
                  <a:gd name="T60" fmla="*/ 21 w 130"/>
                  <a:gd name="T61" fmla="*/ 2 h 74"/>
                  <a:gd name="T62" fmla="*/ 29 w 130"/>
                  <a:gd name="T63" fmla="*/ 2 h 74"/>
                  <a:gd name="T64" fmla="*/ 33 w 130"/>
                  <a:gd name="T65" fmla="*/ 3 h 74"/>
                  <a:gd name="T66" fmla="*/ 37 w 130"/>
                  <a:gd name="T67" fmla="*/ 9 h 74"/>
                  <a:gd name="T68" fmla="*/ 42 w 130"/>
                  <a:gd name="T69" fmla="*/ 11 h 74"/>
                  <a:gd name="T70" fmla="*/ 46 w 130"/>
                  <a:gd name="T71" fmla="*/ 15 h 74"/>
                  <a:gd name="T72" fmla="*/ 52 w 130"/>
                  <a:gd name="T73" fmla="*/ 17 h 74"/>
                  <a:gd name="T74" fmla="*/ 58 w 130"/>
                  <a:gd name="T75" fmla="*/ 23 h 74"/>
                  <a:gd name="T76" fmla="*/ 63 w 130"/>
                  <a:gd name="T77" fmla="*/ 23 h 74"/>
                  <a:gd name="T78" fmla="*/ 67 w 130"/>
                  <a:gd name="T79" fmla="*/ 23 h 74"/>
                  <a:gd name="T80" fmla="*/ 69 w 130"/>
                  <a:gd name="T81" fmla="*/ 30 h 74"/>
                  <a:gd name="T82" fmla="*/ 73 w 130"/>
                  <a:gd name="T83" fmla="*/ 32 h 74"/>
                  <a:gd name="T84" fmla="*/ 80 w 130"/>
                  <a:gd name="T85" fmla="*/ 32 h 74"/>
                  <a:gd name="T86" fmla="*/ 80 w 130"/>
                  <a:gd name="T87" fmla="*/ 40 h 74"/>
                  <a:gd name="T88" fmla="*/ 90 w 130"/>
                  <a:gd name="T89" fmla="*/ 40 h 74"/>
                  <a:gd name="T90" fmla="*/ 94 w 130"/>
                  <a:gd name="T91" fmla="*/ 45 h 74"/>
                  <a:gd name="T92" fmla="*/ 96 w 130"/>
                  <a:gd name="T93" fmla="*/ 44 h 74"/>
                  <a:gd name="T94" fmla="*/ 100 w 130"/>
                  <a:gd name="T95" fmla="*/ 45 h 74"/>
                  <a:gd name="T96" fmla="*/ 105 w 130"/>
                  <a:gd name="T97" fmla="*/ 44 h 74"/>
                  <a:gd name="T98" fmla="*/ 115 w 130"/>
                  <a:gd name="T99" fmla="*/ 47 h 74"/>
                  <a:gd name="T100" fmla="*/ 120 w 130"/>
                  <a:gd name="T101" fmla="*/ 47 h 74"/>
                  <a:gd name="T102" fmla="*/ 124 w 130"/>
                  <a:gd name="T103" fmla="*/ 47 h 74"/>
                  <a:gd name="T104" fmla="*/ 130 w 130"/>
                  <a:gd name="T105" fmla="*/ 4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0" h="74">
                    <a:moveTo>
                      <a:pt x="130" y="47"/>
                    </a:moveTo>
                    <a:lnTo>
                      <a:pt x="130" y="49"/>
                    </a:lnTo>
                    <a:lnTo>
                      <a:pt x="130" y="51"/>
                    </a:lnTo>
                    <a:lnTo>
                      <a:pt x="128" y="53"/>
                    </a:lnTo>
                    <a:lnTo>
                      <a:pt x="128" y="55"/>
                    </a:lnTo>
                    <a:lnTo>
                      <a:pt x="128" y="57"/>
                    </a:lnTo>
                    <a:lnTo>
                      <a:pt x="128" y="59"/>
                    </a:lnTo>
                    <a:lnTo>
                      <a:pt x="128" y="61"/>
                    </a:lnTo>
                    <a:lnTo>
                      <a:pt x="126" y="61"/>
                    </a:lnTo>
                    <a:lnTo>
                      <a:pt x="128" y="63"/>
                    </a:lnTo>
                    <a:lnTo>
                      <a:pt x="130" y="63"/>
                    </a:lnTo>
                    <a:lnTo>
                      <a:pt x="128" y="65"/>
                    </a:lnTo>
                    <a:lnTo>
                      <a:pt x="130" y="65"/>
                    </a:lnTo>
                    <a:lnTo>
                      <a:pt x="130" y="66"/>
                    </a:lnTo>
                    <a:lnTo>
                      <a:pt x="130" y="70"/>
                    </a:lnTo>
                    <a:lnTo>
                      <a:pt x="128" y="70"/>
                    </a:lnTo>
                    <a:lnTo>
                      <a:pt x="128" y="74"/>
                    </a:lnTo>
                    <a:lnTo>
                      <a:pt x="126" y="74"/>
                    </a:lnTo>
                    <a:lnTo>
                      <a:pt x="126" y="72"/>
                    </a:lnTo>
                    <a:lnTo>
                      <a:pt x="124" y="72"/>
                    </a:lnTo>
                    <a:lnTo>
                      <a:pt x="122" y="74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0" y="74"/>
                    </a:lnTo>
                    <a:lnTo>
                      <a:pt x="122" y="74"/>
                    </a:lnTo>
                    <a:lnTo>
                      <a:pt x="120" y="74"/>
                    </a:lnTo>
                    <a:lnTo>
                      <a:pt x="119" y="72"/>
                    </a:lnTo>
                    <a:lnTo>
                      <a:pt x="117" y="74"/>
                    </a:lnTo>
                    <a:lnTo>
                      <a:pt x="115" y="74"/>
                    </a:lnTo>
                    <a:lnTo>
                      <a:pt x="113" y="74"/>
                    </a:lnTo>
                    <a:lnTo>
                      <a:pt x="113" y="72"/>
                    </a:lnTo>
                    <a:lnTo>
                      <a:pt x="113" y="70"/>
                    </a:lnTo>
                    <a:lnTo>
                      <a:pt x="111" y="70"/>
                    </a:lnTo>
                    <a:lnTo>
                      <a:pt x="111" y="72"/>
                    </a:lnTo>
                    <a:lnTo>
                      <a:pt x="109" y="72"/>
                    </a:lnTo>
                    <a:lnTo>
                      <a:pt x="107" y="72"/>
                    </a:lnTo>
                    <a:lnTo>
                      <a:pt x="107" y="74"/>
                    </a:lnTo>
                    <a:lnTo>
                      <a:pt x="107" y="72"/>
                    </a:lnTo>
                    <a:lnTo>
                      <a:pt x="103" y="72"/>
                    </a:lnTo>
                    <a:lnTo>
                      <a:pt x="103" y="70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6" y="68"/>
                    </a:lnTo>
                    <a:lnTo>
                      <a:pt x="94" y="68"/>
                    </a:lnTo>
                    <a:lnTo>
                      <a:pt x="94" y="70"/>
                    </a:lnTo>
                    <a:lnTo>
                      <a:pt x="92" y="70"/>
                    </a:lnTo>
                    <a:lnTo>
                      <a:pt x="90" y="68"/>
                    </a:lnTo>
                    <a:lnTo>
                      <a:pt x="90" y="66"/>
                    </a:lnTo>
                    <a:lnTo>
                      <a:pt x="90" y="65"/>
                    </a:lnTo>
                    <a:lnTo>
                      <a:pt x="88" y="66"/>
                    </a:lnTo>
                    <a:lnTo>
                      <a:pt x="88" y="65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4" y="68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0" y="65"/>
                    </a:lnTo>
                    <a:lnTo>
                      <a:pt x="80" y="66"/>
                    </a:lnTo>
                    <a:lnTo>
                      <a:pt x="80" y="65"/>
                    </a:lnTo>
                    <a:lnTo>
                      <a:pt x="79" y="65"/>
                    </a:lnTo>
                    <a:lnTo>
                      <a:pt x="77" y="63"/>
                    </a:lnTo>
                    <a:lnTo>
                      <a:pt x="75" y="63"/>
                    </a:lnTo>
                    <a:lnTo>
                      <a:pt x="73" y="63"/>
                    </a:lnTo>
                    <a:lnTo>
                      <a:pt x="73" y="61"/>
                    </a:lnTo>
                    <a:lnTo>
                      <a:pt x="75" y="61"/>
                    </a:lnTo>
                    <a:lnTo>
                      <a:pt x="75" y="59"/>
                    </a:lnTo>
                    <a:lnTo>
                      <a:pt x="73" y="57"/>
                    </a:lnTo>
                    <a:lnTo>
                      <a:pt x="67" y="57"/>
                    </a:lnTo>
                    <a:lnTo>
                      <a:pt x="67" y="55"/>
                    </a:lnTo>
                    <a:lnTo>
                      <a:pt x="65" y="55"/>
                    </a:lnTo>
                    <a:lnTo>
                      <a:pt x="65" y="53"/>
                    </a:lnTo>
                    <a:lnTo>
                      <a:pt x="65" y="55"/>
                    </a:lnTo>
                    <a:lnTo>
                      <a:pt x="63" y="55"/>
                    </a:lnTo>
                    <a:lnTo>
                      <a:pt x="61" y="55"/>
                    </a:lnTo>
                    <a:lnTo>
                      <a:pt x="61" y="57"/>
                    </a:lnTo>
                    <a:lnTo>
                      <a:pt x="58" y="55"/>
                    </a:lnTo>
                    <a:lnTo>
                      <a:pt x="54" y="55"/>
                    </a:lnTo>
                    <a:lnTo>
                      <a:pt x="54" y="57"/>
                    </a:lnTo>
                    <a:lnTo>
                      <a:pt x="52" y="57"/>
                    </a:lnTo>
                    <a:lnTo>
                      <a:pt x="50" y="55"/>
                    </a:lnTo>
                    <a:lnTo>
                      <a:pt x="48" y="55"/>
                    </a:lnTo>
                    <a:lnTo>
                      <a:pt x="46" y="55"/>
                    </a:lnTo>
                    <a:lnTo>
                      <a:pt x="46" y="53"/>
                    </a:lnTo>
                    <a:lnTo>
                      <a:pt x="44" y="53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49"/>
                    </a:lnTo>
                    <a:lnTo>
                      <a:pt x="38" y="51"/>
                    </a:lnTo>
                    <a:lnTo>
                      <a:pt x="35" y="47"/>
                    </a:lnTo>
                    <a:lnTo>
                      <a:pt x="33" y="47"/>
                    </a:lnTo>
                    <a:lnTo>
                      <a:pt x="31" y="45"/>
                    </a:lnTo>
                    <a:lnTo>
                      <a:pt x="31" y="47"/>
                    </a:lnTo>
                    <a:lnTo>
                      <a:pt x="29" y="47"/>
                    </a:lnTo>
                    <a:lnTo>
                      <a:pt x="27" y="45"/>
                    </a:lnTo>
                    <a:lnTo>
                      <a:pt x="25" y="45"/>
                    </a:lnTo>
                    <a:lnTo>
                      <a:pt x="23" y="44"/>
                    </a:lnTo>
                    <a:lnTo>
                      <a:pt x="23" y="42"/>
                    </a:lnTo>
                    <a:lnTo>
                      <a:pt x="21" y="42"/>
                    </a:lnTo>
                    <a:lnTo>
                      <a:pt x="21" y="44"/>
                    </a:lnTo>
                    <a:lnTo>
                      <a:pt x="21" y="42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8" y="5"/>
                    </a:lnTo>
                    <a:lnTo>
                      <a:pt x="18" y="7"/>
                    </a:lnTo>
                    <a:lnTo>
                      <a:pt x="18" y="9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21" y="5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1" y="3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1" y="3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3" y="5"/>
                    </a:lnTo>
                    <a:lnTo>
                      <a:pt x="35" y="5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7" y="9"/>
                    </a:lnTo>
                    <a:lnTo>
                      <a:pt x="38" y="7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4" y="15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50" y="15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2" y="17"/>
                    </a:lnTo>
                    <a:lnTo>
                      <a:pt x="54" y="19"/>
                    </a:lnTo>
                    <a:lnTo>
                      <a:pt x="54" y="21"/>
                    </a:lnTo>
                    <a:lnTo>
                      <a:pt x="56" y="23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9" y="23"/>
                    </a:lnTo>
                    <a:lnTo>
                      <a:pt x="59" y="21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3" y="21"/>
                    </a:lnTo>
                    <a:lnTo>
                      <a:pt x="65" y="23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5" y="24"/>
                    </a:lnTo>
                    <a:lnTo>
                      <a:pt x="67" y="24"/>
                    </a:lnTo>
                    <a:lnTo>
                      <a:pt x="67" y="26"/>
                    </a:lnTo>
                    <a:lnTo>
                      <a:pt x="67" y="28"/>
                    </a:lnTo>
                    <a:lnTo>
                      <a:pt x="69" y="30"/>
                    </a:lnTo>
                    <a:lnTo>
                      <a:pt x="69" y="28"/>
                    </a:lnTo>
                    <a:lnTo>
                      <a:pt x="69" y="30"/>
                    </a:lnTo>
                    <a:lnTo>
                      <a:pt x="71" y="30"/>
                    </a:lnTo>
                    <a:lnTo>
                      <a:pt x="71" y="32"/>
                    </a:lnTo>
                    <a:lnTo>
                      <a:pt x="73" y="32"/>
                    </a:lnTo>
                    <a:lnTo>
                      <a:pt x="75" y="32"/>
                    </a:lnTo>
                    <a:lnTo>
                      <a:pt x="75" y="34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80" y="32"/>
                    </a:lnTo>
                    <a:lnTo>
                      <a:pt x="82" y="34"/>
                    </a:lnTo>
                    <a:lnTo>
                      <a:pt x="82" y="36"/>
                    </a:lnTo>
                    <a:lnTo>
                      <a:pt x="80" y="36"/>
                    </a:lnTo>
                    <a:lnTo>
                      <a:pt x="80" y="38"/>
                    </a:lnTo>
                    <a:lnTo>
                      <a:pt x="80" y="40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92" y="42"/>
                    </a:lnTo>
                    <a:lnTo>
                      <a:pt x="94" y="44"/>
                    </a:lnTo>
                    <a:lnTo>
                      <a:pt x="96" y="45"/>
                    </a:lnTo>
                    <a:lnTo>
                      <a:pt x="94" y="45"/>
                    </a:lnTo>
                    <a:lnTo>
                      <a:pt x="96" y="47"/>
                    </a:lnTo>
                    <a:lnTo>
                      <a:pt x="98" y="45"/>
                    </a:lnTo>
                    <a:lnTo>
                      <a:pt x="96" y="45"/>
                    </a:lnTo>
                    <a:lnTo>
                      <a:pt x="98" y="44"/>
                    </a:lnTo>
                    <a:lnTo>
                      <a:pt x="96" y="44"/>
                    </a:lnTo>
                    <a:lnTo>
                      <a:pt x="98" y="44"/>
                    </a:lnTo>
                    <a:lnTo>
                      <a:pt x="98" y="42"/>
                    </a:lnTo>
                    <a:lnTo>
                      <a:pt x="100" y="44"/>
                    </a:lnTo>
                    <a:lnTo>
                      <a:pt x="98" y="44"/>
                    </a:lnTo>
                    <a:lnTo>
                      <a:pt x="100" y="45"/>
                    </a:lnTo>
                    <a:lnTo>
                      <a:pt x="101" y="45"/>
                    </a:lnTo>
                    <a:lnTo>
                      <a:pt x="101" y="47"/>
                    </a:lnTo>
                    <a:lnTo>
                      <a:pt x="103" y="45"/>
                    </a:lnTo>
                    <a:lnTo>
                      <a:pt x="103" y="44"/>
                    </a:lnTo>
                    <a:lnTo>
                      <a:pt x="105" y="44"/>
                    </a:lnTo>
                    <a:lnTo>
                      <a:pt x="107" y="44"/>
                    </a:lnTo>
                    <a:lnTo>
                      <a:pt x="109" y="45"/>
                    </a:lnTo>
                    <a:lnTo>
                      <a:pt x="111" y="45"/>
                    </a:lnTo>
                    <a:lnTo>
                      <a:pt x="113" y="47"/>
                    </a:lnTo>
                    <a:lnTo>
                      <a:pt x="115" y="47"/>
                    </a:lnTo>
                    <a:lnTo>
                      <a:pt x="117" y="47"/>
                    </a:lnTo>
                    <a:lnTo>
                      <a:pt x="119" y="47"/>
                    </a:lnTo>
                    <a:lnTo>
                      <a:pt x="117" y="47"/>
                    </a:lnTo>
                    <a:lnTo>
                      <a:pt x="119" y="47"/>
                    </a:lnTo>
                    <a:lnTo>
                      <a:pt x="120" y="47"/>
                    </a:lnTo>
                    <a:lnTo>
                      <a:pt x="120" y="49"/>
                    </a:lnTo>
                    <a:lnTo>
                      <a:pt x="120" y="47"/>
                    </a:lnTo>
                    <a:lnTo>
                      <a:pt x="122" y="47"/>
                    </a:lnTo>
                    <a:lnTo>
                      <a:pt x="122" y="49"/>
                    </a:lnTo>
                    <a:lnTo>
                      <a:pt x="124" y="47"/>
                    </a:lnTo>
                    <a:lnTo>
                      <a:pt x="124" y="45"/>
                    </a:lnTo>
                    <a:lnTo>
                      <a:pt x="124" y="47"/>
                    </a:lnTo>
                    <a:lnTo>
                      <a:pt x="126" y="47"/>
                    </a:lnTo>
                    <a:lnTo>
                      <a:pt x="128" y="47"/>
                    </a:lnTo>
                    <a:lnTo>
                      <a:pt x="130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1" name="Freeform 221">
                <a:extLst>
                  <a:ext uri="{FF2B5EF4-FFF2-40B4-BE49-F238E27FC236}">
                    <a16:creationId xmlns:a16="http://schemas.microsoft.com/office/drawing/2014/main" id="{4B2A91FF-D12A-0149-3DF5-1E360CFCB3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10127" y="-2957908"/>
                <a:ext cx="359233" cy="277823"/>
              </a:xfrm>
              <a:custGeom>
                <a:avLst/>
                <a:gdLst>
                  <a:gd name="T0" fmla="*/ 223 w 228"/>
                  <a:gd name="T1" fmla="*/ 27 h 176"/>
                  <a:gd name="T2" fmla="*/ 217 w 228"/>
                  <a:gd name="T3" fmla="*/ 31 h 176"/>
                  <a:gd name="T4" fmla="*/ 209 w 228"/>
                  <a:gd name="T5" fmla="*/ 33 h 176"/>
                  <a:gd name="T6" fmla="*/ 194 w 228"/>
                  <a:gd name="T7" fmla="*/ 33 h 176"/>
                  <a:gd name="T8" fmla="*/ 184 w 228"/>
                  <a:gd name="T9" fmla="*/ 36 h 176"/>
                  <a:gd name="T10" fmla="*/ 179 w 228"/>
                  <a:gd name="T11" fmla="*/ 42 h 176"/>
                  <a:gd name="T12" fmla="*/ 171 w 228"/>
                  <a:gd name="T13" fmla="*/ 46 h 176"/>
                  <a:gd name="T14" fmla="*/ 175 w 228"/>
                  <a:gd name="T15" fmla="*/ 54 h 176"/>
                  <a:gd name="T16" fmla="*/ 177 w 228"/>
                  <a:gd name="T17" fmla="*/ 65 h 176"/>
                  <a:gd name="T18" fmla="*/ 171 w 228"/>
                  <a:gd name="T19" fmla="*/ 73 h 176"/>
                  <a:gd name="T20" fmla="*/ 167 w 228"/>
                  <a:gd name="T21" fmla="*/ 80 h 176"/>
                  <a:gd name="T22" fmla="*/ 165 w 228"/>
                  <a:gd name="T23" fmla="*/ 88 h 176"/>
                  <a:gd name="T24" fmla="*/ 152 w 228"/>
                  <a:gd name="T25" fmla="*/ 88 h 176"/>
                  <a:gd name="T26" fmla="*/ 152 w 228"/>
                  <a:gd name="T27" fmla="*/ 94 h 176"/>
                  <a:gd name="T28" fmla="*/ 154 w 228"/>
                  <a:gd name="T29" fmla="*/ 103 h 176"/>
                  <a:gd name="T30" fmla="*/ 143 w 228"/>
                  <a:gd name="T31" fmla="*/ 109 h 176"/>
                  <a:gd name="T32" fmla="*/ 139 w 228"/>
                  <a:gd name="T33" fmla="*/ 116 h 176"/>
                  <a:gd name="T34" fmla="*/ 139 w 228"/>
                  <a:gd name="T35" fmla="*/ 130 h 176"/>
                  <a:gd name="T36" fmla="*/ 129 w 228"/>
                  <a:gd name="T37" fmla="*/ 130 h 176"/>
                  <a:gd name="T38" fmla="*/ 123 w 228"/>
                  <a:gd name="T39" fmla="*/ 132 h 176"/>
                  <a:gd name="T40" fmla="*/ 112 w 228"/>
                  <a:gd name="T41" fmla="*/ 136 h 176"/>
                  <a:gd name="T42" fmla="*/ 110 w 228"/>
                  <a:gd name="T43" fmla="*/ 141 h 176"/>
                  <a:gd name="T44" fmla="*/ 101 w 228"/>
                  <a:gd name="T45" fmla="*/ 139 h 176"/>
                  <a:gd name="T46" fmla="*/ 91 w 228"/>
                  <a:gd name="T47" fmla="*/ 155 h 176"/>
                  <a:gd name="T48" fmla="*/ 72 w 228"/>
                  <a:gd name="T49" fmla="*/ 172 h 176"/>
                  <a:gd name="T50" fmla="*/ 59 w 228"/>
                  <a:gd name="T51" fmla="*/ 176 h 176"/>
                  <a:gd name="T52" fmla="*/ 5 w 228"/>
                  <a:gd name="T53" fmla="*/ 166 h 176"/>
                  <a:gd name="T54" fmla="*/ 5 w 228"/>
                  <a:gd name="T55" fmla="*/ 136 h 176"/>
                  <a:gd name="T56" fmla="*/ 1 w 228"/>
                  <a:gd name="T57" fmla="*/ 107 h 176"/>
                  <a:gd name="T58" fmla="*/ 1 w 228"/>
                  <a:gd name="T59" fmla="*/ 97 h 176"/>
                  <a:gd name="T60" fmla="*/ 7 w 228"/>
                  <a:gd name="T61" fmla="*/ 82 h 176"/>
                  <a:gd name="T62" fmla="*/ 9 w 228"/>
                  <a:gd name="T63" fmla="*/ 75 h 176"/>
                  <a:gd name="T64" fmla="*/ 11 w 228"/>
                  <a:gd name="T65" fmla="*/ 63 h 176"/>
                  <a:gd name="T66" fmla="*/ 17 w 228"/>
                  <a:gd name="T67" fmla="*/ 61 h 176"/>
                  <a:gd name="T68" fmla="*/ 28 w 228"/>
                  <a:gd name="T69" fmla="*/ 67 h 176"/>
                  <a:gd name="T70" fmla="*/ 38 w 228"/>
                  <a:gd name="T71" fmla="*/ 61 h 176"/>
                  <a:gd name="T72" fmla="*/ 41 w 228"/>
                  <a:gd name="T73" fmla="*/ 52 h 176"/>
                  <a:gd name="T74" fmla="*/ 57 w 228"/>
                  <a:gd name="T75" fmla="*/ 48 h 176"/>
                  <a:gd name="T76" fmla="*/ 68 w 228"/>
                  <a:gd name="T77" fmla="*/ 31 h 176"/>
                  <a:gd name="T78" fmla="*/ 82 w 228"/>
                  <a:gd name="T79" fmla="*/ 21 h 176"/>
                  <a:gd name="T80" fmla="*/ 93 w 228"/>
                  <a:gd name="T81" fmla="*/ 23 h 176"/>
                  <a:gd name="T82" fmla="*/ 104 w 228"/>
                  <a:gd name="T83" fmla="*/ 23 h 176"/>
                  <a:gd name="T84" fmla="*/ 116 w 228"/>
                  <a:gd name="T85" fmla="*/ 27 h 176"/>
                  <a:gd name="T86" fmla="*/ 123 w 228"/>
                  <a:gd name="T87" fmla="*/ 29 h 176"/>
                  <a:gd name="T88" fmla="*/ 131 w 228"/>
                  <a:gd name="T89" fmla="*/ 25 h 176"/>
                  <a:gd name="T90" fmla="*/ 137 w 228"/>
                  <a:gd name="T91" fmla="*/ 27 h 176"/>
                  <a:gd name="T92" fmla="*/ 141 w 228"/>
                  <a:gd name="T93" fmla="*/ 23 h 176"/>
                  <a:gd name="T94" fmla="*/ 148 w 228"/>
                  <a:gd name="T95" fmla="*/ 17 h 176"/>
                  <a:gd name="T96" fmla="*/ 154 w 228"/>
                  <a:gd name="T97" fmla="*/ 17 h 176"/>
                  <a:gd name="T98" fmla="*/ 156 w 228"/>
                  <a:gd name="T99" fmla="*/ 10 h 176"/>
                  <a:gd name="T100" fmla="*/ 162 w 228"/>
                  <a:gd name="T101" fmla="*/ 2 h 176"/>
                  <a:gd name="T102" fmla="*/ 167 w 228"/>
                  <a:gd name="T103" fmla="*/ 2 h 176"/>
                  <a:gd name="T104" fmla="*/ 171 w 228"/>
                  <a:gd name="T105" fmla="*/ 10 h 176"/>
                  <a:gd name="T106" fmla="*/ 175 w 228"/>
                  <a:gd name="T107" fmla="*/ 21 h 176"/>
                  <a:gd name="T108" fmla="*/ 175 w 228"/>
                  <a:gd name="T109" fmla="*/ 33 h 176"/>
                  <a:gd name="T110" fmla="*/ 188 w 228"/>
                  <a:gd name="T111" fmla="*/ 31 h 176"/>
                  <a:gd name="T112" fmla="*/ 200 w 228"/>
                  <a:gd name="T113" fmla="*/ 23 h 176"/>
                  <a:gd name="T114" fmla="*/ 211 w 228"/>
                  <a:gd name="T115" fmla="*/ 23 h 176"/>
                  <a:gd name="T116" fmla="*/ 213 w 228"/>
                  <a:gd name="T117" fmla="*/ 23 h 176"/>
                  <a:gd name="T118" fmla="*/ 221 w 228"/>
                  <a:gd name="T119" fmla="*/ 23 h 176"/>
                  <a:gd name="T120" fmla="*/ 228 w 228"/>
                  <a:gd name="T121" fmla="*/ 23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8" h="176">
                    <a:moveTo>
                      <a:pt x="228" y="25"/>
                    </a:moveTo>
                    <a:lnTo>
                      <a:pt x="226" y="25"/>
                    </a:lnTo>
                    <a:lnTo>
                      <a:pt x="225" y="25"/>
                    </a:lnTo>
                    <a:lnTo>
                      <a:pt x="223" y="25"/>
                    </a:lnTo>
                    <a:lnTo>
                      <a:pt x="223" y="27"/>
                    </a:lnTo>
                    <a:lnTo>
                      <a:pt x="221" y="27"/>
                    </a:lnTo>
                    <a:lnTo>
                      <a:pt x="223" y="27"/>
                    </a:lnTo>
                    <a:lnTo>
                      <a:pt x="223" y="29"/>
                    </a:lnTo>
                    <a:lnTo>
                      <a:pt x="223" y="31"/>
                    </a:lnTo>
                    <a:lnTo>
                      <a:pt x="221" y="29"/>
                    </a:lnTo>
                    <a:lnTo>
                      <a:pt x="221" y="31"/>
                    </a:lnTo>
                    <a:lnTo>
                      <a:pt x="219" y="31"/>
                    </a:lnTo>
                    <a:lnTo>
                      <a:pt x="219" y="33"/>
                    </a:lnTo>
                    <a:lnTo>
                      <a:pt x="217" y="31"/>
                    </a:lnTo>
                    <a:lnTo>
                      <a:pt x="217" y="33"/>
                    </a:lnTo>
                    <a:lnTo>
                      <a:pt x="215" y="33"/>
                    </a:lnTo>
                    <a:lnTo>
                      <a:pt x="213" y="33"/>
                    </a:lnTo>
                    <a:lnTo>
                      <a:pt x="211" y="31"/>
                    </a:lnTo>
                    <a:lnTo>
                      <a:pt x="211" y="33"/>
                    </a:lnTo>
                    <a:lnTo>
                      <a:pt x="209" y="31"/>
                    </a:lnTo>
                    <a:lnTo>
                      <a:pt x="209" y="33"/>
                    </a:lnTo>
                    <a:lnTo>
                      <a:pt x="207" y="33"/>
                    </a:lnTo>
                    <a:lnTo>
                      <a:pt x="205" y="33"/>
                    </a:lnTo>
                    <a:lnTo>
                      <a:pt x="204" y="33"/>
                    </a:lnTo>
                    <a:lnTo>
                      <a:pt x="202" y="33"/>
                    </a:lnTo>
                    <a:lnTo>
                      <a:pt x="200" y="33"/>
                    </a:lnTo>
                    <a:lnTo>
                      <a:pt x="198" y="33"/>
                    </a:lnTo>
                    <a:lnTo>
                      <a:pt x="194" y="33"/>
                    </a:lnTo>
                    <a:lnTo>
                      <a:pt x="192" y="33"/>
                    </a:lnTo>
                    <a:lnTo>
                      <a:pt x="190" y="34"/>
                    </a:lnTo>
                    <a:lnTo>
                      <a:pt x="188" y="34"/>
                    </a:lnTo>
                    <a:lnTo>
                      <a:pt x="186" y="34"/>
                    </a:lnTo>
                    <a:lnTo>
                      <a:pt x="184" y="36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4" y="38"/>
                    </a:lnTo>
                    <a:lnTo>
                      <a:pt x="183" y="38"/>
                    </a:lnTo>
                    <a:lnTo>
                      <a:pt x="181" y="38"/>
                    </a:lnTo>
                    <a:lnTo>
                      <a:pt x="181" y="40"/>
                    </a:lnTo>
                    <a:lnTo>
                      <a:pt x="179" y="40"/>
                    </a:lnTo>
                    <a:lnTo>
                      <a:pt x="181" y="42"/>
                    </a:lnTo>
                    <a:lnTo>
                      <a:pt x="179" y="42"/>
                    </a:lnTo>
                    <a:lnTo>
                      <a:pt x="177" y="40"/>
                    </a:lnTo>
                    <a:lnTo>
                      <a:pt x="177" y="42"/>
                    </a:lnTo>
                    <a:lnTo>
                      <a:pt x="175" y="42"/>
                    </a:lnTo>
                    <a:lnTo>
                      <a:pt x="175" y="44"/>
                    </a:lnTo>
                    <a:lnTo>
                      <a:pt x="173" y="44"/>
                    </a:lnTo>
                    <a:lnTo>
                      <a:pt x="173" y="46"/>
                    </a:lnTo>
                    <a:lnTo>
                      <a:pt x="171" y="46"/>
                    </a:lnTo>
                    <a:lnTo>
                      <a:pt x="171" y="48"/>
                    </a:lnTo>
                    <a:lnTo>
                      <a:pt x="169" y="48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73" y="50"/>
                    </a:lnTo>
                    <a:lnTo>
                      <a:pt x="173" y="52"/>
                    </a:lnTo>
                    <a:lnTo>
                      <a:pt x="175" y="54"/>
                    </a:lnTo>
                    <a:lnTo>
                      <a:pt x="175" y="55"/>
                    </a:lnTo>
                    <a:lnTo>
                      <a:pt x="175" y="57"/>
                    </a:lnTo>
                    <a:lnTo>
                      <a:pt x="177" y="57"/>
                    </a:lnTo>
                    <a:lnTo>
                      <a:pt x="177" y="59"/>
                    </a:lnTo>
                    <a:lnTo>
                      <a:pt x="177" y="61"/>
                    </a:lnTo>
                    <a:lnTo>
                      <a:pt x="175" y="63"/>
                    </a:lnTo>
                    <a:lnTo>
                      <a:pt x="177" y="65"/>
                    </a:lnTo>
                    <a:lnTo>
                      <a:pt x="177" y="67"/>
                    </a:lnTo>
                    <a:lnTo>
                      <a:pt x="175" y="67"/>
                    </a:lnTo>
                    <a:lnTo>
                      <a:pt x="175" y="69"/>
                    </a:lnTo>
                    <a:lnTo>
                      <a:pt x="175" y="71"/>
                    </a:lnTo>
                    <a:lnTo>
                      <a:pt x="173" y="71"/>
                    </a:lnTo>
                    <a:lnTo>
                      <a:pt x="171" y="71"/>
                    </a:lnTo>
                    <a:lnTo>
                      <a:pt x="171" y="73"/>
                    </a:lnTo>
                    <a:lnTo>
                      <a:pt x="171" y="75"/>
                    </a:lnTo>
                    <a:lnTo>
                      <a:pt x="169" y="75"/>
                    </a:lnTo>
                    <a:lnTo>
                      <a:pt x="167" y="76"/>
                    </a:lnTo>
                    <a:lnTo>
                      <a:pt x="169" y="76"/>
                    </a:lnTo>
                    <a:lnTo>
                      <a:pt x="167" y="76"/>
                    </a:lnTo>
                    <a:lnTo>
                      <a:pt x="167" y="78"/>
                    </a:lnTo>
                    <a:lnTo>
                      <a:pt x="167" y="80"/>
                    </a:lnTo>
                    <a:lnTo>
                      <a:pt x="169" y="80"/>
                    </a:lnTo>
                    <a:lnTo>
                      <a:pt x="169" y="82"/>
                    </a:lnTo>
                    <a:lnTo>
                      <a:pt x="169" y="84"/>
                    </a:lnTo>
                    <a:lnTo>
                      <a:pt x="169" y="86"/>
                    </a:lnTo>
                    <a:lnTo>
                      <a:pt x="167" y="86"/>
                    </a:lnTo>
                    <a:lnTo>
                      <a:pt x="167" y="88"/>
                    </a:lnTo>
                    <a:lnTo>
                      <a:pt x="165" y="88"/>
                    </a:lnTo>
                    <a:lnTo>
                      <a:pt x="165" y="90"/>
                    </a:lnTo>
                    <a:lnTo>
                      <a:pt x="164" y="90"/>
                    </a:lnTo>
                    <a:lnTo>
                      <a:pt x="160" y="90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88"/>
                    </a:lnTo>
                    <a:lnTo>
                      <a:pt x="152" y="88"/>
                    </a:lnTo>
                    <a:lnTo>
                      <a:pt x="150" y="88"/>
                    </a:lnTo>
                    <a:lnTo>
                      <a:pt x="148" y="88"/>
                    </a:lnTo>
                    <a:lnTo>
                      <a:pt x="148" y="90"/>
                    </a:lnTo>
                    <a:lnTo>
                      <a:pt x="150" y="90"/>
                    </a:lnTo>
                    <a:lnTo>
                      <a:pt x="150" y="92"/>
                    </a:lnTo>
                    <a:lnTo>
                      <a:pt x="150" y="94"/>
                    </a:lnTo>
                    <a:lnTo>
                      <a:pt x="152" y="94"/>
                    </a:lnTo>
                    <a:lnTo>
                      <a:pt x="152" y="95"/>
                    </a:lnTo>
                    <a:lnTo>
                      <a:pt x="154" y="95"/>
                    </a:lnTo>
                    <a:lnTo>
                      <a:pt x="154" y="97"/>
                    </a:lnTo>
                    <a:lnTo>
                      <a:pt x="154" y="99"/>
                    </a:lnTo>
                    <a:lnTo>
                      <a:pt x="156" y="99"/>
                    </a:lnTo>
                    <a:lnTo>
                      <a:pt x="156" y="101"/>
                    </a:lnTo>
                    <a:lnTo>
                      <a:pt x="154" y="103"/>
                    </a:lnTo>
                    <a:lnTo>
                      <a:pt x="152" y="103"/>
                    </a:lnTo>
                    <a:lnTo>
                      <a:pt x="150" y="105"/>
                    </a:lnTo>
                    <a:lnTo>
                      <a:pt x="148" y="105"/>
                    </a:lnTo>
                    <a:lnTo>
                      <a:pt x="146" y="105"/>
                    </a:lnTo>
                    <a:lnTo>
                      <a:pt x="144" y="105"/>
                    </a:lnTo>
                    <a:lnTo>
                      <a:pt x="143" y="107"/>
                    </a:lnTo>
                    <a:lnTo>
                      <a:pt x="143" y="109"/>
                    </a:lnTo>
                    <a:lnTo>
                      <a:pt x="143" y="111"/>
                    </a:lnTo>
                    <a:lnTo>
                      <a:pt x="141" y="111"/>
                    </a:lnTo>
                    <a:lnTo>
                      <a:pt x="141" y="113"/>
                    </a:lnTo>
                    <a:lnTo>
                      <a:pt x="143" y="113"/>
                    </a:lnTo>
                    <a:lnTo>
                      <a:pt x="143" y="115"/>
                    </a:lnTo>
                    <a:lnTo>
                      <a:pt x="141" y="116"/>
                    </a:lnTo>
                    <a:lnTo>
                      <a:pt x="139" y="116"/>
                    </a:lnTo>
                    <a:lnTo>
                      <a:pt x="139" y="118"/>
                    </a:lnTo>
                    <a:lnTo>
                      <a:pt x="139" y="120"/>
                    </a:lnTo>
                    <a:lnTo>
                      <a:pt x="139" y="124"/>
                    </a:lnTo>
                    <a:lnTo>
                      <a:pt x="139" y="126"/>
                    </a:lnTo>
                    <a:lnTo>
                      <a:pt x="141" y="128"/>
                    </a:lnTo>
                    <a:lnTo>
                      <a:pt x="139" y="128"/>
                    </a:lnTo>
                    <a:lnTo>
                      <a:pt x="139" y="130"/>
                    </a:lnTo>
                    <a:lnTo>
                      <a:pt x="137" y="132"/>
                    </a:lnTo>
                    <a:lnTo>
                      <a:pt x="135" y="134"/>
                    </a:lnTo>
                    <a:lnTo>
                      <a:pt x="133" y="134"/>
                    </a:lnTo>
                    <a:lnTo>
                      <a:pt x="131" y="134"/>
                    </a:lnTo>
                    <a:lnTo>
                      <a:pt x="131" y="132"/>
                    </a:lnTo>
                    <a:lnTo>
                      <a:pt x="131" y="130"/>
                    </a:lnTo>
                    <a:lnTo>
                      <a:pt x="129" y="130"/>
                    </a:lnTo>
                    <a:lnTo>
                      <a:pt x="127" y="130"/>
                    </a:lnTo>
                    <a:lnTo>
                      <a:pt x="125" y="132"/>
                    </a:lnTo>
                    <a:lnTo>
                      <a:pt x="127" y="132"/>
                    </a:lnTo>
                    <a:lnTo>
                      <a:pt x="129" y="132"/>
                    </a:lnTo>
                    <a:lnTo>
                      <a:pt x="127" y="132"/>
                    </a:lnTo>
                    <a:lnTo>
                      <a:pt x="125" y="132"/>
                    </a:lnTo>
                    <a:lnTo>
                      <a:pt x="123" y="132"/>
                    </a:lnTo>
                    <a:lnTo>
                      <a:pt x="123" y="130"/>
                    </a:lnTo>
                    <a:lnTo>
                      <a:pt x="122" y="130"/>
                    </a:lnTo>
                    <a:lnTo>
                      <a:pt x="120" y="132"/>
                    </a:lnTo>
                    <a:lnTo>
                      <a:pt x="118" y="134"/>
                    </a:lnTo>
                    <a:lnTo>
                      <a:pt x="116" y="134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2" y="137"/>
                    </a:lnTo>
                    <a:lnTo>
                      <a:pt x="114" y="137"/>
                    </a:lnTo>
                    <a:lnTo>
                      <a:pt x="116" y="137"/>
                    </a:lnTo>
                    <a:lnTo>
                      <a:pt x="116" y="139"/>
                    </a:lnTo>
                    <a:lnTo>
                      <a:pt x="114" y="139"/>
                    </a:lnTo>
                    <a:lnTo>
                      <a:pt x="112" y="139"/>
                    </a:lnTo>
                    <a:lnTo>
                      <a:pt x="110" y="141"/>
                    </a:lnTo>
                    <a:lnTo>
                      <a:pt x="108" y="141"/>
                    </a:lnTo>
                    <a:lnTo>
                      <a:pt x="106" y="141"/>
                    </a:lnTo>
                    <a:lnTo>
                      <a:pt x="104" y="141"/>
                    </a:lnTo>
                    <a:lnTo>
                      <a:pt x="103" y="141"/>
                    </a:lnTo>
                    <a:lnTo>
                      <a:pt x="104" y="139"/>
                    </a:lnTo>
                    <a:lnTo>
                      <a:pt x="103" y="139"/>
                    </a:lnTo>
                    <a:lnTo>
                      <a:pt x="101" y="139"/>
                    </a:lnTo>
                    <a:lnTo>
                      <a:pt x="101" y="141"/>
                    </a:lnTo>
                    <a:lnTo>
                      <a:pt x="99" y="141"/>
                    </a:lnTo>
                    <a:lnTo>
                      <a:pt x="99" y="143"/>
                    </a:lnTo>
                    <a:lnTo>
                      <a:pt x="97" y="145"/>
                    </a:lnTo>
                    <a:lnTo>
                      <a:pt x="93" y="147"/>
                    </a:lnTo>
                    <a:lnTo>
                      <a:pt x="91" y="153"/>
                    </a:lnTo>
                    <a:lnTo>
                      <a:pt x="91" y="155"/>
                    </a:lnTo>
                    <a:lnTo>
                      <a:pt x="93" y="155"/>
                    </a:lnTo>
                    <a:lnTo>
                      <a:pt x="93" y="157"/>
                    </a:lnTo>
                    <a:lnTo>
                      <a:pt x="93" y="158"/>
                    </a:lnTo>
                    <a:lnTo>
                      <a:pt x="91" y="162"/>
                    </a:lnTo>
                    <a:lnTo>
                      <a:pt x="93" y="164"/>
                    </a:lnTo>
                    <a:lnTo>
                      <a:pt x="91" y="166"/>
                    </a:lnTo>
                    <a:lnTo>
                      <a:pt x="72" y="172"/>
                    </a:lnTo>
                    <a:lnTo>
                      <a:pt x="64" y="172"/>
                    </a:lnTo>
                    <a:lnTo>
                      <a:pt x="62" y="172"/>
                    </a:lnTo>
                    <a:lnTo>
                      <a:pt x="59" y="172"/>
                    </a:lnTo>
                    <a:lnTo>
                      <a:pt x="59" y="174"/>
                    </a:lnTo>
                    <a:lnTo>
                      <a:pt x="57" y="174"/>
                    </a:lnTo>
                    <a:lnTo>
                      <a:pt x="59" y="174"/>
                    </a:lnTo>
                    <a:lnTo>
                      <a:pt x="59" y="176"/>
                    </a:lnTo>
                    <a:lnTo>
                      <a:pt x="57" y="176"/>
                    </a:lnTo>
                    <a:lnTo>
                      <a:pt x="57" y="174"/>
                    </a:lnTo>
                    <a:lnTo>
                      <a:pt x="49" y="174"/>
                    </a:lnTo>
                    <a:lnTo>
                      <a:pt x="45" y="174"/>
                    </a:lnTo>
                    <a:lnTo>
                      <a:pt x="43" y="174"/>
                    </a:lnTo>
                    <a:lnTo>
                      <a:pt x="30" y="176"/>
                    </a:lnTo>
                    <a:lnTo>
                      <a:pt x="5" y="166"/>
                    </a:lnTo>
                    <a:lnTo>
                      <a:pt x="21" y="149"/>
                    </a:lnTo>
                    <a:lnTo>
                      <a:pt x="21" y="147"/>
                    </a:lnTo>
                    <a:lnTo>
                      <a:pt x="21" y="145"/>
                    </a:lnTo>
                    <a:lnTo>
                      <a:pt x="21" y="141"/>
                    </a:lnTo>
                    <a:lnTo>
                      <a:pt x="21" y="139"/>
                    </a:lnTo>
                    <a:lnTo>
                      <a:pt x="19" y="137"/>
                    </a:lnTo>
                    <a:lnTo>
                      <a:pt x="5" y="136"/>
                    </a:lnTo>
                    <a:lnTo>
                      <a:pt x="5" y="132"/>
                    </a:lnTo>
                    <a:lnTo>
                      <a:pt x="5" y="128"/>
                    </a:lnTo>
                    <a:lnTo>
                      <a:pt x="5" y="126"/>
                    </a:lnTo>
                    <a:lnTo>
                      <a:pt x="5" y="122"/>
                    </a:lnTo>
                    <a:lnTo>
                      <a:pt x="5" y="116"/>
                    </a:lnTo>
                    <a:lnTo>
                      <a:pt x="3" y="113"/>
                    </a:lnTo>
                    <a:lnTo>
                      <a:pt x="1" y="107"/>
                    </a:lnTo>
                    <a:lnTo>
                      <a:pt x="1" y="105"/>
                    </a:lnTo>
                    <a:lnTo>
                      <a:pt x="1" y="103"/>
                    </a:lnTo>
                    <a:lnTo>
                      <a:pt x="5" y="99"/>
                    </a:lnTo>
                    <a:lnTo>
                      <a:pt x="5" y="97"/>
                    </a:lnTo>
                    <a:lnTo>
                      <a:pt x="7" y="97"/>
                    </a:lnTo>
                    <a:lnTo>
                      <a:pt x="5" y="97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92"/>
                    </a:lnTo>
                    <a:lnTo>
                      <a:pt x="0" y="88"/>
                    </a:lnTo>
                    <a:lnTo>
                      <a:pt x="1" y="84"/>
                    </a:lnTo>
                    <a:lnTo>
                      <a:pt x="3" y="84"/>
                    </a:lnTo>
                    <a:lnTo>
                      <a:pt x="3" y="82"/>
                    </a:lnTo>
                    <a:lnTo>
                      <a:pt x="7" y="82"/>
                    </a:lnTo>
                    <a:lnTo>
                      <a:pt x="5" y="82"/>
                    </a:lnTo>
                    <a:lnTo>
                      <a:pt x="5" y="80"/>
                    </a:lnTo>
                    <a:lnTo>
                      <a:pt x="3" y="78"/>
                    </a:lnTo>
                    <a:lnTo>
                      <a:pt x="5" y="78"/>
                    </a:lnTo>
                    <a:lnTo>
                      <a:pt x="7" y="76"/>
                    </a:lnTo>
                    <a:lnTo>
                      <a:pt x="7" y="75"/>
                    </a:lnTo>
                    <a:lnTo>
                      <a:pt x="9" y="75"/>
                    </a:lnTo>
                    <a:lnTo>
                      <a:pt x="9" y="73"/>
                    </a:lnTo>
                    <a:lnTo>
                      <a:pt x="9" y="71"/>
                    </a:lnTo>
                    <a:lnTo>
                      <a:pt x="9" y="69"/>
                    </a:lnTo>
                    <a:lnTo>
                      <a:pt x="9" y="67"/>
                    </a:lnTo>
                    <a:lnTo>
                      <a:pt x="9" y="65"/>
                    </a:lnTo>
                    <a:lnTo>
                      <a:pt x="9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1" y="59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5" y="57"/>
                    </a:lnTo>
                    <a:lnTo>
                      <a:pt x="13" y="57"/>
                    </a:lnTo>
                    <a:lnTo>
                      <a:pt x="17" y="61"/>
                    </a:lnTo>
                    <a:lnTo>
                      <a:pt x="21" y="61"/>
                    </a:lnTo>
                    <a:lnTo>
                      <a:pt x="22" y="61"/>
                    </a:lnTo>
                    <a:lnTo>
                      <a:pt x="24" y="61"/>
                    </a:lnTo>
                    <a:lnTo>
                      <a:pt x="26" y="63"/>
                    </a:lnTo>
                    <a:lnTo>
                      <a:pt x="28" y="63"/>
                    </a:lnTo>
                    <a:lnTo>
                      <a:pt x="28" y="65"/>
                    </a:lnTo>
                    <a:lnTo>
                      <a:pt x="28" y="67"/>
                    </a:lnTo>
                    <a:lnTo>
                      <a:pt x="32" y="63"/>
                    </a:lnTo>
                    <a:lnTo>
                      <a:pt x="32" y="65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6" y="63"/>
                    </a:lnTo>
                    <a:lnTo>
                      <a:pt x="38" y="63"/>
                    </a:lnTo>
                    <a:lnTo>
                      <a:pt x="38" y="61"/>
                    </a:lnTo>
                    <a:lnTo>
                      <a:pt x="40" y="61"/>
                    </a:lnTo>
                    <a:lnTo>
                      <a:pt x="41" y="61"/>
                    </a:lnTo>
                    <a:lnTo>
                      <a:pt x="41" y="59"/>
                    </a:lnTo>
                    <a:lnTo>
                      <a:pt x="41" y="57"/>
                    </a:lnTo>
                    <a:lnTo>
                      <a:pt x="43" y="55"/>
                    </a:lnTo>
                    <a:lnTo>
                      <a:pt x="41" y="54"/>
                    </a:lnTo>
                    <a:lnTo>
                      <a:pt x="41" y="52"/>
                    </a:lnTo>
                    <a:lnTo>
                      <a:pt x="43" y="52"/>
                    </a:lnTo>
                    <a:lnTo>
                      <a:pt x="47" y="52"/>
                    </a:lnTo>
                    <a:lnTo>
                      <a:pt x="49" y="50"/>
                    </a:lnTo>
                    <a:lnTo>
                      <a:pt x="51" y="50"/>
                    </a:lnTo>
                    <a:lnTo>
                      <a:pt x="55" y="50"/>
                    </a:lnTo>
                    <a:lnTo>
                      <a:pt x="57" y="50"/>
                    </a:lnTo>
                    <a:lnTo>
                      <a:pt x="57" y="48"/>
                    </a:lnTo>
                    <a:lnTo>
                      <a:pt x="59" y="46"/>
                    </a:lnTo>
                    <a:lnTo>
                      <a:pt x="61" y="46"/>
                    </a:lnTo>
                    <a:lnTo>
                      <a:pt x="62" y="44"/>
                    </a:lnTo>
                    <a:lnTo>
                      <a:pt x="64" y="44"/>
                    </a:lnTo>
                    <a:lnTo>
                      <a:pt x="66" y="40"/>
                    </a:lnTo>
                    <a:lnTo>
                      <a:pt x="64" y="36"/>
                    </a:lnTo>
                    <a:lnTo>
                      <a:pt x="68" y="31"/>
                    </a:lnTo>
                    <a:lnTo>
                      <a:pt x="68" y="27"/>
                    </a:lnTo>
                    <a:lnTo>
                      <a:pt x="72" y="25"/>
                    </a:lnTo>
                    <a:lnTo>
                      <a:pt x="74" y="25"/>
                    </a:lnTo>
                    <a:lnTo>
                      <a:pt x="76" y="25"/>
                    </a:lnTo>
                    <a:lnTo>
                      <a:pt x="80" y="25"/>
                    </a:lnTo>
                    <a:lnTo>
                      <a:pt x="82" y="23"/>
                    </a:lnTo>
                    <a:lnTo>
                      <a:pt x="82" y="21"/>
                    </a:lnTo>
                    <a:lnTo>
                      <a:pt x="82" y="19"/>
                    </a:lnTo>
                    <a:lnTo>
                      <a:pt x="83" y="19"/>
                    </a:lnTo>
                    <a:lnTo>
                      <a:pt x="87" y="21"/>
                    </a:lnTo>
                    <a:lnTo>
                      <a:pt x="89" y="21"/>
                    </a:lnTo>
                    <a:lnTo>
                      <a:pt x="89" y="23"/>
                    </a:lnTo>
                    <a:lnTo>
                      <a:pt x="91" y="23"/>
                    </a:lnTo>
                    <a:lnTo>
                      <a:pt x="93" y="23"/>
                    </a:lnTo>
                    <a:lnTo>
                      <a:pt x="95" y="23"/>
                    </a:lnTo>
                    <a:lnTo>
                      <a:pt x="97" y="23"/>
                    </a:lnTo>
                    <a:lnTo>
                      <a:pt x="99" y="23"/>
                    </a:lnTo>
                    <a:lnTo>
                      <a:pt x="101" y="23"/>
                    </a:lnTo>
                    <a:lnTo>
                      <a:pt x="103" y="21"/>
                    </a:lnTo>
                    <a:lnTo>
                      <a:pt x="103" y="23"/>
                    </a:lnTo>
                    <a:lnTo>
                      <a:pt x="104" y="23"/>
                    </a:lnTo>
                    <a:lnTo>
                      <a:pt x="104" y="25"/>
                    </a:lnTo>
                    <a:lnTo>
                      <a:pt x="106" y="25"/>
                    </a:lnTo>
                    <a:lnTo>
                      <a:pt x="106" y="27"/>
                    </a:lnTo>
                    <a:lnTo>
                      <a:pt x="110" y="25"/>
                    </a:lnTo>
                    <a:lnTo>
                      <a:pt x="112" y="25"/>
                    </a:lnTo>
                    <a:lnTo>
                      <a:pt x="114" y="25"/>
                    </a:lnTo>
                    <a:lnTo>
                      <a:pt x="116" y="27"/>
                    </a:lnTo>
                    <a:lnTo>
                      <a:pt x="116" y="29"/>
                    </a:lnTo>
                    <a:lnTo>
                      <a:pt x="118" y="29"/>
                    </a:lnTo>
                    <a:lnTo>
                      <a:pt x="120" y="31"/>
                    </a:lnTo>
                    <a:lnTo>
                      <a:pt x="122" y="31"/>
                    </a:lnTo>
                    <a:lnTo>
                      <a:pt x="122" y="29"/>
                    </a:lnTo>
                    <a:lnTo>
                      <a:pt x="122" y="31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5" y="27"/>
                    </a:lnTo>
                    <a:lnTo>
                      <a:pt x="127" y="27"/>
                    </a:lnTo>
                    <a:lnTo>
                      <a:pt x="129" y="25"/>
                    </a:lnTo>
                    <a:lnTo>
                      <a:pt x="131" y="25"/>
                    </a:lnTo>
                    <a:lnTo>
                      <a:pt x="133" y="25"/>
                    </a:lnTo>
                    <a:lnTo>
                      <a:pt x="131" y="25"/>
                    </a:lnTo>
                    <a:lnTo>
                      <a:pt x="133" y="23"/>
                    </a:lnTo>
                    <a:lnTo>
                      <a:pt x="133" y="25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5" y="25"/>
                    </a:lnTo>
                    <a:lnTo>
                      <a:pt x="137" y="25"/>
                    </a:lnTo>
                    <a:lnTo>
                      <a:pt x="137" y="27"/>
                    </a:lnTo>
                    <a:lnTo>
                      <a:pt x="139" y="27"/>
                    </a:lnTo>
                    <a:lnTo>
                      <a:pt x="139" y="29"/>
                    </a:lnTo>
                    <a:lnTo>
                      <a:pt x="141" y="27"/>
                    </a:lnTo>
                    <a:lnTo>
                      <a:pt x="143" y="25"/>
                    </a:lnTo>
                    <a:lnTo>
                      <a:pt x="141" y="25"/>
                    </a:lnTo>
                    <a:lnTo>
                      <a:pt x="143" y="25"/>
                    </a:lnTo>
                    <a:lnTo>
                      <a:pt x="141" y="23"/>
                    </a:lnTo>
                    <a:lnTo>
                      <a:pt x="141" y="21"/>
                    </a:lnTo>
                    <a:lnTo>
                      <a:pt x="143" y="19"/>
                    </a:lnTo>
                    <a:lnTo>
                      <a:pt x="143" y="17"/>
                    </a:lnTo>
                    <a:lnTo>
                      <a:pt x="144" y="19"/>
                    </a:lnTo>
                    <a:lnTo>
                      <a:pt x="146" y="17"/>
                    </a:lnTo>
                    <a:lnTo>
                      <a:pt x="148" y="19"/>
                    </a:lnTo>
                    <a:lnTo>
                      <a:pt x="148" y="17"/>
                    </a:lnTo>
                    <a:lnTo>
                      <a:pt x="150" y="17"/>
                    </a:lnTo>
                    <a:lnTo>
                      <a:pt x="150" y="19"/>
                    </a:lnTo>
                    <a:lnTo>
                      <a:pt x="152" y="19"/>
                    </a:lnTo>
                    <a:lnTo>
                      <a:pt x="154" y="19"/>
                    </a:lnTo>
                    <a:lnTo>
                      <a:pt x="154" y="17"/>
                    </a:lnTo>
                    <a:lnTo>
                      <a:pt x="156" y="17"/>
                    </a:lnTo>
                    <a:lnTo>
                      <a:pt x="154" y="17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3"/>
                    </a:lnTo>
                    <a:lnTo>
                      <a:pt x="154" y="12"/>
                    </a:lnTo>
                    <a:lnTo>
                      <a:pt x="156" y="12"/>
                    </a:lnTo>
                    <a:lnTo>
                      <a:pt x="154" y="10"/>
                    </a:lnTo>
                    <a:lnTo>
                      <a:pt x="156" y="10"/>
                    </a:lnTo>
                    <a:lnTo>
                      <a:pt x="158" y="8"/>
                    </a:lnTo>
                    <a:lnTo>
                      <a:pt x="160" y="8"/>
                    </a:lnTo>
                    <a:lnTo>
                      <a:pt x="158" y="6"/>
                    </a:lnTo>
                    <a:lnTo>
                      <a:pt x="160" y="6"/>
                    </a:lnTo>
                    <a:lnTo>
                      <a:pt x="160" y="4"/>
                    </a:lnTo>
                    <a:lnTo>
                      <a:pt x="160" y="2"/>
                    </a:lnTo>
                    <a:lnTo>
                      <a:pt x="162" y="2"/>
                    </a:lnTo>
                    <a:lnTo>
                      <a:pt x="164" y="2"/>
                    </a:lnTo>
                    <a:lnTo>
                      <a:pt x="164" y="0"/>
                    </a:lnTo>
                    <a:lnTo>
                      <a:pt x="165" y="0"/>
                    </a:lnTo>
                    <a:lnTo>
                      <a:pt x="165" y="2"/>
                    </a:lnTo>
                    <a:lnTo>
                      <a:pt x="165" y="0"/>
                    </a:lnTo>
                    <a:lnTo>
                      <a:pt x="167" y="0"/>
                    </a:lnTo>
                    <a:lnTo>
                      <a:pt x="167" y="2"/>
                    </a:lnTo>
                    <a:lnTo>
                      <a:pt x="169" y="2"/>
                    </a:lnTo>
                    <a:lnTo>
                      <a:pt x="171" y="4"/>
                    </a:lnTo>
                    <a:lnTo>
                      <a:pt x="173" y="4"/>
                    </a:lnTo>
                    <a:lnTo>
                      <a:pt x="173" y="6"/>
                    </a:lnTo>
                    <a:lnTo>
                      <a:pt x="173" y="8"/>
                    </a:lnTo>
                    <a:lnTo>
                      <a:pt x="171" y="8"/>
                    </a:lnTo>
                    <a:lnTo>
                      <a:pt x="171" y="10"/>
                    </a:lnTo>
                    <a:lnTo>
                      <a:pt x="171" y="12"/>
                    </a:lnTo>
                    <a:lnTo>
                      <a:pt x="175" y="12"/>
                    </a:lnTo>
                    <a:lnTo>
                      <a:pt x="177" y="12"/>
                    </a:lnTo>
                    <a:lnTo>
                      <a:pt x="177" y="13"/>
                    </a:lnTo>
                    <a:lnTo>
                      <a:pt x="175" y="15"/>
                    </a:lnTo>
                    <a:lnTo>
                      <a:pt x="175" y="19"/>
                    </a:lnTo>
                    <a:lnTo>
                      <a:pt x="175" y="21"/>
                    </a:lnTo>
                    <a:lnTo>
                      <a:pt x="175" y="23"/>
                    </a:lnTo>
                    <a:lnTo>
                      <a:pt x="175" y="25"/>
                    </a:lnTo>
                    <a:lnTo>
                      <a:pt x="173" y="25"/>
                    </a:lnTo>
                    <a:lnTo>
                      <a:pt x="173" y="27"/>
                    </a:lnTo>
                    <a:lnTo>
                      <a:pt x="173" y="29"/>
                    </a:lnTo>
                    <a:lnTo>
                      <a:pt x="175" y="31"/>
                    </a:lnTo>
                    <a:lnTo>
                      <a:pt x="175" y="33"/>
                    </a:lnTo>
                    <a:lnTo>
                      <a:pt x="175" y="34"/>
                    </a:lnTo>
                    <a:lnTo>
                      <a:pt x="177" y="36"/>
                    </a:lnTo>
                    <a:lnTo>
                      <a:pt x="181" y="36"/>
                    </a:lnTo>
                    <a:lnTo>
                      <a:pt x="183" y="34"/>
                    </a:lnTo>
                    <a:lnTo>
                      <a:pt x="184" y="33"/>
                    </a:lnTo>
                    <a:lnTo>
                      <a:pt x="186" y="31"/>
                    </a:lnTo>
                    <a:lnTo>
                      <a:pt x="188" y="31"/>
                    </a:lnTo>
                    <a:lnTo>
                      <a:pt x="190" y="31"/>
                    </a:lnTo>
                    <a:lnTo>
                      <a:pt x="192" y="29"/>
                    </a:lnTo>
                    <a:lnTo>
                      <a:pt x="194" y="29"/>
                    </a:lnTo>
                    <a:lnTo>
                      <a:pt x="194" y="27"/>
                    </a:lnTo>
                    <a:lnTo>
                      <a:pt x="196" y="25"/>
                    </a:lnTo>
                    <a:lnTo>
                      <a:pt x="198" y="25"/>
                    </a:lnTo>
                    <a:lnTo>
                      <a:pt x="200" y="23"/>
                    </a:lnTo>
                    <a:lnTo>
                      <a:pt x="202" y="21"/>
                    </a:lnTo>
                    <a:lnTo>
                      <a:pt x="204" y="21"/>
                    </a:lnTo>
                    <a:lnTo>
                      <a:pt x="205" y="21"/>
                    </a:lnTo>
                    <a:lnTo>
                      <a:pt x="207" y="21"/>
                    </a:lnTo>
                    <a:lnTo>
                      <a:pt x="209" y="21"/>
                    </a:lnTo>
                    <a:lnTo>
                      <a:pt x="211" y="21"/>
                    </a:lnTo>
                    <a:lnTo>
                      <a:pt x="211" y="23"/>
                    </a:lnTo>
                    <a:lnTo>
                      <a:pt x="209" y="23"/>
                    </a:lnTo>
                    <a:lnTo>
                      <a:pt x="209" y="25"/>
                    </a:lnTo>
                    <a:lnTo>
                      <a:pt x="207" y="25"/>
                    </a:lnTo>
                    <a:lnTo>
                      <a:pt x="209" y="25"/>
                    </a:lnTo>
                    <a:lnTo>
                      <a:pt x="211" y="25"/>
                    </a:lnTo>
                    <a:lnTo>
                      <a:pt x="213" y="25"/>
                    </a:lnTo>
                    <a:lnTo>
                      <a:pt x="213" y="23"/>
                    </a:lnTo>
                    <a:lnTo>
                      <a:pt x="215" y="25"/>
                    </a:lnTo>
                    <a:lnTo>
                      <a:pt x="215" y="23"/>
                    </a:lnTo>
                    <a:lnTo>
                      <a:pt x="217" y="23"/>
                    </a:lnTo>
                    <a:lnTo>
                      <a:pt x="219" y="23"/>
                    </a:lnTo>
                    <a:lnTo>
                      <a:pt x="219" y="21"/>
                    </a:lnTo>
                    <a:lnTo>
                      <a:pt x="221" y="21"/>
                    </a:lnTo>
                    <a:lnTo>
                      <a:pt x="221" y="23"/>
                    </a:lnTo>
                    <a:lnTo>
                      <a:pt x="221" y="21"/>
                    </a:lnTo>
                    <a:lnTo>
                      <a:pt x="223" y="21"/>
                    </a:lnTo>
                    <a:lnTo>
                      <a:pt x="223" y="23"/>
                    </a:lnTo>
                    <a:lnTo>
                      <a:pt x="225" y="23"/>
                    </a:lnTo>
                    <a:lnTo>
                      <a:pt x="225" y="21"/>
                    </a:lnTo>
                    <a:lnTo>
                      <a:pt x="226" y="23"/>
                    </a:lnTo>
                    <a:lnTo>
                      <a:pt x="228" y="23"/>
                    </a:lnTo>
                    <a:lnTo>
                      <a:pt x="228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2" name="Freeform 222">
                <a:extLst>
                  <a:ext uri="{FF2B5EF4-FFF2-40B4-BE49-F238E27FC236}">
                    <a16:creationId xmlns:a16="http://schemas.microsoft.com/office/drawing/2014/main" id="{6D5EC035-B7FB-BC48-9C5B-1431674DCF8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80294" y="-3041571"/>
                <a:ext cx="195371" cy="140490"/>
              </a:xfrm>
              <a:custGeom>
                <a:avLst/>
                <a:gdLst>
                  <a:gd name="T0" fmla="*/ 52 w 124"/>
                  <a:gd name="T1" fmla="*/ 23 h 89"/>
                  <a:gd name="T2" fmla="*/ 48 w 124"/>
                  <a:gd name="T3" fmla="*/ 19 h 89"/>
                  <a:gd name="T4" fmla="*/ 36 w 124"/>
                  <a:gd name="T5" fmla="*/ 19 h 89"/>
                  <a:gd name="T6" fmla="*/ 35 w 124"/>
                  <a:gd name="T7" fmla="*/ 23 h 89"/>
                  <a:gd name="T8" fmla="*/ 31 w 124"/>
                  <a:gd name="T9" fmla="*/ 24 h 89"/>
                  <a:gd name="T10" fmla="*/ 35 w 124"/>
                  <a:gd name="T11" fmla="*/ 32 h 89"/>
                  <a:gd name="T12" fmla="*/ 42 w 124"/>
                  <a:gd name="T13" fmla="*/ 30 h 89"/>
                  <a:gd name="T14" fmla="*/ 48 w 124"/>
                  <a:gd name="T15" fmla="*/ 30 h 89"/>
                  <a:gd name="T16" fmla="*/ 56 w 124"/>
                  <a:gd name="T17" fmla="*/ 34 h 89"/>
                  <a:gd name="T18" fmla="*/ 63 w 124"/>
                  <a:gd name="T19" fmla="*/ 30 h 89"/>
                  <a:gd name="T20" fmla="*/ 69 w 124"/>
                  <a:gd name="T21" fmla="*/ 34 h 89"/>
                  <a:gd name="T22" fmla="*/ 75 w 124"/>
                  <a:gd name="T23" fmla="*/ 36 h 89"/>
                  <a:gd name="T24" fmla="*/ 82 w 124"/>
                  <a:gd name="T25" fmla="*/ 36 h 89"/>
                  <a:gd name="T26" fmla="*/ 88 w 124"/>
                  <a:gd name="T27" fmla="*/ 36 h 89"/>
                  <a:gd name="T28" fmla="*/ 94 w 124"/>
                  <a:gd name="T29" fmla="*/ 34 h 89"/>
                  <a:gd name="T30" fmla="*/ 99 w 124"/>
                  <a:gd name="T31" fmla="*/ 36 h 89"/>
                  <a:gd name="T32" fmla="*/ 103 w 124"/>
                  <a:gd name="T33" fmla="*/ 44 h 89"/>
                  <a:gd name="T34" fmla="*/ 107 w 124"/>
                  <a:gd name="T35" fmla="*/ 53 h 89"/>
                  <a:gd name="T36" fmla="*/ 115 w 124"/>
                  <a:gd name="T37" fmla="*/ 49 h 89"/>
                  <a:gd name="T38" fmla="*/ 120 w 124"/>
                  <a:gd name="T39" fmla="*/ 55 h 89"/>
                  <a:gd name="T40" fmla="*/ 120 w 124"/>
                  <a:gd name="T41" fmla="*/ 63 h 89"/>
                  <a:gd name="T42" fmla="*/ 120 w 124"/>
                  <a:gd name="T43" fmla="*/ 72 h 89"/>
                  <a:gd name="T44" fmla="*/ 120 w 124"/>
                  <a:gd name="T45" fmla="*/ 76 h 89"/>
                  <a:gd name="T46" fmla="*/ 113 w 124"/>
                  <a:gd name="T47" fmla="*/ 74 h 89"/>
                  <a:gd name="T48" fmla="*/ 107 w 124"/>
                  <a:gd name="T49" fmla="*/ 76 h 89"/>
                  <a:gd name="T50" fmla="*/ 99 w 124"/>
                  <a:gd name="T51" fmla="*/ 78 h 89"/>
                  <a:gd name="T52" fmla="*/ 99 w 124"/>
                  <a:gd name="T53" fmla="*/ 74 h 89"/>
                  <a:gd name="T54" fmla="*/ 88 w 124"/>
                  <a:gd name="T55" fmla="*/ 78 h 89"/>
                  <a:gd name="T56" fmla="*/ 78 w 124"/>
                  <a:gd name="T57" fmla="*/ 84 h 89"/>
                  <a:gd name="T58" fmla="*/ 67 w 124"/>
                  <a:gd name="T59" fmla="*/ 86 h 89"/>
                  <a:gd name="T60" fmla="*/ 67 w 124"/>
                  <a:gd name="T61" fmla="*/ 76 h 89"/>
                  <a:gd name="T62" fmla="*/ 67 w 124"/>
                  <a:gd name="T63" fmla="*/ 65 h 89"/>
                  <a:gd name="T64" fmla="*/ 65 w 124"/>
                  <a:gd name="T65" fmla="*/ 57 h 89"/>
                  <a:gd name="T66" fmla="*/ 57 w 124"/>
                  <a:gd name="T67" fmla="*/ 55 h 89"/>
                  <a:gd name="T68" fmla="*/ 52 w 124"/>
                  <a:gd name="T69" fmla="*/ 57 h 89"/>
                  <a:gd name="T70" fmla="*/ 46 w 124"/>
                  <a:gd name="T71" fmla="*/ 63 h 89"/>
                  <a:gd name="T72" fmla="*/ 46 w 124"/>
                  <a:gd name="T73" fmla="*/ 70 h 89"/>
                  <a:gd name="T74" fmla="*/ 42 w 124"/>
                  <a:gd name="T75" fmla="*/ 70 h 89"/>
                  <a:gd name="T76" fmla="*/ 35 w 124"/>
                  <a:gd name="T77" fmla="*/ 72 h 89"/>
                  <a:gd name="T78" fmla="*/ 33 w 124"/>
                  <a:gd name="T79" fmla="*/ 80 h 89"/>
                  <a:gd name="T80" fmla="*/ 27 w 124"/>
                  <a:gd name="T81" fmla="*/ 76 h 89"/>
                  <a:gd name="T82" fmla="*/ 23 w 124"/>
                  <a:gd name="T83" fmla="*/ 78 h 89"/>
                  <a:gd name="T84" fmla="*/ 14 w 124"/>
                  <a:gd name="T85" fmla="*/ 84 h 89"/>
                  <a:gd name="T86" fmla="*/ 8 w 124"/>
                  <a:gd name="T87" fmla="*/ 80 h 89"/>
                  <a:gd name="T88" fmla="*/ 14 w 124"/>
                  <a:gd name="T89" fmla="*/ 65 h 89"/>
                  <a:gd name="T90" fmla="*/ 15 w 124"/>
                  <a:gd name="T91" fmla="*/ 57 h 89"/>
                  <a:gd name="T92" fmla="*/ 12 w 124"/>
                  <a:gd name="T93" fmla="*/ 49 h 89"/>
                  <a:gd name="T94" fmla="*/ 14 w 124"/>
                  <a:gd name="T95" fmla="*/ 44 h 89"/>
                  <a:gd name="T96" fmla="*/ 6 w 124"/>
                  <a:gd name="T97" fmla="*/ 40 h 89"/>
                  <a:gd name="T98" fmla="*/ 2 w 124"/>
                  <a:gd name="T99" fmla="*/ 36 h 89"/>
                  <a:gd name="T100" fmla="*/ 8 w 124"/>
                  <a:gd name="T101" fmla="*/ 30 h 89"/>
                  <a:gd name="T102" fmla="*/ 19 w 124"/>
                  <a:gd name="T103" fmla="*/ 32 h 89"/>
                  <a:gd name="T104" fmla="*/ 23 w 124"/>
                  <a:gd name="T105" fmla="*/ 24 h 89"/>
                  <a:gd name="T106" fmla="*/ 27 w 124"/>
                  <a:gd name="T107" fmla="*/ 21 h 89"/>
                  <a:gd name="T108" fmla="*/ 23 w 124"/>
                  <a:gd name="T109" fmla="*/ 19 h 89"/>
                  <a:gd name="T110" fmla="*/ 31 w 124"/>
                  <a:gd name="T111" fmla="*/ 17 h 89"/>
                  <a:gd name="T112" fmla="*/ 31 w 124"/>
                  <a:gd name="T113" fmla="*/ 11 h 89"/>
                  <a:gd name="T114" fmla="*/ 36 w 124"/>
                  <a:gd name="T115" fmla="*/ 7 h 89"/>
                  <a:gd name="T116" fmla="*/ 48 w 124"/>
                  <a:gd name="T117" fmla="*/ 3 h 89"/>
                  <a:gd name="T118" fmla="*/ 54 w 124"/>
                  <a:gd name="T119" fmla="*/ 3 h 89"/>
                  <a:gd name="T120" fmla="*/ 52 w 124"/>
                  <a:gd name="T121" fmla="*/ 9 h 89"/>
                  <a:gd name="T122" fmla="*/ 52 w 124"/>
                  <a:gd name="T123" fmla="*/ 17 h 89"/>
                  <a:gd name="T124" fmla="*/ 54 w 124"/>
                  <a:gd name="T125" fmla="*/ 2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" h="89">
                    <a:moveTo>
                      <a:pt x="59" y="17"/>
                    </a:moveTo>
                    <a:lnTo>
                      <a:pt x="57" y="19"/>
                    </a:lnTo>
                    <a:lnTo>
                      <a:pt x="56" y="19"/>
                    </a:lnTo>
                    <a:lnTo>
                      <a:pt x="54" y="21"/>
                    </a:lnTo>
                    <a:lnTo>
                      <a:pt x="54" y="23"/>
                    </a:lnTo>
                    <a:lnTo>
                      <a:pt x="52" y="23"/>
                    </a:lnTo>
                    <a:lnTo>
                      <a:pt x="50" y="23"/>
                    </a:lnTo>
                    <a:lnTo>
                      <a:pt x="52" y="23"/>
                    </a:lnTo>
                    <a:lnTo>
                      <a:pt x="52" y="21"/>
                    </a:lnTo>
                    <a:lnTo>
                      <a:pt x="50" y="21"/>
                    </a:lnTo>
                    <a:lnTo>
                      <a:pt x="48" y="21"/>
                    </a:lnTo>
                    <a:lnTo>
                      <a:pt x="48" y="19"/>
                    </a:lnTo>
                    <a:lnTo>
                      <a:pt x="46" y="19"/>
                    </a:lnTo>
                    <a:lnTo>
                      <a:pt x="44" y="17"/>
                    </a:lnTo>
                    <a:lnTo>
                      <a:pt x="42" y="17"/>
                    </a:lnTo>
                    <a:lnTo>
                      <a:pt x="38" y="19"/>
                    </a:lnTo>
                    <a:lnTo>
                      <a:pt x="38" y="21"/>
                    </a:lnTo>
                    <a:lnTo>
                      <a:pt x="36" y="19"/>
                    </a:lnTo>
                    <a:lnTo>
                      <a:pt x="36" y="21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35" y="23"/>
                    </a:lnTo>
                    <a:lnTo>
                      <a:pt x="35" y="24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3" y="23"/>
                    </a:lnTo>
                    <a:lnTo>
                      <a:pt x="31" y="24"/>
                    </a:lnTo>
                    <a:lnTo>
                      <a:pt x="33" y="24"/>
                    </a:lnTo>
                    <a:lnTo>
                      <a:pt x="31" y="24"/>
                    </a:lnTo>
                    <a:lnTo>
                      <a:pt x="31" y="26"/>
                    </a:lnTo>
                    <a:lnTo>
                      <a:pt x="33" y="28"/>
                    </a:lnTo>
                    <a:lnTo>
                      <a:pt x="33" y="30"/>
                    </a:lnTo>
                    <a:lnTo>
                      <a:pt x="33" y="32"/>
                    </a:lnTo>
                    <a:lnTo>
                      <a:pt x="33" y="30"/>
                    </a:lnTo>
                    <a:lnTo>
                      <a:pt x="35" y="32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4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4" y="30"/>
                    </a:lnTo>
                    <a:lnTo>
                      <a:pt x="54" y="32"/>
                    </a:lnTo>
                    <a:lnTo>
                      <a:pt x="56" y="32"/>
                    </a:lnTo>
                    <a:lnTo>
                      <a:pt x="56" y="34"/>
                    </a:lnTo>
                    <a:lnTo>
                      <a:pt x="57" y="34"/>
                    </a:lnTo>
                    <a:lnTo>
                      <a:pt x="59" y="34"/>
                    </a:lnTo>
                    <a:lnTo>
                      <a:pt x="59" y="32"/>
                    </a:lnTo>
                    <a:lnTo>
                      <a:pt x="61" y="32"/>
                    </a:lnTo>
                    <a:lnTo>
                      <a:pt x="63" y="32"/>
                    </a:lnTo>
                    <a:lnTo>
                      <a:pt x="63" y="30"/>
                    </a:lnTo>
                    <a:lnTo>
                      <a:pt x="65" y="30"/>
                    </a:lnTo>
                    <a:lnTo>
                      <a:pt x="67" y="30"/>
                    </a:lnTo>
                    <a:lnTo>
                      <a:pt x="67" y="32"/>
                    </a:lnTo>
                    <a:lnTo>
                      <a:pt x="69" y="34"/>
                    </a:lnTo>
                    <a:lnTo>
                      <a:pt x="69" y="32"/>
                    </a:lnTo>
                    <a:lnTo>
                      <a:pt x="69" y="34"/>
                    </a:lnTo>
                    <a:lnTo>
                      <a:pt x="71" y="32"/>
                    </a:lnTo>
                    <a:lnTo>
                      <a:pt x="71" y="34"/>
                    </a:lnTo>
                    <a:lnTo>
                      <a:pt x="71" y="36"/>
                    </a:lnTo>
                    <a:lnTo>
                      <a:pt x="71" y="38"/>
                    </a:lnTo>
                    <a:lnTo>
                      <a:pt x="73" y="36"/>
                    </a:lnTo>
                    <a:lnTo>
                      <a:pt x="75" y="36"/>
                    </a:lnTo>
                    <a:lnTo>
                      <a:pt x="75" y="34"/>
                    </a:lnTo>
                    <a:lnTo>
                      <a:pt x="76" y="36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80" y="36"/>
                    </a:lnTo>
                    <a:lnTo>
                      <a:pt x="82" y="36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6" y="34"/>
                    </a:lnTo>
                    <a:lnTo>
                      <a:pt x="88" y="36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4" y="36"/>
                    </a:lnTo>
                    <a:lnTo>
                      <a:pt x="94" y="34"/>
                    </a:lnTo>
                    <a:lnTo>
                      <a:pt x="96" y="34"/>
                    </a:lnTo>
                    <a:lnTo>
                      <a:pt x="97" y="34"/>
                    </a:lnTo>
                    <a:lnTo>
                      <a:pt x="99" y="32"/>
                    </a:lnTo>
                    <a:lnTo>
                      <a:pt x="99" y="34"/>
                    </a:lnTo>
                    <a:lnTo>
                      <a:pt x="97" y="34"/>
                    </a:lnTo>
                    <a:lnTo>
                      <a:pt x="99" y="36"/>
                    </a:lnTo>
                    <a:lnTo>
                      <a:pt x="99" y="38"/>
                    </a:lnTo>
                    <a:lnTo>
                      <a:pt x="101" y="38"/>
                    </a:lnTo>
                    <a:lnTo>
                      <a:pt x="101" y="40"/>
                    </a:lnTo>
                    <a:lnTo>
                      <a:pt x="101" y="42"/>
                    </a:lnTo>
                    <a:lnTo>
                      <a:pt x="103" y="42"/>
                    </a:lnTo>
                    <a:lnTo>
                      <a:pt x="103" y="44"/>
                    </a:lnTo>
                    <a:lnTo>
                      <a:pt x="101" y="45"/>
                    </a:lnTo>
                    <a:lnTo>
                      <a:pt x="103" y="47"/>
                    </a:lnTo>
                    <a:lnTo>
                      <a:pt x="103" y="49"/>
                    </a:lnTo>
                    <a:lnTo>
                      <a:pt x="103" y="51"/>
                    </a:lnTo>
                    <a:lnTo>
                      <a:pt x="105" y="51"/>
                    </a:lnTo>
                    <a:lnTo>
                      <a:pt x="107" y="53"/>
                    </a:lnTo>
                    <a:lnTo>
                      <a:pt x="107" y="51"/>
                    </a:lnTo>
                    <a:lnTo>
                      <a:pt x="109" y="51"/>
                    </a:lnTo>
                    <a:lnTo>
                      <a:pt x="109" y="49"/>
                    </a:lnTo>
                    <a:lnTo>
                      <a:pt x="111" y="49"/>
                    </a:lnTo>
                    <a:lnTo>
                      <a:pt x="113" y="49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7" y="51"/>
                    </a:lnTo>
                    <a:lnTo>
                      <a:pt x="118" y="51"/>
                    </a:lnTo>
                    <a:lnTo>
                      <a:pt x="118" y="53"/>
                    </a:lnTo>
                    <a:lnTo>
                      <a:pt x="120" y="53"/>
                    </a:lnTo>
                    <a:lnTo>
                      <a:pt x="120" y="55"/>
                    </a:lnTo>
                    <a:lnTo>
                      <a:pt x="118" y="55"/>
                    </a:lnTo>
                    <a:lnTo>
                      <a:pt x="118" y="57"/>
                    </a:lnTo>
                    <a:lnTo>
                      <a:pt x="118" y="59"/>
                    </a:lnTo>
                    <a:lnTo>
                      <a:pt x="118" y="61"/>
                    </a:lnTo>
                    <a:lnTo>
                      <a:pt x="120" y="61"/>
                    </a:lnTo>
                    <a:lnTo>
                      <a:pt x="120" y="63"/>
                    </a:lnTo>
                    <a:lnTo>
                      <a:pt x="120" y="65"/>
                    </a:lnTo>
                    <a:lnTo>
                      <a:pt x="120" y="66"/>
                    </a:lnTo>
                    <a:lnTo>
                      <a:pt x="122" y="66"/>
                    </a:lnTo>
                    <a:lnTo>
                      <a:pt x="120" y="68"/>
                    </a:lnTo>
                    <a:lnTo>
                      <a:pt x="120" y="70"/>
                    </a:lnTo>
                    <a:lnTo>
                      <a:pt x="120" y="72"/>
                    </a:lnTo>
                    <a:lnTo>
                      <a:pt x="122" y="72"/>
                    </a:lnTo>
                    <a:lnTo>
                      <a:pt x="124" y="72"/>
                    </a:lnTo>
                    <a:lnTo>
                      <a:pt x="124" y="74"/>
                    </a:lnTo>
                    <a:lnTo>
                      <a:pt x="124" y="76"/>
                    </a:lnTo>
                    <a:lnTo>
                      <a:pt x="120" y="78"/>
                    </a:lnTo>
                    <a:lnTo>
                      <a:pt x="120" y="76"/>
                    </a:lnTo>
                    <a:lnTo>
                      <a:pt x="118" y="76"/>
                    </a:lnTo>
                    <a:lnTo>
                      <a:pt x="117" y="74"/>
                    </a:lnTo>
                    <a:lnTo>
                      <a:pt x="117" y="76"/>
                    </a:lnTo>
                    <a:lnTo>
                      <a:pt x="115" y="76"/>
                    </a:lnTo>
                    <a:lnTo>
                      <a:pt x="115" y="74"/>
                    </a:lnTo>
                    <a:lnTo>
                      <a:pt x="113" y="74"/>
                    </a:lnTo>
                    <a:lnTo>
                      <a:pt x="113" y="76"/>
                    </a:lnTo>
                    <a:lnTo>
                      <a:pt x="113" y="74"/>
                    </a:lnTo>
                    <a:lnTo>
                      <a:pt x="111" y="74"/>
                    </a:lnTo>
                    <a:lnTo>
                      <a:pt x="111" y="76"/>
                    </a:lnTo>
                    <a:lnTo>
                      <a:pt x="109" y="76"/>
                    </a:lnTo>
                    <a:lnTo>
                      <a:pt x="107" y="76"/>
                    </a:lnTo>
                    <a:lnTo>
                      <a:pt x="107" y="78"/>
                    </a:lnTo>
                    <a:lnTo>
                      <a:pt x="105" y="76"/>
                    </a:lnTo>
                    <a:lnTo>
                      <a:pt x="105" y="78"/>
                    </a:lnTo>
                    <a:lnTo>
                      <a:pt x="103" y="78"/>
                    </a:lnTo>
                    <a:lnTo>
                      <a:pt x="101" y="78"/>
                    </a:lnTo>
                    <a:lnTo>
                      <a:pt x="99" y="78"/>
                    </a:lnTo>
                    <a:lnTo>
                      <a:pt x="101" y="78"/>
                    </a:lnTo>
                    <a:lnTo>
                      <a:pt x="101" y="76"/>
                    </a:lnTo>
                    <a:lnTo>
                      <a:pt x="103" y="76"/>
                    </a:lnTo>
                    <a:lnTo>
                      <a:pt x="103" y="74"/>
                    </a:lnTo>
                    <a:lnTo>
                      <a:pt x="101" y="74"/>
                    </a:lnTo>
                    <a:lnTo>
                      <a:pt x="99" y="74"/>
                    </a:lnTo>
                    <a:lnTo>
                      <a:pt x="97" y="74"/>
                    </a:lnTo>
                    <a:lnTo>
                      <a:pt x="96" y="74"/>
                    </a:lnTo>
                    <a:lnTo>
                      <a:pt x="94" y="74"/>
                    </a:lnTo>
                    <a:lnTo>
                      <a:pt x="92" y="76"/>
                    </a:lnTo>
                    <a:lnTo>
                      <a:pt x="90" y="78"/>
                    </a:lnTo>
                    <a:lnTo>
                      <a:pt x="88" y="78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4" y="82"/>
                    </a:lnTo>
                    <a:lnTo>
                      <a:pt x="82" y="84"/>
                    </a:lnTo>
                    <a:lnTo>
                      <a:pt x="80" y="84"/>
                    </a:lnTo>
                    <a:lnTo>
                      <a:pt x="78" y="84"/>
                    </a:lnTo>
                    <a:lnTo>
                      <a:pt x="76" y="86"/>
                    </a:lnTo>
                    <a:lnTo>
                      <a:pt x="75" y="87"/>
                    </a:lnTo>
                    <a:lnTo>
                      <a:pt x="73" y="89"/>
                    </a:lnTo>
                    <a:lnTo>
                      <a:pt x="69" y="89"/>
                    </a:lnTo>
                    <a:lnTo>
                      <a:pt x="67" y="87"/>
                    </a:lnTo>
                    <a:lnTo>
                      <a:pt x="67" y="86"/>
                    </a:lnTo>
                    <a:lnTo>
                      <a:pt x="67" y="84"/>
                    </a:lnTo>
                    <a:lnTo>
                      <a:pt x="65" y="82"/>
                    </a:lnTo>
                    <a:lnTo>
                      <a:pt x="65" y="80"/>
                    </a:lnTo>
                    <a:lnTo>
                      <a:pt x="65" y="78"/>
                    </a:lnTo>
                    <a:lnTo>
                      <a:pt x="67" y="78"/>
                    </a:lnTo>
                    <a:lnTo>
                      <a:pt x="67" y="76"/>
                    </a:lnTo>
                    <a:lnTo>
                      <a:pt x="67" y="74"/>
                    </a:lnTo>
                    <a:lnTo>
                      <a:pt x="67" y="72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69" y="65"/>
                    </a:lnTo>
                    <a:lnTo>
                      <a:pt x="67" y="65"/>
                    </a:lnTo>
                    <a:lnTo>
                      <a:pt x="63" y="65"/>
                    </a:lnTo>
                    <a:lnTo>
                      <a:pt x="63" y="63"/>
                    </a:lnTo>
                    <a:lnTo>
                      <a:pt x="63" y="61"/>
                    </a:lnTo>
                    <a:lnTo>
                      <a:pt x="65" y="61"/>
                    </a:lnTo>
                    <a:lnTo>
                      <a:pt x="65" y="59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61" y="55"/>
                    </a:lnTo>
                    <a:lnTo>
                      <a:pt x="59" y="55"/>
                    </a:lnTo>
                    <a:lnTo>
                      <a:pt x="59" y="53"/>
                    </a:lnTo>
                    <a:lnTo>
                      <a:pt x="57" y="53"/>
                    </a:lnTo>
                    <a:lnTo>
                      <a:pt x="57" y="55"/>
                    </a:lnTo>
                    <a:lnTo>
                      <a:pt x="57" y="53"/>
                    </a:lnTo>
                    <a:lnTo>
                      <a:pt x="56" y="53"/>
                    </a:lnTo>
                    <a:lnTo>
                      <a:pt x="56" y="55"/>
                    </a:lnTo>
                    <a:lnTo>
                      <a:pt x="54" y="55"/>
                    </a:lnTo>
                    <a:lnTo>
                      <a:pt x="52" y="55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0" y="59"/>
                    </a:lnTo>
                    <a:lnTo>
                      <a:pt x="52" y="61"/>
                    </a:lnTo>
                    <a:lnTo>
                      <a:pt x="50" y="61"/>
                    </a:lnTo>
                    <a:lnTo>
                      <a:pt x="48" y="63"/>
                    </a:lnTo>
                    <a:lnTo>
                      <a:pt x="46" y="63"/>
                    </a:lnTo>
                    <a:lnTo>
                      <a:pt x="48" y="65"/>
                    </a:lnTo>
                    <a:lnTo>
                      <a:pt x="46" y="65"/>
                    </a:lnTo>
                    <a:lnTo>
                      <a:pt x="46" y="66"/>
                    </a:lnTo>
                    <a:lnTo>
                      <a:pt x="48" y="66"/>
                    </a:lnTo>
                    <a:lnTo>
                      <a:pt x="48" y="68"/>
                    </a:lnTo>
                    <a:lnTo>
                      <a:pt x="46" y="70"/>
                    </a:lnTo>
                    <a:lnTo>
                      <a:pt x="48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0" y="70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6" y="72"/>
                    </a:lnTo>
                    <a:lnTo>
                      <a:pt x="35" y="70"/>
                    </a:lnTo>
                    <a:lnTo>
                      <a:pt x="35" y="72"/>
                    </a:lnTo>
                    <a:lnTo>
                      <a:pt x="33" y="74"/>
                    </a:lnTo>
                    <a:lnTo>
                      <a:pt x="33" y="76"/>
                    </a:lnTo>
                    <a:lnTo>
                      <a:pt x="35" y="78"/>
                    </a:lnTo>
                    <a:lnTo>
                      <a:pt x="33" y="78"/>
                    </a:lnTo>
                    <a:lnTo>
                      <a:pt x="35" y="78"/>
                    </a:lnTo>
                    <a:lnTo>
                      <a:pt x="33" y="80"/>
                    </a:lnTo>
                    <a:lnTo>
                      <a:pt x="31" y="82"/>
                    </a:lnTo>
                    <a:lnTo>
                      <a:pt x="31" y="80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7" y="78"/>
                    </a:lnTo>
                    <a:lnTo>
                      <a:pt x="27" y="76"/>
                    </a:lnTo>
                    <a:lnTo>
                      <a:pt x="25" y="76"/>
                    </a:lnTo>
                    <a:lnTo>
                      <a:pt x="25" y="78"/>
                    </a:lnTo>
                    <a:lnTo>
                      <a:pt x="25" y="76"/>
                    </a:lnTo>
                    <a:lnTo>
                      <a:pt x="23" y="78"/>
                    </a:lnTo>
                    <a:lnTo>
                      <a:pt x="25" y="78"/>
                    </a:lnTo>
                    <a:lnTo>
                      <a:pt x="23" y="78"/>
                    </a:lnTo>
                    <a:lnTo>
                      <a:pt x="21" y="78"/>
                    </a:lnTo>
                    <a:lnTo>
                      <a:pt x="19" y="80"/>
                    </a:lnTo>
                    <a:lnTo>
                      <a:pt x="17" y="80"/>
                    </a:lnTo>
                    <a:lnTo>
                      <a:pt x="17" y="82"/>
                    </a:lnTo>
                    <a:lnTo>
                      <a:pt x="15" y="82"/>
                    </a:lnTo>
                    <a:lnTo>
                      <a:pt x="14" y="84"/>
                    </a:lnTo>
                    <a:lnTo>
                      <a:pt x="14" y="82"/>
                    </a:lnTo>
                    <a:lnTo>
                      <a:pt x="14" y="84"/>
                    </a:lnTo>
                    <a:lnTo>
                      <a:pt x="12" y="84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80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12" y="68"/>
                    </a:lnTo>
                    <a:lnTo>
                      <a:pt x="14" y="65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7" y="61"/>
                    </a:lnTo>
                    <a:lnTo>
                      <a:pt x="17" y="59"/>
                    </a:lnTo>
                    <a:lnTo>
                      <a:pt x="15" y="59"/>
                    </a:lnTo>
                    <a:lnTo>
                      <a:pt x="15" y="57"/>
                    </a:lnTo>
                    <a:lnTo>
                      <a:pt x="14" y="55"/>
                    </a:lnTo>
                    <a:lnTo>
                      <a:pt x="12" y="55"/>
                    </a:lnTo>
                    <a:lnTo>
                      <a:pt x="14" y="53"/>
                    </a:lnTo>
                    <a:lnTo>
                      <a:pt x="12" y="53"/>
                    </a:lnTo>
                    <a:lnTo>
                      <a:pt x="12" y="51"/>
                    </a:lnTo>
                    <a:lnTo>
                      <a:pt x="12" y="49"/>
                    </a:lnTo>
                    <a:lnTo>
                      <a:pt x="12" y="47"/>
                    </a:lnTo>
                    <a:lnTo>
                      <a:pt x="14" y="47"/>
                    </a:lnTo>
                    <a:lnTo>
                      <a:pt x="12" y="47"/>
                    </a:lnTo>
                    <a:lnTo>
                      <a:pt x="12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5" y="30"/>
                    </a:lnTo>
                    <a:lnTo>
                      <a:pt x="17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1" y="28"/>
                    </a:lnTo>
                    <a:lnTo>
                      <a:pt x="21" y="26"/>
                    </a:lnTo>
                    <a:lnTo>
                      <a:pt x="21" y="24"/>
                    </a:lnTo>
                    <a:lnTo>
                      <a:pt x="23" y="24"/>
                    </a:lnTo>
                    <a:lnTo>
                      <a:pt x="25" y="24"/>
                    </a:lnTo>
                    <a:lnTo>
                      <a:pt x="23" y="23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1" y="21"/>
                    </a:lnTo>
                    <a:lnTo>
                      <a:pt x="19" y="19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31" y="17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1" y="17"/>
                    </a:lnTo>
                    <a:lnTo>
                      <a:pt x="33" y="15"/>
                    </a:lnTo>
                    <a:lnTo>
                      <a:pt x="31" y="15"/>
                    </a:lnTo>
                    <a:lnTo>
                      <a:pt x="31" y="13"/>
                    </a:lnTo>
                    <a:lnTo>
                      <a:pt x="31" y="11"/>
                    </a:lnTo>
                    <a:lnTo>
                      <a:pt x="31" y="9"/>
                    </a:lnTo>
                    <a:lnTo>
                      <a:pt x="33" y="9"/>
                    </a:lnTo>
                    <a:lnTo>
                      <a:pt x="33" y="7"/>
                    </a:lnTo>
                    <a:lnTo>
                      <a:pt x="33" y="5"/>
                    </a:lnTo>
                    <a:lnTo>
                      <a:pt x="35" y="5"/>
                    </a:lnTo>
                    <a:lnTo>
                      <a:pt x="36" y="7"/>
                    </a:lnTo>
                    <a:lnTo>
                      <a:pt x="38" y="9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8" y="3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50" y="0"/>
                    </a:lnTo>
                    <a:lnTo>
                      <a:pt x="52" y="2"/>
                    </a:lnTo>
                    <a:lnTo>
                      <a:pt x="54" y="3"/>
                    </a:lnTo>
                    <a:lnTo>
                      <a:pt x="54" y="5"/>
                    </a:lnTo>
                    <a:lnTo>
                      <a:pt x="56" y="5"/>
                    </a:lnTo>
                    <a:lnTo>
                      <a:pt x="56" y="7"/>
                    </a:lnTo>
                    <a:lnTo>
                      <a:pt x="54" y="7"/>
                    </a:lnTo>
                    <a:lnTo>
                      <a:pt x="54" y="9"/>
                    </a:lnTo>
                    <a:lnTo>
                      <a:pt x="52" y="9"/>
                    </a:lnTo>
                    <a:lnTo>
                      <a:pt x="52" y="11"/>
                    </a:lnTo>
                    <a:lnTo>
                      <a:pt x="50" y="11"/>
                    </a:lnTo>
                    <a:lnTo>
                      <a:pt x="48" y="13"/>
                    </a:lnTo>
                    <a:lnTo>
                      <a:pt x="50" y="15"/>
                    </a:lnTo>
                    <a:lnTo>
                      <a:pt x="52" y="15"/>
                    </a:lnTo>
                    <a:lnTo>
                      <a:pt x="52" y="17"/>
                    </a:lnTo>
                    <a:lnTo>
                      <a:pt x="54" y="19"/>
                    </a:lnTo>
                    <a:lnTo>
                      <a:pt x="56" y="19"/>
                    </a:lnTo>
                    <a:lnTo>
                      <a:pt x="57" y="17"/>
                    </a:lnTo>
                    <a:lnTo>
                      <a:pt x="59" y="17"/>
                    </a:lnTo>
                    <a:close/>
                    <a:moveTo>
                      <a:pt x="52" y="24"/>
                    </a:moveTo>
                    <a:lnTo>
                      <a:pt x="54" y="24"/>
                    </a:lnTo>
                    <a:lnTo>
                      <a:pt x="54" y="26"/>
                    </a:lnTo>
                    <a:lnTo>
                      <a:pt x="52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3" name="Freeform 224">
                <a:extLst>
                  <a:ext uri="{FF2B5EF4-FFF2-40B4-BE49-F238E27FC236}">
                    <a16:creationId xmlns:a16="http://schemas.microsoft.com/office/drawing/2014/main" id="{2D9E867D-D94A-1D67-39F0-F72DE432DE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29138" y="-3117339"/>
                <a:ext cx="275727" cy="135754"/>
              </a:xfrm>
              <a:custGeom>
                <a:avLst/>
                <a:gdLst>
                  <a:gd name="T0" fmla="*/ 168 w 175"/>
                  <a:gd name="T1" fmla="*/ 27 h 86"/>
                  <a:gd name="T2" fmla="*/ 158 w 175"/>
                  <a:gd name="T3" fmla="*/ 34 h 86"/>
                  <a:gd name="T4" fmla="*/ 147 w 175"/>
                  <a:gd name="T5" fmla="*/ 40 h 86"/>
                  <a:gd name="T6" fmla="*/ 135 w 175"/>
                  <a:gd name="T7" fmla="*/ 46 h 86"/>
                  <a:gd name="T8" fmla="*/ 127 w 175"/>
                  <a:gd name="T9" fmla="*/ 50 h 86"/>
                  <a:gd name="T10" fmla="*/ 118 w 175"/>
                  <a:gd name="T11" fmla="*/ 51 h 86"/>
                  <a:gd name="T12" fmla="*/ 114 w 175"/>
                  <a:gd name="T13" fmla="*/ 61 h 86"/>
                  <a:gd name="T14" fmla="*/ 107 w 175"/>
                  <a:gd name="T15" fmla="*/ 61 h 86"/>
                  <a:gd name="T16" fmla="*/ 103 w 175"/>
                  <a:gd name="T17" fmla="*/ 59 h 86"/>
                  <a:gd name="T18" fmla="*/ 95 w 175"/>
                  <a:gd name="T19" fmla="*/ 61 h 86"/>
                  <a:gd name="T20" fmla="*/ 87 w 175"/>
                  <a:gd name="T21" fmla="*/ 63 h 86"/>
                  <a:gd name="T22" fmla="*/ 78 w 175"/>
                  <a:gd name="T23" fmla="*/ 67 h 86"/>
                  <a:gd name="T24" fmla="*/ 74 w 175"/>
                  <a:gd name="T25" fmla="*/ 72 h 86"/>
                  <a:gd name="T26" fmla="*/ 72 w 175"/>
                  <a:gd name="T27" fmla="*/ 80 h 86"/>
                  <a:gd name="T28" fmla="*/ 63 w 175"/>
                  <a:gd name="T29" fmla="*/ 84 h 86"/>
                  <a:gd name="T30" fmla="*/ 53 w 175"/>
                  <a:gd name="T31" fmla="*/ 82 h 86"/>
                  <a:gd name="T32" fmla="*/ 45 w 175"/>
                  <a:gd name="T33" fmla="*/ 86 h 86"/>
                  <a:gd name="T34" fmla="*/ 40 w 175"/>
                  <a:gd name="T35" fmla="*/ 82 h 86"/>
                  <a:gd name="T36" fmla="*/ 34 w 175"/>
                  <a:gd name="T37" fmla="*/ 78 h 86"/>
                  <a:gd name="T38" fmla="*/ 25 w 175"/>
                  <a:gd name="T39" fmla="*/ 82 h 86"/>
                  <a:gd name="T40" fmla="*/ 17 w 175"/>
                  <a:gd name="T41" fmla="*/ 80 h 86"/>
                  <a:gd name="T42" fmla="*/ 9 w 175"/>
                  <a:gd name="T43" fmla="*/ 80 h 86"/>
                  <a:gd name="T44" fmla="*/ 2 w 175"/>
                  <a:gd name="T45" fmla="*/ 78 h 86"/>
                  <a:gd name="T46" fmla="*/ 2 w 175"/>
                  <a:gd name="T47" fmla="*/ 69 h 86"/>
                  <a:gd name="T48" fmla="*/ 5 w 175"/>
                  <a:gd name="T49" fmla="*/ 69 h 86"/>
                  <a:gd name="T50" fmla="*/ 17 w 175"/>
                  <a:gd name="T51" fmla="*/ 67 h 86"/>
                  <a:gd name="T52" fmla="*/ 23 w 175"/>
                  <a:gd name="T53" fmla="*/ 71 h 86"/>
                  <a:gd name="T54" fmla="*/ 30 w 175"/>
                  <a:gd name="T55" fmla="*/ 63 h 86"/>
                  <a:gd name="T56" fmla="*/ 38 w 175"/>
                  <a:gd name="T57" fmla="*/ 67 h 86"/>
                  <a:gd name="T58" fmla="*/ 47 w 175"/>
                  <a:gd name="T59" fmla="*/ 59 h 86"/>
                  <a:gd name="T60" fmla="*/ 51 w 175"/>
                  <a:gd name="T61" fmla="*/ 57 h 86"/>
                  <a:gd name="T62" fmla="*/ 59 w 175"/>
                  <a:gd name="T63" fmla="*/ 55 h 86"/>
                  <a:gd name="T64" fmla="*/ 57 w 175"/>
                  <a:gd name="T65" fmla="*/ 53 h 86"/>
                  <a:gd name="T66" fmla="*/ 49 w 175"/>
                  <a:gd name="T67" fmla="*/ 48 h 86"/>
                  <a:gd name="T68" fmla="*/ 42 w 175"/>
                  <a:gd name="T69" fmla="*/ 44 h 86"/>
                  <a:gd name="T70" fmla="*/ 38 w 175"/>
                  <a:gd name="T71" fmla="*/ 42 h 86"/>
                  <a:gd name="T72" fmla="*/ 30 w 175"/>
                  <a:gd name="T73" fmla="*/ 46 h 86"/>
                  <a:gd name="T74" fmla="*/ 19 w 175"/>
                  <a:gd name="T75" fmla="*/ 40 h 86"/>
                  <a:gd name="T76" fmla="*/ 21 w 175"/>
                  <a:gd name="T77" fmla="*/ 32 h 86"/>
                  <a:gd name="T78" fmla="*/ 30 w 175"/>
                  <a:gd name="T79" fmla="*/ 25 h 86"/>
                  <a:gd name="T80" fmla="*/ 26 w 175"/>
                  <a:gd name="T81" fmla="*/ 23 h 86"/>
                  <a:gd name="T82" fmla="*/ 30 w 175"/>
                  <a:gd name="T83" fmla="*/ 13 h 86"/>
                  <a:gd name="T84" fmla="*/ 38 w 175"/>
                  <a:gd name="T85" fmla="*/ 10 h 86"/>
                  <a:gd name="T86" fmla="*/ 51 w 175"/>
                  <a:gd name="T87" fmla="*/ 13 h 86"/>
                  <a:gd name="T88" fmla="*/ 65 w 175"/>
                  <a:gd name="T89" fmla="*/ 19 h 86"/>
                  <a:gd name="T90" fmla="*/ 66 w 175"/>
                  <a:gd name="T91" fmla="*/ 8 h 86"/>
                  <a:gd name="T92" fmla="*/ 78 w 175"/>
                  <a:gd name="T93" fmla="*/ 2 h 86"/>
                  <a:gd name="T94" fmla="*/ 84 w 175"/>
                  <a:gd name="T95" fmla="*/ 4 h 86"/>
                  <a:gd name="T96" fmla="*/ 97 w 175"/>
                  <a:gd name="T97" fmla="*/ 10 h 86"/>
                  <a:gd name="T98" fmla="*/ 112 w 175"/>
                  <a:gd name="T99" fmla="*/ 8 h 86"/>
                  <a:gd name="T100" fmla="*/ 122 w 175"/>
                  <a:gd name="T101" fmla="*/ 8 h 86"/>
                  <a:gd name="T102" fmla="*/ 131 w 175"/>
                  <a:gd name="T103" fmla="*/ 8 h 86"/>
                  <a:gd name="T104" fmla="*/ 145 w 175"/>
                  <a:gd name="T105" fmla="*/ 10 h 86"/>
                  <a:gd name="T106" fmla="*/ 154 w 175"/>
                  <a:gd name="T107" fmla="*/ 11 h 86"/>
                  <a:gd name="T108" fmla="*/ 162 w 175"/>
                  <a:gd name="T109" fmla="*/ 15 h 86"/>
                  <a:gd name="T110" fmla="*/ 173 w 175"/>
                  <a:gd name="T111" fmla="*/ 21 h 86"/>
                  <a:gd name="T112" fmla="*/ 28 w 175"/>
                  <a:gd name="T113" fmla="*/ 71 h 86"/>
                  <a:gd name="T114" fmla="*/ 21 w 175"/>
                  <a:gd name="T115" fmla="*/ 72 h 86"/>
                  <a:gd name="T116" fmla="*/ 40 w 175"/>
                  <a:gd name="T117" fmla="*/ 71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5" h="86">
                    <a:moveTo>
                      <a:pt x="175" y="23"/>
                    </a:moveTo>
                    <a:lnTo>
                      <a:pt x="173" y="23"/>
                    </a:lnTo>
                    <a:lnTo>
                      <a:pt x="173" y="25"/>
                    </a:lnTo>
                    <a:lnTo>
                      <a:pt x="173" y="27"/>
                    </a:lnTo>
                    <a:lnTo>
                      <a:pt x="171" y="27"/>
                    </a:lnTo>
                    <a:lnTo>
                      <a:pt x="169" y="27"/>
                    </a:lnTo>
                    <a:lnTo>
                      <a:pt x="168" y="27"/>
                    </a:lnTo>
                    <a:lnTo>
                      <a:pt x="168" y="29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4" y="30"/>
                    </a:lnTo>
                    <a:lnTo>
                      <a:pt x="162" y="30"/>
                    </a:lnTo>
                    <a:lnTo>
                      <a:pt x="160" y="32"/>
                    </a:lnTo>
                    <a:lnTo>
                      <a:pt x="158" y="34"/>
                    </a:lnTo>
                    <a:lnTo>
                      <a:pt x="156" y="34"/>
                    </a:lnTo>
                    <a:lnTo>
                      <a:pt x="154" y="34"/>
                    </a:lnTo>
                    <a:lnTo>
                      <a:pt x="154" y="36"/>
                    </a:lnTo>
                    <a:lnTo>
                      <a:pt x="152" y="36"/>
                    </a:lnTo>
                    <a:lnTo>
                      <a:pt x="150" y="38"/>
                    </a:lnTo>
                    <a:lnTo>
                      <a:pt x="148" y="38"/>
                    </a:lnTo>
                    <a:lnTo>
                      <a:pt x="147" y="40"/>
                    </a:lnTo>
                    <a:lnTo>
                      <a:pt x="145" y="40"/>
                    </a:lnTo>
                    <a:lnTo>
                      <a:pt x="143" y="40"/>
                    </a:lnTo>
                    <a:lnTo>
                      <a:pt x="141" y="40"/>
                    </a:lnTo>
                    <a:lnTo>
                      <a:pt x="141" y="44"/>
                    </a:lnTo>
                    <a:lnTo>
                      <a:pt x="139" y="46"/>
                    </a:lnTo>
                    <a:lnTo>
                      <a:pt x="137" y="46"/>
                    </a:lnTo>
                    <a:lnTo>
                      <a:pt x="135" y="46"/>
                    </a:lnTo>
                    <a:lnTo>
                      <a:pt x="137" y="48"/>
                    </a:lnTo>
                    <a:lnTo>
                      <a:pt x="135" y="48"/>
                    </a:lnTo>
                    <a:lnTo>
                      <a:pt x="133" y="50"/>
                    </a:lnTo>
                    <a:lnTo>
                      <a:pt x="131" y="50"/>
                    </a:lnTo>
                    <a:lnTo>
                      <a:pt x="131" y="48"/>
                    </a:lnTo>
                    <a:lnTo>
                      <a:pt x="129" y="48"/>
                    </a:lnTo>
                    <a:lnTo>
                      <a:pt x="127" y="50"/>
                    </a:lnTo>
                    <a:lnTo>
                      <a:pt x="127" y="48"/>
                    </a:lnTo>
                    <a:lnTo>
                      <a:pt x="126" y="50"/>
                    </a:lnTo>
                    <a:lnTo>
                      <a:pt x="126" y="48"/>
                    </a:lnTo>
                    <a:lnTo>
                      <a:pt x="124" y="48"/>
                    </a:lnTo>
                    <a:lnTo>
                      <a:pt x="122" y="48"/>
                    </a:lnTo>
                    <a:lnTo>
                      <a:pt x="120" y="50"/>
                    </a:lnTo>
                    <a:lnTo>
                      <a:pt x="118" y="51"/>
                    </a:lnTo>
                    <a:lnTo>
                      <a:pt x="118" y="53"/>
                    </a:lnTo>
                    <a:lnTo>
                      <a:pt x="118" y="55"/>
                    </a:lnTo>
                    <a:lnTo>
                      <a:pt x="118" y="57"/>
                    </a:lnTo>
                    <a:lnTo>
                      <a:pt x="116" y="57"/>
                    </a:lnTo>
                    <a:lnTo>
                      <a:pt x="116" y="59"/>
                    </a:lnTo>
                    <a:lnTo>
                      <a:pt x="116" y="61"/>
                    </a:lnTo>
                    <a:lnTo>
                      <a:pt x="114" y="61"/>
                    </a:lnTo>
                    <a:lnTo>
                      <a:pt x="112" y="61"/>
                    </a:lnTo>
                    <a:lnTo>
                      <a:pt x="112" y="63"/>
                    </a:lnTo>
                    <a:lnTo>
                      <a:pt x="112" y="61"/>
                    </a:lnTo>
                    <a:lnTo>
                      <a:pt x="110" y="61"/>
                    </a:lnTo>
                    <a:lnTo>
                      <a:pt x="108" y="61"/>
                    </a:lnTo>
                    <a:lnTo>
                      <a:pt x="108" y="63"/>
                    </a:lnTo>
                    <a:lnTo>
                      <a:pt x="107" y="61"/>
                    </a:lnTo>
                    <a:lnTo>
                      <a:pt x="107" y="63"/>
                    </a:lnTo>
                    <a:lnTo>
                      <a:pt x="105" y="63"/>
                    </a:lnTo>
                    <a:lnTo>
                      <a:pt x="103" y="63"/>
                    </a:lnTo>
                    <a:lnTo>
                      <a:pt x="103" y="65"/>
                    </a:lnTo>
                    <a:lnTo>
                      <a:pt x="103" y="63"/>
                    </a:lnTo>
                    <a:lnTo>
                      <a:pt x="103" y="61"/>
                    </a:lnTo>
                    <a:lnTo>
                      <a:pt x="103" y="59"/>
                    </a:lnTo>
                    <a:lnTo>
                      <a:pt x="101" y="59"/>
                    </a:lnTo>
                    <a:lnTo>
                      <a:pt x="101" y="57"/>
                    </a:lnTo>
                    <a:lnTo>
                      <a:pt x="101" y="55"/>
                    </a:lnTo>
                    <a:lnTo>
                      <a:pt x="99" y="57"/>
                    </a:lnTo>
                    <a:lnTo>
                      <a:pt x="97" y="59"/>
                    </a:lnTo>
                    <a:lnTo>
                      <a:pt x="95" y="59"/>
                    </a:lnTo>
                    <a:lnTo>
                      <a:pt x="95" y="61"/>
                    </a:lnTo>
                    <a:lnTo>
                      <a:pt x="93" y="61"/>
                    </a:lnTo>
                    <a:lnTo>
                      <a:pt x="91" y="61"/>
                    </a:lnTo>
                    <a:lnTo>
                      <a:pt x="89" y="59"/>
                    </a:lnTo>
                    <a:lnTo>
                      <a:pt x="87" y="59"/>
                    </a:lnTo>
                    <a:lnTo>
                      <a:pt x="87" y="61"/>
                    </a:lnTo>
                    <a:lnTo>
                      <a:pt x="89" y="63"/>
                    </a:lnTo>
                    <a:lnTo>
                      <a:pt x="87" y="63"/>
                    </a:lnTo>
                    <a:lnTo>
                      <a:pt x="86" y="63"/>
                    </a:lnTo>
                    <a:lnTo>
                      <a:pt x="86" y="65"/>
                    </a:lnTo>
                    <a:lnTo>
                      <a:pt x="84" y="65"/>
                    </a:lnTo>
                    <a:lnTo>
                      <a:pt x="82" y="67"/>
                    </a:lnTo>
                    <a:lnTo>
                      <a:pt x="82" y="69"/>
                    </a:lnTo>
                    <a:lnTo>
                      <a:pt x="80" y="67"/>
                    </a:lnTo>
                    <a:lnTo>
                      <a:pt x="78" y="67"/>
                    </a:lnTo>
                    <a:lnTo>
                      <a:pt x="78" y="69"/>
                    </a:lnTo>
                    <a:lnTo>
                      <a:pt x="78" y="67"/>
                    </a:lnTo>
                    <a:lnTo>
                      <a:pt x="76" y="69"/>
                    </a:lnTo>
                    <a:lnTo>
                      <a:pt x="74" y="69"/>
                    </a:lnTo>
                    <a:lnTo>
                      <a:pt x="76" y="71"/>
                    </a:lnTo>
                    <a:lnTo>
                      <a:pt x="74" y="71"/>
                    </a:lnTo>
                    <a:lnTo>
                      <a:pt x="74" y="72"/>
                    </a:lnTo>
                    <a:lnTo>
                      <a:pt x="72" y="72"/>
                    </a:lnTo>
                    <a:lnTo>
                      <a:pt x="72" y="74"/>
                    </a:lnTo>
                    <a:lnTo>
                      <a:pt x="74" y="74"/>
                    </a:lnTo>
                    <a:lnTo>
                      <a:pt x="74" y="76"/>
                    </a:lnTo>
                    <a:lnTo>
                      <a:pt x="74" y="78"/>
                    </a:lnTo>
                    <a:lnTo>
                      <a:pt x="74" y="80"/>
                    </a:lnTo>
                    <a:lnTo>
                      <a:pt x="72" y="80"/>
                    </a:lnTo>
                    <a:lnTo>
                      <a:pt x="70" y="80"/>
                    </a:lnTo>
                    <a:lnTo>
                      <a:pt x="68" y="82"/>
                    </a:lnTo>
                    <a:lnTo>
                      <a:pt x="68" y="80"/>
                    </a:lnTo>
                    <a:lnTo>
                      <a:pt x="66" y="82"/>
                    </a:lnTo>
                    <a:lnTo>
                      <a:pt x="65" y="82"/>
                    </a:lnTo>
                    <a:lnTo>
                      <a:pt x="63" y="82"/>
                    </a:lnTo>
                    <a:lnTo>
                      <a:pt x="63" y="84"/>
                    </a:lnTo>
                    <a:lnTo>
                      <a:pt x="61" y="82"/>
                    </a:lnTo>
                    <a:lnTo>
                      <a:pt x="61" y="84"/>
                    </a:lnTo>
                    <a:lnTo>
                      <a:pt x="59" y="84"/>
                    </a:lnTo>
                    <a:lnTo>
                      <a:pt x="59" y="82"/>
                    </a:lnTo>
                    <a:lnTo>
                      <a:pt x="57" y="84"/>
                    </a:lnTo>
                    <a:lnTo>
                      <a:pt x="55" y="82"/>
                    </a:lnTo>
                    <a:lnTo>
                      <a:pt x="53" y="82"/>
                    </a:lnTo>
                    <a:lnTo>
                      <a:pt x="53" y="84"/>
                    </a:lnTo>
                    <a:lnTo>
                      <a:pt x="53" y="82"/>
                    </a:lnTo>
                    <a:lnTo>
                      <a:pt x="51" y="82"/>
                    </a:lnTo>
                    <a:lnTo>
                      <a:pt x="51" y="84"/>
                    </a:lnTo>
                    <a:lnTo>
                      <a:pt x="49" y="84"/>
                    </a:lnTo>
                    <a:lnTo>
                      <a:pt x="47" y="86"/>
                    </a:lnTo>
                    <a:lnTo>
                      <a:pt x="45" y="86"/>
                    </a:lnTo>
                    <a:lnTo>
                      <a:pt x="45" y="84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2" y="84"/>
                    </a:lnTo>
                    <a:lnTo>
                      <a:pt x="40" y="86"/>
                    </a:lnTo>
                    <a:lnTo>
                      <a:pt x="40" y="84"/>
                    </a:lnTo>
                    <a:lnTo>
                      <a:pt x="40" y="82"/>
                    </a:lnTo>
                    <a:lnTo>
                      <a:pt x="40" y="80"/>
                    </a:lnTo>
                    <a:lnTo>
                      <a:pt x="38" y="82"/>
                    </a:lnTo>
                    <a:lnTo>
                      <a:pt x="38" y="80"/>
                    </a:lnTo>
                    <a:lnTo>
                      <a:pt x="38" y="82"/>
                    </a:lnTo>
                    <a:lnTo>
                      <a:pt x="36" y="80"/>
                    </a:lnTo>
                    <a:lnTo>
                      <a:pt x="36" y="78"/>
                    </a:lnTo>
                    <a:lnTo>
                      <a:pt x="34" y="78"/>
                    </a:lnTo>
                    <a:lnTo>
                      <a:pt x="32" y="78"/>
                    </a:lnTo>
                    <a:lnTo>
                      <a:pt x="32" y="80"/>
                    </a:lnTo>
                    <a:lnTo>
                      <a:pt x="30" y="80"/>
                    </a:lnTo>
                    <a:lnTo>
                      <a:pt x="28" y="80"/>
                    </a:lnTo>
                    <a:lnTo>
                      <a:pt x="28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3" y="80"/>
                    </a:lnTo>
                    <a:lnTo>
                      <a:pt x="23" y="78"/>
                    </a:lnTo>
                    <a:lnTo>
                      <a:pt x="21" y="78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7" y="80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3" y="78"/>
                    </a:lnTo>
                    <a:lnTo>
                      <a:pt x="11" y="80"/>
                    </a:lnTo>
                    <a:lnTo>
                      <a:pt x="11" y="78"/>
                    </a:lnTo>
                    <a:lnTo>
                      <a:pt x="9" y="78"/>
                    </a:lnTo>
                    <a:lnTo>
                      <a:pt x="9" y="80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5" y="78"/>
                    </a:lnTo>
                    <a:lnTo>
                      <a:pt x="4" y="80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2" y="78"/>
                    </a:lnTo>
                    <a:lnTo>
                      <a:pt x="2" y="76"/>
                    </a:lnTo>
                    <a:lnTo>
                      <a:pt x="0" y="74"/>
                    </a:lnTo>
                    <a:lnTo>
                      <a:pt x="0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2" y="71"/>
                    </a:lnTo>
                    <a:lnTo>
                      <a:pt x="2" y="69"/>
                    </a:lnTo>
                    <a:lnTo>
                      <a:pt x="2" y="71"/>
                    </a:lnTo>
                    <a:lnTo>
                      <a:pt x="4" y="71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4" y="69"/>
                    </a:lnTo>
                    <a:lnTo>
                      <a:pt x="4" y="67"/>
                    </a:lnTo>
                    <a:lnTo>
                      <a:pt x="5" y="69"/>
                    </a:lnTo>
                    <a:lnTo>
                      <a:pt x="5" y="67"/>
                    </a:lnTo>
                    <a:lnTo>
                      <a:pt x="7" y="69"/>
                    </a:lnTo>
                    <a:lnTo>
                      <a:pt x="7" y="67"/>
                    </a:lnTo>
                    <a:lnTo>
                      <a:pt x="11" y="65"/>
                    </a:lnTo>
                    <a:lnTo>
                      <a:pt x="13" y="65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9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21" y="71"/>
                    </a:lnTo>
                    <a:lnTo>
                      <a:pt x="23" y="71"/>
                    </a:lnTo>
                    <a:lnTo>
                      <a:pt x="23" y="69"/>
                    </a:lnTo>
                    <a:lnTo>
                      <a:pt x="25" y="67"/>
                    </a:lnTo>
                    <a:lnTo>
                      <a:pt x="26" y="67"/>
                    </a:lnTo>
                    <a:lnTo>
                      <a:pt x="28" y="65"/>
                    </a:lnTo>
                    <a:lnTo>
                      <a:pt x="26" y="65"/>
                    </a:lnTo>
                    <a:lnTo>
                      <a:pt x="28" y="65"/>
                    </a:lnTo>
                    <a:lnTo>
                      <a:pt x="30" y="63"/>
                    </a:lnTo>
                    <a:lnTo>
                      <a:pt x="32" y="63"/>
                    </a:lnTo>
                    <a:lnTo>
                      <a:pt x="34" y="63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8" y="65"/>
                    </a:lnTo>
                    <a:lnTo>
                      <a:pt x="40" y="65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2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5" y="61"/>
                    </a:lnTo>
                    <a:lnTo>
                      <a:pt x="45" y="59"/>
                    </a:lnTo>
                    <a:lnTo>
                      <a:pt x="47" y="59"/>
                    </a:lnTo>
                    <a:lnTo>
                      <a:pt x="47" y="61"/>
                    </a:lnTo>
                    <a:lnTo>
                      <a:pt x="49" y="61"/>
                    </a:lnTo>
                    <a:lnTo>
                      <a:pt x="51" y="59"/>
                    </a:lnTo>
                    <a:lnTo>
                      <a:pt x="49" y="59"/>
                    </a:lnTo>
                    <a:lnTo>
                      <a:pt x="49" y="57"/>
                    </a:lnTo>
                    <a:lnTo>
                      <a:pt x="51" y="59"/>
                    </a:lnTo>
                    <a:lnTo>
                      <a:pt x="51" y="57"/>
                    </a:lnTo>
                    <a:lnTo>
                      <a:pt x="51" y="59"/>
                    </a:lnTo>
                    <a:lnTo>
                      <a:pt x="53" y="59"/>
                    </a:lnTo>
                    <a:lnTo>
                      <a:pt x="55" y="59"/>
                    </a:lnTo>
                    <a:lnTo>
                      <a:pt x="55" y="57"/>
                    </a:lnTo>
                    <a:lnTo>
                      <a:pt x="55" y="55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3"/>
                    </a:lnTo>
                    <a:lnTo>
                      <a:pt x="61" y="53"/>
                    </a:lnTo>
                    <a:lnTo>
                      <a:pt x="63" y="53"/>
                    </a:lnTo>
                    <a:lnTo>
                      <a:pt x="61" y="51"/>
                    </a:lnTo>
                    <a:lnTo>
                      <a:pt x="59" y="51"/>
                    </a:lnTo>
                    <a:lnTo>
                      <a:pt x="59" y="53"/>
                    </a:lnTo>
                    <a:lnTo>
                      <a:pt x="57" y="53"/>
                    </a:lnTo>
                    <a:lnTo>
                      <a:pt x="57" y="51"/>
                    </a:lnTo>
                    <a:lnTo>
                      <a:pt x="55" y="51"/>
                    </a:lnTo>
                    <a:lnTo>
                      <a:pt x="53" y="51"/>
                    </a:lnTo>
                    <a:lnTo>
                      <a:pt x="53" y="50"/>
                    </a:lnTo>
                    <a:lnTo>
                      <a:pt x="51" y="50"/>
                    </a:lnTo>
                    <a:lnTo>
                      <a:pt x="51" y="48"/>
                    </a:lnTo>
                    <a:lnTo>
                      <a:pt x="49" y="48"/>
                    </a:lnTo>
                    <a:lnTo>
                      <a:pt x="47" y="50"/>
                    </a:lnTo>
                    <a:lnTo>
                      <a:pt x="45" y="50"/>
                    </a:lnTo>
                    <a:lnTo>
                      <a:pt x="47" y="48"/>
                    </a:lnTo>
                    <a:lnTo>
                      <a:pt x="45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2" y="44"/>
                    </a:lnTo>
                    <a:lnTo>
                      <a:pt x="42" y="42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40"/>
                    </a:lnTo>
                    <a:lnTo>
                      <a:pt x="38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4"/>
                    </a:lnTo>
                    <a:lnTo>
                      <a:pt x="34" y="46"/>
                    </a:lnTo>
                    <a:lnTo>
                      <a:pt x="32" y="46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28" y="46"/>
                    </a:lnTo>
                    <a:lnTo>
                      <a:pt x="26" y="46"/>
                    </a:lnTo>
                    <a:lnTo>
                      <a:pt x="25" y="44"/>
                    </a:lnTo>
                    <a:lnTo>
                      <a:pt x="25" y="42"/>
                    </a:lnTo>
                    <a:lnTo>
                      <a:pt x="23" y="38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17" y="38"/>
                    </a:lnTo>
                    <a:lnTo>
                      <a:pt x="15" y="38"/>
                    </a:lnTo>
                    <a:lnTo>
                      <a:pt x="15" y="36"/>
                    </a:lnTo>
                    <a:lnTo>
                      <a:pt x="17" y="34"/>
                    </a:lnTo>
                    <a:lnTo>
                      <a:pt x="19" y="34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5" y="27"/>
                    </a:lnTo>
                    <a:lnTo>
                      <a:pt x="28" y="27"/>
                    </a:lnTo>
                    <a:lnTo>
                      <a:pt x="30" y="25"/>
                    </a:lnTo>
                    <a:lnTo>
                      <a:pt x="32" y="25"/>
                    </a:lnTo>
                    <a:lnTo>
                      <a:pt x="32" y="23"/>
                    </a:lnTo>
                    <a:lnTo>
                      <a:pt x="30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6" y="21"/>
                    </a:lnTo>
                    <a:lnTo>
                      <a:pt x="26" y="19"/>
                    </a:lnTo>
                    <a:lnTo>
                      <a:pt x="26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6" y="11"/>
                    </a:lnTo>
                    <a:lnTo>
                      <a:pt x="36" y="10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2" y="10"/>
                    </a:lnTo>
                    <a:lnTo>
                      <a:pt x="44" y="11"/>
                    </a:lnTo>
                    <a:lnTo>
                      <a:pt x="45" y="11"/>
                    </a:lnTo>
                    <a:lnTo>
                      <a:pt x="47" y="11"/>
                    </a:lnTo>
                    <a:lnTo>
                      <a:pt x="49" y="11"/>
                    </a:lnTo>
                    <a:lnTo>
                      <a:pt x="51" y="13"/>
                    </a:lnTo>
                    <a:lnTo>
                      <a:pt x="53" y="13"/>
                    </a:lnTo>
                    <a:lnTo>
                      <a:pt x="55" y="13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1" y="15"/>
                    </a:lnTo>
                    <a:lnTo>
                      <a:pt x="65" y="17"/>
                    </a:lnTo>
                    <a:lnTo>
                      <a:pt x="65" y="19"/>
                    </a:lnTo>
                    <a:lnTo>
                      <a:pt x="66" y="19"/>
                    </a:lnTo>
                    <a:lnTo>
                      <a:pt x="68" y="19"/>
                    </a:lnTo>
                    <a:lnTo>
                      <a:pt x="66" y="17"/>
                    </a:lnTo>
                    <a:lnTo>
                      <a:pt x="66" y="15"/>
                    </a:lnTo>
                    <a:lnTo>
                      <a:pt x="66" y="13"/>
                    </a:lnTo>
                    <a:lnTo>
                      <a:pt x="68" y="11"/>
                    </a:lnTo>
                    <a:lnTo>
                      <a:pt x="66" y="8"/>
                    </a:lnTo>
                    <a:lnTo>
                      <a:pt x="68" y="8"/>
                    </a:lnTo>
                    <a:lnTo>
                      <a:pt x="68" y="6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2"/>
                    </a:lnTo>
                    <a:lnTo>
                      <a:pt x="76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82" y="2"/>
                    </a:lnTo>
                    <a:lnTo>
                      <a:pt x="84" y="4"/>
                    </a:lnTo>
                    <a:lnTo>
                      <a:pt x="84" y="2"/>
                    </a:lnTo>
                    <a:lnTo>
                      <a:pt x="84" y="4"/>
                    </a:lnTo>
                    <a:lnTo>
                      <a:pt x="86" y="6"/>
                    </a:lnTo>
                    <a:lnTo>
                      <a:pt x="87" y="6"/>
                    </a:lnTo>
                    <a:lnTo>
                      <a:pt x="89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5" y="10"/>
                    </a:lnTo>
                    <a:lnTo>
                      <a:pt x="97" y="10"/>
                    </a:lnTo>
                    <a:lnTo>
                      <a:pt x="103" y="11"/>
                    </a:lnTo>
                    <a:lnTo>
                      <a:pt x="103" y="10"/>
                    </a:lnTo>
                    <a:lnTo>
                      <a:pt x="105" y="8"/>
                    </a:lnTo>
                    <a:lnTo>
                      <a:pt x="107" y="8"/>
                    </a:lnTo>
                    <a:lnTo>
                      <a:pt x="108" y="8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2" y="10"/>
                    </a:lnTo>
                    <a:lnTo>
                      <a:pt x="114" y="10"/>
                    </a:lnTo>
                    <a:lnTo>
                      <a:pt x="116" y="8"/>
                    </a:lnTo>
                    <a:lnTo>
                      <a:pt x="118" y="8"/>
                    </a:lnTo>
                    <a:lnTo>
                      <a:pt x="120" y="8"/>
                    </a:lnTo>
                    <a:lnTo>
                      <a:pt x="120" y="6"/>
                    </a:lnTo>
                    <a:lnTo>
                      <a:pt x="122" y="8"/>
                    </a:lnTo>
                    <a:lnTo>
                      <a:pt x="124" y="6"/>
                    </a:lnTo>
                    <a:lnTo>
                      <a:pt x="124" y="8"/>
                    </a:lnTo>
                    <a:lnTo>
                      <a:pt x="124" y="6"/>
                    </a:lnTo>
                    <a:lnTo>
                      <a:pt x="126" y="8"/>
                    </a:lnTo>
                    <a:lnTo>
                      <a:pt x="127" y="8"/>
                    </a:lnTo>
                    <a:lnTo>
                      <a:pt x="129" y="8"/>
                    </a:lnTo>
                    <a:lnTo>
                      <a:pt x="131" y="8"/>
                    </a:lnTo>
                    <a:lnTo>
                      <a:pt x="133" y="8"/>
                    </a:lnTo>
                    <a:lnTo>
                      <a:pt x="135" y="8"/>
                    </a:lnTo>
                    <a:lnTo>
                      <a:pt x="137" y="10"/>
                    </a:lnTo>
                    <a:lnTo>
                      <a:pt x="139" y="10"/>
                    </a:lnTo>
                    <a:lnTo>
                      <a:pt x="141" y="10"/>
                    </a:lnTo>
                    <a:lnTo>
                      <a:pt x="143" y="10"/>
                    </a:lnTo>
                    <a:lnTo>
                      <a:pt x="145" y="10"/>
                    </a:lnTo>
                    <a:lnTo>
                      <a:pt x="145" y="8"/>
                    </a:lnTo>
                    <a:lnTo>
                      <a:pt x="145" y="10"/>
                    </a:lnTo>
                    <a:lnTo>
                      <a:pt x="147" y="8"/>
                    </a:lnTo>
                    <a:lnTo>
                      <a:pt x="148" y="10"/>
                    </a:lnTo>
                    <a:lnTo>
                      <a:pt x="150" y="10"/>
                    </a:lnTo>
                    <a:lnTo>
                      <a:pt x="152" y="10"/>
                    </a:lnTo>
                    <a:lnTo>
                      <a:pt x="154" y="11"/>
                    </a:lnTo>
                    <a:lnTo>
                      <a:pt x="156" y="11"/>
                    </a:lnTo>
                    <a:lnTo>
                      <a:pt x="158" y="10"/>
                    </a:lnTo>
                    <a:lnTo>
                      <a:pt x="158" y="11"/>
                    </a:lnTo>
                    <a:lnTo>
                      <a:pt x="158" y="13"/>
                    </a:lnTo>
                    <a:lnTo>
                      <a:pt x="160" y="13"/>
                    </a:lnTo>
                    <a:lnTo>
                      <a:pt x="160" y="15"/>
                    </a:lnTo>
                    <a:lnTo>
                      <a:pt x="162" y="15"/>
                    </a:lnTo>
                    <a:lnTo>
                      <a:pt x="162" y="17"/>
                    </a:lnTo>
                    <a:lnTo>
                      <a:pt x="164" y="17"/>
                    </a:lnTo>
                    <a:lnTo>
                      <a:pt x="166" y="17"/>
                    </a:lnTo>
                    <a:lnTo>
                      <a:pt x="168" y="17"/>
                    </a:lnTo>
                    <a:lnTo>
                      <a:pt x="169" y="19"/>
                    </a:lnTo>
                    <a:lnTo>
                      <a:pt x="171" y="21"/>
                    </a:lnTo>
                    <a:lnTo>
                      <a:pt x="173" y="21"/>
                    </a:lnTo>
                    <a:lnTo>
                      <a:pt x="173" y="23"/>
                    </a:lnTo>
                    <a:lnTo>
                      <a:pt x="175" y="23"/>
                    </a:lnTo>
                    <a:close/>
                    <a:moveTo>
                      <a:pt x="28" y="67"/>
                    </a:moveTo>
                    <a:lnTo>
                      <a:pt x="28" y="69"/>
                    </a:lnTo>
                    <a:lnTo>
                      <a:pt x="30" y="69"/>
                    </a:lnTo>
                    <a:lnTo>
                      <a:pt x="30" y="71"/>
                    </a:lnTo>
                    <a:lnTo>
                      <a:pt x="28" y="71"/>
                    </a:lnTo>
                    <a:lnTo>
                      <a:pt x="30" y="71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28" y="67"/>
                    </a:lnTo>
                    <a:close/>
                    <a:moveTo>
                      <a:pt x="21" y="72"/>
                    </a:moveTo>
                    <a:lnTo>
                      <a:pt x="23" y="74"/>
                    </a:lnTo>
                    <a:lnTo>
                      <a:pt x="23" y="72"/>
                    </a:lnTo>
                    <a:lnTo>
                      <a:pt x="21" y="72"/>
                    </a:lnTo>
                    <a:close/>
                    <a:moveTo>
                      <a:pt x="40" y="69"/>
                    </a:moveTo>
                    <a:lnTo>
                      <a:pt x="42" y="69"/>
                    </a:lnTo>
                    <a:lnTo>
                      <a:pt x="42" y="71"/>
                    </a:lnTo>
                    <a:lnTo>
                      <a:pt x="40" y="71"/>
                    </a:lnTo>
                    <a:lnTo>
                      <a:pt x="40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4" name="Freeform 225">
                <a:extLst>
                  <a:ext uri="{FF2B5EF4-FFF2-40B4-BE49-F238E27FC236}">
                    <a16:creationId xmlns:a16="http://schemas.microsoft.com/office/drawing/2014/main" id="{2E14A2BF-BF5D-DD80-4C51-284EB1DF881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495112" y="-3199425"/>
                <a:ext cx="433286" cy="284136"/>
              </a:xfrm>
              <a:custGeom>
                <a:avLst/>
                <a:gdLst>
                  <a:gd name="T0" fmla="*/ 242 w 275"/>
                  <a:gd name="T1" fmla="*/ 77 h 180"/>
                  <a:gd name="T2" fmla="*/ 231 w 275"/>
                  <a:gd name="T3" fmla="*/ 86 h 180"/>
                  <a:gd name="T4" fmla="*/ 235 w 275"/>
                  <a:gd name="T5" fmla="*/ 90 h 180"/>
                  <a:gd name="T6" fmla="*/ 246 w 275"/>
                  <a:gd name="T7" fmla="*/ 98 h 180"/>
                  <a:gd name="T8" fmla="*/ 250 w 275"/>
                  <a:gd name="T9" fmla="*/ 92 h 180"/>
                  <a:gd name="T10" fmla="*/ 257 w 275"/>
                  <a:gd name="T11" fmla="*/ 102 h 180"/>
                  <a:gd name="T12" fmla="*/ 269 w 275"/>
                  <a:gd name="T13" fmla="*/ 103 h 180"/>
                  <a:gd name="T14" fmla="*/ 271 w 275"/>
                  <a:gd name="T15" fmla="*/ 107 h 180"/>
                  <a:gd name="T16" fmla="*/ 263 w 275"/>
                  <a:gd name="T17" fmla="*/ 111 h 180"/>
                  <a:gd name="T18" fmla="*/ 257 w 275"/>
                  <a:gd name="T19" fmla="*/ 113 h 180"/>
                  <a:gd name="T20" fmla="*/ 248 w 275"/>
                  <a:gd name="T21" fmla="*/ 117 h 180"/>
                  <a:gd name="T22" fmla="*/ 238 w 275"/>
                  <a:gd name="T23" fmla="*/ 117 h 180"/>
                  <a:gd name="T24" fmla="*/ 233 w 275"/>
                  <a:gd name="T25" fmla="*/ 111 h 180"/>
                  <a:gd name="T26" fmla="*/ 233 w 275"/>
                  <a:gd name="T27" fmla="*/ 102 h 180"/>
                  <a:gd name="T28" fmla="*/ 223 w 275"/>
                  <a:gd name="T29" fmla="*/ 107 h 180"/>
                  <a:gd name="T30" fmla="*/ 212 w 275"/>
                  <a:gd name="T31" fmla="*/ 109 h 180"/>
                  <a:gd name="T32" fmla="*/ 212 w 275"/>
                  <a:gd name="T33" fmla="*/ 119 h 180"/>
                  <a:gd name="T34" fmla="*/ 202 w 275"/>
                  <a:gd name="T35" fmla="*/ 121 h 180"/>
                  <a:gd name="T36" fmla="*/ 206 w 275"/>
                  <a:gd name="T37" fmla="*/ 124 h 180"/>
                  <a:gd name="T38" fmla="*/ 198 w 275"/>
                  <a:gd name="T39" fmla="*/ 132 h 180"/>
                  <a:gd name="T40" fmla="*/ 183 w 275"/>
                  <a:gd name="T41" fmla="*/ 130 h 180"/>
                  <a:gd name="T42" fmla="*/ 185 w 275"/>
                  <a:gd name="T43" fmla="*/ 140 h 180"/>
                  <a:gd name="T44" fmla="*/ 195 w 275"/>
                  <a:gd name="T45" fmla="*/ 145 h 180"/>
                  <a:gd name="T46" fmla="*/ 195 w 275"/>
                  <a:gd name="T47" fmla="*/ 153 h 180"/>
                  <a:gd name="T48" fmla="*/ 196 w 275"/>
                  <a:gd name="T49" fmla="*/ 165 h 180"/>
                  <a:gd name="T50" fmla="*/ 187 w 275"/>
                  <a:gd name="T51" fmla="*/ 178 h 180"/>
                  <a:gd name="T52" fmla="*/ 176 w 275"/>
                  <a:gd name="T53" fmla="*/ 174 h 180"/>
                  <a:gd name="T54" fmla="*/ 170 w 275"/>
                  <a:gd name="T55" fmla="*/ 168 h 180"/>
                  <a:gd name="T56" fmla="*/ 164 w 275"/>
                  <a:gd name="T57" fmla="*/ 161 h 180"/>
                  <a:gd name="T58" fmla="*/ 149 w 275"/>
                  <a:gd name="T59" fmla="*/ 153 h 180"/>
                  <a:gd name="T60" fmla="*/ 105 w 275"/>
                  <a:gd name="T61" fmla="*/ 123 h 180"/>
                  <a:gd name="T62" fmla="*/ 101 w 275"/>
                  <a:gd name="T63" fmla="*/ 113 h 180"/>
                  <a:gd name="T64" fmla="*/ 95 w 275"/>
                  <a:gd name="T65" fmla="*/ 102 h 180"/>
                  <a:gd name="T66" fmla="*/ 90 w 275"/>
                  <a:gd name="T67" fmla="*/ 96 h 180"/>
                  <a:gd name="T68" fmla="*/ 76 w 275"/>
                  <a:gd name="T69" fmla="*/ 96 h 180"/>
                  <a:gd name="T70" fmla="*/ 67 w 275"/>
                  <a:gd name="T71" fmla="*/ 86 h 180"/>
                  <a:gd name="T72" fmla="*/ 67 w 275"/>
                  <a:gd name="T73" fmla="*/ 82 h 180"/>
                  <a:gd name="T74" fmla="*/ 63 w 275"/>
                  <a:gd name="T75" fmla="*/ 73 h 180"/>
                  <a:gd name="T76" fmla="*/ 42 w 275"/>
                  <a:gd name="T77" fmla="*/ 63 h 180"/>
                  <a:gd name="T78" fmla="*/ 38 w 275"/>
                  <a:gd name="T79" fmla="*/ 67 h 180"/>
                  <a:gd name="T80" fmla="*/ 32 w 275"/>
                  <a:gd name="T81" fmla="*/ 71 h 180"/>
                  <a:gd name="T82" fmla="*/ 23 w 275"/>
                  <a:gd name="T83" fmla="*/ 77 h 180"/>
                  <a:gd name="T84" fmla="*/ 19 w 275"/>
                  <a:gd name="T85" fmla="*/ 92 h 180"/>
                  <a:gd name="T86" fmla="*/ 0 w 275"/>
                  <a:gd name="T87" fmla="*/ 14 h 180"/>
                  <a:gd name="T88" fmla="*/ 105 w 275"/>
                  <a:gd name="T89" fmla="*/ 48 h 180"/>
                  <a:gd name="T90" fmla="*/ 158 w 275"/>
                  <a:gd name="T91" fmla="*/ 62 h 180"/>
                  <a:gd name="T92" fmla="*/ 181 w 275"/>
                  <a:gd name="T93" fmla="*/ 98 h 180"/>
                  <a:gd name="T94" fmla="*/ 193 w 275"/>
                  <a:gd name="T95" fmla="*/ 100 h 180"/>
                  <a:gd name="T96" fmla="*/ 200 w 275"/>
                  <a:gd name="T97" fmla="*/ 109 h 180"/>
                  <a:gd name="T98" fmla="*/ 200 w 275"/>
                  <a:gd name="T99" fmla="*/ 103 h 180"/>
                  <a:gd name="T100" fmla="*/ 204 w 275"/>
                  <a:gd name="T101" fmla="*/ 100 h 180"/>
                  <a:gd name="T102" fmla="*/ 216 w 275"/>
                  <a:gd name="T103" fmla="*/ 90 h 180"/>
                  <a:gd name="T104" fmla="*/ 223 w 275"/>
                  <a:gd name="T105" fmla="*/ 86 h 180"/>
                  <a:gd name="T106" fmla="*/ 231 w 275"/>
                  <a:gd name="T107" fmla="*/ 77 h 180"/>
                  <a:gd name="T108" fmla="*/ 237 w 275"/>
                  <a:gd name="T109" fmla="*/ 75 h 180"/>
                  <a:gd name="T110" fmla="*/ 240 w 275"/>
                  <a:gd name="T111" fmla="*/ 123 h 180"/>
                  <a:gd name="T112" fmla="*/ 252 w 275"/>
                  <a:gd name="T113" fmla="*/ 123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75" h="180">
                    <a:moveTo>
                      <a:pt x="238" y="75"/>
                    </a:moveTo>
                    <a:lnTo>
                      <a:pt x="240" y="75"/>
                    </a:lnTo>
                    <a:lnTo>
                      <a:pt x="240" y="73"/>
                    </a:lnTo>
                    <a:lnTo>
                      <a:pt x="242" y="73"/>
                    </a:lnTo>
                    <a:lnTo>
                      <a:pt x="242" y="75"/>
                    </a:lnTo>
                    <a:lnTo>
                      <a:pt x="244" y="75"/>
                    </a:lnTo>
                    <a:lnTo>
                      <a:pt x="244" y="77"/>
                    </a:lnTo>
                    <a:lnTo>
                      <a:pt x="242" y="77"/>
                    </a:lnTo>
                    <a:lnTo>
                      <a:pt x="240" y="79"/>
                    </a:lnTo>
                    <a:lnTo>
                      <a:pt x="237" y="79"/>
                    </a:lnTo>
                    <a:lnTo>
                      <a:pt x="237" y="81"/>
                    </a:lnTo>
                    <a:lnTo>
                      <a:pt x="235" y="81"/>
                    </a:lnTo>
                    <a:lnTo>
                      <a:pt x="235" y="82"/>
                    </a:lnTo>
                    <a:lnTo>
                      <a:pt x="233" y="82"/>
                    </a:lnTo>
                    <a:lnTo>
                      <a:pt x="233" y="84"/>
                    </a:lnTo>
                    <a:lnTo>
                      <a:pt x="231" y="86"/>
                    </a:lnTo>
                    <a:lnTo>
                      <a:pt x="229" y="86"/>
                    </a:lnTo>
                    <a:lnTo>
                      <a:pt x="227" y="88"/>
                    </a:lnTo>
                    <a:lnTo>
                      <a:pt x="227" y="90"/>
                    </a:lnTo>
                    <a:lnTo>
                      <a:pt x="229" y="90"/>
                    </a:lnTo>
                    <a:lnTo>
                      <a:pt x="231" y="90"/>
                    </a:lnTo>
                    <a:lnTo>
                      <a:pt x="231" y="92"/>
                    </a:lnTo>
                    <a:lnTo>
                      <a:pt x="233" y="92"/>
                    </a:lnTo>
                    <a:lnTo>
                      <a:pt x="235" y="90"/>
                    </a:lnTo>
                    <a:lnTo>
                      <a:pt x="237" y="94"/>
                    </a:lnTo>
                    <a:lnTo>
                      <a:pt x="237" y="96"/>
                    </a:lnTo>
                    <a:lnTo>
                      <a:pt x="238" y="98"/>
                    </a:lnTo>
                    <a:lnTo>
                      <a:pt x="240" y="98"/>
                    </a:lnTo>
                    <a:lnTo>
                      <a:pt x="242" y="98"/>
                    </a:lnTo>
                    <a:lnTo>
                      <a:pt x="242" y="96"/>
                    </a:lnTo>
                    <a:lnTo>
                      <a:pt x="244" y="98"/>
                    </a:lnTo>
                    <a:lnTo>
                      <a:pt x="246" y="98"/>
                    </a:lnTo>
                    <a:lnTo>
                      <a:pt x="246" y="96"/>
                    </a:lnTo>
                    <a:lnTo>
                      <a:pt x="246" y="94"/>
                    </a:lnTo>
                    <a:lnTo>
                      <a:pt x="248" y="94"/>
                    </a:lnTo>
                    <a:lnTo>
                      <a:pt x="250" y="94"/>
                    </a:lnTo>
                    <a:lnTo>
                      <a:pt x="250" y="92"/>
                    </a:lnTo>
                    <a:lnTo>
                      <a:pt x="250" y="90"/>
                    </a:lnTo>
                    <a:lnTo>
                      <a:pt x="252" y="90"/>
                    </a:lnTo>
                    <a:lnTo>
                      <a:pt x="250" y="92"/>
                    </a:lnTo>
                    <a:lnTo>
                      <a:pt x="252" y="92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8"/>
                    </a:lnTo>
                    <a:lnTo>
                      <a:pt x="256" y="98"/>
                    </a:lnTo>
                    <a:lnTo>
                      <a:pt x="257" y="98"/>
                    </a:lnTo>
                    <a:lnTo>
                      <a:pt x="259" y="100"/>
                    </a:lnTo>
                    <a:lnTo>
                      <a:pt x="257" y="102"/>
                    </a:lnTo>
                    <a:lnTo>
                      <a:pt x="259" y="102"/>
                    </a:lnTo>
                    <a:lnTo>
                      <a:pt x="261" y="100"/>
                    </a:lnTo>
                    <a:lnTo>
                      <a:pt x="263" y="100"/>
                    </a:lnTo>
                    <a:lnTo>
                      <a:pt x="263" y="102"/>
                    </a:lnTo>
                    <a:lnTo>
                      <a:pt x="265" y="102"/>
                    </a:lnTo>
                    <a:lnTo>
                      <a:pt x="265" y="103"/>
                    </a:lnTo>
                    <a:lnTo>
                      <a:pt x="267" y="103"/>
                    </a:lnTo>
                    <a:lnTo>
                      <a:pt x="269" y="103"/>
                    </a:lnTo>
                    <a:lnTo>
                      <a:pt x="269" y="105"/>
                    </a:lnTo>
                    <a:lnTo>
                      <a:pt x="271" y="105"/>
                    </a:lnTo>
                    <a:lnTo>
                      <a:pt x="271" y="103"/>
                    </a:lnTo>
                    <a:lnTo>
                      <a:pt x="273" y="103"/>
                    </a:lnTo>
                    <a:lnTo>
                      <a:pt x="275" y="105"/>
                    </a:lnTo>
                    <a:lnTo>
                      <a:pt x="273" y="105"/>
                    </a:lnTo>
                    <a:lnTo>
                      <a:pt x="271" y="105"/>
                    </a:lnTo>
                    <a:lnTo>
                      <a:pt x="271" y="107"/>
                    </a:lnTo>
                    <a:lnTo>
                      <a:pt x="269" y="107"/>
                    </a:lnTo>
                    <a:lnTo>
                      <a:pt x="267" y="107"/>
                    </a:lnTo>
                    <a:lnTo>
                      <a:pt x="267" y="109"/>
                    </a:lnTo>
                    <a:lnTo>
                      <a:pt x="267" y="111"/>
                    </a:lnTo>
                    <a:lnTo>
                      <a:pt x="265" y="111"/>
                    </a:lnTo>
                    <a:lnTo>
                      <a:pt x="263" y="111"/>
                    </a:lnTo>
                    <a:lnTo>
                      <a:pt x="263" y="109"/>
                    </a:lnTo>
                    <a:lnTo>
                      <a:pt x="263" y="111"/>
                    </a:lnTo>
                    <a:lnTo>
                      <a:pt x="261" y="109"/>
                    </a:lnTo>
                    <a:lnTo>
                      <a:pt x="261" y="111"/>
                    </a:lnTo>
                    <a:lnTo>
                      <a:pt x="263" y="111"/>
                    </a:lnTo>
                    <a:lnTo>
                      <a:pt x="261" y="113"/>
                    </a:lnTo>
                    <a:lnTo>
                      <a:pt x="259" y="113"/>
                    </a:lnTo>
                    <a:lnTo>
                      <a:pt x="259" y="111"/>
                    </a:lnTo>
                    <a:lnTo>
                      <a:pt x="257" y="111"/>
                    </a:lnTo>
                    <a:lnTo>
                      <a:pt x="257" y="113"/>
                    </a:lnTo>
                    <a:lnTo>
                      <a:pt x="256" y="115"/>
                    </a:lnTo>
                    <a:lnTo>
                      <a:pt x="256" y="117"/>
                    </a:lnTo>
                    <a:lnTo>
                      <a:pt x="254" y="117"/>
                    </a:lnTo>
                    <a:lnTo>
                      <a:pt x="252" y="119"/>
                    </a:lnTo>
                    <a:lnTo>
                      <a:pt x="250" y="119"/>
                    </a:lnTo>
                    <a:lnTo>
                      <a:pt x="252" y="117"/>
                    </a:lnTo>
                    <a:lnTo>
                      <a:pt x="250" y="117"/>
                    </a:lnTo>
                    <a:lnTo>
                      <a:pt x="248" y="117"/>
                    </a:lnTo>
                    <a:lnTo>
                      <a:pt x="246" y="117"/>
                    </a:lnTo>
                    <a:lnTo>
                      <a:pt x="246" y="115"/>
                    </a:lnTo>
                    <a:lnTo>
                      <a:pt x="244" y="115"/>
                    </a:lnTo>
                    <a:lnTo>
                      <a:pt x="242" y="115"/>
                    </a:lnTo>
                    <a:lnTo>
                      <a:pt x="240" y="117"/>
                    </a:lnTo>
                    <a:lnTo>
                      <a:pt x="238" y="117"/>
                    </a:lnTo>
                    <a:lnTo>
                      <a:pt x="240" y="117"/>
                    </a:lnTo>
                    <a:lnTo>
                      <a:pt x="238" y="117"/>
                    </a:lnTo>
                    <a:lnTo>
                      <a:pt x="237" y="119"/>
                    </a:lnTo>
                    <a:lnTo>
                      <a:pt x="235" y="119"/>
                    </a:lnTo>
                    <a:lnTo>
                      <a:pt x="233" y="117"/>
                    </a:lnTo>
                    <a:lnTo>
                      <a:pt x="233" y="115"/>
                    </a:lnTo>
                    <a:lnTo>
                      <a:pt x="231" y="115"/>
                    </a:lnTo>
                    <a:lnTo>
                      <a:pt x="229" y="113"/>
                    </a:lnTo>
                    <a:lnTo>
                      <a:pt x="231" y="111"/>
                    </a:lnTo>
                    <a:lnTo>
                      <a:pt x="233" y="111"/>
                    </a:lnTo>
                    <a:lnTo>
                      <a:pt x="233" y="109"/>
                    </a:lnTo>
                    <a:lnTo>
                      <a:pt x="235" y="109"/>
                    </a:lnTo>
                    <a:lnTo>
                      <a:pt x="235" y="107"/>
                    </a:lnTo>
                    <a:lnTo>
                      <a:pt x="237" y="107"/>
                    </a:lnTo>
                    <a:lnTo>
                      <a:pt x="237" y="105"/>
                    </a:lnTo>
                    <a:lnTo>
                      <a:pt x="235" y="105"/>
                    </a:lnTo>
                    <a:lnTo>
                      <a:pt x="235" y="103"/>
                    </a:lnTo>
                    <a:lnTo>
                      <a:pt x="233" y="102"/>
                    </a:lnTo>
                    <a:lnTo>
                      <a:pt x="231" y="100"/>
                    </a:lnTo>
                    <a:lnTo>
                      <a:pt x="229" y="102"/>
                    </a:lnTo>
                    <a:lnTo>
                      <a:pt x="231" y="102"/>
                    </a:lnTo>
                    <a:lnTo>
                      <a:pt x="229" y="102"/>
                    </a:lnTo>
                    <a:lnTo>
                      <a:pt x="229" y="103"/>
                    </a:lnTo>
                    <a:lnTo>
                      <a:pt x="227" y="105"/>
                    </a:lnTo>
                    <a:lnTo>
                      <a:pt x="225" y="105"/>
                    </a:lnTo>
                    <a:lnTo>
                      <a:pt x="223" y="107"/>
                    </a:lnTo>
                    <a:lnTo>
                      <a:pt x="221" y="107"/>
                    </a:lnTo>
                    <a:lnTo>
                      <a:pt x="219" y="109"/>
                    </a:lnTo>
                    <a:lnTo>
                      <a:pt x="217" y="107"/>
                    </a:lnTo>
                    <a:lnTo>
                      <a:pt x="216" y="105"/>
                    </a:lnTo>
                    <a:lnTo>
                      <a:pt x="214" y="105"/>
                    </a:lnTo>
                    <a:lnTo>
                      <a:pt x="214" y="107"/>
                    </a:lnTo>
                    <a:lnTo>
                      <a:pt x="214" y="109"/>
                    </a:lnTo>
                    <a:lnTo>
                      <a:pt x="212" y="109"/>
                    </a:lnTo>
                    <a:lnTo>
                      <a:pt x="212" y="111"/>
                    </a:lnTo>
                    <a:lnTo>
                      <a:pt x="212" y="113"/>
                    </a:lnTo>
                    <a:lnTo>
                      <a:pt x="212" y="115"/>
                    </a:lnTo>
                    <a:lnTo>
                      <a:pt x="214" y="115"/>
                    </a:lnTo>
                    <a:lnTo>
                      <a:pt x="212" y="117"/>
                    </a:lnTo>
                    <a:lnTo>
                      <a:pt x="212" y="115"/>
                    </a:lnTo>
                    <a:lnTo>
                      <a:pt x="212" y="117"/>
                    </a:lnTo>
                    <a:lnTo>
                      <a:pt x="212" y="119"/>
                    </a:lnTo>
                    <a:lnTo>
                      <a:pt x="212" y="117"/>
                    </a:lnTo>
                    <a:lnTo>
                      <a:pt x="208" y="117"/>
                    </a:lnTo>
                    <a:lnTo>
                      <a:pt x="206" y="117"/>
                    </a:lnTo>
                    <a:lnTo>
                      <a:pt x="206" y="119"/>
                    </a:lnTo>
                    <a:lnTo>
                      <a:pt x="204" y="119"/>
                    </a:lnTo>
                    <a:lnTo>
                      <a:pt x="204" y="117"/>
                    </a:lnTo>
                    <a:lnTo>
                      <a:pt x="200" y="119"/>
                    </a:lnTo>
                    <a:lnTo>
                      <a:pt x="202" y="121"/>
                    </a:lnTo>
                    <a:lnTo>
                      <a:pt x="206" y="119"/>
                    </a:lnTo>
                    <a:lnTo>
                      <a:pt x="208" y="119"/>
                    </a:lnTo>
                    <a:lnTo>
                      <a:pt x="208" y="121"/>
                    </a:lnTo>
                    <a:lnTo>
                      <a:pt x="206" y="121"/>
                    </a:lnTo>
                    <a:lnTo>
                      <a:pt x="206" y="123"/>
                    </a:lnTo>
                    <a:lnTo>
                      <a:pt x="206" y="124"/>
                    </a:lnTo>
                    <a:lnTo>
                      <a:pt x="204" y="123"/>
                    </a:lnTo>
                    <a:lnTo>
                      <a:pt x="206" y="124"/>
                    </a:lnTo>
                    <a:lnTo>
                      <a:pt x="204" y="124"/>
                    </a:lnTo>
                    <a:lnTo>
                      <a:pt x="202" y="124"/>
                    </a:lnTo>
                    <a:lnTo>
                      <a:pt x="202" y="126"/>
                    </a:lnTo>
                    <a:lnTo>
                      <a:pt x="202" y="128"/>
                    </a:lnTo>
                    <a:lnTo>
                      <a:pt x="202" y="130"/>
                    </a:lnTo>
                    <a:lnTo>
                      <a:pt x="200" y="130"/>
                    </a:lnTo>
                    <a:lnTo>
                      <a:pt x="200" y="132"/>
                    </a:lnTo>
                    <a:lnTo>
                      <a:pt x="198" y="132"/>
                    </a:lnTo>
                    <a:lnTo>
                      <a:pt x="196" y="130"/>
                    </a:lnTo>
                    <a:lnTo>
                      <a:pt x="195" y="130"/>
                    </a:lnTo>
                    <a:lnTo>
                      <a:pt x="191" y="130"/>
                    </a:lnTo>
                    <a:lnTo>
                      <a:pt x="189" y="128"/>
                    </a:lnTo>
                    <a:lnTo>
                      <a:pt x="189" y="130"/>
                    </a:lnTo>
                    <a:lnTo>
                      <a:pt x="187" y="128"/>
                    </a:lnTo>
                    <a:lnTo>
                      <a:pt x="187" y="130"/>
                    </a:lnTo>
                    <a:lnTo>
                      <a:pt x="183" y="130"/>
                    </a:lnTo>
                    <a:lnTo>
                      <a:pt x="183" y="132"/>
                    </a:lnTo>
                    <a:lnTo>
                      <a:pt x="183" y="134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81" y="138"/>
                    </a:lnTo>
                    <a:lnTo>
                      <a:pt x="183" y="138"/>
                    </a:lnTo>
                    <a:lnTo>
                      <a:pt x="185" y="138"/>
                    </a:lnTo>
                    <a:lnTo>
                      <a:pt x="185" y="140"/>
                    </a:lnTo>
                    <a:lnTo>
                      <a:pt x="187" y="140"/>
                    </a:lnTo>
                    <a:lnTo>
                      <a:pt x="187" y="142"/>
                    </a:lnTo>
                    <a:lnTo>
                      <a:pt x="189" y="142"/>
                    </a:lnTo>
                    <a:lnTo>
                      <a:pt x="191" y="142"/>
                    </a:lnTo>
                    <a:lnTo>
                      <a:pt x="193" y="142"/>
                    </a:lnTo>
                    <a:lnTo>
                      <a:pt x="195" y="142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3" y="145"/>
                    </a:lnTo>
                    <a:lnTo>
                      <a:pt x="193" y="147"/>
                    </a:lnTo>
                    <a:lnTo>
                      <a:pt x="195" y="147"/>
                    </a:lnTo>
                    <a:lnTo>
                      <a:pt x="193" y="147"/>
                    </a:lnTo>
                    <a:lnTo>
                      <a:pt x="193" y="149"/>
                    </a:lnTo>
                    <a:lnTo>
                      <a:pt x="193" y="151"/>
                    </a:lnTo>
                    <a:lnTo>
                      <a:pt x="193" y="153"/>
                    </a:lnTo>
                    <a:lnTo>
                      <a:pt x="195" y="153"/>
                    </a:lnTo>
                    <a:lnTo>
                      <a:pt x="193" y="155"/>
                    </a:lnTo>
                    <a:lnTo>
                      <a:pt x="195" y="155"/>
                    </a:lnTo>
                    <a:lnTo>
                      <a:pt x="196" y="157"/>
                    </a:lnTo>
                    <a:lnTo>
                      <a:pt x="196" y="159"/>
                    </a:lnTo>
                    <a:lnTo>
                      <a:pt x="198" y="159"/>
                    </a:lnTo>
                    <a:lnTo>
                      <a:pt x="198" y="161"/>
                    </a:lnTo>
                    <a:lnTo>
                      <a:pt x="196" y="163"/>
                    </a:lnTo>
                    <a:lnTo>
                      <a:pt x="196" y="165"/>
                    </a:lnTo>
                    <a:lnTo>
                      <a:pt x="195" y="165"/>
                    </a:lnTo>
                    <a:lnTo>
                      <a:pt x="193" y="168"/>
                    </a:lnTo>
                    <a:lnTo>
                      <a:pt x="189" y="172"/>
                    </a:lnTo>
                    <a:lnTo>
                      <a:pt x="189" y="174"/>
                    </a:lnTo>
                    <a:lnTo>
                      <a:pt x="189" y="176"/>
                    </a:lnTo>
                    <a:lnTo>
                      <a:pt x="189" y="178"/>
                    </a:lnTo>
                    <a:lnTo>
                      <a:pt x="189" y="180"/>
                    </a:lnTo>
                    <a:lnTo>
                      <a:pt x="187" y="178"/>
                    </a:lnTo>
                    <a:lnTo>
                      <a:pt x="185" y="178"/>
                    </a:lnTo>
                    <a:lnTo>
                      <a:pt x="183" y="178"/>
                    </a:lnTo>
                    <a:lnTo>
                      <a:pt x="179" y="180"/>
                    </a:lnTo>
                    <a:lnTo>
                      <a:pt x="179" y="178"/>
                    </a:lnTo>
                    <a:lnTo>
                      <a:pt x="177" y="178"/>
                    </a:lnTo>
                    <a:lnTo>
                      <a:pt x="177" y="176"/>
                    </a:lnTo>
                    <a:lnTo>
                      <a:pt x="176" y="176"/>
                    </a:lnTo>
                    <a:lnTo>
                      <a:pt x="176" y="174"/>
                    </a:lnTo>
                    <a:lnTo>
                      <a:pt x="174" y="176"/>
                    </a:lnTo>
                    <a:lnTo>
                      <a:pt x="172" y="176"/>
                    </a:lnTo>
                    <a:lnTo>
                      <a:pt x="170" y="176"/>
                    </a:lnTo>
                    <a:lnTo>
                      <a:pt x="168" y="176"/>
                    </a:lnTo>
                    <a:lnTo>
                      <a:pt x="168" y="174"/>
                    </a:lnTo>
                    <a:lnTo>
                      <a:pt x="170" y="174"/>
                    </a:lnTo>
                    <a:lnTo>
                      <a:pt x="168" y="172"/>
                    </a:lnTo>
                    <a:lnTo>
                      <a:pt x="170" y="168"/>
                    </a:lnTo>
                    <a:lnTo>
                      <a:pt x="168" y="166"/>
                    </a:lnTo>
                    <a:lnTo>
                      <a:pt x="170" y="165"/>
                    </a:lnTo>
                    <a:lnTo>
                      <a:pt x="172" y="165"/>
                    </a:lnTo>
                    <a:lnTo>
                      <a:pt x="172" y="163"/>
                    </a:lnTo>
                    <a:lnTo>
                      <a:pt x="170" y="163"/>
                    </a:lnTo>
                    <a:lnTo>
                      <a:pt x="168" y="163"/>
                    </a:lnTo>
                    <a:lnTo>
                      <a:pt x="166" y="163"/>
                    </a:lnTo>
                    <a:lnTo>
                      <a:pt x="164" y="161"/>
                    </a:lnTo>
                    <a:lnTo>
                      <a:pt x="164" y="159"/>
                    </a:lnTo>
                    <a:lnTo>
                      <a:pt x="162" y="159"/>
                    </a:lnTo>
                    <a:lnTo>
                      <a:pt x="160" y="159"/>
                    </a:lnTo>
                    <a:lnTo>
                      <a:pt x="158" y="157"/>
                    </a:lnTo>
                    <a:lnTo>
                      <a:pt x="156" y="159"/>
                    </a:lnTo>
                    <a:lnTo>
                      <a:pt x="155" y="157"/>
                    </a:lnTo>
                    <a:lnTo>
                      <a:pt x="151" y="157"/>
                    </a:lnTo>
                    <a:lnTo>
                      <a:pt x="149" y="153"/>
                    </a:lnTo>
                    <a:lnTo>
                      <a:pt x="145" y="151"/>
                    </a:lnTo>
                    <a:lnTo>
                      <a:pt x="141" y="149"/>
                    </a:lnTo>
                    <a:lnTo>
                      <a:pt x="137" y="145"/>
                    </a:lnTo>
                    <a:lnTo>
                      <a:pt x="134" y="144"/>
                    </a:lnTo>
                    <a:lnTo>
                      <a:pt x="132" y="144"/>
                    </a:lnTo>
                    <a:lnTo>
                      <a:pt x="124" y="138"/>
                    </a:lnTo>
                    <a:lnTo>
                      <a:pt x="122" y="136"/>
                    </a:lnTo>
                    <a:lnTo>
                      <a:pt x="105" y="123"/>
                    </a:lnTo>
                    <a:lnTo>
                      <a:pt x="103" y="123"/>
                    </a:lnTo>
                    <a:lnTo>
                      <a:pt x="103" y="121"/>
                    </a:lnTo>
                    <a:lnTo>
                      <a:pt x="103" y="119"/>
                    </a:lnTo>
                    <a:lnTo>
                      <a:pt x="103" y="117"/>
                    </a:lnTo>
                    <a:lnTo>
                      <a:pt x="103" y="115"/>
                    </a:lnTo>
                    <a:lnTo>
                      <a:pt x="101" y="115"/>
                    </a:lnTo>
                    <a:lnTo>
                      <a:pt x="103" y="113"/>
                    </a:lnTo>
                    <a:lnTo>
                      <a:pt x="101" y="113"/>
                    </a:lnTo>
                    <a:lnTo>
                      <a:pt x="101" y="111"/>
                    </a:lnTo>
                    <a:lnTo>
                      <a:pt x="99" y="111"/>
                    </a:lnTo>
                    <a:lnTo>
                      <a:pt x="97" y="109"/>
                    </a:lnTo>
                    <a:lnTo>
                      <a:pt x="97" y="107"/>
                    </a:lnTo>
                    <a:lnTo>
                      <a:pt x="97" y="105"/>
                    </a:lnTo>
                    <a:lnTo>
                      <a:pt x="95" y="105"/>
                    </a:lnTo>
                    <a:lnTo>
                      <a:pt x="97" y="103"/>
                    </a:lnTo>
                    <a:lnTo>
                      <a:pt x="95" y="102"/>
                    </a:lnTo>
                    <a:lnTo>
                      <a:pt x="97" y="102"/>
                    </a:lnTo>
                    <a:lnTo>
                      <a:pt x="95" y="102"/>
                    </a:lnTo>
                    <a:lnTo>
                      <a:pt x="95" y="100"/>
                    </a:lnTo>
                    <a:lnTo>
                      <a:pt x="95" y="98"/>
                    </a:lnTo>
                    <a:lnTo>
                      <a:pt x="94" y="98"/>
                    </a:lnTo>
                    <a:lnTo>
                      <a:pt x="92" y="98"/>
                    </a:lnTo>
                    <a:lnTo>
                      <a:pt x="92" y="96"/>
                    </a:lnTo>
                    <a:lnTo>
                      <a:pt x="90" y="96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6" y="98"/>
                    </a:lnTo>
                    <a:lnTo>
                      <a:pt x="84" y="98"/>
                    </a:lnTo>
                    <a:lnTo>
                      <a:pt x="82" y="98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4" y="96"/>
                    </a:lnTo>
                    <a:lnTo>
                      <a:pt x="73" y="96"/>
                    </a:lnTo>
                    <a:lnTo>
                      <a:pt x="71" y="94"/>
                    </a:lnTo>
                    <a:lnTo>
                      <a:pt x="69" y="94"/>
                    </a:lnTo>
                    <a:lnTo>
                      <a:pt x="67" y="92"/>
                    </a:lnTo>
                    <a:lnTo>
                      <a:pt x="67" y="90"/>
                    </a:lnTo>
                    <a:lnTo>
                      <a:pt x="67" y="88"/>
                    </a:lnTo>
                    <a:lnTo>
                      <a:pt x="67" y="86"/>
                    </a:lnTo>
                    <a:lnTo>
                      <a:pt x="65" y="84"/>
                    </a:lnTo>
                    <a:lnTo>
                      <a:pt x="67" y="84"/>
                    </a:lnTo>
                    <a:lnTo>
                      <a:pt x="69" y="84"/>
                    </a:lnTo>
                    <a:lnTo>
                      <a:pt x="69" y="86"/>
                    </a:lnTo>
                    <a:lnTo>
                      <a:pt x="69" y="84"/>
                    </a:lnTo>
                    <a:lnTo>
                      <a:pt x="71" y="84"/>
                    </a:lnTo>
                    <a:lnTo>
                      <a:pt x="69" y="84"/>
                    </a:lnTo>
                    <a:lnTo>
                      <a:pt x="67" y="82"/>
                    </a:lnTo>
                    <a:lnTo>
                      <a:pt x="65" y="81"/>
                    </a:lnTo>
                    <a:lnTo>
                      <a:pt x="63" y="81"/>
                    </a:lnTo>
                    <a:lnTo>
                      <a:pt x="65" y="79"/>
                    </a:lnTo>
                    <a:lnTo>
                      <a:pt x="65" y="81"/>
                    </a:lnTo>
                    <a:lnTo>
                      <a:pt x="65" y="79"/>
                    </a:lnTo>
                    <a:lnTo>
                      <a:pt x="65" y="77"/>
                    </a:lnTo>
                    <a:lnTo>
                      <a:pt x="65" y="75"/>
                    </a:lnTo>
                    <a:lnTo>
                      <a:pt x="63" y="73"/>
                    </a:lnTo>
                    <a:lnTo>
                      <a:pt x="61" y="73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5" y="73"/>
                    </a:lnTo>
                    <a:lnTo>
                      <a:pt x="53" y="71"/>
                    </a:lnTo>
                    <a:lnTo>
                      <a:pt x="52" y="69"/>
                    </a:lnTo>
                    <a:lnTo>
                      <a:pt x="50" y="69"/>
                    </a:lnTo>
                    <a:lnTo>
                      <a:pt x="42" y="63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5"/>
                    </a:lnTo>
                    <a:lnTo>
                      <a:pt x="40" y="65"/>
                    </a:lnTo>
                    <a:lnTo>
                      <a:pt x="36" y="65"/>
                    </a:lnTo>
                    <a:lnTo>
                      <a:pt x="34" y="65"/>
                    </a:lnTo>
                    <a:lnTo>
                      <a:pt x="36" y="67"/>
                    </a:lnTo>
                    <a:lnTo>
                      <a:pt x="38" y="67"/>
                    </a:lnTo>
                    <a:lnTo>
                      <a:pt x="40" y="71"/>
                    </a:lnTo>
                    <a:lnTo>
                      <a:pt x="40" y="73"/>
                    </a:lnTo>
                    <a:lnTo>
                      <a:pt x="38" y="71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2" y="69"/>
                    </a:lnTo>
                    <a:lnTo>
                      <a:pt x="32" y="71"/>
                    </a:lnTo>
                    <a:lnTo>
                      <a:pt x="31" y="71"/>
                    </a:lnTo>
                    <a:lnTo>
                      <a:pt x="32" y="73"/>
                    </a:lnTo>
                    <a:lnTo>
                      <a:pt x="31" y="75"/>
                    </a:lnTo>
                    <a:lnTo>
                      <a:pt x="31" y="77"/>
                    </a:lnTo>
                    <a:lnTo>
                      <a:pt x="29" y="77"/>
                    </a:lnTo>
                    <a:lnTo>
                      <a:pt x="27" y="77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1" y="77"/>
                    </a:lnTo>
                    <a:lnTo>
                      <a:pt x="19" y="81"/>
                    </a:lnTo>
                    <a:lnTo>
                      <a:pt x="17" y="82"/>
                    </a:lnTo>
                    <a:lnTo>
                      <a:pt x="17" y="86"/>
                    </a:lnTo>
                    <a:lnTo>
                      <a:pt x="17" y="88"/>
                    </a:lnTo>
                    <a:lnTo>
                      <a:pt x="17" y="92"/>
                    </a:lnTo>
                    <a:lnTo>
                      <a:pt x="19" y="94"/>
                    </a:lnTo>
                    <a:lnTo>
                      <a:pt x="19" y="92"/>
                    </a:lnTo>
                    <a:lnTo>
                      <a:pt x="19" y="94"/>
                    </a:lnTo>
                    <a:lnTo>
                      <a:pt x="17" y="94"/>
                    </a:lnTo>
                    <a:lnTo>
                      <a:pt x="17" y="96"/>
                    </a:lnTo>
                    <a:lnTo>
                      <a:pt x="13" y="96"/>
                    </a:lnTo>
                    <a:lnTo>
                      <a:pt x="2" y="94"/>
                    </a:lnTo>
                    <a:lnTo>
                      <a:pt x="0" y="56"/>
                    </a:lnTo>
                    <a:lnTo>
                      <a:pt x="0" y="42"/>
                    </a:lnTo>
                    <a:lnTo>
                      <a:pt x="0" y="14"/>
                    </a:lnTo>
                    <a:lnTo>
                      <a:pt x="13" y="10"/>
                    </a:lnTo>
                    <a:lnTo>
                      <a:pt x="42" y="0"/>
                    </a:lnTo>
                    <a:lnTo>
                      <a:pt x="65" y="14"/>
                    </a:lnTo>
                    <a:lnTo>
                      <a:pt x="82" y="27"/>
                    </a:lnTo>
                    <a:lnTo>
                      <a:pt x="82" y="31"/>
                    </a:lnTo>
                    <a:lnTo>
                      <a:pt x="84" y="33"/>
                    </a:lnTo>
                    <a:lnTo>
                      <a:pt x="97" y="46"/>
                    </a:lnTo>
                    <a:lnTo>
                      <a:pt x="105" y="48"/>
                    </a:lnTo>
                    <a:lnTo>
                      <a:pt x="116" y="44"/>
                    </a:lnTo>
                    <a:lnTo>
                      <a:pt x="126" y="46"/>
                    </a:lnTo>
                    <a:lnTo>
                      <a:pt x="135" y="46"/>
                    </a:lnTo>
                    <a:lnTo>
                      <a:pt x="141" y="42"/>
                    </a:lnTo>
                    <a:lnTo>
                      <a:pt x="145" y="42"/>
                    </a:lnTo>
                    <a:lnTo>
                      <a:pt x="147" y="48"/>
                    </a:lnTo>
                    <a:lnTo>
                      <a:pt x="153" y="50"/>
                    </a:lnTo>
                    <a:lnTo>
                      <a:pt x="158" y="62"/>
                    </a:lnTo>
                    <a:lnTo>
                      <a:pt x="160" y="60"/>
                    </a:lnTo>
                    <a:lnTo>
                      <a:pt x="162" y="71"/>
                    </a:lnTo>
                    <a:lnTo>
                      <a:pt x="160" y="71"/>
                    </a:lnTo>
                    <a:lnTo>
                      <a:pt x="160" y="81"/>
                    </a:lnTo>
                    <a:lnTo>
                      <a:pt x="170" y="82"/>
                    </a:lnTo>
                    <a:lnTo>
                      <a:pt x="170" y="98"/>
                    </a:lnTo>
                    <a:lnTo>
                      <a:pt x="172" y="98"/>
                    </a:lnTo>
                    <a:lnTo>
                      <a:pt x="181" y="98"/>
                    </a:lnTo>
                    <a:lnTo>
                      <a:pt x="185" y="98"/>
                    </a:lnTo>
                    <a:lnTo>
                      <a:pt x="187" y="98"/>
                    </a:lnTo>
                    <a:lnTo>
                      <a:pt x="191" y="98"/>
                    </a:lnTo>
                    <a:lnTo>
                      <a:pt x="193" y="100"/>
                    </a:lnTo>
                    <a:lnTo>
                      <a:pt x="191" y="100"/>
                    </a:lnTo>
                    <a:lnTo>
                      <a:pt x="193" y="100"/>
                    </a:lnTo>
                    <a:lnTo>
                      <a:pt x="195" y="100"/>
                    </a:lnTo>
                    <a:lnTo>
                      <a:pt x="193" y="100"/>
                    </a:lnTo>
                    <a:lnTo>
                      <a:pt x="193" y="102"/>
                    </a:lnTo>
                    <a:lnTo>
                      <a:pt x="193" y="103"/>
                    </a:lnTo>
                    <a:lnTo>
                      <a:pt x="191" y="103"/>
                    </a:lnTo>
                    <a:lnTo>
                      <a:pt x="191" y="105"/>
                    </a:lnTo>
                    <a:lnTo>
                      <a:pt x="193" y="105"/>
                    </a:lnTo>
                    <a:lnTo>
                      <a:pt x="195" y="107"/>
                    </a:lnTo>
                    <a:lnTo>
                      <a:pt x="198" y="109"/>
                    </a:lnTo>
                    <a:lnTo>
                      <a:pt x="200" y="109"/>
                    </a:lnTo>
                    <a:lnTo>
                      <a:pt x="202" y="109"/>
                    </a:lnTo>
                    <a:lnTo>
                      <a:pt x="202" y="107"/>
                    </a:lnTo>
                    <a:lnTo>
                      <a:pt x="200" y="107"/>
                    </a:lnTo>
                    <a:lnTo>
                      <a:pt x="202" y="105"/>
                    </a:lnTo>
                    <a:lnTo>
                      <a:pt x="200" y="105"/>
                    </a:lnTo>
                    <a:lnTo>
                      <a:pt x="200" y="103"/>
                    </a:lnTo>
                    <a:lnTo>
                      <a:pt x="202" y="103"/>
                    </a:lnTo>
                    <a:lnTo>
                      <a:pt x="200" y="103"/>
                    </a:lnTo>
                    <a:lnTo>
                      <a:pt x="200" y="102"/>
                    </a:lnTo>
                    <a:lnTo>
                      <a:pt x="198" y="102"/>
                    </a:lnTo>
                    <a:lnTo>
                      <a:pt x="200" y="100"/>
                    </a:lnTo>
                    <a:lnTo>
                      <a:pt x="200" y="102"/>
                    </a:lnTo>
                    <a:lnTo>
                      <a:pt x="202" y="100"/>
                    </a:lnTo>
                    <a:lnTo>
                      <a:pt x="202" y="102"/>
                    </a:lnTo>
                    <a:lnTo>
                      <a:pt x="204" y="102"/>
                    </a:lnTo>
                    <a:lnTo>
                      <a:pt x="204" y="100"/>
                    </a:lnTo>
                    <a:lnTo>
                      <a:pt x="208" y="96"/>
                    </a:lnTo>
                    <a:lnTo>
                      <a:pt x="208" y="94"/>
                    </a:lnTo>
                    <a:lnTo>
                      <a:pt x="210" y="94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4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4" y="90"/>
                    </a:lnTo>
                    <a:lnTo>
                      <a:pt x="216" y="90"/>
                    </a:lnTo>
                    <a:lnTo>
                      <a:pt x="216" y="88"/>
                    </a:lnTo>
                    <a:lnTo>
                      <a:pt x="217" y="88"/>
                    </a:lnTo>
                    <a:lnTo>
                      <a:pt x="217" y="86"/>
                    </a:lnTo>
                    <a:lnTo>
                      <a:pt x="219" y="86"/>
                    </a:lnTo>
                    <a:lnTo>
                      <a:pt x="221" y="86"/>
                    </a:lnTo>
                    <a:lnTo>
                      <a:pt x="223" y="86"/>
                    </a:lnTo>
                    <a:lnTo>
                      <a:pt x="223" y="84"/>
                    </a:lnTo>
                    <a:lnTo>
                      <a:pt x="225" y="84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7" y="81"/>
                    </a:lnTo>
                    <a:lnTo>
                      <a:pt x="229" y="81"/>
                    </a:lnTo>
                    <a:lnTo>
                      <a:pt x="229" y="79"/>
                    </a:lnTo>
                    <a:lnTo>
                      <a:pt x="231" y="77"/>
                    </a:lnTo>
                    <a:lnTo>
                      <a:pt x="231" y="79"/>
                    </a:lnTo>
                    <a:lnTo>
                      <a:pt x="231" y="77"/>
                    </a:lnTo>
                    <a:lnTo>
                      <a:pt x="233" y="79"/>
                    </a:lnTo>
                    <a:lnTo>
                      <a:pt x="235" y="79"/>
                    </a:lnTo>
                    <a:lnTo>
                      <a:pt x="235" y="77"/>
                    </a:lnTo>
                    <a:lnTo>
                      <a:pt x="237" y="77"/>
                    </a:lnTo>
                    <a:lnTo>
                      <a:pt x="235" y="75"/>
                    </a:lnTo>
                    <a:lnTo>
                      <a:pt x="237" y="75"/>
                    </a:lnTo>
                    <a:lnTo>
                      <a:pt x="238" y="75"/>
                    </a:lnTo>
                    <a:close/>
                    <a:moveTo>
                      <a:pt x="240" y="119"/>
                    </a:moveTo>
                    <a:lnTo>
                      <a:pt x="242" y="121"/>
                    </a:lnTo>
                    <a:lnTo>
                      <a:pt x="242" y="123"/>
                    </a:lnTo>
                    <a:lnTo>
                      <a:pt x="242" y="124"/>
                    </a:lnTo>
                    <a:lnTo>
                      <a:pt x="240" y="124"/>
                    </a:lnTo>
                    <a:lnTo>
                      <a:pt x="242" y="123"/>
                    </a:lnTo>
                    <a:lnTo>
                      <a:pt x="240" y="123"/>
                    </a:lnTo>
                    <a:lnTo>
                      <a:pt x="242" y="123"/>
                    </a:lnTo>
                    <a:lnTo>
                      <a:pt x="242" y="121"/>
                    </a:lnTo>
                    <a:lnTo>
                      <a:pt x="240" y="121"/>
                    </a:lnTo>
                    <a:lnTo>
                      <a:pt x="240" y="119"/>
                    </a:lnTo>
                    <a:close/>
                    <a:moveTo>
                      <a:pt x="252" y="121"/>
                    </a:moveTo>
                    <a:lnTo>
                      <a:pt x="254" y="121"/>
                    </a:lnTo>
                    <a:lnTo>
                      <a:pt x="254" y="123"/>
                    </a:lnTo>
                    <a:lnTo>
                      <a:pt x="252" y="123"/>
                    </a:lnTo>
                    <a:lnTo>
                      <a:pt x="252" y="1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5" name="Freeform 226">
                <a:extLst>
                  <a:ext uri="{FF2B5EF4-FFF2-40B4-BE49-F238E27FC236}">
                    <a16:creationId xmlns:a16="http://schemas.microsoft.com/office/drawing/2014/main" id="{E97B03EA-86D8-16C7-4B0E-E82516A35E1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83146" y="-3051043"/>
                <a:ext cx="77203" cy="80505"/>
              </a:xfrm>
              <a:custGeom>
                <a:avLst/>
                <a:gdLst>
                  <a:gd name="T0" fmla="*/ 25 w 49"/>
                  <a:gd name="T1" fmla="*/ 4 h 51"/>
                  <a:gd name="T2" fmla="*/ 28 w 49"/>
                  <a:gd name="T3" fmla="*/ 4 h 51"/>
                  <a:gd name="T4" fmla="*/ 26 w 49"/>
                  <a:gd name="T5" fmla="*/ 6 h 51"/>
                  <a:gd name="T6" fmla="*/ 28 w 49"/>
                  <a:gd name="T7" fmla="*/ 6 h 51"/>
                  <a:gd name="T8" fmla="*/ 30 w 49"/>
                  <a:gd name="T9" fmla="*/ 6 h 51"/>
                  <a:gd name="T10" fmla="*/ 32 w 49"/>
                  <a:gd name="T11" fmla="*/ 9 h 51"/>
                  <a:gd name="T12" fmla="*/ 32 w 49"/>
                  <a:gd name="T13" fmla="*/ 11 h 51"/>
                  <a:gd name="T14" fmla="*/ 30 w 49"/>
                  <a:gd name="T15" fmla="*/ 15 h 51"/>
                  <a:gd name="T16" fmla="*/ 32 w 49"/>
                  <a:gd name="T17" fmla="*/ 17 h 51"/>
                  <a:gd name="T18" fmla="*/ 34 w 49"/>
                  <a:gd name="T19" fmla="*/ 21 h 51"/>
                  <a:gd name="T20" fmla="*/ 40 w 49"/>
                  <a:gd name="T21" fmla="*/ 21 h 51"/>
                  <a:gd name="T22" fmla="*/ 38 w 49"/>
                  <a:gd name="T23" fmla="*/ 27 h 51"/>
                  <a:gd name="T24" fmla="*/ 34 w 49"/>
                  <a:gd name="T25" fmla="*/ 27 h 51"/>
                  <a:gd name="T26" fmla="*/ 38 w 49"/>
                  <a:gd name="T27" fmla="*/ 32 h 51"/>
                  <a:gd name="T28" fmla="*/ 44 w 49"/>
                  <a:gd name="T29" fmla="*/ 36 h 51"/>
                  <a:gd name="T30" fmla="*/ 49 w 49"/>
                  <a:gd name="T31" fmla="*/ 36 h 51"/>
                  <a:gd name="T32" fmla="*/ 49 w 49"/>
                  <a:gd name="T33" fmla="*/ 38 h 51"/>
                  <a:gd name="T34" fmla="*/ 46 w 49"/>
                  <a:gd name="T35" fmla="*/ 40 h 51"/>
                  <a:gd name="T36" fmla="*/ 47 w 49"/>
                  <a:gd name="T37" fmla="*/ 42 h 51"/>
                  <a:gd name="T38" fmla="*/ 47 w 49"/>
                  <a:gd name="T39" fmla="*/ 44 h 51"/>
                  <a:gd name="T40" fmla="*/ 47 w 49"/>
                  <a:gd name="T41" fmla="*/ 46 h 51"/>
                  <a:gd name="T42" fmla="*/ 49 w 49"/>
                  <a:gd name="T43" fmla="*/ 48 h 51"/>
                  <a:gd name="T44" fmla="*/ 49 w 49"/>
                  <a:gd name="T45" fmla="*/ 51 h 51"/>
                  <a:gd name="T46" fmla="*/ 44 w 49"/>
                  <a:gd name="T47" fmla="*/ 51 h 51"/>
                  <a:gd name="T48" fmla="*/ 42 w 49"/>
                  <a:gd name="T49" fmla="*/ 48 h 51"/>
                  <a:gd name="T50" fmla="*/ 40 w 49"/>
                  <a:gd name="T51" fmla="*/ 42 h 51"/>
                  <a:gd name="T52" fmla="*/ 38 w 49"/>
                  <a:gd name="T53" fmla="*/ 40 h 51"/>
                  <a:gd name="T54" fmla="*/ 34 w 49"/>
                  <a:gd name="T55" fmla="*/ 36 h 51"/>
                  <a:gd name="T56" fmla="*/ 28 w 49"/>
                  <a:gd name="T57" fmla="*/ 36 h 51"/>
                  <a:gd name="T58" fmla="*/ 26 w 49"/>
                  <a:gd name="T59" fmla="*/ 32 h 51"/>
                  <a:gd name="T60" fmla="*/ 23 w 49"/>
                  <a:gd name="T61" fmla="*/ 32 h 51"/>
                  <a:gd name="T62" fmla="*/ 19 w 49"/>
                  <a:gd name="T63" fmla="*/ 32 h 51"/>
                  <a:gd name="T64" fmla="*/ 17 w 49"/>
                  <a:gd name="T65" fmla="*/ 30 h 51"/>
                  <a:gd name="T66" fmla="*/ 13 w 49"/>
                  <a:gd name="T67" fmla="*/ 27 h 51"/>
                  <a:gd name="T68" fmla="*/ 7 w 49"/>
                  <a:gd name="T69" fmla="*/ 27 h 51"/>
                  <a:gd name="T70" fmla="*/ 4 w 49"/>
                  <a:gd name="T71" fmla="*/ 25 h 51"/>
                  <a:gd name="T72" fmla="*/ 2 w 49"/>
                  <a:gd name="T73" fmla="*/ 21 h 51"/>
                  <a:gd name="T74" fmla="*/ 4 w 49"/>
                  <a:gd name="T75" fmla="*/ 17 h 51"/>
                  <a:gd name="T76" fmla="*/ 4 w 49"/>
                  <a:gd name="T77" fmla="*/ 13 h 51"/>
                  <a:gd name="T78" fmla="*/ 4 w 49"/>
                  <a:gd name="T79" fmla="*/ 8 h 51"/>
                  <a:gd name="T80" fmla="*/ 0 w 49"/>
                  <a:gd name="T81" fmla="*/ 4 h 51"/>
                  <a:gd name="T82" fmla="*/ 5 w 49"/>
                  <a:gd name="T83" fmla="*/ 4 h 51"/>
                  <a:gd name="T84" fmla="*/ 9 w 49"/>
                  <a:gd name="T85" fmla="*/ 4 h 51"/>
                  <a:gd name="T86" fmla="*/ 13 w 49"/>
                  <a:gd name="T87" fmla="*/ 2 h 51"/>
                  <a:gd name="T88" fmla="*/ 17 w 49"/>
                  <a:gd name="T89" fmla="*/ 2 h 51"/>
                  <a:gd name="T90" fmla="*/ 21 w 49"/>
                  <a:gd name="T91" fmla="*/ 2 h 51"/>
                  <a:gd name="T92" fmla="*/ 21 w 49"/>
                  <a:gd name="T93" fmla="*/ 0 h 51"/>
                  <a:gd name="T94" fmla="*/ 26 w 49"/>
                  <a:gd name="T95" fmla="*/ 8 h 51"/>
                  <a:gd name="T96" fmla="*/ 23 w 49"/>
                  <a:gd name="T97" fmla="*/ 32 h 51"/>
                  <a:gd name="T98" fmla="*/ 32 w 49"/>
                  <a:gd name="T99" fmla="*/ 1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9" h="51">
                    <a:moveTo>
                      <a:pt x="25" y="0"/>
                    </a:moveTo>
                    <a:lnTo>
                      <a:pt x="25" y="2"/>
                    </a:lnTo>
                    <a:lnTo>
                      <a:pt x="25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8" y="6"/>
                    </a:lnTo>
                    <a:lnTo>
                      <a:pt x="28" y="8"/>
                    </a:lnTo>
                    <a:lnTo>
                      <a:pt x="28" y="6"/>
                    </a:lnTo>
                    <a:lnTo>
                      <a:pt x="28" y="8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2" y="9"/>
                    </a:lnTo>
                    <a:lnTo>
                      <a:pt x="34" y="9"/>
                    </a:lnTo>
                    <a:lnTo>
                      <a:pt x="34" y="11"/>
                    </a:lnTo>
                    <a:lnTo>
                      <a:pt x="32" y="11"/>
                    </a:lnTo>
                    <a:lnTo>
                      <a:pt x="30" y="11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4" y="21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38" y="27"/>
                    </a:lnTo>
                    <a:lnTo>
                      <a:pt x="38" y="29"/>
                    </a:lnTo>
                    <a:lnTo>
                      <a:pt x="36" y="27"/>
                    </a:lnTo>
                    <a:lnTo>
                      <a:pt x="34" y="27"/>
                    </a:lnTo>
                    <a:lnTo>
                      <a:pt x="34" y="29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7" y="36"/>
                    </a:lnTo>
                    <a:lnTo>
                      <a:pt x="49" y="36"/>
                    </a:lnTo>
                    <a:lnTo>
                      <a:pt x="49" y="38"/>
                    </a:lnTo>
                    <a:lnTo>
                      <a:pt x="47" y="38"/>
                    </a:lnTo>
                    <a:lnTo>
                      <a:pt x="49" y="38"/>
                    </a:lnTo>
                    <a:lnTo>
                      <a:pt x="47" y="38"/>
                    </a:lnTo>
                    <a:lnTo>
                      <a:pt x="47" y="40"/>
                    </a:lnTo>
                    <a:lnTo>
                      <a:pt x="46" y="40"/>
                    </a:lnTo>
                    <a:lnTo>
                      <a:pt x="47" y="42"/>
                    </a:lnTo>
                    <a:lnTo>
                      <a:pt x="49" y="42"/>
                    </a:lnTo>
                    <a:lnTo>
                      <a:pt x="47" y="42"/>
                    </a:lnTo>
                    <a:lnTo>
                      <a:pt x="49" y="44"/>
                    </a:lnTo>
                    <a:lnTo>
                      <a:pt x="49" y="46"/>
                    </a:lnTo>
                    <a:lnTo>
                      <a:pt x="47" y="44"/>
                    </a:lnTo>
                    <a:lnTo>
                      <a:pt x="47" y="46"/>
                    </a:lnTo>
                    <a:lnTo>
                      <a:pt x="47" y="44"/>
                    </a:lnTo>
                    <a:lnTo>
                      <a:pt x="47" y="46"/>
                    </a:lnTo>
                    <a:lnTo>
                      <a:pt x="49" y="48"/>
                    </a:lnTo>
                    <a:lnTo>
                      <a:pt x="47" y="48"/>
                    </a:lnTo>
                    <a:lnTo>
                      <a:pt x="49" y="48"/>
                    </a:lnTo>
                    <a:lnTo>
                      <a:pt x="47" y="50"/>
                    </a:lnTo>
                    <a:lnTo>
                      <a:pt x="49" y="50"/>
                    </a:lnTo>
                    <a:lnTo>
                      <a:pt x="49" y="51"/>
                    </a:lnTo>
                    <a:lnTo>
                      <a:pt x="47" y="51"/>
                    </a:lnTo>
                    <a:lnTo>
                      <a:pt x="46" y="50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2" y="38"/>
                    </a:lnTo>
                    <a:lnTo>
                      <a:pt x="30" y="38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6" y="34"/>
                    </a:lnTo>
                    <a:lnTo>
                      <a:pt x="26" y="32"/>
                    </a:lnTo>
                    <a:lnTo>
                      <a:pt x="25" y="32"/>
                    </a:lnTo>
                    <a:lnTo>
                      <a:pt x="23" y="34"/>
                    </a:lnTo>
                    <a:lnTo>
                      <a:pt x="23" y="32"/>
                    </a:lnTo>
                    <a:lnTo>
                      <a:pt x="21" y="34"/>
                    </a:lnTo>
                    <a:lnTo>
                      <a:pt x="21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7" y="29"/>
                    </a:lnTo>
                    <a:lnTo>
                      <a:pt x="15" y="29"/>
                    </a:lnTo>
                    <a:lnTo>
                      <a:pt x="13" y="27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3" y="2"/>
                    </a:lnTo>
                    <a:lnTo>
                      <a:pt x="25" y="0"/>
                    </a:lnTo>
                    <a:close/>
                    <a:moveTo>
                      <a:pt x="26" y="8"/>
                    </a:moveTo>
                    <a:lnTo>
                      <a:pt x="28" y="8"/>
                    </a:lnTo>
                    <a:lnTo>
                      <a:pt x="26" y="8"/>
                    </a:lnTo>
                    <a:close/>
                    <a:moveTo>
                      <a:pt x="23" y="32"/>
                    </a:moveTo>
                    <a:lnTo>
                      <a:pt x="25" y="32"/>
                    </a:lnTo>
                    <a:lnTo>
                      <a:pt x="23" y="32"/>
                    </a:lnTo>
                    <a:close/>
                    <a:moveTo>
                      <a:pt x="32" y="13"/>
                    </a:moveTo>
                    <a:lnTo>
                      <a:pt x="32" y="15"/>
                    </a:lnTo>
                    <a:lnTo>
                      <a:pt x="32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7" name="Freeform 95">
                <a:extLst>
                  <a:ext uri="{FF2B5EF4-FFF2-40B4-BE49-F238E27FC236}">
                    <a16:creationId xmlns:a16="http://schemas.microsoft.com/office/drawing/2014/main" id="{36B195D5-A547-B1B4-F120-E81378F31F1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05108" y="-2367535"/>
                <a:ext cx="168588" cy="145227"/>
              </a:xfrm>
              <a:custGeom>
                <a:avLst/>
                <a:gdLst>
                  <a:gd name="T0" fmla="*/ 103 w 107"/>
                  <a:gd name="T1" fmla="*/ 90 h 92"/>
                  <a:gd name="T2" fmla="*/ 94 w 107"/>
                  <a:gd name="T3" fmla="*/ 86 h 92"/>
                  <a:gd name="T4" fmla="*/ 75 w 107"/>
                  <a:gd name="T5" fmla="*/ 67 h 92"/>
                  <a:gd name="T6" fmla="*/ 57 w 107"/>
                  <a:gd name="T7" fmla="*/ 59 h 92"/>
                  <a:gd name="T8" fmla="*/ 50 w 107"/>
                  <a:gd name="T9" fmla="*/ 55 h 92"/>
                  <a:gd name="T10" fmla="*/ 46 w 107"/>
                  <a:gd name="T11" fmla="*/ 57 h 92"/>
                  <a:gd name="T12" fmla="*/ 38 w 107"/>
                  <a:gd name="T13" fmla="*/ 57 h 92"/>
                  <a:gd name="T14" fmla="*/ 33 w 107"/>
                  <a:gd name="T15" fmla="*/ 57 h 92"/>
                  <a:gd name="T16" fmla="*/ 25 w 107"/>
                  <a:gd name="T17" fmla="*/ 52 h 92"/>
                  <a:gd name="T18" fmla="*/ 19 w 107"/>
                  <a:gd name="T19" fmla="*/ 57 h 92"/>
                  <a:gd name="T20" fmla="*/ 14 w 107"/>
                  <a:gd name="T21" fmla="*/ 57 h 92"/>
                  <a:gd name="T22" fmla="*/ 8 w 107"/>
                  <a:gd name="T23" fmla="*/ 61 h 92"/>
                  <a:gd name="T24" fmla="*/ 2 w 107"/>
                  <a:gd name="T25" fmla="*/ 46 h 92"/>
                  <a:gd name="T26" fmla="*/ 10 w 107"/>
                  <a:gd name="T27" fmla="*/ 29 h 92"/>
                  <a:gd name="T28" fmla="*/ 10 w 107"/>
                  <a:gd name="T29" fmla="*/ 21 h 92"/>
                  <a:gd name="T30" fmla="*/ 14 w 107"/>
                  <a:gd name="T31" fmla="*/ 13 h 92"/>
                  <a:gd name="T32" fmla="*/ 23 w 107"/>
                  <a:gd name="T33" fmla="*/ 8 h 92"/>
                  <a:gd name="T34" fmla="*/ 29 w 107"/>
                  <a:gd name="T35" fmla="*/ 6 h 92"/>
                  <a:gd name="T36" fmla="*/ 36 w 107"/>
                  <a:gd name="T37" fmla="*/ 2 h 92"/>
                  <a:gd name="T38" fmla="*/ 44 w 107"/>
                  <a:gd name="T39" fmla="*/ 21 h 92"/>
                  <a:gd name="T40" fmla="*/ 46 w 107"/>
                  <a:gd name="T41" fmla="*/ 31 h 92"/>
                  <a:gd name="T42" fmla="*/ 52 w 107"/>
                  <a:gd name="T43" fmla="*/ 40 h 92"/>
                  <a:gd name="T44" fmla="*/ 56 w 107"/>
                  <a:gd name="T45" fmla="*/ 44 h 92"/>
                  <a:gd name="T46" fmla="*/ 59 w 107"/>
                  <a:gd name="T47" fmla="*/ 44 h 92"/>
                  <a:gd name="T48" fmla="*/ 59 w 107"/>
                  <a:gd name="T49" fmla="*/ 50 h 92"/>
                  <a:gd name="T50" fmla="*/ 67 w 107"/>
                  <a:gd name="T51" fmla="*/ 50 h 92"/>
                  <a:gd name="T52" fmla="*/ 71 w 107"/>
                  <a:gd name="T53" fmla="*/ 53 h 92"/>
                  <a:gd name="T54" fmla="*/ 78 w 107"/>
                  <a:gd name="T55" fmla="*/ 59 h 92"/>
                  <a:gd name="T56" fmla="*/ 84 w 107"/>
                  <a:gd name="T57" fmla="*/ 67 h 92"/>
                  <a:gd name="T58" fmla="*/ 92 w 107"/>
                  <a:gd name="T59" fmla="*/ 71 h 92"/>
                  <a:gd name="T60" fmla="*/ 92 w 107"/>
                  <a:gd name="T61" fmla="*/ 71 h 92"/>
                  <a:gd name="T62" fmla="*/ 97 w 107"/>
                  <a:gd name="T63" fmla="*/ 78 h 92"/>
                  <a:gd name="T64" fmla="*/ 103 w 107"/>
                  <a:gd name="T65" fmla="*/ 84 h 92"/>
                  <a:gd name="T66" fmla="*/ 107 w 107"/>
                  <a:gd name="T67" fmla="*/ 84 h 92"/>
                  <a:gd name="T68" fmla="*/ 61 w 107"/>
                  <a:gd name="T69" fmla="*/ 38 h 92"/>
                  <a:gd name="T70" fmla="*/ 63 w 107"/>
                  <a:gd name="T71" fmla="*/ 40 h 92"/>
                  <a:gd name="T72" fmla="*/ 59 w 107"/>
                  <a:gd name="T73" fmla="*/ 38 h 92"/>
                  <a:gd name="T74" fmla="*/ 57 w 107"/>
                  <a:gd name="T75" fmla="*/ 34 h 92"/>
                  <a:gd name="T76" fmla="*/ 61 w 107"/>
                  <a:gd name="T77" fmla="*/ 48 h 92"/>
                  <a:gd name="T78" fmla="*/ 63 w 107"/>
                  <a:gd name="T79" fmla="*/ 46 h 92"/>
                  <a:gd name="T80" fmla="*/ 61 w 107"/>
                  <a:gd name="T81" fmla="*/ 31 h 92"/>
                  <a:gd name="T82" fmla="*/ 59 w 107"/>
                  <a:gd name="T83" fmla="*/ 38 h 92"/>
                  <a:gd name="T84" fmla="*/ 103 w 107"/>
                  <a:gd name="T85" fmla="*/ 82 h 92"/>
                  <a:gd name="T86" fmla="*/ 56 w 107"/>
                  <a:gd name="T87" fmla="*/ 27 h 92"/>
                  <a:gd name="T88" fmla="*/ 48 w 107"/>
                  <a:gd name="T89" fmla="*/ 33 h 92"/>
                  <a:gd name="T90" fmla="*/ 59 w 107"/>
                  <a:gd name="T91" fmla="*/ 31 h 92"/>
                  <a:gd name="T92" fmla="*/ 103 w 107"/>
                  <a:gd name="T93" fmla="*/ 80 h 92"/>
                  <a:gd name="T94" fmla="*/ 54 w 107"/>
                  <a:gd name="T95" fmla="*/ 40 h 92"/>
                  <a:gd name="T96" fmla="*/ 56 w 107"/>
                  <a:gd name="T97" fmla="*/ 36 h 92"/>
                  <a:gd name="T98" fmla="*/ 69 w 107"/>
                  <a:gd name="T99" fmla="*/ 42 h 92"/>
                  <a:gd name="T100" fmla="*/ 63 w 107"/>
                  <a:gd name="T101" fmla="*/ 33 h 92"/>
                  <a:gd name="T102" fmla="*/ 71 w 107"/>
                  <a:gd name="T103" fmla="*/ 36 h 92"/>
                  <a:gd name="T104" fmla="*/ 59 w 107"/>
                  <a:gd name="T105" fmla="*/ 34 h 92"/>
                  <a:gd name="T106" fmla="*/ 61 w 107"/>
                  <a:gd name="T107" fmla="*/ 36 h 92"/>
                  <a:gd name="T108" fmla="*/ 57 w 107"/>
                  <a:gd name="T109" fmla="*/ 31 h 92"/>
                  <a:gd name="T110" fmla="*/ 56 w 107"/>
                  <a:gd name="T111" fmla="*/ 27 h 92"/>
                  <a:gd name="T112" fmla="*/ 52 w 107"/>
                  <a:gd name="T113" fmla="*/ 34 h 92"/>
                  <a:gd name="T114" fmla="*/ 67 w 107"/>
                  <a:gd name="T115" fmla="*/ 36 h 92"/>
                  <a:gd name="T116" fmla="*/ 63 w 107"/>
                  <a:gd name="T117" fmla="*/ 34 h 92"/>
                  <a:gd name="T118" fmla="*/ 59 w 107"/>
                  <a:gd name="T119" fmla="*/ 46 h 92"/>
                  <a:gd name="T120" fmla="*/ 97 w 107"/>
                  <a:gd name="T121" fmla="*/ 7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" h="92">
                    <a:moveTo>
                      <a:pt x="107" y="86"/>
                    </a:moveTo>
                    <a:lnTo>
                      <a:pt x="105" y="88"/>
                    </a:lnTo>
                    <a:lnTo>
                      <a:pt x="103" y="88"/>
                    </a:lnTo>
                    <a:lnTo>
                      <a:pt x="103" y="90"/>
                    </a:lnTo>
                    <a:lnTo>
                      <a:pt x="101" y="90"/>
                    </a:lnTo>
                    <a:lnTo>
                      <a:pt x="103" y="90"/>
                    </a:lnTo>
                    <a:lnTo>
                      <a:pt x="103" y="92"/>
                    </a:lnTo>
                    <a:lnTo>
                      <a:pt x="101" y="92"/>
                    </a:lnTo>
                    <a:lnTo>
                      <a:pt x="97" y="90"/>
                    </a:lnTo>
                    <a:lnTo>
                      <a:pt x="96" y="90"/>
                    </a:lnTo>
                    <a:lnTo>
                      <a:pt x="94" y="88"/>
                    </a:lnTo>
                    <a:lnTo>
                      <a:pt x="94" y="86"/>
                    </a:lnTo>
                    <a:lnTo>
                      <a:pt x="92" y="86"/>
                    </a:lnTo>
                    <a:lnTo>
                      <a:pt x="90" y="84"/>
                    </a:lnTo>
                    <a:lnTo>
                      <a:pt x="90" y="82"/>
                    </a:lnTo>
                    <a:lnTo>
                      <a:pt x="88" y="80"/>
                    </a:lnTo>
                    <a:lnTo>
                      <a:pt x="78" y="71"/>
                    </a:lnTo>
                    <a:lnTo>
                      <a:pt x="75" y="67"/>
                    </a:lnTo>
                    <a:lnTo>
                      <a:pt x="69" y="61"/>
                    </a:lnTo>
                    <a:lnTo>
                      <a:pt x="65" y="59"/>
                    </a:lnTo>
                    <a:lnTo>
                      <a:pt x="61" y="57"/>
                    </a:lnTo>
                    <a:lnTo>
                      <a:pt x="59" y="57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56" y="57"/>
                    </a:lnTo>
                    <a:lnTo>
                      <a:pt x="54" y="57"/>
                    </a:lnTo>
                    <a:lnTo>
                      <a:pt x="54" y="55"/>
                    </a:lnTo>
                    <a:lnTo>
                      <a:pt x="52" y="55"/>
                    </a:lnTo>
                    <a:lnTo>
                      <a:pt x="50" y="53"/>
                    </a:lnTo>
                    <a:lnTo>
                      <a:pt x="50" y="55"/>
                    </a:lnTo>
                    <a:lnTo>
                      <a:pt x="50" y="57"/>
                    </a:lnTo>
                    <a:lnTo>
                      <a:pt x="48" y="57"/>
                    </a:lnTo>
                    <a:lnTo>
                      <a:pt x="46" y="57"/>
                    </a:lnTo>
                    <a:lnTo>
                      <a:pt x="46" y="59"/>
                    </a:lnTo>
                    <a:lnTo>
                      <a:pt x="44" y="57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4" y="55"/>
                    </a:lnTo>
                    <a:lnTo>
                      <a:pt x="42" y="55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38" y="57"/>
                    </a:lnTo>
                    <a:lnTo>
                      <a:pt x="36" y="57"/>
                    </a:lnTo>
                    <a:lnTo>
                      <a:pt x="36" y="59"/>
                    </a:lnTo>
                    <a:lnTo>
                      <a:pt x="35" y="57"/>
                    </a:lnTo>
                    <a:lnTo>
                      <a:pt x="35" y="59"/>
                    </a:lnTo>
                    <a:lnTo>
                      <a:pt x="33" y="59"/>
                    </a:lnTo>
                    <a:lnTo>
                      <a:pt x="33" y="57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29" y="53"/>
                    </a:lnTo>
                    <a:lnTo>
                      <a:pt x="27" y="53"/>
                    </a:lnTo>
                    <a:lnTo>
                      <a:pt x="25" y="53"/>
                    </a:lnTo>
                    <a:lnTo>
                      <a:pt x="25" y="52"/>
                    </a:lnTo>
                    <a:lnTo>
                      <a:pt x="23" y="52"/>
                    </a:lnTo>
                    <a:lnTo>
                      <a:pt x="23" y="53"/>
                    </a:lnTo>
                    <a:lnTo>
                      <a:pt x="23" y="55"/>
                    </a:lnTo>
                    <a:lnTo>
                      <a:pt x="21" y="55"/>
                    </a:lnTo>
                    <a:lnTo>
                      <a:pt x="21" y="57"/>
                    </a:lnTo>
                    <a:lnTo>
                      <a:pt x="19" y="57"/>
                    </a:lnTo>
                    <a:lnTo>
                      <a:pt x="17" y="57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5" y="57"/>
                    </a:lnTo>
                    <a:lnTo>
                      <a:pt x="14" y="59"/>
                    </a:lnTo>
                    <a:lnTo>
                      <a:pt x="14" y="57"/>
                    </a:lnTo>
                    <a:lnTo>
                      <a:pt x="14" y="59"/>
                    </a:lnTo>
                    <a:lnTo>
                      <a:pt x="12" y="59"/>
                    </a:lnTo>
                    <a:lnTo>
                      <a:pt x="12" y="61"/>
                    </a:lnTo>
                    <a:lnTo>
                      <a:pt x="10" y="61"/>
                    </a:lnTo>
                    <a:lnTo>
                      <a:pt x="8" y="59"/>
                    </a:lnTo>
                    <a:lnTo>
                      <a:pt x="8" y="61"/>
                    </a:lnTo>
                    <a:lnTo>
                      <a:pt x="6" y="59"/>
                    </a:lnTo>
                    <a:lnTo>
                      <a:pt x="4" y="61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8" y="29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15"/>
                    </a:lnTo>
                    <a:lnTo>
                      <a:pt x="14" y="13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7" y="12"/>
                    </a:lnTo>
                    <a:lnTo>
                      <a:pt x="19" y="10"/>
                    </a:lnTo>
                    <a:lnTo>
                      <a:pt x="21" y="10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6" y="2"/>
                    </a:lnTo>
                    <a:lnTo>
                      <a:pt x="38" y="6"/>
                    </a:lnTo>
                    <a:lnTo>
                      <a:pt x="40" y="10"/>
                    </a:lnTo>
                    <a:lnTo>
                      <a:pt x="42" y="12"/>
                    </a:lnTo>
                    <a:lnTo>
                      <a:pt x="42" y="13"/>
                    </a:lnTo>
                    <a:lnTo>
                      <a:pt x="42" y="17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4" y="25"/>
                    </a:lnTo>
                    <a:lnTo>
                      <a:pt x="44" y="23"/>
                    </a:lnTo>
                    <a:lnTo>
                      <a:pt x="44" y="25"/>
                    </a:lnTo>
                    <a:lnTo>
                      <a:pt x="44" y="27"/>
                    </a:lnTo>
                    <a:lnTo>
                      <a:pt x="46" y="31"/>
                    </a:lnTo>
                    <a:lnTo>
                      <a:pt x="46" y="34"/>
                    </a:lnTo>
                    <a:lnTo>
                      <a:pt x="48" y="36"/>
                    </a:lnTo>
                    <a:lnTo>
                      <a:pt x="50" y="38"/>
                    </a:lnTo>
                    <a:lnTo>
                      <a:pt x="48" y="38"/>
                    </a:lnTo>
                    <a:lnTo>
                      <a:pt x="50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56" y="46"/>
                    </a:lnTo>
                    <a:lnTo>
                      <a:pt x="56" y="44"/>
                    </a:lnTo>
                    <a:lnTo>
                      <a:pt x="54" y="44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0"/>
                    </a:lnTo>
                    <a:lnTo>
                      <a:pt x="56" y="42"/>
                    </a:lnTo>
                    <a:lnTo>
                      <a:pt x="59" y="44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9" y="48"/>
                    </a:lnTo>
                    <a:lnTo>
                      <a:pt x="59" y="50"/>
                    </a:lnTo>
                    <a:lnTo>
                      <a:pt x="61" y="50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7" y="50"/>
                    </a:lnTo>
                    <a:lnTo>
                      <a:pt x="65" y="48"/>
                    </a:lnTo>
                    <a:lnTo>
                      <a:pt x="67" y="50"/>
                    </a:lnTo>
                    <a:lnTo>
                      <a:pt x="67" y="52"/>
                    </a:lnTo>
                    <a:lnTo>
                      <a:pt x="69" y="52"/>
                    </a:lnTo>
                    <a:lnTo>
                      <a:pt x="69" y="50"/>
                    </a:lnTo>
                    <a:lnTo>
                      <a:pt x="69" y="52"/>
                    </a:lnTo>
                    <a:lnTo>
                      <a:pt x="69" y="53"/>
                    </a:lnTo>
                    <a:lnTo>
                      <a:pt x="71" y="53"/>
                    </a:lnTo>
                    <a:lnTo>
                      <a:pt x="73" y="53"/>
                    </a:lnTo>
                    <a:lnTo>
                      <a:pt x="73" y="55"/>
                    </a:lnTo>
                    <a:lnTo>
                      <a:pt x="75" y="53"/>
                    </a:lnTo>
                    <a:lnTo>
                      <a:pt x="77" y="55"/>
                    </a:lnTo>
                    <a:lnTo>
                      <a:pt x="78" y="57"/>
                    </a:lnTo>
                    <a:lnTo>
                      <a:pt x="78" y="59"/>
                    </a:lnTo>
                    <a:lnTo>
                      <a:pt x="80" y="59"/>
                    </a:lnTo>
                    <a:lnTo>
                      <a:pt x="80" y="61"/>
                    </a:lnTo>
                    <a:lnTo>
                      <a:pt x="82" y="61"/>
                    </a:lnTo>
                    <a:lnTo>
                      <a:pt x="82" y="63"/>
                    </a:lnTo>
                    <a:lnTo>
                      <a:pt x="84" y="65"/>
                    </a:lnTo>
                    <a:lnTo>
                      <a:pt x="84" y="67"/>
                    </a:lnTo>
                    <a:lnTo>
                      <a:pt x="86" y="67"/>
                    </a:lnTo>
                    <a:lnTo>
                      <a:pt x="88" y="67"/>
                    </a:lnTo>
                    <a:lnTo>
                      <a:pt x="88" y="69"/>
                    </a:lnTo>
                    <a:lnTo>
                      <a:pt x="90" y="69"/>
                    </a:lnTo>
                    <a:lnTo>
                      <a:pt x="90" y="71"/>
                    </a:lnTo>
                    <a:lnTo>
                      <a:pt x="92" y="71"/>
                    </a:lnTo>
                    <a:lnTo>
                      <a:pt x="94" y="73"/>
                    </a:lnTo>
                    <a:lnTo>
                      <a:pt x="92" y="73"/>
                    </a:lnTo>
                    <a:lnTo>
                      <a:pt x="94" y="73"/>
                    </a:lnTo>
                    <a:lnTo>
                      <a:pt x="94" y="71"/>
                    </a:lnTo>
                    <a:lnTo>
                      <a:pt x="92" y="73"/>
                    </a:lnTo>
                    <a:lnTo>
                      <a:pt x="92" y="71"/>
                    </a:lnTo>
                    <a:lnTo>
                      <a:pt x="94" y="71"/>
                    </a:lnTo>
                    <a:lnTo>
                      <a:pt x="94" y="73"/>
                    </a:lnTo>
                    <a:lnTo>
                      <a:pt x="94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7" y="78"/>
                    </a:lnTo>
                    <a:lnTo>
                      <a:pt x="99" y="78"/>
                    </a:lnTo>
                    <a:lnTo>
                      <a:pt x="99" y="80"/>
                    </a:lnTo>
                    <a:lnTo>
                      <a:pt x="101" y="80"/>
                    </a:lnTo>
                    <a:lnTo>
                      <a:pt x="101" y="82"/>
                    </a:lnTo>
                    <a:lnTo>
                      <a:pt x="101" y="84"/>
                    </a:lnTo>
                    <a:lnTo>
                      <a:pt x="103" y="84"/>
                    </a:lnTo>
                    <a:lnTo>
                      <a:pt x="105" y="84"/>
                    </a:lnTo>
                    <a:lnTo>
                      <a:pt x="103" y="86"/>
                    </a:lnTo>
                    <a:lnTo>
                      <a:pt x="105" y="84"/>
                    </a:lnTo>
                    <a:lnTo>
                      <a:pt x="105" y="82"/>
                    </a:lnTo>
                    <a:lnTo>
                      <a:pt x="105" y="84"/>
                    </a:lnTo>
                    <a:lnTo>
                      <a:pt x="107" y="84"/>
                    </a:lnTo>
                    <a:lnTo>
                      <a:pt x="107" y="86"/>
                    </a:lnTo>
                    <a:close/>
                    <a:moveTo>
                      <a:pt x="57" y="34"/>
                    </a:moveTo>
                    <a:lnTo>
                      <a:pt x="59" y="34"/>
                    </a:lnTo>
                    <a:lnTo>
                      <a:pt x="59" y="36"/>
                    </a:lnTo>
                    <a:lnTo>
                      <a:pt x="59" y="38"/>
                    </a:lnTo>
                    <a:lnTo>
                      <a:pt x="61" y="38"/>
                    </a:lnTo>
                    <a:lnTo>
                      <a:pt x="63" y="38"/>
                    </a:lnTo>
                    <a:lnTo>
                      <a:pt x="61" y="38"/>
                    </a:lnTo>
                    <a:lnTo>
                      <a:pt x="63" y="38"/>
                    </a:lnTo>
                    <a:lnTo>
                      <a:pt x="65" y="38"/>
                    </a:lnTo>
                    <a:lnTo>
                      <a:pt x="65" y="40"/>
                    </a:lnTo>
                    <a:lnTo>
                      <a:pt x="63" y="40"/>
                    </a:lnTo>
                    <a:lnTo>
                      <a:pt x="61" y="40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59" y="40"/>
                    </a:lnTo>
                    <a:lnTo>
                      <a:pt x="57" y="38"/>
                    </a:lnTo>
                    <a:lnTo>
                      <a:pt x="59" y="38"/>
                    </a:lnTo>
                    <a:lnTo>
                      <a:pt x="57" y="36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7" y="36"/>
                    </a:lnTo>
                    <a:lnTo>
                      <a:pt x="57" y="34"/>
                    </a:lnTo>
                    <a:close/>
                    <a:moveTo>
                      <a:pt x="57" y="31"/>
                    </a:moveTo>
                    <a:lnTo>
                      <a:pt x="59" y="31"/>
                    </a:lnTo>
                    <a:lnTo>
                      <a:pt x="59" y="33"/>
                    </a:lnTo>
                    <a:lnTo>
                      <a:pt x="57" y="33"/>
                    </a:lnTo>
                    <a:lnTo>
                      <a:pt x="57" y="31"/>
                    </a:lnTo>
                    <a:close/>
                    <a:moveTo>
                      <a:pt x="61" y="48"/>
                    </a:moveTo>
                    <a:lnTo>
                      <a:pt x="63" y="48"/>
                    </a:lnTo>
                    <a:lnTo>
                      <a:pt x="63" y="50"/>
                    </a:lnTo>
                    <a:lnTo>
                      <a:pt x="61" y="50"/>
                    </a:lnTo>
                    <a:lnTo>
                      <a:pt x="61" y="48"/>
                    </a:lnTo>
                    <a:close/>
                    <a:moveTo>
                      <a:pt x="61" y="46"/>
                    </a:moveTo>
                    <a:lnTo>
                      <a:pt x="63" y="46"/>
                    </a:lnTo>
                    <a:lnTo>
                      <a:pt x="63" y="48"/>
                    </a:lnTo>
                    <a:lnTo>
                      <a:pt x="61" y="48"/>
                    </a:lnTo>
                    <a:lnTo>
                      <a:pt x="61" y="46"/>
                    </a:lnTo>
                    <a:close/>
                    <a:moveTo>
                      <a:pt x="59" y="29"/>
                    </a:moveTo>
                    <a:lnTo>
                      <a:pt x="61" y="29"/>
                    </a:lnTo>
                    <a:lnTo>
                      <a:pt x="61" y="31"/>
                    </a:lnTo>
                    <a:lnTo>
                      <a:pt x="59" y="31"/>
                    </a:lnTo>
                    <a:lnTo>
                      <a:pt x="59" y="29"/>
                    </a:lnTo>
                    <a:close/>
                    <a:moveTo>
                      <a:pt x="59" y="36"/>
                    </a:moveTo>
                    <a:lnTo>
                      <a:pt x="61" y="36"/>
                    </a:lnTo>
                    <a:lnTo>
                      <a:pt x="61" y="38"/>
                    </a:lnTo>
                    <a:lnTo>
                      <a:pt x="59" y="38"/>
                    </a:lnTo>
                    <a:lnTo>
                      <a:pt x="59" y="36"/>
                    </a:lnTo>
                    <a:close/>
                    <a:moveTo>
                      <a:pt x="103" y="82"/>
                    </a:moveTo>
                    <a:lnTo>
                      <a:pt x="105" y="82"/>
                    </a:lnTo>
                    <a:lnTo>
                      <a:pt x="105" y="84"/>
                    </a:lnTo>
                    <a:lnTo>
                      <a:pt x="103" y="84"/>
                    </a:lnTo>
                    <a:lnTo>
                      <a:pt x="103" y="82"/>
                    </a:lnTo>
                    <a:close/>
                    <a:moveTo>
                      <a:pt x="59" y="23"/>
                    </a:moveTo>
                    <a:lnTo>
                      <a:pt x="61" y="23"/>
                    </a:lnTo>
                    <a:lnTo>
                      <a:pt x="61" y="25"/>
                    </a:lnTo>
                    <a:lnTo>
                      <a:pt x="59" y="25"/>
                    </a:lnTo>
                    <a:lnTo>
                      <a:pt x="59" y="23"/>
                    </a:lnTo>
                    <a:close/>
                    <a:moveTo>
                      <a:pt x="56" y="27"/>
                    </a:moveTo>
                    <a:lnTo>
                      <a:pt x="57" y="27"/>
                    </a:lnTo>
                    <a:lnTo>
                      <a:pt x="56" y="27"/>
                    </a:lnTo>
                    <a:close/>
                    <a:moveTo>
                      <a:pt x="48" y="31"/>
                    </a:moveTo>
                    <a:lnTo>
                      <a:pt x="50" y="31"/>
                    </a:lnTo>
                    <a:lnTo>
                      <a:pt x="50" y="33"/>
                    </a:lnTo>
                    <a:lnTo>
                      <a:pt x="48" y="33"/>
                    </a:lnTo>
                    <a:lnTo>
                      <a:pt x="48" y="31"/>
                    </a:lnTo>
                    <a:close/>
                    <a:moveTo>
                      <a:pt x="59" y="31"/>
                    </a:moveTo>
                    <a:lnTo>
                      <a:pt x="61" y="31"/>
                    </a:lnTo>
                    <a:lnTo>
                      <a:pt x="61" y="33"/>
                    </a:lnTo>
                    <a:lnTo>
                      <a:pt x="59" y="33"/>
                    </a:lnTo>
                    <a:lnTo>
                      <a:pt x="59" y="31"/>
                    </a:lnTo>
                    <a:close/>
                    <a:moveTo>
                      <a:pt x="61" y="44"/>
                    </a:moveTo>
                    <a:lnTo>
                      <a:pt x="61" y="46"/>
                    </a:lnTo>
                    <a:lnTo>
                      <a:pt x="61" y="44"/>
                    </a:lnTo>
                    <a:close/>
                    <a:moveTo>
                      <a:pt x="103" y="80"/>
                    </a:moveTo>
                    <a:lnTo>
                      <a:pt x="103" y="82"/>
                    </a:lnTo>
                    <a:lnTo>
                      <a:pt x="103" y="80"/>
                    </a:lnTo>
                    <a:close/>
                    <a:moveTo>
                      <a:pt x="57" y="33"/>
                    </a:moveTo>
                    <a:lnTo>
                      <a:pt x="59" y="33"/>
                    </a:lnTo>
                    <a:lnTo>
                      <a:pt x="59" y="34"/>
                    </a:lnTo>
                    <a:lnTo>
                      <a:pt x="57" y="34"/>
                    </a:lnTo>
                    <a:lnTo>
                      <a:pt x="57" y="33"/>
                    </a:lnTo>
                    <a:close/>
                    <a:moveTo>
                      <a:pt x="54" y="40"/>
                    </a:moveTo>
                    <a:lnTo>
                      <a:pt x="54" y="42"/>
                    </a:lnTo>
                    <a:lnTo>
                      <a:pt x="54" y="40"/>
                    </a:lnTo>
                    <a:close/>
                    <a:moveTo>
                      <a:pt x="63" y="46"/>
                    </a:moveTo>
                    <a:lnTo>
                      <a:pt x="63" y="48"/>
                    </a:lnTo>
                    <a:lnTo>
                      <a:pt x="63" y="46"/>
                    </a:lnTo>
                    <a:close/>
                    <a:moveTo>
                      <a:pt x="56" y="36"/>
                    </a:moveTo>
                    <a:lnTo>
                      <a:pt x="57" y="36"/>
                    </a:lnTo>
                    <a:lnTo>
                      <a:pt x="57" y="38"/>
                    </a:lnTo>
                    <a:lnTo>
                      <a:pt x="56" y="38"/>
                    </a:lnTo>
                    <a:lnTo>
                      <a:pt x="56" y="36"/>
                    </a:lnTo>
                    <a:close/>
                    <a:moveTo>
                      <a:pt x="69" y="40"/>
                    </a:moveTo>
                    <a:lnTo>
                      <a:pt x="69" y="42"/>
                    </a:lnTo>
                    <a:lnTo>
                      <a:pt x="69" y="40"/>
                    </a:lnTo>
                    <a:close/>
                    <a:moveTo>
                      <a:pt x="59" y="29"/>
                    </a:moveTo>
                    <a:lnTo>
                      <a:pt x="59" y="31"/>
                    </a:lnTo>
                    <a:lnTo>
                      <a:pt x="59" y="29"/>
                    </a:lnTo>
                    <a:close/>
                    <a:moveTo>
                      <a:pt x="61" y="33"/>
                    </a:moveTo>
                    <a:lnTo>
                      <a:pt x="63" y="33"/>
                    </a:lnTo>
                    <a:lnTo>
                      <a:pt x="61" y="33"/>
                    </a:lnTo>
                    <a:close/>
                    <a:moveTo>
                      <a:pt x="63" y="48"/>
                    </a:moveTo>
                    <a:lnTo>
                      <a:pt x="65" y="48"/>
                    </a:lnTo>
                    <a:lnTo>
                      <a:pt x="63" y="48"/>
                    </a:lnTo>
                    <a:close/>
                    <a:moveTo>
                      <a:pt x="69" y="36"/>
                    </a:moveTo>
                    <a:lnTo>
                      <a:pt x="71" y="36"/>
                    </a:lnTo>
                    <a:lnTo>
                      <a:pt x="69" y="36"/>
                    </a:lnTo>
                    <a:close/>
                    <a:moveTo>
                      <a:pt x="69" y="52"/>
                    </a:moveTo>
                    <a:lnTo>
                      <a:pt x="71" y="52"/>
                    </a:lnTo>
                    <a:lnTo>
                      <a:pt x="69" y="52"/>
                    </a:lnTo>
                    <a:close/>
                    <a:moveTo>
                      <a:pt x="59" y="33"/>
                    </a:moveTo>
                    <a:lnTo>
                      <a:pt x="59" y="34"/>
                    </a:lnTo>
                    <a:lnTo>
                      <a:pt x="59" y="33"/>
                    </a:lnTo>
                    <a:close/>
                    <a:moveTo>
                      <a:pt x="50" y="27"/>
                    </a:moveTo>
                    <a:lnTo>
                      <a:pt x="52" y="27"/>
                    </a:lnTo>
                    <a:lnTo>
                      <a:pt x="50" y="27"/>
                    </a:lnTo>
                    <a:close/>
                    <a:moveTo>
                      <a:pt x="61" y="34"/>
                    </a:moveTo>
                    <a:lnTo>
                      <a:pt x="61" y="36"/>
                    </a:lnTo>
                    <a:lnTo>
                      <a:pt x="61" y="34"/>
                    </a:lnTo>
                    <a:close/>
                    <a:moveTo>
                      <a:pt x="101" y="84"/>
                    </a:moveTo>
                    <a:lnTo>
                      <a:pt x="103" y="84"/>
                    </a:lnTo>
                    <a:lnTo>
                      <a:pt x="101" y="84"/>
                    </a:lnTo>
                    <a:close/>
                    <a:moveTo>
                      <a:pt x="57" y="29"/>
                    </a:moveTo>
                    <a:lnTo>
                      <a:pt x="57" y="31"/>
                    </a:lnTo>
                    <a:lnTo>
                      <a:pt x="57" y="29"/>
                    </a:lnTo>
                    <a:close/>
                    <a:moveTo>
                      <a:pt x="101" y="82"/>
                    </a:moveTo>
                    <a:lnTo>
                      <a:pt x="103" y="82"/>
                    </a:lnTo>
                    <a:lnTo>
                      <a:pt x="101" y="82"/>
                    </a:lnTo>
                    <a:close/>
                    <a:moveTo>
                      <a:pt x="54" y="27"/>
                    </a:moveTo>
                    <a:lnTo>
                      <a:pt x="56" y="27"/>
                    </a:lnTo>
                    <a:lnTo>
                      <a:pt x="54" y="27"/>
                    </a:lnTo>
                    <a:close/>
                    <a:moveTo>
                      <a:pt x="56" y="34"/>
                    </a:moveTo>
                    <a:lnTo>
                      <a:pt x="57" y="34"/>
                    </a:lnTo>
                    <a:lnTo>
                      <a:pt x="56" y="34"/>
                    </a:lnTo>
                    <a:close/>
                    <a:moveTo>
                      <a:pt x="52" y="33"/>
                    </a:moveTo>
                    <a:lnTo>
                      <a:pt x="52" y="34"/>
                    </a:lnTo>
                    <a:lnTo>
                      <a:pt x="52" y="33"/>
                    </a:lnTo>
                    <a:close/>
                    <a:moveTo>
                      <a:pt x="67" y="36"/>
                    </a:moveTo>
                    <a:lnTo>
                      <a:pt x="69" y="36"/>
                    </a:lnTo>
                    <a:lnTo>
                      <a:pt x="69" y="38"/>
                    </a:lnTo>
                    <a:lnTo>
                      <a:pt x="67" y="38"/>
                    </a:lnTo>
                    <a:lnTo>
                      <a:pt x="67" y="36"/>
                    </a:lnTo>
                    <a:close/>
                    <a:moveTo>
                      <a:pt x="67" y="34"/>
                    </a:moveTo>
                    <a:lnTo>
                      <a:pt x="67" y="36"/>
                    </a:lnTo>
                    <a:lnTo>
                      <a:pt x="67" y="34"/>
                    </a:lnTo>
                    <a:close/>
                    <a:moveTo>
                      <a:pt x="63" y="34"/>
                    </a:moveTo>
                    <a:lnTo>
                      <a:pt x="63" y="36"/>
                    </a:lnTo>
                    <a:lnTo>
                      <a:pt x="63" y="34"/>
                    </a:lnTo>
                    <a:close/>
                    <a:moveTo>
                      <a:pt x="103" y="82"/>
                    </a:moveTo>
                    <a:lnTo>
                      <a:pt x="105" y="82"/>
                    </a:lnTo>
                    <a:lnTo>
                      <a:pt x="103" y="82"/>
                    </a:lnTo>
                    <a:close/>
                    <a:moveTo>
                      <a:pt x="59" y="46"/>
                    </a:moveTo>
                    <a:lnTo>
                      <a:pt x="61" y="46"/>
                    </a:lnTo>
                    <a:lnTo>
                      <a:pt x="59" y="46"/>
                    </a:lnTo>
                    <a:close/>
                    <a:moveTo>
                      <a:pt x="57" y="31"/>
                    </a:moveTo>
                    <a:lnTo>
                      <a:pt x="57" y="33"/>
                    </a:lnTo>
                    <a:lnTo>
                      <a:pt x="57" y="31"/>
                    </a:lnTo>
                    <a:close/>
                    <a:moveTo>
                      <a:pt x="97" y="78"/>
                    </a:moveTo>
                    <a:lnTo>
                      <a:pt x="99" y="78"/>
                    </a:lnTo>
                    <a:lnTo>
                      <a:pt x="97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0" name="Freeform 103">
                <a:extLst>
                  <a:ext uri="{FF2B5EF4-FFF2-40B4-BE49-F238E27FC236}">
                    <a16:creationId xmlns:a16="http://schemas.microsoft.com/office/drawing/2014/main" id="{B667C4D4-B0BF-AA50-6A85-0CAA1D3946E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43758" y="-2394372"/>
                <a:ext cx="315118" cy="176798"/>
              </a:xfrm>
              <a:custGeom>
                <a:avLst/>
                <a:gdLst>
                  <a:gd name="T0" fmla="*/ 164 w 200"/>
                  <a:gd name="T1" fmla="*/ 46 h 112"/>
                  <a:gd name="T2" fmla="*/ 164 w 200"/>
                  <a:gd name="T3" fmla="*/ 55 h 112"/>
                  <a:gd name="T4" fmla="*/ 153 w 200"/>
                  <a:gd name="T5" fmla="*/ 61 h 112"/>
                  <a:gd name="T6" fmla="*/ 135 w 200"/>
                  <a:gd name="T7" fmla="*/ 67 h 112"/>
                  <a:gd name="T8" fmla="*/ 126 w 200"/>
                  <a:gd name="T9" fmla="*/ 69 h 112"/>
                  <a:gd name="T10" fmla="*/ 114 w 200"/>
                  <a:gd name="T11" fmla="*/ 74 h 112"/>
                  <a:gd name="T12" fmla="*/ 109 w 200"/>
                  <a:gd name="T13" fmla="*/ 82 h 112"/>
                  <a:gd name="T14" fmla="*/ 99 w 200"/>
                  <a:gd name="T15" fmla="*/ 82 h 112"/>
                  <a:gd name="T16" fmla="*/ 88 w 200"/>
                  <a:gd name="T17" fmla="*/ 88 h 112"/>
                  <a:gd name="T18" fmla="*/ 72 w 200"/>
                  <a:gd name="T19" fmla="*/ 91 h 112"/>
                  <a:gd name="T20" fmla="*/ 57 w 200"/>
                  <a:gd name="T21" fmla="*/ 95 h 112"/>
                  <a:gd name="T22" fmla="*/ 50 w 200"/>
                  <a:gd name="T23" fmla="*/ 103 h 112"/>
                  <a:gd name="T24" fmla="*/ 50 w 200"/>
                  <a:gd name="T25" fmla="*/ 101 h 112"/>
                  <a:gd name="T26" fmla="*/ 42 w 200"/>
                  <a:gd name="T27" fmla="*/ 101 h 112"/>
                  <a:gd name="T28" fmla="*/ 34 w 200"/>
                  <a:gd name="T29" fmla="*/ 105 h 112"/>
                  <a:gd name="T30" fmla="*/ 25 w 200"/>
                  <a:gd name="T31" fmla="*/ 103 h 112"/>
                  <a:gd name="T32" fmla="*/ 21 w 200"/>
                  <a:gd name="T33" fmla="*/ 93 h 112"/>
                  <a:gd name="T34" fmla="*/ 21 w 200"/>
                  <a:gd name="T35" fmla="*/ 84 h 112"/>
                  <a:gd name="T36" fmla="*/ 17 w 200"/>
                  <a:gd name="T37" fmla="*/ 76 h 112"/>
                  <a:gd name="T38" fmla="*/ 17 w 200"/>
                  <a:gd name="T39" fmla="*/ 70 h 112"/>
                  <a:gd name="T40" fmla="*/ 17 w 200"/>
                  <a:gd name="T41" fmla="*/ 67 h 112"/>
                  <a:gd name="T42" fmla="*/ 11 w 200"/>
                  <a:gd name="T43" fmla="*/ 63 h 112"/>
                  <a:gd name="T44" fmla="*/ 11 w 200"/>
                  <a:gd name="T45" fmla="*/ 61 h 112"/>
                  <a:gd name="T46" fmla="*/ 15 w 200"/>
                  <a:gd name="T47" fmla="*/ 61 h 112"/>
                  <a:gd name="T48" fmla="*/ 11 w 200"/>
                  <a:gd name="T49" fmla="*/ 55 h 112"/>
                  <a:gd name="T50" fmla="*/ 15 w 200"/>
                  <a:gd name="T51" fmla="*/ 46 h 112"/>
                  <a:gd name="T52" fmla="*/ 17 w 200"/>
                  <a:gd name="T53" fmla="*/ 42 h 112"/>
                  <a:gd name="T54" fmla="*/ 21 w 200"/>
                  <a:gd name="T55" fmla="*/ 36 h 112"/>
                  <a:gd name="T56" fmla="*/ 21 w 200"/>
                  <a:gd name="T57" fmla="*/ 32 h 112"/>
                  <a:gd name="T58" fmla="*/ 21 w 200"/>
                  <a:gd name="T59" fmla="*/ 29 h 112"/>
                  <a:gd name="T60" fmla="*/ 23 w 200"/>
                  <a:gd name="T61" fmla="*/ 23 h 112"/>
                  <a:gd name="T62" fmla="*/ 30 w 200"/>
                  <a:gd name="T63" fmla="*/ 27 h 112"/>
                  <a:gd name="T64" fmla="*/ 42 w 200"/>
                  <a:gd name="T65" fmla="*/ 27 h 112"/>
                  <a:gd name="T66" fmla="*/ 71 w 200"/>
                  <a:gd name="T67" fmla="*/ 29 h 112"/>
                  <a:gd name="T68" fmla="*/ 90 w 200"/>
                  <a:gd name="T69" fmla="*/ 25 h 112"/>
                  <a:gd name="T70" fmla="*/ 166 w 200"/>
                  <a:gd name="T71" fmla="*/ 9 h 112"/>
                  <a:gd name="T72" fmla="*/ 185 w 200"/>
                  <a:gd name="T73" fmla="*/ 103 h 112"/>
                  <a:gd name="T74" fmla="*/ 194 w 200"/>
                  <a:gd name="T75" fmla="*/ 103 h 112"/>
                  <a:gd name="T76" fmla="*/ 198 w 200"/>
                  <a:gd name="T77" fmla="*/ 107 h 112"/>
                  <a:gd name="T78" fmla="*/ 191 w 200"/>
                  <a:gd name="T79" fmla="*/ 111 h 112"/>
                  <a:gd name="T80" fmla="*/ 185 w 200"/>
                  <a:gd name="T81" fmla="*/ 109 h 112"/>
                  <a:gd name="T82" fmla="*/ 183 w 200"/>
                  <a:gd name="T83" fmla="*/ 105 h 112"/>
                  <a:gd name="T84" fmla="*/ 164 w 200"/>
                  <a:gd name="T85" fmla="*/ 112 h 112"/>
                  <a:gd name="T86" fmla="*/ 9 w 200"/>
                  <a:gd name="T87" fmla="*/ 61 h 112"/>
                  <a:gd name="T88" fmla="*/ 13 w 200"/>
                  <a:gd name="T89" fmla="*/ 84 h 112"/>
                  <a:gd name="T90" fmla="*/ 13 w 200"/>
                  <a:gd name="T91" fmla="*/ 88 h 112"/>
                  <a:gd name="T92" fmla="*/ 175 w 200"/>
                  <a:gd name="T93" fmla="*/ 112 h 112"/>
                  <a:gd name="T94" fmla="*/ 8 w 200"/>
                  <a:gd name="T95" fmla="*/ 53 h 112"/>
                  <a:gd name="T96" fmla="*/ 6 w 200"/>
                  <a:gd name="T97" fmla="*/ 44 h 112"/>
                  <a:gd name="T98" fmla="*/ 25 w 200"/>
                  <a:gd name="T99" fmla="*/ 105 h 112"/>
                  <a:gd name="T100" fmla="*/ 13 w 200"/>
                  <a:gd name="T101" fmla="*/ 86 h 112"/>
                  <a:gd name="T102" fmla="*/ 4 w 200"/>
                  <a:gd name="T103" fmla="*/ 44 h 112"/>
                  <a:gd name="T104" fmla="*/ 8 w 200"/>
                  <a:gd name="T105" fmla="*/ 57 h 112"/>
                  <a:gd name="T106" fmla="*/ 15 w 200"/>
                  <a:gd name="T107" fmla="*/ 72 h 112"/>
                  <a:gd name="T108" fmla="*/ 2 w 200"/>
                  <a:gd name="T109" fmla="*/ 44 h 112"/>
                  <a:gd name="T110" fmla="*/ 9 w 200"/>
                  <a:gd name="T111" fmla="*/ 53 h 112"/>
                  <a:gd name="T112" fmla="*/ 8 w 200"/>
                  <a:gd name="T113" fmla="*/ 4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112">
                    <a:moveTo>
                      <a:pt x="177" y="38"/>
                    </a:moveTo>
                    <a:lnTo>
                      <a:pt x="175" y="40"/>
                    </a:lnTo>
                    <a:lnTo>
                      <a:pt x="168" y="42"/>
                    </a:lnTo>
                    <a:lnTo>
                      <a:pt x="166" y="44"/>
                    </a:lnTo>
                    <a:lnTo>
                      <a:pt x="164" y="46"/>
                    </a:lnTo>
                    <a:lnTo>
                      <a:pt x="164" y="48"/>
                    </a:lnTo>
                    <a:lnTo>
                      <a:pt x="162" y="50"/>
                    </a:lnTo>
                    <a:lnTo>
                      <a:pt x="164" y="51"/>
                    </a:lnTo>
                    <a:lnTo>
                      <a:pt x="164" y="53"/>
                    </a:lnTo>
                    <a:lnTo>
                      <a:pt x="164" y="55"/>
                    </a:lnTo>
                    <a:lnTo>
                      <a:pt x="158" y="57"/>
                    </a:lnTo>
                    <a:lnTo>
                      <a:pt x="158" y="59"/>
                    </a:lnTo>
                    <a:lnTo>
                      <a:pt x="154" y="59"/>
                    </a:lnTo>
                    <a:lnTo>
                      <a:pt x="154" y="61"/>
                    </a:lnTo>
                    <a:lnTo>
                      <a:pt x="153" y="61"/>
                    </a:lnTo>
                    <a:lnTo>
                      <a:pt x="151" y="63"/>
                    </a:lnTo>
                    <a:lnTo>
                      <a:pt x="149" y="63"/>
                    </a:lnTo>
                    <a:lnTo>
                      <a:pt x="147" y="63"/>
                    </a:lnTo>
                    <a:lnTo>
                      <a:pt x="135" y="65"/>
                    </a:lnTo>
                    <a:lnTo>
                      <a:pt x="135" y="67"/>
                    </a:lnTo>
                    <a:lnTo>
                      <a:pt x="133" y="67"/>
                    </a:lnTo>
                    <a:lnTo>
                      <a:pt x="132" y="69"/>
                    </a:lnTo>
                    <a:lnTo>
                      <a:pt x="130" y="69"/>
                    </a:lnTo>
                    <a:lnTo>
                      <a:pt x="128" y="69"/>
                    </a:lnTo>
                    <a:lnTo>
                      <a:pt x="126" y="69"/>
                    </a:lnTo>
                    <a:lnTo>
                      <a:pt x="122" y="70"/>
                    </a:lnTo>
                    <a:lnTo>
                      <a:pt x="120" y="70"/>
                    </a:lnTo>
                    <a:lnTo>
                      <a:pt x="118" y="72"/>
                    </a:lnTo>
                    <a:lnTo>
                      <a:pt x="116" y="74"/>
                    </a:lnTo>
                    <a:lnTo>
                      <a:pt x="114" y="74"/>
                    </a:lnTo>
                    <a:lnTo>
                      <a:pt x="112" y="76"/>
                    </a:lnTo>
                    <a:lnTo>
                      <a:pt x="112" y="78"/>
                    </a:lnTo>
                    <a:lnTo>
                      <a:pt x="111" y="78"/>
                    </a:lnTo>
                    <a:lnTo>
                      <a:pt x="111" y="80"/>
                    </a:lnTo>
                    <a:lnTo>
                      <a:pt x="109" y="82"/>
                    </a:lnTo>
                    <a:lnTo>
                      <a:pt x="105" y="82"/>
                    </a:lnTo>
                    <a:lnTo>
                      <a:pt x="103" y="82"/>
                    </a:lnTo>
                    <a:lnTo>
                      <a:pt x="101" y="82"/>
                    </a:lnTo>
                    <a:lnTo>
                      <a:pt x="99" y="84"/>
                    </a:lnTo>
                    <a:lnTo>
                      <a:pt x="99" y="82"/>
                    </a:lnTo>
                    <a:lnTo>
                      <a:pt x="97" y="82"/>
                    </a:lnTo>
                    <a:lnTo>
                      <a:pt x="93" y="84"/>
                    </a:lnTo>
                    <a:lnTo>
                      <a:pt x="91" y="84"/>
                    </a:lnTo>
                    <a:lnTo>
                      <a:pt x="90" y="86"/>
                    </a:lnTo>
                    <a:lnTo>
                      <a:pt x="88" y="88"/>
                    </a:lnTo>
                    <a:lnTo>
                      <a:pt x="80" y="90"/>
                    </a:lnTo>
                    <a:lnTo>
                      <a:pt x="78" y="91"/>
                    </a:lnTo>
                    <a:lnTo>
                      <a:pt x="76" y="91"/>
                    </a:lnTo>
                    <a:lnTo>
                      <a:pt x="74" y="91"/>
                    </a:lnTo>
                    <a:lnTo>
                      <a:pt x="72" y="91"/>
                    </a:lnTo>
                    <a:lnTo>
                      <a:pt x="69" y="91"/>
                    </a:lnTo>
                    <a:lnTo>
                      <a:pt x="67" y="91"/>
                    </a:lnTo>
                    <a:lnTo>
                      <a:pt x="65" y="91"/>
                    </a:lnTo>
                    <a:lnTo>
                      <a:pt x="59" y="93"/>
                    </a:lnTo>
                    <a:lnTo>
                      <a:pt x="57" y="95"/>
                    </a:lnTo>
                    <a:lnTo>
                      <a:pt x="55" y="97"/>
                    </a:lnTo>
                    <a:lnTo>
                      <a:pt x="53" y="99"/>
                    </a:lnTo>
                    <a:lnTo>
                      <a:pt x="51" y="99"/>
                    </a:lnTo>
                    <a:lnTo>
                      <a:pt x="50" y="101"/>
                    </a:lnTo>
                    <a:lnTo>
                      <a:pt x="50" y="103"/>
                    </a:lnTo>
                    <a:lnTo>
                      <a:pt x="50" y="101"/>
                    </a:lnTo>
                    <a:lnTo>
                      <a:pt x="50" y="103"/>
                    </a:lnTo>
                    <a:lnTo>
                      <a:pt x="50" y="101"/>
                    </a:lnTo>
                    <a:lnTo>
                      <a:pt x="50" y="103"/>
                    </a:lnTo>
                    <a:lnTo>
                      <a:pt x="50" y="101"/>
                    </a:lnTo>
                    <a:lnTo>
                      <a:pt x="48" y="101"/>
                    </a:lnTo>
                    <a:lnTo>
                      <a:pt x="48" y="103"/>
                    </a:lnTo>
                    <a:lnTo>
                      <a:pt x="46" y="103"/>
                    </a:lnTo>
                    <a:lnTo>
                      <a:pt x="44" y="103"/>
                    </a:lnTo>
                    <a:lnTo>
                      <a:pt x="42" y="101"/>
                    </a:lnTo>
                    <a:lnTo>
                      <a:pt x="42" y="103"/>
                    </a:lnTo>
                    <a:lnTo>
                      <a:pt x="40" y="105"/>
                    </a:lnTo>
                    <a:lnTo>
                      <a:pt x="38" y="105"/>
                    </a:lnTo>
                    <a:lnTo>
                      <a:pt x="36" y="105"/>
                    </a:lnTo>
                    <a:lnTo>
                      <a:pt x="34" y="105"/>
                    </a:lnTo>
                    <a:lnTo>
                      <a:pt x="32" y="105"/>
                    </a:lnTo>
                    <a:lnTo>
                      <a:pt x="27" y="103"/>
                    </a:lnTo>
                    <a:lnTo>
                      <a:pt x="27" y="105"/>
                    </a:lnTo>
                    <a:lnTo>
                      <a:pt x="25" y="105"/>
                    </a:lnTo>
                    <a:lnTo>
                      <a:pt x="25" y="103"/>
                    </a:lnTo>
                    <a:lnTo>
                      <a:pt x="25" y="101"/>
                    </a:lnTo>
                    <a:lnTo>
                      <a:pt x="25" y="99"/>
                    </a:lnTo>
                    <a:lnTo>
                      <a:pt x="23" y="99"/>
                    </a:lnTo>
                    <a:lnTo>
                      <a:pt x="21" y="95"/>
                    </a:lnTo>
                    <a:lnTo>
                      <a:pt x="21" y="93"/>
                    </a:lnTo>
                    <a:lnTo>
                      <a:pt x="21" y="90"/>
                    </a:lnTo>
                    <a:lnTo>
                      <a:pt x="23" y="90"/>
                    </a:lnTo>
                    <a:lnTo>
                      <a:pt x="23" y="88"/>
                    </a:lnTo>
                    <a:lnTo>
                      <a:pt x="21" y="86"/>
                    </a:lnTo>
                    <a:lnTo>
                      <a:pt x="21" y="84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17" y="76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7" y="70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5" y="69"/>
                    </a:lnTo>
                    <a:lnTo>
                      <a:pt x="17" y="69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3" y="61"/>
                    </a:lnTo>
                    <a:lnTo>
                      <a:pt x="11" y="61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3" y="61"/>
                    </a:lnTo>
                    <a:lnTo>
                      <a:pt x="13" y="63"/>
                    </a:lnTo>
                    <a:lnTo>
                      <a:pt x="15" y="61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1" y="55"/>
                    </a:lnTo>
                    <a:lnTo>
                      <a:pt x="13" y="53"/>
                    </a:lnTo>
                    <a:lnTo>
                      <a:pt x="15" y="51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5" y="44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19" y="34"/>
                    </a:lnTo>
                    <a:lnTo>
                      <a:pt x="21" y="34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23" y="23"/>
                    </a:lnTo>
                    <a:lnTo>
                      <a:pt x="23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9" y="27"/>
                    </a:lnTo>
                    <a:lnTo>
                      <a:pt x="30" y="27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6" y="27"/>
                    </a:lnTo>
                    <a:lnTo>
                      <a:pt x="40" y="25"/>
                    </a:lnTo>
                    <a:lnTo>
                      <a:pt x="42" y="27"/>
                    </a:lnTo>
                    <a:lnTo>
                      <a:pt x="44" y="25"/>
                    </a:lnTo>
                    <a:lnTo>
                      <a:pt x="53" y="25"/>
                    </a:lnTo>
                    <a:lnTo>
                      <a:pt x="55" y="27"/>
                    </a:lnTo>
                    <a:lnTo>
                      <a:pt x="67" y="29"/>
                    </a:lnTo>
                    <a:lnTo>
                      <a:pt x="71" y="29"/>
                    </a:lnTo>
                    <a:lnTo>
                      <a:pt x="76" y="29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8" y="30"/>
                    </a:lnTo>
                    <a:lnTo>
                      <a:pt x="90" y="25"/>
                    </a:lnTo>
                    <a:lnTo>
                      <a:pt x="99" y="13"/>
                    </a:lnTo>
                    <a:lnTo>
                      <a:pt x="114" y="6"/>
                    </a:lnTo>
                    <a:lnTo>
                      <a:pt x="141" y="4"/>
                    </a:lnTo>
                    <a:lnTo>
                      <a:pt x="160" y="0"/>
                    </a:lnTo>
                    <a:lnTo>
                      <a:pt x="166" y="9"/>
                    </a:lnTo>
                    <a:lnTo>
                      <a:pt x="173" y="27"/>
                    </a:lnTo>
                    <a:lnTo>
                      <a:pt x="172" y="29"/>
                    </a:lnTo>
                    <a:lnTo>
                      <a:pt x="173" y="29"/>
                    </a:lnTo>
                    <a:lnTo>
                      <a:pt x="177" y="38"/>
                    </a:lnTo>
                    <a:close/>
                    <a:moveTo>
                      <a:pt x="185" y="103"/>
                    </a:moveTo>
                    <a:lnTo>
                      <a:pt x="187" y="103"/>
                    </a:lnTo>
                    <a:lnTo>
                      <a:pt x="189" y="105"/>
                    </a:lnTo>
                    <a:lnTo>
                      <a:pt x="191" y="105"/>
                    </a:lnTo>
                    <a:lnTo>
                      <a:pt x="193" y="105"/>
                    </a:lnTo>
                    <a:lnTo>
                      <a:pt x="194" y="103"/>
                    </a:lnTo>
                    <a:lnTo>
                      <a:pt x="194" y="105"/>
                    </a:lnTo>
                    <a:lnTo>
                      <a:pt x="196" y="105"/>
                    </a:lnTo>
                    <a:lnTo>
                      <a:pt x="198" y="105"/>
                    </a:lnTo>
                    <a:lnTo>
                      <a:pt x="200" y="107"/>
                    </a:lnTo>
                    <a:lnTo>
                      <a:pt x="198" y="107"/>
                    </a:lnTo>
                    <a:lnTo>
                      <a:pt x="196" y="109"/>
                    </a:lnTo>
                    <a:lnTo>
                      <a:pt x="194" y="109"/>
                    </a:lnTo>
                    <a:lnTo>
                      <a:pt x="193" y="109"/>
                    </a:lnTo>
                    <a:lnTo>
                      <a:pt x="193" y="111"/>
                    </a:lnTo>
                    <a:lnTo>
                      <a:pt x="191" y="111"/>
                    </a:lnTo>
                    <a:lnTo>
                      <a:pt x="187" y="111"/>
                    </a:lnTo>
                    <a:lnTo>
                      <a:pt x="185" y="111"/>
                    </a:lnTo>
                    <a:lnTo>
                      <a:pt x="185" y="109"/>
                    </a:lnTo>
                    <a:lnTo>
                      <a:pt x="185" y="111"/>
                    </a:lnTo>
                    <a:lnTo>
                      <a:pt x="185" y="109"/>
                    </a:lnTo>
                    <a:lnTo>
                      <a:pt x="183" y="109"/>
                    </a:lnTo>
                    <a:lnTo>
                      <a:pt x="183" y="107"/>
                    </a:lnTo>
                    <a:lnTo>
                      <a:pt x="181" y="107"/>
                    </a:lnTo>
                    <a:lnTo>
                      <a:pt x="183" y="107"/>
                    </a:lnTo>
                    <a:lnTo>
                      <a:pt x="183" y="105"/>
                    </a:lnTo>
                    <a:lnTo>
                      <a:pt x="185" y="103"/>
                    </a:lnTo>
                    <a:close/>
                    <a:moveTo>
                      <a:pt x="162" y="111"/>
                    </a:moveTo>
                    <a:lnTo>
                      <a:pt x="164" y="112"/>
                    </a:lnTo>
                    <a:lnTo>
                      <a:pt x="166" y="112"/>
                    </a:lnTo>
                    <a:lnTo>
                      <a:pt x="164" y="112"/>
                    </a:lnTo>
                    <a:lnTo>
                      <a:pt x="162" y="112"/>
                    </a:lnTo>
                    <a:lnTo>
                      <a:pt x="162" y="111"/>
                    </a:lnTo>
                    <a:close/>
                    <a:moveTo>
                      <a:pt x="11" y="59"/>
                    </a:moveTo>
                    <a:lnTo>
                      <a:pt x="11" y="61"/>
                    </a:lnTo>
                    <a:lnTo>
                      <a:pt x="9" y="61"/>
                    </a:lnTo>
                    <a:lnTo>
                      <a:pt x="9" y="59"/>
                    </a:lnTo>
                    <a:lnTo>
                      <a:pt x="11" y="59"/>
                    </a:lnTo>
                    <a:close/>
                    <a:moveTo>
                      <a:pt x="11" y="82"/>
                    </a:moveTo>
                    <a:lnTo>
                      <a:pt x="13" y="82"/>
                    </a:lnTo>
                    <a:lnTo>
                      <a:pt x="13" y="84"/>
                    </a:lnTo>
                    <a:lnTo>
                      <a:pt x="11" y="84"/>
                    </a:lnTo>
                    <a:lnTo>
                      <a:pt x="11" y="82"/>
                    </a:lnTo>
                    <a:close/>
                    <a:moveTo>
                      <a:pt x="11" y="86"/>
                    </a:moveTo>
                    <a:lnTo>
                      <a:pt x="13" y="86"/>
                    </a:lnTo>
                    <a:lnTo>
                      <a:pt x="13" y="88"/>
                    </a:lnTo>
                    <a:lnTo>
                      <a:pt x="11" y="88"/>
                    </a:lnTo>
                    <a:lnTo>
                      <a:pt x="11" y="86"/>
                    </a:lnTo>
                    <a:close/>
                    <a:moveTo>
                      <a:pt x="175" y="112"/>
                    </a:moveTo>
                    <a:lnTo>
                      <a:pt x="177" y="112"/>
                    </a:lnTo>
                    <a:lnTo>
                      <a:pt x="175" y="112"/>
                    </a:lnTo>
                    <a:close/>
                    <a:moveTo>
                      <a:pt x="8" y="53"/>
                    </a:moveTo>
                    <a:lnTo>
                      <a:pt x="9" y="53"/>
                    </a:lnTo>
                    <a:lnTo>
                      <a:pt x="9" y="55"/>
                    </a:lnTo>
                    <a:lnTo>
                      <a:pt x="8" y="55"/>
                    </a:lnTo>
                    <a:lnTo>
                      <a:pt x="8" y="53"/>
                    </a:lnTo>
                    <a:close/>
                    <a:moveTo>
                      <a:pt x="6" y="44"/>
                    </a:moveTo>
                    <a:lnTo>
                      <a:pt x="8" y="44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close/>
                    <a:moveTo>
                      <a:pt x="9" y="44"/>
                    </a:moveTo>
                    <a:lnTo>
                      <a:pt x="9" y="46"/>
                    </a:lnTo>
                    <a:lnTo>
                      <a:pt x="9" y="44"/>
                    </a:lnTo>
                    <a:close/>
                    <a:moveTo>
                      <a:pt x="23" y="105"/>
                    </a:moveTo>
                    <a:lnTo>
                      <a:pt x="25" y="105"/>
                    </a:lnTo>
                    <a:lnTo>
                      <a:pt x="23" y="105"/>
                    </a:lnTo>
                    <a:close/>
                    <a:moveTo>
                      <a:pt x="13" y="84"/>
                    </a:moveTo>
                    <a:lnTo>
                      <a:pt x="15" y="84"/>
                    </a:lnTo>
                    <a:lnTo>
                      <a:pt x="15" y="86"/>
                    </a:lnTo>
                    <a:lnTo>
                      <a:pt x="13" y="86"/>
                    </a:lnTo>
                    <a:lnTo>
                      <a:pt x="13" y="84"/>
                    </a:lnTo>
                    <a:close/>
                    <a:moveTo>
                      <a:pt x="6" y="53"/>
                    </a:moveTo>
                    <a:lnTo>
                      <a:pt x="6" y="55"/>
                    </a:lnTo>
                    <a:lnTo>
                      <a:pt x="6" y="53"/>
                    </a:lnTo>
                    <a:close/>
                    <a:moveTo>
                      <a:pt x="4" y="44"/>
                    </a:moveTo>
                    <a:lnTo>
                      <a:pt x="6" y="44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4"/>
                    </a:lnTo>
                    <a:close/>
                    <a:moveTo>
                      <a:pt x="8" y="57"/>
                    </a:moveTo>
                    <a:lnTo>
                      <a:pt x="8" y="59"/>
                    </a:lnTo>
                    <a:lnTo>
                      <a:pt x="8" y="57"/>
                    </a:lnTo>
                    <a:close/>
                    <a:moveTo>
                      <a:pt x="15" y="72"/>
                    </a:moveTo>
                    <a:lnTo>
                      <a:pt x="17" y="72"/>
                    </a:lnTo>
                    <a:lnTo>
                      <a:pt x="15" y="72"/>
                    </a:lnTo>
                    <a:close/>
                    <a:moveTo>
                      <a:pt x="13" y="88"/>
                    </a:moveTo>
                    <a:lnTo>
                      <a:pt x="13" y="90"/>
                    </a:lnTo>
                    <a:lnTo>
                      <a:pt x="13" y="88"/>
                    </a:lnTo>
                    <a:close/>
                    <a:moveTo>
                      <a:pt x="0" y="44"/>
                    </a:moveTo>
                    <a:lnTo>
                      <a:pt x="2" y="44"/>
                    </a:lnTo>
                    <a:lnTo>
                      <a:pt x="0" y="44"/>
                    </a:lnTo>
                    <a:close/>
                    <a:moveTo>
                      <a:pt x="13" y="42"/>
                    </a:moveTo>
                    <a:lnTo>
                      <a:pt x="13" y="44"/>
                    </a:lnTo>
                    <a:lnTo>
                      <a:pt x="13" y="42"/>
                    </a:lnTo>
                    <a:close/>
                    <a:moveTo>
                      <a:pt x="9" y="53"/>
                    </a:moveTo>
                    <a:lnTo>
                      <a:pt x="11" y="53"/>
                    </a:lnTo>
                    <a:lnTo>
                      <a:pt x="11" y="55"/>
                    </a:lnTo>
                    <a:lnTo>
                      <a:pt x="9" y="55"/>
                    </a:lnTo>
                    <a:lnTo>
                      <a:pt x="9" y="53"/>
                    </a:lnTo>
                    <a:close/>
                    <a:moveTo>
                      <a:pt x="8" y="44"/>
                    </a:moveTo>
                    <a:lnTo>
                      <a:pt x="9" y="44"/>
                    </a:lnTo>
                    <a:lnTo>
                      <a:pt x="8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1" name="Freeform 117">
                <a:extLst>
                  <a:ext uri="{FF2B5EF4-FFF2-40B4-BE49-F238E27FC236}">
                    <a16:creationId xmlns:a16="http://schemas.microsoft.com/office/drawing/2014/main" id="{0E7C6922-78DB-01C5-1738-D684E9DBC1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87774" y="-2921601"/>
                <a:ext cx="168588" cy="153119"/>
              </a:xfrm>
              <a:custGeom>
                <a:avLst/>
                <a:gdLst>
                  <a:gd name="T0" fmla="*/ 101 w 107"/>
                  <a:gd name="T1" fmla="*/ 11 h 97"/>
                  <a:gd name="T2" fmla="*/ 91 w 107"/>
                  <a:gd name="T3" fmla="*/ 17 h 97"/>
                  <a:gd name="T4" fmla="*/ 89 w 107"/>
                  <a:gd name="T5" fmla="*/ 29 h 97"/>
                  <a:gd name="T6" fmla="*/ 89 w 107"/>
                  <a:gd name="T7" fmla="*/ 38 h 97"/>
                  <a:gd name="T8" fmla="*/ 88 w 107"/>
                  <a:gd name="T9" fmla="*/ 50 h 97"/>
                  <a:gd name="T10" fmla="*/ 78 w 107"/>
                  <a:gd name="T11" fmla="*/ 59 h 97"/>
                  <a:gd name="T12" fmla="*/ 59 w 107"/>
                  <a:gd name="T13" fmla="*/ 72 h 97"/>
                  <a:gd name="T14" fmla="*/ 19 w 107"/>
                  <a:gd name="T15" fmla="*/ 97 h 97"/>
                  <a:gd name="T16" fmla="*/ 11 w 107"/>
                  <a:gd name="T17" fmla="*/ 97 h 97"/>
                  <a:gd name="T18" fmla="*/ 6 w 107"/>
                  <a:gd name="T19" fmla="*/ 92 h 97"/>
                  <a:gd name="T20" fmla="*/ 2 w 107"/>
                  <a:gd name="T21" fmla="*/ 90 h 97"/>
                  <a:gd name="T22" fmla="*/ 4 w 107"/>
                  <a:gd name="T23" fmla="*/ 84 h 97"/>
                  <a:gd name="T24" fmla="*/ 2 w 107"/>
                  <a:gd name="T25" fmla="*/ 78 h 97"/>
                  <a:gd name="T26" fmla="*/ 4 w 107"/>
                  <a:gd name="T27" fmla="*/ 74 h 97"/>
                  <a:gd name="T28" fmla="*/ 4 w 107"/>
                  <a:gd name="T29" fmla="*/ 72 h 97"/>
                  <a:gd name="T30" fmla="*/ 6 w 107"/>
                  <a:gd name="T31" fmla="*/ 69 h 97"/>
                  <a:gd name="T32" fmla="*/ 11 w 107"/>
                  <a:gd name="T33" fmla="*/ 69 h 97"/>
                  <a:gd name="T34" fmla="*/ 13 w 107"/>
                  <a:gd name="T35" fmla="*/ 65 h 97"/>
                  <a:gd name="T36" fmla="*/ 15 w 107"/>
                  <a:gd name="T37" fmla="*/ 61 h 97"/>
                  <a:gd name="T38" fmla="*/ 13 w 107"/>
                  <a:gd name="T39" fmla="*/ 57 h 97"/>
                  <a:gd name="T40" fmla="*/ 13 w 107"/>
                  <a:gd name="T41" fmla="*/ 53 h 97"/>
                  <a:gd name="T42" fmla="*/ 9 w 107"/>
                  <a:gd name="T43" fmla="*/ 52 h 97"/>
                  <a:gd name="T44" fmla="*/ 6 w 107"/>
                  <a:gd name="T45" fmla="*/ 53 h 97"/>
                  <a:gd name="T46" fmla="*/ 4 w 107"/>
                  <a:gd name="T47" fmla="*/ 48 h 97"/>
                  <a:gd name="T48" fmla="*/ 4 w 107"/>
                  <a:gd name="T49" fmla="*/ 42 h 97"/>
                  <a:gd name="T50" fmla="*/ 2 w 107"/>
                  <a:gd name="T51" fmla="*/ 36 h 97"/>
                  <a:gd name="T52" fmla="*/ 2 w 107"/>
                  <a:gd name="T53" fmla="*/ 34 h 97"/>
                  <a:gd name="T54" fmla="*/ 2 w 107"/>
                  <a:gd name="T55" fmla="*/ 31 h 97"/>
                  <a:gd name="T56" fmla="*/ 7 w 107"/>
                  <a:gd name="T57" fmla="*/ 29 h 97"/>
                  <a:gd name="T58" fmla="*/ 9 w 107"/>
                  <a:gd name="T59" fmla="*/ 27 h 97"/>
                  <a:gd name="T60" fmla="*/ 11 w 107"/>
                  <a:gd name="T61" fmla="*/ 23 h 97"/>
                  <a:gd name="T62" fmla="*/ 15 w 107"/>
                  <a:gd name="T63" fmla="*/ 23 h 97"/>
                  <a:gd name="T64" fmla="*/ 17 w 107"/>
                  <a:gd name="T65" fmla="*/ 21 h 97"/>
                  <a:gd name="T66" fmla="*/ 15 w 107"/>
                  <a:gd name="T67" fmla="*/ 21 h 97"/>
                  <a:gd name="T68" fmla="*/ 13 w 107"/>
                  <a:gd name="T69" fmla="*/ 17 h 97"/>
                  <a:gd name="T70" fmla="*/ 15 w 107"/>
                  <a:gd name="T71" fmla="*/ 11 h 97"/>
                  <a:gd name="T72" fmla="*/ 17 w 107"/>
                  <a:gd name="T73" fmla="*/ 11 h 97"/>
                  <a:gd name="T74" fmla="*/ 21 w 107"/>
                  <a:gd name="T75" fmla="*/ 13 h 97"/>
                  <a:gd name="T76" fmla="*/ 28 w 107"/>
                  <a:gd name="T77" fmla="*/ 13 h 97"/>
                  <a:gd name="T78" fmla="*/ 36 w 107"/>
                  <a:gd name="T79" fmla="*/ 10 h 97"/>
                  <a:gd name="T80" fmla="*/ 42 w 107"/>
                  <a:gd name="T81" fmla="*/ 10 h 97"/>
                  <a:gd name="T82" fmla="*/ 49 w 107"/>
                  <a:gd name="T83" fmla="*/ 13 h 97"/>
                  <a:gd name="T84" fmla="*/ 61 w 107"/>
                  <a:gd name="T85" fmla="*/ 13 h 97"/>
                  <a:gd name="T86" fmla="*/ 68 w 107"/>
                  <a:gd name="T87" fmla="*/ 10 h 97"/>
                  <a:gd name="T88" fmla="*/ 72 w 107"/>
                  <a:gd name="T89" fmla="*/ 8 h 97"/>
                  <a:gd name="T90" fmla="*/ 78 w 107"/>
                  <a:gd name="T91" fmla="*/ 6 h 97"/>
                  <a:gd name="T92" fmla="*/ 82 w 107"/>
                  <a:gd name="T93" fmla="*/ 4 h 97"/>
                  <a:gd name="T94" fmla="*/ 89 w 107"/>
                  <a:gd name="T95" fmla="*/ 6 h 97"/>
                  <a:gd name="T96" fmla="*/ 97 w 107"/>
                  <a:gd name="T97" fmla="*/ 4 h 97"/>
                  <a:gd name="T98" fmla="*/ 105 w 107"/>
                  <a:gd name="T99" fmla="*/ 0 h 97"/>
                  <a:gd name="T100" fmla="*/ 107 w 107"/>
                  <a:gd name="T101" fmla="*/ 2 h 97"/>
                  <a:gd name="T102" fmla="*/ 107 w 107"/>
                  <a:gd name="T103" fmla="*/ 6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7" h="97">
                    <a:moveTo>
                      <a:pt x="107" y="6"/>
                    </a:moveTo>
                    <a:lnTo>
                      <a:pt x="105" y="8"/>
                    </a:lnTo>
                    <a:lnTo>
                      <a:pt x="101" y="11"/>
                    </a:lnTo>
                    <a:lnTo>
                      <a:pt x="101" y="13"/>
                    </a:lnTo>
                    <a:lnTo>
                      <a:pt x="97" y="15"/>
                    </a:lnTo>
                    <a:lnTo>
                      <a:pt x="91" y="17"/>
                    </a:lnTo>
                    <a:lnTo>
                      <a:pt x="89" y="19"/>
                    </a:lnTo>
                    <a:lnTo>
                      <a:pt x="89" y="25"/>
                    </a:lnTo>
                    <a:lnTo>
                      <a:pt x="89" y="29"/>
                    </a:lnTo>
                    <a:lnTo>
                      <a:pt x="91" y="34"/>
                    </a:lnTo>
                    <a:lnTo>
                      <a:pt x="89" y="36"/>
                    </a:lnTo>
                    <a:lnTo>
                      <a:pt x="89" y="38"/>
                    </a:lnTo>
                    <a:lnTo>
                      <a:pt x="88" y="42"/>
                    </a:lnTo>
                    <a:lnTo>
                      <a:pt x="88" y="44"/>
                    </a:lnTo>
                    <a:lnTo>
                      <a:pt x="88" y="50"/>
                    </a:lnTo>
                    <a:lnTo>
                      <a:pt x="86" y="53"/>
                    </a:lnTo>
                    <a:lnTo>
                      <a:pt x="84" y="57"/>
                    </a:lnTo>
                    <a:lnTo>
                      <a:pt x="78" y="59"/>
                    </a:lnTo>
                    <a:lnTo>
                      <a:pt x="72" y="63"/>
                    </a:lnTo>
                    <a:lnTo>
                      <a:pt x="68" y="67"/>
                    </a:lnTo>
                    <a:lnTo>
                      <a:pt x="59" y="72"/>
                    </a:lnTo>
                    <a:lnTo>
                      <a:pt x="49" y="78"/>
                    </a:lnTo>
                    <a:lnTo>
                      <a:pt x="21" y="95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5" y="97"/>
                    </a:lnTo>
                    <a:lnTo>
                      <a:pt x="11" y="97"/>
                    </a:lnTo>
                    <a:lnTo>
                      <a:pt x="7" y="93"/>
                    </a:lnTo>
                    <a:lnTo>
                      <a:pt x="6" y="93"/>
                    </a:lnTo>
                    <a:lnTo>
                      <a:pt x="6" y="92"/>
                    </a:lnTo>
                    <a:lnTo>
                      <a:pt x="4" y="92"/>
                    </a:lnTo>
                    <a:lnTo>
                      <a:pt x="4" y="90"/>
                    </a:lnTo>
                    <a:lnTo>
                      <a:pt x="2" y="90"/>
                    </a:lnTo>
                    <a:lnTo>
                      <a:pt x="2" y="88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2" y="82"/>
                    </a:lnTo>
                    <a:lnTo>
                      <a:pt x="2" y="80"/>
                    </a:lnTo>
                    <a:lnTo>
                      <a:pt x="2" y="78"/>
                    </a:lnTo>
                    <a:lnTo>
                      <a:pt x="2" y="76"/>
                    </a:lnTo>
                    <a:lnTo>
                      <a:pt x="4" y="76"/>
                    </a:lnTo>
                    <a:lnTo>
                      <a:pt x="4" y="74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6" y="71"/>
                    </a:lnTo>
                    <a:lnTo>
                      <a:pt x="6" y="69"/>
                    </a:lnTo>
                    <a:lnTo>
                      <a:pt x="7" y="69"/>
                    </a:lnTo>
                    <a:lnTo>
                      <a:pt x="9" y="69"/>
                    </a:lnTo>
                    <a:lnTo>
                      <a:pt x="11" y="69"/>
                    </a:lnTo>
                    <a:lnTo>
                      <a:pt x="9" y="67"/>
                    </a:lnTo>
                    <a:lnTo>
                      <a:pt x="11" y="65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5" y="59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13" y="53"/>
                    </a:lnTo>
                    <a:lnTo>
                      <a:pt x="11" y="53"/>
                    </a:lnTo>
                    <a:lnTo>
                      <a:pt x="11" y="52"/>
                    </a:lnTo>
                    <a:lnTo>
                      <a:pt x="9" y="52"/>
                    </a:lnTo>
                    <a:lnTo>
                      <a:pt x="9" y="53"/>
                    </a:lnTo>
                    <a:lnTo>
                      <a:pt x="7" y="53"/>
                    </a:lnTo>
                    <a:lnTo>
                      <a:pt x="6" y="53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9" y="27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5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3" y="19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11"/>
                    </a:lnTo>
                    <a:lnTo>
                      <a:pt x="19" y="11"/>
                    </a:lnTo>
                    <a:lnTo>
                      <a:pt x="21" y="11"/>
                    </a:lnTo>
                    <a:lnTo>
                      <a:pt x="21" y="13"/>
                    </a:lnTo>
                    <a:lnTo>
                      <a:pt x="23" y="13"/>
                    </a:lnTo>
                    <a:lnTo>
                      <a:pt x="25" y="13"/>
                    </a:lnTo>
                    <a:lnTo>
                      <a:pt x="28" y="13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40" y="8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6" y="10"/>
                    </a:lnTo>
                    <a:lnTo>
                      <a:pt x="49" y="13"/>
                    </a:lnTo>
                    <a:lnTo>
                      <a:pt x="53" y="13"/>
                    </a:lnTo>
                    <a:lnTo>
                      <a:pt x="57" y="13"/>
                    </a:lnTo>
                    <a:lnTo>
                      <a:pt x="61" y="13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8" y="10"/>
                    </a:lnTo>
                    <a:lnTo>
                      <a:pt x="70" y="10"/>
                    </a:lnTo>
                    <a:lnTo>
                      <a:pt x="72" y="10"/>
                    </a:lnTo>
                    <a:lnTo>
                      <a:pt x="72" y="8"/>
                    </a:lnTo>
                    <a:lnTo>
                      <a:pt x="74" y="8"/>
                    </a:lnTo>
                    <a:lnTo>
                      <a:pt x="76" y="6"/>
                    </a:lnTo>
                    <a:lnTo>
                      <a:pt x="78" y="6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93" y="6"/>
                    </a:lnTo>
                    <a:lnTo>
                      <a:pt x="95" y="4"/>
                    </a:lnTo>
                    <a:lnTo>
                      <a:pt x="97" y="4"/>
                    </a:lnTo>
                    <a:lnTo>
                      <a:pt x="101" y="4"/>
                    </a:lnTo>
                    <a:lnTo>
                      <a:pt x="103" y="2"/>
                    </a:lnTo>
                    <a:lnTo>
                      <a:pt x="105" y="0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7" y="2"/>
                    </a:lnTo>
                    <a:lnTo>
                      <a:pt x="105" y="4"/>
                    </a:lnTo>
                    <a:lnTo>
                      <a:pt x="107" y="4"/>
                    </a:lnTo>
                    <a:lnTo>
                      <a:pt x="107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2" name="Freeform 120">
                <a:extLst>
                  <a:ext uri="{FF2B5EF4-FFF2-40B4-BE49-F238E27FC236}">
                    <a16:creationId xmlns:a16="http://schemas.microsoft.com/office/drawing/2014/main" id="{EA379B18-205F-A63C-B6B2-8BEDDCEFDA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68868" y="-2798476"/>
                <a:ext cx="108716" cy="121547"/>
              </a:xfrm>
              <a:custGeom>
                <a:avLst/>
                <a:gdLst>
                  <a:gd name="T0" fmla="*/ 65 w 69"/>
                  <a:gd name="T1" fmla="*/ 25 h 77"/>
                  <a:gd name="T2" fmla="*/ 46 w 69"/>
                  <a:gd name="T3" fmla="*/ 31 h 77"/>
                  <a:gd name="T4" fmla="*/ 38 w 69"/>
                  <a:gd name="T5" fmla="*/ 33 h 77"/>
                  <a:gd name="T6" fmla="*/ 48 w 69"/>
                  <a:gd name="T7" fmla="*/ 54 h 77"/>
                  <a:gd name="T8" fmla="*/ 40 w 69"/>
                  <a:gd name="T9" fmla="*/ 63 h 77"/>
                  <a:gd name="T10" fmla="*/ 29 w 69"/>
                  <a:gd name="T11" fmla="*/ 67 h 77"/>
                  <a:gd name="T12" fmla="*/ 25 w 69"/>
                  <a:gd name="T13" fmla="*/ 71 h 77"/>
                  <a:gd name="T14" fmla="*/ 18 w 69"/>
                  <a:gd name="T15" fmla="*/ 77 h 77"/>
                  <a:gd name="T16" fmla="*/ 0 w 69"/>
                  <a:gd name="T17" fmla="*/ 73 h 77"/>
                  <a:gd name="T18" fmla="*/ 2 w 69"/>
                  <a:gd name="T19" fmla="*/ 69 h 77"/>
                  <a:gd name="T20" fmla="*/ 2 w 69"/>
                  <a:gd name="T21" fmla="*/ 65 h 77"/>
                  <a:gd name="T22" fmla="*/ 4 w 69"/>
                  <a:gd name="T23" fmla="*/ 59 h 77"/>
                  <a:gd name="T24" fmla="*/ 4 w 69"/>
                  <a:gd name="T25" fmla="*/ 56 h 77"/>
                  <a:gd name="T26" fmla="*/ 4 w 69"/>
                  <a:gd name="T27" fmla="*/ 52 h 77"/>
                  <a:gd name="T28" fmla="*/ 6 w 69"/>
                  <a:gd name="T29" fmla="*/ 48 h 77"/>
                  <a:gd name="T30" fmla="*/ 8 w 69"/>
                  <a:gd name="T31" fmla="*/ 46 h 77"/>
                  <a:gd name="T32" fmla="*/ 8 w 69"/>
                  <a:gd name="T33" fmla="*/ 42 h 77"/>
                  <a:gd name="T34" fmla="*/ 8 w 69"/>
                  <a:gd name="T35" fmla="*/ 38 h 77"/>
                  <a:gd name="T36" fmla="*/ 8 w 69"/>
                  <a:gd name="T37" fmla="*/ 35 h 77"/>
                  <a:gd name="T38" fmla="*/ 10 w 69"/>
                  <a:gd name="T39" fmla="*/ 31 h 77"/>
                  <a:gd name="T40" fmla="*/ 10 w 69"/>
                  <a:gd name="T41" fmla="*/ 27 h 77"/>
                  <a:gd name="T42" fmla="*/ 10 w 69"/>
                  <a:gd name="T43" fmla="*/ 23 h 77"/>
                  <a:gd name="T44" fmla="*/ 10 w 69"/>
                  <a:gd name="T45" fmla="*/ 17 h 77"/>
                  <a:gd name="T46" fmla="*/ 10 w 69"/>
                  <a:gd name="T47" fmla="*/ 14 h 77"/>
                  <a:gd name="T48" fmla="*/ 12 w 69"/>
                  <a:gd name="T49" fmla="*/ 12 h 77"/>
                  <a:gd name="T50" fmla="*/ 16 w 69"/>
                  <a:gd name="T51" fmla="*/ 12 h 77"/>
                  <a:gd name="T52" fmla="*/ 18 w 69"/>
                  <a:gd name="T53" fmla="*/ 14 h 77"/>
                  <a:gd name="T54" fmla="*/ 19 w 69"/>
                  <a:gd name="T55" fmla="*/ 15 h 77"/>
                  <a:gd name="T56" fmla="*/ 27 w 69"/>
                  <a:gd name="T57" fmla="*/ 19 h 77"/>
                  <a:gd name="T58" fmla="*/ 31 w 69"/>
                  <a:gd name="T59" fmla="*/ 19 h 77"/>
                  <a:gd name="T60" fmla="*/ 61 w 69"/>
                  <a:gd name="T61" fmla="*/ 0 h 77"/>
                  <a:gd name="T62" fmla="*/ 65 w 69"/>
                  <a:gd name="T63" fmla="*/ 17 h 77"/>
                  <a:gd name="T64" fmla="*/ 69 w 69"/>
                  <a:gd name="T65" fmla="*/ 19 h 77"/>
                  <a:gd name="T66" fmla="*/ 67 w 69"/>
                  <a:gd name="T67" fmla="*/ 2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9" h="77">
                    <a:moveTo>
                      <a:pt x="67" y="23"/>
                    </a:moveTo>
                    <a:lnTo>
                      <a:pt x="65" y="25"/>
                    </a:lnTo>
                    <a:lnTo>
                      <a:pt x="50" y="29"/>
                    </a:lnTo>
                    <a:lnTo>
                      <a:pt x="46" y="31"/>
                    </a:lnTo>
                    <a:lnTo>
                      <a:pt x="40" y="33"/>
                    </a:lnTo>
                    <a:lnTo>
                      <a:pt x="38" y="33"/>
                    </a:lnTo>
                    <a:lnTo>
                      <a:pt x="33" y="35"/>
                    </a:lnTo>
                    <a:lnTo>
                      <a:pt x="48" y="54"/>
                    </a:lnTo>
                    <a:lnTo>
                      <a:pt x="44" y="56"/>
                    </a:lnTo>
                    <a:lnTo>
                      <a:pt x="40" y="63"/>
                    </a:lnTo>
                    <a:lnTo>
                      <a:pt x="29" y="65"/>
                    </a:lnTo>
                    <a:lnTo>
                      <a:pt x="29" y="67"/>
                    </a:lnTo>
                    <a:lnTo>
                      <a:pt x="27" y="67"/>
                    </a:lnTo>
                    <a:lnTo>
                      <a:pt x="25" y="71"/>
                    </a:lnTo>
                    <a:lnTo>
                      <a:pt x="23" y="73"/>
                    </a:lnTo>
                    <a:lnTo>
                      <a:pt x="18" y="77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71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5"/>
                    </a:lnTo>
                    <a:lnTo>
                      <a:pt x="8" y="33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0" y="21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18" y="15"/>
                    </a:lnTo>
                    <a:lnTo>
                      <a:pt x="19" y="15"/>
                    </a:lnTo>
                    <a:lnTo>
                      <a:pt x="23" y="19"/>
                    </a:lnTo>
                    <a:lnTo>
                      <a:pt x="27" y="19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7"/>
                    </a:lnTo>
                    <a:lnTo>
                      <a:pt x="61" y="0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5" y="19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67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3" name="Freeform 228">
                <a:extLst>
                  <a:ext uri="{FF2B5EF4-FFF2-40B4-BE49-F238E27FC236}">
                    <a16:creationId xmlns:a16="http://schemas.microsoft.com/office/drawing/2014/main" id="{FC555BB9-838D-1EA4-55A2-CFA0EF336F9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64977" y="-2921602"/>
                <a:ext cx="247366" cy="249410"/>
              </a:xfrm>
              <a:custGeom>
                <a:avLst/>
                <a:gdLst>
                  <a:gd name="T0" fmla="*/ 98 w 157"/>
                  <a:gd name="T1" fmla="*/ 8 h 158"/>
                  <a:gd name="T2" fmla="*/ 100 w 157"/>
                  <a:gd name="T3" fmla="*/ 11 h 158"/>
                  <a:gd name="T4" fmla="*/ 100 w 157"/>
                  <a:gd name="T5" fmla="*/ 19 h 158"/>
                  <a:gd name="T6" fmla="*/ 103 w 157"/>
                  <a:gd name="T7" fmla="*/ 23 h 158"/>
                  <a:gd name="T8" fmla="*/ 105 w 157"/>
                  <a:gd name="T9" fmla="*/ 27 h 158"/>
                  <a:gd name="T10" fmla="*/ 113 w 157"/>
                  <a:gd name="T11" fmla="*/ 31 h 158"/>
                  <a:gd name="T12" fmla="*/ 119 w 157"/>
                  <a:gd name="T13" fmla="*/ 31 h 158"/>
                  <a:gd name="T14" fmla="*/ 115 w 157"/>
                  <a:gd name="T15" fmla="*/ 32 h 158"/>
                  <a:gd name="T16" fmla="*/ 117 w 157"/>
                  <a:gd name="T17" fmla="*/ 40 h 158"/>
                  <a:gd name="T18" fmla="*/ 119 w 157"/>
                  <a:gd name="T19" fmla="*/ 44 h 158"/>
                  <a:gd name="T20" fmla="*/ 113 w 157"/>
                  <a:gd name="T21" fmla="*/ 44 h 158"/>
                  <a:gd name="T22" fmla="*/ 111 w 157"/>
                  <a:gd name="T23" fmla="*/ 48 h 158"/>
                  <a:gd name="T24" fmla="*/ 111 w 157"/>
                  <a:gd name="T25" fmla="*/ 52 h 158"/>
                  <a:gd name="T26" fmla="*/ 107 w 157"/>
                  <a:gd name="T27" fmla="*/ 53 h 158"/>
                  <a:gd name="T28" fmla="*/ 107 w 157"/>
                  <a:gd name="T29" fmla="*/ 59 h 158"/>
                  <a:gd name="T30" fmla="*/ 109 w 157"/>
                  <a:gd name="T31" fmla="*/ 63 h 158"/>
                  <a:gd name="T32" fmla="*/ 109 w 157"/>
                  <a:gd name="T33" fmla="*/ 69 h 158"/>
                  <a:gd name="T34" fmla="*/ 115 w 157"/>
                  <a:gd name="T35" fmla="*/ 74 h 158"/>
                  <a:gd name="T36" fmla="*/ 115 w 157"/>
                  <a:gd name="T37" fmla="*/ 76 h 158"/>
                  <a:gd name="T38" fmla="*/ 117 w 157"/>
                  <a:gd name="T39" fmla="*/ 82 h 158"/>
                  <a:gd name="T40" fmla="*/ 117 w 157"/>
                  <a:gd name="T41" fmla="*/ 86 h 158"/>
                  <a:gd name="T42" fmla="*/ 126 w 157"/>
                  <a:gd name="T43" fmla="*/ 88 h 158"/>
                  <a:gd name="T44" fmla="*/ 136 w 157"/>
                  <a:gd name="T45" fmla="*/ 93 h 158"/>
                  <a:gd name="T46" fmla="*/ 140 w 157"/>
                  <a:gd name="T47" fmla="*/ 97 h 158"/>
                  <a:gd name="T48" fmla="*/ 141 w 157"/>
                  <a:gd name="T49" fmla="*/ 103 h 158"/>
                  <a:gd name="T50" fmla="*/ 141 w 157"/>
                  <a:gd name="T51" fmla="*/ 114 h 158"/>
                  <a:gd name="T52" fmla="*/ 147 w 157"/>
                  <a:gd name="T53" fmla="*/ 132 h 158"/>
                  <a:gd name="T54" fmla="*/ 151 w 157"/>
                  <a:gd name="T55" fmla="*/ 135 h 158"/>
                  <a:gd name="T56" fmla="*/ 157 w 157"/>
                  <a:gd name="T57" fmla="*/ 141 h 158"/>
                  <a:gd name="T58" fmla="*/ 147 w 157"/>
                  <a:gd name="T59" fmla="*/ 139 h 158"/>
                  <a:gd name="T60" fmla="*/ 141 w 157"/>
                  <a:gd name="T61" fmla="*/ 139 h 158"/>
                  <a:gd name="T62" fmla="*/ 130 w 157"/>
                  <a:gd name="T63" fmla="*/ 147 h 158"/>
                  <a:gd name="T64" fmla="*/ 124 w 157"/>
                  <a:gd name="T65" fmla="*/ 156 h 158"/>
                  <a:gd name="T66" fmla="*/ 94 w 157"/>
                  <a:gd name="T67" fmla="*/ 155 h 158"/>
                  <a:gd name="T68" fmla="*/ 52 w 157"/>
                  <a:gd name="T69" fmla="*/ 120 h 158"/>
                  <a:gd name="T70" fmla="*/ 8 w 157"/>
                  <a:gd name="T71" fmla="*/ 99 h 158"/>
                  <a:gd name="T72" fmla="*/ 4 w 157"/>
                  <a:gd name="T73" fmla="*/ 93 h 158"/>
                  <a:gd name="T74" fmla="*/ 23 w 157"/>
                  <a:gd name="T75" fmla="*/ 63 h 158"/>
                  <a:gd name="T76" fmla="*/ 39 w 157"/>
                  <a:gd name="T77" fmla="*/ 50 h 158"/>
                  <a:gd name="T78" fmla="*/ 40 w 157"/>
                  <a:gd name="T79" fmla="*/ 36 h 158"/>
                  <a:gd name="T80" fmla="*/ 40 w 157"/>
                  <a:gd name="T81" fmla="*/ 19 h 158"/>
                  <a:gd name="T82" fmla="*/ 52 w 157"/>
                  <a:gd name="T83" fmla="*/ 11 h 158"/>
                  <a:gd name="T84" fmla="*/ 59 w 157"/>
                  <a:gd name="T85" fmla="*/ 4 h 158"/>
                  <a:gd name="T86" fmla="*/ 63 w 157"/>
                  <a:gd name="T87" fmla="*/ 0 h 158"/>
                  <a:gd name="T88" fmla="*/ 71 w 157"/>
                  <a:gd name="T89" fmla="*/ 0 h 158"/>
                  <a:gd name="T90" fmla="*/ 79 w 157"/>
                  <a:gd name="T91" fmla="*/ 2 h 158"/>
                  <a:gd name="T92" fmla="*/ 82 w 157"/>
                  <a:gd name="T93" fmla="*/ 2 h 158"/>
                  <a:gd name="T94" fmla="*/ 86 w 157"/>
                  <a:gd name="T95" fmla="*/ 2 h 158"/>
                  <a:gd name="T96" fmla="*/ 86 w 157"/>
                  <a:gd name="T97" fmla="*/ 6 h 158"/>
                  <a:gd name="T98" fmla="*/ 88 w 157"/>
                  <a:gd name="T99" fmla="*/ 6 h 158"/>
                  <a:gd name="T100" fmla="*/ 145 w 157"/>
                  <a:gd name="T101" fmla="*/ 139 h 158"/>
                  <a:gd name="T102" fmla="*/ 145 w 157"/>
                  <a:gd name="T103" fmla="*/ 139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7" h="158">
                    <a:moveTo>
                      <a:pt x="96" y="4"/>
                    </a:moveTo>
                    <a:lnTo>
                      <a:pt x="96" y="6"/>
                    </a:lnTo>
                    <a:lnTo>
                      <a:pt x="98" y="6"/>
                    </a:lnTo>
                    <a:lnTo>
                      <a:pt x="98" y="8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8" y="11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0" y="15"/>
                    </a:lnTo>
                    <a:lnTo>
                      <a:pt x="100" y="17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3" y="19"/>
                    </a:lnTo>
                    <a:lnTo>
                      <a:pt x="103" y="21"/>
                    </a:lnTo>
                    <a:lnTo>
                      <a:pt x="103" y="23"/>
                    </a:lnTo>
                    <a:lnTo>
                      <a:pt x="105" y="23"/>
                    </a:lnTo>
                    <a:lnTo>
                      <a:pt x="103" y="23"/>
                    </a:lnTo>
                    <a:lnTo>
                      <a:pt x="105" y="25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9" y="29"/>
                    </a:lnTo>
                    <a:lnTo>
                      <a:pt x="111" y="31"/>
                    </a:lnTo>
                    <a:lnTo>
                      <a:pt x="113" y="31"/>
                    </a:lnTo>
                    <a:lnTo>
                      <a:pt x="115" y="31"/>
                    </a:lnTo>
                    <a:lnTo>
                      <a:pt x="117" y="29"/>
                    </a:lnTo>
                    <a:lnTo>
                      <a:pt x="117" y="31"/>
                    </a:lnTo>
                    <a:lnTo>
                      <a:pt x="119" y="31"/>
                    </a:lnTo>
                    <a:lnTo>
                      <a:pt x="121" y="31"/>
                    </a:lnTo>
                    <a:lnTo>
                      <a:pt x="119" y="32"/>
                    </a:lnTo>
                    <a:lnTo>
                      <a:pt x="117" y="32"/>
                    </a:lnTo>
                    <a:lnTo>
                      <a:pt x="115" y="32"/>
                    </a:lnTo>
                    <a:lnTo>
                      <a:pt x="115" y="34"/>
                    </a:lnTo>
                    <a:lnTo>
                      <a:pt x="115" y="36"/>
                    </a:lnTo>
                    <a:lnTo>
                      <a:pt x="117" y="38"/>
                    </a:lnTo>
                    <a:lnTo>
                      <a:pt x="117" y="40"/>
                    </a:lnTo>
                    <a:lnTo>
                      <a:pt x="117" y="42"/>
                    </a:lnTo>
                    <a:lnTo>
                      <a:pt x="119" y="42"/>
                    </a:lnTo>
                    <a:lnTo>
                      <a:pt x="117" y="44"/>
                    </a:lnTo>
                    <a:lnTo>
                      <a:pt x="119" y="44"/>
                    </a:lnTo>
                    <a:lnTo>
                      <a:pt x="117" y="44"/>
                    </a:lnTo>
                    <a:lnTo>
                      <a:pt x="117" y="46"/>
                    </a:lnTo>
                    <a:lnTo>
                      <a:pt x="115" y="46"/>
                    </a:lnTo>
                    <a:lnTo>
                      <a:pt x="113" y="44"/>
                    </a:lnTo>
                    <a:lnTo>
                      <a:pt x="115" y="46"/>
                    </a:lnTo>
                    <a:lnTo>
                      <a:pt x="113" y="46"/>
                    </a:lnTo>
                    <a:lnTo>
                      <a:pt x="113" y="48"/>
                    </a:lnTo>
                    <a:lnTo>
                      <a:pt x="111" y="48"/>
                    </a:lnTo>
                    <a:lnTo>
                      <a:pt x="111" y="50"/>
                    </a:lnTo>
                    <a:lnTo>
                      <a:pt x="111" y="52"/>
                    </a:lnTo>
                    <a:lnTo>
                      <a:pt x="109" y="52"/>
                    </a:lnTo>
                    <a:lnTo>
                      <a:pt x="111" y="52"/>
                    </a:lnTo>
                    <a:lnTo>
                      <a:pt x="111" y="53"/>
                    </a:lnTo>
                    <a:lnTo>
                      <a:pt x="111" y="55"/>
                    </a:lnTo>
                    <a:lnTo>
                      <a:pt x="109" y="55"/>
                    </a:lnTo>
                    <a:lnTo>
                      <a:pt x="107" y="53"/>
                    </a:lnTo>
                    <a:lnTo>
                      <a:pt x="107" y="55"/>
                    </a:lnTo>
                    <a:lnTo>
                      <a:pt x="107" y="57"/>
                    </a:lnTo>
                    <a:lnTo>
                      <a:pt x="105" y="57"/>
                    </a:lnTo>
                    <a:lnTo>
                      <a:pt x="107" y="59"/>
                    </a:lnTo>
                    <a:lnTo>
                      <a:pt x="109" y="59"/>
                    </a:lnTo>
                    <a:lnTo>
                      <a:pt x="109" y="61"/>
                    </a:lnTo>
                    <a:lnTo>
                      <a:pt x="107" y="61"/>
                    </a:lnTo>
                    <a:lnTo>
                      <a:pt x="109" y="63"/>
                    </a:lnTo>
                    <a:lnTo>
                      <a:pt x="107" y="65"/>
                    </a:lnTo>
                    <a:lnTo>
                      <a:pt x="105" y="67"/>
                    </a:lnTo>
                    <a:lnTo>
                      <a:pt x="107" y="67"/>
                    </a:lnTo>
                    <a:lnTo>
                      <a:pt x="109" y="69"/>
                    </a:lnTo>
                    <a:lnTo>
                      <a:pt x="109" y="71"/>
                    </a:lnTo>
                    <a:lnTo>
                      <a:pt x="111" y="72"/>
                    </a:lnTo>
                    <a:lnTo>
                      <a:pt x="113" y="72"/>
                    </a:lnTo>
                    <a:lnTo>
                      <a:pt x="115" y="74"/>
                    </a:lnTo>
                    <a:lnTo>
                      <a:pt x="113" y="74"/>
                    </a:lnTo>
                    <a:lnTo>
                      <a:pt x="115" y="76"/>
                    </a:lnTo>
                    <a:lnTo>
                      <a:pt x="115" y="74"/>
                    </a:lnTo>
                    <a:lnTo>
                      <a:pt x="115" y="76"/>
                    </a:lnTo>
                    <a:lnTo>
                      <a:pt x="117" y="76"/>
                    </a:lnTo>
                    <a:lnTo>
                      <a:pt x="117" y="78"/>
                    </a:lnTo>
                    <a:lnTo>
                      <a:pt x="119" y="80"/>
                    </a:lnTo>
                    <a:lnTo>
                      <a:pt x="117" y="82"/>
                    </a:lnTo>
                    <a:lnTo>
                      <a:pt x="115" y="82"/>
                    </a:lnTo>
                    <a:lnTo>
                      <a:pt x="119" y="84"/>
                    </a:lnTo>
                    <a:lnTo>
                      <a:pt x="117" y="84"/>
                    </a:lnTo>
                    <a:lnTo>
                      <a:pt x="117" y="86"/>
                    </a:lnTo>
                    <a:lnTo>
                      <a:pt x="119" y="86"/>
                    </a:lnTo>
                    <a:lnTo>
                      <a:pt x="122" y="86"/>
                    </a:lnTo>
                    <a:lnTo>
                      <a:pt x="124" y="88"/>
                    </a:lnTo>
                    <a:lnTo>
                      <a:pt x="126" y="88"/>
                    </a:lnTo>
                    <a:lnTo>
                      <a:pt x="130" y="92"/>
                    </a:lnTo>
                    <a:lnTo>
                      <a:pt x="134" y="95"/>
                    </a:lnTo>
                    <a:lnTo>
                      <a:pt x="136" y="95"/>
                    </a:lnTo>
                    <a:lnTo>
                      <a:pt x="136" y="93"/>
                    </a:lnTo>
                    <a:lnTo>
                      <a:pt x="136" y="95"/>
                    </a:lnTo>
                    <a:lnTo>
                      <a:pt x="138" y="95"/>
                    </a:lnTo>
                    <a:lnTo>
                      <a:pt x="138" y="97"/>
                    </a:lnTo>
                    <a:lnTo>
                      <a:pt x="140" y="97"/>
                    </a:lnTo>
                    <a:lnTo>
                      <a:pt x="140" y="99"/>
                    </a:lnTo>
                    <a:lnTo>
                      <a:pt x="140" y="101"/>
                    </a:lnTo>
                    <a:lnTo>
                      <a:pt x="141" y="101"/>
                    </a:lnTo>
                    <a:lnTo>
                      <a:pt x="141" y="103"/>
                    </a:lnTo>
                    <a:lnTo>
                      <a:pt x="143" y="105"/>
                    </a:lnTo>
                    <a:lnTo>
                      <a:pt x="143" y="107"/>
                    </a:lnTo>
                    <a:lnTo>
                      <a:pt x="145" y="107"/>
                    </a:lnTo>
                    <a:lnTo>
                      <a:pt x="141" y="114"/>
                    </a:lnTo>
                    <a:lnTo>
                      <a:pt x="141" y="120"/>
                    </a:lnTo>
                    <a:lnTo>
                      <a:pt x="141" y="122"/>
                    </a:lnTo>
                    <a:lnTo>
                      <a:pt x="147" y="122"/>
                    </a:lnTo>
                    <a:lnTo>
                      <a:pt x="147" y="132"/>
                    </a:lnTo>
                    <a:lnTo>
                      <a:pt x="149" y="134"/>
                    </a:lnTo>
                    <a:lnTo>
                      <a:pt x="151" y="135"/>
                    </a:lnTo>
                    <a:lnTo>
                      <a:pt x="151" y="134"/>
                    </a:lnTo>
                    <a:lnTo>
                      <a:pt x="151" y="135"/>
                    </a:lnTo>
                    <a:lnTo>
                      <a:pt x="153" y="137"/>
                    </a:lnTo>
                    <a:lnTo>
                      <a:pt x="155" y="139"/>
                    </a:lnTo>
                    <a:lnTo>
                      <a:pt x="155" y="141"/>
                    </a:lnTo>
                    <a:lnTo>
                      <a:pt x="157" y="141"/>
                    </a:lnTo>
                    <a:lnTo>
                      <a:pt x="157" y="143"/>
                    </a:lnTo>
                    <a:lnTo>
                      <a:pt x="153" y="143"/>
                    </a:lnTo>
                    <a:lnTo>
                      <a:pt x="151" y="139"/>
                    </a:lnTo>
                    <a:lnTo>
                      <a:pt x="147" y="139"/>
                    </a:lnTo>
                    <a:lnTo>
                      <a:pt x="147" y="141"/>
                    </a:lnTo>
                    <a:lnTo>
                      <a:pt x="145" y="139"/>
                    </a:lnTo>
                    <a:lnTo>
                      <a:pt x="145" y="141"/>
                    </a:lnTo>
                    <a:lnTo>
                      <a:pt x="141" y="139"/>
                    </a:lnTo>
                    <a:lnTo>
                      <a:pt x="138" y="139"/>
                    </a:lnTo>
                    <a:lnTo>
                      <a:pt x="134" y="141"/>
                    </a:lnTo>
                    <a:lnTo>
                      <a:pt x="132" y="145"/>
                    </a:lnTo>
                    <a:lnTo>
                      <a:pt x="130" y="147"/>
                    </a:lnTo>
                    <a:lnTo>
                      <a:pt x="130" y="149"/>
                    </a:lnTo>
                    <a:lnTo>
                      <a:pt x="128" y="151"/>
                    </a:lnTo>
                    <a:lnTo>
                      <a:pt x="126" y="155"/>
                    </a:lnTo>
                    <a:lnTo>
                      <a:pt x="124" y="156"/>
                    </a:lnTo>
                    <a:lnTo>
                      <a:pt x="122" y="158"/>
                    </a:lnTo>
                    <a:lnTo>
                      <a:pt x="98" y="156"/>
                    </a:lnTo>
                    <a:lnTo>
                      <a:pt x="96" y="156"/>
                    </a:lnTo>
                    <a:lnTo>
                      <a:pt x="94" y="155"/>
                    </a:lnTo>
                    <a:lnTo>
                      <a:pt x="71" y="135"/>
                    </a:lnTo>
                    <a:lnTo>
                      <a:pt x="59" y="126"/>
                    </a:lnTo>
                    <a:lnTo>
                      <a:pt x="56" y="122"/>
                    </a:lnTo>
                    <a:lnTo>
                      <a:pt x="52" y="120"/>
                    </a:lnTo>
                    <a:lnTo>
                      <a:pt x="42" y="114"/>
                    </a:lnTo>
                    <a:lnTo>
                      <a:pt x="27" y="105"/>
                    </a:lnTo>
                    <a:lnTo>
                      <a:pt x="6" y="101"/>
                    </a:lnTo>
                    <a:lnTo>
                      <a:pt x="8" y="99"/>
                    </a:lnTo>
                    <a:lnTo>
                      <a:pt x="8" y="97"/>
                    </a:lnTo>
                    <a:lnTo>
                      <a:pt x="4" y="97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0" y="78"/>
                    </a:lnTo>
                    <a:lnTo>
                      <a:pt x="10" y="72"/>
                    </a:lnTo>
                    <a:lnTo>
                      <a:pt x="19" y="67"/>
                    </a:lnTo>
                    <a:lnTo>
                      <a:pt x="23" y="63"/>
                    </a:lnTo>
                    <a:lnTo>
                      <a:pt x="29" y="59"/>
                    </a:lnTo>
                    <a:lnTo>
                      <a:pt x="35" y="57"/>
                    </a:lnTo>
                    <a:lnTo>
                      <a:pt x="37" y="53"/>
                    </a:lnTo>
                    <a:lnTo>
                      <a:pt x="39" y="50"/>
                    </a:lnTo>
                    <a:lnTo>
                      <a:pt x="39" y="44"/>
                    </a:lnTo>
                    <a:lnTo>
                      <a:pt x="39" y="42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2" y="34"/>
                    </a:lnTo>
                    <a:lnTo>
                      <a:pt x="40" y="29"/>
                    </a:lnTo>
                    <a:lnTo>
                      <a:pt x="40" y="25"/>
                    </a:lnTo>
                    <a:lnTo>
                      <a:pt x="40" y="19"/>
                    </a:lnTo>
                    <a:lnTo>
                      <a:pt x="42" y="17"/>
                    </a:lnTo>
                    <a:lnTo>
                      <a:pt x="48" y="15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6" y="8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79" y="2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0" y="2"/>
                    </a:lnTo>
                    <a:lnTo>
                      <a:pt x="82" y="2"/>
                    </a:lnTo>
                    <a:lnTo>
                      <a:pt x="82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2"/>
                    </a:lnTo>
                    <a:lnTo>
                      <a:pt x="88" y="2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8" y="8"/>
                    </a:lnTo>
                    <a:lnTo>
                      <a:pt x="90" y="6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4" y="4"/>
                    </a:lnTo>
                    <a:lnTo>
                      <a:pt x="96" y="4"/>
                    </a:lnTo>
                    <a:close/>
                    <a:moveTo>
                      <a:pt x="145" y="139"/>
                    </a:moveTo>
                    <a:lnTo>
                      <a:pt x="147" y="139"/>
                    </a:lnTo>
                    <a:lnTo>
                      <a:pt x="147" y="141"/>
                    </a:lnTo>
                    <a:lnTo>
                      <a:pt x="145" y="141"/>
                    </a:lnTo>
                    <a:lnTo>
                      <a:pt x="145" y="13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4" name="Freeform 249">
                <a:extLst>
                  <a:ext uri="{FF2B5EF4-FFF2-40B4-BE49-F238E27FC236}">
                    <a16:creationId xmlns:a16="http://schemas.microsoft.com/office/drawing/2014/main" id="{81A48828-D01E-14A4-AADB-09464D74D7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90783" y="-3448836"/>
                <a:ext cx="808274" cy="388321"/>
              </a:xfrm>
              <a:custGeom>
                <a:avLst/>
                <a:gdLst>
                  <a:gd name="T0" fmla="*/ 454 w 513"/>
                  <a:gd name="T1" fmla="*/ 105 h 246"/>
                  <a:gd name="T2" fmla="*/ 481 w 513"/>
                  <a:gd name="T3" fmla="*/ 103 h 246"/>
                  <a:gd name="T4" fmla="*/ 500 w 513"/>
                  <a:gd name="T5" fmla="*/ 113 h 246"/>
                  <a:gd name="T6" fmla="*/ 511 w 513"/>
                  <a:gd name="T7" fmla="*/ 128 h 246"/>
                  <a:gd name="T8" fmla="*/ 508 w 513"/>
                  <a:gd name="T9" fmla="*/ 134 h 246"/>
                  <a:gd name="T10" fmla="*/ 494 w 513"/>
                  <a:gd name="T11" fmla="*/ 134 h 246"/>
                  <a:gd name="T12" fmla="*/ 481 w 513"/>
                  <a:gd name="T13" fmla="*/ 136 h 246"/>
                  <a:gd name="T14" fmla="*/ 464 w 513"/>
                  <a:gd name="T15" fmla="*/ 141 h 246"/>
                  <a:gd name="T16" fmla="*/ 450 w 513"/>
                  <a:gd name="T17" fmla="*/ 157 h 246"/>
                  <a:gd name="T18" fmla="*/ 424 w 513"/>
                  <a:gd name="T19" fmla="*/ 170 h 246"/>
                  <a:gd name="T20" fmla="*/ 397 w 513"/>
                  <a:gd name="T21" fmla="*/ 174 h 246"/>
                  <a:gd name="T22" fmla="*/ 378 w 513"/>
                  <a:gd name="T23" fmla="*/ 187 h 246"/>
                  <a:gd name="T24" fmla="*/ 376 w 513"/>
                  <a:gd name="T25" fmla="*/ 206 h 246"/>
                  <a:gd name="T26" fmla="*/ 349 w 513"/>
                  <a:gd name="T27" fmla="*/ 225 h 246"/>
                  <a:gd name="T28" fmla="*/ 317 w 513"/>
                  <a:gd name="T29" fmla="*/ 229 h 246"/>
                  <a:gd name="T30" fmla="*/ 271 w 513"/>
                  <a:gd name="T31" fmla="*/ 244 h 246"/>
                  <a:gd name="T32" fmla="*/ 224 w 513"/>
                  <a:gd name="T33" fmla="*/ 227 h 246"/>
                  <a:gd name="T34" fmla="*/ 138 w 513"/>
                  <a:gd name="T35" fmla="*/ 221 h 246"/>
                  <a:gd name="T36" fmla="*/ 122 w 513"/>
                  <a:gd name="T37" fmla="*/ 187 h 246"/>
                  <a:gd name="T38" fmla="*/ 96 w 513"/>
                  <a:gd name="T39" fmla="*/ 176 h 246"/>
                  <a:gd name="T40" fmla="*/ 80 w 513"/>
                  <a:gd name="T41" fmla="*/ 170 h 246"/>
                  <a:gd name="T42" fmla="*/ 58 w 513"/>
                  <a:gd name="T43" fmla="*/ 170 h 246"/>
                  <a:gd name="T44" fmla="*/ 48 w 513"/>
                  <a:gd name="T45" fmla="*/ 155 h 246"/>
                  <a:gd name="T46" fmla="*/ 48 w 513"/>
                  <a:gd name="T47" fmla="*/ 126 h 246"/>
                  <a:gd name="T48" fmla="*/ 39 w 513"/>
                  <a:gd name="T49" fmla="*/ 109 h 246"/>
                  <a:gd name="T50" fmla="*/ 29 w 513"/>
                  <a:gd name="T51" fmla="*/ 101 h 246"/>
                  <a:gd name="T52" fmla="*/ 14 w 513"/>
                  <a:gd name="T53" fmla="*/ 97 h 246"/>
                  <a:gd name="T54" fmla="*/ 6 w 513"/>
                  <a:gd name="T55" fmla="*/ 86 h 246"/>
                  <a:gd name="T56" fmla="*/ 2 w 513"/>
                  <a:gd name="T57" fmla="*/ 76 h 246"/>
                  <a:gd name="T58" fmla="*/ 14 w 513"/>
                  <a:gd name="T59" fmla="*/ 67 h 246"/>
                  <a:gd name="T60" fmla="*/ 23 w 513"/>
                  <a:gd name="T61" fmla="*/ 63 h 246"/>
                  <a:gd name="T62" fmla="*/ 31 w 513"/>
                  <a:gd name="T63" fmla="*/ 55 h 246"/>
                  <a:gd name="T64" fmla="*/ 44 w 513"/>
                  <a:gd name="T65" fmla="*/ 48 h 246"/>
                  <a:gd name="T66" fmla="*/ 60 w 513"/>
                  <a:gd name="T67" fmla="*/ 42 h 246"/>
                  <a:gd name="T68" fmla="*/ 75 w 513"/>
                  <a:gd name="T69" fmla="*/ 33 h 246"/>
                  <a:gd name="T70" fmla="*/ 86 w 513"/>
                  <a:gd name="T71" fmla="*/ 38 h 246"/>
                  <a:gd name="T72" fmla="*/ 105 w 513"/>
                  <a:gd name="T73" fmla="*/ 42 h 246"/>
                  <a:gd name="T74" fmla="*/ 124 w 513"/>
                  <a:gd name="T75" fmla="*/ 57 h 246"/>
                  <a:gd name="T76" fmla="*/ 140 w 513"/>
                  <a:gd name="T77" fmla="*/ 57 h 246"/>
                  <a:gd name="T78" fmla="*/ 153 w 513"/>
                  <a:gd name="T79" fmla="*/ 59 h 246"/>
                  <a:gd name="T80" fmla="*/ 164 w 513"/>
                  <a:gd name="T81" fmla="*/ 54 h 246"/>
                  <a:gd name="T82" fmla="*/ 168 w 513"/>
                  <a:gd name="T83" fmla="*/ 42 h 246"/>
                  <a:gd name="T84" fmla="*/ 162 w 513"/>
                  <a:gd name="T85" fmla="*/ 27 h 246"/>
                  <a:gd name="T86" fmla="*/ 170 w 513"/>
                  <a:gd name="T87" fmla="*/ 12 h 246"/>
                  <a:gd name="T88" fmla="*/ 180 w 513"/>
                  <a:gd name="T89" fmla="*/ 0 h 246"/>
                  <a:gd name="T90" fmla="*/ 187 w 513"/>
                  <a:gd name="T91" fmla="*/ 6 h 246"/>
                  <a:gd name="T92" fmla="*/ 206 w 513"/>
                  <a:gd name="T93" fmla="*/ 10 h 246"/>
                  <a:gd name="T94" fmla="*/ 220 w 513"/>
                  <a:gd name="T95" fmla="*/ 17 h 246"/>
                  <a:gd name="T96" fmla="*/ 229 w 513"/>
                  <a:gd name="T97" fmla="*/ 23 h 246"/>
                  <a:gd name="T98" fmla="*/ 233 w 513"/>
                  <a:gd name="T99" fmla="*/ 36 h 246"/>
                  <a:gd name="T100" fmla="*/ 248 w 513"/>
                  <a:gd name="T101" fmla="*/ 50 h 246"/>
                  <a:gd name="T102" fmla="*/ 264 w 513"/>
                  <a:gd name="T103" fmla="*/ 48 h 246"/>
                  <a:gd name="T104" fmla="*/ 277 w 513"/>
                  <a:gd name="T105" fmla="*/ 44 h 246"/>
                  <a:gd name="T106" fmla="*/ 292 w 513"/>
                  <a:gd name="T107" fmla="*/ 46 h 246"/>
                  <a:gd name="T108" fmla="*/ 313 w 513"/>
                  <a:gd name="T109" fmla="*/ 55 h 246"/>
                  <a:gd name="T110" fmla="*/ 323 w 513"/>
                  <a:gd name="T111" fmla="*/ 59 h 246"/>
                  <a:gd name="T112" fmla="*/ 328 w 513"/>
                  <a:gd name="T113" fmla="*/ 69 h 246"/>
                  <a:gd name="T114" fmla="*/ 347 w 513"/>
                  <a:gd name="T115" fmla="*/ 73 h 246"/>
                  <a:gd name="T116" fmla="*/ 380 w 513"/>
                  <a:gd name="T117" fmla="*/ 71 h 246"/>
                  <a:gd name="T118" fmla="*/ 399 w 513"/>
                  <a:gd name="T119" fmla="*/ 65 h 246"/>
                  <a:gd name="T120" fmla="*/ 424 w 513"/>
                  <a:gd name="T121" fmla="*/ 48 h 246"/>
                  <a:gd name="T122" fmla="*/ 447 w 513"/>
                  <a:gd name="T123" fmla="*/ 5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3" h="246">
                    <a:moveTo>
                      <a:pt x="462" y="57"/>
                    </a:moveTo>
                    <a:lnTo>
                      <a:pt x="450" y="82"/>
                    </a:lnTo>
                    <a:lnTo>
                      <a:pt x="452" y="82"/>
                    </a:lnTo>
                    <a:lnTo>
                      <a:pt x="447" y="90"/>
                    </a:lnTo>
                    <a:lnTo>
                      <a:pt x="447" y="95"/>
                    </a:lnTo>
                    <a:lnTo>
                      <a:pt x="443" y="99"/>
                    </a:lnTo>
                    <a:lnTo>
                      <a:pt x="443" y="105"/>
                    </a:lnTo>
                    <a:lnTo>
                      <a:pt x="449" y="111"/>
                    </a:lnTo>
                    <a:lnTo>
                      <a:pt x="452" y="107"/>
                    </a:lnTo>
                    <a:lnTo>
                      <a:pt x="454" y="105"/>
                    </a:lnTo>
                    <a:lnTo>
                      <a:pt x="458" y="107"/>
                    </a:lnTo>
                    <a:lnTo>
                      <a:pt x="462" y="105"/>
                    </a:lnTo>
                    <a:lnTo>
                      <a:pt x="464" y="105"/>
                    </a:lnTo>
                    <a:lnTo>
                      <a:pt x="468" y="107"/>
                    </a:lnTo>
                    <a:lnTo>
                      <a:pt x="471" y="111"/>
                    </a:lnTo>
                    <a:lnTo>
                      <a:pt x="473" y="109"/>
                    </a:lnTo>
                    <a:lnTo>
                      <a:pt x="475" y="109"/>
                    </a:lnTo>
                    <a:lnTo>
                      <a:pt x="479" y="101"/>
                    </a:lnTo>
                    <a:lnTo>
                      <a:pt x="481" y="101"/>
                    </a:lnTo>
                    <a:lnTo>
                      <a:pt x="481" y="103"/>
                    </a:lnTo>
                    <a:lnTo>
                      <a:pt x="483" y="103"/>
                    </a:lnTo>
                    <a:lnTo>
                      <a:pt x="485" y="101"/>
                    </a:lnTo>
                    <a:lnTo>
                      <a:pt x="487" y="101"/>
                    </a:lnTo>
                    <a:lnTo>
                      <a:pt x="487" y="103"/>
                    </a:lnTo>
                    <a:lnTo>
                      <a:pt x="489" y="101"/>
                    </a:lnTo>
                    <a:lnTo>
                      <a:pt x="489" y="103"/>
                    </a:lnTo>
                    <a:lnTo>
                      <a:pt x="490" y="103"/>
                    </a:lnTo>
                    <a:lnTo>
                      <a:pt x="494" y="107"/>
                    </a:lnTo>
                    <a:lnTo>
                      <a:pt x="500" y="111"/>
                    </a:lnTo>
                    <a:lnTo>
                      <a:pt x="500" y="113"/>
                    </a:lnTo>
                    <a:lnTo>
                      <a:pt x="504" y="115"/>
                    </a:lnTo>
                    <a:lnTo>
                      <a:pt x="504" y="116"/>
                    </a:lnTo>
                    <a:lnTo>
                      <a:pt x="506" y="116"/>
                    </a:lnTo>
                    <a:lnTo>
                      <a:pt x="506" y="118"/>
                    </a:lnTo>
                    <a:lnTo>
                      <a:pt x="508" y="118"/>
                    </a:lnTo>
                    <a:lnTo>
                      <a:pt x="508" y="120"/>
                    </a:lnTo>
                    <a:lnTo>
                      <a:pt x="510" y="122"/>
                    </a:lnTo>
                    <a:lnTo>
                      <a:pt x="511" y="124"/>
                    </a:lnTo>
                    <a:lnTo>
                      <a:pt x="511" y="126"/>
                    </a:lnTo>
                    <a:lnTo>
                      <a:pt x="511" y="128"/>
                    </a:lnTo>
                    <a:lnTo>
                      <a:pt x="513" y="128"/>
                    </a:lnTo>
                    <a:lnTo>
                      <a:pt x="511" y="130"/>
                    </a:lnTo>
                    <a:lnTo>
                      <a:pt x="513" y="130"/>
                    </a:lnTo>
                    <a:lnTo>
                      <a:pt x="513" y="132"/>
                    </a:lnTo>
                    <a:lnTo>
                      <a:pt x="511" y="132"/>
                    </a:lnTo>
                    <a:lnTo>
                      <a:pt x="513" y="132"/>
                    </a:lnTo>
                    <a:lnTo>
                      <a:pt x="511" y="134"/>
                    </a:lnTo>
                    <a:lnTo>
                      <a:pt x="510" y="136"/>
                    </a:lnTo>
                    <a:lnTo>
                      <a:pt x="508" y="136"/>
                    </a:lnTo>
                    <a:lnTo>
                      <a:pt x="508" y="134"/>
                    </a:lnTo>
                    <a:lnTo>
                      <a:pt x="506" y="136"/>
                    </a:lnTo>
                    <a:lnTo>
                      <a:pt x="506" y="134"/>
                    </a:lnTo>
                    <a:lnTo>
                      <a:pt x="504" y="136"/>
                    </a:lnTo>
                    <a:lnTo>
                      <a:pt x="502" y="136"/>
                    </a:lnTo>
                    <a:lnTo>
                      <a:pt x="502" y="134"/>
                    </a:lnTo>
                    <a:lnTo>
                      <a:pt x="500" y="134"/>
                    </a:lnTo>
                    <a:lnTo>
                      <a:pt x="498" y="132"/>
                    </a:lnTo>
                    <a:lnTo>
                      <a:pt x="496" y="132"/>
                    </a:lnTo>
                    <a:lnTo>
                      <a:pt x="494" y="132"/>
                    </a:lnTo>
                    <a:lnTo>
                      <a:pt x="494" y="134"/>
                    </a:lnTo>
                    <a:lnTo>
                      <a:pt x="492" y="134"/>
                    </a:lnTo>
                    <a:lnTo>
                      <a:pt x="492" y="132"/>
                    </a:lnTo>
                    <a:lnTo>
                      <a:pt x="490" y="134"/>
                    </a:lnTo>
                    <a:lnTo>
                      <a:pt x="489" y="134"/>
                    </a:lnTo>
                    <a:lnTo>
                      <a:pt x="489" y="132"/>
                    </a:lnTo>
                    <a:lnTo>
                      <a:pt x="487" y="132"/>
                    </a:lnTo>
                    <a:lnTo>
                      <a:pt x="487" y="134"/>
                    </a:lnTo>
                    <a:lnTo>
                      <a:pt x="485" y="134"/>
                    </a:lnTo>
                    <a:lnTo>
                      <a:pt x="483" y="136"/>
                    </a:lnTo>
                    <a:lnTo>
                      <a:pt x="481" y="136"/>
                    </a:lnTo>
                    <a:lnTo>
                      <a:pt x="479" y="136"/>
                    </a:lnTo>
                    <a:lnTo>
                      <a:pt x="479" y="137"/>
                    </a:lnTo>
                    <a:lnTo>
                      <a:pt x="477" y="137"/>
                    </a:lnTo>
                    <a:lnTo>
                      <a:pt x="477" y="136"/>
                    </a:lnTo>
                    <a:lnTo>
                      <a:pt x="475" y="136"/>
                    </a:lnTo>
                    <a:lnTo>
                      <a:pt x="473" y="136"/>
                    </a:lnTo>
                    <a:lnTo>
                      <a:pt x="473" y="137"/>
                    </a:lnTo>
                    <a:lnTo>
                      <a:pt x="471" y="141"/>
                    </a:lnTo>
                    <a:lnTo>
                      <a:pt x="468" y="141"/>
                    </a:lnTo>
                    <a:lnTo>
                      <a:pt x="464" y="141"/>
                    </a:lnTo>
                    <a:lnTo>
                      <a:pt x="462" y="141"/>
                    </a:lnTo>
                    <a:lnTo>
                      <a:pt x="460" y="141"/>
                    </a:lnTo>
                    <a:lnTo>
                      <a:pt x="460" y="143"/>
                    </a:lnTo>
                    <a:lnTo>
                      <a:pt x="458" y="145"/>
                    </a:lnTo>
                    <a:lnTo>
                      <a:pt x="456" y="147"/>
                    </a:lnTo>
                    <a:lnTo>
                      <a:pt x="454" y="151"/>
                    </a:lnTo>
                    <a:lnTo>
                      <a:pt x="454" y="153"/>
                    </a:lnTo>
                    <a:lnTo>
                      <a:pt x="454" y="155"/>
                    </a:lnTo>
                    <a:lnTo>
                      <a:pt x="452" y="157"/>
                    </a:lnTo>
                    <a:lnTo>
                      <a:pt x="450" y="157"/>
                    </a:lnTo>
                    <a:lnTo>
                      <a:pt x="449" y="158"/>
                    </a:lnTo>
                    <a:lnTo>
                      <a:pt x="445" y="162"/>
                    </a:lnTo>
                    <a:lnTo>
                      <a:pt x="441" y="162"/>
                    </a:lnTo>
                    <a:lnTo>
                      <a:pt x="437" y="162"/>
                    </a:lnTo>
                    <a:lnTo>
                      <a:pt x="433" y="164"/>
                    </a:lnTo>
                    <a:lnTo>
                      <a:pt x="429" y="162"/>
                    </a:lnTo>
                    <a:lnTo>
                      <a:pt x="428" y="162"/>
                    </a:lnTo>
                    <a:lnTo>
                      <a:pt x="428" y="166"/>
                    </a:lnTo>
                    <a:lnTo>
                      <a:pt x="426" y="166"/>
                    </a:lnTo>
                    <a:lnTo>
                      <a:pt x="424" y="170"/>
                    </a:lnTo>
                    <a:lnTo>
                      <a:pt x="422" y="172"/>
                    </a:lnTo>
                    <a:lnTo>
                      <a:pt x="420" y="174"/>
                    </a:lnTo>
                    <a:lnTo>
                      <a:pt x="416" y="174"/>
                    </a:lnTo>
                    <a:lnTo>
                      <a:pt x="416" y="176"/>
                    </a:lnTo>
                    <a:lnTo>
                      <a:pt x="412" y="178"/>
                    </a:lnTo>
                    <a:lnTo>
                      <a:pt x="410" y="178"/>
                    </a:lnTo>
                    <a:lnTo>
                      <a:pt x="405" y="176"/>
                    </a:lnTo>
                    <a:lnTo>
                      <a:pt x="403" y="176"/>
                    </a:lnTo>
                    <a:lnTo>
                      <a:pt x="399" y="176"/>
                    </a:lnTo>
                    <a:lnTo>
                      <a:pt x="397" y="174"/>
                    </a:lnTo>
                    <a:lnTo>
                      <a:pt x="395" y="172"/>
                    </a:lnTo>
                    <a:lnTo>
                      <a:pt x="393" y="170"/>
                    </a:lnTo>
                    <a:lnTo>
                      <a:pt x="387" y="170"/>
                    </a:lnTo>
                    <a:lnTo>
                      <a:pt x="386" y="170"/>
                    </a:lnTo>
                    <a:lnTo>
                      <a:pt x="384" y="172"/>
                    </a:lnTo>
                    <a:lnTo>
                      <a:pt x="382" y="174"/>
                    </a:lnTo>
                    <a:lnTo>
                      <a:pt x="380" y="179"/>
                    </a:lnTo>
                    <a:lnTo>
                      <a:pt x="380" y="181"/>
                    </a:lnTo>
                    <a:lnTo>
                      <a:pt x="378" y="183"/>
                    </a:lnTo>
                    <a:lnTo>
                      <a:pt x="378" y="187"/>
                    </a:lnTo>
                    <a:lnTo>
                      <a:pt x="380" y="189"/>
                    </a:lnTo>
                    <a:lnTo>
                      <a:pt x="380" y="191"/>
                    </a:lnTo>
                    <a:lnTo>
                      <a:pt x="382" y="193"/>
                    </a:lnTo>
                    <a:lnTo>
                      <a:pt x="384" y="195"/>
                    </a:lnTo>
                    <a:lnTo>
                      <a:pt x="386" y="199"/>
                    </a:lnTo>
                    <a:lnTo>
                      <a:pt x="386" y="200"/>
                    </a:lnTo>
                    <a:lnTo>
                      <a:pt x="384" y="202"/>
                    </a:lnTo>
                    <a:lnTo>
                      <a:pt x="380" y="206"/>
                    </a:lnTo>
                    <a:lnTo>
                      <a:pt x="378" y="206"/>
                    </a:lnTo>
                    <a:lnTo>
                      <a:pt x="376" y="206"/>
                    </a:lnTo>
                    <a:lnTo>
                      <a:pt x="372" y="208"/>
                    </a:lnTo>
                    <a:lnTo>
                      <a:pt x="370" y="210"/>
                    </a:lnTo>
                    <a:lnTo>
                      <a:pt x="367" y="214"/>
                    </a:lnTo>
                    <a:lnTo>
                      <a:pt x="367" y="216"/>
                    </a:lnTo>
                    <a:lnTo>
                      <a:pt x="365" y="218"/>
                    </a:lnTo>
                    <a:lnTo>
                      <a:pt x="363" y="220"/>
                    </a:lnTo>
                    <a:lnTo>
                      <a:pt x="361" y="221"/>
                    </a:lnTo>
                    <a:lnTo>
                      <a:pt x="357" y="223"/>
                    </a:lnTo>
                    <a:lnTo>
                      <a:pt x="353" y="223"/>
                    </a:lnTo>
                    <a:lnTo>
                      <a:pt x="349" y="225"/>
                    </a:lnTo>
                    <a:lnTo>
                      <a:pt x="347" y="227"/>
                    </a:lnTo>
                    <a:lnTo>
                      <a:pt x="344" y="229"/>
                    </a:lnTo>
                    <a:lnTo>
                      <a:pt x="340" y="227"/>
                    </a:lnTo>
                    <a:lnTo>
                      <a:pt x="336" y="229"/>
                    </a:lnTo>
                    <a:lnTo>
                      <a:pt x="334" y="229"/>
                    </a:lnTo>
                    <a:lnTo>
                      <a:pt x="332" y="229"/>
                    </a:lnTo>
                    <a:lnTo>
                      <a:pt x="328" y="229"/>
                    </a:lnTo>
                    <a:lnTo>
                      <a:pt x="326" y="227"/>
                    </a:lnTo>
                    <a:lnTo>
                      <a:pt x="323" y="229"/>
                    </a:lnTo>
                    <a:lnTo>
                      <a:pt x="317" y="229"/>
                    </a:lnTo>
                    <a:lnTo>
                      <a:pt x="315" y="227"/>
                    </a:lnTo>
                    <a:lnTo>
                      <a:pt x="311" y="229"/>
                    </a:lnTo>
                    <a:lnTo>
                      <a:pt x="307" y="231"/>
                    </a:lnTo>
                    <a:lnTo>
                      <a:pt x="304" y="231"/>
                    </a:lnTo>
                    <a:lnTo>
                      <a:pt x="286" y="239"/>
                    </a:lnTo>
                    <a:lnTo>
                      <a:pt x="281" y="242"/>
                    </a:lnTo>
                    <a:lnTo>
                      <a:pt x="279" y="242"/>
                    </a:lnTo>
                    <a:lnTo>
                      <a:pt x="275" y="246"/>
                    </a:lnTo>
                    <a:lnTo>
                      <a:pt x="273" y="244"/>
                    </a:lnTo>
                    <a:lnTo>
                      <a:pt x="271" y="244"/>
                    </a:lnTo>
                    <a:lnTo>
                      <a:pt x="267" y="244"/>
                    </a:lnTo>
                    <a:lnTo>
                      <a:pt x="267" y="240"/>
                    </a:lnTo>
                    <a:lnTo>
                      <a:pt x="260" y="242"/>
                    </a:lnTo>
                    <a:lnTo>
                      <a:pt x="258" y="242"/>
                    </a:lnTo>
                    <a:lnTo>
                      <a:pt x="250" y="240"/>
                    </a:lnTo>
                    <a:lnTo>
                      <a:pt x="239" y="235"/>
                    </a:lnTo>
                    <a:lnTo>
                      <a:pt x="237" y="235"/>
                    </a:lnTo>
                    <a:lnTo>
                      <a:pt x="235" y="235"/>
                    </a:lnTo>
                    <a:lnTo>
                      <a:pt x="229" y="233"/>
                    </a:lnTo>
                    <a:lnTo>
                      <a:pt x="224" y="227"/>
                    </a:lnTo>
                    <a:lnTo>
                      <a:pt x="222" y="227"/>
                    </a:lnTo>
                    <a:lnTo>
                      <a:pt x="210" y="223"/>
                    </a:lnTo>
                    <a:lnTo>
                      <a:pt x="201" y="223"/>
                    </a:lnTo>
                    <a:lnTo>
                      <a:pt x="195" y="223"/>
                    </a:lnTo>
                    <a:lnTo>
                      <a:pt x="187" y="225"/>
                    </a:lnTo>
                    <a:lnTo>
                      <a:pt x="166" y="223"/>
                    </a:lnTo>
                    <a:lnTo>
                      <a:pt x="151" y="221"/>
                    </a:lnTo>
                    <a:lnTo>
                      <a:pt x="147" y="221"/>
                    </a:lnTo>
                    <a:lnTo>
                      <a:pt x="143" y="221"/>
                    </a:lnTo>
                    <a:lnTo>
                      <a:pt x="138" y="221"/>
                    </a:lnTo>
                    <a:lnTo>
                      <a:pt x="138" y="218"/>
                    </a:lnTo>
                    <a:lnTo>
                      <a:pt x="130" y="212"/>
                    </a:lnTo>
                    <a:lnTo>
                      <a:pt x="130" y="210"/>
                    </a:lnTo>
                    <a:lnTo>
                      <a:pt x="130" y="206"/>
                    </a:lnTo>
                    <a:lnTo>
                      <a:pt x="128" y="202"/>
                    </a:lnTo>
                    <a:lnTo>
                      <a:pt x="126" y="197"/>
                    </a:lnTo>
                    <a:lnTo>
                      <a:pt x="124" y="195"/>
                    </a:lnTo>
                    <a:lnTo>
                      <a:pt x="121" y="193"/>
                    </a:lnTo>
                    <a:lnTo>
                      <a:pt x="122" y="189"/>
                    </a:lnTo>
                    <a:lnTo>
                      <a:pt x="122" y="187"/>
                    </a:lnTo>
                    <a:lnTo>
                      <a:pt x="117" y="189"/>
                    </a:lnTo>
                    <a:lnTo>
                      <a:pt x="115" y="187"/>
                    </a:lnTo>
                    <a:lnTo>
                      <a:pt x="113" y="187"/>
                    </a:lnTo>
                    <a:lnTo>
                      <a:pt x="111" y="187"/>
                    </a:lnTo>
                    <a:lnTo>
                      <a:pt x="109" y="185"/>
                    </a:lnTo>
                    <a:lnTo>
                      <a:pt x="107" y="183"/>
                    </a:lnTo>
                    <a:lnTo>
                      <a:pt x="105" y="183"/>
                    </a:lnTo>
                    <a:lnTo>
                      <a:pt x="105" y="181"/>
                    </a:lnTo>
                    <a:lnTo>
                      <a:pt x="103" y="179"/>
                    </a:lnTo>
                    <a:lnTo>
                      <a:pt x="96" y="176"/>
                    </a:lnTo>
                    <a:lnTo>
                      <a:pt x="96" y="174"/>
                    </a:lnTo>
                    <a:lnTo>
                      <a:pt x="92" y="172"/>
                    </a:lnTo>
                    <a:lnTo>
                      <a:pt x="92" y="174"/>
                    </a:lnTo>
                    <a:lnTo>
                      <a:pt x="92" y="172"/>
                    </a:lnTo>
                    <a:lnTo>
                      <a:pt x="92" y="174"/>
                    </a:lnTo>
                    <a:lnTo>
                      <a:pt x="90" y="172"/>
                    </a:lnTo>
                    <a:lnTo>
                      <a:pt x="88" y="172"/>
                    </a:lnTo>
                    <a:lnTo>
                      <a:pt x="84" y="172"/>
                    </a:lnTo>
                    <a:lnTo>
                      <a:pt x="82" y="172"/>
                    </a:lnTo>
                    <a:lnTo>
                      <a:pt x="80" y="170"/>
                    </a:lnTo>
                    <a:lnTo>
                      <a:pt x="79" y="172"/>
                    </a:lnTo>
                    <a:lnTo>
                      <a:pt x="77" y="172"/>
                    </a:lnTo>
                    <a:lnTo>
                      <a:pt x="73" y="172"/>
                    </a:lnTo>
                    <a:lnTo>
                      <a:pt x="69" y="170"/>
                    </a:lnTo>
                    <a:lnTo>
                      <a:pt x="65" y="170"/>
                    </a:lnTo>
                    <a:lnTo>
                      <a:pt x="63" y="170"/>
                    </a:lnTo>
                    <a:lnTo>
                      <a:pt x="61" y="170"/>
                    </a:lnTo>
                    <a:lnTo>
                      <a:pt x="60" y="168"/>
                    </a:lnTo>
                    <a:lnTo>
                      <a:pt x="60" y="170"/>
                    </a:lnTo>
                    <a:lnTo>
                      <a:pt x="58" y="170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2" y="166"/>
                    </a:lnTo>
                    <a:lnTo>
                      <a:pt x="50" y="168"/>
                    </a:lnTo>
                    <a:lnTo>
                      <a:pt x="52" y="166"/>
                    </a:lnTo>
                    <a:lnTo>
                      <a:pt x="50" y="166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8" y="160"/>
                    </a:lnTo>
                    <a:lnTo>
                      <a:pt x="48" y="155"/>
                    </a:lnTo>
                    <a:lnTo>
                      <a:pt x="50" y="153"/>
                    </a:lnTo>
                    <a:lnTo>
                      <a:pt x="54" y="149"/>
                    </a:lnTo>
                    <a:lnTo>
                      <a:pt x="54" y="147"/>
                    </a:lnTo>
                    <a:lnTo>
                      <a:pt x="52" y="141"/>
                    </a:lnTo>
                    <a:lnTo>
                      <a:pt x="54" y="136"/>
                    </a:lnTo>
                    <a:lnTo>
                      <a:pt x="54" y="132"/>
                    </a:lnTo>
                    <a:lnTo>
                      <a:pt x="52" y="130"/>
                    </a:lnTo>
                    <a:lnTo>
                      <a:pt x="52" y="128"/>
                    </a:lnTo>
                    <a:lnTo>
                      <a:pt x="50" y="126"/>
                    </a:lnTo>
                    <a:lnTo>
                      <a:pt x="48" y="126"/>
                    </a:lnTo>
                    <a:lnTo>
                      <a:pt x="48" y="124"/>
                    </a:lnTo>
                    <a:lnTo>
                      <a:pt x="48" y="122"/>
                    </a:lnTo>
                    <a:lnTo>
                      <a:pt x="46" y="120"/>
                    </a:lnTo>
                    <a:lnTo>
                      <a:pt x="44" y="118"/>
                    </a:lnTo>
                    <a:lnTo>
                      <a:pt x="44" y="116"/>
                    </a:lnTo>
                    <a:lnTo>
                      <a:pt x="44" y="115"/>
                    </a:lnTo>
                    <a:lnTo>
                      <a:pt x="42" y="113"/>
                    </a:lnTo>
                    <a:lnTo>
                      <a:pt x="42" y="111"/>
                    </a:lnTo>
                    <a:lnTo>
                      <a:pt x="40" y="109"/>
                    </a:lnTo>
                    <a:lnTo>
                      <a:pt x="39" y="109"/>
                    </a:lnTo>
                    <a:lnTo>
                      <a:pt x="39" y="107"/>
                    </a:lnTo>
                    <a:lnTo>
                      <a:pt x="39" y="105"/>
                    </a:lnTo>
                    <a:lnTo>
                      <a:pt x="37" y="105"/>
                    </a:lnTo>
                    <a:lnTo>
                      <a:pt x="37" y="107"/>
                    </a:lnTo>
                    <a:lnTo>
                      <a:pt x="33" y="107"/>
                    </a:lnTo>
                    <a:lnTo>
                      <a:pt x="33" y="105"/>
                    </a:lnTo>
                    <a:lnTo>
                      <a:pt x="31" y="105"/>
                    </a:lnTo>
                    <a:lnTo>
                      <a:pt x="31" y="103"/>
                    </a:lnTo>
                    <a:lnTo>
                      <a:pt x="31" y="101"/>
                    </a:lnTo>
                    <a:lnTo>
                      <a:pt x="29" y="101"/>
                    </a:lnTo>
                    <a:lnTo>
                      <a:pt x="27" y="101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3" y="103"/>
                    </a:lnTo>
                    <a:lnTo>
                      <a:pt x="21" y="103"/>
                    </a:lnTo>
                    <a:lnTo>
                      <a:pt x="19" y="99"/>
                    </a:lnTo>
                    <a:lnTo>
                      <a:pt x="18" y="99"/>
                    </a:lnTo>
                    <a:lnTo>
                      <a:pt x="16" y="99"/>
                    </a:lnTo>
                    <a:lnTo>
                      <a:pt x="16" y="97"/>
                    </a:lnTo>
                    <a:lnTo>
                      <a:pt x="14" y="97"/>
                    </a:lnTo>
                    <a:lnTo>
                      <a:pt x="14" y="95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0" y="92"/>
                    </a:lnTo>
                    <a:lnTo>
                      <a:pt x="8" y="90"/>
                    </a:lnTo>
                    <a:lnTo>
                      <a:pt x="6" y="90"/>
                    </a:lnTo>
                    <a:lnTo>
                      <a:pt x="4" y="88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4" y="84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2" y="80"/>
                    </a:lnTo>
                    <a:lnTo>
                      <a:pt x="4" y="78"/>
                    </a:lnTo>
                    <a:lnTo>
                      <a:pt x="2" y="78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4" y="74"/>
                    </a:lnTo>
                    <a:lnTo>
                      <a:pt x="6" y="73"/>
                    </a:lnTo>
                    <a:lnTo>
                      <a:pt x="8" y="71"/>
                    </a:lnTo>
                    <a:lnTo>
                      <a:pt x="6" y="69"/>
                    </a:lnTo>
                    <a:lnTo>
                      <a:pt x="8" y="69"/>
                    </a:lnTo>
                    <a:lnTo>
                      <a:pt x="8" y="67"/>
                    </a:lnTo>
                    <a:lnTo>
                      <a:pt x="10" y="67"/>
                    </a:lnTo>
                    <a:lnTo>
                      <a:pt x="12" y="67"/>
                    </a:lnTo>
                    <a:lnTo>
                      <a:pt x="14" y="67"/>
                    </a:lnTo>
                    <a:lnTo>
                      <a:pt x="16" y="67"/>
                    </a:lnTo>
                    <a:lnTo>
                      <a:pt x="18" y="67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9" y="67"/>
                    </a:lnTo>
                    <a:lnTo>
                      <a:pt x="21" y="67"/>
                    </a:lnTo>
                    <a:lnTo>
                      <a:pt x="23" y="67"/>
                    </a:lnTo>
                    <a:lnTo>
                      <a:pt x="25" y="65"/>
                    </a:lnTo>
                    <a:lnTo>
                      <a:pt x="23" y="65"/>
                    </a:lnTo>
                    <a:lnTo>
                      <a:pt x="23" y="63"/>
                    </a:lnTo>
                    <a:lnTo>
                      <a:pt x="25" y="63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1" y="61"/>
                    </a:lnTo>
                    <a:lnTo>
                      <a:pt x="33" y="61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33" y="55"/>
                    </a:lnTo>
                    <a:lnTo>
                      <a:pt x="35" y="55"/>
                    </a:lnTo>
                    <a:lnTo>
                      <a:pt x="37" y="55"/>
                    </a:lnTo>
                    <a:lnTo>
                      <a:pt x="37" y="54"/>
                    </a:lnTo>
                    <a:lnTo>
                      <a:pt x="37" y="52"/>
                    </a:lnTo>
                    <a:lnTo>
                      <a:pt x="39" y="52"/>
                    </a:lnTo>
                    <a:lnTo>
                      <a:pt x="40" y="52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52" y="46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8" y="42"/>
                    </a:lnTo>
                    <a:lnTo>
                      <a:pt x="60" y="42"/>
                    </a:lnTo>
                    <a:lnTo>
                      <a:pt x="60" y="40"/>
                    </a:lnTo>
                    <a:lnTo>
                      <a:pt x="61" y="40"/>
                    </a:lnTo>
                    <a:lnTo>
                      <a:pt x="63" y="40"/>
                    </a:lnTo>
                    <a:lnTo>
                      <a:pt x="63" y="38"/>
                    </a:lnTo>
                    <a:lnTo>
                      <a:pt x="65" y="36"/>
                    </a:lnTo>
                    <a:lnTo>
                      <a:pt x="69" y="36"/>
                    </a:lnTo>
                    <a:lnTo>
                      <a:pt x="73" y="36"/>
                    </a:lnTo>
                    <a:lnTo>
                      <a:pt x="73" y="34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79" y="36"/>
                    </a:lnTo>
                    <a:lnTo>
                      <a:pt x="80" y="36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6" y="40"/>
                    </a:lnTo>
                    <a:lnTo>
                      <a:pt x="86" y="38"/>
                    </a:lnTo>
                    <a:lnTo>
                      <a:pt x="88" y="40"/>
                    </a:lnTo>
                    <a:lnTo>
                      <a:pt x="90" y="38"/>
                    </a:lnTo>
                    <a:lnTo>
                      <a:pt x="92" y="38"/>
                    </a:lnTo>
                    <a:lnTo>
                      <a:pt x="94" y="38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100" y="40"/>
                    </a:lnTo>
                    <a:lnTo>
                      <a:pt x="101" y="38"/>
                    </a:lnTo>
                    <a:lnTo>
                      <a:pt x="105" y="40"/>
                    </a:lnTo>
                    <a:lnTo>
                      <a:pt x="105" y="42"/>
                    </a:lnTo>
                    <a:lnTo>
                      <a:pt x="107" y="48"/>
                    </a:lnTo>
                    <a:lnTo>
                      <a:pt x="107" y="50"/>
                    </a:lnTo>
                    <a:lnTo>
                      <a:pt x="109" y="50"/>
                    </a:lnTo>
                    <a:lnTo>
                      <a:pt x="109" y="52"/>
                    </a:lnTo>
                    <a:lnTo>
                      <a:pt x="111" y="54"/>
                    </a:lnTo>
                    <a:lnTo>
                      <a:pt x="113" y="54"/>
                    </a:lnTo>
                    <a:lnTo>
                      <a:pt x="117" y="54"/>
                    </a:lnTo>
                    <a:lnTo>
                      <a:pt x="117" y="55"/>
                    </a:lnTo>
                    <a:lnTo>
                      <a:pt x="122" y="55"/>
                    </a:lnTo>
                    <a:lnTo>
                      <a:pt x="124" y="57"/>
                    </a:lnTo>
                    <a:lnTo>
                      <a:pt x="126" y="55"/>
                    </a:lnTo>
                    <a:lnTo>
                      <a:pt x="128" y="55"/>
                    </a:lnTo>
                    <a:lnTo>
                      <a:pt x="128" y="54"/>
                    </a:lnTo>
                    <a:lnTo>
                      <a:pt x="130" y="54"/>
                    </a:lnTo>
                    <a:lnTo>
                      <a:pt x="132" y="55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6" y="55"/>
                    </a:lnTo>
                    <a:lnTo>
                      <a:pt x="138" y="55"/>
                    </a:lnTo>
                    <a:lnTo>
                      <a:pt x="140" y="57"/>
                    </a:lnTo>
                    <a:lnTo>
                      <a:pt x="140" y="55"/>
                    </a:lnTo>
                    <a:lnTo>
                      <a:pt x="142" y="55"/>
                    </a:lnTo>
                    <a:lnTo>
                      <a:pt x="142" y="57"/>
                    </a:lnTo>
                    <a:lnTo>
                      <a:pt x="143" y="55"/>
                    </a:lnTo>
                    <a:lnTo>
                      <a:pt x="145" y="57"/>
                    </a:lnTo>
                    <a:lnTo>
                      <a:pt x="147" y="57"/>
                    </a:lnTo>
                    <a:lnTo>
                      <a:pt x="149" y="57"/>
                    </a:lnTo>
                    <a:lnTo>
                      <a:pt x="151" y="59"/>
                    </a:lnTo>
                    <a:lnTo>
                      <a:pt x="151" y="61"/>
                    </a:lnTo>
                    <a:lnTo>
                      <a:pt x="153" y="59"/>
                    </a:lnTo>
                    <a:lnTo>
                      <a:pt x="155" y="59"/>
                    </a:lnTo>
                    <a:lnTo>
                      <a:pt x="157" y="59"/>
                    </a:lnTo>
                    <a:lnTo>
                      <a:pt x="157" y="57"/>
                    </a:lnTo>
                    <a:lnTo>
                      <a:pt x="157" y="55"/>
                    </a:lnTo>
                    <a:lnTo>
                      <a:pt x="159" y="55"/>
                    </a:lnTo>
                    <a:lnTo>
                      <a:pt x="161" y="54"/>
                    </a:lnTo>
                    <a:lnTo>
                      <a:pt x="161" y="55"/>
                    </a:lnTo>
                    <a:lnTo>
                      <a:pt x="162" y="55"/>
                    </a:lnTo>
                    <a:lnTo>
                      <a:pt x="162" y="54"/>
                    </a:lnTo>
                    <a:lnTo>
                      <a:pt x="164" y="54"/>
                    </a:lnTo>
                    <a:lnTo>
                      <a:pt x="164" y="52"/>
                    </a:lnTo>
                    <a:lnTo>
                      <a:pt x="166" y="52"/>
                    </a:lnTo>
                    <a:lnTo>
                      <a:pt x="166" y="50"/>
                    </a:lnTo>
                    <a:lnTo>
                      <a:pt x="166" y="52"/>
                    </a:lnTo>
                    <a:lnTo>
                      <a:pt x="166" y="50"/>
                    </a:lnTo>
                    <a:lnTo>
                      <a:pt x="168" y="48"/>
                    </a:lnTo>
                    <a:lnTo>
                      <a:pt x="168" y="46"/>
                    </a:lnTo>
                    <a:lnTo>
                      <a:pt x="168" y="44"/>
                    </a:lnTo>
                    <a:lnTo>
                      <a:pt x="170" y="42"/>
                    </a:lnTo>
                    <a:lnTo>
                      <a:pt x="168" y="42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6" y="38"/>
                    </a:lnTo>
                    <a:lnTo>
                      <a:pt x="164" y="38"/>
                    </a:lnTo>
                    <a:lnTo>
                      <a:pt x="164" y="34"/>
                    </a:lnTo>
                    <a:lnTo>
                      <a:pt x="162" y="34"/>
                    </a:lnTo>
                    <a:lnTo>
                      <a:pt x="164" y="33"/>
                    </a:lnTo>
                    <a:lnTo>
                      <a:pt x="162" y="31"/>
                    </a:lnTo>
                    <a:lnTo>
                      <a:pt x="161" y="29"/>
                    </a:lnTo>
                    <a:lnTo>
                      <a:pt x="162" y="27"/>
                    </a:lnTo>
                    <a:lnTo>
                      <a:pt x="162" y="25"/>
                    </a:lnTo>
                    <a:lnTo>
                      <a:pt x="162" y="23"/>
                    </a:lnTo>
                    <a:lnTo>
                      <a:pt x="162" y="21"/>
                    </a:lnTo>
                    <a:lnTo>
                      <a:pt x="164" y="19"/>
                    </a:lnTo>
                    <a:lnTo>
                      <a:pt x="164" y="17"/>
                    </a:lnTo>
                    <a:lnTo>
                      <a:pt x="166" y="17"/>
                    </a:lnTo>
                    <a:lnTo>
                      <a:pt x="168" y="17"/>
                    </a:lnTo>
                    <a:lnTo>
                      <a:pt x="168" y="15"/>
                    </a:lnTo>
                    <a:lnTo>
                      <a:pt x="168" y="13"/>
                    </a:lnTo>
                    <a:lnTo>
                      <a:pt x="170" y="12"/>
                    </a:lnTo>
                    <a:lnTo>
                      <a:pt x="170" y="10"/>
                    </a:lnTo>
                    <a:lnTo>
                      <a:pt x="172" y="10"/>
                    </a:lnTo>
                    <a:lnTo>
                      <a:pt x="172" y="8"/>
                    </a:lnTo>
                    <a:lnTo>
                      <a:pt x="174" y="10"/>
                    </a:lnTo>
                    <a:lnTo>
                      <a:pt x="174" y="8"/>
                    </a:lnTo>
                    <a:lnTo>
                      <a:pt x="176" y="6"/>
                    </a:lnTo>
                    <a:lnTo>
                      <a:pt x="178" y="4"/>
                    </a:lnTo>
                    <a:lnTo>
                      <a:pt x="178" y="2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0" y="2"/>
                    </a:lnTo>
                    <a:lnTo>
                      <a:pt x="182" y="2"/>
                    </a:lnTo>
                    <a:lnTo>
                      <a:pt x="183" y="2"/>
                    </a:lnTo>
                    <a:lnTo>
                      <a:pt x="183" y="4"/>
                    </a:lnTo>
                    <a:lnTo>
                      <a:pt x="183" y="2"/>
                    </a:lnTo>
                    <a:lnTo>
                      <a:pt x="183" y="4"/>
                    </a:lnTo>
                    <a:lnTo>
                      <a:pt x="185" y="6"/>
                    </a:lnTo>
                    <a:lnTo>
                      <a:pt x="185" y="4"/>
                    </a:lnTo>
                    <a:lnTo>
                      <a:pt x="187" y="4"/>
                    </a:lnTo>
                    <a:lnTo>
                      <a:pt x="187" y="6"/>
                    </a:lnTo>
                    <a:lnTo>
                      <a:pt x="191" y="6"/>
                    </a:lnTo>
                    <a:lnTo>
                      <a:pt x="193" y="10"/>
                    </a:lnTo>
                    <a:lnTo>
                      <a:pt x="195" y="10"/>
                    </a:lnTo>
                    <a:lnTo>
                      <a:pt x="197" y="10"/>
                    </a:lnTo>
                    <a:lnTo>
                      <a:pt x="199" y="10"/>
                    </a:lnTo>
                    <a:lnTo>
                      <a:pt x="201" y="10"/>
                    </a:lnTo>
                    <a:lnTo>
                      <a:pt x="203" y="10"/>
                    </a:lnTo>
                    <a:lnTo>
                      <a:pt x="204" y="10"/>
                    </a:lnTo>
                    <a:lnTo>
                      <a:pt x="204" y="12"/>
                    </a:lnTo>
                    <a:lnTo>
                      <a:pt x="206" y="10"/>
                    </a:lnTo>
                    <a:lnTo>
                      <a:pt x="206" y="12"/>
                    </a:lnTo>
                    <a:lnTo>
                      <a:pt x="210" y="13"/>
                    </a:lnTo>
                    <a:lnTo>
                      <a:pt x="212" y="13"/>
                    </a:lnTo>
                    <a:lnTo>
                      <a:pt x="212" y="15"/>
                    </a:lnTo>
                    <a:lnTo>
                      <a:pt x="214" y="15"/>
                    </a:lnTo>
                    <a:lnTo>
                      <a:pt x="214" y="13"/>
                    </a:lnTo>
                    <a:lnTo>
                      <a:pt x="214" y="15"/>
                    </a:lnTo>
                    <a:lnTo>
                      <a:pt x="216" y="15"/>
                    </a:lnTo>
                    <a:lnTo>
                      <a:pt x="218" y="17"/>
                    </a:lnTo>
                    <a:lnTo>
                      <a:pt x="220" y="17"/>
                    </a:lnTo>
                    <a:lnTo>
                      <a:pt x="220" y="15"/>
                    </a:lnTo>
                    <a:lnTo>
                      <a:pt x="220" y="17"/>
                    </a:lnTo>
                    <a:lnTo>
                      <a:pt x="222" y="17"/>
                    </a:lnTo>
                    <a:lnTo>
                      <a:pt x="224" y="17"/>
                    </a:lnTo>
                    <a:lnTo>
                      <a:pt x="225" y="19"/>
                    </a:lnTo>
                    <a:lnTo>
                      <a:pt x="227" y="19"/>
                    </a:lnTo>
                    <a:lnTo>
                      <a:pt x="229" y="19"/>
                    </a:lnTo>
                    <a:lnTo>
                      <a:pt x="231" y="21"/>
                    </a:lnTo>
                    <a:lnTo>
                      <a:pt x="229" y="21"/>
                    </a:lnTo>
                    <a:lnTo>
                      <a:pt x="229" y="23"/>
                    </a:lnTo>
                    <a:lnTo>
                      <a:pt x="231" y="25"/>
                    </a:lnTo>
                    <a:lnTo>
                      <a:pt x="229" y="25"/>
                    </a:lnTo>
                    <a:lnTo>
                      <a:pt x="229" y="27"/>
                    </a:lnTo>
                    <a:lnTo>
                      <a:pt x="231" y="27"/>
                    </a:lnTo>
                    <a:lnTo>
                      <a:pt x="229" y="27"/>
                    </a:lnTo>
                    <a:lnTo>
                      <a:pt x="231" y="29"/>
                    </a:lnTo>
                    <a:lnTo>
                      <a:pt x="231" y="31"/>
                    </a:lnTo>
                    <a:lnTo>
                      <a:pt x="231" y="33"/>
                    </a:lnTo>
                    <a:lnTo>
                      <a:pt x="231" y="34"/>
                    </a:lnTo>
                    <a:lnTo>
                      <a:pt x="233" y="36"/>
                    </a:lnTo>
                    <a:lnTo>
                      <a:pt x="233" y="38"/>
                    </a:lnTo>
                    <a:lnTo>
                      <a:pt x="235" y="38"/>
                    </a:lnTo>
                    <a:lnTo>
                      <a:pt x="237" y="40"/>
                    </a:lnTo>
                    <a:lnTo>
                      <a:pt x="237" y="42"/>
                    </a:lnTo>
                    <a:lnTo>
                      <a:pt x="239" y="44"/>
                    </a:lnTo>
                    <a:lnTo>
                      <a:pt x="241" y="46"/>
                    </a:lnTo>
                    <a:lnTo>
                      <a:pt x="243" y="46"/>
                    </a:lnTo>
                    <a:lnTo>
                      <a:pt x="246" y="46"/>
                    </a:lnTo>
                    <a:lnTo>
                      <a:pt x="248" y="48"/>
                    </a:lnTo>
                    <a:lnTo>
                      <a:pt x="248" y="50"/>
                    </a:lnTo>
                    <a:lnTo>
                      <a:pt x="250" y="48"/>
                    </a:lnTo>
                    <a:lnTo>
                      <a:pt x="252" y="50"/>
                    </a:lnTo>
                    <a:lnTo>
                      <a:pt x="254" y="50"/>
                    </a:lnTo>
                    <a:lnTo>
                      <a:pt x="256" y="52"/>
                    </a:lnTo>
                    <a:lnTo>
                      <a:pt x="256" y="50"/>
                    </a:lnTo>
                    <a:lnTo>
                      <a:pt x="258" y="50"/>
                    </a:lnTo>
                    <a:lnTo>
                      <a:pt x="260" y="50"/>
                    </a:lnTo>
                    <a:lnTo>
                      <a:pt x="262" y="50"/>
                    </a:lnTo>
                    <a:lnTo>
                      <a:pt x="264" y="50"/>
                    </a:lnTo>
                    <a:lnTo>
                      <a:pt x="264" y="48"/>
                    </a:lnTo>
                    <a:lnTo>
                      <a:pt x="265" y="48"/>
                    </a:lnTo>
                    <a:lnTo>
                      <a:pt x="265" y="46"/>
                    </a:lnTo>
                    <a:lnTo>
                      <a:pt x="267" y="46"/>
                    </a:lnTo>
                    <a:lnTo>
                      <a:pt x="269" y="46"/>
                    </a:lnTo>
                    <a:lnTo>
                      <a:pt x="271" y="44"/>
                    </a:lnTo>
                    <a:lnTo>
                      <a:pt x="271" y="46"/>
                    </a:lnTo>
                    <a:lnTo>
                      <a:pt x="273" y="46"/>
                    </a:lnTo>
                    <a:lnTo>
                      <a:pt x="273" y="44"/>
                    </a:lnTo>
                    <a:lnTo>
                      <a:pt x="275" y="44"/>
                    </a:lnTo>
                    <a:lnTo>
                      <a:pt x="277" y="44"/>
                    </a:lnTo>
                    <a:lnTo>
                      <a:pt x="279" y="44"/>
                    </a:lnTo>
                    <a:lnTo>
                      <a:pt x="279" y="42"/>
                    </a:lnTo>
                    <a:lnTo>
                      <a:pt x="281" y="42"/>
                    </a:lnTo>
                    <a:lnTo>
                      <a:pt x="283" y="42"/>
                    </a:lnTo>
                    <a:lnTo>
                      <a:pt x="285" y="42"/>
                    </a:lnTo>
                    <a:lnTo>
                      <a:pt x="285" y="44"/>
                    </a:lnTo>
                    <a:lnTo>
                      <a:pt x="288" y="42"/>
                    </a:lnTo>
                    <a:lnTo>
                      <a:pt x="290" y="44"/>
                    </a:lnTo>
                    <a:lnTo>
                      <a:pt x="292" y="44"/>
                    </a:lnTo>
                    <a:lnTo>
                      <a:pt x="292" y="46"/>
                    </a:lnTo>
                    <a:lnTo>
                      <a:pt x="294" y="46"/>
                    </a:lnTo>
                    <a:lnTo>
                      <a:pt x="296" y="46"/>
                    </a:lnTo>
                    <a:lnTo>
                      <a:pt x="298" y="46"/>
                    </a:lnTo>
                    <a:lnTo>
                      <a:pt x="300" y="46"/>
                    </a:lnTo>
                    <a:lnTo>
                      <a:pt x="304" y="46"/>
                    </a:lnTo>
                    <a:lnTo>
                      <a:pt x="307" y="50"/>
                    </a:lnTo>
                    <a:lnTo>
                      <a:pt x="309" y="52"/>
                    </a:lnTo>
                    <a:lnTo>
                      <a:pt x="311" y="54"/>
                    </a:lnTo>
                    <a:lnTo>
                      <a:pt x="313" y="54"/>
                    </a:lnTo>
                    <a:lnTo>
                      <a:pt x="313" y="55"/>
                    </a:lnTo>
                    <a:lnTo>
                      <a:pt x="313" y="54"/>
                    </a:lnTo>
                    <a:lnTo>
                      <a:pt x="315" y="55"/>
                    </a:lnTo>
                    <a:lnTo>
                      <a:pt x="315" y="54"/>
                    </a:lnTo>
                    <a:lnTo>
                      <a:pt x="317" y="55"/>
                    </a:lnTo>
                    <a:lnTo>
                      <a:pt x="319" y="54"/>
                    </a:lnTo>
                    <a:lnTo>
                      <a:pt x="319" y="55"/>
                    </a:lnTo>
                    <a:lnTo>
                      <a:pt x="321" y="55"/>
                    </a:lnTo>
                    <a:lnTo>
                      <a:pt x="323" y="55"/>
                    </a:lnTo>
                    <a:lnTo>
                      <a:pt x="323" y="57"/>
                    </a:lnTo>
                    <a:lnTo>
                      <a:pt x="323" y="59"/>
                    </a:lnTo>
                    <a:lnTo>
                      <a:pt x="323" y="61"/>
                    </a:lnTo>
                    <a:lnTo>
                      <a:pt x="323" y="63"/>
                    </a:lnTo>
                    <a:lnTo>
                      <a:pt x="323" y="61"/>
                    </a:lnTo>
                    <a:lnTo>
                      <a:pt x="325" y="63"/>
                    </a:lnTo>
                    <a:lnTo>
                      <a:pt x="323" y="63"/>
                    </a:lnTo>
                    <a:lnTo>
                      <a:pt x="325" y="63"/>
                    </a:lnTo>
                    <a:lnTo>
                      <a:pt x="326" y="65"/>
                    </a:lnTo>
                    <a:lnTo>
                      <a:pt x="328" y="65"/>
                    </a:lnTo>
                    <a:lnTo>
                      <a:pt x="328" y="67"/>
                    </a:lnTo>
                    <a:lnTo>
                      <a:pt x="328" y="69"/>
                    </a:lnTo>
                    <a:lnTo>
                      <a:pt x="330" y="69"/>
                    </a:lnTo>
                    <a:lnTo>
                      <a:pt x="332" y="71"/>
                    </a:lnTo>
                    <a:lnTo>
                      <a:pt x="334" y="71"/>
                    </a:lnTo>
                    <a:lnTo>
                      <a:pt x="336" y="71"/>
                    </a:lnTo>
                    <a:lnTo>
                      <a:pt x="338" y="71"/>
                    </a:lnTo>
                    <a:lnTo>
                      <a:pt x="340" y="71"/>
                    </a:lnTo>
                    <a:lnTo>
                      <a:pt x="342" y="71"/>
                    </a:lnTo>
                    <a:lnTo>
                      <a:pt x="344" y="71"/>
                    </a:lnTo>
                    <a:lnTo>
                      <a:pt x="346" y="71"/>
                    </a:lnTo>
                    <a:lnTo>
                      <a:pt x="347" y="73"/>
                    </a:lnTo>
                    <a:lnTo>
                      <a:pt x="351" y="73"/>
                    </a:lnTo>
                    <a:lnTo>
                      <a:pt x="355" y="74"/>
                    </a:lnTo>
                    <a:lnTo>
                      <a:pt x="359" y="74"/>
                    </a:lnTo>
                    <a:lnTo>
                      <a:pt x="361" y="74"/>
                    </a:lnTo>
                    <a:lnTo>
                      <a:pt x="361" y="73"/>
                    </a:lnTo>
                    <a:lnTo>
                      <a:pt x="363" y="74"/>
                    </a:lnTo>
                    <a:lnTo>
                      <a:pt x="367" y="74"/>
                    </a:lnTo>
                    <a:lnTo>
                      <a:pt x="368" y="74"/>
                    </a:lnTo>
                    <a:lnTo>
                      <a:pt x="376" y="71"/>
                    </a:lnTo>
                    <a:lnTo>
                      <a:pt x="380" y="71"/>
                    </a:lnTo>
                    <a:lnTo>
                      <a:pt x="382" y="69"/>
                    </a:lnTo>
                    <a:lnTo>
                      <a:pt x="384" y="69"/>
                    </a:lnTo>
                    <a:lnTo>
                      <a:pt x="386" y="69"/>
                    </a:lnTo>
                    <a:lnTo>
                      <a:pt x="389" y="67"/>
                    </a:lnTo>
                    <a:lnTo>
                      <a:pt x="391" y="67"/>
                    </a:lnTo>
                    <a:lnTo>
                      <a:pt x="395" y="65"/>
                    </a:lnTo>
                    <a:lnTo>
                      <a:pt x="397" y="67"/>
                    </a:lnTo>
                    <a:lnTo>
                      <a:pt x="397" y="65"/>
                    </a:lnTo>
                    <a:lnTo>
                      <a:pt x="397" y="67"/>
                    </a:lnTo>
                    <a:lnTo>
                      <a:pt x="399" y="65"/>
                    </a:lnTo>
                    <a:lnTo>
                      <a:pt x="399" y="67"/>
                    </a:lnTo>
                    <a:lnTo>
                      <a:pt x="401" y="65"/>
                    </a:lnTo>
                    <a:lnTo>
                      <a:pt x="403" y="63"/>
                    </a:lnTo>
                    <a:lnTo>
                      <a:pt x="407" y="57"/>
                    </a:lnTo>
                    <a:lnTo>
                      <a:pt x="410" y="55"/>
                    </a:lnTo>
                    <a:lnTo>
                      <a:pt x="412" y="54"/>
                    </a:lnTo>
                    <a:lnTo>
                      <a:pt x="414" y="52"/>
                    </a:lnTo>
                    <a:lnTo>
                      <a:pt x="416" y="52"/>
                    </a:lnTo>
                    <a:lnTo>
                      <a:pt x="422" y="48"/>
                    </a:lnTo>
                    <a:lnTo>
                      <a:pt x="424" y="48"/>
                    </a:lnTo>
                    <a:lnTo>
                      <a:pt x="428" y="48"/>
                    </a:lnTo>
                    <a:lnTo>
                      <a:pt x="429" y="48"/>
                    </a:lnTo>
                    <a:lnTo>
                      <a:pt x="431" y="48"/>
                    </a:lnTo>
                    <a:lnTo>
                      <a:pt x="435" y="50"/>
                    </a:lnTo>
                    <a:lnTo>
                      <a:pt x="435" y="52"/>
                    </a:lnTo>
                    <a:lnTo>
                      <a:pt x="439" y="54"/>
                    </a:lnTo>
                    <a:lnTo>
                      <a:pt x="441" y="55"/>
                    </a:lnTo>
                    <a:lnTo>
                      <a:pt x="443" y="55"/>
                    </a:lnTo>
                    <a:lnTo>
                      <a:pt x="445" y="57"/>
                    </a:lnTo>
                    <a:lnTo>
                      <a:pt x="447" y="57"/>
                    </a:lnTo>
                    <a:lnTo>
                      <a:pt x="452" y="54"/>
                    </a:lnTo>
                    <a:lnTo>
                      <a:pt x="454" y="54"/>
                    </a:lnTo>
                    <a:lnTo>
                      <a:pt x="460" y="55"/>
                    </a:lnTo>
                    <a:lnTo>
                      <a:pt x="462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5" name="Freeform 250">
                <a:extLst>
                  <a:ext uri="{FF2B5EF4-FFF2-40B4-BE49-F238E27FC236}">
                    <a16:creationId xmlns:a16="http://schemas.microsoft.com/office/drawing/2014/main" id="{B99E0193-5268-BF9E-1EE2-A6896E74AE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19143" y="-2650092"/>
                <a:ext cx="83507" cy="44198"/>
              </a:xfrm>
              <a:custGeom>
                <a:avLst/>
                <a:gdLst>
                  <a:gd name="T0" fmla="*/ 43 w 53"/>
                  <a:gd name="T1" fmla="*/ 7 h 28"/>
                  <a:gd name="T2" fmla="*/ 43 w 53"/>
                  <a:gd name="T3" fmla="*/ 7 h 28"/>
                  <a:gd name="T4" fmla="*/ 45 w 53"/>
                  <a:gd name="T5" fmla="*/ 11 h 28"/>
                  <a:gd name="T6" fmla="*/ 43 w 53"/>
                  <a:gd name="T7" fmla="*/ 13 h 28"/>
                  <a:gd name="T8" fmla="*/ 45 w 53"/>
                  <a:gd name="T9" fmla="*/ 15 h 28"/>
                  <a:gd name="T10" fmla="*/ 47 w 53"/>
                  <a:gd name="T11" fmla="*/ 15 h 28"/>
                  <a:gd name="T12" fmla="*/ 51 w 53"/>
                  <a:gd name="T13" fmla="*/ 15 h 28"/>
                  <a:gd name="T14" fmla="*/ 53 w 53"/>
                  <a:gd name="T15" fmla="*/ 17 h 28"/>
                  <a:gd name="T16" fmla="*/ 51 w 53"/>
                  <a:gd name="T17" fmla="*/ 19 h 28"/>
                  <a:gd name="T18" fmla="*/ 51 w 53"/>
                  <a:gd name="T19" fmla="*/ 23 h 28"/>
                  <a:gd name="T20" fmla="*/ 53 w 53"/>
                  <a:gd name="T21" fmla="*/ 25 h 28"/>
                  <a:gd name="T22" fmla="*/ 49 w 53"/>
                  <a:gd name="T23" fmla="*/ 25 h 28"/>
                  <a:gd name="T24" fmla="*/ 45 w 53"/>
                  <a:gd name="T25" fmla="*/ 26 h 28"/>
                  <a:gd name="T26" fmla="*/ 42 w 53"/>
                  <a:gd name="T27" fmla="*/ 26 h 28"/>
                  <a:gd name="T28" fmla="*/ 38 w 53"/>
                  <a:gd name="T29" fmla="*/ 26 h 28"/>
                  <a:gd name="T30" fmla="*/ 34 w 53"/>
                  <a:gd name="T31" fmla="*/ 26 h 28"/>
                  <a:gd name="T32" fmla="*/ 28 w 53"/>
                  <a:gd name="T33" fmla="*/ 26 h 28"/>
                  <a:gd name="T34" fmla="*/ 24 w 53"/>
                  <a:gd name="T35" fmla="*/ 25 h 28"/>
                  <a:gd name="T36" fmla="*/ 22 w 53"/>
                  <a:gd name="T37" fmla="*/ 25 h 28"/>
                  <a:gd name="T38" fmla="*/ 19 w 53"/>
                  <a:gd name="T39" fmla="*/ 28 h 28"/>
                  <a:gd name="T40" fmla="*/ 15 w 53"/>
                  <a:gd name="T41" fmla="*/ 28 h 28"/>
                  <a:gd name="T42" fmla="*/ 13 w 53"/>
                  <a:gd name="T43" fmla="*/ 26 h 28"/>
                  <a:gd name="T44" fmla="*/ 9 w 53"/>
                  <a:gd name="T45" fmla="*/ 26 h 28"/>
                  <a:gd name="T46" fmla="*/ 7 w 53"/>
                  <a:gd name="T47" fmla="*/ 26 h 28"/>
                  <a:gd name="T48" fmla="*/ 5 w 53"/>
                  <a:gd name="T49" fmla="*/ 25 h 28"/>
                  <a:gd name="T50" fmla="*/ 1 w 53"/>
                  <a:gd name="T51" fmla="*/ 25 h 28"/>
                  <a:gd name="T52" fmla="*/ 1 w 53"/>
                  <a:gd name="T53" fmla="*/ 25 h 28"/>
                  <a:gd name="T54" fmla="*/ 0 w 53"/>
                  <a:gd name="T55" fmla="*/ 21 h 28"/>
                  <a:gd name="T56" fmla="*/ 1 w 53"/>
                  <a:gd name="T57" fmla="*/ 19 h 28"/>
                  <a:gd name="T58" fmla="*/ 3 w 53"/>
                  <a:gd name="T59" fmla="*/ 17 h 28"/>
                  <a:gd name="T60" fmla="*/ 3 w 53"/>
                  <a:gd name="T61" fmla="*/ 15 h 28"/>
                  <a:gd name="T62" fmla="*/ 3 w 53"/>
                  <a:gd name="T63" fmla="*/ 11 h 28"/>
                  <a:gd name="T64" fmla="*/ 5 w 53"/>
                  <a:gd name="T65" fmla="*/ 9 h 28"/>
                  <a:gd name="T66" fmla="*/ 7 w 53"/>
                  <a:gd name="T67" fmla="*/ 7 h 28"/>
                  <a:gd name="T68" fmla="*/ 11 w 53"/>
                  <a:gd name="T69" fmla="*/ 5 h 28"/>
                  <a:gd name="T70" fmla="*/ 11 w 53"/>
                  <a:gd name="T71" fmla="*/ 5 h 28"/>
                  <a:gd name="T72" fmla="*/ 13 w 53"/>
                  <a:gd name="T73" fmla="*/ 2 h 28"/>
                  <a:gd name="T74" fmla="*/ 15 w 53"/>
                  <a:gd name="T75" fmla="*/ 0 h 28"/>
                  <a:gd name="T76" fmla="*/ 19 w 53"/>
                  <a:gd name="T77" fmla="*/ 2 h 28"/>
                  <a:gd name="T78" fmla="*/ 22 w 53"/>
                  <a:gd name="T79" fmla="*/ 2 h 28"/>
                  <a:gd name="T80" fmla="*/ 24 w 53"/>
                  <a:gd name="T81" fmla="*/ 4 h 28"/>
                  <a:gd name="T82" fmla="*/ 28 w 53"/>
                  <a:gd name="T83" fmla="*/ 4 h 28"/>
                  <a:gd name="T84" fmla="*/ 30 w 53"/>
                  <a:gd name="T85" fmla="*/ 4 h 28"/>
                  <a:gd name="T86" fmla="*/ 34 w 53"/>
                  <a:gd name="T87" fmla="*/ 5 h 28"/>
                  <a:gd name="T88" fmla="*/ 34 w 53"/>
                  <a:gd name="T89" fmla="*/ 5 h 28"/>
                  <a:gd name="T90" fmla="*/ 38 w 53"/>
                  <a:gd name="T91" fmla="*/ 5 h 28"/>
                  <a:gd name="T92" fmla="*/ 40 w 53"/>
                  <a:gd name="T93" fmla="*/ 4 h 28"/>
                  <a:gd name="T94" fmla="*/ 43 w 53"/>
                  <a:gd name="T95" fmla="*/ 5 h 28"/>
                  <a:gd name="T96" fmla="*/ 43 w 53"/>
                  <a:gd name="T9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" h="28">
                    <a:moveTo>
                      <a:pt x="45" y="7"/>
                    </a:moveTo>
                    <a:lnTo>
                      <a:pt x="43" y="7"/>
                    </a:lnTo>
                    <a:lnTo>
                      <a:pt x="43" y="9"/>
                    </a:lnTo>
                    <a:lnTo>
                      <a:pt x="43" y="7"/>
                    </a:lnTo>
                    <a:lnTo>
                      <a:pt x="45" y="9"/>
                    </a:lnTo>
                    <a:lnTo>
                      <a:pt x="45" y="11"/>
                    </a:lnTo>
                    <a:lnTo>
                      <a:pt x="43" y="11"/>
                    </a:lnTo>
                    <a:lnTo>
                      <a:pt x="43" y="13"/>
                    </a:lnTo>
                    <a:lnTo>
                      <a:pt x="45" y="13"/>
                    </a:lnTo>
                    <a:lnTo>
                      <a:pt x="45" y="15"/>
                    </a:lnTo>
                    <a:lnTo>
                      <a:pt x="45" y="13"/>
                    </a:lnTo>
                    <a:lnTo>
                      <a:pt x="47" y="15"/>
                    </a:lnTo>
                    <a:lnTo>
                      <a:pt x="49" y="15"/>
                    </a:lnTo>
                    <a:lnTo>
                      <a:pt x="51" y="15"/>
                    </a:lnTo>
                    <a:lnTo>
                      <a:pt x="51" y="17"/>
                    </a:lnTo>
                    <a:lnTo>
                      <a:pt x="53" y="17"/>
                    </a:lnTo>
                    <a:lnTo>
                      <a:pt x="53" y="19"/>
                    </a:lnTo>
                    <a:lnTo>
                      <a:pt x="51" y="19"/>
                    </a:lnTo>
                    <a:lnTo>
                      <a:pt x="51" y="21"/>
                    </a:lnTo>
                    <a:lnTo>
                      <a:pt x="51" y="23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1" y="25"/>
                    </a:lnTo>
                    <a:lnTo>
                      <a:pt x="49" y="25"/>
                    </a:lnTo>
                    <a:lnTo>
                      <a:pt x="47" y="26"/>
                    </a:lnTo>
                    <a:lnTo>
                      <a:pt x="45" y="26"/>
                    </a:lnTo>
                    <a:lnTo>
                      <a:pt x="43" y="26"/>
                    </a:lnTo>
                    <a:lnTo>
                      <a:pt x="42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28" y="26"/>
                    </a:lnTo>
                    <a:lnTo>
                      <a:pt x="26" y="25"/>
                    </a:lnTo>
                    <a:lnTo>
                      <a:pt x="24" y="25"/>
                    </a:lnTo>
                    <a:lnTo>
                      <a:pt x="24" y="26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19" y="28"/>
                    </a:lnTo>
                    <a:lnTo>
                      <a:pt x="17" y="28"/>
                    </a:lnTo>
                    <a:lnTo>
                      <a:pt x="15" y="28"/>
                    </a:lnTo>
                    <a:lnTo>
                      <a:pt x="13" y="28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9" y="26"/>
                    </a:lnTo>
                    <a:lnTo>
                      <a:pt x="9" y="25"/>
                    </a:lnTo>
                    <a:lnTo>
                      <a:pt x="7" y="26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3" y="25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5"/>
                    </a:lnTo>
                    <a:lnTo>
                      <a:pt x="1" y="21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1" y="15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11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2" y="2"/>
                    </a:lnTo>
                    <a:lnTo>
                      <a:pt x="24" y="2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5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4" y="5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6" y="5"/>
                    </a:lnTo>
                    <a:lnTo>
                      <a:pt x="38" y="5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2" y="5"/>
                    </a:lnTo>
                    <a:lnTo>
                      <a:pt x="43" y="5"/>
                    </a:lnTo>
                    <a:lnTo>
                      <a:pt x="42" y="5"/>
                    </a:lnTo>
                    <a:lnTo>
                      <a:pt x="43" y="7"/>
                    </a:lnTo>
                    <a:lnTo>
                      <a:pt x="45" y="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4" name="Freeform 140">
                <a:extLst>
                  <a:ext uri="{FF2B5EF4-FFF2-40B4-BE49-F238E27FC236}">
                    <a16:creationId xmlns:a16="http://schemas.microsoft.com/office/drawing/2014/main" id="{3A68ABC1-C4E8-F9BB-9490-6CC6C9093C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54943" y="-2596423"/>
                <a:ext cx="59873" cy="53670"/>
              </a:xfrm>
              <a:custGeom>
                <a:avLst/>
                <a:gdLst>
                  <a:gd name="T0" fmla="*/ 4 w 38"/>
                  <a:gd name="T1" fmla="*/ 32 h 34"/>
                  <a:gd name="T2" fmla="*/ 5 w 38"/>
                  <a:gd name="T3" fmla="*/ 34 h 34"/>
                  <a:gd name="T4" fmla="*/ 4 w 38"/>
                  <a:gd name="T5" fmla="*/ 34 h 34"/>
                  <a:gd name="T6" fmla="*/ 2 w 38"/>
                  <a:gd name="T7" fmla="*/ 34 h 34"/>
                  <a:gd name="T8" fmla="*/ 2 w 38"/>
                  <a:gd name="T9" fmla="*/ 32 h 34"/>
                  <a:gd name="T10" fmla="*/ 4 w 38"/>
                  <a:gd name="T11" fmla="*/ 34 h 34"/>
                  <a:gd name="T12" fmla="*/ 4 w 38"/>
                  <a:gd name="T13" fmla="*/ 32 h 34"/>
                  <a:gd name="T14" fmla="*/ 0 w 38"/>
                  <a:gd name="T15" fmla="*/ 34 h 34"/>
                  <a:gd name="T16" fmla="*/ 2 w 38"/>
                  <a:gd name="T17" fmla="*/ 34 h 34"/>
                  <a:gd name="T18" fmla="*/ 0 w 38"/>
                  <a:gd name="T19" fmla="*/ 34 h 34"/>
                  <a:gd name="T20" fmla="*/ 28 w 38"/>
                  <a:gd name="T21" fmla="*/ 2 h 34"/>
                  <a:gd name="T22" fmla="*/ 28 w 38"/>
                  <a:gd name="T23" fmla="*/ 4 h 34"/>
                  <a:gd name="T24" fmla="*/ 28 w 38"/>
                  <a:gd name="T25" fmla="*/ 2 h 34"/>
                  <a:gd name="T26" fmla="*/ 36 w 38"/>
                  <a:gd name="T27" fmla="*/ 0 h 34"/>
                  <a:gd name="T28" fmla="*/ 38 w 38"/>
                  <a:gd name="T29" fmla="*/ 0 h 34"/>
                  <a:gd name="T30" fmla="*/ 36 w 38"/>
                  <a:gd name="T3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4" y="32"/>
                    </a:moveTo>
                    <a:lnTo>
                      <a:pt x="5" y="34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2"/>
                    </a:lnTo>
                    <a:close/>
                    <a:moveTo>
                      <a:pt x="0" y="34"/>
                    </a:moveTo>
                    <a:lnTo>
                      <a:pt x="2" y="34"/>
                    </a:lnTo>
                    <a:lnTo>
                      <a:pt x="0" y="34"/>
                    </a:lnTo>
                    <a:close/>
                    <a:moveTo>
                      <a:pt x="28" y="2"/>
                    </a:moveTo>
                    <a:lnTo>
                      <a:pt x="28" y="4"/>
                    </a:lnTo>
                    <a:lnTo>
                      <a:pt x="28" y="2"/>
                    </a:lnTo>
                    <a:close/>
                    <a:moveTo>
                      <a:pt x="36" y="0"/>
                    </a:moveTo>
                    <a:lnTo>
                      <a:pt x="38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5" name="Freeform 155">
                <a:extLst>
                  <a:ext uri="{FF2B5EF4-FFF2-40B4-BE49-F238E27FC236}">
                    <a16:creationId xmlns:a16="http://schemas.microsoft.com/office/drawing/2014/main" id="{BBFB265C-0DE6-B819-2851-2C504D29801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84879" y="-2566429"/>
                <a:ext cx="66174" cy="93135"/>
              </a:xfrm>
              <a:custGeom>
                <a:avLst/>
                <a:gdLst>
                  <a:gd name="T0" fmla="*/ 36 w 42"/>
                  <a:gd name="T1" fmla="*/ 2 h 59"/>
                  <a:gd name="T2" fmla="*/ 38 w 42"/>
                  <a:gd name="T3" fmla="*/ 2 h 59"/>
                  <a:gd name="T4" fmla="*/ 38 w 42"/>
                  <a:gd name="T5" fmla="*/ 4 h 59"/>
                  <a:gd name="T6" fmla="*/ 40 w 42"/>
                  <a:gd name="T7" fmla="*/ 6 h 59"/>
                  <a:gd name="T8" fmla="*/ 40 w 42"/>
                  <a:gd name="T9" fmla="*/ 12 h 59"/>
                  <a:gd name="T10" fmla="*/ 40 w 42"/>
                  <a:gd name="T11" fmla="*/ 13 h 59"/>
                  <a:gd name="T12" fmla="*/ 38 w 42"/>
                  <a:gd name="T13" fmla="*/ 17 h 59"/>
                  <a:gd name="T14" fmla="*/ 36 w 42"/>
                  <a:gd name="T15" fmla="*/ 21 h 59"/>
                  <a:gd name="T16" fmla="*/ 34 w 42"/>
                  <a:gd name="T17" fmla="*/ 27 h 59"/>
                  <a:gd name="T18" fmla="*/ 34 w 42"/>
                  <a:gd name="T19" fmla="*/ 34 h 59"/>
                  <a:gd name="T20" fmla="*/ 32 w 42"/>
                  <a:gd name="T21" fmla="*/ 38 h 59"/>
                  <a:gd name="T22" fmla="*/ 28 w 42"/>
                  <a:gd name="T23" fmla="*/ 42 h 59"/>
                  <a:gd name="T24" fmla="*/ 27 w 42"/>
                  <a:gd name="T25" fmla="*/ 48 h 59"/>
                  <a:gd name="T26" fmla="*/ 25 w 42"/>
                  <a:gd name="T27" fmla="*/ 55 h 59"/>
                  <a:gd name="T28" fmla="*/ 25 w 42"/>
                  <a:gd name="T29" fmla="*/ 59 h 59"/>
                  <a:gd name="T30" fmla="*/ 21 w 42"/>
                  <a:gd name="T31" fmla="*/ 59 h 59"/>
                  <a:gd name="T32" fmla="*/ 21 w 42"/>
                  <a:gd name="T33" fmla="*/ 54 h 59"/>
                  <a:gd name="T34" fmla="*/ 17 w 42"/>
                  <a:gd name="T35" fmla="*/ 50 h 59"/>
                  <a:gd name="T36" fmla="*/ 13 w 42"/>
                  <a:gd name="T37" fmla="*/ 46 h 59"/>
                  <a:gd name="T38" fmla="*/ 13 w 42"/>
                  <a:gd name="T39" fmla="*/ 44 h 59"/>
                  <a:gd name="T40" fmla="*/ 11 w 42"/>
                  <a:gd name="T41" fmla="*/ 40 h 59"/>
                  <a:gd name="T42" fmla="*/ 13 w 42"/>
                  <a:gd name="T43" fmla="*/ 34 h 59"/>
                  <a:gd name="T44" fmla="*/ 13 w 42"/>
                  <a:gd name="T45" fmla="*/ 33 h 59"/>
                  <a:gd name="T46" fmla="*/ 11 w 42"/>
                  <a:gd name="T47" fmla="*/ 31 h 59"/>
                  <a:gd name="T48" fmla="*/ 13 w 42"/>
                  <a:gd name="T49" fmla="*/ 29 h 59"/>
                  <a:gd name="T50" fmla="*/ 15 w 42"/>
                  <a:gd name="T51" fmla="*/ 25 h 59"/>
                  <a:gd name="T52" fmla="*/ 15 w 42"/>
                  <a:gd name="T53" fmla="*/ 21 h 59"/>
                  <a:gd name="T54" fmla="*/ 17 w 42"/>
                  <a:gd name="T55" fmla="*/ 19 h 59"/>
                  <a:gd name="T56" fmla="*/ 19 w 42"/>
                  <a:gd name="T57" fmla="*/ 17 h 59"/>
                  <a:gd name="T58" fmla="*/ 21 w 42"/>
                  <a:gd name="T59" fmla="*/ 12 h 59"/>
                  <a:gd name="T60" fmla="*/ 25 w 42"/>
                  <a:gd name="T61" fmla="*/ 8 h 59"/>
                  <a:gd name="T62" fmla="*/ 32 w 42"/>
                  <a:gd name="T63" fmla="*/ 2 h 59"/>
                  <a:gd name="T64" fmla="*/ 4 w 42"/>
                  <a:gd name="T65" fmla="*/ 29 h 59"/>
                  <a:gd name="T66" fmla="*/ 4 w 42"/>
                  <a:gd name="T67" fmla="*/ 31 h 59"/>
                  <a:gd name="T68" fmla="*/ 4 w 42"/>
                  <a:gd name="T69" fmla="*/ 31 h 59"/>
                  <a:gd name="T70" fmla="*/ 4 w 42"/>
                  <a:gd name="T71" fmla="*/ 29 h 59"/>
                  <a:gd name="T72" fmla="*/ 2 w 42"/>
                  <a:gd name="T73" fmla="*/ 29 h 59"/>
                  <a:gd name="T74" fmla="*/ 36 w 42"/>
                  <a:gd name="T75" fmla="*/ 55 h 59"/>
                  <a:gd name="T76" fmla="*/ 34 w 42"/>
                  <a:gd name="T77" fmla="*/ 55 h 59"/>
                  <a:gd name="T78" fmla="*/ 11 w 42"/>
                  <a:gd name="T79" fmla="*/ 33 h 59"/>
                  <a:gd name="T80" fmla="*/ 32 w 42"/>
                  <a:gd name="T81" fmla="*/ 46 h 59"/>
                  <a:gd name="T82" fmla="*/ 2 w 42"/>
                  <a:gd name="T83" fmla="*/ 33 h 59"/>
                  <a:gd name="T84" fmla="*/ 0 w 42"/>
                  <a:gd name="T85" fmla="*/ 36 h 59"/>
                  <a:gd name="T86" fmla="*/ 15 w 42"/>
                  <a:gd name="T87" fmla="*/ 52 h 59"/>
                  <a:gd name="T88" fmla="*/ 13 w 42"/>
                  <a:gd name="T89" fmla="*/ 46 h 59"/>
                  <a:gd name="T90" fmla="*/ 13 w 42"/>
                  <a:gd name="T91" fmla="*/ 48 h 59"/>
                  <a:gd name="T92" fmla="*/ 42 w 42"/>
                  <a:gd name="T93" fmla="*/ 8 h 59"/>
                  <a:gd name="T94" fmla="*/ 2 w 42"/>
                  <a:gd name="T95" fmla="*/ 33 h 59"/>
                  <a:gd name="T96" fmla="*/ 6 w 42"/>
                  <a:gd name="T97" fmla="*/ 36 h 59"/>
                  <a:gd name="T98" fmla="*/ 13 w 42"/>
                  <a:gd name="T99" fmla="*/ 33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" h="59">
                    <a:moveTo>
                      <a:pt x="34" y="0"/>
                    </a:moveTo>
                    <a:lnTo>
                      <a:pt x="36" y="0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2" y="6"/>
                    </a:lnTo>
                    <a:lnTo>
                      <a:pt x="40" y="6"/>
                    </a:lnTo>
                    <a:lnTo>
                      <a:pt x="40" y="8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0" y="13"/>
                    </a:lnTo>
                    <a:lnTo>
                      <a:pt x="40" y="12"/>
                    </a:lnTo>
                    <a:lnTo>
                      <a:pt x="40" y="13"/>
                    </a:lnTo>
                    <a:lnTo>
                      <a:pt x="40" y="15"/>
                    </a:lnTo>
                    <a:lnTo>
                      <a:pt x="38" y="15"/>
                    </a:lnTo>
                    <a:lnTo>
                      <a:pt x="38" y="17"/>
                    </a:lnTo>
                    <a:lnTo>
                      <a:pt x="38" y="19"/>
                    </a:lnTo>
                    <a:lnTo>
                      <a:pt x="36" y="19"/>
                    </a:lnTo>
                    <a:lnTo>
                      <a:pt x="36" y="21"/>
                    </a:lnTo>
                    <a:lnTo>
                      <a:pt x="36" y="23"/>
                    </a:lnTo>
                    <a:lnTo>
                      <a:pt x="36" y="25"/>
                    </a:lnTo>
                    <a:lnTo>
                      <a:pt x="34" y="27"/>
                    </a:lnTo>
                    <a:lnTo>
                      <a:pt x="34" y="31"/>
                    </a:lnTo>
                    <a:lnTo>
                      <a:pt x="34" y="33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32" y="36"/>
                    </a:lnTo>
                    <a:lnTo>
                      <a:pt x="32" y="38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7" y="46"/>
                    </a:lnTo>
                    <a:lnTo>
                      <a:pt x="27" y="48"/>
                    </a:lnTo>
                    <a:lnTo>
                      <a:pt x="25" y="48"/>
                    </a:lnTo>
                    <a:lnTo>
                      <a:pt x="25" y="52"/>
                    </a:lnTo>
                    <a:lnTo>
                      <a:pt x="25" y="55"/>
                    </a:lnTo>
                    <a:lnTo>
                      <a:pt x="25" y="57"/>
                    </a:lnTo>
                    <a:lnTo>
                      <a:pt x="23" y="57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1" y="59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21" y="54"/>
                    </a:lnTo>
                    <a:lnTo>
                      <a:pt x="21" y="52"/>
                    </a:lnTo>
                    <a:lnTo>
                      <a:pt x="19" y="52"/>
                    </a:lnTo>
                    <a:lnTo>
                      <a:pt x="17" y="50"/>
                    </a:lnTo>
                    <a:lnTo>
                      <a:pt x="15" y="48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1" y="38"/>
                    </a:lnTo>
                    <a:lnTo>
                      <a:pt x="11" y="34"/>
                    </a:lnTo>
                    <a:lnTo>
                      <a:pt x="13" y="34"/>
                    </a:lnTo>
                    <a:lnTo>
                      <a:pt x="11" y="34"/>
                    </a:lnTo>
                    <a:lnTo>
                      <a:pt x="13" y="34"/>
                    </a:lnTo>
                    <a:lnTo>
                      <a:pt x="13" y="33"/>
                    </a:lnTo>
                    <a:lnTo>
                      <a:pt x="11" y="33"/>
                    </a:lnTo>
                    <a:lnTo>
                      <a:pt x="13" y="33"/>
                    </a:lnTo>
                    <a:lnTo>
                      <a:pt x="11" y="31"/>
                    </a:lnTo>
                    <a:lnTo>
                      <a:pt x="13" y="31"/>
                    </a:lnTo>
                    <a:lnTo>
                      <a:pt x="11" y="29"/>
                    </a:lnTo>
                    <a:lnTo>
                      <a:pt x="13" y="29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7" y="19"/>
                    </a:lnTo>
                    <a:lnTo>
                      <a:pt x="19" y="17"/>
                    </a:lnTo>
                    <a:lnTo>
                      <a:pt x="17" y="19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19" y="17"/>
                    </a:lnTo>
                    <a:lnTo>
                      <a:pt x="19" y="15"/>
                    </a:lnTo>
                    <a:lnTo>
                      <a:pt x="21" y="13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7" y="4"/>
                    </a:lnTo>
                    <a:lnTo>
                      <a:pt x="30" y="4"/>
                    </a:lnTo>
                    <a:lnTo>
                      <a:pt x="32" y="2"/>
                    </a:lnTo>
                    <a:lnTo>
                      <a:pt x="32" y="0"/>
                    </a:lnTo>
                    <a:lnTo>
                      <a:pt x="34" y="0"/>
                    </a:lnTo>
                    <a:close/>
                    <a:moveTo>
                      <a:pt x="4" y="29"/>
                    </a:moveTo>
                    <a:lnTo>
                      <a:pt x="4" y="31"/>
                    </a:lnTo>
                    <a:lnTo>
                      <a:pt x="4" y="29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4" y="29"/>
                    </a:lnTo>
                    <a:close/>
                    <a:moveTo>
                      <a:pt x="34" y="55"/>
                    </a:moveTo>
                    <a:lnTo>
                      <a:pt x="36" y="55"/>
                    </a:lnTo>
                    <a:lnTo>
                      <a:pt x="36" y="57"/>
                    </a:lnTo>
                    <a:lnTo>
                      <a:pt x="34" y="57"/>
                    </a:lnTo>
                    <a:lnTo>
                      <a:pt x="34" y="55"/>
                    </a:lnTo>
                    <a:close/>
                    <a:moveTo>
                      <a:pt x="9" y="31"/>
                    </a:moveTo>
                    <a:lnTo>
                      <a:pt x="11" y="31"/>
                    </a:lnTo>
                    <a:lnTo>
                      <a:pt x="11" y="33"/>
                    </a:lnTo>
                    <a:lnTo>
                      <a:pt x="9" y="33"/>
                    </a:lnTo>
                    <a:lnTo>
                      <a:pt x="9" y="31"/>
                    </a:lnTo>
                    <a:close/>
                    <a:moveTo>
                      <a:pt x="32" y="46"/>
                    </a:moveTo>
                    <a:lnTo>
                      <a:pt x="34" y="46"/>
                    </a:lnTo>
                    <a:lnTo>
                      <a:pt x="32" y="46"/>
                    </a:lnTo>
                    <a:close/>
                    <a:moveTo>
                      <a:pt x="2" y="33"/>
                    </a:moveTo>
                    <a:lnTo>
                      <a:pt x="2" y="34"/>
                    </a:lnTo>
                    <a:lnTo>
                      <a:pt x="2" y="33"/>
                    </a:lnTo>
                    <a:close/>
                    <a:moveTo>
                      <a:pt x="0" y="36"/>
                    </a:moveTo>
                    <a:lnTo>
                      <a:pt x="2" y="36"/>
                    </a:lnTo>
                    <a:lnTo>
                      <a:pt x="0" y="36"/>
                    </a:lnTo>
                    <a:close/>
                    <a:moveTo>
                      <a:pt x="15" y="52"/>
                    </a:moveTo>
                    <a:lnTo>
                      <a:pt x="17" y="52"/>
                    </a:lnTo>
                    <a:lnTo>
                      <a:pt x="15" y="52"/>
                    </a:lnTo>
                    <a:close/>
                    <a:moveTo>
                      <a:pt x="13" y="46"/>
                    </a:moveTo>
                    <a:lnTo>
                      <a:pt x="15" y="46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3" y="46"/>
                    </a:lnTo>
                    <a:close/>
                    <a:moveTo>
                      <a:pt x="40" y="8"/>
                    </a:moveTo>
                    <a:lnTo>
                      <a:pt x="42" y="8"/>
                    </a:lnTo>
                    <a:lnTo>
                      <a:pt x="40" y="8"/>
                    </a:lnTo>
                    <a:close/>
                    <a:moveTo>
                      <a:pt x="2" y="31"/>
                    </a:moveTo>
                    <a:lnTo>
                      <a:pt x="2" y="33"/>
                    </a:lnTo>
                    <a:lnTo>
                      <a:pt x="2" y="31"/>
                    </a:lnTo>
                    <a:close/>
                    <a:moveTo>
                      <a:pt x="4" y="36"/>
                    </a:moveTo>
                    <a:lnTo>
                      <a:pt x="6" y="36"/>
                    </a:lnTo>
                    <a:lnTo>
                      <a:pt x="4" y="36"/>
                    </a:lnTo>
                    <a:close/>
                    <a:moveTo>
                      <a:pt x="11" y="33"/>
                    </a:moveTo>
                    <a:lnTo>
                      <a:pt x="13" y="33"/>
                    </a:lnTo>
                    <a:lnTo>
                      <a:pt x="11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6" name="Freeform 156">
                <a:extLst>
                  <a:ext uri="{FF2B5EF4-FFF2-40B4-BE49-F238E27FC236}">
                    <a16:creationId xmlns:a16="http://schemas.microsoft.com/office/drawing/2014/main" id="{76D2D922-EC53-96BB-3901-63B8F5851BD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25006" y="-2446461"/>
                <a:ext cx="239488" cy="419892"/>
              </a:xfrm>
              <a:custGeom>
                <a:avLst/>
                <a:gdLst>
                  <a:gd name="T0" fmla="*/ 85 w 152"/>
                  <a:gd name="T1" fmla="*/ 71 h 266"/>
                  <a:gd name="T2" fmla="*/ 74 w 152"/>
                  <a:gd name="T3" fmla="*/ 103 h 266"/>
                  <a:gd name="T4" fmla="*/ 91 w 152"/>
                  <a:gd name="T5" fmla="*/ 109 h 266"/>
                  <a:gd name="T6" fmla="*/ 106 w 152"/>
                  <a:gd name="T7" fmla="*/ 117 h 266"/>
                  <a:gd name="T8" fmla="*/ 110 w 152"/>
                  <a:gd name="T9" fmla="*/ 134 h 266"/>
                  <a:gd name="T10" fmla="*/ 91 w 152"/>
                  <a:gd name="T11" fmla="*/ 126 h 266"/>
                  <a:gd name="T12" fmla="*/ 59 w 152"/>
                  <a:gd name="T13" fmla="*/ 117 h 266"/>
                  <a:gd name="T14" fmla="*/ 51 w 152"/>
                  <a:gd name="T15" fmla="*/ 103 h 266"/>
                  <a:gd name="T16" fmla="*/ 49 w 152"/>
                  <a:gd name="T17" fmla="*/ 79 h 266"/>
                  <a:gd name="T18" fmla="*/ 137 w 152"/>
                  <a:gd name="T19" fmla="*/ 186 h 266"/>
                  <a:gd name="T20" fmla="*/ 150 w 152"/>
                  <a:gd name="T21" fmla="*/ 214 h 266"/>
                  <a:gd name="T22" fmla="*/ 141 w 152"/>
                  <a:gd name="T23" fmla="*/ 226 h 266"/>
                  <a:gd name="T24" fmla="*/ 129 w 152"/>
                  <a:gd name="T25" fmla="*/ 243 h 266"/>
                  <a:gd name="T26" fmla="*/ 103 w 152"/>
                  <a:gd name="T27" fmla="*/ 220 h 266"/>
                  <a:gd name="T28" fmla="*/ 85 w 152"/>
                  <a:gd name="T29" fmla="*/ 220 h 266"/>
                  <a:gd name="T30" fmla="*/ 101 w 152"/>
                  <a:gd name="T31" fmla="*/ 201 h 266"/>
                  <a:gd name="T32" fmla="*/ 124 w 152"/>
                  <a:gd name="T33" fmla="*/ 197 h 266"/>
                  <a:gd name="T34" fmla="*/ 97 w 152"/>
                  <a:gd name="T35" fmla="*/ 184 h 266"/>
                  <a:gd name="T36" fmla="*/ 95 w 152"/>
                  <a:gd name="T37" fmla="*/ 168 h 266"/>
                  <a:gd name="T38" fmla="*/ 137 w 152"/>
                  <a:gd name="T39" fmla="*/ 161 h 266"/>
                  <a:gd name="T40" fmla="*/ 116 w 152"/>
                  <a:gd name="T41" fmla="*/ 140 h 266"/>
                  <a:gd name="T42" fmla="*/ 99 w 152"/>
                  <a:gd name="T43" fmla="*/ 155 h 266"/>
                  <a:gd name="T44" fmla="*/ 80 w 152"/>
                  <a:gd name="T45" fmla="*/ 161 h 266"/>
                  <a:gd name="T46" fmla="*/ 28 w 152"/>
                  <a:gd name="T47" fmla="*/ 182 h 266"/>
                  <a:gd name="T48" fmla="*/ 13 w 152"/>
                  <a:gd name="T49" fmla="*/ 195 h 266"/>
                  <a:gd name="T50" fmla="*/ 36 w 152"/>
                  <a:gd name="T51" fmla="*/ 168 h 266"/>
                  <a:gd name="T52" fmla="*/ 65 w 152"/>
                  <a:gd name="T53" fmla="*/ 124 h 266"/>
                  <a:gd name="T54" fmla="*/ 55 w 152"/>
                  <a:gd name="T55" fmla="*/ 124 h 266"/>
                  <a:gd name="T56" fmla="*/ 129 w 152"/>
                  <a:gd name="T57" fmla="*/ 178 h 266"/>
                  <a:gd name="T58" fmla="*/ 112 w 152"/>
                  <a:gd name="T59" fmla="*/ 168 h 266"/>
                  <a:gd name="T60" fmla="*/ 110 w 152"/>
                  <a:gd name="T61" fmla="*/ 161 h 266"/>
                  <a:gd name="T62" fmla="*/ 105 w 152"/>
                  <a:gd name="T63" fmla="*/ 140 h 266"/>
                  <a:gd name="T64" fmla="*/ 101 w 152"/>
                  <a:gd name="T65" fmla="*/ 144 h 266"/>
                  <a:gd name="T66" fmla="*/ 76 w 152"/>
                  <a:gd name="T67" fmla="*/ 235 h 266"/>
                  <a:gd name="T68" fmla="*/ 76 w 152"/>
                  <a:gd name="T69" fmla="*/ 126 h 266"/>
                  <a:gd name="T70" fmla="*/ 135 w 152"/>
                  <a:gd name="T71" fmla="*/ 180 h 266"/>
                  <a:gd name="T72" fmla="*/ 76 w 152"/>
                  <a:gd name="T73" fmla="*/ 100 h 266"/>
                  <a:gd name="T74" fmla="*/ 118 w 152"/>
                  <a:gd name="T75" fmla="*/ 153 h 266"/>
                  <a:gd name="T76" fmla="*/ 47 w 152"/>
                  <a:gd name="T77" fmla="*/ 149 h 266"/>
                  <a:gd name="T78" fmla="*/ 105 w 152"/>
                  <a:gd name="T79" fmla="*/ 195 h 266"/>
                  <a:gd name="T80" fmla="*/ 70 w 152"/>
                  <a:gd name="T81" fmla="*/ 25 h 266"/>
                  <a:gd name="T82" fmla="*/ 78 w 152"/>
                  <a:gd name="T83" fmla="*/ 35 h 266"/>
                  <a:gd name="T84" fmla="*/ 70 w 152"/>
                  <a:gd name="T85" fmla="*/ 35 h 266"/>
                  <a:gd name="T86" fmla="*/ 76 w 152"/>
                  <a:gd name="T87" fmla="*/ 4 h 266"/>
                  <a:gd name="T88" fmla="*/ 110 w 152"/>
                  <a:gd name="T89" fmla="*/ 126 h 266"/>
                  <a:gd name="T90" fmla="*/ 85 w 152"/>
                  <a:gd name="T91" fmla="*/ 103 h 266"/>
                  <a:gd name="T92" fmla="*/ 3 w 152"/>
                  <a:gd name="T93" fmla="*/ 208 h 266"/>
                  <a:gd name="T94" fmla="*/ 105 w 152"/>
                  <a:gd name="T95" fmla="*/ 117 h 266"/>
                  <a:gd name="T96" fmla="*/ 116 w 152"/>
                  <a:gd name="T97" fmla="*/ 147 h 266"/>
                  <a:gd name="T98" fmla="*/ 82 w 152"/>
                  <a:gd name="T99" fmla="*/ 134 h 266"/>
                  <a:gd name="T100" fmla="*/ 82 w 152"/>
                  <a:gd name="T101" fmla="*/ 102 h 266"/>
                  <a:gd name="T102" fmla="*/ 118 w 152"/>
                  <a:gd name="T103" fmla="*/ 138 h 266"/>
                  <a:gd name="T104" fmla="*/ 116 w 152"/>
                  <a:gd name="T105" fmla="*/ 117 h 266"/>
                  <a:gd name="T106" fmla="*/ 114 w 152"/>
                  <a:gd name="T107" fmla="*/ 178 h 266"/>
                  <a:gd name="T108" fmla="*/ 127 w 152"/>
                  <a:gd name="T109" fmla="*/ 182 h 266"/>
                  <a:gd name="T110" fmla="*/ 49 w 152"/>
                  <a:gd name="T111" fmla="*/ 145 h 266"/>
                  <a:gd name="T112" fmla="*/ 63 w 152"/>
                  <a:gd name="T113" fmla="*/ 166 h 266"/>
                  <a:gd name="T114" fmla="*/ 85 w 152"/>
                  <a:gd name="T115" fmla="*/ 155 h 266"/>
                  <a:gd name="T116" fmla="*/ 51 w 152"/>
                  <a:gd name="T117" fmla="*/ 168 h 266"/>
                  <a:gd name="T118" fmla="*/ 135 w 152"/>
                  <a:gd name="T119" fmla="*/ 180 h 266"/>
                  <a:gd name="T120" fmla="*/ 72 w 152"/>
                  <a:gd name="T121" fmla="*/ 147 h 266"/>
                  <a:gd name="T122" fmla="*/ 47 w 152"/>
                  <a:gd name="T123" fmla="*/ 258 h 266"/>
                  <a:gd name="T124" fmla="*/ 30 w 152"/>
                  <a:gd name="T125" fmla="*/ 182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2" h="266">
                    <a:moveTo>
                      <a:pt x="61" y="39"/>
                    </a:moveTo>
                    <a:lnTo>
                      <a:pt x="63" y="39"/>
                    </a:lnTo>
                    <a:lnTo>
                      <a:pt x="63" y="41"/>
                    </a:lnTo>
                    <a:lnTo>
                      <a:pt x="65" y="39"/>
                    </a:lnTo>
                    <a:lnTo>
                      <a:pt x="66" y="39"/>
                    </a:lnTo>
                    <a:lnTo>
                      <a:pt x="68" y="41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0" y="44"/>
                    </a:lnTo>
                    <a:lnTo>
                      <a:pt x="82" y="42"/>
                    </a:lnTo>
                    <a:lnTo>
                      <a:pt x="82" y="41"/>
                    </a:lnTo>
                    <a:lnTo>
                      <a:pt x="84" y="41"/>
                    </a:lnTo>
                    <a:lnTo>
                      <a:pt x="84" y="42"/>
                    </a:lnTo>
                    <a:lnTo>
                      <a:pt x="85" y="42"/>
                    </a:lnTo>
                    <a:lnTo>
                      <a:pt x="85" y="44"/>
                    </a:lnTo>
                    <a:lnTo>
                      <a:pt x="84" y="46"/>
                    </a:lnTo>
                    <a:lnTo>
                      <a:pt x="82" y="48"/>
                    </a:lnTo>
                    <a:lnTo>
                      <a:pt x="82" y="50"/>
                    </a:lnTo>
                    <a:lnTo>
                      <a:pt x="84" y="50"/>
                    </a:lnTo>
                    <a:lnTo>
                      <a:pt x="82" y="52"/>
                    </a:lnTo>
                    <a:lnTo>
                      <a:pt x="82" y="54"/>
                    </a:lnTo>
                    <a:lnTo>
                      <a:pt x="82" y="56"/>
                    </a:lnTo>
                    <a:lnTo>
                      <a:pt x="84" y="58"/>
                    </a:lnTo>
                    <a:lnTo>
                      <a:pt x="84" y="60"/>
                    </a:lnTo>
                    <a:lnTo>
                      <a:pt x="85" y="60"/>
                    </a:lnTo>
                    <a:lnTo>
                      <a:pt x="85" y="62"/>
                    </a:lnTo>
                    <a:lnTo>
                      <a:pt x="85" y="60"/>
                    </a:lnTo>
                    <a:lnTo>
                      <a:pt x="87" y="62"/>
                    </a:lnTo>
                    <a:lnTo>
                      <a:pt x="85" y="62"/>
                    </a:lnTo>
                    <a:lnTo>
                      <a:pt x="87" y="62"/>
                    </a:lnTo>
                    <a:lnTo>
                      <a:pt x="85" y="63"/>
                    </a:lnTo>
                    <a:lnTo>
                      <a:pt x="87" y="63"/>
                    </a:lnTo>
                    <a:lnTo>
                      <a:pt x="87" y="65"/>
                    </a:lnTo>
                    <a:lnTo>
                      <a:pt x="87" y="67"/>
                    </a:lnTo>
                    <a:lnTo>
                      <a:pt x="87" y="69"/>
                    </a:lnTo>
                    <a:lnTo>
                      <a:pt x="85" y="71"/>
                    </a:lnTo>
                    <a:lnTo>
                      <a:pt x="84" y="73"/>
                    </a:lnTo>
                    <a:lnTo>
                      <a:pt x="84" y="75"/>
                    </a:lnTo>
                    <a:lnTo>
                      <a:pt x="84" y="77"/>
                    </a:lnTo>
                    <a:lnTo>
                      <a:pt x="84" y="75"/>
                    </a:lnTo>
                    <a:lnTo>
                      <a:pt x="84" y="77"/>
                    </a:lnTo>
                    <a:lnTo>
                      <a:pt x="82" y="77"/>
                    </a:lnTo>
                    <a:lnTo>
                      <a:pt x="84" y="77"/>
                    </a:lnTo>
                    <a:lnTo>
                      <a:pt x="84" y="79"/>
                    </a:lnTo>
                    <a:lnTo>
                      <a:pt x="82" y="81"/>
                    </a:lnTo>
                    <a:lnTo>
                      <a:pt x="80" y="83"/>
                    </a:lnTo>
                    <a:lnTo>
                      <a:pt x="80" y="81"/>
                    </a:lnTo>
                    <a:lnTo>
                      <a:pt x="82" y="81"/>
                    </a:lnTo>
                    <a:lnTo>
                      <a:pt x="82" y="79"/>
                    </a:lnTo>
                    <a:lnTo>
                      <a:pt x="80" y="79"/>
                    </a:lnTo>
                    <a:lnTo>
                      <a:pt x="82" y="79"/>
                    </a:lnTo>
                    <a:lnTo>
                      <a:pt x="80" y="79"/>
                    </a:lnTo>
                    <a:lnTo>
                      <a:pt x="78" y="81"/>
                    </a:lnTo>
                    <a:lnTo>
                      <a:pt x="76" y="81"/>
                    </a:lnTo>
                    <a:lnTo>
                      <a:pt x="74" y="83"/>
                    </a:lnTo>
                    <a:lnTo>
                      <a:pt x="72" y="84"/>
                    </a:lnTo>
                    <a:lnTo>
                      <a:pt x="72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2" y="88"/>
                    </a:lnTo>
                    <a:lnTo>
                      <a:pt x="72" y="90"/>
                    </a:lnTo>
                    <a:lnTo>
                      <a:pt x="72" y="92"/>
                    </a:lnTo>
                    <a:lnTo>
                      <a:pt x="70" y="92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2" y="96"/>
                    </a:lnTo>
                    <a:lnTo>
                      <a:pt x="72" y="98"/>
                    </a:lnTo>
                    <a:lnTo>
                      <a:pt x="72" y="100"/>
                    </a:lnTo>
                    <a:lnTo>
                      <a:pt x="72" y="102"/>
                    </a:lnTo>
                    <a:lnTo>
                      <a:pt x="74" y="102"/>
                    </a:lnTo>
                    <a:lnTo>
                      <a:pt x="76" y="103"/>
                    </a:lnTo>
                    <a:lnTo>
                      <a:pt x="74" y="103"/>
                    </a:lnTo>
                    <a:lnTo>
                      <a:pt x="74" y="105"/>
                    </a:lnTo>
                    <a:lnTo>
                      <a:pt x="74" y="103"/>
                    </a:lnTo>
                    <a:lnTo>
                      <a:pt x="74" y="105"/>
                    </a:lnTo>
                    <a:lnTo>
                      <a:pt x="74" y="109"/>
                    </a:lnTo>
                    <a:lnTo>
                      <a:pt x="76" y="109"/>
                    </a:lnTo>
                    <a:lnTo>
                      <a:pt x="76" y="111"/>
                    </a:lnTo>
                    <a:lnTo>
                      <a:pt x="76" y="113"/>
                    </a:lnTo>
                    <a:lnTo>
                      <a:pt x="78" y="115"/>
                    </a:lnTo>
                    <a:lnTo>
                      <a:pt x="82" y="117"/>
                    </a:lnTo>
                    <a:lnTo>
                      <a:pt x="84" y="117"/>
                    </a:lnTo>
                    <a:lnTo>
                      <a:pt x="82" y="115"/>
                    </a:lnTo>
                    <a:lnTo>
                      <a:pt x="84" y="117"/>
                    </a:lnTo>
                    <a:lnTo>
                      <a:pt x="85" y="115"/>
                    </a:lnTo>
                    <a:lnTo>
                      <a:pt x="84" y="115"/>
                    </a:lnTo>
                    <a:lnTo>
                      <a:pt x="85" y="115"/>
                    </a:lnTo>
                    <a:lnTo>
                      <a:pt x="84" y="115"/>
                    </a:lnTo>
                    <a:lnTo>
                      <a:pt x="84" y="113"/>
                    </a:lnTo>
                    <a:lnTo>
                      <a:pt x="82" y="113"/>
                    </a:lnTo>
                    <a:lnTo>
                      <a:pt x="84" y="113"/>
                    </a:lnTo>
                    <a:lnTo>
                      <a:pt x="82" y="113"/>
                    </a:lnTo>
                    <a:lnTo>
                      <a:pt x="84" y="113"/>
                    </a:lnTo>
                    <a:lnTo>
                      <a:pt x="84" y="111"/>
                    </a:lnTo>
                    <a:lnTo>
                      <a:pt x="84" y="113"/>
                    </a:lnTo>
                    <a:lnTo>
                      <a:pt x="85" y="113"/>
                    </a:lnTo>
                    <a:lnTo>
                      <a:pt x="85" y="111"/>
                    </a:lnTo>
                    <a:lnTo>
                      <a:pt x="85" y="113"/>
                    </a:lnTo>
                    <a:lnTo>
                      <a:pt x="85" y="111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11"/>
                    </a:lnTo>
                    <a:lnTo>
                      <a:pt x="89" y="109"/>
                    </a:lnTo>
                    <a:lnTo>
                      <a:pt x="89" y="111"/>
                    </a:lnTo>
                    <a:lnTo>
                      <a:pt x="91" y="111"/>
                    </a:lnTo>
                    <a:lnTo>
                      <a:pt x="91" y="109"/>
                    </a:lnTo>
                    <a:lnTo>
                      <a:pt x="91" y="111"/>
                    </a:lnTo>
                    <a:lnTo>
                      <a:pt x="91" y="109"/>
                    </a:lnTo>
                    <a:lnTo>
                      <a:pt x="93" y="111"/>
                    </a:lnTo>
                    <a:lnTo>
                      <a:pt x="95" y="111"/>
                    </a:lnTo>
                    <a:lnTo>
                      <a:pt x="93" y="111"/>
                    </a:lnTo>
                    <a:lnTo>
                      <a:pt x="95" y="111"/>
                    </a:lnTo>
                    <a:lnTo>
                      <a:pt x="95" y="113"/>
                    </a:lnTo>
                    <a:lnTo>
                      <a:pt x="93" y="113"/>
                    </a:lnTo>
                    <a:lnTo>
                      <a:pt x="95" y="113"/>
                    </a:lnTo>
                    <a:lnTo>
                      <a:pt x="97" y="113"/>
                    </a:lnTo>
                    <a:lnTo>
                      <a:pt x="97" y="115"/>
                    </a:lnTo>
                    <a:lnTo>
                      <a:pt x="97" y="117"/>
                    </a:lnTo>
                    <a:lnTo>
                      <a:pt x="97" y="119"/>
                    </a:lnTo>
                    <a:lnTo>
                      <a:pt x="97" y="121"/>
                    </a:lnTo>
                    <a:lnTo>
                      <a:pt x="99" y="121"/>
                    </a:lnTo>
                    <a:lnTo>
                      <a:pt x="101" y="119"/>
                    </a:lnTo>
                    <a:lnTo>
                      <a:pt x="101" y="117"/>
                    </a:lnTo>
                    <a:lnTo>
                      <a:pt x="101" y="115"/>
                    </a:lnTo>
                    <a:lnTo>
                      <a:pt x="101" y="117"/>
                    </a:lnTo>
                    <a:lnTo>
                      <a:pt x="99" y="117"/>
                    </a:lnTo>
                    <a:lnTo>
                      <a:pt x="101" y="117"/>
                    </a:lnTo>
                    <a:lnTo>
                      <a:pt x="99" y="117"/>
                    </a:lnTo>
                    <a:lnTo>
                      <a:pt x="99" y="115"/>
                    </a:lnTo>
                    <a:lnTo>
                      <a:pt x="101" y="115"/>
                    </a:lnTo>
                    <a:lnTo>
                      <a:pt x="99" y="115"/>
                    </a:lnTo>
                    <a:lnTo>
                      <a:pt x="101" y="115"/>
                    </a:lnTo>
                    <a:lnTo>
                      <a:pt x="99" y="115"/>
                    </a:lnTo>
                    <a:lnTo>
                      <a:pt x="101" y="115"/>
                    </a:lnTo>
                    <a:lnTo>
                      <a:pt x="101" y="113"/>
                    </a:lnTo>
                    <a:lnTo>
                      <a:pt x="101" y="115"/>
                    </a:lnTo>
                    <a:lnTo>
                      <a:pt x="103" y="115"/>
                    </a:lnTo>
                    <a:lnTo>
                      <a:pt x="101" y="115"/>
                    </a:lnTo>
                    <a:lnTo>
                      <a:pt x="103" y="115"/>
                    </a:lnTo>
                    <a:lnTo>
                      <a:pt x="103" y="117"/>
                    </a:lnTo>
                    <a:lnTo>
                      <a:pt x="105" y="117"/>
                    </a:lnTo>
                    <a:lnTo>
                      <a:pt x="106" y="117"/>
                    </a:lnTo>
                    <a:lnTo>
                      <a:pt x="108" y="117"/>
                    </a:lnTo>
                    <a:lnTo>
                      <a:pt x="108" y="119"/>
                    </a:lnTo>
                    <a:lnTo>
                      <a:pt x="110" y="119"/>
                    </a:lnTo>
                    <a:lnTo>
                      <a:pt x="110" y="121"/>
                    </a:lnTo>
                    <a:lnTo>
                      <a:pt x="110" y="119"/>
                    </a:lnTo>
                    <a:lnTo>
                      <a:pt x="108" y="121"/>
                    </a:lnTo>
                    <a:lnTo>
                      <a:pt x="106" y="121"/>
                    </a:lnTo>
                    <a:lnTo>
                      <a:pt x="105" y="121"/>
                    </a:lnTo>
                    <a:lnTo>
                      <a:pt x="105" y="123"/>
                    </a:lnTo>
                    <a:lnTo>
                      <a:pt x="106" y="124"/>
                    </a:lnTo>
                    <a:lnTo>
                      <a:pt x="108" y="126"/>
                    </a:lnTo>
                    <a:lnTo>
                      <a:pt x="106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08" y="128"/>
                    </a:lnTo>
                    <a:lnTo>
                      <a:pt x="108" y="130"/>
                    </a:lnTo>
                    <a:lnTo>
                      <a:pt x="110" y="130"/>
                    </a:lnTo>
                    <a:lnTo>
                      <a:pt x="112" y="130"/>
                    </a:lnTo>
                    <a:lnTo>
                      <a:pt x="112" y="132"/>
                    </a:lnTo>
                    <a:lnTo>
                      <a:pt x="114" y="130"/>
                    </a:lnTo>
                    <a:lnTo>
                      <a:pt x="114" y="132"/>
                    </a:lnTo>
                    <a:lnTo>
                      <a:pt x="114" y="134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0"/>
                    </a:lnTo>
                    <a:lnTo>
                      <a:pt x="110" y="138"/>
                    </a:lnTo>
                    <a:lnTo>
                      <a:pt x="108" y="134"/>
                    </a:lnTo>
                    <a:lnTo>
                      <a:pt x="110" y="134"/>
                    </a:lnTo>
                    <a:lnTo>
                      <a:pt x="108" y="134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2"/>
                    </a:lnTo>
                    <a:lnTo>
                      <a:pt x="110" y="132"/>
                    </a:lnTo>
                    <a:lnTo>
                      <a:pt x="108" y="132"/>
                    </a:lnTo>
                    <a:lnTo>
                      <a:pt x="108" y="134"/>
                    </a:lnTo>
                    <a:lnTo>
                      <a:pt x="106" y="134"/>
                    </a:lnTo>
                    <a:lnTo>
                      <a:pt x="106" y="132"/>
                    </a:lnTo>
                    <a:lnTo>
                      <a:pt x="106" y="134"/>
                    </a:lnTo>
                    <a:lnTo>
                      <a:pt x="106" y="132"/>
                    </a:lnTo>
                    <a:lnTo>
                      <a:pt x="106" y="134"/>
                    </a:lnTo>
                    <a:lnTo>
                      <a:pt x="105" y="134"/>
                    </a:lnTo>
                    <a:lnTo>
                      <a:pt x="106" y="134"/>
                    </a:lnTo>
                    <a:lnTo>
                      <a:pt x="105" y="134"/>
                    </a:lnTo>
                    <a:lnTo>
                      <a:pt x="105" y="132"/>
                    </a:lnTo>
                    <a:lnTo>
                      <a:pt x="103" y="130"/>
                    </a:lnTo>
                    <a:lnTo>
                      <a:pt x="101" y="130"/>
                    </a:lnTo>
                    <a:lnTo>
                      <a:pt x="101" y="132"/>
                    </a:lnTo>
                    <a:lnTo>
                      <a:pt x="101" y="130"/>
                    </a:lnTo>
                    <a:lnTo>
                      <a:pt x="101" y="128"/>
                    </a:lnTo>
                    <a:lnTo>
                      <a:pt x="99" y="126"/>
                    </a:lnTo>
                    <a:lnTo>
                      <a:pt x="99" y="124"/>
                    </a:lnTo>
                    <a:lnTo>
                      <a:pt x="97" y="123"/>
                    </a:lnTo>
                    <a:lnTo>
                      <a:pt x="97" y="124"/>
                    </a:lnTo>
                    <a:lnTo>
                      <a:pt x="95" y="123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1" y="119"/>
                    </a:lnTo>
                    <a:lnTo>
                      <a:pt x="89" y="119"/>
                    </a:lnTo>
                    <a:lnTo>
                      <a:pt x="89" y="117"/>
                    </a:lnTo>
                    <a:lnTo>
                      <a:pt x="87" y="117"/>
                    </a:lnTo>
                    <a:lnTo>
                      <a:pt x="85" y="117"/>
                    </a:lnTo>
                    <a:lnTo>
                      <a:pt x="87" y="119"/>
                    </a:lnTo>
                    <a:lnTo>
                      <a:pt x="87" y="121"/>
                    </a:lnTo>
                    <a:lnTo>
                      <a:pt x="89" y="123"/>
                    </a:lnTo>
                    <a:lnTo>
                      <a:pt x="89" y="124"/>
                    </a:lnTo>
                    <a:lnTo>
                      <a:pt x="91" y="126"/>
                    </a:lnTo>
                    <a:lnTo>
                      <a:pt x="91" y="128"/>
                    </a:lnTo>
                    <a:lnTo>
                      <a:pt x="89" y="128"/>
                    </a:lnTo>
                    <a:lnTo>
                      <a:pt x="87" y="128"/>
                    </a:lnTo>
                    <a:lnTo>
                      <a:pt x="87" y="126"/>
                    </a:lnTo>
                    <a:lnTo>
                      <a:pt x="87" y="124"/>
                    </a:lnTo>
                    <a:lnTo>
                      <a:pt x="85" y="124"/>
                    </a:lnTo>
                    <a:lnTo>
                      <a:pt x="85" y="123"/>
                    </a:lnTo>
                    <a:lnTo>
                      <a:pt x="84" y="123"/>
                    </a:lnTo>
                    <a:lnTo>
                      <a:pt x="84" y="121"/>
                    </a:lnTo>
                    <a:lnTo>
                      <a:pt x="82" y="119"/>
                    </a:lnTo>
                    <a:lnTo>
                      <a:pt x="80" y="119"/>
                    </a:lnTo>
                    <a:lnTo>
                      <a:pt x="78" y="117"/>
                    </a:lnTo>
                    <a:lnTo>
                      <a:pt x="76" y="117"/>
                    </a:lnTo>
                    <a:lnTo>
                      <a:pt x="74" y="117"/>
                    </a:lnTo>
                    <a:lnTo>
                      <a:pt x="76" y="117"/>
                    </a:lnTo>
                    <a:lnTo>
                      <a:pt x="74" y="117"/>
                    </a:lnTo>
                    <a:lnTo>
                      <a:pt x="72" y="117"/>
                    </a:lnTo>
                    <a:lnTo>
                      <a:pt x="72" y="119"/>
                    </a:lnTo>
                    <a:lnTo>
                      <a:pt x="70" y="119"/>
                    </a:lnTo>
                    <a:lnTo>
                      <a:pt x="70" y="121"/>
                    </a:lnTo>
                    <a:lnTo>
                      <a:pt x="72" y="121"/>
                    </a:lnTo>
                    <a:lnTo>
                      <a:pt x="70" y="121"/>
                    </a:lnTo>
                    <a:lnTo>
                      <a:pt x="68" y="123"/>
                    </a:lnTo>
                    <a:lnTo>
                      <a:pt x="68" y="121"/>
                    </a:lnTo>
                    <a:lnTo>
                      <a:pt x="66" y="121"/>
                    </a:lnTo>
                    <a:lnTo>
                      <a:pt x="65" y="123"/>
                    </a:lnTo>
                    <a:lnTo>
                      <a:pt x="65" y="121"/>
                    </a:lnTo>
                    <a:lnTo>
                      <a:pt x="65" y="119"/>
                    </a:lnTo>
                    <a:lnTo>
                      <a:pt x="63" y="119"/>
                    </a:lnTo>
                    <a:lnTo>
                      <a:pt x="63" y="121"/>
                    </a:lnTo>
                    <a:lnTo>
                      <a:pt x="63" y="119"/>
                    </a:lnTo>
                    <a:lnTo>
                      <a:pt x="63" y="117"/>
                    </a:lnTo>
                    <a:lnTo>
                      <a:pt x="61" y="117"/>
                    </a:lnTo>
                    <a:lnTo>
                      <a:pt x="59" y="117"/>
                    </a:lnTo>
                    <a:lnTo>
                      <a:pt x="59" y="119"/>
                    </a:lnTo>
                    <a:lnTo>
                      <a:pt x="59" y="117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9" y="117"/>
                    </a:lnTo>
                    <a:lnTo>
                      <a:pt x="57" y="117"/>
                    </a:lnTo>
                    <a:lnTo>
                      <a:pt x="57" y="115"/>
                    </a:lnTo>
                    <a:lnTo>
                      <a:pt x="59" y="117"/>
                    </a:lnTo>
                    <a:lnTo>
                      <a:pt x="59" y="115"/>
                    </a:lnTo>
                    <a:lnTo>
                      <a:pt x="57" y="115"/>
                    </a:lnTo>
                    <a:lnTo>
                      <a:pt x="57" y="113"/>
                    </a:lnTo>
                    <a:lnTo>
                      <a:pt x="57" y="111"/>
                    </a:lnTo>
                    <a:lnTo>
                      <a:pt x="59" y="111"/>
                    </a:lnTo>
                    <a:lnTo>
                      <a:pt x="61" y="109"/>
                    </a:lnTo>
                    <a:lnTo>
                      <a:pt x="63" y="109"/>
                    </a:lnTo>
                    <a:lnTo>
                      <a:pt x="63" y="107"/>
                    </a:lnTo>
                    <a:lnTo>
                      <a:pt x="65" y="107"/>
                    </a:lnTo>
                    <a:lnTo>
                      <a:pt x="63" y="107"/>
                    </a:lnTo>
                    <a:lnTo>
                      <a:pt x="65" y="107"/>
                    </a:lnTo>
                    <a:lnTo>
                      <a:pt x="63" y="105"/>
                    </a:lnTo>
                    <a:lnTo>
                      <a:pt x="63" y="103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9" y="102"/>
                    </a:lnTo>
                    <a:lnTo>
                      <a:pt x="57" y="102"/>
                    </a:lnTo>
                    <a:lnTo>
                      <a:pt x="57" y="103"/>
                    </a:lnTo>
                    <a:lnTo>
                      <a:pt x="57" y="105"/>
                    </a:lnTo>
                    <a:lnTo>
                      <a:pt x="57" y="107"/>
                    </a:lnTo>
                    <a:lnTo>
                      <a:pt x="57" y="109"/>
                    </a:lnTo>
                    <a:lnTo>
                      <a:pt x="55" y="107"/>
                    </a:lnTo>
                    <a:lnTo>
                      <a:pt x="55" y="109"/>
                    </a:lnTo>
                    <a:lnTo>
                      <a:pt x="55" y="107"/>
                    </a:lnTo>
                    <a:lnTo>
                      <a:pt x="53" y="107"/>
                    </a:lnTo>
                    <a:lnTo>
                      <a:pt x="55" y="107"/>
                    </a:lnTo>
                    <a:lnTo>
                      <a:pt x="53" y="105"/>
                    </a:lnTo>
                    <a:lnTo>
                      <a:pt x="55" y="105"/>
                    </a:lnTo>
                    <a:lnTo>
                      <a:pt x="53" y="105"/>
                    </a:lnTo>
                    <a:lnTo>
                      <a:pt x="51" y="103"/>
                    </a:lnTo>
                    <a:lnTo>
                      <a:pt x="53" y="103"/>
                    </a:lnTo>
                    <a:lnTo>
                      <a:pt x="51" y="103"/>
                    </a:lnTo>
                    <a:lnTo>
                      <a:pt x="53" y="103"/>
                    </a:lnTo>
                    <a:lnTo>
                      <a:pt x="51" y="102"/>
                    </a:lnTo>
                    <a:lnTo>
                      <a:pt x="53" y="102"/>
                    </a:lnTo>
                    <a:lnTo>
                      <a:pt x="51" y="102"/>
                    </a:lnTo>
                    <a:lnTo>
                      <a:pt x="51" y="103"/>
                    </a:lnTo>
                    <a:lnTo>
                      <a:pt x="49" y="103"/>
                    </a:lnTo>
                    <a:lnTo>
                      <a:pt x="49" y="102"/>
                    </a:lnTo>
                    <a:lnTo>
                      <a:pt x="49" y="98"/>
                    </a:lnTo>
                    <a:lnTo>
                      <a:pt x="47" y="96"/>
                    </a:lnTo>
                    <a:lnTo>
                      <a:pt x="47" y="94"/>
                    </a:lnTo>
                    <a:lnTo>
                      <a:pt x="45" y="92"/>
                    </a:lnTo>
                    <a:lnTo>
                      <a:pt x="47" y="92"/>
                    </a:lnTo>
                    <a:lnTo>
                      <a:pt x="45" y="90"/>
                    </a:lnTo>
                    <a:lnTo>
                      <a:pt x="47" y="92"/>
                    </a:lnTo>
                    <a:lnTo>
                      <a:pt x="47" y="90"/>
                    </a:lnTo>
                    <a:lnTo>
                      <a:pt x="47" y="88"/>
                    </a:lnTo>
                    <a:lnTo>
                      <a:pt x="45" y="88"/>
                    </a:lnTo>
                    <a:lnTo>
                      <a:pt x="47" y="88"/>
                    </a:lnTo>
                    <a:lnTo>
                      <a:pt x="45" y="88"/>
                    </a:lnTo>
                    <a:lnTo>
                      <a:pt x="45" y="86"/>
                    </a:lnTo>
                    <a:lnTo>
                      <a:pt x="47" y="86"/>
                    </a:lnTo>
                    <a:lnTo>
                      <a:pt x="45" y="86"/>
                    </a:lnTo>
                    <a:lnTo>
                      <a:pt x="47" y="84"/>
                    </a:lnTo>
                    <a:lnTo>
                      <a:pt x="45" y="83"/>
                    </a:lnTo>
                    <a:lnTo>
                      <a:pt x="45" y="84"/>
                    </a:lnTo>
                    <a:lnTo>
                      <a:pt x="44" y="84"/>
                    </a:lnTo>
                    <a:lnTo>
                      <a:pt x="44" y="83"/>
                    </a:lnTo>
                    <a:lnTo>
                      <a:pt x="44" y="81"/>
                    </a:lnTo>
                    <a:lnTo>
                      <a:pt x="44" y="79"/>
                    </a:lnTo>
                    <a:lnTo>
                      <a:pt x="45" y="77"/>
                    </a:lnTo>
                    <a:lnTo>
                      <a:pt x="47" y="77"/>
                    </a:lnTo>
                    <a:lnTo>
                      <a:pt x="47" y="79"/>
                    </a:lnTo>
                    <a:lnTo>
                      <a:pt x="47" y="81"/>
                    </a:lnTo>
                    <a:lnTo>
                      <a:pt x="49" y="79"/>
                    </a:lnTo>
                    <a:lnTo>
                      <a:pt x="49" y="81"/>
                    </a:lnTo>
                    <a:lnTo>
                      <a:pt x="49" y="83"/>
                    </a:lnTo>
                    <a:lnTo>
                      <a:pt x="51" y="83"/>
                    </a:lnTo>
                    <a:lnTo>
                      <a:pt x="53" y="81"/>
                    </a:lnTo>
                    <a:lnTo>
                      <a:pt x="55" y="81"/>
                    </a:lnTo>
                    <a:lnTo>
                      <a:pt x="55" y="79"/>
                    </a:lnTo>
                    <a:lnTo>
                      <a:pt x="53" y="79"/>
                    </a:lnTo>
                    <a:lnTo>
                      <a:pt x="53" y="77"/>
                    </a:lnTo>
                    <a:lnTo>
                      <a:pt x="53" y="75"/>
                    </a:lnTo>
                    <a:lnTo>
                      <a:pt x="53" y="73"/>
                    </a:lnTo>
                    <a:lnTo>
                      <a:pt x="53" y="71"/>
                    </a:lnTo>
                    <a:lnTo>
                      <a:pt x="53" y="69"/>
                    </a:lnTo>
                    <a:lnTo>
                      <a:pt x="55" y="67"/>
                    </a:lnTo>
                    <a:lnTo>
                      <a:pt x="55" y="65"/>
                    </a:lnTo>
                    <a:lnTo>
                      <a:pt x="55" y="63"/>
                    </a:lnTo>
                    <a:lnTo>
                      <a:pt x="55" y="62"/>
                    </a:lnTo>
                    <a:lnTo>
                      <a:pt x="55" y="60"/>
                    </a:lnTo>
                    <a:lnTo>
                      <a:pt x="55" y="58"/>
                    </a:lnTo>
                    <a:lnTo>
                      <a:pt x="53" y="56"/>
                    </a:lnTo>
                    <a:lnTo>
                      <a:pt x="53" y="54"/>
                    </a:lnTo>
                    <a:lnTo>
                      <a:pt x="55" y="54"/>
                    </a:lnTo>
                    <a:lnTo>
                      <a:pt x="55" y="52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7" y="42"/>
                    </a:lnTo>
                    <a:lnTo>
                      <a:pt x="57" y="41"/>
                    </a:lnTo>
                    <a:lnTo>
                      <a:pt x="59" y="41"/>
                    </a:lnTo>
                    <a:lnTo>
                      <a:pt x="61" y="41"/>
                    </a:lnTo>
                    <a:lnTo>
                      <a:pt x="61" y="39"/>
                    </a:lnTo>
                    <a:close/>
                    <a:moveTo>
                      <a:pt x="135" y="184"/>
                    </a:moveTo>
                    <a:lnTo>
                      <a:pt x="137" y="184"/>
                    </a:lnTo>
                    <a:lnTo>
                      <a:pt x="137" y="186"/>
                    </a:lnTo>
                    <a:lnTo>
                      <a:pt x="137" y="184"/>
                    </a:lnTo>
                    <a:lnTo>
                      <a:pt x="137" y="186"/>
                    </a:lnTo>
                    <a:lnTo>
                      <a:pt x="137" y="187"/>
                    </a:lnTo>
                    <a:lnTo>
                      <a:pt x="139" y="187"/>
                    </a:lnTo>
                    <a:lnTo>
                      <a:pt x="141" y="187"/>
                    </a:lnTo>
                    <a:lnTo>
                      <a:pt x="141" y="189"/>
                    </a:lnTo>
                    <a:lnTo>
                      <a:pt x="143" y="189"/>
                    </a:lnTo>
                    <a:lnTo>
                      <a:pt x="141" y="189"/>
                    </a:lnTo>
                    <a:lnTo>
                      <a:pt x="143" y="191"/>
                    </a:lnTo>
                    <a:lnTo>
                      <a:pt x="143" y="189"/>
                    </a:lnTo>
                    <a:lnTo>
                      <a:pt x="143" y="191"/>
                    </a:lnTo>
                    <a:lnTo>
                      <a:pt x="143" y="189"/>
                    </a:lnTo>
                    <a:lnTo>
                      <a:pt x="143" y="191"/>
                    </a:lnTo>
                    <a:lnTo>
                      <a:pt x="145" y="193"/>
                    </a:lnTo>
                    <a:lnTo>
                      <a:pt x="147" y="191"/>
                    </a:lnTo>
                    <a:lnTo>
                      <a:pt x="147" y="193"/>
                    </a:lnTo>
                    <a:lnTo>
                      <a:pt x="147" y="195"/>
                    </a:lnTo>
                    <a:lnTo>
                      <a:pt x="147" y="197"/>
                    </a:lnTo>
                    <a:lnTo>
                      <a:pt x="148" y="197"/>
                    </a:lnTo>
                    <a:lnTo>
                      <a:pt x="148" y="199"/>
                    </a:lnTo>
                    <a:lnTo>
                      <a:pt x="148" y="201"/>
                    </a:lnTo>
                    <a:lnTo>
                      <a:pt x="147" y="201"/>
                    </a:lnTo>
                    <a:lnTo>
                      <a:pt x="145" y="203"/>
                    </a:lnTo>
                    <a:lnTo>
                      <a:pt x="147" y="205"/>
                    </a:lnTo>
                    <a:lnTo>
                      <a:pt x="148" y="205"/>
                    </a:lnTo>
                    <a:lnTo>
                      <a:pt x="150" y="205"/>
                    </a:lnTo>
                    <a:lnTo>
                      <a:pt x="148" y="205"/>
                    </a:lnTo>
                    <a:lnTo>
                      <a:pt x="148" y="207"/>
                    </a:lnTo>
                    <a:lnTo>
                      <a:pt x="148" y="208"/>
                    </a:lnTo>
                    <a:lnTo>
                      <a:pt x="150" y="208"/>
                    </a:lnTo>
                    <a:lnTo>
                      <a:pt x="148" y="208"/>
                    </a:lnTo>
                    <a:lnTo>
                      <a:pt x="148" y="210"/>
                    </a:lnTo>
                    <a:lnTo>
                      <a:pt x="150" y="210"/>
                    </a:lnTo>
                    <a:lnTo>
                      <a:pt x="150" y="208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48" y="214"/>
                    </a:lnTo>
                    <a:lnTo>
                      <a:pt x="150" y="214"/>
                    </a:lnTo>
                    <a:lnTo>
                      <a:pt x="148" y="214"/>
                    </a:lnTo>
                    <a:lnTo>
                      <a:pt x="150" y="216"/>
                    </a:lnTo>
                    <a:lnTo>
                      <a:pt x="152" y="216"/>
                    </a:lnTo>
                    <a:lnTo>
                      <a:pt x="152" y="218"/>
                    </a:lnTo>
                    <a:lnTo>
                      <a:pt x="152" y="220"/>
                    </a:lnTo>
                    <a:lnTo>
                      <a:pt x="152" y="222"/>
                    </a:lnTo>
                    <a:lnTo>
                      <a:pt x="152" y="224"/>
                    </a:lnTo>
                    <a:lnTo>
                      <a:pt x="152" y="226"/>
                    </a:lnTo>
                    <a:lnTo>
                      <a:pt x="152" y="228"/>
                    </a:lnTo>
                    <a:lnTo>
                      <a:pt x="150" y="228"/>
                    </a:lnTo>
                    <a:lnTo>
                      <a:pt x="150" y="229"/>
                    </a:lnTo>
                    <a:lnTo>
                      <a:pt x="148" y="229"/>
                    </a:lnTo>
                    <a:lnTo>
                      <a:pt x="148" y="231"/>
                    </a:lnTo>
                    <a:lnTo>
                      <a:pt x="147" y="229"/>
                    </a:lnTo>
                    <a:lnTo>
                      <a:pt x="148" y="229"/>
                    </a:lnTo>
                    <a:lnTo>
                      <a:pt x="147" y="229"/>
                    </a:lnTo>
                    <a:lnTo>
                      <a:pt x="148" y="229"/>
                    </a:lnTo>
                    <a:lnTo>
                      <a:pt x="147" y="229"/>
                    </a:lnTo>
                    <a:lnTo>
                      <a:pt x="147" y="231"/>
                    </a:lnTo>
                    <a:lnTo>
                      <a:pt x="147" y="229"/>
                    </a:lnTo>
                    <a:lnTo>
                      <a:pt x="147" y="233"/>
                    </a:lnTo>
                    <a:lnTo>
                      <a:pt x="147" y="235"/>
                    </a:lnTo>
                    <a:lnTo>
                      <a:pt x="147" y="237"/>
                    </a:lnTo>
                    <a:lnTo>
                      <a:pt x="147" y="239"/>
                    </a:lnTo>
                    <a:lnTo>
                      <a:pt x="147" y="241"/>
                    </a:lnTo>
                    <a:lnTo>
                      <a:pt x="147" y="239"/>
                    </a:lnTo>
                    <a:lnTo>
                      <a:pt x="145" y="239"/>
                    </a:lnTo>
                    <a:lnTo>
                      <a:pt x="147" y="239"/>
                    </a:lnTo>
                    <a:lnTo>
                      <a:pt x="145" y="237"/>
                    </a:lnTo>
                    <a:lnTo>
                      <a:pt x="145" y="235"/>
                    </a:lnTo>
                    <a:lnTo>
                      <a:pt x="145" y="233"/>
                    </a:lnTo>
                    <a:lnTo>
                      <a:pt x="145" y="231"/>
                    </a:lnTo>
                    <a:lnTo>
                      <a:pt x="143" y="229"/>
                    </a:lnTo>
                    <a:lnTo>
                      <a:pt x="143" y="228"/>
                    </a:lnTo>
                    <a:lnTo>
                      <a:pt x="141" y="228"/>
                    </a:lnTo>
                    <a:lnTo>
                      <a:pt x="141" y="226"/>
                    </a:lnTo>
                    <a:lnTo>
                      <a:pt x="141" y="224"/>
                    </a:lnTo>
                    <a:lnTo>
                      <a:pt x="139" y="224"/>
                    </a:lnTo>
                    <a:lnTo>
                      <a:pt x="139" y="226"/>
                    </a:lnTo>
                    <a:lnTo>
                      <a:pt x="137" y="226"/>
                    </a:lnTo>
                    <a:lnTo>
                      <a:pt x="139" y="228"/>
                    </a:lnTo>
                    <a:lnTo>
                      <a:pt x="137" y="228"/>
                    </a:lnTo>
                    <a:lnTo>
                      <a:pt x="135" y="228"/>
                    </a:lnTo>
                    <a:lnTo>
                      <a:pt x="135" y="229"/>
                    </a:lnTo>
                    <a:lnTo>
                      <a:pt x="135" y="231"/>
                    </a:lnTo>
                    <a:lnTo>
                      <a:pt x="133" y="231"/>
                    </a:lnTo>
                    <a:lnTo>
                      <a:pt x="133" y="233"/>
                    </a:lnTo>
                    <a:lnTo>
                      <a:pt x="133" y="235"/>
                    </a:lnTo>
                    <a:lnTo>
                      <a:pt x="135" y="235"/>
                    </a:lnTo>
                    <a:lnTo>
                      <a:pt x="133" y="235"/>
                    </a:lnTo>
                    <a:lnTo>
                      <a:pt x="135" y="235"/>
                    </a:lnTo>
                    <a:lnTo>
                      <a:pt x="135" y="237"/>
                    </a:lnTo>
                    <a:lnTo>
                      <a:pt x="137" y="237"/>
                    </a:lnTo>
                    <a:lnTo>
                      <a:pt x="137" y="239"/>
                    </a:lnTo>
                    <a:lnTo>
                      <a:pt x="139" y="241"/>
                    </a:lnTo>
                    <a:lnTo>
                      <a:pt x="139" y="243"/>
                    </a:lnTo>
                    <a:lnTo>
                      <a:pt x="139" y="245"/>
                    </a:lnTo>
                    <a:lnTo>
                      <a:pt x="137" y="247"/>
                    </a:lnTo>
                    <a:lnTo>
                      <a:pt x="135" y="249"/>
                    </a:lnTo>
                    <a:lnTo>
                      <a:pt x="135" y="250"/>
                    </a:lnTo>
                    <a:lnTo>
                      <a:pt x="133" y="252"/>
                    </a:lnTo>
                    <a:lnTo>
                      <a:pt x="131" y="252"/>
                    </a:lnTo>
                    <a:lnTo>
                      <a:pt x="133" y="250"/>
                    </a:lnTo>
                    <a:lnTo>
                      <a:pt x="131" y="250"/>
                    </a:lnTo>
                    <a:lnTo>
                      <a:pt x="131" y="249"/>
                    </a:lnTo>
                    <a:lnTo>
                      <a:pt x="129" y="249"/>
                    </a:lnTo>
                    <a:lnTo>
                      <a:pt x="129" y="247"/>
                    </a:lnTo>
                    <a:lnTo>
                      <a:pt x="131" y="249"/>
                    </a:lnTo>
                    <a:lnTo>
                      <a:pt x="131" y="247"/>
                    </a:lnTo>
                    <a:lnTo>
                      <a:pt x="131" y="245"/>
                    </a:lnTo>
                    <a:lnTo>
                      <a:pt x="131" y="243"/>
                    </a:lnTo>
                    <a:lnTo>
                      <a:pt x="129" y="243"/>
                    </a:lnTo>
                    <a:lnTo>
                      <a:pt x="129" y="245"/>
                    </a:lnTo>
                    <a:lnTo>
                      <a:pt x="129" y="247"/>
                    </a:lnTo>
                    <a:lnTo>
                      <a:pt x="126" y="247"/>
                    </a:lnTo>
                    <a:lnTo>
                      <a:pt x="122" y="245"/>
                    </a:lnTo>
                    <a:lnTo>
                      <a:pt x="120" y="245"/>
                    </a:lnTo>
                    <a:lnTo>
                      <a:pt x="118" y="243"/>
                    </a:lnTo>
                    <a:lnTo>
                      <a:pt x="116" y="243"/>
                    </a:lnTo>
                    <a:lnTo>
                      <a:pt x="114" y="241"/>
                    </a:lnTo>
                    <a:lnTo>
                      <a:pt x="114" y="239"/>
                    </a:lnTo>
                    <a:lnTo>
                      <a:pt x="112" y="239"/>
                    </a:lnTo>
                    <a:lnTo>
                      <a:pt x="112" y="237"/>
                    </a:lnTo>
                    <a:lnTo>
                      <a:pt x="112" y="235"/>
                    </a:lnTo>
                    <a:lnTo>
                      <a:pt x="112" y="233"/>
                    </a:lnTo>
                    <a:lnTo>
                      <a:pt x="112" y="231"/>
                    </a:lnTo>
                    <a:lnTo>
                      <a:pt x="110" y="233"/>
                    </a:lnTo>
                    <a:lnTo>
                      <a:pt x="110" y="231"/>
                    </a:lnTo>
                    <a:lnTo>
                      <a:pt x="110" y="229"/>
                    </a:lnTo>
                    <a:lnTo>
                      <a:pt x="112" y="228"/>
                    </a:lnTo>
                    <a:lnTo>
                      <a:pt x="112" y="226"/>
                    </a:lnTo>
                    <a:lnTo>
                      <a:pt x="114" y="226"/>
                    </a:lnTo>
                    <a:lnTo>
                      <a:pt x="114" y="224"/>
                    </a:lnTo>
                    <a:lnTo>
                      <a:pt x="116" y="224"/>
                    </a:lnTo>
                    <a:lnTo>
                      <a:pt x="116" y="222"/>
                    </a:lnTo>
                    <a:lnTo>
                      <a:pt x="114" y="222"/>
                    </a:lnTo>
                    <a:lnTo>
                      <a:pt x="114" y="220"/>
                    </a:lnTo>
                    <a:lnTo>
                      <a:pt x="112" y="218"/>
                    </a:lnTo>
                    <a:lnTo>
                      <a:pt x="110" y="218"/>
                    </a:lnTo>
                    <a:lnTo>
                      <a:pt x="108" y="218"/>
                    </a:lnTo>
                    <a:lnTo>
                      <a:pt x="106" y="216"/>
                    </a:lnTo>
                    <a:lnTo>
                      <a:pt x="105" y="216"/>
                    </a:lnTo>
                    <a:lnTo>
                      <a:pt x="105" y="214"/>
                    </a:lnTo>
                    <a:lnTo>
                      <a:pt x="103" y="216"/>
                    </a:lnTo>
                    <a:lnTo>
                      <a:pt x="103" y="218"/>
                    </a:lnTo>
                    <a:lnTo>
                      <a:pt x="103" y="220"/>
                    </a:lnTo>
                    <a:lnTo>
                      <a:pt x="101" y="220"/>
                    </a:lnTo>
                    <a:lnTo>
                      <a:pt x="103" y="220"/>
                    </a:lnTo>
                    <a:lnTo>
                      <a:pt x="101" y="220"/>
                    </a:lnTo>
                    <a:lnTo>
                      <a:pt x="103" y="222"/>
                    </a:lnTo>
                    <a:lnTo>
                      <a:pt x="103" y="224"/>
                    </a:lnTo>
                    <a:lnTo>
                      <a:pt x="101" y="222"/>
                    </a:lnTo>
                    <a:lnTo>
                      <a:pt x="101" y="220"/>
                    </a:lnTo>
                    <a:lnTo>
                      <a:pt x="99" y="220"/>
                    </a:lnTo>
                    <a:lnTo>
                      <a:pt x="99" y="222"/>
                    </a:lnTo>
                    <a:lnTo>
                      <a:pt x="99" y="220"/>
                    </a:lnTo>
                    <a:lnTo>
                      <a:pt x="97" y="220"/>
                    </a:lnTo>
                    <a:lnTo>
                      <a:pt x="99" y="220"/>
                    </a:lnTo>
                    <a:lnTo>
                      <a:pt x="99" y="218"/>
                    </a:lnTo>
                    <a:lnTo>
                      <a:pt x="97" y="218"/>
                    </a:lnTo>
                    <a:lnTo>
                      <a:pt x="99" y="218"/>
                    </a:lnTo>
                    <a:lnTo>
                      <a:pt x="97" y="218"/>
                    </a:lnTo>
                    <a:lnTo>
                      <a:pt x="99" y="218"/>
                    </a:lnTo>
                    <a:lnTo>
                      <a:pt x="97" y="216"/>
                    </a:lnTo>
                    <a:lnTo>
                      <a:pt x="97" y="218"/>
                    </a:lnTo>
                    <a:lnTo>
                      <a:pt x="97" y="220"/>
                    </a:lnTo>
                    <a:lnTo>
                      <a:pt x="95" y="220"/>
                    </a:lnTo>
                    <a:lnTo>
                      <a:pt x="95" y="222"/>
                    </a:lnTo>
                    <a:lnTo>
                      <a:pt x="95" y="220"/>
                    </a:lnTo>
                    <a:lnTo>
                      <a:pt x="93" y="220"/>
                    </a:lnTo>
                    <a:lnTo>
                      <a:pt x="93" y="222"/>
                    </a:lnTo>
                    <a:lnTo>
                      <a:pt x="91" y="222"/>
                    </a:lnTo>
                    <a:lnTo>
                      <a:pt x="93" y="220"/>
                    </a:lnTo>
                    <a:lnTo>
                      <a:pt x="93" y="218"/>
                    </a:lnTo>
                    <a:lnTo>
                      <a:pt x="91" y="218"/>
                    </a:lnTo>
                    <a:lnTo>
                      <a:pt x="93" y="218"/>
                    </a:lnTo>
                    <a:lnTo>
                      <a:pt x="93" y="216"/>
                    </a:lnTo>
                    <a:lnTo>
                      <a:pt x="91" y="216"/>
                    </a:lnTo>
                    <a:lnTo>
                      <a:pt x="89" y="216"/>
                    </a:lnTo>
                    <a:lnTo>
                      <a:pt x="87" y="218"/>
                    </a:lnTo>
                    <a:lnTo>
                      <a:pt x="87" y="220"/>
                    </a:lnTo>
                    <a:lnTo>
                      <a:pt x="85" y="220"/>
                    </a:lnTo>
                    <a:lnTo>
                      <a:pt x="85" y="222"/>
                    </a:lnTo>
                    <a:lnTo>
                      <a:pt x="85" y="220"/>
                    </a:lnTo>
                    <a:lnTo>
                      <a:pt x="85" y="222"/>
                    </a:lnTo>
                    <a:lnTo>
                      <a:pt x="85" y="224"/>
                    </a:lnTo>
                    <a:lnTo>
                      <a:pt x="84" y="224"/>
                    </a:lnTo>
                    <a:lnTo>
                      <a:pt x="84" y="226"/>
                    </a:lnTo>
                    <a:lnTo>
                      <a:pt x="84" y="228"/>
                    </a:lnTo>
                    <a:lnTo>
                      <a:pt x="84" y="229"/>
                    </a:lnTo>
                    <a:lnTo>
                      <a:pt x="82" y="229"/>
                    </a:lnTo>
                    <a:lnTo>
                      <a:pt x="82" y="231"/>
                    </a:lnTo>
                    <a:lnTo>
                      <a:pt x="78" y="229"/>
                    </a:lnTo>
                    <a:lnTo>
                      <a:pt x="78" y="228"/>
                    </a:lnTo>
                    <a:lnTo>
                      <a:pt x="78" y="226"/>
                    </a:lnTo>
                    <a:lnTo>
                      <a:pt x="80" y="226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80" y="222"/>
                    </a:lnTo>
                    <a:lnTo>
                      <a:pt x="82" y="220"/>
                    </a:lnTo>
                    <a:lnTo>
                      <a:pt x="82" y="218"/>
                    </a:lnTo>
                    <a:lnTo>
                      <a:pt x="82" y="216"/>
                    </a:lnTo>
                    <a:lnTo>
                      <a:pt x="82" y="214"/>
                    </a:lnTo>
                    <a:lnTo>
                      <a:pt x="84" y="214"/>
                    </a:lnTo>
                    <a:lnTo>
                      <a:pt x="85" y="212"/>
                    </a:lnTo>
                    <a:lnTo>
                      <a:pt x="87" y="212"/>
                    </a:lnTo>
                    <a:lnTo>
                      <a:pt x="89" y="212"/>
                    </a:lnTo>
                    <a:lnTo>
                      <a:pt x="89" y="210"/>
                    </a:lnTo>
                    <a:lnTo>
                      <a:pt x="91" y="210"/>
                    </a:lnTo>
                    <a:lnTo>
                      <a:pt x="93" y="210"/>
                    </a:lnTo>
                    <a:lnTo>
                      <a:pt x="95" y="210"/>
                    </a:lnTo>
                    <a:lnTo>
                      <a:pt x="95" y="208"/>
                    </a:lnTo>
                    <a:lnTo>
                      <a:pt x="95" y="207"/>
                    </a:lnTo>
                    <a:lnTo>
                      <a:pt x="97" y="205"/>
                    </a:lnTo>
                    <a:lnTo>
                      <a:pt x="99" y="205"/>
                    </a:lnTo>
                    <a:lnTo>
                      <a:pt x="101" y="205"/>
                    </a:lnTo>
                    <a:lnTo>
                      <a:pt x="101" y="203"/>
                    </a:lnTo>
                    <a:lnTo>
                      <a:pt x="103" y="203"/>
                    </a:lnTo>
                    <a:lnTo>
                      <a:pt x="103" y="201"/>
                    </a:lnTo>
                    <a:lnTo>
                      <a:pt x="101" y="201"/>
                    </a:lnTo>
                    <a:lnTo>
                      <a:pt x="103" y="201"/>
                    </a:lnTo>
                    <a:lnTo>
                      <a:pt x="103" y="203"/>
                    </a:lnTo>
                    <a:lnTo>
                      <a:pt x="103" y="201"/>
                    </a:lnTo>
                    <a:lnTo>
                      <a:pt x="105" y="201"/>
                    </a:lnTo>
                    <a:lnTo>
                      <a:pt x="103" y="203"/>
                    </a:lnTo>
                    <a:lnTo>
                      <a:pt x="105" y="203"/>
                    </a:lnTo>
                    <a:lnTo>
                      <a:pt x="106" y="203"/>
                    </a:lnTo>
                    <a:lnTo>
                      <a:pt x="108" y="203"/>
                    </a:lnTo>
                    <a:lnTo>
                      <a:pt x="108" y="205"/>
                    </a:lnTo>
                    <a:lnTo>
                      <a:pt x="108" y="207"/>
                    </a:lnTo>
                    <a:lnTo>
                      <a:pt x="110" y="208"/>
                    </a:lnTo>
                    <a:lnTo>
                      <a:pt x="108" y="208"/>
                    </a:lnTo>
                    <a:lnTo>
                      <a:pt x="110" y="208"/>
                    </a:lnTo>
                    <a:lnTo>
                      <a:pt x="110" y="210"/>
                    </a:lnTo>
                    <a:lnTo>
                      <a:pt x="108" y="210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4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8" y="210"/>
                    </a:lnTo>
                    <a:lnTo>
                      <a:pt x="110" y="210"/>
                    </a:lnTo>
                    <a:lnTo>
                      <a:pt x="112" y="210"/>
                    </a:lnTo>
                    <a:lnTo>
                      <a:pt x="114" y="210"/>
                    </a:lnTo>
                    <a:lnTo>
                      <a:pt x="116" y="208"/>
                    </a:lnTo>
                    <a:lnTo>
                      <a:pt x="116" y="207"/>
                    </a:lnTo>
                    <a:lnTo>
                      <a:pt x="116" y="205"/>
                    </a:lnTo>
                    <a:lnTo>
                      <a:pt x="118" y="203"/>
                    </a:lnTo>
                    <a:lnTo>
                      <a:pt x="120" y="203"/>
                    </a:lnTo>
                    <a:lnTo>
                      <a:pt x="120" y="205"/>
                    </a:lnTo>
                    <a:lnTo>
                      <a:pt x="122" y="205"/>
                    </a:lnTo>
                    <a:lnTo>
                      <a:pt x="124" y="205"/>
                    </a:lnTo>
                    <a:lnTo>
                      <a:pt x="124" y="203"/>
                    </a:lnTo>
                    <a:lnTo>
                      <a:pt x="124" y="201"/>
                    </a:lnTo>
                    <a:lnTo>
                      <a:pt x="124" y="199"/>
                    </a:lnTo>
                    <a:lnTo>
                      <a:pt x="124" y="197"/>
                    </a:lnTo>
                    <a:lnTo>
                      <a:pt x="126" y="197"/>
                    </a:lnTo>
                    <a:lnTo>
                      <a:pt x="127" y="197"/>
                    </a:lnTo>
                    <a:lnTo>
                      <a:pt x="127" y="199"/>
                    </a:lnTo>
                    <a:lnTo>
                      <a:pt x="129" y="199"/>
                    </a:lnTo>
                    <a:lnTo>
                      <a:pt x="131" y="197"/>
                    </a:lnTo>
                    <a:lnTo>
                      <a:pt x="129" y="197"/>
                    </a:lnTo>
                    <a:lnTo>
                      <a:pt x="131" y="197"/>
                    </a:lnTo>
                    <a:lnTo>
                      <a:pt x="131" y="195"/>
                    </a:lnTo>
                    <a:lnTo>
                      <a:pt x="131" y="197"/>
                    </a:lnTo>
                    <a:lnTo>
                      <a:pt x="133" y="197"/>
                    </a:lnTo>
                    <a:lnTo>
                      <a:pt x="135" y="197"/>
                    </a:lnTo>
                    <a:lnTo>
                      <a:pt x="135" y="195"/>
                    </a:lnTo>
                    <a:lnTo>
                      <a:pt x="135" y="193"/>
                    </a:lnTo>
                    <a:lnTo>
                      <a:pt x="135" y="191"/>
                    </a:lnTo>
                    <a:lnTo>
                      <a:pt x="135" y="189"/>
                    </a:lnTo>
                    <a:lnTo>
                      <a:pt x="133" y="186"/>
                    </a:lnTo>
                    <a:lnTo>
                      <a:pt x="133" y="184"/>
                    </a:lnTo>
                    <a:lnTo>
                      <a:pt x="135" y="184"/>
                    </a:lnTo>
                    <a:close/>
                    <a:moveTo>
                      <a:pt x="99" y="165"/>
                    </a:moveTo>
                    <a:lnTo>
                      <a:pt x="101" y="165"/>
                    </a:lnTo>
                    <a:lnTo>
                      <a:pt x="103" y="165"/>
                    </a:lnTo>
                    <a:lnTo>
                      <a:pt x="103" y="166"/>
                    </a:lnTo>
                    <a:lnTo>
                      <a:pt x="103" y="165"/>
                    </a:lnTo>
                    <a:lnTo>
                      <a:pt x="105" y="166"/>
                    </a:lnTo>
                    <a:lnTo>
                      <a:pt x="103" y="166"/>
                    </a:lnTo>
                    <a:lnTo>
                      <a:pt x="105" y="166"/>
                    </a:lnTo>
                    <a:lnTo>
                      <a:pt x="105" y="168"/>
                    </a:lnTo>
                    <a:lnTo>
                      <a:pt x="103" y="170"/>
                    </a:lnTo>
                    <a:lnTo>
                      <a:pt x="103" y="172"/>
                    </a:lnTo>
                    <a:lnTo>
                      <a:pt x="101" y="174"/>
                    </a:lnTo>
                    <a:lnTo>
                      <a:pt x="101" y="176"/>
                    </a:lnTo>
                    <a:lnTo>
                      <a:pt x="101" y="178"/>
                    </a:lnTo>
                    <a:lnTo>
                      <a:pt x="99" y="180"/>
                    </a:lnTo>
                    <a:lnTo>
                      <a:pt x="99" y="182"/>
                    </a:lnTo>
                    <a:lnTo>
                      <a:pt x="99" y="184"/>
                    </a:lnTo>
                    <a:lnTo>
                      <a:pt x="97" y="184"/>
                    </a:lnTo>
                    <a:lnTo>
                      <a:pt x="99" y="184"/>
                    </a:lnTo>
                    <a:lnTo>
                      <a:pt x="97" y="184"/>
                    </a:lnTo>
                    <a:lnTo>
                      <a:pt x="99" y="184"/>
                    </a:lnTo>
                    <a:lnTo>
                      <a:pt x="99" y="186"/>
                    </a:lnTo>
                    <a:lnTo>
                      <a:pt x="97" y="186"/>
                    </a:lnTo>
                    <a:lnTo>
                      <a:pt x="97" y="187"/>
                    </a:lnTo>
                    <a:lnTo>
                      <a:pt x="99" y="187"/>
                    </a:lnTo>
                    <a:lnTo>
                      <a:pt x="97" y="187"/>
                    </a:lnTo>
                    <a:lnTo>
                      <a:pt x="99" y="187"/>
                    </a:lnTo>
                    <a:lnTo>
                      <a:pt x="99" y="189"/>
                    </a:lnTo>
                    <a:lnTo>
                      <a:pt x="101" y="191"/>
                    </a:lnTo>
                    <a:lnTo>
                      <a:pt x="101" y="193"/>
                    </a:lnTo>
                    <a:lnTo>
                      <a:pt x="99" y="195"/>
                    </a:lnTo>
                    <a:lnTo>
                      <a:pt x="97" y="195"/>
                    </a:lnTo>
                    <a:lnTo>
                      <a:pt x="95" y="195"/>
                    </a:lnTo>
                    <a:lnTo>
                      <a:pt x="93" y="193"/>
                    </a:lnTo>
                    <a:lnTo>
                      <a:pt x="93" y="191"/>
                    </a:lnTo>
                    <a:lnTo>
                      <a:pt x="91" y="191"/>
                    </a:lnTo>
                    <a:lnTo>
                      <a:pt x="89" y="189"/>
                    </a:lnTo>
                    <a:lnTo>
                      <a:pt x="87" y="187"/>
                    </a:lnTo>
                    <a:lnTo>
                      <a:pt x="87" y="186"/>
                    </a:lnTo>
                    <a:lnTo>
                      <a:pt x="85" y="186"/>
                    </a:lnTo>
                    <a:lnTo>
                      <a:pt x="85" y="184"/>
                    </a:lnTo>
                    <a:lnTo>
                      <a:pt x="87" y="182"/>
                    </a:lnTo>
                    <a:lnTo>
                      <a:pt x="87" y="180"/>
                    </a:lnTo>
                    <a:lnTo>
                      <a:pt x="89" y="182"/>
                    </a:lnTo>
                    <a:lnTo>
                      <a:pt x="91" y="180"/>
                    </a:lnTo>
                    <a:lnTo>
                      <a:pt x="93" y="180"/>
                    </a:lnTo>
                    <a:lnTo>
                      <a:pt x="93" y="176"/>
                    </a:lnTo>
                    <a:lnTo>
                      <a:pt x="93" y="174"/>
                    </a:lnTo>
                    <a:lnTo>
                      <a:pt x="93" y="172"/>
                    </a:lnTo>
                    <a:lnTo>
                      <a:pt x="93" y="170"/>
                    </a:lnTo>
                    <a:lnTo>
                      <a:pt x="95" y="170"/>
                    </a:lnTo>
                    <a:lnTo>
                      <a:pt x="95" y="168"/>
                    </a:lnTo>
                    <a:lnTo>
                      <a:pt x="95" y="170"/>
                    </a:lnTo>
                    <a:lnTo>
                      <a:pt x="95" y="168"/>
                    </a:lnTo>
                    <a:lnTo>
                      <a:pt x="95" y="166"/>
                    </a:lnTo>
                    <a:lnTo>
                      <a:pt x="97" y="166"/>
                    </a:lnTo>
                    <a:lnTo>
                      <a:pt x="97" y="165"/>
                    </a:lnTo>
                    <a:lnTo>
                      <a:pt x="99" y="165"/>
                    </a:lnTo>
                    <a:close/>
                    <a:moveTo>
                      <a:pt x="129" y="138"/>
                    </a:moveTo>
                    <a:lnTo>
                      <a:pt x="131" y="140"/>
                    </a:lnTo>
                    <a:lnTo>
                      <a:pt x="133" y="142"/>
                    </a:lnTo>
                    <a:lnTo>
                      <a:pt x="131" y="142"/>
                    </a:lnTo>
                    <a:lnTo>
                      <a:pt x="133" y="142"/>
                    </a:lnTo>
                    <a:lnTo>
                      <a:pt x="131" y="142"/>
                    </a:lnTo>
                    <a:lnTo>
                      <a:pt x="133" y="142"/>
                    </a:lnTo>
                    <a:lnTo>
                      <a:pt x="131" y="142"/>
                    </a:lnTo>
                    <a:lnTo>
                      <a:pt x="133" y="144"/>
                    </a:lnTo>
                    <a:lnTo>
                      <a:pt x="131" y="144"/>
                    </a:lnTo>
                    <a:lnTo>
                      <a:pt x="133" y="144"/>
                    </a:lnTo>
                    <a:lnTo>
                      <a:pt x="135" y="144"/>
                    </a:lnTo>
                    <a:lnTo>
                      <a:pt x="135" y="145"/>
                    </a:lnTo>
                    <a:lnTo>
                      <a:pt x="135" y="147"/>
                    </a:lnTo>
                    <a:lnTo>
                      <a:pt x="135" y="149"/>
                    </a:lnTo>
                    <a:lnTo>
                      <a:pt x="133" y="149"/>
                    </a:lnTo>
                    <a:lnTo>
                      <a:pt x="135" y="149"/>
                    </a:lnTo>
                    <a:lnTo>
                      <a:pt x="135" y="151"/>
                    </a:lnTo>
                    <a:lnTo>
                      <a:pt x="133" y="151"/>
                    </a:lnTo>
                    <a:lnTo>
                      <a:pt x="135" y="151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5" y="153"/>
                    </a:lnTo>
                    <a:lnTo>
                      <a:pt x="135" y="155"/>
                    </a:lnTo>
                    <a:lnTo>
                      <a:pt x="135" y="157"/>
                    </a:lnTo>
                    <a:lnTo>
                      <a:pt x="137" y="157"/>
                    </a:lnTo>
                    <a:lnTo>
                      <a:pt x="137" y="159"/>
                    </a:lnTo>
                    <a:lnTo>
                      <a:pt x="137" y="157"/>
                    </a:lnTo>
                    <a:lnTo>
                      <a:pt x="137" y="159"/>
                    </a:lnTo>
                    <a:lnTo>
                      <a:pt x="137" y="161"/>
                    </a:lnTo>
                    <a:lnTo>
                      <a:pt x="135" y="161"/>
                    </a:lnTo>
                    <a:lnTo>
                      <a:pt x="137" y="161"/>
                    </a:lnTo>
                    <a:lnTo>
                      <a:pt x="139" y="161"/>
                    </a:lnTo>
                    <a:lnTo>
                      <a:pt x="139" y="163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7" y="163"/>
                    </a:lnTo>
                    <a:lnTo>
                      <a:pt x="135" y="163"/>
                    </a:lnTo>
                    <a:lnTo>
                      <a:pt x="133" y="163"/>
                    </a:lnTo>
                    <a:lnTo>
                      <a:pt x="131" y="163"/>
                    </a:lnTo>
                    <a:lnTo>
                      <a:pt x="131" y="161"/>
                    </a:lnTo>
                    <a:lnTo>
                      <a:pt x="129" y="161"/>
                    </a:lnTo>
                    <a:lnTo>
                      <a:pt x="129" y="159"/>
                    </a:lnTo>
                    <a:lnTo>
                      <a:pt x="127" y="161"/>
                    </a:lnTo>
                    <a:lnTo>
                      <a:pt x="127" y="159"/>
                    </a:lnTo>
                    <a:lnTo>
                      <a:pt x="127" y="157"/>
                    </a:lnTo>
                    <a:lnTo>
                      <a:pt x="126" y="157"/>
                    </a:lnTo>
                    <a:lnTo>
                      <a:pt x="124" y="155"/>
                    </a:lnTo>
                    <a:lnTo>
                      <a:pt x="126" y="157"/>
                    </a:lnTo>
                    <a:lnTo>
                      <a:pt x="126" y="155"/>
                    </a:lnTo>
                    <a:lnTo>
                      <a:pt x="127" y="155"/>
                    </a:lnTo>
                    <a:lnTo>
                      <a:pt x="127" y="153"/>
                    </a:lnTo>
                    <a:lnTo>
                      <a:pt x="127" y="151"/>
                    </a:lnTo>
                    <a:lnTo>
                      <a:pt x="126" y="153"/>
                    </a:lnTo>
                    <a:lnTo>
                      <a:pt x="126" y="151"/>
                    </a:lnTo>
                    <a:lnTo>
                      <a:pt x="124" y="151"/>
                    </a:lnTo>
                    <a:lnTo>
                      <a:pt x="126" y="151"/>
                    </a:lnTo>
                    <a:lnTo>
                      <a:pt x="124" y="151"/>
                    </a:lnTo>
                    <a:lnTo>
                      <a:pt x="124" y="149"/>
                    </a:lnTo>
                    <a:lnTo>
                      <a:pt x="126" y="149"/>
                    </a:lnTo>
                    <a:lnTo>
                      <a:pt x="124" y="149"/>
                    </a:lnTo>
                    <a:lnTo>
                      <a:pt x="122" y="149"/>
                    </a:lnTo>
                    <a:lnTo>
                      <a:pt x="122" y="147"/>
                    </a:lnTo>
                    <a:lnTo>
                      <a:pt x="120" y="147"/>
                    </a:lnTo>
                    <a:lnTo>
                      <a:pt x="118" y="145"/>
                    </a:lnTo>
                    <a:lnTo>
                      <a:pt x="118" y="144"/>
                    </a:lnTo>
                    <a:lnTo>
                      <a:pt x="116" y="142"/>
                    </a:lnTo>
                    <a:lnTo>
                      <a:pt x="116" y="140"/>
                    </a:lnTo>
                    <a:lnTo>
                      <a:pt x="116" y="138"/>
                    </a:lnTo>
                    <a:lnTo>
                      <a:pt x="116" y="140"/>
                    </a:lnTo>
                    <a:lnTo>
                      <a:pt x="118" y="140"/>
                    </a:lnTo>
                    <a:lnTo>
                      <a:pt x="120" y="140"/>
                    </a:lnTo>
                    <a:lnTo>
                      <a:pt x="122" y="140"/>
                    </a:lnTo>
                    <a:lnTo>
                      <a:pt x="124" y="140"/>
                    </a:lnTo>
                    <a:lnTo>
                      <a:pt x="126" y="140"/>
                    </a:lnTo>
                    <a:lnTo>
                      <a:pt x="126" y="138"/>
                    </a:lnTo>
                    <a:lnTo>
                      <a:pt x="126" y="140"/>
                    </a:lnTo>
                    <a:lnTo>
                      <a:pt x="127" y="138"/>
                    </a:lnTo>
                    <a:lnTo>
                      <a:pt x="127" y="140"/>
                    </a:lnTo>
                    <a:lnTo>
                      <a:pt x="129" y="140"/>
                    </a:lnTo>
                    <a:lnTo>
                      <a:pt x="129" y="138"/>
                    </a:lnTo>
                    <a:lnTo>
                      <a:pt x="129" y="140"/>
                    </a:lnTo>
                    <a:lnTo>
                      <a:pt x="129" y="138"/>
                    </a:lnTo>
                    <a:close/>
                    <a:moveTo>
                      <a:pt x="80" y="149"/>
                    </a:moveTo>
                    <a:lnTo>
                      <a:pt x="82" y="151"/>
                    </a:lnTo>
                    <a:lnTo>
                      <a:pt x="84" y="151"/>
                    </a:lnTo>
                    <a:lnTo>
                      <a:pt x="85" y="153"/>
                    </a:lnTo>
                    <a:lnTo>
                      <a:pt x="87" y="155"/>
                    </a:lnTo>
                    <a:lnTo>
                      <a:pt x="87" y="153"/>
                    </a:lnTo>
                    <a:lnTo>
                      <a:pt x="85" y="153"/>
                    </a:lnTo>
                    <a:lnTo>
                      <a:pt x="85" y="155"/>
                    </a:lnTo>
                    <a:lnTo>
                      <a:pt x="87" y="155"/>
                    </a:lnTo>
                    <a:lnTo>
                      <a:pt x="85" y="155"/>
                    </a:lnTo>
                    <a:lnTo>
                      <a:pt x="87" y="155"/>
                    </a:lnTo>
                    <a:lnTo>
                      <a:pt x="89" y="155"/>
                    </a:lnTo>
                    <a:lnTo>
                      <a:pt x="89" y="157"/>
                    </a:lnTo>
                    <a:lnTo>
                      <a:pt x="89" y="155"/>
                    </a:lnTo>
                    <a:lnTo>
                      <a:pt x="91" y="155"/>
                    </a:lnTo>
                    <a:lnTo>
                      <a:pt x="93" y="155"/>
                    </a:lnTo>
                    <a:lnTo>
                      <a:pt x="95" y="155"/>
                    </a:lnTo>
                    <a:lnTo>
                      <a:pt x="93" y="157"/>
                    </a:lnTo>
                    <a:lnTo>
                      <a:pt x="95" y="157"/>
                    </a:lnTo>
                    <a:lnTo>
                      <a:pt x="97" y="155"/>
                    </a:lnTo>
                    <a:lnTo>
                      <a:pt x="99" y="155"/>
                    </a:lnTo>
                    <a:lnTo>
                      <a:pt x="97" y="157"/>
                    </a:lnTo>
                    <a:lnTo>
                      <a:pt x="97" y="155"/>
                    </a:lnTo>
                    <a:lnTo>
                      <a:pt x="97" y="157"/>
                    </a:lnTo>
                    <a:lnTo>
                      <a:pt x="99" y="157"/>
                    </a:lnTo>
                    <a:lnTo>
                      <a:pt x="97" y="157"/>
                    </a:lnTo>
                    <a:lnTo>
                      <a:pt x="99" y="159"/>
                    </a:lnTo>
                    <a:lnTo>
                      <a:pt x="97" y="159"/>
                    </a:lnTo>
                    <a:lnTo>
                      <a:pt x="97" y="161"/>
                    </a:lnTo>
                    <a:lnTo>
                      <a:pt x="97" y="163"/>
                    </a:lnTo>
                    <a:lnTo>
                      <a:pt x="97" y="161"/>
                    </a:lnTo>
                    <a:lnTo>
                      <a:pt x="97" y="163"/>
                    </a:lnTo>
                    <a:lnTo>
                      <a:pt x="97" y="161"/>
                    </a:lnTo>
                    <a:lnTo>
                      <a:pt x="95" y="163"/>
                    </a:lnTo>
                    <a:lnTo>
                      <a:pt x="95" y="165"/>
                    </a:lnTo>
                    <a:lnTo>
                      <a:pt x="95" y="163"/>
                    </a:lnTo>
                    <a:lnTo>
                      <a:pt x="95" y="165"/>
                    </a:lnTo>
                    <a:lnTo>
                      <a:pt x="93" y="165"/>
                    </a:lnTo>
                    <a:lnTo>
                      <a:pt x="91" y="165"/>
                    </a:lnTo>
                    <a:lnTo>
                      <a:pt x="93" y="166"/>
                    </a:lnTo>
                    <a:lnTo>
                      <a:pt x="91" y="168"/>
                    </a:lnTo>
                    <a:lnTo>
                      <a:pt x="89" y="168"/>
                    </a:lnTo>
                    <a:lnTo>
                      <a:pt x="89" y="170"/>
                    </a:lnTo>
                    <a:lnTo>
                      <a:pt x="87" y="170"/>
                    </a:lnTo>
                    <a:lnTo>
                      <a:pt x="85" y="170"/>
                    </a:lnTo>
                    <a:lnTo>
                      <a:pt x="84" y="170"/>
                    </a:lnTo>
                    <a:lnTo>
                      <a:pt x="82" y="170"/>
                    </a:lnTo>
                    <a:lnTo>
                      <a:pt x="80" y="172"/>
                    </a:lnTo>
                    <a:lnTo>
                      <a:pt x="80" y="174"/>
                    </a:lnTo>
                    <a:lnTo>
                      <a:pt x="78" y="174"/>
                    </a:lnTo>
                    <a:lnTo>
                      <a:pt x="78" y="172"/>
                    </a:lnTo>
                    <a:lnTo>
                      <a:pt x="80" y="172"/>
                    </a:lnTo>
                    <a:lnTo>
                      <a:pt x="80" y="170"/>
                    </a:lnTo>
                    <a:lnTo>
                      <a:pt x="80" y="168"/>
                    </a:lnTo>
                    <a:lnTo>
                      <a:pt x="78" y="168"/>
                    </a:lnTo>
                    <a:lnTo>
                      <a:pt x="80" y="165"/>
                    </a:lnTo>
                    <a:lnTo>
                      <a:pt x="80" y="161"/>
                    </a:lnTo>
                    <a:lnTo>
                      <a:pt x="80" y="159"/>
                    </a:lnTo>
                    <a:lnTo>
                      <a:pt x="80" y="157"/>
                    </a:lnTo>
                    <a:lnTo>
                      <a:pt x="82" y="157"/>
                    </a:lnTo>
                    <a:lnTo>
                      <a:pt x="82" y="155"/>
                    </a:lnTo>
                    <a:lnTo>
                      <a:pt x="82" y="153"/>
                    </a:lnTo>
                    <a:lnTo>
                      <a:pt x="80" y="153"/>
                    </a:lnTo>
                    <a:lnTo>
                      <a:pt x="78" y="151"/>
                    </a:lnTo>
                    <a:lnTo>
                      <a:pt x="78" y="149"/>
                    </a:lnTo>
                    <a:lnTo>
                      <a:pt x="80" y="149"/>
                    </a:lnTo>
                    <a:close/>
                    <a:moveTo>
                      <a:pt x="40" y="157"/>
                    </a:moveTo>
                    <a:lnTo>
                      <a:pt x="40" y="159"/>
                    </a:lnTo>
                    <a:lnTo>
                      <a:pt x="42" y="159"/>
                    </a:lnTo>
                    <a:lnTo>
                      <a:pt x="40" y="161"/>
                    </a:lnTo>
                    <a:lnTo>
                      <a:pt x="40" y="163"/>
                    </a:lnTo>
                    <a:lnTo>
                      <a:pt x="42" y="163"/>
                    </a:lnTo>
                    <a:lnTo>
                      <a:pt x="42" y="165"/>
                    </a:lnTo>
                    <a:lnTo>
                      <a:pt x="40" y="165"/>
                    </a:lnTo>
                    <a:lnTo>
                      <a:pt x="40" y="166"/>
                    </a:lnTo>
                    <a:lnTo>
                      <a:pt x="42" y="166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4" y="170"/>
                    </a:lnTo>
                    <a:lnTo>
                      <a:pt x="42" y="170"/>
                    </a:lnTo>
                    <a:lnTo>
                      <a:pt x="44" y="172"/>
                    </a:lnTo>
                    <a:lnTo>
                      <a:pt x="42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8" y="176"/>
                    </a:lnTo>
                    <a:lnTo>
                      <a:pt x="36" y="176"/>
                    </a:lnTo>
                    <a:lnTo>
                      <a:pt x="36" y="178"/>
                    </a:lnTo>
                    <a:lnTo>
                      <a:pt x="36" y="180"/>
                    </a:lnTo>
                    <a:lnTo>
                      <a:pt x="32" y="180"/>
                    </a:lnTo>
                    <a:lnTo>
                      <a:pt x="30" y="182"/>
                    </a:lnTo>
                    <a:lnTo>
                      <a:pt x="28" y="182"/>
                    </a:lnTo>
                    <a:lnTo>
                      <a:pt x="28" y="184"/>
                    </a:lnTo>
                    <a:lnTo>
                      <a:pt x="28" y="186"/>
                    </a:lnTo>
                    <a:lnTo>
                      <a:pt x="28" y="184"/>
                    </a:lnTo>
                    <a:lnTo>
                      <a:pt x="26" y="184"/>
                    </a:lnTo>
                    <a:lnTo>
                      <a:pt x="26" y="186"/>
                    </a:lnTo>
                    <a:lnTo>
                      <a:pt x="28" y="186"/>
                    </a:lnTo>
                    <a:lnTo>
                      <a:pt x="26" y="186"/>
                    </a:lnTo>
                    <a:lnTo>
                      <a:pt x="28" y="186"/>
                    </a:lnTo>
                    <a:lnTo>
                      <a:pt x="26" y="187"/>
                    </a:lnTo>
                    <a:lnTo>
                      <a:pt x="26" y="189"/>
                    </a:lnTo>
                    <a:lnTo>
                      <a:pt x="24" y="189"/>
                    </a:lnTo>
                    <a:lnTo>
                      <a:pt x="24" y="191"/>
                    </a:lnTo>
                    <a:lnTo>
                      <a:pt x="23" y="191"/>
                    </a:lnTo>
                    <a:lnTo>
                      <a:pt x="23" y="193"/>
                    </a:lnTo>
                    <a:lnTo>
                      <a:pt x="21" y="193"/>
                    </a:lnTo>
                    <a:lnTo>
                      <a:pt x="19" y="193"/>
                    </a:lnTo>
                    <a:lnTo>
                      <a:pt x="19" y="195"/>
                    </a:lnTo>
                    <a:lnTo>
                      <a:pt x="17" y="195"/>
                    </a:lnTo>
                    <a:lnTo>
                      <a:pt x="17" y="197"/>
                    </a:lnTo>
                    <a:lnTo>
                      <a:pt x="17" y="199"/>
                    </a:lnTo>
                    <a:lnTo>
                      <a:pt x="15" y="199"/>
                    </a:lnTo>
                    <a:lnTo>
                      <a:pt x="13" y="201"/>
                    </a:lnTo>
                    <a:lnTo>
                      <a:pt x="11" y="201"/>
                    </a:lnTo>
                    <a:lnTo>
                      <a:pt x="9" y="203"/>
                    </a:lnTo>
                    <a:lnTo>
                      <a:pt x="7" y="205"/>
                    </a:lnTo>
                    <a:lnTo>
                      <a:pt x="5" y="205"/>
                    </a:lnTo>
                    <a:lnTo>
                      <a:pt x="3" y="207"/>
                    </a:lnTo>
                    <a:lnTo>
                      <a:pt x="3" y="205"/>
                    </a:lnTo>
                    <a:lnTo>
                      <a:pt x="3" y="203"/>
                    </a:lnTo>
                    <a:lnTo>
                      <a:pt x="5" y="203"/>
                    </a:lnTo>
                    <a:lnTo>
                      <a:pt x="5" y="201"/>
                    </a:lnTo>
                    <a:lnTo>
                      <a:pt x="7" y="201"/>
                    </a:lnTo>
                    <a:lnTo>
                      <a:pt x="7" y="199"/>
                    </a:lnTo>
                    <a:lnTo>
                      <a:pt x="9" y="197"/>
                    </a:lnTo>
                    <a:lnTo>
                      <a:pt x="11" y="195"/>
                    </a:lnTo>
                    <a:lnTo>
                      <a:pt x="13" y="195"/>
                    </a:lnTo>
                    <a:lnTo>
                      <a:pt x="13" y="193"/>
                    </a:lnTo>
                    <a:lnTo>
                      <a:pt x="15" y="193"/>
                    </a:lnTo>
                    <a:lnTo>
                      <a:pt x="15" y="191"/>
                    </a:lnTo>
                    <a:lnTo>
                      <a:pt x="15" y="193"/>
                    </a:lnTo>
                    <a:lnTo>
                      <a:pt x="17" y="193"/>
                    </a:lnTo>
                    <a:lnTo>
                      <a:pt x="17" y="191"/>
                    </a:lnTo>
                    <a:lnTo>
                      <a:pt x="19" y="191"/>
                    </a:lnTo>
                    <a:lnTo>
                      <a:pt x="19" y="189"/>
                    </a:lnTo>
                    <a:lnTo>
                      <a:pt x="21" y="189"/>
                    </a:lnTo>
                    <a:lnTo>
                      <a:pt x="21" y="187"/>
                    </a:lnTo>
                    <a:lnTo>
                      <a:pt x="21" y="186"/>
                    </a:lnTo>
                    <a:lnTo>
                      <a:pt x="23" y="186"/>
                    </a:lnTo>
                    <a:lnTo>
                      <a:pt x="24" y="184"/>
                    </a:lnTo>
                    <a:lnTo>
                      <a:pt x="26" y="182"/>
                    </a:lnTo>
                    <a:lnTo>
                      <a:pt x="26" y="180"/>
                    </a:lnTo>
                    <a:lnTo>
                      <a:pt x="28" y="180"/>
                    </a:lnTo>
                    <a:lnTo>
                      <a:pt x="28" y="178"/>
                    </a:lnTo>
                    <a:lnTo>
                      <a:pt x="28" y="180"/>
                    </a:lnTo>
                    <a:lnTo>
                      <a:pt x="30" y="178"/>
                    </a:lnTo>
                    <a:lnTo>
                      <a:pt x="28" y="178"/>
                    </a:lnTo>
                    <a:lnTo>
                      <a:pt x="30" y="178"/>
                    </a:lnTo>
                    <a:lnTo>
                      <a:pt x="32" y="176"/>
                    </a:lnTo>
                    <a:lnTo>
                      <a:pt x="30" y="176"/>
                    </a:lnTo>
                    <a:lnTo>
                      <a:pt x="32" y="176"/>
                    </a:lnTo>
                    <a:lnTo>
                      <a:pt x="30" y="176"/>
                    </a:lnTo>
                    <a:lnTo>
                      <a:pt x="32" y="176"/>
                    </a:lnTo>
                    <a:lnTo>
                      <a:pt x="32" y="174"/>
                    </a:lnTo>
                    <a:lnTo>
                      <a:pt x="34" y="174"/>
                    </a:lnTo>
                    <a:lnTo>
                      <a:pt x="32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4" y="174"/>
                    </a:lnTo>
                    <a:lnTo>
                      <a:pt x="36" y="172"/>
                    </a:lnTo>
                    <a:lnTo>
                      <a:pt x="38" y="170"/>
                    </a:lnTo>
                    <a:lnTo>
                      <a:pt x="38" y="168"/>
                    </a:lnTo>
                    <a:lnTo>
                      <a:pt x="36" y="168"/>
                    </a:lnTo>
                    <a:lnTo>
                      <a:pt x="36" y="166"/>
                    </a:lnTo>
                    <a:lnTo>
                      <a:pt x="36" y="165"/>
                    </a:lnTo>
                    <a:lnTo>
                      <a:pt x="36" y="166"/>
                    </a:lnTo>
                    <a:lnTo>
                      <a:pt x="36" y="165"/>
                    </a:lnTo>
                    <a:lnTo>
                      <a:pt x="36" y="166"/>
                    </a:lnTo>
                    <a:lnTo>
                      <a:pt x="38" y="166"/>
                    </a:lnTo>
                    <a:lnTo>
                      <a:pt x="36" y="166"/>
                    </a:lnTo>
                    <a:lnTo>
                      <a:pt x="38" y="166"/>
                    </a:lnTo>
                    <a:lnTo>
                      <a:pt x="38" y="168"/>
                    </a:lnTo>
                    <a:lnTo>
                      <a:pt x="40" y="168"/>
                    </a:lnTo>
                    <a:lnTo>
                      <a:pt x="40" y="166"/>
                    </a:lnTo>
                    <a:lnTo>
                      <a:pt x="38" y="166"/>
                    </a:lnTo>
                    <a:lnTo>
                      <a:pt x="38" y="165"/>
                    </a:lnTo>
                    <a:lnTo>
                      <a:pt x="36" y="165"/>
                    </a:lnTo>
                    <a:lnTo>
                      <a:pt x="38" y="165"/>
                    </a:lnTo>
                    <a:lnTo>
                      <a:pt x="38" y="163"/>
                    </a:lnTo>
                    <a:lnTo>
                      <a:pt x="38" y="165"/>
                    </a:lnTo>
                    <a:lnTo>
                      <a:pt x="38" y="163"/>
                    </a:lnTo>
                    <a:lnTo>
                      <a:pt x="40" y="163"/>
                    </a:lnTo>
                    <a:lnTo>
                      <a:pt x="38" y="163"/>
                    </a:lnTo>
                    <a:lnTo>
                      <a:pt x="38" y="161"/>
                    </a:lnTo>
                    <a:lnTo>
                      <a:pt x="38" y="159"/>
                    </a:lnTo>
                    <a:lnTo>
                      <a:pt x="40" y="159"/>
                    </a:lnTo>
                    <a:lnTo>
                      <a:pt x="40" y="157"/>
                    </a:lnTo>
                    <a:close/>
                    <a:moveTo>
                      <a:pt x="55" y="123"/>
                    </a:moveTo>
                    <a:lnTo>
                      <a:pt x="55" y="124"/>
                    </a:lnTo>
                    <a:lnTo>
                      <a:pt x="57" y="123"/>
                    </a:lnTo>
                    <a:lnTo>
                      <a:pt x="61" y="124"/>
                    </a:lnTo>
                    <a:lnTo>
                      <a:pt x="63" y="123"/>
                    </a:lnTo>
                    <a:lnTo>
                      <a:pt x="63" y="124"/>
                    </a:lnTo>
                    <a:lnTo>
                      <a:pt x="63" y="123"/>
                    </a:lnTo>
                    <a:lnTo>
                      <a:pt x="63" y="124"/>
                    </a:lnTo>
                    <a:lnTo>
                      <a:pt x="63" y="123"/>
                    </a:lnTo>
                    <a:lnTo>
                      <a:pt x="65" y="123"/>
                    </a:lnTo>
                    <a:lnTo>
                      <a:pt x="63" y="124"/>
                    </a:lnTo>
                    <a:lnTo>
                      <a:pt x="65" y="124"/>
                    </a:lnTo>
                    <a:lnTo>
                      <a:pt x="66" y="124"/>
                    </a:lnTo>
                    <a:lnTo>
                      <a:pt x="68" y="124"/>
                    </a:lnTo>
                    <a:lnTo>
                      <a:pt x="68" y="126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2" y="130"/>
                    </a:lnTo>
                    <a:lnTo>
                      <a:pt x="72" y="132"/>
                    </a:lnTo>
                    <a:lnTo>
                      <a:pt x="72" y="134"/>
                    </a:lnTo>
                    <a:lnTo>
                      <a:pt x="72" y="136"/>
                    </a:lnTo>
                    <a:lnTo>
                      <a:pt x="72" y="138"/>
                    </a:lnTo>
                    <a:lnTo>
                      <a:pt x="72" y="140"/>
                    </a:lnTo>
                    <a:lnTo>
                      <a:pt x="70" y="140"/>
                    </a:lnTo>
                    <a:lnTo>
                      <a:pt x="70" y="142"/>
                    </a:lnTo>
                    <a:lnTo>
                      <a:pt x="70" y="144"/>
                    </a:lnTo>
                    <a:lnTo>
                      <a:pt x="68" y="144"/>
                    </a:lnTo>
                    <a:lnTo>
                      <a:pt x="68" y="145"/>
                    </a:lnTo>
                    <a:lnTo>
                      <a:pt x="66" y="144"/>
                    </a:lnTo>
                    <a:lnTo>
                      <a:pt x="65" y="144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5" y="142"/>
                    </a:lnTo>
                    <a:lnTo>
                      <a:pt x="65" y="144"/>
                    </a:lnTo>
                    <a:lnTo>
                      <a:pt x="65" y="142"/>
                    </a:lnTo>
                    <a:lnTo>
                      <a:pt x="63" y="142"/>
                    </a:lnTo>
                    <a:lnTo>
                      <a:pt x="63" y="140"/>
                    </a:lnTo>
                    <a:lnTo>
                      <a:pt x="63" y="138"/>
                    </a:lnTo>
                    <a:lnTo>
                      <a:pt x="61" y="136"/>
                    </a:lnTo>
                    <a:lnTo>
                      <a:pt x="61" y="134"/>
                    </a:lnTo>
                    <a:lnTo>
                      <a:pt x="61" y="132"/>
                    </a:lnTo>
                    <a:lnTo>
                      <a:pt x="59" y="130"/>
                    </a:lnTo>
                    <a:lnTo>
                      <a:pt x="59" y="128"/>
                    </a:lnTo>
                    <a:lnTo>
                      <a:pt x="57" y="128"/>
                    </a:lnTo>
                    <a:lnTo>
                      <a:pt x="55" y="128"/>
                    </a:lnTo>
                    <a:lnTo>
                      <a:pt x="55" y="126"/>
                    </a:lnTo>
                    <a:lnTo>
                      <a:pt x="55" y="124"/>
                    </a:lnTo>
                    <a:lnTo>
                      <a:pt x="55" y="126"/>
                    </a:lnTo>
                    <a:lnTo>
                      <a:pt x="53" y="126"/>
                    </a:lnTo>
                    <a:lnTo>
                      <a:pt x="53" y="124"/>
                    </a:lnTo>
                    <a:lnTo>
                      <a:pt x="53" y="123"/>
                    </a:lnTo>
                    <a:lnTo>
                      <a:pt x="55" y="123"/>
                    </a:lnTo>
                    <a:close/>
                    <a:moveTo>
                      <a:pt x="116" y="155"/>
                    </a:moveTo>
                    <a:lnTo>
                      <a:pt x="118" y="157"/>
                    </a:lnTo>
                    <a:lnTo>
                      <a:pt x="120" y="159"/>
                    </a:lnTo>
                    <a:lnTo>
                      <a:pt x="120" y="157"/>
                    </a:lnTo>
                    <a:lnTo>
                      <a:pt x="120" y="159"/>
                    </a:lnTo>
                    <a:lnTo>
                      <a:pt x="122" y="159"/>
                    </a:lnTo>
                    <a:lnTo>
                      <a:pt x="124" y="159"/>
                    </a:lnTo>
                    <a:lnTo>
                      <a:pt x="124" y="157"/>
                    </a:lnTo>
                    <a:lnTo>
                      <a:pt x="126" y="157"/>
                    </a:lnTo>
                    <a:lnTo>
                      <a:pt x="126" y="159"/>
                    </a:lnTo>
                    <a:lnTo>
                      <a:pt x="126" y="157"/>
                    </a:lnTo>
                    <a:lnTo>
                      <a:pt x="127" y="157"/>
                    </a:lnTo>
                    <a:lnTo>
                      <a:pt x="127" y="159"/>
                    </a:lnTo>
                    <a:lnTo>
                      <a:pt x="127" y="157"/>
                    </a:lnTo>
                    <a:lnTo>
                      <a:pt x="127" y="159"/>
                    </a:lnTo>
                    <a:lnTo>
                      <a:pt x="127" y="161"/>
                    </a:lnTo>
                    <a:lnTo>
                      <a:pt x="127" y="163"/>
                    </a:lnTo>
                    <a:lnTo>
                      <a:pt x="127" y="165"/>
                    </a:lnTo>
                    <a:lnTo>
                      <a:pt x="127" y="166"/>
                    </a:lnTo>
                    <a:lnTo>
                      <a:pt x="127" y="168"/>
                    </a:lnTo>
                    <a:lnTo>
                      <a:pt x="129" y="168"/>
                    </a:lnTo>
                    <a:lnTo>
                      <a:pt x="129" y="170"/>
                    </a:lnTo>
                    <a:lnTo>
                      <a:pt x="131" y="170"/>
                    </a:lnTo>
                    <a:lnTo>
                      <a:pt x="131" y="172"/>
                    </a:lnTo>
                    <a:lnTo>
                      <a:pt x="129" y="172"/>
                    </a:lnTo>
                    <a:lnTo>
                      <a:pt x="131" y="172"/>
                    </a:lnTo>
                    <a:lnTo>
                      <a:pt x="129" y="174"/>
                    </a:lnTo>
                    <a:lnTo>
                      <a:pt x="131" y="174"/>
                    </a:lnTo>
                    <a:lnTo>
                      <a:pt x="131" y="176"/>
                    </a:lnTo>
                    <a:lnTo>
                      <a:pt x="129" y="176"/>
                    </a:lnTo>
                    <a:lnTo>
                      <a:pt x="129" y="178"/>
                    </a:lnTo>
                    <a:lnTo>
                      <a:pt x="129" y="176"/>
                    </a:lnTo>
                    <a:lnTo>
                      <a:pt x="127" y="174"/>
                    </a:lnTo>
                    <a:lnTo>
                      <a:pt x="127" y="176"/>
                    </a:lnTo>
                    <a:lnTo>
                      <a:pt x="127" y="178"/>
                    </a:lnTo>
                    <a:lnTo>
                      <a:pt x="127" y="180"/>
                    </a:lnTo>
                    <a:lnTo>
                      <a:pt x="126" y="180"/>
                    </a:lnTo>
                    <a:lnTo>
                      <a:pt x="126" y="178"/>
                    </a:lnTo>
                    <a:lnTo>
                      <a:pt x="124" y="178"/>
                    </a:lnTo>
                    <a:lnTo>
                      <a:pt x="124" y="176"/>
                    </a:lnTo>
                    <a:lnTo>
                      <a:pt x="124" y="174"/>
                    </a:lnTo>
                    <a:lnTo>
                      <a:pt x="124" y="172"/>
                    </a:lnTo>
                    <a:lnTo>
                      <a:pt x="124" y="170"/>
                    </a:lnTo>
                    <a:lnTo>
                      <a:pt x="124" y="168"/>
                    </a:lnTo>
                    <a:lnTo>
                      <a:pt x="124" y="166"/>
                    </a:lnTo>
                    <a:lnTo>
                      <a:pt x="122" y="165"/>
                    </a:lnTo>
                    <a:lnTo>
                      <a:pt x="120" y="165"/>
                    </a:lnTo>
                    <a:lnTo>
                      <a:pt x="120" y="166"/>
                    </a:lnTo>
                    <a:lnTo>
                      <a:pt x="118" y="166"/>
                    </a:lnTo>
                    <a:lnTo>
                      <a:pt x="118" y="165"/>
                    </a:lnTo>
                    <a:lnTo>
                      <a:pt x="118" y="166"/>
                    </a:lnTo>
                    <a:lnTo>
                      <a:pt x="118" y="165"/>
                    </a:lnTo>
                    <a:lnTo>
                      <a:pt x="118" y="163"/>
                    </a:lnTo>
                    <a:lnTo>
                      <a:pt x="118" y="161"/>
                    </a:lnTo>
                    <a:lnTo>
                      <a:pt x="118" y="159"/>
                    </a:lnTo>
                    <a:lnTo>
                      <a:pt x="116" y="159"/>
                    </a:lnTo>
                    <a:lnTo>
                      <a:pt x="118" y="159"/>
                    </a:lnTo>
                    <a:lnTo>
                      <a:pt x="116" y="159"/>
                    </a:lnTo>
                    <a:lnTo>
                      <a:pt x="118" y="157"/>
                    </a:lnTo>
                    <a:lnTo>
                      <a:pt x="116" y="157"/>
                    </a:lnTo>
                    <a:lnTo>
                      <a:pt x="116" y="155"/>
                    </a:lnTo>
                    <a:close/>
                    <a:moveTo>
                      <a:pt x="112" y="159"/>
                    </a:moveTo>
                    <a:lnTo>
                      <a:pt x="112" y="161"/>
                    </a:lnTo>
                    <a:lnTo>
                      <a:pt x="112" y="163"/>
                    </a:lnTo>
                    <a:lnTo>
                      <a:pt x="112" y="165"/>
                    </a:lnTo>
                    <a:lnTo>
                      <a:pt x="112" y="166"/>
                    </a:lnTo>
                    <a:lnTo>
                      <a:pt x="112" y="168"/>
                    </a:lnTo>
                    <a:lnTo>
                      <a:pt x="112" y="170"/>
                    </a:lnTo>
                    <a:lnTo>
                      <a:pt x="112" y="172"/>
                    </a:lnTo>
                    <a:lnTo>
                      <a:pt x="112" y="170"/>
                    </a:lnTo>
                    <a:lnTo>
                      <a:pt x="112" y="172"/>
                    </a:lnTo>
                    <a:lnTo>
                      <a:pt x="112" y="174"/>
                    </a:lnTo>
                    <a:lnTo>
                      <a:pt x="110" y="174"/>
                    </a:lnTo>
                    <a:lnTo>
                      <a:pt x="110" y="176"/>
                    </a:lnTo>
                    <a:lnTo>
                      <a:pt x="108" y="176"/>
                    </a:lnTo>
                    <a:lnTo>
                      <a:pt x="108" y="178"/>
                    </a:lnTo>
                    <a:lnTo>
                      <a:pt x="106" y="178"/>
                    </a:lnTo>
                    <a:lnTo>
                      <a:pt x="106" y="180"/>
                    </a:lnTo>
                    <a:lnTo>
                      <a:pt x="105" y="180"/>
                    </a:lnTo>
                    <a:lnTo>
                      <a:pt x="106" y="182"/>
                    </a:lnTo>
                    <a:lnTo>
                      <a:pt x="105" y="182"/>
                    </a:lnTo>
                    <a:lnTo>
                      <a:pt x="105" y="184"/>
                    </a:lnTo>
                    <a:lnTo>
                      <a:pt x="105" y="186"/>
                    </a:lnTo>
                    <a:lnTo>
                      <a:pt x="103" y="187"/>
                    </a:lnTo>
                    <a:lnTo>
                      <a:pt x="101" y="189"/>
                    </a:lnTo>
                    <a:lnTo>
                      <a:pt x="101" y="184"/>
                    </a:lnTo>
                    <a:lnTo>
                      <a:pt x="101" y="182"/>
                    </a:lnTo>
                    <a:lnTo>
                      <a:pt x="103" y="182"/>
                    </a:lnTo>
                    <a:lnTo>
                      <a:pt x="101" y="182"/>
                    </a:lnTo>
                    <a:lnTo>
                      <a:pt x="101" y="180"/>
                    </a:lnTo>
                    <a:lnTo>
                      <a:pt x="103" y="182"/>
                    </a:lnTo>
                    <a:lnTo>
                      <a:pt x="103" y="180"/>
                    </a:lnTo>
                    <a:lnTo>
                      <a:pt x="105" y="178"/>
                    </a:lnTo>
                    <a:lnTo>
                      <a:pt x="105" y="176"/>
                    </a:lnTo>
                    <a:lnTo>
                      <a:pt x="105" y="174"/>
                    </a:lnTo>
                    <a:lnTo>
                      <a:pt x="106" y="174"/>
                    </a:lnTo>
                    <a:lnTo>
                      <a:pt x="106" y="172"/>
                    </a:lnTo>
                    <a:lnTo>
                      <a:pt x="108" y="170"/>
                    </a:lnTo>
                    <a:lnTo>
                      <a:pt x="106" y="170"/>
                    </a:lnTo>
                    <a:lnTo>
                      <a:pt x="108" y="168"/>
                    </a:lnTo>
                    <a:lnTo>
                      <a:pt x="110" y="165"/>
                    </a:lnTo>
                    <a:lnTo>
                      <a:pt x="110" y="163"/>
                    </a:lnTo>
                    <a:lnTo>
                      <a:pt x="110" y="161"/>
                    </a:lnTo>
                    <a:lnTo>
                      <a:pt x="112" y="161"/>
                    </a:lnTo>
                    <a:lnTo>
                      <a:pt x="112" y="159"/>
                    </a:lnTo>
                    <a:close/>
                    <a:moveTo>
                      <a:pt x="116" y="178"/>
                    </a:moveTo>
                    <a:lnTo>
                      <a:pt x="118" y="178"/>
                    </a:lnTo>
                    <a:lnTo>
                      <a:pt x="118" y="180"/>
                    </a:lnTo>
                    <a:lnTo>
                      <a:pt x="120" y="180"/>
                    </a:lnTo>
                    <a:lnTo>
                      <a:pt x="120" y="182"/>
                    </a:lnTo>
                    <a:lnTo>
                      <a:pt x="120" y="180"/>
                    </a:lnTo>
                    <a:lnTo>
                      <a:pt x="120" y="182"/>
                    </a:lnTo>
                    <a:lnTo>
                      <a:pt x="120" y="184"/>
                    </a:lnTo>
                    <a:lnTo>
                      <a:pt x="122" y="184"/>
                    </a:lnTo>
                    <a:lnTo>
                      <a:pt x="120" y="186"/>
                    </a:lnTo>
                    <a:lnTo>
                      <a:pt x="120" y="184"/>
                    </a:lnTo>
                    <a:lnTo>
                      <a:pt x="118" y="186"/>
                    </a:lnTo>
                    <a:lnTo>
                      <a:pt x="116" y="187"/>
                    </a:lnTo>
                    <a:lnTo>
                      <a:pt x="114" y="187"/>
                    </a:lnTo>
                    <a:lnTo>
                      <a:pt x="112" y="187"/>
                    </a:lnTo>
                    <a:lnTo>
                      <a:pt x="108" y="186"/>
                    </a:lnTo>
                    <a:lnTo>
                      <a:pt x="110" y="186"/>
                    </a:lnTo>
                    <a:lnTo>
                      <a:pt x="108" y="186"/>
                    </a:lnTo>
                    <a:lnTo>
                      <a:pt x="108" y="184"/>
                    </a:lnTo>
                    <a:lnTo>
                      <a:pt x="108" y="182"/>
                    </a:lnTo>
                    <a:lnTo>
                      <a:pt x="110" y="182"/>
                    </a:lnTo>
                    <a:lnTo>
                      <a:pt x="112" y="182"/>
                    </a:lnTo>
                    <a:lnTo>
                      <a:pt x="112" y="180"/>
                    </a:lnTo>
                    <a:lnTo>
                      <a:pt x="114" y="178"/>
                    </a:lnTo>
                    <a:lnTo>
                      <a:pt x="116" y="178"/>
                    </a:lnTo>
                    <a:close/>
                    <a:moveTo>
                      <a:pt x="99" y="138"/>
                    </a:moveTo>
                    <a:lnTo>
                      <a:pt x="101" y="140"/>
                    </a:lnTo>
                    <a:lnTo>
                      <a:pt x="101" y="142"/>
                    </a:lnTo>
                    <a:lnTo>
                      <a:pt x="101" y="140"/>
                    </a:lnTo>
                    <a:lnTo>
                      <a:pt x="103" y="140"/>
                    </a:lnTo>
                    <a:lnTo>
                      <a:pt x="101" y="140"/>
                    </a:lnTo>
                    <a:lnTo>
                      <a:pt x="103" y="140"/>
                    </a:lnTo>
                    <a:lnTo>
                      <a:pt x="105" y="142"/>
                    </a:lnTo>
                    <a:lnTo>
                      <a:pt x="105" y="140"/>
                    </a:lnTo>
                    <a:lnTo>
                      <a:pt x="105" y="142"/>
                    </a:lnTo>
                    <a:lnTo>
                      <a:pt x="106" y="142"/>
                    </a:lnTo>
                    <a:lnTo>
                      <a:pt x="106" y="144"/>
                    </a:lnTo>
                    <a:lnTo>
                      <a:pt x="108" y="145"/>
                    </a:lnTo>
                    <a:lnTo>
                      <a:pt x="108" y="144"/>
                    </a:lnTo>
                    <a:lnTo>
                      <a:pt x="108" y="145"/>
                    </a:lnTo>
                    <a:lnTo>
                      <a:pt x="110" y="145"/>
                    </a:lnTo>
                    <a:lnTo>
                      <a:pt x="110" y="144"/>
                    </a:lnTo>
                    <a:lnTo>
                      <a:pt x="110" y="145"/>
                    </a:lnTo>
                    <a:lnTo>
                      <a:pt x="112" y="149"/>
                    </a:lnTo>
                    <a:lnTo>
                      <a:pt x="112" y="147"/>
                    </a:lnTo>
                    <a:lnTo>
                      <a:pt x="112" y="149"/>
                    </a:lnTo>
                    <a:lnTo>
                      <a:pt x="112" y="151"/>
                    </a:lnTo>
                    <a:lnTo>
                      <a:pt x="112" y="153"/>
                    </a:lnTo>
                    <a:lnTo>
                      <a:pt x="112" y="151"/>
                    </a:lnTo>
                    <a:lnTo>
                      <a:pt x="110" y="151"/>
                    </a:lnTo>
                    <a:lnTo>
                      <a:pt x="108" y="149"/>
                    </a:lnTo>
                    <a:lnTo>
                      <a:pt x="106" y="149"/>
                    </a:lnTo>
                    <a:lnTo>
                      <a:pt x="106" y="147"/>
                    </a:lnTo>
                    <a:lnTo>
                      <a:pt x="105" y="147"/>
                    </a:lnTo>
                    <a:lnTo>
                      <a:pt x="105" y="145"/>
                    </a:lnTo>
                    <a:lnTo>
                      <a:pt x="103" y="144"/>
                    </a:lnTo>
                    <a:lnTo>
                      <a:pt x="103" y="145"/>
                    </a:lnTo>
                    <a:lnTo>
                      <a:pt x="101" y="145"/>
                    </a:lnTo>
                    <a:lnTo>
                      <a:pt x="101" y="147"/>
                    </a:lnTo>
                    <a:lnTo>
                      <a:pt x="99" y="149"/>
                    </a:lnTo>
                    <a:lnTo>
                      <a:pt x="97" y="149"/>
                    </a:lnTo>
                    <a:lnTo>
                      <a:pt x="99" y="147"/>
                    </a:lnTo>
                    <a:lnTo>
                      <a:pt x="99" y="145"/>
                    </a:lnTo>
                    <a:lnTo>
                      <a:pt x="101" y="145"/>
                    </a:lnTo>
                    <a:lnTo>
                      <a:pt x="101" y="144"/>
                    </a:lnTo>
                    <a:lnTo>
                      <a:pt x="101" y="145"/>
                    </a:lnTo>
                    <a:lnTo>
                      <a:pt x="101" y="144"/>
                    </a:lnTo>
                    <a:lnTo>
                      <a:pt x="99" y="145"/>
                    </a:lnTo>
                    <a:lnTo>
                      <a:pt x="99" y="144"/>
                    </a:lnTo>
                    <a:lnTo>
                      <a:pt x="101" y="144"/>
                    </a:lnTo>
                    <a:lnTo>
                      <a:pt x="99" y="142"/>
                    </a:lnTo>
                    <a:lnTo>
                      <a:pt x="101" y="142"/>
                    </a:lnTo>
                    <a:lnTo>
                      <a:pt x="101" y="140"/>
                    </a:lnTo>
                    <a:lnTo>
                      <a:pt x="99" y="140"/>
                    </a:lnTo>
                    <a:lnTo>
                      <a:pt x="99" y="138"/>
                    </a:lnTo>
                    <a:close/>
                    <a:moveTo>
                      <a:pt x="114" y="113"/>
                    </a:moveTo>
                    <a:lnTo>
                      <a:pt x="116" y="115"/>
                    </a:lnTo>
                    <a:lnTo>
                      <a:pt x="116" y="117"/>
                    </a:lnTo>
                    <a:lnTo>
                      <a:pt x="118" y="117"/>
                    </a:lnTo>
                    <a:lnTo>
                      <a:pt x="118" y="119"/>
                    </a:lnTo>
                    <a:lnTo>
                      <a:pt x="118" y="121"/>
                    </a:lnTo>
                    <a:lnTo>
                      <a:pt x="116" y="121"/>
                    </a:lnTo>
                    <a:lnTo>
                      <a:pt x="118" y="121"/>
                    </a:lnTo>
                    <a:lnTo>
                      <a:pt x="118" y="123"/>
                    </a:lnTo>
                    <a:lnTo>
                      <a:pt x="116" y="123"/>
                    </a:lnTo>
                    <a:lnTo>
                      <a:pt x="118" y="123"/>
                    </a:lnTo>
                    <a:lnTo>
                      <a:pt x="116" y="123"/>
                    </a:lnTo>
                    <a:lnTo>
                      <a:pt x="114" y="123"/>
                    </a:lnTo>
                    <a:lnTo>
                      <a:pt x="112" y="123"/>
                    </a:lnTo>
                    <a:lnTo>
                      <a:pt x="112" y="121"/>
                    </a:lnTo>
                    <a:lnTo>
                      <a:pt x="114" y="119"/>
                    </a:lnTo>
                    <a:lnTo>
                      <a:pt x="114" y="117"/>
                    </a:lnTo>
                    <a:lnTo>
                      <a:pt x="114" y="115"/>
                    </a:lnTo>
                    <a:lnTo>
                      <a:pt x="114" y="113"/>
                    </a:lnTo>
                    <a:close/>
                    <a:moveTo>
                      <a:pt x="82" y="233"/>
                    </a:moveTo>
                    <a:lnTo>
                      <a:pt x="84" y="233"/>
                    </a:lnTo>
                    <a:lnTo>
                      <a:pt x="84" y="235"/>
                    </a:lnTo>
                    <a:lnTo>
                      <a:pt x="85" y="235"/>
                    </a:lnTo>
                    <a:lnTo>
                      <a:pt x="84" y="235"/>
                    </a:lnTo>
                    <a:lnTo>
                      <a:pt x="84" y="237"/>
                    </a:lnTo>
                    <a:lnTo>
                      <a:pt x="82" y="237"/>
                    </a:lnTo>
                    <a:lnTo>
                      <a:pt x="80" y="239"/>
                    </a:lnTo>
                    <a:lnTo>
                      <a:pt x="80" y="237"/>
                    </a:lnTo>
                    <a:lnTo>
                      <a:pt x="78" y="237"/>
                    </a:lnTo>
                    <a:lnTo>
                      <a:pt x="78" y="235"/>
                    </a:lnTo>
                    <a:lnTo>
                      <a:pt x="76" y="235"/>
                    </a:lnTo>
                    <a:lnTo>
                      <a:pt x="78" y="233"/>
                    </a:lnTo>
                    <a:lnTo>
                      <a:pt x="78" y="235"/>
                    </a:lnTo>
                    <a:lnTo>
                      <a:pt x="78" y="233"/>
                    </a:lnTo>
                    <a:lnTo>
                      <a:pt x="80" y="233"/>
                    </a:lnTo>
                    <a:lnTo>
                      <a:pt x="82" y="233"/>
                    </a:lnTo>
                    <a:close/>
                    <a:moveTo>
                      <a:pt x="45" y="144"/>
                    </a:moveTo>
                    <a:lnTo>
                      <a:pt x="47" y="144"/>
                    </a:lnTo>
                    <a:lnTo>
                      <a:pt x="49" y="144"/>
                    </a:lnTo>
                    <a:lnTo>
                      <a:pt x="49" y="145"/>
                    </a:lnTo>
                    <a:lnTo>
                      <a:pt x="51" y="145"/>
                    </a:lnTo>
                    <a:lnTo>
                      <a:pt x="51" y="144"/>
                    </a:lnTo>
                    <a:lnTo>
                      <a:pt x="51" y="145"/>
                    </a:lnTo>
                    <a:lnTo>
                      <a:pt x="53" y="145"/>
                    </a:lnTo>
                    <a:lnTo>
                      <a:pt x="53" y="147"/>
                    </a:lnTo>
                    <a:lnTo>
                      <a:pt x="53" y="149"/>
                    </a:lnTo>
                    <a:lnTo>
                      <a:pt x="51" y="147"/>
                    </a:lnTo>
                    <a:lnTo>
                      <a:pt x="51" y="149"/>
                    </a:lnTo>
                    <a:lnTo>
                      <a:pt x="51" y="147"/>
                    </a:lnTo>
                    <a:lnTo>
                      <a:pt x="49" y="147"/>
                    </a:lnTo>
                    <a:lnTo>
                      <a:pt x="49" y="149"/>
                    </a:lnTo>
                    <a:lnTo>
                      <a:pt x="49" y="147"/>
                    </a:lnTo>
                    <a:lnTo>
                      <a:pt x="47" y="147"/>
                    </a:lnTo>
                    <a:lnTo>
                      <a:pt x="47" y="145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7" y="144"/>
                    </a:lnTo>
                    <a:lnTo>
                      <a:pt x="45" y="144"/>
                    </a:lnTo>
                    <a:close/>
                    <a:moveTo>
                      <a:pt x="78" y="123"/>
                    </a:moveTo>
                    <a:lnTo>
                      <a:pt x="80" y="123"/>
                    </a:lnTo>
                    <a:lnTo>
                      <a:pt x="80" y="124"/>
                    </a:lnTo>
                    <a:lnTo>
                      <a:pt x="82" y="124"/>
                    </a:lnTo>
                    <a:lnTo>
                      <a:pt x="82" y="126"/>
                    </a:lnTo>
                    <a:lnTo>
                      <a:pt x="80" y="126"/>
                    </a:lnTo>
                    <a:lnTo>
                      <a:pt x="80" y="128"/>
                    </a:lnTo>
                    <a:lnTo>
                      <a:pt x="78" y="126"/>
                    </a:lnTo>
                    <a:lnTo>
                      <a:pt x="76" y="126"/>
                    </a:lnTo>
                    <a:lnTo>
                      <a:pt x="78" y="124"/>
                    </a:lnTo>
                    <a:lnTo>
                      <a:pt x="76" y="124"/>
                    </a:lnTo>
                    <a:lnTo>
                      <a:pt x="78" y="123"/>
                    </a:lnTo>
                    <a:close/>
                    <a:moveTo>
                      <a:pt x="65" y="243"/>
                    </a:moveTo>
                    <a:lnTo>
                      <a:pt x="66" y="243"/>
                    </a:lnTo>
                    <a:lnTo>
                      <a:pt x="66" y="245"/>
                    </a:lnTo>
                    <a:lnTo>
                      <a:pt x="68" y="245"/>
                    </a:lnTo>
                    <a:lnTo>
                      <a:pt x="70" y="245"/>
                    </a:lnTo>
                    <a:lnTo>
                      <a:pt x="70" y="247"/>
                    </a:lnTo>
                    <a:lnTo>
                      <a:pt x="68" y="247"/>
                    </a:lnTo>
                    <a:lnTo>
                      <a:pt x="66" y="245"/>
                    </a:lnTo>
                    <a:lnTo>
                      <a:pt x="66" y="247"/>
                    </a:lnTo>
                    <a:lnTo>
                      <a:pt x="65" y="247"/>
                    </a:lnTo>
                    <a:lnTo>
                      <a:pt x="63" y="247"/>
                    </a:lnTo>
                    <a:lnTo>
                      <a:pt x="63" y="245"/>
                    </a:lnTo>
                    <a:lnTo>
                      <a:pt x="65" y="245"/>
                    </a:lnTo>
                    <a:lnTo>
                      <a:pt x="65" y="243"/>
                    </a:lnTo>
                    <a:close/>
                    <a:moveTo>
                      <a:pt x="137" y="172"/>
                    </a:moveTo>
                    <a:lnTo>
                      <a:pt x="139" y="174"/>
                    </a:lnTo>
                    <a:lnTo>
                      <a:pt x="137" y="176"/>
                    </a:lnTo>
                    <a:lnTo>
                      <a:pt x="139" y="178"/>
                    </a:lnTo>
                    <a:lnTo>
                      <a:pt x="137" y="178"/>
                    </a:lnTo>
                    <a:lnTo>
                      <a:pt x="139" y="178"/>
                    </a:lnTo>
                    <a:lnTo>
                      <a:pt x="137" y="178"/>
                    </a:lnTo>
                    <a:lnTo>
                      <a:pt x="139" y="180"/>
                    </a:lnTo>
                    <a:lnTo>
                      <a:pt x="139" y="182"/>
                    </a:lnTo>
                    <a:lnTo>
                      <a:pt x="137" y="182"/>
                    </a:lnTo>
                    <a:lnTo>
                      <a:pt x="139" y="182"/>
                    </a:lnTo>
                    <a:lnTo>
                      <a:pt x="139" y="184"/>
                    </a:lnTo>
                    <a:lnTo>
                      <a:pt x="137" y="182"/>
                    </a:lnTo>
                    <a:lnTo>
                      <a:pt x="137" y="180"/>
                    </a:lnTo>
                    <a:lnTo>
                      <a:pt x="137" y="182"/>
                    </a:lnTo>
                    <a:lnTo>
                      <a:pt x="137" y="180"/>
                    </a:lnTo>
                    <a:lnTo>
                      <a:pt x="135" y="180"/>
                    </a:lnTo>
                    <a:lnTo>
                      <a:pt x="135" y="178"/>
                    </a:lnTo>
                    <a:lnTo>
                      <a:pt x="135" y="180"/>
                    </a:lnTo>
                    <a:lnTo>
                      <a:pt x="135" y="178"/>
                    </a:lnTo>
                    <a:lnTo>
                      <a:pt x="137" y="178"/>
                    </a:lnTo>
                    <a:lnTo>
                      <a:pt x="135" y="176"/>
                    </a:lnTo>
                    <a:lnTo>
                      <a:pt x="137" y="176"/>
                    </a:lnTo>
                    <a:lnTo>
                      <a:pt x="137" y="174"/>
                    </a:lnTo>
                    <a:lnTo>
                      <a:pt x="137" y="172"/>
                    </a:lnTo>
                    <a:close/>
                    <a:moveTo>
                      <a:pt x="82" y="138"/>
                    </a:moveTo>
                    <a:lnTo>
                      <a:pt x="82" y="140"/>
                    </a:lnTo>
                    <a:lnTo>
                      <a:pt x="82" y="144"/>
                    </a:lnTo>
                    <a:lnTo>
                      <a:pt x="80" y="144"/>
                    </a:lnTo>
                    <a:lnTo>
                      <a:pt x="80" y="145"/>
                    </a:lnTo>
                    <a:lnTo>
                      <a:pt x="82" y="145"/>
                    </a:lnTo>
                    <a:lnTo>
                      <a:pt x="80" y="145"/>
                    </a:lnTo>
                    <a:lnTo>
                      <a:pt x="80" y="147"/>
                    </a:lnTo>
                    <a:lnTo>
                      <a:pt x="80" y="145"/>
                    </a:lnTo>
                    <a:lnTo>
                      <a:pt x="80" y="144"/>
                    </a:lnTo>
                    <a:lnTo>
                      <a:pt x="80" y="145"/>
                    </a:lnTo>
                    <a:lnTo>
                      <a:pt x="80" y="144"/>
                    </a:lnTo>
                    <a:lnTo>
                      <a:pt x="78" y="144"/>
                    </a:lnTo>
                    <a:lnTo>
                      <a:pt x="78" y="142"/>
                    </a:lnTo>
                    <a:lnTo>
                      <a:pt x="80" y="142"/>
                    </a:lnTo>
                    <a:lnTo>
                      <a:pt x="80" y="140"/>
                    </a:lnTo>
                    <a:lnTo>
                      <a:pt x="80" y="138"/>
                    </a:lnTo>
                    <a:lnTo>
                      <a:pt x="82" y="138"/>
                    </a:lnTo>
                    <a:close/>
                    <a:moveTo>
                      <a:pt x="78" y="98"/>
                    </a:moveTo>
                    <a:lnTo>
                      <a:pt x="80" y="98"/>
                    </a:lnTo>
                    <a:lnTo>
                      <a:pt x="80" y="100"/>
                    </a:lnTo>
                    <a:lnTo>
                      <a:pt x="80" y="102"/>
                    </a:lnTo>
                    <a:lnTo>
                      <a:pt x="80" y="103"/>
                    </a:lnTo>
                    <a:lnTo>
                      <a:pt x="78" y="105"/>
                    </a:lnTo>
                    <a:lnTo>
                      <a:pt x="78" y="103"/>
                    </a:lnTo>
                    <a:lnTo>
                      <a:pt x="78" y="102"/>
                    </a:lnTo>
                    <a:lnTo>
                      <a:pt x="78" y="100"/>
                    </a:lnTo>
                    <a:lnTo>
                      <a:pt x="76" y="100"/>
                    </a:lnTo>
                    <a:lnTo>
                      <a:pt x="78" y="100"/>
                    </a:lnTo>
                    <a:lnTo>
                      <a:pt x="76" y="100"/>
                    </a:lnTo>
                    <a:lnTo>
                      <a:pt x="78" y="100"/>
                    </a:lnTo>
                    <a:lnTo>
                      <a:pt x="78" y="98"/>
                    </a:lnTo>
                    <a:close/>
                    <a:moveTo>
                      <a:pt x="51" y="256"/>
                    </a:moveTo>
                    <a:lnTo>
                      <a:pt x="51" y="258"/>
                    </a:lnTo>
                    <a:lnTo>
                      <a:pt x="49" y="258"/>
                    </a:lnTo>
                    <a:lnTo>
                      <a:pt x="47" y="258"/>
                    </a:lnTo>
                    <a:lnTo>
                      <a:pt x="47" y="260"/>
                    </a:lnTo>
                    <a:lnTo>
                      <a:pt x="45" y="260"/>
                    </a:lnTo>
                    <a:lnTo>
                      <a:pt x="45" y="258"/>
                    </a:lnTo>
                    <a:lnTo>
                      <a:pt x="47" y="258"/>
                    </a:lnTo>
                    <a:lnTo>
                      <a:pt x="47" y="256"/>
                    </a:lnTo>
                    <a:lnTo>
                      <a:pt x="49" y="256"/>
                    </a:lnTo>
                    <a:lnTo>
                      <a:pt x="51" y="256"/>
                    </a:lnTo>
                    <a:close/>
                    <a:moveTo>
                      <a:pt x="89" y="168"/>
                    </a:moveTo>
                    <a:lnTo>
                      <a:pt x="91" y="168"/>
                    </a:lnTo>
                    <a:lnTo>
                      <a:pt x="91" y="170"/>
                    </a:lnTo>
                    <a:lnTo>
                      <a:pt x="91" y="172"/>
                    </a:lnTo>
                    <a:lnTo>
                      <a:pt x="89" y="172"/>
                    </a:lnTo>
                    <a:lnTo>
                      <a:pt x="89" y="174"/>
                    </a:lnTo>
                    <a:lnTo>
                      <a:pt x="87" y="174"/>
                    </a:lnTo>
                    <a:lnTo>
                      <a:pt x="87" y="172"/>
                    </a:lnTo>
                    <a:lnTo>
                      <a:pt x="89" y="172"/>
                    </a:lnTo>
                    <a:lnTo>
                      <a:pt x="87" y="172"/>
                    </a:lnTo>
                    <a:lnTo>
                      <a:pt x="87" y="170"/>
                    </a:lnTo>
                    <a:lnTo>
                      <a:pt x="89" y="170"/>
                    </a:lnTo>
                    <a:lnTo>
                      <a:pt x="89" y="168"/>
                    </a:lnTo>
                    <a:close/>
                    <a:moveTo>
                      <a:pt x="118" y="153"/>
                    </a:moveTo>
                    <a:lnTo>
                      <a:pt x="120" y="153"/>
                    </a:lnTo>
                    <a:lnTo>
                      <a:pt x="122" y="155"/>
                    </a:lnTo>
                    <a:lnTo>
                      <a:pt x="122" y="157"/>
                    </a:lnTo>
                    <a:lnTo>
                      <a:pt x="120" y="157"/>
                    </a:lnTo>
                    <a:lnTo>
                      <a:pt x="118" y="157"/>
                    </a:lnTo>
                    <a:lnTo>
                      <a:pt x="118" y="155"/>
                    </a:lnTo>
                    <a:lnTo>
                      <a:pt x="118" y="153"/>
                    </a:lnTo>
                    <a:lnTo>
                      <a:pt x="116" y="153"/>
                    </a:lnTo>
                    <a:lnTo>
                      <a:pt x="118" y="153"/>
                    </a:lnTo>
                    <a:close/>
                    <a:moveTo>
                      <a:pt x="89" y="140"/>
                    </a:moveTo>
                    <a:lnTo>
                      <a:pt x="91" y="142"/>
                    </a:lnTo>
                    <a:lnTo>
                      <a:pt x="91" y="144"/>
                    </a:lnTo>
                    <a:lnTo>
                      <a:pt x="89" y="144"/>
                    </a:lnTo>
                    <a:lnTo>
                      <a:pt x="87" y="142"/>
                    </a:lnTo>
                    <a:lnTo>
                      <a:pt x="87" y="140"/>
                    </a:lnTo>
                    <a:lnTo>
                      <a:pt x="89" y="140"/>
                    </a:lnTo>
                    <a:close/>
                    <a:moveTo>
                      <a:pt x="145" y="180"/>
                    </a:moveTo>
                    <a:lnTo>
                      <a:pt x="145" y="182"/>
                    </a:lnTo>
                    <a:lnTo>
                      <a:pt x="145" y="184"/>
                    </a:lnTo>
                    <a:lnTo>
                      <a:pt x="147" y="184"/>
                    </a:lnTo>
                    <a:lnTo>
                      <a:pt x="145" y="184"/>
                    </a:lnTo>
                    <a:lnTo>
                      <a:pt x="145" y="186"/>
                    </a:lnTo>
                    <a:lnTo>
                      <a:pt x="143" y="184"/>
                    </a:lnTo>
                    <a:lnTo>
                      <a:pt x="143" y="182"/>
                    </a:lnTo>
                    <a:lnTo>
                      <a:pt x="145" y="180"/>
                    </a:lnTo>
                    <a:close/>
                    <a:moveTo>
                      <a:pt x="95" y="128"/>
                    </a:moveTo>
                    <a:lnTo>
                      <a:pt x="95" y="130"/>
                    </a:lnTo>
                    <a:lnTo>
                      <a:pt x="97" y="130"/>
                    </a:lnTo>
                    <a:lnTo>
                      <a:pt x="99" y="134"/>
                    </a:lnTo>
                    <a:lnTo>
                      <a:pt x="101" y="134"/>
                    </a:lnTo>
                    <a:lnTo>
                      <a:pt x="103" y="136"/>
                    </a:lnTo>
                    <a:lnTo>
                      <a:pt x="101" y="136"/>
                    </a:lnTo>
                    <a:lnTo>
                      <a:pt x="99" y="134"/>
                    </a:lnTo>
                    <a:lnTo>
                      <a:pt x="97" y="134"/>
                    </a:lnTo>
                    <a:lnTo>
                      <a:pt x="99" y="134"/>
                    </a:lnTo>
                    <a:lnTo>
                      <a:pt x="97" y="132"/>
                    </a:lnTo>
                    <a:lnTo>
                      <a:pt x="95" y="132"/>
                    </a:lnTo>
                    <a:lnTo>
                      <a:pt x="95" y="130"/>
                    </a:lnTo>
                    <a:lnTo>
                      <a:pt x="95" y="132"/>
                    </a:lnTo>
                    <a:lnTo>
                      <a:pt x="95" y="130"/>
                    </a:lnTo>
                    <a:lnTo>
                      <a:pt x="95" y="128"/>
                    </a:lnTo>
                    <a:close/>
                    <a:moveTo>
                      <a:pt x="45" y="149"/>
                    </a:moveTo>
                    <a:lnTo>
                      <a:pt x="47" y="149"/>
                    </a:lnTo>
                    <a:lnTo>
                      <a:pt x="49" y="149"/>
                    </a:lnTo>
                    <a:lnTo>
                      <a:pt x="47" y="149"/>
                    </a:lnTo>
                    <a:lnTo>
                      <a:pt x="49" y="149"/>
                    </a:lnTo>
                    <a:lnTo>
                      <a:pt x="49" y="151"/>
                    </a:lnTo>
                    <a:lnTo>
                      <a:pt x="49" y="149"/>
                    </a:lnTo>
                    <a:lnTo>
                      <a:pt x="49" y="151"/>
                    </a:lnTo>
                    <a:lnTo>
                      <a:pt x="47" y="151"/>
                    </a:lnTo>
                    <a:lnTo>
                      <a:pt x="49" y="151"/>
                    </a:lnTo>
                    <a:lnTo>
                      <a:pt x="49" y="153"/>
                    </a:lnTo>
                    <a:lnTo>
                      <a:pt x="47" y="153"/>
                    </a:lnTo>
                    <a:lnTo>
                      <a:pt x="47" y="151"/>
                    </a:lnTo>
                    <a:lnTo>
                      <a:pt x="45" y="151"/>
                    </a:lnTo>
                    <a:lnTo>
                      <a:pt x="47" y="151"/>
                    </a:lnTo>
                    <a:lnTo>
                      <a:pt x="45" y="149"/>
                    </a:lnTo>
                    <a:close/>
                    <a:moveTo>
                      <a:pt x="45" y="170"/>
                    </a:moveTo>
                    <a:lnTo>
                      <a:pt x="47" y="170"/>
                    </a:lnTo>
                    <a:lnTo>
                      <a:pt x="47" y="172"/>
                    </a:lnTo>
                    <a:lnTo>
                      <a:pt x="45" y="172"/>
                    </a:lnTo>
                    <a:lnTo>
                      <a:pt x="47" y="172"/>
                    </a:lnTo>
                    <a:lnTo>
                      <a:pt x="45" y="172"/>
                    </a:lnTo>
                    <a:lnTo>
                      <a:pt x="45" y="174"/>
                    </a:lnTo>
                    <a:lnTo>
                      <a:pt x="44" y="172"/>
                    </a:lnTo>
                    <a:lnTo>
                      <a:pt x="45" y="172"/>
                    </a:lnTo>
                    <a:lnTo>
                      <a:pt x="45" y="170"/>
                    </a:lnTo>
                    <a:close/>
                    <a:moveTo>
                      <a:pt x="105" y="136"/>
                    </a:moveTo>
                    <a:lnTo>
                      <a:pt x="106" y="138"/>
                    </a:lnTo>
                    <a:lnTo>
                      <a:pt x="108" y="140"/>
                    </a:lnTo>
                    <a:lnTo>
                      <a:pt x="106" y="140"/>
                    </a:lnTo>
                    <a:lnTo>
                      <a:pt x="108" y="140"/>
                    </a:lnTo>
                    <a:lnTo>
                      <a:pt x="108" y="142"/>
                    </a:lnTo>
                    <a:lnTo>
                      <a:pt x="106" y="140"/>
                    </a:lnTo>
                    <a:lnTo>
                      <a:pt x="105" y="138"/>
                    </a:lnTo>
                    <a:lnTo>
                      <a:pt x="105" y="136"/>
                    </a:lnTo>
                    <a:close/>
                    <a:moveTo>
                      <a:pt x="105" y="191"/>
                    </a:moveTo>
                    <a:lnTo>
                      <a:pt x="106" y="191"/>
                    </a:lnTo>
                    <a:lnTo>
                      <a:pt x="106" y="193"/>
                    </a:lnTo>
                    <a:lnTo>
                      <a:pt x="106" y="195"/>
                    </a:lnTo>
                    <a:lnTo>
                      <a:pt x="105" y="195"/>
                    </a:lnTo>
                    <a:lnTo>
                      <a:pt x="103" y="193"/>
                    </a:lnTo>
                    <a:lnTo>
                      <a:pt x="105" y="193"/>
                    </a:lnTo>
                    <a:lnTo>
                      <a:pt x="105" y="191"/>
                    </a:lnTo>
                    <a:close/>
                    <a:moveTo>
                      <a:pt x="2" y="212"/>
                    </a:moveTo>
                    <a:lnTo>
                      <a:pt x="2" y="214"/>
                    </a:lnTo>
                    <a:lnTo>
                      <a:pt x="2" y="216"/>
                    </a:lnTo>
                    <a:lnTo>
                      <a:pt x="0" y="216"/>
                    </a:lnTo>
                    <a:lnTo>
                      <a:pt x="0" y="214"/>
                    </a:lnTo>
                    <a:lnTo>
                      <a:pt x="0" y="212"/>
                    </a:lnTo>
                    <a:lnTo>
                      <a:pt x="2" y="212"/>
                    </a:lnTo>
                    <a:close/>
                    <a:moveTo>
                      <a:pt x="139" y="226"/>
                    </a:moveTo>
                    <a:lnTo>
                      <a:pt x="141" y="228"/>
                    </a:lnTo>
                    <a:lnTo>
                      <a:pt x="139" y="228"/>
                    </a:lnTo>
                    <a:lnTo>
                      <a:pt x="141" y="229"/>
                    </a:lnTo>
                    <a:lnTo>
                      <a:pt x="139" y="231"/>
                    </a:lnTo>
                    <a:lnTo>
                      <a:pt x="139" y="229"/>
                    </a:lnTo>
                    <a:lnTo>
                      <a:pt x="139" y="228"/>
                    </a:lnTo>
                    <a:lnTo>
                      <a:pt x="139" y="226"/>
                    </a:lnTo>
                    <a:close/>
                    <a:moveTo>
                      <a:pt x="122" y="193"/>
                    </a:moveTo>
                    <a:lnTo>
                      <a:pt x="124" y="193"/>
                    </a:lnTo>
                    <a:lnTo>
                      <a:pt x="124" y="195"/>
                    </a:lnTo>
                    <a:lnTo>
                      <a:pt x="122" y="195"/>
                    </a:lnTo>
                    <a:lnTo>
                      <a:pt x="122" y="193"/>
                    </a:lnTo>
                    <a:close/>
                    <a:moveTo>
                      <a:pt x="129" y="178"/>
                    </a:moveTo>
                    <a:lnTo>
                      <a:pt x="131" y="178"/>
                    </a:lnTo>
                    <a:lnTo>
                      <a:pt x="131" y="180"/>
                    </a:lnTo>
                    <a:lnTo>
                      <a:pt x="131" y="182"/>
                    </a:lnTo>
                    <a:lnTo>
                      <a:pt x="131" y="180"/>
                    </a:lnTo>
                    <a:lnTo>
                      <a:pt x="129" y="180"/>
                    </a:lnTo>
                    <a:lnTo>
                      <a:pt x="129" y="178"/>
                    </a:lnTo>
                    <a:close/>
                    <a:moveTo>
                      <a:pt x="70" y="25"/>
                    </a:moveTo>
                    <a:lnTo>
                      <a:pt x="72" y="25"/>
                    </a:lnTo>
                    <a:lnTo>
                      <a:pt x="72" y="27"/>
                    </a:lnTo>
                    <a:lnTo>
                      <a:pt x="72" y="29"/>
                    </a:lnTo>
                    <a:lnTo>
                      <a:pt x="70" y="27"/>
                    </a:lnTo>
                    <a:lnTo>
                      <a:pt x="70" y="25"/>
                    </a:lnTo>
                    <a:close/>
                    <a:moveTo>
                      <a:pt x="49" y="117"/>
                    </a:moveTo>
                    <a:lnTo>
                      <a:pt x="51" y="119"/>
                    </a:lnTo>
                    <a:lnTo>
                      <a:pt x="53" y="121"/>
                    </a:lnTo>
                    <a:lnTo>
                      <a:pt x="51" y="121"/>
                    </a:lnTo>
                    <a:lnTo>
                      <a:pt x="53" y="121"/>
                    </a:lnTo>
                    <a:lnTo>
                      <a:pt x="51" y="121"/>
                    </a:lnTo>
                    <a:lnTo>
                      <a:pt x="49" y="119"/>
                    </a:lnTo>
                    <a:lnTo>
                      <a:pt x="49" y="117"/>
                    </a:lnTo>
                    <a:close/>
                    <a:moveTo>
                      <a:pt x="118" y="168"/>
                    </a:moveTo>
                    <a:lnTo>
                      <a:pt x="120" y="170"/>
                    </a:lnTo>
                    <a:lnTo>
                      <a:pt x="118" y="170"/>
                    </a:lnTo>
                    <a:lnTo>
                      <a:pt x="116" y="170"/>
                    </a:lnTo>
                    <a:lnTo>
                      <a:pt x="116" y="168"/>
                    </a:lnTo>
                    <a:lnTo>
                      <a:pt x="118" y="170"/>
                    </a:lnTo>
                    <a:lnTo>
                      <a:pt x="118" y="168"/>
                    </a:lnTo>
                    <a:close/>
                    <a:moveTo>
                      <a:pt x="80" y="111"/>
                    </a:moveTo>
                    <a:lnTo>
                      <a:pt x="82" y="113"/>
                    </a:lnTo>
                    <a:lnTo>
                      <a:pt x="82" y="115"/>
                    </a:lnTo>
                    <a:lnTo>
                      <a:pt x="84" y="115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3"/>
                    </a:lnTo>
                    <a:lnTo>
                      <a:pt x="78" y="113"/>
                    </a:lnTo>
                    <a:lnTo>
                      <a:pt x="78" y="111"/>
                    </a:lnTo>
                    <a:lnTo>
                      <a:pt x="80" y="111"/>
                    </a:lnTo>
                    <a:close/>
                    <a:moveTo>
                      <a:pt x="93" y="222"/>
                    </a:moveTo>
                    <a:lnTo>
                      <a:pt x="95" y="222"/>
                    </a:lnTo>
                    <a:lnTo>
                      <a:pt x="95" y="224"/>
                    </a:lnTo>
                    <a:lnTo>
                      <a:pt x="93" y="224"/>
                    </a:lnTo>
                    <a:lnTo>
                      <a:pt x="93" y="222"/>
                    </a:lnTo>
                    <a:lnTo>
                      <a:pt x="93" y="224"/>
                    </a:lnTo>
                    <a:lnTo>
                      <a:pt x="93" y="222"/>
                    </a:lnTo>
                    <a:close/>
                    <a:moveTo>
                      <a:pt x="78" y="33"/>
                    </a:moveTo>
                    <a:lnTo>
                      <a:pt x="80" y="33"/>
                    </a:lnTo>
                    <a:lnTo>
                      <a:pt x="80" y="35"/>
                    </a:lnTo>
                    <a:lnTo>
                      <a:pt x="78" y="35"/>
                    </a:lnTo>
                    <a:lnTo>
                      <a:pt x="78" y="33"/>
                    </a:lnTo>
                    <a:close/>
                    <a:moveTo>
                      <a:pt x="143" y="184"/>
                    </a:moveTo>
                    <a:lnTo>
                      <a:pt x="143" y="186"/>
                    </a:lnTo>
                    <a:lnTo>
                      <a:pt x="143" y="187"/>
                    </a:lnTo>
                    <a:lnTo>
                      <a:pt x="141" y="187"/>
                    </a:lnTo>
                    <a:lnTo>
                      <a:pt x="143" y="187"/>
                    </a:lnTo>
                    <a:lnTo>
                      <a:pt x="143" y="186"/>
                    </a:lnTo>
                    <a:lnTo>
                      <a:pt x="143" y="187"/>
                    </a:lnTo>
                    <a:lnTo>
                      <a:pt x="143" y="186"/>
                    </a:lnTo>
                    <a:lnTo>
                      <a:pt x="143" y="184"/>
                    </a:lnTo>
                    <a:close/>
                    <a:moveTo>
                      <a:pt x="3" y="207"/>
                    </a:moveTo>
                    <a:lnTo>
                      <a:pt x="5" y="207"/>
                    </a:lnTo>
                    <a:lnTo>
                      <a:pt x="5" y="210"/>
                    </a:lnTo>
                    <a:lnTo>
                      <a:pt x="3" y="210"/>
                    </a:lnTo>
                    <a:lnTo>
                      <a:pt x="3" y="207"/>
                    </a:lnTo>
                    <a:close/>
                    <a:moveTo>
                      <a:pt x="106" y="159"/>
                    </a:moveTo>
                    <a:lnTo>
                      <a:pt x="108" y="159"/>
                    </a:lnTo>
                    <a:lnTo>
                      <a:pt x="108" y="163"/>
                    </a:lnTo>
                    <a:lnTo>
                      <a:pt x="106" y="163"/>
                    </a:lnTo>
                    <a:lnTo>
                      <a:pt x="106" y="159"/>
                    </a:lnTo>
                    <a:close/>
                    <a:moveTo>
                      <a:pt x="40" y="262"/>
                    </a:moveTo>
                    <a:lnTo>
                      <a:pt x="40" y="264"/>
                    </a:lnTo>
                    <a:lnTo>
                      <a:pt x="40" y="266"/>
                    </a:lnTo>
                    <a:lnTo>
                      <a:pt x="40" y="264"/>
                    </a:lnTo>
                    <a:lnTo>
                      <a:pt x="40" y="262"/>
                    </a:lnTo>
                    <a:close/>
                    <a:moveTo>
                      <a:pt x="137" y="166"/>
                    </a:moveTo>
                    <a:lnTo>
                      <a:pt x="141" y="166"/>
                    </a:lnTo>
                    <a:lnTo>
                      <a:pt x="141" y="170"/>
                    </a:lnTo>
                    <a:lnTo>
                      <a:pt x="137" y="170"/>
                    </a:lnTo>
                    <a:lnTo>
                      <a:pt x="137" y="166"/>
                    </a:lnTo>
                    <a:close/>
                    <a:moveTo>
                      <a:pt x="44" y="155"/>
                    </a:moveTo>
                    <a:lnTo>
                      <a:pt x="45" y="155"/>
                    </a:lnTo>
                    <a:lnTo>
                      <a:pt x="45" y="159"/>
                    </a:lnTo>
                    <a:lnTo>
                      <a:pt x="44" y="159"/>
                    </a:lnTo>
                    <a:lnTo>
                      <a:pt x="44" y="155"/>
                    </a:lnTo>
                    <a:close/>
                    <a:moveTo>
                      <a:pt x="70" y="35"/>
                    </a:moveTo>
                    <a:lnTo>
                      <a:pt x="72" y="35"/>
                    </a:lnTo>
                    <a:lnTo>
                      <a:pt x="70" y="35"/>
                    </a:lnTo>
                    <a:lnTo>
                      <a:pt x="68" y="35"/>
                    </a:lnTo>
                    <a:lnTo>
                      <a:pt x="70" y="35"/>
                    </a:lnTo>
                    <a:close/>
                    <a:moveTo>
                      <a:pt x="55" y="239"/>
                    </a:moveTo>
                    <a:lnTo>
                      <a:pt x="57" y="239"/>
                    </a:lnTo>
                    <a:lnTo>
                      <a:pt x="57" y="241"/>
                    </a:lnTo>
                    <a:lnTo>
                      <a:pt x="55" y="241"/>
                    </a:lnTo>
                    <a:lnTo>
                      <a:pt x="55" y="239"/>
                    </a:lnTo>
                    <a:close/>
                    <a:moveTo>
                      <a:pt x="124" y="153"/>
                    </a:moveTo>
                    <a:lnTo>
                      <a:pt x="124" y="155"/>
                    </a:lnTo>
                    <a:lnTo>
                      <a:pt x="126" y="155"/>
                    </a:lnTo>
                    <a:lnTo>
                      <a:pt x="124" y="155"/>
                    </a:lnTo>
                    <a:lnTo>
                      <a:pt x="124" y="153"/>
                    </a:lnTo>
                    <a:close/>
                    <a:moveTo>
                      <a:pt x="82" y="102"/>
                    </a:moveTo>
                    <a:lnTo>
                      <a:pt x="84" y="102"/>
                    </a:lnTo>
                    <a:lnTo>
                      <a:pt x="84" y="103"/>
                    </a:lnTo>
                    <a:lnTo>
                      <a:pt x="82" y="103"/>
                    </a:lnTo>
                    <a:lnTo>
                      <a:pt x="82" y="102"/>
                    </a:lnTo>
                    <a:close/>
                    <a:moveTo>
                      <a:pt x="106" y="186"/>
                    </a:moveTo>
                    <a:lnTo>
                      <a:pt x="110" y="186"/>
                    </a:lnTo>
                    <a:lnTo>
                      <a:pt x="110" y="187"/>
                    </a:lnTo>
                    <a:lnTo>
                      <a:pt x="106" y="187"/>
                    </a:lnTo>
                    <a:lnTo>
                      <a:pt x="106" y="186"/>
                    </a:lnTo>
                    <a:close/>
                    <a:moveTo>
                      <a:pt x="110" y="126"/>
                    </a:moveTo>
                    <a:lnTo>
                      <a:pt x="112" y="128"/>
                    </a:lnTo>
                    <a:lnTo>
                      <a:pt x="112" y="126"/>
                    </a:lnTo>
                    <a:lnTo>
                      <a:pt x="112" y="128"/>
                    </a:lnTo>
                    <a:lnTo>
                      <a:pt x="112" y="126"/>
                    </a:lnTo>
                    <a:lnTo>
                      <a:pt x="112" y="128"/>
                    </a:lnTo>
                    <a:lnTo>
                      <a:pt x="110" y="128"/>
                    </a:lnTo>
                    <a:lnTo>
                      <a:pt x="110" y="126"/>
                    </a:lnTo>
                    <a:close/>
                    <a:moveTo>
                      <a:pt x="76" y="0"/>
                    </a:moveTo>
                    <a:lnTo>
                      <a:pt x="78" y="0"/>
                    </a:lnTo>
                    <a:lnTo>
                      <a:pt x="78" y="4"/>
                    </a:lnTo>
                    <a:lnTo>
                      <a:pt x="76" y="4"/>
                    </a:lnTo>
                    <a:lnTo>
                      <a:pt x="76" y="0"/>
                    </a:lnTo>
                    <a:close/>
                    <a:moveTo>
                      <a:pt x="84" y="138"/>
                    </a:moveTo>
                    <a:lnTo>
                      <a:pt x="85" y="138"/>
                    </a:lnTo>
                    <a:lnTo>
                      <a:pt x="85" y="140"/>
                    </a:lnTo>
                    <a:lnTo>
                      <a:pt x="84" y="140"/>
                    </a:lnTo>
                    <a:lnTo>
                      <a:pt x="84" y="138"/>
                    </a:lnTo>
                    <a:close/>
                    <a:moveTo>
                      <a:pt x="47" y="77"/>
                    </a:moveTo>
                    <a:lnTo>
                      <a:pt x="47" y="79"/>
                    </a:lnTo>
                    <a:lnTo>
                      <a:pt x="47" y="77"/>
                    </a:lnTo>
                    <a:close/>
                    <a:moveTo>
                      <a:pt x="78" y="23"/>
                    </a:moveTo>
                    <a:lnTo>
                      <a:pt x="80" y="23"/>
                    </a:lnTo>
                    <a:lnTo>
                      <a:pt x="80" y="25"/>
                    </a:lnTo>
                    <a:lnTo>
                      <a:pt x="78" y="25"/>
                    </a:lnTo>
                    <a:lnTo>
                      <a:pt x="78" y="23"/>
                    </a:lnTo>
                    <a:close/>
                    <a:moveTo>
                      <a:pt x="65" y="144"/>
                    </a:moveTo>
                    <a:lnTo>
                      <a:pt x="66" y="144"/>
                    </a:lnTo>
                    <a:lnTo>
                      <a:pt x="66" y="145"/>
                    </a:lnTo>
                    <a:lnTo>
                      <a:pt x="65" y="145"/>
                    </a:lnTo>
                    <a:lnTo>
                      <a:pt x="65" y="144"/>
                    </a:lnTo>
                    <a:close/>
                    <a:moveTo>
                      <a:pt x="61" y="250"/>
                    </a:moveTo>
                    <a:lnTo>
                      <a:pt x="63" y="250"/>
                    </a:lnTo>
                    <a:lnTo>
                      <a:pt x="63" y="252"/>
                    </a:lnTo>
                    <a:lnTo>
                      <a:pt x="61" y="252"/>
                    </a:lnTo>
                    <a:lnTo>
                      <a:pt x="61" y="250"/>
                    </a:lnTo>
                    <a:close/>
                    <a:moveTo>
                      <a:pt x="78" y="8"/>
                    </a:moveTo>
                    <a:lnTo>
                      <a:pt x="80" y="8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8" y="8"/>
                    </a:lnTo>
                    <a:close/>
                    <a:moveTo>
                      <a:pt x="51" y="147"/>
                    </a:moveTo>
                    <a:lnTo>
                      <a:pt x="53" y="147"/>
                    </a:lnTo>
                    <a:lnTo>
                      <a:pt x="53" y="151"/>
                    </a:lnTo>
                    <a:lnTo>
                      <a:pt x="51" y="151"/>
                    </a:lnTo>
                    <a:lnTo>
                      <a:pt x="51" y="147"/>
                    </a:lnTo>
                    <a:close/>
                    <a:moveTo>
                      <a:pt x="108" y="126"/>
                    </a:moveTo>
                    <a:lnTo>
                      <a:pt x="110" y="126"/>
                    </a:lnTo>
                    <a:lnTo>
                      <a:pt x="110" y="128"/>
                    </a:lnTo>
                    <a:lnTo>
                      <a:pt x="108" y="128"/>
                    </a:lnTo>
                    <a:lnTo>
                      <a:pt x="108" y="126"/>
                    </a:lnTo>
                    <a:close/>
                    <a:moveTo>
                      <a:pt x="23" y="228"/>
                    </a:moveTo>
                    <a:lnTo>
                      <a:pt x="24" y="228"/>
                    </a:lnTo>
                    <a:lnTo>
                      <a:pt x="24" y="229"/>
                    </a:lnTo>
                    <a:lnTo>
                      <a:pt x="23" y="229"/>
                    </a:lnTo>
                    <a:lnTo>
                      <a:pt x="23" y="228"/>
                    </a:lnTo>
                    <a:close/>
                    <a:moveTo>
                      <a:pt x="66" y="29"/>
                    </a:moveTo>
                    <a:lnTo>
                      <a:pt x="68" y="29"/>
                    </a:lnTo>
                    <a:lnTo>
                      <a:pt x="68" y="33"/>
                    </a:lnTo>
                    <a:lnTo>
                      <a:pt x="66" y="33"/>
                    </a:lnTo>
                    <a:lnTo>
                      <a:pt x="66" y="29"/>
                    </a:lnTo>
                    <a:close/>
                    <a:moveTo>
                      <a:pt x="68" y="145"/>
                    </a:moveTo>
                    <a:lnTo>
                      <a:pt x="70" y="145"/>
                    </a:lnTo>
                    <a:lnTo>
                      <a:pt x="70" y="149"/>
                    </a:lnTo>
                    <a:lnTo>
                      <a:pt x="68" y="149"/>
                    </a:lnTo>
                    <a:lnTo>
                      <a:pt x="68" y="145"/>
                    </a:lnTo>
                    <a:close/>
                    <a:moveTo>
                      <a:pt x="112" y="128"/>
                    </a:moveTo>
                    <a:lnTo>
                      <a:pt x="114" y="128"/>
                    </a:lnTo>
                    <a:lnTo>
                      <a:pt x="112" y="128"/>
                    </a:lnTo>
                    <a:close/>
                    <a:moveTo>
                      <a:pt x="110" y="176"/>
                    </a:moveTo>
                    <a:lnTo>
                      <a:pt x="112" y="176"/>
                    </a:lnTo>
                    <a:lnTo>
                      <a:pt x="110" y="176"/>
                    </a:lnTo>
                    <a:close/>
                    <a:moveTo>
                      <a:pt x="137" y="182"/>
                    </a:moveTo>
                    <a:lnTo>
                      <a:pt x="139" y="182"/>
                    </a:lnTo>
                    <a:lnTo>
                      <a:pt x="139" y="184"/>
                    </a:lnTo>
                    <a:lnTo>
                      <a:pt x="137" y="184"/>
                    </a:lnTo>
                    <a:lnTo>
                      <a:pt x="137" y="182"/>
                    </a:lnTo>
                    <a:close/>
                    <a:moveTo>
                      <a:pt x="65" y="166"/>
                    </a:moveTo>
                    <a:lnTo>
                      <a:pt x="65" y="168"/>
                    </a:lnTo>
                    <a:lnTo>
                      <a:pt x="65" y="166"/>
                    </a:lnTo>
                    <a:close/>
                    <a:moveTo>
                      <a:pt x="133" y="254"/>
                    </a:moveTo>
                    <a:lnTo>
                      <a:pt x="135" y="254"/>
                    </a:lnTo>
                    <a:lnTo>
                      <a:pt x="133" y="254"/>
                    </a:lnTo>
                    <a:close/>
                    <a:moveTo>
                      <a:pt x="85" y="103"/>
                    </a:moveTo>
                    <a:lnTo>
                      <a:pt x="87" y="103"/>
                    </a:lnTo>
                    <a:lnTo>
                      <a:pt x="85" y="103"/>
                    </a:lnTo>
                    <a:close/>
                    <a:moveTo>
                      <a:pt x="42" y="163"/>
                    </a:moveTo>
                    <a:lnTo>
                      <a:pt x="42" y="165"/>
                    </a:lnTo>
                    <a:lnTo>
                      <a:pt x="42" y="163"/>
                    </a:lnTo>
                    <a:close/>
                    <a:moveTo>
                      <a:pt x="66" y="247"/>
                    </a:moveTo>
                    <a:lnTo>
                      <a:pt x="66" y="249"/>
                    </a:lnTo>
                    <a:lnTo>
                      <a:pt x="66" y="247"/>
                    </a:lnTo>
                    <a:close/>
                    <a:moveTo>
                      <a:pt x="76" y="243"/>
                    </a:moveTo>
                    <a:lnTo>
                      <a:pt x="78" y="245"/>
                    </a:lnTo>
                    <a:lnTo>
                      <a:pt x="80" y="245"/>
                    </a:lnTo>
                    <a:lnTo>
                      <a:pt x="78" y="245"/>
                    </a:lnTo>
                    <a:lnTo>
                      <a:pt x="76" y="245"/>
                    </a:lnTo>
                    <a:lnTo>
                      <a:pt x="76" y="243"/>
                    </a:lnTo>
                    <a:close/>
                    <a:moveTo>
                      <a:pt x="120" y="178"/>
                    </a:moveTo>
                    <a:lnTo>
                      <a:pt x="122" y="178"/>
                    </a:lnTo>
                    <a:lnTo>
                      <a:pt x="122" y="180"/>
                    </a:lnTo>
                    <a:lnTo>
                      <a:pt x="120" y="180"/>
                    </a:lnTo>
                    <a:lnTo>
                      <a:pt x="120" y="178"/>
                    </a:lnTo>
                    <a:close/>
                    <a:moveTo>
                      <a:pt x="44" y="258"/>
                    </a:moveTo>
                    <a:lnTo>
                      <a:pt x="45" y="258"/>
                    </a:lnTo>
                    <a:lnTo>
                      <a:pt x="45" y="260"/>
                    </a:lnTo>
                    <a:lnTo>
                      <a:pt x="44" y="260"/>
                    </a:lnTo>
                    <a:lnTo>
                      <a:pt x="44" y="258"/>
                    </a:lnTo>
                    <a:close/>
                    <a:moveTo>
                      <a:pt x="70" y="149"/>
                    </a:moveTo>
                    <a:lnTo>
                      <a:pt x="72" y="149"/>
                    </a:lnTo>
                    <a:lnTo>
                      <a:pt x="72" y="151"/>
                    </a:lnTo>
                    <a:lnTo>
                      <a:pt x="70" y="151"/>
                    </a:lnTo>
                    <a:lnTo>
                      <a:pt x="70" y="149"/>
                    </a:lnTo>
                    <a:close/>
                    <a:moveTo>
                      <a:pt x="51" y="256"/>
                    </a:moveTo>
                    <a:lnTo>
                      <a:pt x="53" y="256"/>
                    </a:lnTo>
                    <a:lnTo>
                      <a:pt x="53" y="258"/>
                    </a:lnTo>
                    <a:lnTo>
                      <a:pt x="51" y="258"/>
                    </a:lnTo>
                    <a:lnTo>
                      <a:pt x="51" y="256"/>
                    </a:lnTo>
                    <a:close/>
                    <a:moveTo>
                      <a:pt x="3" y="207"/>
                    </a:moveTo>
                    <a:lnTo>
                      <a:pt x="3" y="208"/>
                    </a:lnTo>
                    <a:lnTo>
                      <a:pt x="3" y="207"/>
                    </a:lnTo>
                    <a:close/>
                    <a:moveTo>
                      <a:pt x="45" y="262"/>
                    </a:moveTo>
                    <a:lnTo>
                      <a:pt x="45" y="264"/>
                    </a:lnTo>
                    <a:lnTo>
                      <a:pt x="45" y="262"/>
                    </a:lnTo>
                    <a:close/>
                    <a:moveTo>
                      <a:pt x="59" y="252"/>
                    </a:moveTo>
                    <a:lnTo>
                      <a:pt x="61" y="252"/>
                    </a:lnTo>
                    <a:lnTo>
                      <a:pt x="59" y="252"/>
                    </a:lnTo>
                    <a:close/>
                    <a:moveTo>
                      <a:pt x="61" y="249"/>
                    </a:moveTo>
                    <a:lnTo>
                      <a:pt x="63" y="249"/>
                    </a:lnTo>
                    <a:lnTo>
                      <a:pt x="63" y="250"/>
                    </a:lnTo>
                    <a:lnTo>
                      <a:pt x="61" y="250"/>
                    </a:lnTo>
                    <a:lnTo>
                      <a:pt x="61" y="249"/>
                    </a:lnTo>
                    <a:close/>
                    <a:moveTo>
                      <a:pt x="78" y="10"/>
                    </a:moveTo>
                    <a:lnTo>
                      <a:pt x="78" y="12"/>
                    </a:lnTo>
                    <a:lnTo>
                      <a:pt x="78" y="10"/>
                    </a:lnTo>
                    <a:close/>
                    <a:moveTo>
                      <a:pt x="124" y="153"/>
                    </a:moveTo>
                    <a:lnTo>
                      <a:pt x="126" y="153"/>
                    </a:lnTo>
                    <a:lnTo>
                      <a:pt x="126" y="155"/>
                    </a:lnTo>
                    <a:lnTo>
                      <a:pt x="124" y="155"/>
                    </a:lnTo>
                    <a:lnTo>
                      <a:pt x="124" y="153"/>
                    </a:lnTo>
                    <a:close/>
                    <a:moveTo>
                      <a:pt x="135" y="252"/>
                    </a:moveTo>
                    <a:lnTo>
                      <a:pt x="135" y="254"/>
                    </a:lnTo>
                    <a:lnTo>
                      <a:pt x="135" y="252"/>
                    </a:lnTo>
                    <a:close/>
                    <a:moveTo>
                      <a:pt x="114" y="140"/>
                    </a:moveTo>
                    <a:lnTo>
                      <a:pt x="114" y="142"/>
                    </a:lnTo>
                    <a:lnTo>
                      <a:pt x="114" y="140"/>
                    </a:lnTo>
                    <a:close/>
                    <a:moveTo>
                      <a:pt x="120" y="166"/>
                    </a:moveTo>
                    <a:lnTo>
                      <a:pt x="120" y="168"/>
                    </a:lnTo>
                    <a:lnTo>
                      <a:pt x="120" y="166"/>
                    </a:lnTo>
                    <a:close/>
                    <a:moveTo>
                      <a:pt x="61" y="121"/>
                    </a:moveTo>
                    <a:lnTo>
                      <a:pt x="63" y="121"/>
                    </a:lnTo>
                    <a:lnTo>
                      <a:pt x="61" y="121"/>
                    </a:lnTo>
                    <a:close/>
                    <a:moveTo>
                      <a:pt x="105" y="115"/>
                    </a:moveTo>
                    <a:lnTo>
                      <a:pt x="106" y="115"/>
                    </a:lnTo>
                    <a:lnTo>
                      <a:pt x="106" y="117"/>
                    </a:lnTo>
                    <a:lnTo>
                      <a:pt x="105" y="117"/>
                    </a:lnTo>
                    <a:lnTo>
                      <a:pt x="105" y="115"/>
                    </a:lnTo>
                    <a:close/>
                    <a:moveTo>
                      <a:pt x="127" y="138"/>
                    </a:moveTo>
                    <a:lnTo>
                      <a:pt x="129" y="138"/>
                    </a:lnTo>
                    <a:lnTo>
                      <a:pt x="127" y="138"/>
                    </a:lnTo>
                    <a:close/>
                    <a:moveTo>
                      <a:pt x="63" y="249"/>
                    </a:moveTo>
                    <a:lnTo>
                      <a:pt x="63" y="250"/>
                    </a:lnTo>
                    <a:lnTo>
                      <a:pt x="63" y="249"/>
                    </a:lnTo>
                    <a:close/>
                    <a:moveTo>
                      <a:pt x="42" y="161"/>
                    </a:moveTo>
                    <a:lnTo>
                      <a:pt x="42" y="163"/>
                    </a:lnTo>
                    <a:lnTo>
                      <a:pt x="42" y="161"/>
                    </a:lnTo>
                    <a:close/>
                    <a:moveTo>
                      <a:pt x="0" y="210"/>
                    </a:moveTo>
                    <a:lnTo>
                      <a:pt x="2" y="210"/>
                    </a:lnTo>
                    <a:lnTo>
                      <a:pt x="2" y="212"/>
                    </a:lnTo>
                    <a:lnTo>
                      <a:pt x="0" y="212"/>
                    </a:lnTo>
                    <a:lnTo>
                      <a:pt x="0" y="210"/>
                    </a:lnTo>
                    <a:close/>
                    <a:moveTo>
                      <a:pt x="127" y="138"/>
                    </a:moveTo>
                    <a:lnTo>
                      <a:pt x="129" y="138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7" y="138"/>
                    </a:lnTo>
                    <a:close/>
                    <a:moveTo>
                      <a:pt x="51" y="119"/>
                    </a:moveTo>
                    <a:lnTo>
                      <a:pt x="53" y="119"/>
                    </a:lnTo>
                    <a:lnTo>
                      <a:pt x="51" y="119"/>
                    </a:lnTo>
                    <a:close/>
                    <a:moveTo>
                      <a:pt x="116" y="151"/>
                    </a:moveTo>
                    <a:lnTo>
                      <a:pt x="118" y="151"/>
                    </a:lnTo>
                    <a:lnTo>
                      <a:pt x="116" y="151"/>
                    </a:lnTo>
                    <a:close/>
                    <a:moveTo>
                      <a:pt x="80" y="132"/>
                    </a:moveTo>
                    <a:lnTo>
                      <a:pt x="82" y="132"/>
                    </a:lnTo>
                    <a:lnTo>
                      <a:pt x="82" y="134"/>
                    </a:lnTo>
                    <a:lnTo>
                      <a:pt x="80" y="134"/>
                    </a:lnTo>
                    <a:lnTo>
                      <a:pt x="80" y="132"/>
                    </a:lnTo>
                    <a:close/>
                    <a:moveTo>
                      <a:pt x="116" y="140"/>
                    </a:moveTo>
                    <a:lnTo>
                      <a:pt x="116" y="142"/>
                    </a:lnTo>
                    <a:lnTo>
                      <a:pt x="116" y="140"/>
                    </a:lnTo>
                    <a:close/>
                    <a:moveTo>
                      <a:pt x="114" y="147"/>
                    </a:moveTo>
                    <a:lnTo>
                      <a:pt x="116" y="147"/>
                    </a:lnTo>
                    <a:lnTo>
                      <a:pt x="114" y="147"/>
                    </a:lnTo>
                    <a:close/>
                    <a:moveTo>
                      <a:pt x="78" y="147"/>
                    </a:moveTo>
                    <a:lnTo>
                      <a:pt x="80" y="147"/>
                    </a:lnTo>
                    <a:lnTo>
                      <a:pt x="78" y="147"/>
                    </a:lnTo>
                    <a:close/>
                    <a:moveTo>
                      <a:pt x="139" y="229"/>
                    </a:moveTo>
                    <a:lnTo>
                      <a:pt x="139" y="231"/>
                    </a:lnTo>
                    <a:lnTo>
                      <a:pt x="139" y="229"/>
                    </a:lnTo>
                    <a:close/>
                    <a:moveTo>
                      <a:pt x="82" y="39"/>
                    </a:moveTo>
                    <a:lnTo>
                      <a:pt x="82" y="41"/>
                    </a:lnTo>
                    <a:lnTo>
                      <a:pt x="82" y="39"/>
                    </a:lnTo>
                    <a:close/>
                    <a:moveTo>
                      <a:pt x="74" y="233"/>
                    </a:moveTo>
                    <a:lnTo>
                      <a:pt x="74" y="235"/>
                    </a:lnTo>
                    <a:lnTo>
                      <a:pt x="74" y="233"/>
                    </a:lnTo>
                    <a:close/>
                    <a:moveTo>
                      <a:pt x="74" y="245"/>
                    </a:moveTo>
                    <a:lnTo>
                      <a:pt x="76" y="245"/>
                    </a:lnTo>
                    <a:lnTo>
                      <a:pt x="74" y="245"/>
                    </a:lnTo>
                    <a:close/>
                    <a:moveTo>
                      <a:pt x="47" y="75"/>
                    </a:moveTo>
                    <a:lnTo>
                      <a:pt x="47" y="77"/>
                    </a:lnTo>
                    <a:lnTo>
                      <a:pt x="47" y="75"/>
                    </a:lnTo>
                    <a:close/>
                    <a:moveTo>
                      <a:pt x="108" y="124"/>
                    </a:moveTo>
                    <a:lnTo>
                      <a:pt x="108" y="126"/>
                    </a:lnTo>
                    <a:lnTo>
                      <a:pt x="108" y="124"/>
                    </a:lnTo>
                    <a:close/>
                    <a:moveTo>
                      <a:pt x="53" y="121"/>
                    </a:moveTo>
                    <a:lnTo>
                      <a:pt x="55" y="121"/>
                    </a:lnTo>
                    <a:lnTo>
                      <a:pt x="53" y="121"/>
                    </a:lnTo>
                    <a:close/>
                    <a:moveTo>
                      <a:pt x="2" y="210"/>
                    </a:moveTo>
                    <a:lnTo>
                      <a:pt x="3" y="210"/>
                    </a:lnTo>
                    <a:lnTo>
                      <a:pt x="2" y="210"/>
                    </a:lnTo>
                    <a:close/>
                    <a:moveTo>
                      <a:pt x="112" y="222"/>
                    </a:moveTo>
                    <a:lnTo>
                      <a:pt x="112" y="224"/>
                    </a:lnTo>
                    <a:lnTo>
                      <a:pt x="112" y="222"/>
                    </a:lnTo>
                    <a:close/>
                    <a:moveTo>
                      <a:pt x="118" y="149"/>
                    </a:moveTo>
                    <a:lnTo>
                      <a:pt x="120" y="149"/>
                    </a:lnTo>
                    <a:lnTo>
                      <a:pt x="118" y="149"/>
                    </a:lnTo>
                    <a:close/>
                    <a:moveTo>
                      <a:pt x="80" y="134"/>
                    </a:moveTo>
                    <a:lnTo>
                      <a:pt x="82" y="134"/>
                    </a:lnTo>
                    <a:lnTo>
                      <a:pt x="82" y="136"/>
                    </a:lnTo>
                    <a:lnTo>
                      <a:pt x="80" y="136"/>
                    </a:lnTo>
                    <a:lnTo>
                      <a:pt x="80" y="134"/>
                    </a:lnTo>
                    <a:close/>
                    <a:moveTo>
                      <a:pt x="74" y="132"/>
                    </a:moveTo>
                    <a:lnTo>
                      <a:pt x="76" y="132"/>
                    </a:lnTo>
                    <a:lnTo>
                      <a:pt x="76" y="134"/>
                    </a:lnTo>
                    <a:lnTo>
                      <a:pt x="74" y="134"/>
                    </a:lnTo>
                    <a:lnTo>
                      <a:pt x="74" y="132"/>
                    </a:lnTo>
                    <a:close/>
                    <a:moveTo>
                      <a:pt x="99" y="155"/>
                    </a:moveTo>
                    <a:lnTo>
                      <a:pt x="99" y="157"/>
                    </a:lnTo>
                    <a:lnTo>
                      <a:pt x="99" y="155"/>
                    </a:lnTo>
                    <a:close/>
                    <a:moveTo>
                      <a:pt x="38" y="264"/>
                    </a:moveTo>
                    <a:lnTo>
                      <a:pt x="38" y="266"/>
                    </a:lnTo>
                    <a:lnTo>
                      <a:pt x="38" y="264"/>
                    </a:lnTo>
                    <a:close/>
                    <a:moveTo>
                      <a:pt x="108" y="115"/>
                    </a:moveTo>
                    <a:lnTo>
                      <a:pt x="108" y="117"/>
                    </a:lnTo>
                    <a:lnTo>
                      <a:pt x="108" y="115"/>
                    </a:lnTo>
                    <a:close/>
                    <a:moveTo>
                      <a:pt x="139" y="165"/>
                    </a:moveTo>
                    <a:lnTo>
                      <a:pt x="141" y="165"/>
                    </a:lnTo>
                    <a:lnTo>
                      <a:pt x="139" y="165"/>
                    </a:lnTo>
                    <a:close/>
                    <a:moveTo>
                      <a:pt x="57" y="239"/>
                    </a:moveTo>
                    <a:lnTo>
                      <a:pt x="59" y="239"/>
                    </a:lnTo>
                    <a:lnTo>
                      <a:pt x="59" y="241"/>
                    </a:lnTo>
                    <a:lnTo>
                      <a:pt x="57" y="241"/>
                    </a:lnTo>
                    <a:lnTo>
                      <a:pt x="57" y="239"/>
                    </a:lnTo>
                    <a:close/>
                    <a:moveTo>
                      <a:pt x="143" y="186"/>
                    </a:moveTo>
                    <a:lnTo>
                      <a:pt x="145" y="186"/>
                    </a:lnTo>
                    <a:lnTo>
                      <a:pt x="143" y="186"/>
                    </a:lnTo>
                    <a:close/>
                    <a:moveTo>
                      <a:pt x="76" y="111"/>
                    </a:moveTo>
                    <a:lnTo>
                      <a:pt x="78" y="111"/>
                    </a:lnTo>
                    <a:lnTo>
                      <a:pt x="76" y="111"/>
                    </a:lnTo>
                    <a:close/>
                    <a:moveTo>
                      <a:pt x="99" y="159"/>
                    </a:moveTo>
                    <a:lnTo>
                      <a:pt x="99" y="161"/>
                    </a:lnTo>
                    <a:lnTo>
                      <a:pt x="99" y="159"/>
                    </a:lnTo>
                    <a:close/>
                    <a:moveTo>
                      <a:pt x="80" y="102"/>
                    </a:moveTo>
                    <a:lnTo>
                      <a:pt x="82" y="102"/>
                    </a:lnTo>
                    <a:lnTo>
                      <a:pt x="80" y="102"/>
                    </a:lnTo>
                    <a:close/>
                    <a:moveTo>
                      <a:pt x="59" y="237"/>
                    </a:moveTo>
                    <a:lnTo>
                      <a:pt x="59" y="239"/>
                    </a:lnTo>
                    <a:lnTo>
                      <a:pt x="59" y="237"/>
                    </a:lnTo>
                    <a:close/>
                    <a:moveTo>
                      <a:pt x="47" y="260"/>
                    </a:moveTo>
                    <a:lnTo>
                      <a:pt x="47" y="262"/>
                    </a:lnTo>
                    <a:lnTo>
                      <a:pt x="47" y="260"/>
                    </a:lnTo>
                    <a:close/>
                    <a:moveTo>
                      <a:pt x="78" y="233"/>
                    </a:moveTo>
                    <a:lnTo>
                      <a:pt x="80" y="233"/>
                    </a:lnTo>
                    <a:lnTo>
                      <a:pt x="78" y="233"/>
                    </a:lnTo>
                    <a:close/>
                    <a:moveTo>
                      <a:pt x="42" y="159"/>
                    </a:moveTo>
                    <a:lnTo>
                      <a:pt x="44" y="159"/>
                    </a:lnTo>
                    <a:lnTo>
                      <a:pt x="44" y="161"/>
                    </a:lnTo>
                    <a:lnTo>
                      <a:pt x="42" y="161"/>
                    </a:lnTo>
                    <a:lnTo>
                      <a:pt x="42" y="159"/>
                    </a:lnTo>
                    <a:close/>
                    <a:moveTo>
                      <a:pt x="53" y="256"/>
                    </a:moveTo>
                    <a:lnTo>
                      <a:pt x="53" y="258"/>
                    </a:lnTo>
                    <a:lnTo>
                      <a:pt x="53" y="256"/>
                    </a:lnTo>
                    <a:close/>
                    <a:moveTo>
                      <a:pt x="137" y="186"/>
                    </a:moveTo>
                    <a:lnTo>
                      <a:pt x="139" y="186"/>
                    </a:lnTo>
                    <a:lnTo>
                      <a:pt x="137" y="186"/>
                    </a:lnTo>
                    <a:close/>
                    <a:moveTo>
                      <a:pt x="63" y="161"/>
                    </a:moveTo>
                    <a:lnTo>
                      <a:pt x="65" y="161"/>
                    </a:lnTo>
                    <a:lnTo>
                      <a:pt x="65" y="163"/>
                    </a:lnTo>
                    <a:lnTo>
                      <a:pt x="63" y="163"/>
                    </a:lnTo>
                    <a:lnTo>
                      <a:pt x="63" y="161"/>
                    </a:lnTo>
                    <a:close/>
                    <a:moveTo>
                      <a:pt x="72" y="245"/>
                    </a:moveTo>
                    <a:lnTo>
                      <a:pt x="74" y="245"/>
                    </a:lnTo>
                    <a:lnTo>
                      <a:pt x="74" y="247"/>
                    </a:lnTo>
                    <a:lnTo>
                      <a:pt x="72" y="247"/>
                    </a:lnTo>
                    <a:lnTo>
                      <a:pt x="72" y="245"/>
                    </a:lnTo>
                    <a:close/>
                    <a:moveTo>
                      <a:pt x="53" y="258"/>
                    </a:moveTo>
                    <a:lnTo>
                      <a:pt x="53" y="260"/>
                    </a:lnTo>
                    <a:lnTo>
                      <a:pt x="53" y="258"/>
                    </a:lnTo>
                    <a:close/>
                    <a:moveTo>
                      <a:pt x="118" y="136"/>
                    </a:moveTo>
                    <a:lnTo>
                      <a:pt x="118" y="138"/>
                    </a:lnTo>
                    <a:lnTo>
                      <a:pt x="118" y="136"/>
                    </a:lnTo>
                    <a:close/>
                    <a:moveTo>
                      <a:pt x="97" y="163"/>
                    </a:moveTo>
                    <a:lnTo>
                      <a:pt x="99" y="163"/>
                    </a:lnTo>
                    <a:lnTo>
                      <a:pt x="97" y="163"/>
                    </a:lnTo>
                    <a:close/>
                    <a:moveTo>
                      <a:pt x="34" y="170"/>
                    </a:moveTo>
                    <a:lnTo>
                      <a:pt x="36" y="170"/>
                    </a:lnTo>
                    <a:lnTo>
                      <a:pt x="36" y="172"/>
                    </a:lnTo>
                    <a:lnTo>
                      <a:pt x="34" y="172"/>
                    </a:lnTo>
                    <a:lnTo>
                      <a:pt x="34" y="170"/>
                    </a:lnTo>
                    <a:close/>
                    <a:moveTo>
                      <a:pt x="137" y="182"/>
                    </a:moveTo>
                    <a:lnTo>
                      <a:pt x="137" y="184"/>
                    </a:lnTo>
                    <a:lnTo>
                      <a:pt x="137" y="182"/>
                    </a:lnTo>
                    <a:close/>
                    <a:moveTo>
                      <a:pt x="49" y="151"/>
                    </a:moveTo>
                    <a:lnTo>
                      <a:pt x="51" y="151"/>
                    </a:lnTo>
                    <a:lnTo>
                      <a:pt x="51" y="153"/>
                    </a:lnTo>
                    <a:lnTo>
                      <a:pt x="49" y="153"/>
                    </a:lnTo>
                    <a:lnTo>
                      <a:pt x="49" y="151"/>
                    </a:lnTo>
                    <a:close/>
                    <a:moveTo>
                      <a:pt x="61" y="252"/>
                    </a:moveTo>
                    <a:lnTo>
                      <a:pt x="61" y="254"/>
                    </a:lnTo>
                    <a:lnTo>
                      <a:pt x="61" y="252"/>
                    </a:lnTo>
                    <a:close/>
                    <a:moveTo>
                      <a:pt x="143" y="182"/>
                    </a:moveTo>
                    <a:lnTo>
                      <a:pt x="143" y="184"/>
                    </a:lnTo>
                    <a:lnTo>
                      <a:pt x="143" y="182"/>
                    </a:lnTo>
                    <a:close/>
                    <a:moveTo>
                      <a:pt x="76" y="243"/>
                    </a:moveTo>
                    <a:lnTo>
                      <a:pt x="78" y="243"/>
                    </a:lnTo>
                    <a:lnTo>
                      <a:pt x="76" y="243"/>
                    </a:lnTo>
                    <a:close/>
                    <a:moveTo>
                      <a:pt x="93" y="107"/>
                    </a:moveTo>
                    <a:lnTo>
                      <a:pt x="95" y="107"/>
                    </a:lnTo>
                    <a:lnTo>
                      <a:pt x="93" y="107"/>
                    </a:lnTo>
                    <a:close/>
                    <a:moveTo>
                      <a:pt x="118" y="138"/>
                    </a:moveTo>
                    <a:lnTo>
                      <a:pt x="118" y="140"/>
                    </a:lnTo>
                    <a:lnTo>
                      <a:pt x="118" y="138"/>
                    </a:lnTo>
                    <a:close/>
                    <a:moveTo>
                      <a:pt x="116" y="115"/>
                    </a:moveTo>
                    <a:lnTo>
                      <a:pt x="118" y="115"/>
                    </a:lnTo>
                    <a:lnTo>
                      <a:pt x="118" y="117"/>
                    </a:lnTo>
                    <a:lnTo>
                      <a:pt x="116" y="117"/>
                    </a:lnTo>
                    <a:lnTo>
                      <a:pt x="116" y="115"/>
                    </a:lnTo>
                    <a:close/>
                    <a:moveTo>
                      <a:pt x="76" y="243"/>
                    </a:moveTo>
                    <a:lnTo>
                      <a:pt x="78" y="243"/>
                    </a:lnTo>
                    <a:lnTo>
                      <a:pt x="76" y="243"/>
                    </a:lnTo>
                    <a:close/>
                    <a:moveTo>
                      <a:pt x="49" y="147"/>
                    </a:moveTo>
                    <a:lnTo>
                      <a:pt x="51" y="147"/>
                    </a:lnTo>
                    <a:lnTo>
                      <a:pt x="51" y="149"/>
                    </a:lnTo>
                    <a:lnTo>
                      <a:pt x="49" y="149"/>
                    </a:lnTo>
                    <a:lnTo>
                      <a:pt x="49" y="147"/>
                    </a:lnTo>
                    <a:close/>
                    <a:moveTo>
                      <a:pt x="61" y="239"/>
                    </a:moveTo>
                    <a:lnTo>
                      <a:pt x="63" y="239"/>
                    </a:lnTo>
                    <a:lnTo>
                      <a:pt x="61" y="239"/>
                    </a:lnTo>
                    <a:close/>
                    <a:moveTo>
                      <a:pt x="99" y="157"/>
                    </a:moveTo>
                    <a:lnTo>
                      <a:pt x="101" y="157"/>
                    </a:lnTo>
                    <a:lnTo>
                      <a:pt x="99" y="157"/>
                    </a:lnTo>
                    <a:close/>
                    <a:moveTo>
                      <a:pt x="80" y="239"/>
                    </a:moveTo>
                    <a:lnTo>
                      <a:pt x="80" y="241"/>
                    </a:lnTo>
                    <a:lnTo>
                      <a:pt x="80" y="239"/>
                    </a:lnTo>
                    <a:close/>
                    <a:moveTo>
                      <a:pt x="135" y="172"/>
                    </a:moveTo>
                    <a:lnTo>
                      <a:pt x="135" y="174"/>
                    </a:lnTo>
                    <a:lnTo>
                      <a:pt x="135" y="172"/>
                    </a:lnTo>
                    <a:close/>
                    <a:moveTo>
                      <a:pt x="78" y="147"/>
                    </a:moveTo>
                    <a:lnTo>
                      <a:pt x="80" y="147"/>
                    </a:lnTo>
                    <a:lnTo>
                      <a:pt x="80" y="149"/>
                    </a:lnTo>
                    <a:lnTo>
                      <a:pt x="78" y="149"/>
                    </a:lnTo>
                    <a:lnTo>
                      <a:pt x="78" y="147"/>
                    </a:lnTo>
                    <a:close/>
                    <a:moveTo>
                      <a:pt x="91" y="172"/>
                    </a:moveTo>
                    <a:lnTo>
                      <a:pt x="91" y="174"/>
                    </a:lnTo>
                    <a:lnTo>
                      <a:pt x="91" y="172"/>
                    </a:lnTo>
                    <a:close/>
                    <a:moveTo>
                      <a:pt x="47" y="117"/>
                    </a:moveTo>
                    <a:lnTo>
                      <a:pt x="49" y="117"/>
                    </a:lnTo>
                    <a:lnTo>
                      <a:pt x="47" y="117"/>
                    </a:lnTo>
                    <a:close/>
                    <a:moveTo>
                      <a:pt x="65" y="144"/>
                    </a:moveTo>
                    <a:lnTo>
                      <a:pt x="65" y="145"/>
                    </a:lnTo>
                    <a:lnTo>
                      <a:pt x="65" y="144"/>
                    </a:lnTo>
                    <a:close/>
                    <a:moveTo>
                      <a:pt x="114" y="178"/>
                    </a:moveTo>
                    <a:lnTo>
                      <a:pt x="116" y="178"/>
                    </a:lnTo>
                    <a:lnTo>
                      <a:pt x="114" y="178"/>
                    </a:lnTo>
                    <a:close/>
                    <a:moveTo>
                      <a:pt x="120" y="138"/>
                    </a:moveTo>
                    <a:lnTo>
                      <a:pt x="120" y="140"/>
                    </a:lnTo>
                    <a:lnTo>
                      <a:pt x="120" y="138"/>
                    </a:lnTo>
                    <a:close/>
                    <a:moveTo>
                      <a:pt x="135" y="182"/>
                    </a:moveTo>
                    <a:lnTo>
                      <a:pt x="137" y="182"/>
                    </a:lnTo>
                    <a:lnTo>
                      <a:pt x="137" y="184"/>
                    </a:lnTo>
                    <a:lnTo>
                      <a:pt x="135" y="184"/>
                    </a:lnTo>
                    <a:lnTo>
                      <a:pt x="135" y="182"/>
                    </a:lnTo>
                    <a:close/>
                    <a:moveTo>
                      <a:pt x="118" y="147"/>
                    </a:moveTo>
                    <a:lnTo>
                      <a:pt x="118" y="149"/>
                    </a:lnTo>
                    <a:lnTo>
                      <a:pt x="118" y="147"/>
                    </a:lnTo>
                    <a:close/>
                    <a:moveTo>
                      <a:pt x="49" y="245"/>
                    </a:moveTo>
                    <a:lnTo>
                      <a:pt x="49" y="247"/>
                    </a:lnTo>
                    <a:lnTo>
                      <a:pt x="49" y="245"/>
                    </a:lnTo>
                    <a:close/>
                    <a:moveTo>
                      <a:pt x="99" y="155"/>
                    </a:moveTo>
                    <a:lnTo>
                      <a:pt x="99" y="157"/>
                    </a:lnTo>
                    <a:lnTo>
                      <a:pt x="99" y="155"/>
                    </a:lnTo>
                    <a:close/>
                    <a:moveTo>
                      <a:pt x="66" y="186"/>
                    </a:moveTo>
                    <a:lnTo>
                      <a:pt x="68" y="186"/>
                    </a:lnTo>
                    <a:lnTo>
                      <a:pt x="68" y="187"/>
                    </a:lnTo>
                    <a:lnTo>
                      <a:pt x="66" y="187"/>
                    </a:lnTo>
                    <a:lnTo>
                      <a:pt x="66" y="186"/>
                    </a:lnTo>
                    <a:close/>
                    <a:moveTo>
                      <a:pt x="137" y="184"/>
                    </a:moveTo>
                    <a:lnTo>
                      <a:pt x="139" y="184"/>
                    </a:lnTo>
                    <a:lnTo>
                      <a:pt x="137" y="184"/>
                    </a:lnTo>
                    <a:close/>
                    <a:moveTo>
                      <a:pt x="108" y="182"/>
                    </a:moveTo>
                    <a:lnTo>
                      <a:pt x="108" y="184"/>
                    </a:lnTo>
                    <a:lnTo>
                      <a:pt x="108" y="182"/>
                    </a:lnTo>
                    <a:close/>
                    <a:moveTo>
                      <a:pt x="82" y="123"/>
                    </a:moveTo>
                    <a:lnTo>
                      <a:pt x="82" y="124"/>
                    </a:lnTo>
                    <a:lnTo>
                      <a:pt x="82" y="123"/>
                    </a:lnTo>
                    <a:close/>
                    <a:moveTo>
                      <a:pt x="127" y="182"/>
                    </a:moveTo>
                    <a:lnTo>
                      <a:pt x="129" y="182"/>
                    </a:lnTo>
                    <a:lnTo>
                      <a:pt x="127" y="182"/>
                    </a:lnTo>
                    <a:close/>
                    <a:moveTo>
                      <a:pt x="55" y="258"/>
                    </a:moveTo>
                    <a:lnTo>
                      <a:pt x="57" y="258"/>
                    </a:lnTo>
                    <a:lnTo>
                      <a:pt x="55" y="258"/>
                    </a:lnTo>
                    <a:close/>
                    <a:moveTo>
                      <a:pt x="108" y="182"/>
                    </a:moveTo>
                    <a:lnTo>
                      <a:pt x="110" y="182"/>
                    </a:lnTo>
                    <a:lnTo>
                      <a:pt x="108" y="182"/>
                    </a:lnTo>
                    <a:close/>
                    <a:moveTo>
                      <a:pt x="118" y="138"/>
                    </a:moveTo>
                    <a:lnTo>
                      <a:pt x="118" y="140"/>
                    </a:lnTo>
                    <a:lnTo>
                      <a:pt x="118" y="138"/>
                    </a:lnTo>
                    <a:close/>
                    <a:moveTo>
                      <a:pt x="95" y="107"/>
                    </a:moveTo>
                    <a:lnTo>
                      <a:pt x="95" y="109"/>
                    </a:lnTo>
                    <a:lnTo>
                      <a:pt x="95" y="107"/>
                    </a:lnTo>
                    <a:close/>
                    <a:moveTo>
                      <a:pt x="44" y="163"/>
                    </a:moveTo>
                    <a:lnTo>
                      <a:pt x="44" y="165"/>
                    </a:lnTo>
                    <a:lnTo>
                      <a:pt x="44" y="163"/>
                    </a:lnTo>
                    <a:close/>
                    <a:moveTo>
                      <a:pt x="97" y="161"/>
                    </a:moveTo>
                    <a:lnTo>
                      <a:pt x="99" y="161"/>
                    </a:lnTo>
                    <a:lnTo>
                      <a:pt x="97" y="161"/>
                    </a:lnTo>
                    <a:close/>
                    <a:moveTo>
                      <a:pt x="44" y="163"/>
                    </a:moveTo>
                    <a:lnTo>
                      <a:pt x="44" y="165"/>
                    </a:lnTo>
                    <a:lnTo>
                      <a:pt x="44" y="163"/>
                    </a:lnTo>
                    <a:close/>
                    <a:moveTo>
                      <a:pt x="51" y="254"/>
                    </a:moveTo>
                    <a:lnTo>
                      <a:pt x="51" y="256"/>
                    </a:lnTo>
                    <a:lnTo>
                      <a:pt x="51" y="254"/>
                    </a:lnTo>
                    <a:close/>
                    <a:moveTo>
                      <a:pt x="112" y="144"/>
                    </a:moveTo>
                    <a:lnTo>
                      <a:pt x="114" y="144"/>
                    </a:lnTo>
                    <a:lnTo>
                      <a:pt x="112" y="144"/>
                    </a:lnTo>
                    <a:close/>
                    <a:moveTo>
                      <a:pt x="127" y="157"/>
                    </a:moveTo>
                    <a:lnTo>
                      <a:pt x="127" y="159"/>
                    </a:lnTo>
                    <a:lnTo>
                      <a:pt x="127" y="157"/>
                    </a:lnTo>
                    <a:close/>
                    <a:moveTo>
                      <a:pt x="139" y="163"/>
                    </a:moveTo>
                    <a:lnTo>
                      <a:pt x="139" y="165"/>
                    </a:lnTo>
                    <a:lnTo>
                      <a:pt x="139" y="163"/>
                    </a:lnTo>
                    <a:close/>
                    <a:moveTo>
                      <a:pt x="49" y="145"/>
                    </a:moveTo>
                    <a:lnTo>
                      <a:pt x="51" y="145"/>
                    </a:lnTo>
                    <a:lnTo>
                      <a:pt x="49" y="145"/>
                    </a:lnTo>
                    <a:close/>
                    <a:moveTo>
                      <a:pt x="63" y="241"/>
                    </a:moveTo>
                    <a:lnTo>
                      <a:pt x="65" y="241"/>
                    </a:lnTo>
                    <a:lnTo>
                      <a:pt x="65" y="243"/>
                    </a:lnTo>
                    <a:lnTo>
                      <a:pt x="63" y="243"/>
                    </a:lnTo>
                    <a:lnTo>
                      <a:pt x="63" y="241"/>
                    </a:lnTo>
                    <a:close/>
                    <a:moveTo>
                      <a:pt x="76" y="233"/>
                    </a:moveTo>
                    <a:lnTo>
                      <a:pt x="76" y="235"/>
                    </a:lnTo>
                    <a:lnTo>
                      <a:pt x="76" y="233"/>
                    </a:lnTo>
                    <a:close/>
                    <a:moveTo>
                      <a:pt x="36" y="178"/>
                    </a:moveTo>
                    <a:lnTo>
                      <a:pt x="36" y="180"/>
                    </a:lnTo>
                    <a:lnTo>
                      <a:pt x="36" y="178"/>
                    </a:lnTo>
                    <a:close/>
                    <a:moveTo>
                      <a:pt x="143" y="189"/>
                    </a:moveTo>
                    <a:lnTo>
                      <a:pt x="145" y="189"/>
                    </a:lnTo>
                    <a:lnTo>
                      <a:pt x="143" y="189"/>
                    </a:lnTo>
                    <a:close/>
                    <a:moveTo>
                      <a:pt x="42" y="166"/>
                    </a:moveTo>
                    <a:lnTo>
                      <a:pt x="42" y="168"/>
                    </a:lnTo>
                    <a:lnTo>
                      <a:pt x="42" y="166"/>
                    </a:lnTo>
                    <a:close/>
                    <a:moveTo>
                      <a:pt x="49" y="147"/>
                    </a:moveTo>
                    <a:lnTo>
                      <a:pt x="49" y="149"/>
                    </a:lnTo>
                    <a:lnTo>
                      <a:pt x="49" y="147"/>
                    </a:lnTo>
                    <a:close/>
                    <a:moveTo>
                      <a:pt x="51" y="260"/>
                    </a:moveTo>
                    <a:lnTo>
                      <a:pt x="53" y="260"/>
                    </a:lnTo>
                    <a:lnTo>
                      <a:pt x="51" y="260"/>
                    </a:lnTo>
                    <a:close/>
                    <a:moveTo>
                      <a:pt x="95" y="128"/>
                    </a:moveTo>
                    <a:lnTo>
                      <a:pt x="95" y="130"/>
                    </a:lnTo>
                    <a:lnTo>
                      <a:pt x="95" y="128"/>
                    </a:lnTo>
                    <a:close/>
                    <a:moveTo>
                      <a:pt x="32" y="172"/>
                    </a:moveTo>
                    <a:lnTo>
                      <a:pt x="34" y="172"/>
                    </a:lnTo>
                    <a:lnTo>
                      <a:pt x="32" y="172"/>
                    </a:lnTo>
                    <a:close/>
                    <a:moveTo>
                      <a:pt x="70" y="233"/>
                    </a:moveTo>
                    <a:lnTo>
                      <a:pt x="72" y="233"/>
                    </a:lnTo>
                    <a:lnTo>
                      <a:pt x="70" y="233"/>
                    </a:lnTo>
                    <a:close/>
                    <a:moveTo>
                      <a:pt x="103" y="172"/>
                    </a:moveTo>
                    <a:lnTo>
                      <a:pt x="103" y="174"/>
                    </a:lnTo>
                    <a:lnTo>
                      <a:pt x="103" y="172"/>
                    </a:lnTo>
                    <a:close/>
                    <a:moveTo>
                      <a:pt x="63" y="166"/>
                    </a:moveTo>
                    <a:lnTo>
                      <a:pt x="65" y="166"/>
                    </a:lnTo>
                    <a:lnTo>
                      <a:pt x="63" y="166"/>
                    </a:lnTo>
                    <a:close/>
                    <a:moveTo>
                      <a:pt x="72" y="235"/>
                    </a:moveTo>
                    <a:lnTo>
                      <a:pt x="74" y="235"/>
                    </a:lnTo>
                    <a:lnTo>
                      <a:pt x="72" y="235"/>
                    </a:lnTo>
                    <a:close/>
                    <a:moveTo>
                      <a:pt x="101" y="153"/>
                    </a:moveTo>
                    <a:lnTo>
                      <a:pt x="101" y="155"/>
                    </a:lnTo>
                    <a:lnTo>
                      <a:pt x="101" y="153"/>
                    </a:lnTo>
                    <a:close/>
                    <a:moveTo>
                      <a:pt x="70" y="243"/>
                    </a:moveTo>
                    <a:lnTo>
                      <a:pt x="70" y="245"/>
                    </a:lnTo>
                    <a:lnTo>
                      <a:pt x="70" y="243"/>
                    </a:lnTo>
                    <a:close/>
                    <a:moveTo>
                      <a:pt x="53" y="254"/>
                    </a:moveTo>
                    <a:lnTo>
                      <a:pt x="55" y="254"/>
                    </a:lnTo>
                    <a:lnTo>
                      <a:pt x="53" y="254"/>
                    </a:lnTo>
                    <a:close/>
                    <a:moveTo>
                      <a:pt x="45" y="90"/>
                    </a:moveTo>
                    <a:lnTo>
                      <a:pt x="47" y="90"/>
                    </a:lnTo>
                    <a:lnTo>
                      <a:pt x="45" y="90"/>
                    </a:lnTo>
                    <a:close/>
                    <a:moveTo>
                      <a:pt x="36" y="161"/>
                    </a:moveTo>
                    <a:lnTo>
                      <a:pt x="36" y="163"/>
                    </a:lnTo>
                    <a:lnTo>
                      <a:pt x="36" y="161"/>
                    </a:lnTo>
                    <a:close/>
                    <a:moveTo>
                      <a:pt x="80" y="107"/>
                    </a:moveTo>
                    <a:lnTo>
                      <a:pt x="80" y="109"/>
                    </a:lnTo>
                    <a:lnTo>
                      <a:pt x="80" y="107"/>
                    </a:lnTo>
                    <a:close/>
                    <a:moveTo>
                      <a:pt x="137" y="184"/>
                    </a:moveTo>
                    <a:lnTo>
                      <a:pt x="137" y="186"/>
                    </a:lnTo>
                    <a:lnTo>
                      <a:pt x="137" y="184"/>
                    </a:lnTo>
                    <a:close/>
                    <a:moveTo>
                      <a:pt x="93" y="128"/>
                    </a:moveTo>
                    <a:lnTo>
                      <a:pt x="93" y="130"/>
                    </a:lnTo>
                    <a:lnTo>
                      <a:pt x="93" y="128"/>
                    </a:lnTo>
                    <a:close/>
                    <a:moveTo>
                      <a:pt x="53" y="256"/>
                    </a:moveTo>
                    <a:lnTo>
                      <a:pt x="53" y="258"/>
                    </a:lnTo>
                    <a:lnTo>
                      <a:pt x="53" y="256"/>
                    </a:lnTo>
                    <a:close/>
                    <a:moveTo>
                      <a:pt x="85" y="153"/>
                    </a:moveTo>
                    <a:lnTo>
                      <a:pt x="87" y="153"/>
                    </a:lnTo>
                    <a:lnTo>
                      <a:pt x="87" y="155"/>
                    </a:lnTo>
                    <a:lnTo>
                      <a:pt x="85" y="155"/>
                    </a:lnTo>
                    <a:lnTo>
                      <a:pt x="85" y="153"/>
                    </a:lnTo>
                    <a:close/>
                    <a:moveTo>
                      <a:pt x="42" y="157"/>
                    </a:moveTo>
                    <a:lnTo>
                      <a:pt x="44" y="157"/>
                    </a:lnTo>
                    <a:lnTo>
                      <a:pt x="44" y="159"/>
                    </a:lnTo>
                    <a:lnTo>
                      <a:pt x="42" y="159"/>
                    </a:lnTo>
                    <a:lnTo>
                      <a:pt x="42" y="157"/>
                    </a:lnTo>
                    <a:close/>
                    <a:moveTo>
                      <a:pt x="44" y="168"/>
                    </a:moveTo>
                    <a:lnTo>
                      <a:pt x="44" y="170"/>
                    </a:lnTo>
                    <a:lnTo>
                      <a:pt x="44" y="168"/>
                    </a:lnTo>
                    <a:close/>
                    <a:moveTo>
                      <a:pt x="66" y="249"/>
                    </a:moveTo>
                    <a:lnTo>
                      <a:pt x="68" y="249"/>
                    </a:lnTo>
                    <a:lnTo>
                      <a:pt x="66" y="249"/>
                    </a:lnTo>
                    <a:close/>
                    <a:moveTo>
                      <a:pt x="82" y="100"/>
                    </a:moveTo>
                    <a:lnTo>
                      <a:pt x="82" y="102"/>
                    </a:lnTo>
                    <a:lnTo>
                      <a:pt x="82" y="100"/>
                    </a:lnTo>
                    <a:close/>
                    <a:moveTo>
                      <a:pt x="76" y="237"/>
                    </a:moveTo>
                    <a:lnTo>
                      <a:pt x="78" y="237"/>
                    </a:lnTo>
                    <a:lnTo>
                      <a:pt x="76" y="237"/>
                    </a:lnTo>
                    <a:close/>
                    <a:moveTo>
                      <a:pt x="59" y="252"/>
                    </a:moveTo>
                    <a:lnTo>
                      <a:pt x="59" y="254"/>
                    </a:lnTo>
                    <a:lnTo>
                      <a:pt x="59" y="252"/>
                    </a:lnTo>
                    <a:close/>
                    <a:moveTo>
                      <a:pt x="66" y="165"/>
                    </a:moveTo>
                    <a:lnTo>
                      <a:pt x="68" y="165"/>
                    </a:lnTo>
                    <a:lnTo>
                      <a:pt x="66" y="165"/>
                    </a:lnTo>
                    <a:close/>
                    <a:moveTo>
                      <a:pt x="112" y="140"/>
                    </a:moveTo>
                    <a:lnTo>
                      <a:pt x="114" y="140"/>
                    </a:lnTo>
                    <a:lnTo>
                      <a:pt x="112" y="140"/>
                    </a:lnTo>
                    <a:close/>
                    <a:moveTo>
                      <a:pt x="141" y="182"/>
                    </a:moveTo>
                    <a:lnTo>
                      <a:pt x="143" y="182"/>
                    </a:lnTo>
                    <a:lnTo>
                      <a:pt x="141" y="182"/>
                    </a:lnTo>
                    <a:close/>
                    <a:moveTo>
                      <a:pt x="61" y="247"/>
                    </a:moveTo>
                    <a:lnTo>
                      <a:pt x="61" y="249"/>
                    </a:lnTo>
                    <a:lnTo>
                      <a:pt x="61" y="247"/>
                    </a:lnTo>
                    <a:close/>
                    <a:moveTo>
                      <a:pt x="51" y="168"/>
                    </a:moveTo>
                    <a:lnTo>
                      <a:pt x="53" y="168"/>
                    </a:lnTo>
                    <a:lnTo>
                      <a:pt x="51" y="168"/>
                    </a:lnTo>
                    <a:close/>
                    <a:moveTo>
                      <a:pt x="66" y="247"/>
                    </a:moveTo>
                    <a:lnTo>
                      <a:pt x="68" y="247"/>
                    </a:lnTo>
                    <a:lnTo>
                      <a:pt x="66" y="247"/>
                    </a:lnTo>
                    <a:close/>
                    <a:moveTo>
                      <a:pt x="108" y="144"/>
                    </a:moveTo>
                    <a:lnTo>
                      <a:pt x="110" y="144"/>
                    </a:lnTo>
                    <a:lnTo>
                      <a:pt x="108" y="144"/>
                    </a:lnTo>
                    <a:close/>
                    <a:moveTo>
                      <a:pt x="139" y="184"/>
                    </a:moveTo>
                    <a:lnTo>
                      <a:pt x="139" y="186"/>
                    </a:lnTo>
                    <a:lnTo>
                      <a:pt x="139" y="184"/>
                    </a:lnTo>
                    <a:close/>
                    <a:moveTo>
                      <a:pt x="44" y="155"/>
                    </a:moveTo>
                    <a:lnTo>
                      <a:pt x="44" y="157"/>
                    </a:lnTo>
                    <a:lnTo>
                      <a:pt x="44" y="155"/>
                    </a:lnTo>
                    <a:close/>
                    <a:moveTo>
                      <a:pt x="80" y="231"/>
                    </a:moveTo>
                    <a:lnTo>
                      <a:pt x="82" y="231"/>
                    </a:lnTo>
                    <a:lnTo>
                      <a:pt x="80" y="231"/>
                    </a:lnTo>
                    <a:close/>
                    <a:moveTo>
                      <a:pt x="95" y="111"/>
                    </a:moveTo>
                    <a:lnTo>
                      <a:pt x="95" y="113"/>
                    </a:lnTo>
                    <a:lnTo>
                      <a:pt x="95" y="111"/>
                    </a:lnTo>
                    <a:close/>
                    <a:moveTo>
                      <a:pt x="122" y="151"/>
                    </a:moveTo>
                    <a:lnTo>
                      <a:pt x="124" y="151"/>
                    </a:lnTo>
                    <a:lnTo>
                      <a:pt x="122" y="151"/>
                    </a:lnTo>
                    <a:close/>
                    <a:moveTo>
                      <a:pt x="36" y="163"/>
                    </a:moveTo>
                    <a:lnTo>
                      <a:pt x="38" y="163"/>
                    </a:lnTo>
                    <a:lnTo>
                      <a:pt x="36" y="163"/>
                    </a:lnTo>
                    <a:close/>
                    <a:moveTo>
                      <a:pt x="135" y="180"/>
                    </a:moveTo>
                    <a:lnTo>
                      <a:pt x="137" y="180"/>
                    </a:lnTo>
                    <a:lnTo>
                      <a:pt x="137" y="182"/>
                    </a:lnTo>
                    <a:lnTo>
                      <a:pt x="135" y="182"/>
                    </a:lnTo>
                    <a:lnTo>
                      <a:pt x="135" y="180"/>
                    </a:lnTo>
                    <a:close/>
                    <a:moveTo>
                      <a:pt x="105" y="115"/>
                    </a:moveTo>
                    <a:lnTo>
                      <a:pt x="105" y="117"/>
                    </a:lnTo>
                    <a:lnTo>
                      <a:pt x="105" y="115"/>
                    </a:lnTo>
                    <a:close/>
                    <a:moveTo>
                      <a:pt x="44" y="260"/>
                    </a:moveTo>
                    <a:lnTo>
                      <a:pt x="45" y="260"/>
                    </a:lnTo>
                    <a:lnTo>
                      <a:pt x="44" y="260"/>
                    </a:lnTo>
                    <a:close/>
                    <a:moveTo>
                      <a:pt x="135" y="180"/>
                    </a:moveTo>
                    <a:lnTo>
                      <a:pt x="135" y="182"/>
                    </a:lnTo>
                    <a:lnTo>
                      <a:pt x="135" y="180"/>
                    </a:lnTo>
                    <a:close/>
                    <a:moveTo>
                      <a:pt x="2" y="210"/>
                    </a:moveTo>
                    <a:lnTo>
                      <a:pt x="2" y="212"/>
                    </a:lnTo>
                    <a:lnTo>
                      <a:pt x="2" y="210"/>
                    </a:lnTo>
                    <a:close/>
                    <a:moveTo>
                      <a:pt x="49" y="245"/>
                    </a:moveTo>
                    <a:lnTo>
                      <a:pt x="49" y="247"/>
                    </a:lnTo>
                    <a:lnTo>
                      <a:pt x="49" y="245"/>
                    </a:lnTo>
                    <a:close/>
                    <a:moveTo>
                      <a:pt x="76" y="243"/>
                    </a:moveTo>
                    <a:lnTo>
                      <a:pt x="76" y="245"/>
                    </a:lnTo>
                    <a:lnTo>
                      <a:pt x="76" y="243"/>
                    </a:lnTo>
                    <a:close/>
                    <a:moveTo>
                      <a:pt x="61" y="237"/>
                    </a:moveTo>
                    <a:lnTo>
                      <a:pt x="61" y="239"/>
                    </a:lnTo>
                    <a:lnTo>
                      <a:pt x="61" y="237"/>
                    </a:lnTo>
                    <a:close/>
                    <a:moveTo>
                      <a:pt x="112" y="155"/>
                    </a:moveTo>
                    <a:lnTo>
                      <a:pt x="114" y="155"/>
                    </a:lnTo>
                    <a:lnTo>
                      <a:pt x="114" y="157"/>
                    </a:lnTo>
                    <a:lnTo>
                      <a:pt x="112" y="157"/>
                    </a:lnTo>
                    <a:lnTo>
                      <a:pt x="112" y="155"/>
                    </a:lnTo>
                    <a:close/>
                    <a:moveTo>
                      <a:pt x="80" y="100"/>
                    </a:moveTo>
                    <a:lnTo>
                      <a:pt x="80" y="102"/>
                    </a:lnTo>
                    <a:lnTo>
                      <a:pt x="80" y="100"/>
                    </a:lnTo>
                    <a:close/>
                    <a:moveTo>
                      <a:pt x="70" y="231"/>
                    </a:moveTo>
                    <a:lnTo>
                      <a:pt x="70" y="233"/>
                    </a:lnTo>
                    <a:lnTo>
                      <a:pt x="70" y="231"/>
                    </a:lnTo>
                    <a:close/>
                    <a:moveTo>
                      <a:pt x="137" y="145"/>
                    </a:moveTo>
                    <a:lnTo>
                      <a:pt x="137" y="147"/>
                    </a:lnTo>
                    <a:lnTo>
                      <a:pt x="137" y="145"/>
                    </a:lnTo>
                    <a:close/>
                    <a:moveTo>
                      <a:pt x="147" y="231"/>
                    </a:moveTo>
                    <a:lnTo>
                      <a:pt x="148" y="231"/>
                    </a:lnTo>
                    <a:lnTo>
                      <a:pt x="148" y="233"/>
                    </a:lnTo>
                    <a:lnTo>
                      <a:pt x="147" y="233"/>
                    </a:lnTo>
                    <a:lnTo>
                      <a:pt x="147" y="231"/>
                    </a:lnTo>
                    <a:close/>
                    <a:moveTo>
                      <a:pt x="72" y="147"/>
                    </a:moveTo>
                    <a:lnTo>
                      <a:pt x="72" y="149"/>
                    </a:lnTo>
                    <a:lnTo>
                      <a:pt x="72" y="147"/>
                    </a:lnTo>
                    <a:close/>
                    <a:moveTo>
                      <a:pt x="108" y="117"/>
                    </a:moveTo>
                    <a:lnTo>
                      <a:pt x="110" y="117"/>
                    </a:lnTo>
                    <a:lnTo>
                      <a:pt x="108" y="117"/>
                    </a:lnTo>
                    <a:close/>
                    <a:moveTo>
                      <a:pt x="131" y="172"/>
                    </a:moveTo>
                    <a:lnTo>
                      <a:pt x="131" y="174"/>
                    </a:lnTo>
                    <a:lnTo>
                      <a:pt x="131" y="172"/>
                    </a:lnTo>
                    <a:close/>
                    <a:moveTo>
                      <a:pt x="147" y="186"/>
                    </a:moveTo>
                    <a:lnTo>
                      <a:pt x="147" y="187"/>
                    </a:lnTo>
                    <a:lnTo>
                      <a:pt x="147" y="186"/>
                    </a:lnTo>
                    <a:close/>
                    <a:moveTo>
                      <a:pt x="97" y="113"/>
                    </a:moveTo>
                    <a:lnTo>
                      <a:pt x="97" y="115"/>
                    </a:lnTo>
                    <a:lnTo>
                      <a:pt x="97" y="113"/>
                    </a:lnTo>
                    <a:close/>
                    <a:moveTo>
                      <a:pt x="105" y="163"/>
                    </a:moveTo>
                    <a:lnTo>
                      <a:pt x="106" y="163"/>
                    </a:lnTo>
                    <a:lnTo>
                      <a:pt x="105" y="163"/>
                    </a:lnTo>
                    <a:close/>
                    <a:moveTo>
                      <a:pt x="53" y="144"/>
                    </a:moveTo>
                    <a:lnTo>
                      <a:pt x="55" y="144"/>
                    </a:lnTo>
                    <a:lnTo>
                      <a:pt x="55" y="145"/>
                    </a:lnTo>
                    <a:lnTo>
                      <a:pt x="53" y="145"/>
                    </a:lnTo>
                    <a:lnTo>
                      <a:pt x="53" y="144"/>
                    </a:lnTo>
                    <a:close/>
                    <a:moveTo>
                      <a:pt x="95" y="107"/>
                    </a:moveTo>
                    <a:lnTo>
                      <a:pt x="95" y="109"/>
                    </a:lnTo>
                    <a:lnTo>
                      <a:pt x="95" y="107"/>
                    </a:lnTo>
                    <a:close/>
                    <a:moveTo>
                      <a:pt x="40" y="161"/>
                    </a:moveTo>
                    <a:lnTo>
                      <a:pt x="42" y="161"/>
                    </a:lnTo>
                    <a:lnTo>
                      <a:pt x="42" y="163"/>
                    </a:lnTo>
                    <a:lnTo>
                      <a:pt x="40" y="163"/>
                    </a:lnTo>
                    <a:lnTo>
                      <a:pt x="40" y="161"/>
                    </a:lnTo>
                    <a:close/>
                    <a:moveTo>
                      <a:pt x="15" y="191"/>
                    </a:moveTo>
                    <a:lnTo>
                      <a:pt x="15" y="193"/>
                    </a:lnTo>
                    <a:lnTo>
                      <a:pt x="15" y="191"/>
                    </a:lnTo>
                    <a:close/>
                    <a:moveTo>
                      <a:pt x="97" y="155"/>
                    </a:moveTo>
                    <a:lnTo>
                      <a:pt x="97" y="157"/>
                    </a:lnTo>
                    <a:lnTo>
                      <a:pt x="97" y="155"/>
                    </a:lnTo>
                    <a:close/>
                    <a:moveTo>
                      <a:pt x="47" y="256"/>
                    </a:moveTo>
                    <a:lnTo>
                      <a:pt x="47" y="258"/>
                    </a:lnTo>
                    <a:lnTo>
                      <a:pt x="47" y="256"/>
                    </a:lnTo>
                    <a:close/>
                    <a:moveTo>
                      <a:pt x="47" y="151"/>
                    </a:moveTo>
                    <a:lnTo>
                      <a:pt x="47" y="153"/>
                    </a:lnTo>
                    <a:lnTo>
                      <a:pt x="47" y="151"/>
                    </a:lnTo>
                    <a:close/>
                    <a:moveTo>
                      <a:pt x="141" y="165"/>
                    </a:moveTo>
                    <a:lnTo>
                      <a:pt x="141" y="166"/>
                    </a:lnTo>
                    <a:lnTo>
                      <a:pt x="141" y="165"/>
                    </a:lnTo>
                    <a:close/>
                    <a:moveTo>
                      <a:pt x="80" y="239"/>
                    </a:moveTo>
                    <a:lnTo>
                      <a:pt x="80" y="241"/>
                    </a:lnTo>
                    <a:lnTo>
                      <a:pt x="80" y="239"/>
                    </a:lnTo>
                    <a:close/>
                    <a:moveTo>
                      <a:pt x="110" y="180"/>
                    </a:moveTo>
                    <a:lnTo>
                      <a:pt x="112" y="180"/>
                    </a:lnTo>
                    <a:lnTo>
                      <a:pt x="110" y="180"/>
                    </a:lnTo>
                    <a:close/>
                    <a:moveTo>
                      <a:pt x="145" y="187"/>
                    </a:moveTo>
                    <a:lnTo>
                      <a:pt x="147" y="187"/>
                    </a:lnTo>
                    <a:lnTo>
                      <a:pt x="145" y="187"/>
                    </a:lnTo>
                    <a:close/>
                    <a:moveTo>
                      <a:pt x="127" y="140"/>
                    </a:moveTo>
                    <a:lnTo>
                      <a:pt x="129" y="140"/>
                    </a:lnTo>
                    <a:lnTo>
                      <a:pt x="127" y="140"/>
                    </a:lnTo>
                    <a:close/>
                    <a:moveTo>
                      <a:pt x="0" y="210"/>
                    </a:moveTo>
                    <a:lnTo>
                      <a:pt x="2" y="210"/>
                    </a:lnTo>
                    <a:lnTo>
                      <a:pt x="0" y="210"/>
                    </a:lnTo>
                    <a:close/>
                    <a:moveTo>
                      <a:pt x="72" y="233"/>
                    </a:moveTo>
                    <a:lnTo>
                      <a:pt x="72" y="235"/>
                    </a:lnTo>
                    <a:lnTo>
                      <a:pt x="72" y="233"/>
                    </a:lnTo>
                    <a:close/>
                    <a:moveTo>
                      <a:pt x="34" y="172"/>
                    </a:moveTo>
                    <a:lnTo>
                      <a:pt x="34" y="174"/>
                    </a:lnTo>
                    <a:lnTo>
                      <a:pt x="34" y="172"/>
                    </a:lnTo>
                    <a:close/>
                    <a:moveTo>
                      <a:pt x="118" y="176"/>
                    </a:moveTo>
                    <a:lnTo>
                      <a:pt x="120" y="176"/>
                    </a:lnTo>
                    <a:lnTo>
                      <a:pt x="118" y="176"/>
                    </a:lnTo>
                    <a:close/>
                    <a:moveTo>
                      <a:pt x="139" y="226"/>
                    </a:moveTo>
                    <a:lnTo>
                      <a:pt x="141" y="226"/>
                    </a:lnTo>
                    <a:lnTo>
                      <a:pt x="139" y="226"/>
                    </a:lnTo>
                    <a:close/>
                    <a:moveTo>
                      <a:pt x="28" y="182"/>
                    </a:moveTo>
                    <a:lnTo>
                      <a:pt x="30" y="182"/>
                    </a:lnTo>
                    <a:lnTo>
                      <a:pt x="28" y="18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7" name="Freeform 157">
                <a:extLst>
                  <a:ext uri="{FF2B5EF4-FFF2-40B4-BE49-F238E27FC236}">
                    <a16:creationId xmlns:a16="http://schemas.microsoft.com/office/drawing/2014/main" id="{AED821E1-98F7-533C-AB68-B1481FCD6D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86355" y="-2347015"/>
                <a:ext cx="126047" cy="254146"/>
              </a:xfrm>
              <a:custGeom>
                <a:avLst/>
                <a:gdLst>
                  <a:gd name="T0" fmla="*/ 6 w 80"/>
                  <a:gd name="T1" fmla="*/ 16 h 161"/>
                  <a:gd name="T2" fmla="*/ 4 w 80"/>
                  <a:gd name="T3" fmla="*/ 16 h 161"/>
                  <a:gd name="T4" fmla="*/ 2 w 80"/>
                  <a:gd name="T5" fmla="*/ 18 h 161"/>
                  <a:gd name="T6" fmla="*/ 2 w 80"/>
                  <a:gd name="T7" fmla="*/ 16 h 161"/>
                  <a:gd name="T8" fmla="*/ 4 w 80"/>
                  <a:gd name="T9" fmla="*/ 16 h 161"/>
                  <a:gd name="T10" fmla="*/ 6 w 80"/>
                  <a:gd name="T11" fmla="*/ 16 h 161"/>
                  <a:gd name="T12" fmla="*/ 15 w 80"/>
                  <a:gd name="T13" fmla="*/ 18 h 161"/>
                  <a:gd name="T14" fmla="*/ 19 w 80"/>
                  <a:gd name="T15" fmla="*/ 18 h 161"/>
                  <a:gd name="T16" fmla="*/ 19 w 80"/>
                  <a:gd name="T17" fmla="*/ 20 h 161"/>
                  <a:gd name="T18" fmla="*/ 15 w 80"/>
                  <a:gd name="T19" fmla="*/ 20 h 161"/>
                  <a:gd name="T20" fmla="*/ 15 w 80"/>
                  <a:gd name="T21" fmla="*/ 18 h 161"/>
                  <a:gd name="T22" fmla="*/ 8 w 80"/>
                  <a:gd name="T23" fmla="*/ 14 h 161"/>
                  <a:gd name="T24" fmla="*/ 9 w 80"/>
                  <a:gd name="T25" fmla="*/ 14 h 161"/>
                  <a:gd name="T26" fmla="*/ 8 w 80"/>
                  <a:gd name="T27" fmla="*/ 14 h 161"/>
                  <a:gd name="T28" fmla="*/ 0 w 80"/>
                  <a:gd name="T29" fmla="*/ 0 h 161"/>
                  <a:gd name="T30" fmla="*/ 2 w 80"/>
                  <a:gd name="T31" fmla="*/ 0 h 161"/>
                  <a:gd name="T32" fmla="*/ 2 w 80"/>
                  <a:gd name="T33" fmla="*/ 2 h 161"/>
                  <a:gd name="T34" fmla="*/ 0 w 80"/>
                  <a:gd name="T35" fmla="*/ 2 h 161"/>
                  <a:gd name="T36" fmla="*/ 0 w 80"/>
                  <a:gd name="T37" fmla="*/ 0 h 161"/>
                  <a:gd name="T38" fmla="*/ 6 w 80"/>
                  <a:gd name="T39" fmla="*/ 18 h 161"/>
                  <a:gd name="T40" fmla="*/ 6 w 80"/>
                  <a:gd name="T41" fmla="*/ 20 h 161"/>
                  <a:gd name="T42" fmla="*/ 6 w 80"/>
                  <a:gd name="T43" fmla="*/ 18 h 161"/>
                  <a:gd name="T44" fmla="*/ 11 w 80"/>
                  <a:gd name="T45" fmla="*/ 2 h 161"/>
                  <a:gd name="T46" fmla="*/ 13 w 80"/>
                  <a:gd name="T47" fmla="*/ 2 h 161"/>
                  <a:gd name="T48" fmla="*/ 13 w 80"/>
                  <a:gd name="T49" fmla="*/ 4 h 161"/>
                  <a:gd name="T50" fmla="*/ 11 w 80"/>
                  <a:gd name="T51" fmla="*/ 4 h 161"/>
                  <a:gd name="T52" fmla="*/ 11 w 80"/>
                  <a:gd name="T53" fmla="*/ 2 h 161"/>
                  <a:gd name="T54" fmla="*/ 63 w 80"/>
                  <a:gd name="T55" fmla="*/ 126 h 161"/>
                  <a:gd name="T56" fmla="*/ 63 w 80"/>
                  <a:gd name="T57" fmla="*/ 128 h 161"/>
                  <a:gd name="T58" fmla="*/ 63 w 80"/>
                  <a:gd name="T59" fmla="*/ 126 h 161"/>
                  <a:gd name="T60" fmla="*/ 4 w 80"/>
                  <a:gd name="T61" fmla="*/ 10 h 161"/>
                  <a:gd name="T62" fmla="*/ 6 w 80"/>
                  <a:gd name="T63" fmla="*/ 10 h 161"/>
                  <a:gd name="T64" fmla="*/ 6 w 80"/>
                  <a:gd name="T65" fmla="*/ 12 h 161"/>
                  <a:gd name="T66" fmla="*/ 4 w 80"/>
                  <a:gd name="T67" fmla="*/ 12 h 161"/>
                  <a:gd name="T68" fmla="*/ 4 w 80"/>
                  <a:gd name="T69" fmla="*/ 10 h 161"/>
                  <a:gd name="T70" fmla="*/ 36 w 80"/>
                  <a:gd name="T71" fmla="*/ 159 h 161"/>
                  <a:gd name="T72" fmla="*/ 38 w 80"/>
                  <a:gd name="T73" fmla="*/ 159 h 161"/>
                  <a:gd name="T74" fmla="*/ 38 w 80"/>
                  <a:gd name="T75" fmla="*/ 161 h 161"/>
                  <a:gd name="T76" fmla="*/ 36 w 80"/>
                  <a:gd name="T77" fmla="*/ 161 h 161"/>
                  <a:gd name="T78" fmla="*/ 36 w 80"/>
                  <a:gd name="T79" fmla="*/ 159 h 161"/>
                  <a:gd name="T80" fmla="*/ 0 w 80"/>
                  <a:gd name="T81" fmla="*/ 12 h 161"/>
                  <a:gd name="T82" fmla="*/ 2 w 80"/>
                  <a:gd name="T83" fmla="*/ 12 h 161"/>
                  <a:gd name="T84" fmla="*/ 0 w 80"/>
                  <a:gd name="T85" fmla="*/ 12 h 161"/>
                  <a:gd name="T86" fmla="*/ 13 w 80"/>
                  <a:gd name="T87" fmla="*/ 4 h 161"/>
                  <a:gd name="T88" fmla="*/ 15 w 80"/>
                  <a:gd name="T89" fmla="*/ 4 h 161"/>
                  <a:gd name="T90" fmla="*/ 13 w 80"/>
                  <a:gd name="T91" fmla="*/ 4 h 161"/>
                  <a:gd name="T92" fmla="*/ 13 w 80"/>
                  <a:gd name="T93" fmla="*/ 6 h 161"/>
                  <a:gd name="T94" fmla="*/ 15 w 80"/>
                  <a:gd name="T95" fmla="*/ 6 h 161"/>
                  <a:gd name="T96" fmla="*/ 13 w 80"/>
                  <a:gd name="T97" fmla="*/ 6 h 161"/>
                  <a:gd name="T98" fmla="*/ 46 w 80"/>
                  <a:gd name="T99" fmla="*/ 94 h 161"/>
                  <a:gd name="T100" fmla="*/ 48 w 80"/>
                  <a:gd name="T101" fmla="*/ 94 h 161"/>
                  <a:gd name="T102" fmla="*/ 46 w 80"/>
                  <a:gd name="T103" fmla="*/ 94 h 161"/>
                  <a:gd name="T104" fmla="*/ 80 w 80"/>
                  <a:gd name="T105" fmla="*/ 121 h 161"/>
                  <a:gd name="T106" fmla="*/ 80 w 80"/>
                  <a:gd name="T107" fmla="*/ 123 h 161"/>
                  <a:gd name="T108" fmla="*/ 80 w 80"/>
                  <a:gd name="T109" fmla="*/ 12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0" h="161">
                    <a:moveTo>
                      <a:pt x="6" y="16"/>
                    </a:moveTo>
                    <a:lnTo>
                      <a:pt x="4" y="16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6" y="16"/>
                    </a:lnTo>
                    <a:close/>
                    <a:moveTo>
                      <a:pt x="15" y="18"/>
                    </a:moveTo>
                    <a:lnTo>
                      <a:pt x="19" y="18"/>
                    </a:lnTo>
                    <a:lnTo>
                      <a:pt x="19" y="20"/>
                    </a:lnTo>
                    <a:lnTo>
                      <a:pt x="15" y="20"/>
                    </a:lnTo>
                    <a:lnTo>
                      <a:pt x="15" y="18"/>
                    </a:lnTo>
                    <a:close/>
                    <a:moveTo>
                      <a:pt x="8" y="14"/>
                    </a:moveTo>
                    <a:lnTo>
                      <a:pt x="9" y="14"/>
                    </a:lnTo>
                    <a:lnTo>
                      <a:pt x="8" y="14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6" y="18"/>
                    </a:moveTo>
                    <a:lnTo>
                      <a:pt x="6" y="20"/>
                    </a:lnTo>
                    <a:lnTo>
                      <a:pt x="6" y="18"/>
                    </a:lnTo>
                    <a:close/>
                    <a:moveTo>
                      <a:pt x="11" y="2"/>
                    </a:moveTo>
                    <a:lnTo>
                      <a:pt x="13" y="2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1" y="2"/>
                    </a:lnTo>
                    <a:close/>
                    <a:moveTo>
                      <a:pt x="63" y="126"/>
                    </a:moveTo>
                    <a:lnTo>
                      <a:pt x="63" y="128"/>
                    </a:lnTo>
                    <a:lnTo>
                      <a:pt x="63" y="126"/>
                    </a:lnTo>
                    <a:close/>
                    <a:moveTo>
                      <a:pt x="4" y="10"/>
                    </a:moveTo>
                    <a:lnTo>
                      <a:pt x="6" y="10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4" y="10"/>
                    </a:lnTo>
                    <a:close/>
                    <a:moveTo>
                      <a:pt x="36" y="159"/>
                    </a:moveTo>
                    <a:lnTo>
                      <a:pt x="38" y="159"/>
                    </a:lnTo>
                    <a:lnTo>
                      <a:pt x="38" y="161"/>
                    </a:lnTo>
                    <a:lnTo>
                      <a:pt x="36" y="161"/>
                    </a:lnTo>
                    <a:lnTo>
                      <a:pt x="36" y="159"/>
                    </a:lnTo>
                    <a:close/>
                    <a:moveTo>
                      <a:pt x="0" y="12"/>
                    </a:moveTo>
                    <a:lnTo>
                      <a:pt x="2" y="12"/>
                    </a:lnTo>
                    <a:lnTo>
                      <a:pt x="0" y="12"/>
                    </a:lnTo>
                    <a:close/>
                    <a:moveTo>
                      <a:pt x="13" y="4"/>
                    </a:moveTo>
                    <a:lnTo>
                      <a:pt x="15" y="4"/>
                    </a:lnTo>
                    <a:lnTo>
                      <a:pt x="13" y="4"/>
                    </a:lnTo>
                    <a:close/>
                    <a:moveTo>
                      <a:pt x="13" y="6"/>
                    </a:moveTo>
                    <a:lnTo>
                      <a:pt x="15" y="6"/>
                    </a:lnTo>
                    <a:lnTo>
                      <a:pt x="13" y="6"/>
                    </a:lnTo>
                    <a:close/>
                    <a:moveTo>
                      <a:pt x="46" y="94"/>
                    </a:moveTo>
                    <a:lnTo>
                      <a:pt x="48" y="94"/>
                    </a:lnTo>
                    <a:lnTo>
                      <a:pt x="46" y="94"/>
                    </a:lnTo>
                    <a:close/>
                    <a:moveTo>
                      <a:pt x="80" y="121"/>
                    </a:moveTo>
                    <a:lnTo>
                      <a:pt x="80" y="123"/>
                    </a:lnTo>
                    <a:lnTo>
                      <a:pt x="80" y="1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8" name="Freeform 158">
                <a:extLst>
                  <a:ext uri="{FF2B5EF4-FFF2-40B4-BE49-F238E27FC236}">
                    <a16:creationId xmlns:a16="http://schemas.microsoft.com/office/drawing/2014/main" id="{61D4D7EB-D57E-5477-2049-07549D88AFE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402651" y="-2656406"/>
                <a:ext cx="225309" cy="505133"/>
              </a:xfrm>
              <a:custGeom>
                <a:avLst/>
                <a:gdLst>
                  <a:gd name="T0" fmla="*/ 116 w 143"/>
                  <a:gd name="T1" fmla="*/ 141 h 320"/>
                  <a:gd name="T2" fmla="*/ 91 w 143"/>
                  <a:gd name="T3" fmla="*/ 156 h 320"/>
                  <a:gd name="T4" fmla="*/ 88 w 143"/>
                  <a:gd name="T5" fmla="*/ 181 h 320"/>
                  <a:gd name="T6" fmla="*/ 103 w 143"/>
                  <a:gd name="T7" fmla="*/ 210 h 320"/>
                  <a:gd name="T8" fmla="*/ 95 w 143"/>
                  <a:gd name="T9" fmla="*/ 229 h 320"/>
                  <a:gd name="T10" fmla="*/ 112 w 143"/>
                  <a:gd name="T11" fmla="*/ 267 h 320"/>
                  <a:gd name="T12" fmla="*/ 111 w 143"/>
                  <a:gd name="T13" fmla="*/ 298 h 320"/>
                  <a:gd name="T14" fmla="*/ 101 w 143"/>
                  <a:gd name="T15" fmla="*/ 303 h 320"/>
                  <a:gd name="T16" fmla="*/ 107 w 143"/>
                  <a:gd name="T17" fmla="*/ 292 h 320"/>
                  <a:gd name="T18" fmla="*/ 103 w 143"/>
                  <a:gd name="T19" fmla="*/ 278 h 320"/>
                  <a:gd name="T20" fmla="*/ 103 w 143"/>
                  <a:gd name="T21" fmla="*/ 271 h 320"/>
                  <a:gd name="T22" fmla="*/ 97 w 143"/>
                  <a:gd name="T23" fmla="*/ 254 h 320"/>
                  <a:gd name="T24" fmla="*/ 93 w 143"/>
                  <a:gd name="T25" fmla="*/ 248 h 320"/>
                  <a:gd name="T26" fmla="*/ 90 w 143"/>
                  <a:gd name="T27" fmla="*/ 233 h 320"/>
                  <a:gd name="T28" fmla="*/ 84 w 143"/>
                  <a:gd name="T29" fmla="*/ 206 h 320"/>
                  <a:gd name="T30" fmla="*/ 74 w 143"/>
                  <a:gd name="T31" fmla="*/ 202 h 320"/>
                  <a:gd name="T32" fmla="*/ 50 w 143"/>
                  <a:gd name="T33" fmla="*/ 217 h 320"/>
                  <a:gd name="T34" fmla="*/ 46 w 143"/>
                  <a:gd name="T35" fmla="*/ 212 h 320"/>
                  <a:gd name="T36" fmla="*/ 38 w 143"/>
                  <a:gd name="T37" fmla="*/ 212 h 320"/>
                  <a:gd name="T38" fmla="*/ 38 w 143"/>
                  <a:gd name="T39" fmla="*/ 195 h 320"/>
                  <a:gd name="T40" fmla="*/ 34 w 143"/>
                  <a:gd name="T41" fmla="*/ 170 h 320"/>
                  <a:gd name="T42" fmla="*/ 27 w 143"/>
                  <a:gd name="T43" fmla="*/ 154 h 320"/>
                  <a:gd name="T44" fmla="*/ 21 w 143"/>
                  <a:gd name="T45" fmla="*/ 149 h 320"/>
                  <a:gd name="T46" fmla="*/ 2 w 143"/>
                  <a:gd name="T47" fmla="*/ 133 h 320"/>
                  <a:gd name="T48" fmla="*/ 13 w 143"/>
                  <a:gd name="T49" fmla="*/ 112 h 320"/>
                  <a:gd name="T50" fmla="*/ 19 w 143"/>
                  <a:gd name="T51" fmla="*/ 80 h 320"/>
                  <a:gd name="T52" fmla="*/ 40 w 143"/>
                  <a:gd name="T53" fmla="*/ 55 h 320"/>
                  <a:gd name="T54" fmla="*/ 57 w 143"/>
                  <a:gd name="T55" fmla="*/ 27 h 320"/>
                  <a:gd name="T56" fmla="*/ 80 w 143"/>
                  <a:gd name="T57" fmla="*/ 11 h 320"/>
                  <a:gd name="T58" fmla="*/ 95 w 143"/>
                  <a:gd name="T59" fmla="*/ 9 h 320"/>
                  <a:gd name="T60" fmla="*/ 103 w 143"/>
                  <a:gd name="T61" fmla="*/ 42 h 320"/>
                  <a:gd name="T62" fmla="*/ 86 w 143"/>
                  <a:gd name="T63" fmla="*/ 72 h 320"/>
                  <a:gd name="T64" fmla="*/ 105 w 143"/>
                  <a:gd name="T65" fmla="*/ 80 h 320"/>
                  <a:gd name="T66" fmla="*/ 118 w 143"/>
                  <a:gd name="T67" fmla="*/ 99 h 320"/>
                  <a:gd name="T68" fmla="*/ 128 w 143"/>
                  <a:gd name="T69" fmla="*/ 122 h 320"/>
                  <a:gd name="T70" fmla="*/ 29 w 143"/>
                  <a:gd name="T71" fmla="*/ 160 h 320"/>
                  <a:gd name="T72" fmla="*/ 101 w 143"/>
                  <a:gd name="T73" fmla="*/ 273 h 320"/>
                  <a:gd name="T74" fmla="*/ 27 w 143"/>
                  <a:gd name="T75" fmla="*/ 158 h 320"/>
                  <a:gd name="T76" fmla="*/ 84 w 143"/>
                  <a:gd name="T77" fmla="*/ 208 h 320"/>
                  <a:gd name="T78" fmla="*/ 101 w 143"/>
                  <a:gd name="T79" fmla="*/ 280 h 320"/>
                  <a:gd name="T80" fmla="*/ 97 w 143"/>
                  <a:gd name="T81" fmla="*/ 301 h 320"/>
                  <a:gd name="T82" fmla="*/ 30 w 143"/>
                  <a:gd name="T83" fmla="*/ 162 h 320"/>
                  <a:gd name="T84" fmla="*/ 95 w 143"/>
                  <a:gd name="T85" fmla="*/ 275 h 320"/>
                  <a:gd name="T86" fmla="*/ 101 w 143"/>
                  <a:gd name="T87" fmla="*/ 275 h 320"/>
                  <a:gd name="T88" fmla="*/ 93 w 143"/>
                  <a:gd name="T89" fmla="*/ 286 h 320"/>
                  <a:gd name="T90" fmla="*/ 15 w 143"/>
                  <a:gd name="T91" fmla="*/ 147 h 320"/>
                  <a:gd name="T92" fmla="*/ 21 w 143"/>
                  <a:gd name="T93" fmla="*/ 154 h 320"/>
                  <a:gd name="T94" fmla="*/ 86 w 143"/>
                  <a:gd name="T95" fmla="*/ 210 h 320"/>
                  <a:gd name="T96" fmla="*/ 29 w 143"/>
                  <a:gd name="T97" fmla="*/ 168 h 320"/>
                  <a:gd name="T98" fmla="*/ 103 w 143"/>
                  <a:gd name="T99" fmla="*/ 278 h 320"/>
                  <a:gd name="T100" fmla="*/ 23 w 143"/>
                  <a:gd name="T101" fmla="*/ 158 h 320"/>
                  <a:gd name="T102" fmla="*/ 95 w 143"/>
                  <a:gd name="T103" fmla="*/ 290 h 320"/>
                  <a:gd name="T104" fmla="*/ 103 w 143"/>
                  <a:gd name="T105" fmla="*/ 296 h 320"/>
                  <a:gd name="T106" fmla="*/ 74 w 143"/>
                  <a:gd name="T107" fmla="*/ 198 h 320"/>
                  <a:gd name="T108" fmla="*/ 76 w 143"/>
                  <a:gd name="T109" fmla="*/ 200 h 320"/>
                  <a:gd name="T110" fmla="*/ 95 w 143"/>
                  <a:gd name="T111" fmla="*/ 250 h 320"/>
                  <a:gd name="T112" fmla="*/ 101 w 143"/>
                  <a:gd name="T113" fmla="*/ 275 h 320"/>
                  <a:gd name="T114" fmla="*/ 105 w 143"/>
                  <a:gd name="T115" fmla="*/ 278 h 320"/>
                  <a:gd name="T116" fmla="*/ 95 w 143"/>
                  <a:gd name="T117" fmla="*/ 284 h 320"/>
                  <a:gd name="T118" fmla="*/ 95 w 143"/>
                  <a:gd name="T119" fmla="*/ 277 h 320"/>
                  <a:gd name="T120" fmla="*/ 95 w 143"/>
                  <a:gd name="T121" fmla="*/ 25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3" h="320">
                    <a:moveTo>
                      <a:pt x="143" y="122"/>
                    </a:moveTo>
                    <a:lnTo>
                      <a:pt x="143" y="124"/>
                    </a:lnTo>
                    <a:lnTo>
                      <a:pt x="141" y="124"/>
                    </a:lnTo>
                    <a:lnTo>
                      <a:pt x="141" y="126"/>
                    </a:lnTo>
                    <a:lnTo>
                      <a:pt x="139" y="126"/>
                    </a:lnTo>
                    <a:lnTo>
                      <a:pt x="137" y="126"/>
                    </a:lnTo>
                    <a:lnTo>
                      <a:pt x="135" y="128"/>
                    </a:lnTo>
                    <a:lnTo>
                      <a:pt x="135" y="130"/>
                    </a:lnTo>
                    <a:lnTo>
                      <a:pt x="133" y="132"/>
                    </a:lnTo>
                    <a:lnTo>
                      <a:pt x="133" y="133"/>
                    </a:lnTo>
                    <a:lnTo>
                      <a:pt x="135" y="133"/>
                    </a:lnTo>
                    <a:lnTo>
                      <a:pt x="133" y="135"/>
                    </a:lnTo>
                    <a:lnTo>
                      <a:pt x="132" y="133"/>
                    </a:lnTo>
                    <a:lnTo>
                      <a:pt x="132" y="135"/>
                    </a:lnTo>
                    <a:lnTo>
                      <a:pt x="130" y="135"/>
                    </a:lnTo>
                    <a:lnTo>
                      <a:pt x="128" y="137"/>
                    </a:lnTo>
                    <a:lnTo>
                      <a:pt x="126" y="141"/>
                    </a:lnTo>
                    <a:lnTo>
                      <a:pt x="128" y="141"/>
                    </a:lnTo>
                    <a:lnTo>
                      <a:pt x="126" y="143"/>
                    </a:lnTo>
                    <a:lnTo>
                      <a:pt x="126" y="141"/>
                    </a:lnTo>
                    <a:lnTo>
                      <a:pt x="124" y="141"/>
                    </a:lnTo>
                    <a:lnTo>
                      <a:pt x="122" y="141"/>
                    </a:lnTo>
                    <a:lnTo>
                      <a:pt x="122" y="143"/>
                    </a:lnTo>
                    <a:lnTo>
                      <a:pt x="120" y="143"/>
                    </a:lnTo>
                    <a:lnTo>
                      <a:pt x="118" y="143"/>
                    </a:lnTo>
                    <a:lnTo>
                      <a:pt x="116" y="141"/>
                    </a:lnTo>
                    <a:lnTo>
                      <a:pt x="116" y="143"/>
                    </a:lnTo>
                    <a:lnTo>
                      <a:pt x="118" y="145"/>
                    </a:lnTo>
                    <a:lnTo>
                      <a:pt x="118" y="147"/>
                    </a:lnTo>
                    <a:lnTo>
                      <a:pt x="116" y="147"/>
                    </a:lnTo>
                    <a:lnTo>
                      <a:pt x="114" y="147"/>
                    </a:lnTo>
                    <a:lnTo>
                      <a:pt x="112" y="147"/>
                    </a:lnTo>
                    <a:lnTo>
                      <a:pt x="111" y="147"/>
                    </a:lnTo>
                    <a:lnTo>
                      <a:pt x="111" y="149"/>
                    </a:lnTo>
                    <a:lnTo>
                      <a:pt x="109" y="149"/>
                    </a:lnTo>
                    <a:lnTo>
                      <a:pt x="111" y="149"/>
                    </a:lnTo>
                    <a:lnTo>
                      <a:pt x="109" y="151"/>
                    </a:lnTo>
                    <a:lnTo>
                      <a:pt x="109" y="153"/>
                    </a:lnTo>
                    <a:lnTo>
                      <a:pt x="107" y="153"/>
                    </a:lnTo>
                    <a:lnTo>
                      <a:pt x="105" y="153"/>
                    </a:lnTo>
                    <a:lnTo>
                      <a:pt x="103" y="153"/>
                    </a:lnTo>
                    <a:lnTo>
                      <a:pt x="103" y="154"/>
                    </a:lnTo>
                    <a:lnTo>
                      <a:pt x="101" y="153"/>
                    </a:lnTo>
                    <a:lnTo>
                      <a:pt x="101" y="154"/>
                    </a:lnTo>
                    <a:lnTo>
                      <a:pt x="99" y="154"/>
                    </a:lnTo>
                    <a:lnTo>
                      <a:pt x="97" y="154"/>
                    </a:lnTo>
                    <a:lnTo>
                      <a:pt x="97" y="153"/>
                    </a:lnTo>
                    <a:lnTo>
                      <a:pt x="95" y="153"/>
                    </a:lnTo>
                    <a:lnTo>
                      <a:pt x="93" y="153"/>
                    </a:lnTo>
                    <a:lnTo>
                      <a:pt x="93" y="154"/>
                    </a:lnTo>
                    <a:lnTo>
                      <a:pt x="91" y="154"/>
                    </a:lnTo>
                    <a:lnTo>
                      <a:pt x="91" y="156"/>
                    </a:lnTo>
                    <a:lnTo>
                      <a:pt x="90" y="158"/>
                    </a:lnTo>
                    <a:lnTo>
                      <a:pt x="90" y="160"/>
                    </a:lnTo>
                    <a:lnTo>
                      <a:pt x="91" y="160"/>
                    </a:lnTo>
                    <a:lnTo>
                      <a:pt x="90" y="160"/>
                    </a:lnTo>
                    <a:lnTo>
                      <a:pt x="91" y="162"/>
                    </a:lnTo>
                    <a:lnTo>
                      <a:pt x="90" y="164"/>
                    </a:lnTo>
                    <a:lnTo>
                      <a:pt x="90" y="166"/>
                    </a:lnTo>
                    <a:lnTo>
                      <a:pt x="88" y="166"/>
                    </a:lnTo>
                    <a:lnTo>
                      <a:pt x="88" y="168"/>
                    </a:lnTo>
                    <a:lnTo>
                      <a:pt x="90" y="168"/>
                    </a:lnTo>
                    <a:lnTo>
                      <a:pt x="90" y="170"/>
                    </a:lnTo>
                    <a:lnTo>
                      <a:pt x="90" y="172"/>
                    </a:lnTo>
                    <a:lnTo>
                      <a:pt x="88" y="172"/>
                    </a:lnTo>
                    <a:lnTo>
                      <a:pt x="88" y="174"/>
                    </a:lnTo>
                    <a:lnTo>
                      <a:pt x="86" y="174"/>
                    </a:lnTo>
                    <a:lnTo>
                      <a:pt x="84" y="174"/>
                    </a:lnTo>
                    <a:lnTo>
                      <a:pt x="82" y="174"/>
                    </a:lnTo>
                    <a:lnTo>
                      <a:pt x="82" y="172"/>
                    </a:lnTo>
                    <a:lnTo>
                      <a:pt x="82" y="174"/>
                    </a:lnTo>
                    <a:lnTo>
                      <a:pt x="84" y="174"/>
                    </a:lnTo>
                    <a:lnTo>
                      <a:pt x="84" y="175"/>
                    </a:lnTo>
                    <a:lnTo>
                      <a:pt x="84" y="177"/>
                    </a:lnTo>
                    <a:lnTo>
                      <a:pt x="86" y="177"/>
                    </a:lnTo>
                    <a:lnTo>
                      <a:pt x="88" y="177"/>
                    </a:lnTo>
                    <a:lnTo>
                      <a:pt x="88" y="179"/>
                    </a:lnTo>
                    <a:lnTo>
                      <a:pt x="88" y="181"/>
                    </a:lnTo>
                    <a:lnTo>
                      <a:pt x="90" y="183"/>
                    </a:lnTo>
                    <a:lnTo>
                      <a:pt x="88" y="183"/>
                    </a:lnTo>
                    <a:lnTo>
                      <a:pt x="88" y="185"/>
                    </a:lnTo>
                    <a:lnTo>
                      <a:pt x="90" y="187"/>
                    </a:lnTo>
                    <a:lnTo>
                      <a:pt x="91" y="189"/>
                    </a:lnTo>
                    <a:lnTo>
                      <a:pt x="91" y="191"/>
                    </a:lnTo>
                    <a:lnTo>
                      <a:pt x="93" y="191"/>
                    </a:lnTo>
                    <a:lnTo>
                      <a:pt x="93" y="193"/>
                    </a:lnTo>
                    <a:lnTo>
                      <a:pt x="95" y="193"/>
                    </a:lnTo>
                    <a:lnTo>
                      <a:pt x="95" y="195"/>
                    </a:lnTo>
                    <a:lnTo>
                      <a:pt x="97" y="195"/>
                    </a:lnTo>
                    <a:lnTo>
                      <a:pt x="97" y="196"/>
                    </a:lnTo>
                    <a:lnTo>
                      <a:pt x="99" y="196"/>
                    </a:lnTo>
                    <a:lnTo>
                      <a:pt x="97" y="196"/>
                    </a:lnTo>
                    <a:lnTo>
                      <a:pt x="97" y="198"/>
                    </a:lnTo>
                    <a:lnTo>
                      <a:pt x="99" y="198"/>
                    </a:lnTo>
                    <a:lnTo>
                      <a:pt x="101" y="198"/>
                    </a:lnTo>
                    <a:lnTo>
                      <a:pt x="101" y="200"/>
                    </a:lnTo>
                    <a:lnTo>
                      <a:pt x="101" y="202"/>
                    </a:lnTo>
                    <a:lnTo>
                      <a:pt x="101" y="200"/>
                    </a:lnTo>
                    <a:lnTo>
                      <a:pt x="101" y="202"/>
                    </a:lnTo>
                    <a:lnTo>
                      <a:pt x="101" y="204"/>
                    </a:lnTo>
                    <a:lnTo>
                      <a:pt x="103" y="204"/>
                    </a:lnTo>
                    <a:lnTo>
                      <a:pt x="103" y="206"/>
                    </a:lnTo>
                    <a:lnTo>
                      <a:pt x="103" y="208"/>
                    </a:lnTo>
                    <a:lnTo>
                      <a:pt x="103" y="210"/>
                    </a:lnTo>
                    <a:lnTo>
                      <a:pt x="103" y="212"/>
                    </a:lnTo>
                    <a:lnTo>
                      <a:pt x="105" y="212"/>
                    </a:lnTo>
                    <a:lnTo>
                      <a:pt x="105" y="210"/>
                    </a:lnTo>
                    <a:lnTo>
                      <a:pt x="107" y="210"/>
                    </a:lnTo>
                    <a:lnTo>
                      <a:pt x="107" y="208"/>
                    </a:lnTo>
                    <a:lnTo>
                      <a:pt x="107" y="210"/>
                    </a:lnTo>
                    <a:lnTo>
                      <a:pt x="109" y="210"/>
                    </a:lnTo>
                    <a:lnTo>
                      <a:pt x="107" y="210"/>
                    </a:lnTo>
                    <a:lnTo>
                      <a:pt x="107" y="212"/>
                    </a:lnTo>
                    <a:lnTo>
                      <a:pt x="107" y="214"/>
                    </a:lnTo>
                    <a:lnTo>
                      <a:pt x="105" y="214"/>
                    </a:lnTo>
                    <a:lnTo>
                      <a:pt x="103" y="214"/>
                    </a:lnTo>
                    <a:lnTo>
                      <a:pt x="103" y="216"/>
                    </a:lnTo>
                    <a:lnTo>
                      <a:pt x="103" y="214"/>
                    </a:lnTo>
                    <a:lnTo>
                      <a:pt x="103" y="216"/>
                    </a:lnTo>
                    <a:lnTo>
                      <a:pt x="103" y="217"/>
                    </a:lnTo>
                    <a:lnTo>
                      <a:pt x="101" y="221"/>
                    </a:lnTo>
                    <a:lnTo>
                      <a:pt x="103" y="221"/>
                    </a:lnTo>
                    <a:lnTo>
                      <a:pt x="101" y="221"/>
                    </a:lnTo>
                    <a:lnTo>
                      <a:pt x="103" y="225"/>
                    </a:lnTo>
                    <a:lnTo>
                      <a:pt x="101" y="227"/>
                    </a:lnTo>
                    <a:lnTo>
                      <a:pt x="101" y="225"/>
                    </a:lnTo>
                    <a:lnTo>
                      <a:pt x="99" y="227"/>
                    </a:lnTo>
                    <a:lnTo>
                      <a:pt x="97" y="227"/>
                    </a:lnTo>
                    <a:lnTo>
                      <a:pt x="97" y="229"/>
                    </a:lnTo>
                    <a:lnTo>
                      <a:pt x="95" y="229"/>
                    </a:lnTo>
                    <a:lnTo>
                      <a:pt x="97" y="229"/>
                    </a:lnTo>
                    <a:lnTo>
                      <a:pt x="95" y="231"/>
                    </a:lnTo>
                    <a:lnTo>
                      <a:pt x="97" y="231"/>
                    </a:lnTo>
                    <a:lnTo>
                      <a:pt x="97" y="233"/>
                    </a:lnTo>
                    <a:lnTo>
                      <a:pt x="97" y="235"/>
                    </a:lnTo>
                    <a:lnTo>
                      <a:pt x="99" y="236"/>
                    </a:lnTo>
                    <a:lnTo>
                      <a:pt x="99" y="238"/>
                    </a:lnTo>
                    <a:lnTo>
                      <a:pt x="101" y="238"/>
                    </a:lnTo>
                    <a:lnTo>
                      <a:pt x="101" y="240"/>
                    </a:lnTo>
                    <a:lnTo>
                      <a:pt x="103" y="242"/>
                    </a:lnTo>
                    <a:lnTo>
                      <a:pt x="105" y="244"/>
                    </a:lnTo>
                    <a:lnTo>
                      <a:pt x="107" y="246"/>
                    </a:lnTo>
                    <a:lnTo>
                      <a:pt x="109" y="246"/>
                    </a:lnTo>
                    <a:lnTo>
                      <a:pt x="109" y="248"/>
                    </a:lnTo>
                    <a:lnTo>
                      <a:pt x="109" y="250"/>
                    </a:lnTo>
                    <a:lnTo>
                      <a:pt x="111" y="250"/>
                    </a:lnTo>
                    <a:lnTo>
                      <a:pt x="111" y="252"/>
                    </a:lnTo>
                    <a:lnTo>
                      <a:pt x="112" y="254"/>
                    </a:lnTo>
                    <a:lnTo>
                      <a:pt x="112" y="256"/>
                    </a:lnTo>
                    <a:lnTo>
                      <a:pt x="112" y="257"/>
                    </a:lnTo>
                    <a:lnTo>
                      <a:pt x="112" y="259"/>
                    </a:lnTo>
                    <a:lnTo>
                      <a:pt x="112" y="261"/>
                    </a:lnTo>
                    <a:lnTo>
                      <a:pt x="111" y="261"/>
                    </a:lnTo>
                    <a:lnTo>
                      <a:pt x="111" y="263"/>
                    </a:lnTo>
                    <a:lnTo>
                      <a:pt x="112" y="265"/>
                    </a:lnTo>
                    <a:lnTo>
                      <a:pt x="112" y="267"/>
                    </a:lnTo>
                    <a:lnTo>
                      <a:pt x="112" y="269"/>
                    </a:lnTo>
                    <a:lnTo>
                      <a:pt x="114" y="269"/>
                    </a:lnTo>
                    <a:lnTo>
                      <a:pt x="114" y="271"/>
                    </a:lnTo>
                    <a:lnTo>
                      <a:pt x="116" y="271"/>
                    </a:lnTo>
                    <a:lnTo>
                      <a:pt x="116" y="273"/>
                    </a:lnTo>
                    <a:lnTo>
                      <a:pt x="116" y="275"/>
                    </a:lnTo>
                    <a:lnTo>
                      <a:pt x="116" y="277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18" y="280"/>
                    </a:lnTo>
                    <a:lnTo>
                      <a:pt x="118" y="282"/>
                    </a:lnTo>
                    <a:lnTo>
                      <a:pt x="118" y="284"/>
                    </a:lnTo>
                    <a:lnTo>
                      <a:pt x="120" y="284"/>
                    </a:lnTo>
                    <a:lnTo>
                      <a:pt x="118" y="284"/>
                    </a:lnTo>
                    <a:lnTo>
                      <a:pt x="118" y="286"/>
                    </a:lnTo>
                    <a:lnTo>
                      <a:pt x="118" y="288"/>
                    </a:lnTo>
                    <a:lnTo>
                      <a:pt x="116" y="286"/>
                    </a:lnTo>
                    <a:lnTo>
                      <a:pt x="116" y="288"/>
                    </a:lnTo>
                    <a:lnTo>
                      <a:pt x="116" y="290"/>
                    </a:lnTo>
                    <a:lnTo>
                      <a:pt x="114" y="290"/>
                    </a:lnTo>
                    <a:lnTo>
                      <a:pt x="114" y="292"/>
                    </a:lnTo>
                    <a:lnTo>
                      <a:pt x="114" y="294"/>
                    </a:lnTo>
                    <a:lnTo>
                      <a:pt x="112" y="294"/>
                    </a:lnTo>
                    <a:lnTo>
                      <a:pt x="112" y="296"/>
                    </a:lnTo>
                    <a:lnTo>
                      <a:pt x="112" y="298"/>
                    </a:lnTo>
                    <a:lnTo>
                      <a:pt x="111" y="298"/>
                    </a:lnTo>
                    <a:lnTo>
                      <a:pt x="109" y="298"/>
                    </a:lnTo>
                    <a:lnTo>
                      <a:pt x="109" y="299"/>
                    </a:lnTo>
                    <a:lnTo>
                      <a:pt x="107" y="301"/>
                    </a:lnTo>
                    <a:lnTo>
                      <a:pt x="105" y="303"/>
                    </a:lnTo>
                    <a:lnTo>
                      <a:pt x="107" y="303"/>
                    </a:lnTo>
                    <a:lnTo>
                      <a:pt x="105" y="305"/>
                    </a:lnTo>
                    <a:lnTo>
                      <a:pt x="107" y="305"/>
                    </a:lnTo>
                    <a:lnTo>
                      <a:pt x="105" y="307"/>
                    </a:lnTo>
                    <a:lnTo>
                      <a:pt x="105" y="309"/>
                    </a:lnTo>
                    <a:lnTo>
                      <a:pt x="103" y="309"/>
                    </a:lnTo>
                    <a:lnTo>
                      <a:pt x="105" y="309"/>
                    </a:lnTo>
                    <a:lnTo>
                      <a:pt x="103" y="309"/>
                    </a:lnTo>
                    <a:lnTo>
                      <a:pt x="105" y="309"/>
                    </a:lnTo>
                    <a:lnTo>
                      <a:pt x="103" y="311"/>
                    </a:lnTo>
                    <a:lnTo>
                      <a:pt x="103" y="309"/>
                    </a:lnTo>
                    <a:lnTo>
                      <a:pt x="103" y="311"/>
                    </a:lnTo>
                    <a:lnTo>
                      <a:pt x="103" y="313"/>
                    </a:lnTo>
                    <a:lnTo>
                      <a:pt x="101" y="315"/>
                    </a:lnTo>
                    <a:lnTo>
                      <a:pt x="101" y="313"/>
                    </a:lnTo>
                    <a:lnTo>
                      <a:pt x="101" y="311"/>
                    </a:lnTo>
                    <a:lnTo>
                      <a:pt x="101" y="309"/>
                    </a:lnTo>
                    <a:lnTo>
                      <a:pt x="101" y="307"/>
                    </a:lnTo>
                    <a:lnTo>
                      <a:pt x="101" y="305"/>
                    </a:lnTo>
                    <a:lnTo>
                      <a:pt x="101" y="303"/>
                    </a:lnTo>
                    <a:lnTo>
                      <a:pt x="101" y="301"/>
                    </a:lnTo>
                    <a:lnTo>
                      <a:pt x="101" y="303"/>
                    </a:lnTo>
                    <a:lnTo>
                      <a:pt x="101" y="301"/>
                    </a:lnTo>
                    <a:lnTo>
                      <a:pt x="103" y="301"/>
                    </a:lnTo>
                    <a:lnTo>
                      <a:pt x="103" y="299"/>
                    </a:lnTo>
                    <a:lnTo>
                      <a:pt x="103" y="301"/>
                    </a:lnTo>
                    <a:lnTo>
                      <a:pt x="103" y="299"/>
                    </a:lnTo>
                    <a:lnTo>
                      <a:pt x="105" y="299"/>
                    </a:lnTo>
                    <a:lnTo>
                      <a:pt x="103" y="299"/>
                    </a:lnTo>
                    <a:lnTo>
                      <a:pt x="105" y="298"/>
                    </a:lnTo>
                    <a:lnTo>
                      <a:pt x="105" y="299"/>
                    </a:lnTo>
                    <a:lnTo>
                      <a:pt x="105" y="298"/>
                    </a:lnTo>
                    <a:lnTo>
                      <a:pt x="105" y="299"/>
                    </a:lnTo>
                    <a:lnTo>
                      <a:pt x="105" y="298"/>
                    </a:lnTo>
                    <a:lnTo>
                      <a:pt x="103" y="298"/>
                    </a:lnTo>
                    <a:lnTo>
                      <a:pt x="105" y="298"/>
                    </a:lnTo>
                    <a:lnTo>
                      <a:pt x="105" y="296"/>
                    </a:lnTo>
                    <a:lnTo>
                      <a:pt x="103" y="296"/>
                    </a:lnTo>
                    <a:lnTo>
                      <a:pt x="105" y="296"/>
                    </a:lnTo>
                    <a:lnTo>
                      <a:pt x="105" y="294"/>
                    </a:lnTo>
                    <a:lnTo>
                      <a:pt x="105" y="292"/>
                    </a:lnTo>
                    <a:lnTo>
                      <a:pt x="105" y="294"/>
                    </a:lnTo>
                    <a:lnTo>
                      <a:pt x="105" y="292"/>
                    </a:lnTo>
                    <a:lnTo>
                      <a:pt x="105" y="294"/>
                    </a:lnTo>
                    <a:lnTo>
                      <a:pt x="105" y="292"/>
                    </a:lnTo>
                    <a:lnTo>
                      <a:pt x="105" y="290"/>
                    </a:lnTo>
                    <a:lnTo>
                      <a:pt x="107" y="290"/>
                    </a:lnTo>
                    <a:lnTo>
                      <a:pt x="107" y="292"/>
                    </a:lnTo>
                    <a:lnTo>
                      <a:pt x="105" y="290"/>
                    </a:lnTo>
                    <a:lnTo>
                      <a:pt x="105" y="288"/>
                    </a:lnTo>
                    <a:lnTo>
                      <a:pt x="105" y="286"/>
                    </a:lnTo>
                    <a:lnTo>
                      <a:pt x="107" y="286"/>
                    </a:lnTo>
                    <a:lnTo>
                      <a:pt x="107" y="288"/>
                    </a:lnTo>
                    <a:lnTo>
                      <a:pt x="107" y="286"/>
                    </a:lnTo>
                    <a:lnTo>
                      <a:pt x="107" y="288"/>
                    </a:lnTo>
                    <a:lnTo>
                      <a:pt x="109" y="288"/>
                    </a:lnTo>
                    <a:lnTo>
                      <a:pt x="109" y="290"/>
                    </a:lnTo>
                    <a:lnTo>
                      <a:pt x="109" y="288"/>
                    </a:lnTo>
                    <a:lnTo>
                      <a:pt x="107" y="286"/>
                    </a:lnTo>
                    <a:lnTo>
                      <a:pt x="105" y="286"/>
                    </a:lnTo>
                    <a:lnTo>
                      <a:pt x="105" y="284"/>
                    </a:lnTo>
                    <a:lnTo>
                      <a:pt x="107" y="284"/>
                    </a:lnTo>
                    <a:lnTo>
                      <a:pt x="105" y="282"/>
                    </a:lnTo>
                    <a:lnTo>
                      <a:pt x="107" y="282"/>
                    </a:lnTo>
                    <a:lnTo>
                      <a:pt x="105" y="282"/>
                    </a:lnTo>
                    <a:lnTo>
                      <a:pt x="105" y="280"/>
                    </a:lnTo>
                    <a:lnTo>
                      <a:pt x="105" y="282"/>
                    </a:lnTo>
                    <a:lnTo>
                      <a:pt x="105" y="280"/>
                    </a:lnTo>
                    <a:lnTo>
                      <a:pt x="105" y="282"/>
                    </a:lnTo>
                    <a:lnTo>
                      <a:pt x="105" y="280"/>
                    </a:lnTo>
                    <a:lnTo>
                      <a:pt x="107" y="280"/>
                    </a:lnTo>
                    <a:lnTo>
                      <a:pt x="105" y="280"/>
                    </a:lnTo>
                    <a:lnTo>
                      <a:pt x="103" y="280"/>
                    </a:lnTo>
                    <a:lnTo>
                      <a:pt x="103" y="278"/>
                    </a:lnTo>
                    <a:lnTo>
                      <a:pt x="103" y="280"/>
                    </a:lnTo>
                    <a:lnTo>
                      <a:pt x="103" y="278"/>
                    </a:lnTo>
                    <a:lnTo>
                      <a:pt x="105" y="278"/>
                    </a:lnTo>
                    <a:lnTo>
                      <a:pt x="103" y="278"/>
                    </a:lnTo>
                    <a:lnTo>
                      <a:pt x="105" y="278"/>
                    </a:lnTo>
                    <a:lnTo>
                      <a:pt x="103" y="277"/>
                    </a:lnTo>
                    <a:lnTo>
                      <a:pt x="105" y="277"/>
                    </a:lnTo>
                    <a:lnTo>
                      <a:pt x="103" y="277"/>
                    </a:lnTo>
                    <a:lnTo>
                      <a:pt x="103" y="278"/>
                    </a:lnTo>
                    <a:lnTo>
                      <a:pt x="101" y="278"/>
                    </a:lnTo>
                    <a:lnTo>
                      <a:pt x="101" y="277"/>
                    </a:lnTo>
                    <a:lnTo>
                      <a:pt x="103" y="277"/>
                    </a:lnTo>
                    <a:lnTo>
                      <a:pt x="105" y="275"/>
                    </a:lnTo>
                    <a:lnTo>
                      <a:pt x="105" y="277"/>
                    </a:lnTo>
                    <a:lnTo>
                      <a:pt x="105" y="275"/>
                    </a:lnTo>
                    <a:lnTo>
                      <a:pt x="103" y="275"/>
                    </a:lnTo>
                    <a:lnTo>
                      <a:pt x="103" y="273"/>
                    </a:lnTo>
                    <a:lnTo>
                      <a:pt x="105" y="273"/>
                    </a:lnTo>
                    <a:lnTo>
                      <a:pt x="105" y="271"/>
                    </a:lnTo>
                    <a:lnTo>
                      <a:pt x="105" y="273"/>
                    </a:lnTo>
                    <a:lnTo>
                      <a:pt x="103" y="273"/>
                    </a:lnTo>
                    <a:lnTo>
                      <a:pt x="103" y="271"/>
                    </a:lnTo>
                    <a:lnTo>
                      <a:pt x="103" y="273"/>
                    </a:lnTo>
                    <a:lnTo>
                      <a:pt x="103" y="271"/>
                    </a:lnTo>
                    <a:lnTo>
                      <a:pt x="103" y="273"/>
                    </a:lnTo>
                    <a:lnTo>
                      <a:pt x="103" y="271"/>
                    </a:lnTo>
                    <a:lnTo>
                      <a:pt x="105" y="271"/>
                    </a:lnTo>
                    <a:lnTo>
                      <a:pt x="103" y="271"/>
                    </a:lnTo>
                    <a:lnTo>
                      <a:pt x="105" y="271"/>
                    </a:lnTo>
                    <a:lnTo>
                      <a:pt x="103" y="271"/>
                    </a:lnTo>
                    <a:lnTo>
                      <a:pt x="105" y="271"/>
                    </a:lnTo>
                    <a:lnTo>
                      <a:pt x="103" y="271"/>
                    </a:lnTo>
                    <a:lnTo>
                      <a:pt x="103" y="269"/>
                    </a:lnTo>
                    <a:lnTo>
                      <a:pt x="105" y="271"/>
                    </a:lnTo>
                    <a:lnTo>
                      <a:pt x="103" y="269"/>
                    </a:lnTo>
                    <a:lnTo>
                      <a:pt x="105" y="269"/>
                    </a:lnTo>
                    <a:lnTo>
                      <a:pt x="103" y="269"/>
                    </a:lnTo>
                    <a:lnTo>
                      <a:pt x="105" y="269"/>
                    </a:lnTo>
                    <a:lnTo>
                      <a:pt x="105" y="267"/>
                    </a:lnTo>
                    <a:lnTo>
                      <a:pt x="105" y="269"/>
                    </a:lnTo>
                    <a:lnTo>
                      <a:pt x="103" y="269"/>
                    </a:lnTo>
                    <a:lnTo>
                      <a:pt x="103" y="267"/>
                    </a:lnTo>
                    <a:lnTo>
                      <a:pt x="103" y="265"/>
                    </a:lnTo>
                    <a:lnTo>
                      <a:pt x="103" y="263"/>
                    </a:lnTo>
                    <a:lnTo>
                      <a:pt x="103" y="261"/>
                    </a:lnTo>
                    <a:lnTo>
                      <a:pt x="101" y="261"/>
                    </a:lnTo>
                    <a:lnTo>
                      <a:pt x="101" y="259"/>
                    </a:lnTo>
                    <a:lnTo>
                      <a:pt x="101" y="257"/>
                    </a:lnTo>
                    <a:lnTo>
                      <a:pt x="101" y="259"/>
                    </a:lnTo>
                    <a:lnTo>
                      <a:pt x="99" y="257"/>
                    </a:lnTo>
                    <a:lnTo>
                      <a:pt x="99" y="256"/>
                    </a:lnTo>
                    <a:lnTo>
                      <a:pt x="97" y="254"/>
                    </a:lnTo>
                    <a:lnTo>
                      <a:pt x="99" y="254"/>
                    </a:lnTo>
                    <a:lnTo>
                      <a:pt x="97" y="254"/>
                    </a:lnTo>
                    <a:lnTo>
                      <a:pt x="97" y="252"/>
                    </a:lnTo>
                    <a:lnTo>
                      <a:pt x="97" y="254"/>
                    </a:lnTo>
                    <a:lnTo>
                      <a:pt x="97" y="252"/>
                    </a:lnTo>
                    <a:lnTo>
                      <a:pt x="97" y="254"/>
                    </a:lnTo>
                    <a:lnTo>
                      <a:pt x="97" y="252"/>
                    </a:lnTo>
                    <a:lnTo>
                      <a:pt x="97" y="254"/>
                    </a:lnTo>
                    <a:lnTo>
                      <a:pt x="97" y="250"/>
                    </a:lnTo>
                    <a:lnTo>
                      <a:pt x="97" y="248"/>
                    </a:lnTo>
                    <a:lnTo>
                      <a:pt x="95" y="248"/>
                    </a:lnTo>
                    <a:lnTo>
                      <a:pt x="95" y="250"/>
                    </a:lnTo>
                    <a:lnTo>
                      <a:pt x="97" y="250"/>
                    </a:lnTo>
                    <a:lnTo>
                      <a:pt x="95" y="252"/>
                    </a:lnTo>
                    <a:lnTo>
                      <a:pt x="95" y="254"/>
                    </a:lnTo>
                    <a:lnTo>
                      <a:pt x="95" y="256"/>
                    </a:lnTo>
                    <a:lnTo>
                      <a:pt x="95" y="254"/>
                    </a:lnTo>
                    <a:lnTo>
                      <a:pt x="93" y="254"/>
                    </a:lnTo>
                    <a:lnTo>
                      <a:pt x="95" y="254"/>
                    </a:lnTo>
                    <a:lnTo>
                      <a:pt x="93" y="252"/>
                    </a:lnTo>
                    <a:lnTo>
                      <a:pt x="95" y="252"/>
                    </a:lnTo>
                    <a:lnTo>
                      <a:pt x="95" y="250"/>
                    </a:lnTo>
                    <a:lnTo>
                      <a:pt x="93" y="250"/>
                    </a:lnTo>
                    <a:lnTo>
                      <a:pt x="93" y="248"/>
                    </a:lnTo>
                    <a:lnTo>
                      <a:pt x="93" y="246"/>
                    </a:lnTo>
                    <a:lnTo>
                      <a:pt x="93" y="248"/>
                    </a:lnTo>
                    <a:lnTo>
                      <a:pt x="95" y="246"/>
                    </a:lnTo>
                    <a:lnTo>
                      <a:pt x="93" y="246"/>
                    </a:lnTo>
                    <a:lnTo>
                      <a:pt x="95" y="246"/>
                    </a:lnTo>
                    <a:lnTo>
                      <a:pt x="93" y="244"/>
                    </a:lnTo>
                    <a:lnTo>
                      <a:pt x="95" y="246"/>
                    </a:lnTo>
                    <a:lnTo>
                      <a:pt x="93" y="246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3" y="240"/>
                    </a:lnTo>
                    <a:lnTo>
                      <a:pt x="93" y="242"/>
                    </a:lnTo>
                    <a:lnTo>
                      <a:pt x="91" y="240"/>
                    </a:lnTo>
                    <a:lnTo>
                      <a:pt x="91" y="238"/>
                    </a:lnTo>
                    <a:lnTo>
                      <a:pt x="91" y="236"/>
                    </a:lnTo>
                    <a:lnTo>
                      <a:pt x="93" y="236"/>
                    </a:lnTo>
                    <a:lnTo>
                      <a:pt x="93" y="238"/>
                    </a:lnTo>
                    <a:lnTo>
                      <a:pt x="93" y="236"/>
                    </a:lnTo>
                    <a:lnTo>
                      <a:pt x="91" y="236"/>
                    </a:lnTo>
                    <a:lnTo>
                      <a:pt x="93" y="236"/>
                    </a:lnTo>
                    <a:lnTo>
                      <a:pt x="91" y="236"/>
                    </a:lnTo>
                    <a:lnTo>
                      <a:pt x="91" y="235"/>
                    </a:lnTo>
                    <a:lnTo>
                      <a:pt x="91" y="236"/>
                    </a:lnTo>
                    <a:lnTo>
                      <a:pt x="90" y="236"/>
                    </a:lnTo>
                    <a:lnTo>
                      <a:pt x="90" y="235"/>
                    </a:lnTo>
                    <a:lnTo>
                      <a:pt x="90" y="233"/>
                    </a:lnTo>
                    <a:lnTo>
                      <a:pt x="90" y="231"/>
                    </a:lnTo>
                    <a:lnTo>
                      <a:pt x="90" y="233"/>
                    </a:lnTo>
                    <a:lnTo>
                      <a:pt x="90" y="231"/>
                    </a:lnTo>
                    <a:lnTo>
                      <a:pt x="90" y="229"/>
                    </a:lnTo>
                    <a:lnTo>
                      <a:pt x="90" y="227"/>
                    </a:lnTo>
                    <a:lnTo>
                      <a:pt x="88" y="227"/>
                    </a:lnTo>
                    <a:lnTo>
                      <a:pt x="90" y="227"/>
                    </a:lnTo>
                    <a:lnTo>
                      <a:pt x="90" y="225"/>
                    </a:lnTo>
                    <a:lnTo>
                      <a:pt x="90" y="223"/>
                    </a:lnTo>
                    <a:lnTo>
                      <a:pt x="90" y="221"/>
                    </a:lnTo>
                    <a:lnTo>
                      <a:pt x="88" y="219"/>
                    </a:lnTo>
                    <a:lnTo>
                      <a:pt x="88" y="217"/>
                    </a:lnTo>
                    <a:lnTo>
                      <a:pt x="88" y="216"/>
                    </a:lnTo>
                    <a:lnTo>
                      <a:pt x="86" y="216"/>
                    </a:lnTo>
                    <a:lnTo>
                      <a:pt x="86" y="214"/>
                    </a:lnTo>
                    <a:lnTo>
                      <a:pt x="88" y="214"/>
                    </a:lnTo>
                    <a:lnTo>
                      <a:pt x="88" y="216"/>
                    </a:lnTo>
                    <a:lnTo>
                      <a:pt x="88" y="214"/>
                    </a:lnTo>
                    <a:lnTo>
                      <a:pt x="86" y="214"/>
                    </a:lnTo>
                    <a:lnTo>
                      <a:pt x="88" y="214"/>
                    </a:lnTo>
                    <a:lnTo>
                      <a:pt x="88" y="212"/>
                    </a:lnTo>
                    <a:lnTo>
                      <a:pt x="88" y="210"/>
                    </a:lnTo>
                    <a:lnTo>
                      <a:pt x="88" y="208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06"/>
                    </a:lnTo>
                    <a:lnTo>
                      <a:pt x="86" y="206"/>
                    </a:lnTo>
                    <a:lnTo>
                      <a:pt x="84" y="206"/>
                    </a:lnTo>
                    <a:lnTo>
                      <a:pt x="84" y="208"/>
                    </a:lnTo>
                    <a:lnTo>
                      <a:pt x="82" y="208"/>
                    </a:lnTo>
                    <a:lnTo>
                      <a:pt x="82" y="206"/>
                    </a:lnTo>
                    <a:lnTo>
                      <a:pt x="82" y="204"/>
                    </a:lnTo>
                    <a:lnTo>
                      <a:pt x="80" y="204"/>
                    </a:lnTo>
                    <a:lnTo>
                      <a:pt x="80" y="200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0"/>
                    </a:lnTo>
                    <a:lnTo>
                      <a:pt x="80" y="198"/>
                    </a:lnTo>
                    <a:lnTo>
                      <a:pt x="78" y="198"/>
                    </a:lnTo>
                    <a:lnTo>
                      <a:pt x="78" y="200"/>
                    </a:lnTo>
                    <a:lnTo>
                      <a:pt x="78" y="198"/>
                    </a:lnTo>
                    <a:lnTo>
                      <a:pt x="78" y="196"/>
                    </a:lnTo>
                    <a:lnTo>
                      <a:pt x="76" y="196"/>
                    </a:lnTo>
                    <a:lnTo>
                      <a:pt x="78" y="195"/>
                    </a:lnTo>
                    <a:lnTo>
                      <a:pt x="76" y="195"/>
                    </a:lnTo>
                    <a:lnTo>
                      <a:pt x="74" y="195"/>
                    </a:lnTo>
                    <a:lnTo>
                      <a:pt x="74" y="196"/>
                    </a:lnTo>
                    <a:lnTo>
                      <a:pt x="76" y="198"/>
                    </a:lnTo>
                    <a:lnTo>
                      <a:pt x="74" y="198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200"/>
                    </a:lnTo>
                    <a:lnTo>
                      <a:pt x="74" y="202"/>
                    </a:lnTo>
                    <a:lnTo>
                      <a:pt x="72" y="200"/>
                    </a:lnTo>
                    <a:lnTo>
                      <a:pt x="74" y="202"/>
                    </a:lnTo>
                    <a:lnTo>
                      <a:pt x="72" y="204"/>
                    </a:lnTo>
                    <a:lnTo>
                      <a:pt x="72" y="206"/>
                    </a:lnTo>
                    <a:lnTo>
                      <a:pt x="69" y="208"/>
                    </a:lnTo>
                    <a:lnTo>
                      <a:pt x="67" y="206"/>
                    </a:lnTo>
                    <a:lnTo>
                      <a:pt x="65" y="206"/>
                    </a:lnTo>
                    <a:lnTo>
                      <a:pt x="67" y="206"/>
                    </a:lnTo>
                    <a:lnTo>
                      <a:pt x="65" y="206"/>
                    </a:lnTo>
                    <a:lnTo>
                      <a:pt x="65" y="204"/>
                    </a:lnTo>
                    <a:lnTo>
                      <a:pt x="65" y="202"/>
                    </a:lnTo>
                    <a:lnTo>
                      <a:pt x="65" y="204"/>
                    </a:lnTo>
                    <a:lnTo>
                      <a:pt x="65" y="206"/>
                    </a:lnTo>
                    <a:lnTo>
                      <a:pt x="65" y="208"/>
                    </a:lnTo>
                    <a:lnTo>
                      <a:pt x="67" y="208"/>
                    </a:lnTo>
                    <a:lnTo>
                      <a:pt x="65" y="210"/>
                    </a:lnTo>
                    <a:lnTo>
                      <a:pt x="63" y="210"/>
                    </a:lnTo>
                    <a:lnTo>
                      <a:pt x="61" y="212"/>
                    </a:lnTo>
                    <a:lnTo>
                      <a:pt x="59" y="212"/>
                    </a:lnTo>
                    <a:lnTo>
                      <a:pt x="57" y="214"/>
                    </a:lnTo>
                    <a:lnTo>
                      <a:pt x="57" y="216"/>
                    </a:lnTo>
                    <a:lnTo>
                      <a:pt x="55" y="217"/>
                    </a:lnTo>
                    <a:lnTo>
                      <a:pt x="53" y="219"/>
                    </a:lnTo>
                    <a:lnTo>
                      <a:pt x="51" y="221"/>
                    </a:lnTo>
                    <a:lnTo>
                      <a:pt x="50" y="219"/>
                    </a:lnTo>
                    <a:lnTo>
                      <a:pt x="50" y="217"/>
                    </a:lnTo>
                    <a:lnTo>
                      <a:pt x="51" y="216"/>
                    </a:lnTo>
                    <a:lnTo>
                      <a:pt x="51" y="214"/>
                    </a:lnTo>
                    <a:lnTo>
                      <a:pt x="50" y="214"/>
                    </a:lnTo>
                    <a:lnTo>
                      <a:pt x="50" y="216"/>
                    </a:lnTo>
                    <a:lnTo>
                      <a:pt x="50" y="217"/>
                    </a:lnTo>
                    <a:lnTo>
                      <a:pt x="50" y="219"/>
                    </a:lnTo>
                    <a:lnTo>
                      <a:pt x="48" y="219"/>
                    </a:lnTo>
                    <a:lnTo>
                      <a:pt x="48" y="217"/>
                    </a:lnTo>
                    <a:lnTo>
                      <a:pt x="48" y="216"/>
                    </a:lnTo>
                    <a:lnTo>
                      <a:pt x="48" y="214"/>
                    </a:lnTo>
                    <a:lnTo>
                      <a:pt x="46" y="214"/>
                    </a:lnTo>
                    <a:lnTo>
                      <a:pt x="46" y="216"/>
                    </a:lnTo>
                    <a:lnTo>
                      <a:pt x="46" y="217"/>
                    </a:lnTo>
                    <a:lnTo>
                      <a:pt x="44" y="217"/>
                    </a:lnTo>
                    <a:lnTo>
                      <a:pt x="46" y="217"/>
                    </a:lnTo>
                    <a:lnTo>
                      <a:pt x="46" y="219"/>
                    </a:lnTo>
                    <a:lnTo>
                      <a:pt x="44" y="219"/>
                    </a:lnTo>
                    <a:lnTo>
                      <a:pt x="42" y="219"/>
                    </a:lnTo>
                    <a:lnTo>
                      <a:pt x="44" y="219"/>
                    </a:lnTo>
                    <a:lnTo>
                      <a:pt x="42" y="217"/>
                    </a:lnTo>
                    <a:lnTo>
                      <a:pt x="44" y="217"/>
                    </a:lnTo>
                    <a:lnTo>
                      <a:pt x="42" y="216"/>
                    </a:lnTo>
                    <a:lnTo>
                      <a:pt x="44" y="216"/>
                    </a:lnTo>
                    <a:lnTo>
                      <a:pt x="44" y="214"/>
                    </a:lnTo>
                    <a:lnTo>
                      <a:pt x="44" y="212"/>
                    </a:lnTo>
                    <a:lnTo>
                      <a:pt x="46" y="212"/>
                    </a:lnTo>
                    <a:lnTo>
                      <a:pt x="46" y="210"/>
                    </a:lnTo>
                    <a:lnTo>
                      <a:pt x="46" y="212"/>
                    </a:lnTo>
                    <a:lnTo>
                      <a:pt x="44" y="212"/>
                    </a:lnTo>
                    <a:lnTo>
                      <a:pt x="42" y="214"/>
                    </a:lnTo>
                    <a:lnTo>
                      <a:pt x="44" y="214"/>
                    </a:lnTo>
                    <a:lnTo>
                      <a:pt x="42" y="214"/>
                    </a:lnTo>
                    <a:lnTo>
                      <a:pt x="42" y="216"/>
                    </a:lnTo>
                    <a:lnTo>
                      <a:pt x="40" y="217"/>
                    </a:lnTo>
                    <a:lnTo>
                      <a:pt x="38" y="217"/>
                    </a:lnTo>
                    <a:lnTo>
                      <a:pt x="40" y="216"/>
                    </a:lnTo>
                    <a:lnTo>
                      <a:pt x="42" y="214"/>
                    </a:lnTo>
                    <a:lnTo>
                      <a:pt x="40" y="214"/>
                    </a:lnTo>
                    <a:lnTo>
                      <a:pt x="40" y="216"/>
                    </a:lnTo>
                    <a:lnTo>
                      <a:pt x="38" y="217"/>
                    </a:lnTo>
                    <a:lnTo>
                      <a:pt x="38" y="216"/>
                    </a:lnTo>
                    <a:lnTo>
                      <a:pt x="40" y="214"/>
                    </a:lnTo>
                    <a:lnTo>
                      <a:pt x="40" y="212"/>
                    </a:lnTo>
                    <a:lnTo>
                      <a:pt x="40" y="210"/>
                    </a:lnTo>
                    <a:lnTo>
                      <a:pt x="42" y="210"/>
                    </a:lnTo>
                    <a:lnTo>
                      <a:pt x="40" y="210"/>
                    </a:lnTo>
                    <a:lnTo>
                      <a:pt x="40" y="208"/>
                    </a:lnTo>
                    <a:lnTo>
                      <a:pt x="40" y="210"/>
                    </a:lnTo>
                    <a:lnTo>
                      <a:pt x="40" y="208"/>
                    </a:lnTo>
                    <a:lnTo>
                      <a:pt x="40" y="210"/>
                    </a:lnTo>
                    <a:lnTo>
                      <a:pt x="38" y="210"/>
                    </a:lnTo>
                    <a:lnTo>
                      <a:pt x="38" y="212"/>
                    </a:lnTo>
                    <a:lnTo>
                      <a:pt x="38" y="210"/>
                    </a:lnTo>
                    <a:lnTo>
                      <a:pt x="38" y="212"/>
                    </a:lnTo>
                    <a:lnTo>
                      <a:pt x="36" y="214"/>
                    </a:lnTo>
                    <a:lnTo>
                      <a:pt x="34" y="216"/>
                    </a:lnTo>
                    <a:lnTo>
                      <a:pt x="32" y="216"/>
                    </a:lnTo>
                    <a:lnTo>
                      <a:pt x="32" y="214"/>
                    </a:lnTo>
                    <a:lnTo>
                      <a:pt x="32" y="212"/>
                    </a:lnTo>
                    <a:lnTo>
                      <a:pt x="32" y="210"/>
                    </a:lnTo>
                    <a:lnTo>
                      <a:pt x="34" y="208"/>
                    </a:lnTo>
                    <a:lnTo>
                      <a:pt x="34" y="206"/>
                    </a:lnTo>
                    <a:lnTo>
                      <a:pt x="34" y="208"/>
                    </a:lnTo>
                    <a:lnTo>
                      <a:pt x="34" y="206"/>
                    </a:lnTo>
                    <a:lnTo>
                      <a:pt x="34" y="204"/>
                    </a:lnTo>
                    <a:lnTo>
                      <a:pt x="36" y="202"/>
                    </a:lnTo>
                    <a:lnTo>
                      <a:pt x="36" y="200"/>
                    </a:lnTo>
                    <a:lnTo>
                      <a:pt x="36" y="198"/>
                    </a:lnTo>
                    <a:lnTo>
                      <a:pt x="38" y="196"/>
                    </a:lnTo>
                    <a:lnTo>
                      <a:pt x="36" y="196"/>
                    </a:lnTo>
                    <a:lnTo>
                      <a:pt x="38" y="196"/>
                    </a:lnTo>
                    <a:lnTo>
                      <a:pt x="38" y="195"/>
                    </a:lnTo>
                    <a:lnTo>
                      <a:pt x="36" y="195"/>
                    </a:lnTo>
                    <a:lnTo>
                      <a:pt x="38" y="195"/>
                    </a:lnTo>
                    <a:lnTo>
                      <a:pt x="38" y="193"/>
                    </a:lnTo>
                    <a:lnTo>
                      <a:pt x="38" y="195"/>
                    </a:lnTo>
                    <a:lnTo>
                      <a:pt x="40" y="195"/>
                    </a:lnTo>
                    <a:lnTo>
                      <a:pt x="38" y="195"/>
                    </a:lnTo>
                    <a:lnTo>
                      <a:pt x="38" y="193"/>
                    </a:lnTo>
                    <a:lnTo>
                      <a:pt x="38" y="191"/>
                    </a:lnTo>
                    <a:lnTo>
                      <a:pt x="38" y="189"/>
                    </a:lnTo>
                    <a:lnTo>
                      <a:pt x="38" y="191"/>
                    </a:lnTo>
                    <a:lnTo>
                      <a:pt x="40" y="189"/>
                    </a:lnTo>
                    <a:lnTo>
                      <a:pt x="38" y="189"/>
                    </a:lnTo>
                    <a:lnTo>
                      <a:pt x="38" y="187"/>
                    </a:lnTo>
                    <a:lnTo>
                      <a:pt x="36" y="185"/>
                    </a:lnTo>
                    <a:lnTo>
                      <a:pt x="38" y="185"/>
                    </a:lnTo>
                    <a:lnTo>
                      <a:pt x="36" y="183"/>
                    </a:lnTo>
                    <a:lnTo>
                      <a:pt x="36" y="181"/>
                    </a:lnTo>
                    <a:lnTo>
                      <a:pt x="36" y="183"/>
                    </a:lnTo>
                    <a:lnTo>
                      <a:pt x="36" y="181"/>
                    </a:lnTo>
                    <a:lnTo>
                      <a:pt x="36" y="179"/>
                    </a:lnTo>
                    <a:lnTo>
                      <a:pt x="36" y="177"/>
                    </a:lnTo>
                    <a:lnTo>
                      <a:pt x="34" y="177"/>
                    </a:lnTo>
                    <a:lnTo>
                      <a:pt x="36" y="177"/>
                    </a:lnTo>
                    <a:lnTo>
                      <a:pt x="36" y="175"/>
                    </a:lnTo>
                    <a:lnTo>
                      <a:pt x="34" y="175"/>
                    </a:lnTo>
                    <a:lnTo>
                      <a:pt x="32" y="174"/>
                    </a:lnTo>
                    <a:lnTo>
                      <a:pt x="34" y="174"/>
                    </a:lnTo>
                    <a:lnTo>
                      <a:pt x="32" y="172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2" y="170"/>
                    </a:lnTo>
                    <a:lnTo>
                      <a:pt x="32" y="168"/>
                    </a:lnTo>
                    <a:lnTo>
                      <a:pt x="32" y="170"/>
                    </a:lnTo>
                    <a:lnTo>
                      <a:pt x="32" y="168"/>
                    </a:lnTo>
                    <a:lnTo>
                      <a:pt x="32" y="170"/>
                    </a:lnTo>
                    <a:lnTo>
                      <a:pt x="32" y="168"/>
                    </a:lnTo>
                    <a:lnTo>
                      <a:pt x="30" y="168"/>
                    </a:lnTo>
                    <a:lnTo>
                      <a:pt x="30" y="166"/>
                    </a:lnTo>
                    <a:lnTo>
                      <a:pt x="30" y="164"/>
                    </a:lnTo>
                    <a:lnTo>
                      <a:pt x="30" y="162"/>
                    </a:lnTo>
                    <a:lnTo>
                      <a:pt x="30" y="164"/>
                    </a:lnTo>
                    <a:lnTo>
                      <a:pt x="30" y="162"/>
                    </a:lnTo>
                    <a:lnTo>
                      <a:pt x="30" y="164"/>
                    </a:lnTo>
                    <a:lnTo>
                      <a:pt x="30" y="162"/>
                    </a:lnTo>
                    <a:lnTo>
                      <a:pt x="30" y="160"/>
                    </a:lnTo>
                    <a:lnTo>
                      <a:pt x="30" y="158"/>
                    </a:lnTo>
                    <a:lnTo>
                      <a:pt x="29" y="158"/>
                    </a:lnTo>
                    <a:lnTo>
                      <a:pt x="30" y="158"/>
                    </a:lnTo>
                    <a:lnTo>
                      <a:pt x="29" y="158"/>
                    </a:lnTo>
                    <a:lnTo>
                      <a:pt x="29" y="156"/>
                    </a:lnTo>
                    <a:lnTo>
                      <a:pt x="27" y="156"/>
                    </a:lnTo>
                    <a:lnTo>
                      <a:pt x="27" y="154"/>
                    </a:lnTo>
                    <a:lnTo>
                      <a:pt x="27" y="156"/>
                    </a:lnTo>
                    <a:lnTo>
                      <a:pt x="27" y="154"/>
                    </a:lnTo>
                    <a:lnTo>
                      <a:pt x="25" y="154"/>
                    </a:lnTo>
                    <a:lnTo>
                      <a:pt x="27" y="154"/>
                    </a:lnTo>
                    <a:lnTo>
                      <a:pt x="27" y="153"/>
                    </a:lnTo>
                    <a:lnTo>
                      <a:pt x="25" y="154"/>
                    </a:lnTo>
                    <a:lnTo>
                      <a:pt x="25" y="153"/>
                    </a:lnTo>
                    <a:lnTo>
                      <a:pt x="27" y="153"/>
                    </a:lnTo>
                    <a:lnTo>
                      <a:pt x="27" y="151"/>
                    </a:lnTo>
                    <a:lnTo>
                      <a:pt x="27" y="153"/>
                    </a:lnTo>
                    <a:lnTo>
                      <a:pt x="25" y="153"/>
                    </a:lnTo>
                    <a:lnTo>
                      <a:pt x="23" y="153"/>
                    </a:lnTo>
                    <a:lnTo>
                      <a:pt x="25" y="153"/>
                    </a:lnTo>
                    <a:lnTo>
                      <a:pt x="23" y="153"/>
                    </a:lnTo>
                    <a:lnTo>
                      <a:pt x="25" y="153"/>
                    </a:lnTo>
                    <a:lnTo>
                      <a:pt x="25" y="151"/>
                    </a:lnTo>
                    <a:lnTo>
                      <a:pt x="27" y="151"/>
                    </a:lnTo>
                    <a:lnTo>
                      <a:pt x="25" y="151"/>
                    </a:lnTo>
                    <a:lnTo>
                      <a:pt x="25" y="149"/>
                    </a:lnTo>
                    <a:lnTo>
                      <a:pt x="25" y="151"/>
                    </a:lnTo>
                    <a:lnTo>
                      <a:pt x="23" y="151"/>
                    </a:lnTo>
                    <a:lnTo>
                      <a:pt x="23" y="149"/>
                    </a:lnTo>
                    <a:lnTo>
                      <a:pt x="21" y="151"/>
                    </a:lnTo>
                    <a:lnTo>
                      <a:pt x="21" y="149"/>
                    </a:lnTo>
                    <a:lnTo>
                      <a:pt x="23" y="149"/>
                    </a:lnTo>
                    <a:lnTo>
                      <a:pt x="21" y="149"/>
                    </a:lnTo>
                    <a:lnTo>
                      <a:pt x="23" y="149"/>
                    </a:lnTo>
                    <a:lnTo>
                      <a:pt x="21" y="149"/>
                    </a:lnTo>
                    <a:lnTo>
                      <a:pt x="19" y="147"/>
                    </a:lnTo>
                    <a:lnTo>
                      <a:pt x="19" y="149"/>
                    </a:lnTo>
                    <a:lnTo>
                      <a:pt x="19" y="147"/>
                    </a:lnTo>
                    <a:lnTo>
                      <a:pt x="17" y="149"/>
                    </a:lnTo>
                    <a:lnTo>
                      <a:pt x="17" y="147"/>
                    </a:lnTo>
                    <a:lnTo>
                      <a:pt x="15" y="149"/>
                    </a:lnTo>
                    <a:lnTo>
                      <a:pt x="15" y="147"/>
                    </a:lnTo>
                    <a:lnTo>
                      <a:pt x="15" y="145"/>
                    </a:lnTo>
                    <a:lnTo>
                      <a:pt x="13" y="147"/>
                    </a:lnTo>
                    <a:lnTo>
                      <a:pt x="13" y="143"/>
                    </a:lnTo>
                    <a:lnTo>
                      <a:pt x="11" y="145"/>
                    </a:lnTo>
                    <a:lnTo>
                      <a:pt x="11" y="147"/>
                    </a:lnTo>
                    <a:lnTo>
                      <a:pt x="9" y="145"/>
                    </a:lnTo>
                    <a:lnTo>
                      <a:pt x="11" y="143"/>
                    </a:lnTo>
                    <a:lnTo>
                      <a:pt x="11" y="141"/>
                    </a:lnTo>
                    <a:lnTo>
                      <a:pt x="11" y="143"/>
                    </a:lnTo>
                    <a:lnTo>
                      <a:pt x="11" y="141"/>
                    </a:lnTo>
                    <a:lnTo>
                      <a:pt x="11" y="143"/>
                    </a:lnTo>
                    <a:lnTo>
                      <a:pt x="9" y="143"/>
                    </a:lnTo>
                    <a:lnTo>
                      <a:pt x="9" y="145"/>
                    </a:lnTo>
                    <a:lnTo>
                      <a:pt x="8" y="141"/>
                    </a:lnTo>
                    <a:lnTo>
                      <a:pt x="6" y="139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4" y="133"/>
                    </a:lnTo>
                    <a:lnTo>
                      <a:pt x="2" y="133"/>
                    </a:lnTo>
                    <a:lnTo>
                      <a:pt x="4" y="133"/>
                    </a:lnTo>
                    <a:lnTo>
                      <a:pt x="2" y="133"/>
                    </a:lnTo>
                    <a:lnTo>
                      <a:pt x="2" y="132"/>
                    </a:lnTo>
                    <a:lnTo>
                      <a:pt x="2" y="130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2" y="128"/>
                    </a:lnTo>
                    <a:lnTo>
                      <a:pt x="0" y="126"/>
                    </a:lnTo>
                    <a:lnTo>
                      <a:pt x="2" y="126"/>
                    </a:lnTo>
                    <a:lnTo>
                      <a:pt x="2" y="124"/>
                    </a:lnTo>
                    <a:lnTo>
                      <a:pt x="4" y="124"/>
                    </a:lnTo>
                    <a:lnTo>
                      <a:pt x="4" y="126"/>
                    </a:lnTo>
                    <a:lnTo>
                      <a:pt x="6" y="126"/>
                    </a:lnTo>
                    <a:lnTo>
                      <a:pt x="8" y="128"/>
                    </a:lnTo>
                    <a:lnTo>
                      <a:pt x="8" y="126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9" y="114"/>
                    </a:lnTo>
                    <a:lnTo>
                      <a:pt x="9" y="112"/>
                    </a:lnTo>
                    <a:lnTo>
                      <a:pt x="9" y="111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3" y="114"/>
                    </a:lnTo>
                    <a:lnTo>
                      <a:pt x="13" y="112"/>
                    </a:lnTo>
                    <a:lnTo>
                      <a:pt x="13" y="111"/>
                    </a:lnTo>
                    <a:lnTo>
                      <a:pt x="15" y="111"/>
                    </a:lnTo>
                    <a:lnTo>
                      <a:pt x="17" y="111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105"/>
                    </a:lnTo>
                    <a:lnTo>
                      <a:pt x="15" y="103"/>
                    </a:lnTo>
                    <a:lnTo>
                      <a:pt x="15" y="101"/>
                    </a:lnTo>
                    <a:lnTo>
                      <a:pt x="15" y="99"/>
                    </a:lnTo>
                    <a:lnTo>
                      <a:pt x="15" y="97"/>
                    </a:lnTo>
                    <a:lnTo>
                      <a:pt x="15" y="95"/>
                    </a:lnTo>
                    <a:lnTo>
                      <a:pt x="15" y="97"/>
                    </a:lnTo>
                    <a:lnTo>
                      <a:pt x="17" y="95"/>
                    </a:lnTo>
                    <a:lnTo>
                      <a:pt x="17" y="97"/>
                    </a:lnTo>
                    <a:lnTo>
                      <a:pt x="19" y="97"/>
                    </a:lnTo>
                    <a:lnTo>
                      <a:pt x="19" y="95"/>
                    </a:lnTo>
                    <a:lnTo>
                      <a:pt x="19" y="93"/>
                    </a:lnTo>
                    <a:lnTo>
                      <a:pt x="19" y="91"/>
                    </a:lnTo>
                    <a:lnTo>
                      <a:pt x="19" y="90"/>
                    </a:lnTo>
                    <a:lnTo>
                      <a:pt x="19" y="88"/>
                    </a:lnTo>
                    <a:lnTo>
                      <a:pt x="21" y="88"/>
                    </a:lnTo>
                    <a:lnTo>
                      <a:pt x="21" y="86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9" y="80"/>
                    </a:lnTo>
                    <a:lnTo>
                      <a:pt x="19" y="78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9" y="80"/>
                    </a:lnTo>
                    <a:lnTo>
                      <a:pt x="30" y="82"/>
                    </a:lnTo>
                    <a:lnTo>
                      <a:pt x="32" y="82"/>
                    </a:lnTo>
                    <a:lnTo>
                      <a:pt x="32" y="80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4"/>
                    </a:lnTo>
                    <a:lnTo>
                      <a:pt x="36" y="72"/>
                    </a:lnTo>
                    <a:lnTo>
                      <a:pt x="36" y="70"/>
                    </a:lnTo>
                    <a:lnTo>
                      <a:pt x="38" y="69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40" y="61"/>
                    </a:lnTo>
                    <a:lnTo>
                      <a:pt x="40" y="59"/>
                    </a:lnTo>
                    <a:lnTo>
                      <a:pt x="38" y="59"/>
                    </a:lnTo>
                    <a:lnTo>
                      <a:pt x="38" y="57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2" y="53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6" y="50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8" y="38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48" y="34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51" y="32"/>
                    </a:lnTo>
                    <a:lnTo>
                      <a:pt x="53" y="32"/>
                    </a:lnTo>
                    <a:lnTo>
                      <a:pt x="53" y="30"/>
                    </a:lnTo>
                    <a:lnTo>
                      <a:pt x="55" y="30"/>
                    </a:lnTo>
                    <a:lnTo>
                      <a:pt x="55" y="29"/>
                    </a:lnTo>
                    <a:lnTo>
                      <a:pt x="57" y="30"/>
                    </a:lnTo>
                    <a:lnTo>
                      <a:pt x="57" y="29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61" y="25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69" y="23"/>
                    </a:lnTo>
                    <a:lnTo>
                      <a:pt x="71" y="21"/>
                    </a:lnTo>
                    <a:lnTo>
                      <a:pt x="72" y="21"/>
                    </a:lnTo>
                    <a:lnTo>
                      <a:pt x="74" y="21"/>
                    </a:lnTo>
                    <a:lnTo>
                      <a:pt x="74" y="23"/>
                    </a:lnTo>
                    <a:lnTo>
                      <a:pt x="76" y="23"/>
                    </a:lnTo>
                    <a:lnTo>
                      <a:pt x="74" y="23"/>
                    </a:lnTo>
                    <a:lnTo>
                      <a:pt x="74" y="25"/>
                    </a:lnTo>
                    <a:lnTo>
                      <a:pt x="76" y="25"/>
                    </a:lnTo>
                    <a:lnTo>
                      <a:pt x="78" y="25"/>
                    </a:lnTo>
                    <a:lnTo>
                      <a:pt x="80" y="25"/>
                    </a:lnTo>
                    <a:lnTo>
                      <a:pt x="78" y="23"/>
                    </a:lnTo>
                    <a:lnTo>
                      <a:pt x="78" y="21"/>
                    </a:lnTo>
                    <a:lnTo>
                      <a:pt x="76" y="19"/>
                    </a:lnTo>
                    <a:lnTo>
                      <a:pt x="76" y="17"/>
                    </a:lnTo>
                    <a:lnTo>
                      <a:pt x="76" y="15"/>
                    </a:lnTo>
                    <a:lnTo>
                      <a:pt x="78" y="13"/>
                    </a:lnTo>
                    <a:lnTo>
                      <a:pt x="80" y="13"/>
                    </a:lnTo>
                    <a:lnTo>
                      <a:pt x="80" y="11"/>
                    </a:lnTo>
                    <a:lnTo>
                      <a:pt x="82" y="11"/>
                    </a:lnTo>
                    <a:lnTo>
                      <a:pt x="84" y="11"/>
                    </a:lnTo>
                    <a:lnTo>
                      <a:pt x="84" y="9"/>
                    </a:lnTo>
                    <a:lnTo>
                      <a:pt x="84" y="8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6" y="2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0" y="2"/>
                    </a:lnTo>
                    <a:lnTo>
                      <a:pt x="90" y="4"/>
                    </a:lnTo>
                    <a:lnTo>
                      <a:pt x="91" y="4"/>
                    </a:lnTo>
                    <a:lnTo>
                      <a:pt x="91" y="2"/>
                    </a:lnTo>
                    <a:lnTo>
                      <a:pt x="91" y="4"/>
                    </a:lnTo>
                    <a:lnTo>
                      <a:pt x="93" y="4"/>
                    </a:lnTo>
                    <a:lnTo>
                      <a:pt x="93" y="6"/>
                    </a:lnTo>
                    <a:lnTo>
                      <a:pt x="95" y="6"/>
                    </a:lnTo>
                    <a:lnTo>
                      <a:pt x="95" y="8"/>
                    </a:lnTo>
                    <a:lnTo>
                      <a:pt x="95" y="9"/>
                    </a:lnTo>
                    <a:lnTo>
                      <a:pt x="97" y="11"/>
                    </a:lnTo>
                    <a:lnTo>
                      <a:pt x="95" y="11"/>
                    </a:lnTo>
                    <a:lnTo>
                      <a:pt x="97" y="13"/>
                    </a:lnTo>
                    <a:lnTo>
                      <a:pt x="97" y="15"/>
                    </a:lnTo>
                    <a:lnTo>
                      <a:pt x="97" y="17"/>
                    </a:lnTo>
                    <a:lnTo>
                      <a:pt x="99" y="17"/>
                    </a:lnTo>
                    <a:lnTo>
                      <a:pt x="99" y="15"/>
                    </a:lnTo>
                    <a:lnTo>
                      <a:pt x="101" y="15"/>
                    </a:lnTo>
                    <a:lnTo>
                      <a:pt x="103" y="17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5" y="21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5" y="27"/>
                    </a:lnTo>
                    <a:lnTo>
                      <a:pt x="105" y="29"/>
                    </a:lnTo>
                    <a:lnTo>
                      <a:pt x="105" y="30"/>
                    </a:lnTo>
                    <a:lnTo>
                      <a:pt x="105" y="32"/>
                    </a:lnTo>
                    <a:lnTo>
                      <a:pt x="105" y="34"/>
                    </a:lnTo>
                    <a:lnTo>
                      <a:pt x="105" y="36"/>
                    </a:lnTo>
                    <a:lnTo>
                      <a:pt x="105" y="38"/>
                    </a:lnTo>
                    <a:lnTo>
                      <a:pt x="103" y="40"/>
                    </a:lnTo>
                    <a:lnTo>
                      <a:pt x="105" y="40"/>
                    </a:lnTo>
                    <a:lnTo>
                      <a:pt x="105" y="42"/>
                    </a:lnTo>
                    <a:lnTo>
                      <a:pt x="103" y="44"/>
                    </a:lnTo>
                    <a:lnTo>
                      <a:pt x="103" y="42"/>
                    </a:lnTo>
                    <a:lnTo>
                      <a:pt x="103" y="44"/>
                    </a:lnTo>
                    <a:lnTo>
                      <a:pt x="103" y="46"/>
                    </a:lnTo>
                    <a:lnTo>
                      <a:pt x="105" y="46"/>
                    </a:lnTo>
                    <a:lnTo>
                      <a:pt x="105" y="48"/>
                    </a:lnTo>
                    <a:lnTo>
                      <a:pt x="103" y="48"/>
                    </a:lnTo>
                    <a:lnTo>
                      <a:pt x="101" y="48"/>
                    </a:lnTo>
                    <a:lnTo>
                      <a:pt x="101" y="50"/>
                    </a:lnTo>
                    <a:lnTo>
                      <a:pt x="99" y="51"/>
                    </a:lnTo>
                    <a:lnTo>
                      <a:pt x="97" y="53"/>
                    </a:lnTo>
                    <a:lnTo>
                      <a:pt x="97" y="51"/>
                    </a:lnTo>
                    <a:lnTo>
                      <a:pt x="95" y="51"/>
                    </a:lnTo>
                    <a:lnTo>
                      <a:pt x="95" y="53"/>
                    </a:lnTo>
                    <a:lnTo>
                      <a:pt x="95" y="55"/>
                    </a:lnTo>
                    <a:lnTo>
                      <a:pt x="93" y="57"/>
                    </a:lnTo>
                    <a:lnTo>
                      <a:pt x="91" y="59"/>
                    </a:lnTo>
                    <a:lnTo>
                      <a:pt x="91" y="57"/>
                    </a:lnTo>
                    <a:lnTo>
                      <a:pt x="90" y="57"/>
                    </a:lnTo>
                    <a:lnTo>
                      <a:pt x="90" y="61"/>
                    </a:lnTo>
                    <a:lnTo>
                      <a:pt x="88" y="61"/>
                    </a:lnTo>
                    <a:lnTo>
                      <a:pt x="90" y="65"/>
                    </a:lnTo>
                    <a:lnTo>
                      <a:pt x="88" y="65"/>
                    </a:lnTo>
                    <a:lnTo>
                      <a:pt x="88" y="67"/>
                    </a:lnTo>
                    <a:lnTo>
                      <a:pt x="86" y="67"/>
                    </a:lnTo>
                    <a:lnTo>
                      <a:pt x="86" y="69"/>
                    </a:lnTo>
                    <a:lnTo>
                      <a:pt x="86" y="70"/>
                    </a:lnTo>
                    <a:lnTo>
                      <a:pt x="86" y="72"/>
                    </a:lnTo>
                    <a:lnTo>
                      <a:pt x="88" y="72"/>
                    </a:lnTo>
                    <a:lnTo>
                      <a:pt x="88" y="74"/>
                    </a:lnTo>
                    <a:lnTo>
                      <a:pt x="90" y="74"/>
                    </a:lnTo>
                    <a:lnTo>
                      <a:pt x="90" y="76"/>
                    </a:lnTo>
                    <a:lnTo>
                      <a:pt x="90" y="78"/>
                    </a:lnTo>
                    <a:lnTo>
                      <a:pt x="88" y="78"/>
                    </a:lnTo>
                    <a:lnTo>
                      <a:pt x="88" y="80"/>
                    </a:lnTo>
                    <a:lnTo>
                      <a:pt x="86" y="80"/>
                    </a:lnTo>
                    <a:lnTo>
                      <a:pt x="86" y="82"/>
                    </a:lnTo>
                    <a:lnTo>
                      <a:pt x="88" y="82"/>
                    </a:lnTo>
                    <a:lnTo>
                      <a:pt x="90" y="82"/>
                    </a:lnTo>
                    <a:lnTo>
                      <a:pt x="90" y="80"/>
                    </a:lnTo>
                    <a:lnTo>
                      <a:pt x="91" y="80"/>
                    </a:lnTo>
                    <a:lnTo>
                      <a:pt x="93" y="80"/>
                    </a:lnTo>
                    <a:lnTo>
                      <a:pt x="93" y="78"/>
                    </a:lnTo>
                    <a:lnTo>
                      <a:pt x="95" y="78"/>
                    </a:lnTo>
                    <a:lnTo>
                      <a:pt x="97" y="78"/>
                    </a:lnTo>
                    <a:lnTo>
                      <a:pt x="99" y="78"/>
                    </a:lnTo>
                    <a:lnTo>
                      <a:pt x="101" y="78"/>
                    </a:lnTo>
                    <a:lnTo>
                      <a:pt x="103" y="78"/>
                    </a:lnTo>
                    <a:lnTo>
                      <a:pt x="105" y="78"/>
                    </a:lnTo>
                    <a:lnTo>
                      <a:pt x="107" y="78"/>
                    </a:lnTo>
                    <a:lnTo>
                      <a:pt x="107" y="76"/>
                    </a:lnTo>
                    <a:lnTo>
                      <a:pt x="107" y="78"/>
                    </a:lnTo>
                    <a:lnTo>
                      <a:pt x="107" y="80"/>
                    </a:lnTo>
                    <a:lnTo>
                      <a:pt x="105" y="80"/>
                    </a:lnTo>
                    <a:lnTo>
                      <a:pt x="103" y="80"/>
                    </a:lnTo>
                    <a:lnTo>
                      <a:pt x="105" y="80"/>
                    </a:lnTo>
                    <a:lnTo>
                      <a:pt x="103" y="82"/>
                    </a:lnTo>
                    <a:lnTo>
                      <a:pt x="105" y="82"/>
                    </a:lnTo>
                    <a:lnTo>
                      <a:pt x="105" y="84"/>
                    </a:lnTo>
                    <a:lnTo>
                      <a:pt x="103" y="84"/>
                    </a:lnTo>
                    <a:lnTo>
                      <a:pt x="105" y="84"/>
                    </a:lnTo>
                    <a:lnTo>
                      <a:pt x="107" y="84"/>
                    </a:lnTo>
                    <a:lnTo>
                      <a:pt x="107" y="86"/>
                    </a:lnTo>
                    <a:lnTo>
                      <a:pt x="105" y="88"/>
                    </a:lnTo>
                    <a:lnTo>
                      <a:pt x="107" y="90"/>
                    </a:lnTo>
                    <a:lnTo>
                      <a:pt x="107" y="91"/>
                    </a:lnTo>
                    <a:lnTo>
                      <a:pt x="109" y="91"/>
                    </a:lnTo>
                    <a:lnTo>
                      <a:pt x="109" y="93"/>
                    </a:lnTo>
                    <a:lnTo>
                      <a:pt x="107" y="93"/>
                    </a:lnTo>
                    <a:lnTo>
                      <a:pt x="109" y="93"/>
                    </a:lnTo>
                    <a:lnTo>
                      <a:pt x="109" y="95"/>
                    </a:lnTo>
                    <a:lnTo>
                      <a:pt x="111" y="93"/>
                    </a:lnTo>
                    <a:lnTo>
                      <a:pt x="111" y="95"/>
                    </a:lnTo>
                    <a:lnTo>
                      <a:pt x="112" y="95"/>
                    </a:lnTo>
                    <a:lnTo>
                      <a:pt x="114" y="95"/>
                    </a:lnTo>
                    <a:lnTo>
                      <a:pt x="116" y="95"/>
                    </a:lnTo>
                    <a:lnTo>
                      <a:pt x="118" y="95"/>
                    </a:lnTo>
                    <a:lnTo>
                      <a:pt x="116" y="97"/>
                    </a:lnTo>
                    <a:lnTo>
                      <a:pt x="118" y="97"/>
                    </a:lnTo>
                    <a:lnTo>
                      <a:pt x="118" y="99"/>
                    </a:lnTo>
                    <a:lnTo>
                      <a:pt x="116" y="99"/>
                    </a:lnTo>
                    <a:lnTo>
                      <a:pt x="114" y="101"/>
                    </a:lnTo>
                    <a:lnTo>
                      <a:pt x="114" y="105"/>
                    </a:lnTo>
                    <a:lnTo>
                      <a:pt x="114" y="107"/>
                    </a:lnTo>
                    <a:lnTo>
                      <a:pt x="112" y="107"/>
                    </a:lnTo>
                    <a:lnTo>
                      <a:pt x="112" y="109"/>
                    </a:lnTo>
                    <a:lnTo>
                      <a:pt x="112" y="111"/>
                    </a:lnTo>
                    <a:lnTo>
                      <a:pt x="111" y="111"/>
                    </a:lnTo>
                    <a:lnTo>
                      <a:pt x="112" y="112"/>
                    </a:lnTo>
                    <a:lnTo>
                      <a:pt x="114" y="112"/>
                    </a:lnTo>
                    <a:lnTo>
                      <a:pt x="116" y="112"/>
                    </a:lnTo>
                    <a:lnTo>
                      <a:pt x="118" y="112"/>
                    </a:lnTo>
                    <a:lnTo>
                      <a:pt x="120" y="112"/>
                    </a:lnTo>
                    <a:lnTo>
                      <a:pt x="120" y="114"/>
                    </a:lnTo>
                    <a:lnTo>
                      <a:pt x="120" y="112"/>
                    </a:lnTo>
                    <a:lnTo>
                      <a:pt x="122" y="114"/>
                    </a:lnTo>
                    <a:lnTo>
                      <a:pt x="122" y="112"/>
                    </a:lnTo>
                    <a:lnTo>
                      <a:pt x="124" y="112"/>
                    </a:lnTo>
                    <a:lnTo>
                      <a:pt x="124" y="114"/>
                    </a:lnTo>
                    <a:lnTo>
                      <a:pt x="124" y="116"/>
                    </a:lnTo>
                    <a:lnTo>
                      <a:pt x="124" y="118"/>
                    </a:lnTo>
                    <a:lnTo>
                      <a:pt x="124" y="120"/>
                    </a:lnTo>
                    <a:lnTo>
                      <a:pt x="126" y="120"/>
                    </a:lnTo>
                    <a:lnTo>
                      <a:pt x="128" y="120"/>
                    </a:lnTo>
                    <a:lnTo>
                      <a:pt x="126" y="122"/>
                    </a:lnTo>
                    <a:lnTo>
                      <a:pt x="128" y="122"/>
                    </a:lnTo>
                    <a:lnTo>
                      <a:pt x="128" y="124"/>
                    </a:lnTo>
                    <a:lnTo>
                      <a:pt x="128" y="122"/>
                    </a:lnTo>
                    <a:lnTo>
                      <a:pt x="130" y="124"/>
                    </a:lnTo>
                    <a:lnTo>
                      <a:pt x="130" y="122"/>
                    </a:lnTo>
                    <a:lnTo>
                      <a:pt x="132" y="122"/>
                    </a:lnTo>
                    <a:lnTo>
                      <a:pt x="132" y="124"/>
                    </a:lnTo>
                    <a:lnTo>
                      <a:pt x="133" y="124"/>
                    </a:lnTo>
                    <a:lnTo>
                      <a:pt x="135" y="124"/>
                    </a:lnTo>
                    <a:lnTo>
                      <a:pt x="135" y="122"/>
                    </a:lnTo>
                    <a:lnTo>
                      <a:pt x="137" y="122"/>
                    </a:lnTo>
                    <a:lnTo>
                      <a:pt x="137" y="120"/>
                    </a:lnTo>
                    <a:lnTo>
                      <a:pt x="139" y="120"/>
                    </a:lnTo>
                    <a:lnTo>
                      <a:pt x="141" y="120"/>
                    </a:lnTo>
                    <a:lnTo>
                      <a:pt x="143" y="118"/>
                    </a:lnTo>
                    <a:lnTo>
                      <a:pt x="143" y="120"/>
                    </a:lnTo>
                    <a:lnTo>
                      <a:pt x="143" y="122"/>
                    </a:lnTo>
                    <a:close/>
                    <a:moveTo>
                      <a:pt x="23" y="158"/>
                    </a:moveTo>
                    <a:lnTo>
                      <a:pt x="23" y="160"/>
                    </a:lnTo>
                    <a:lnTo>
                      <a:pt x="25" y="160"/>
                    </a:lnTo>
                    <a:lnTo>
                      <a:pt x="25" y="162"/>
                    </a:lnTo>
                    <a:lnTo>
                      <a:pt x="25" y="160"/>
                    </a:lnTo>
                    <a:lnTo>
                      <a:pt x="27" y="162"/>
                    </a:lnTo>
                    <a:lnTo>
                      <a:pt x="29" y="160"/>
                    </a:lnTo>
                    <a:lnTo>
                      <a:pt x="27" y="162"/>
                    </a:lnTo>
                    <a:lnTo>
                      <a:pt x="29" y="162"/>
                    </a:lnTo>
                    <a:lnTo>
                      <a:pt x="29" y="160"/>
                    </a:lnTo>
                    <a:lnTo>
                      <a:pt x="29" y="162"/>
                    </a:lnTo>
                    <a:lnTo>
                      <a:pt x="29" y="164"/>
                    </a:lnTo>
                    <a:lnTo>
                      <a:pt x="29" y="166"/>
                    </a:lnTo>
                    <a:lnTo>
                      <a:pt x="29" y="168"/>
                    </a:lnTo>
                    <a:lnTo>
                      <a:pt x="27" y="168"/>
                    </a:lnTo>
                    <a:lnTo>
                      <a:pt x="27" y="166"/>
                    </a:lnTo>
                    <a:lnTo>
                      <a:pt x="25" y="166"/>
                    </a:lnTo>
                    <a:lnTo>
                      <a:pt x="25" y="164"/>
                    </a:lnTo>
                    <a:lnTo>
                      <a:pt x="23" y="162"/>
                    </a:lnTo>
                    <a:lnTo>
                      <a:pt x="21" y="160"/>
                    </a:lnTo>
                    <a:lnTo>
                      <a:pt x="21" y="158"/>
                    </a:lnTo>
                    <a:lnTo>
                      <a:pt x="23" y="158"/>
                    </a:lnTo>
                    <a:close/>
                    <a:moveTo>
                      <a:pt x="23" y="168"/>
                    </a:moveTo>
                    <a:lnTo>
                      <a:pt x="25" y="168"/>
                    </a:lnTo>
                    <a:lnTo>
                      <a:pt x="25" y="170"/>
                    </a:lnTo>
                    <a:lnTo>
                      <a:pt x="25" y="172"/>
                    </a:lnTo>
                    <a:lnTo>
                      <a:pt x="23" y="172"/>
                    </a:lnTo>
                    <a:lnTo>
                      <a:pt x="23" y="170"/>
                    </a:lnTo>
                    <a:lnTo>
                      <a:pt x="21" y="168"/>
                    </a:lnTo>
                    <a:lnTo>
                      <a:pt x="23" y="168"/>
                    </a:lnTo>
                    <a:lnTo>
                      <a:pt x="23" y="166"/>
                    </a:lnTo>
                    <a:lnTo>
                      <a:pt x="23" y="168"/>
                    </a:lnTo>
                    <a:close/>
                    <a:moveTo>
                      <a:pt x="97" y="271"/>
                    </a:moveTo>
                    <a:lnTo>
                      <a:pt x="99" y="271"/>
                    </a:lnTo>
                    <a:lnTo>
                      <a:pt x="99" y="273"/>
                    </a:lnTo>
                    <a:lnTo>
                      <a:pt x="101" y="273"/>
                    </a:lnTo>
                    <a:lnTo>
                      <a:pt x="99" y="271"/>
                    </a:lnTo>
                    <a:lnTo>
                      <a:pt x="101" y="271"/>
                    </a:lnTo>
                    <a:lnTo>
                      <a:pt x="101" y="273"/>
                    </a:lnTo>
                    <a:lnTo>
                      <a:pt x="101" y="275"/>
                    </a:lnTo>
                    <a:lnTo>
                      <a:pt x="99" y="275"/>
                    </a:lnTo>
                    <a:lnTo>
                      <a:pt x="99" y="277"/>
                    </a:lnTo>
                    <a:lnTo>
                      <a:pt x="97" y="277"/>
                    </a:lnTo>
                    <a:lnTo>
                      <a:pt x="97" y="275"/>
                    </a:lnTo>
                    <a:lnTo>
                      <a:pt x="99" y="273"/>
                    </a:lnTo>
                    <a:lnTo>
                      <a:pt x="97" y="273"/>
                    </a:lnTo>
                    <a:lnTo>
                      <a:pt x="99" y="273"/>
                    </a:lnTo>
                    <a:lnTo>
                      <a:pt x="97" y="273"/>
                    </a:lnTo>
                    <a:lnTo>
                      <a:pt x="97" y="271"/>
                    </a:lnTo>
                    <a:lnTo>
                      <a:pt x="97" y="269"/>
                    </a:lnTo>
                    <a:lnTo>
                      <a:pt x="97" y="271"/>
                    </a:lnTo>
                    <a:close/>
                    <a:moveTo>
                      <a:pt x="40" y="212"/>
                    </a:moveTo>
                    <a:lnTo>
                      <a:pt x="40" y="214"/>
                    </a:lnTo>
                    <a:lnTo>
                      <a:pt x="38" y="216"/>
                    </a:lnTo>
                    <a:lnTo>
                      <a:pt x="36" y="216"/>
                    </a:lnTo>
                    <a:lnTo>
                      <a:pt x="36" y="217"/>
                    </a:lnTo>
                    <a:lnTo>
                      <a:pt x="36" y="216"/>
                    </a:lnTo>
                    <a:lnTo>
                      <a:pt x="38" y="214"/>
                    </a:lnTo>
                    <a:lnTo>
                      <a:pt x="40" y="212"/>
                    </a:lnTo>
                    <a:close/>
                    <a:moveTo>
                      <a:pt x="25" y="156"/>
                    </a:moveTo>
                    <a:lnTo>
                      <a:pt x="27" y="156"/>
                    </a:lnTo>
                    <a:lnTo>
                      <a:pt x="27" y="158"/>
                    </a:lnTo>
                    <a:lnTo>
                      <a:pt x="27" y="160"/>
                    </a:lnTo>
                    <a:lnTo>
                      <a:pt x="25" y="160"/>
                    </a:lnTo>
                    <a:lnTo>
                      <a:pt x="25" y="158"/>
                    </a:lnTo>
                    <a:lnTo>
                      <a:pt x="23" y="156"/>
                    </a:lnTo>
                    <a:lnTo>
                      <a:pt x="25" y="156"/>
                    </a:lnTo>
                    <a:lnTo>
                      <a:pt x="23" y="156"/>
                    </a:lnTo>
                    <a:lnTo>
                      <a:pt x="25" y="156"/>
                    </a:lnTo>
                    <a:close/>
                    <a:moveTo>
                      <a:pt x="101" y="284"/>
                    </a:moveTo>
                    <a:lnTo>
                      <a:pt x="101" y="286"/>
                    </a:lnTo>
                    <a:lnTo>
                      <a:pt x="101" y="288"/>
                    </a:lnTo>
                    <a:lnTo>
                      <a:pt x="101" y="290"/>
                    </a:lnTo>
                    <a:lnTo>
                      <a:pt x="101" y="288"/>
                    </a:lnTo>
                    <a:lnTo>
                      <a:pt x="99" y="288"/>
                    </a:lnTo>
                    <a:lnTo>
                      <a:pt x="99" y="286"/>
                    </a:lnTo>
                    <a:lnTo>
                      <a:pt x="99" y="284"/>
                    </a:lnTo>
                    <a:lnTo>
                      <a:pt x="101" y="286"/>
                    </a:lnTo>
                    <a:lnTo>
                      <a:pt x="101" y="284"/>
                    </a:lnTo>
                    <a:lnTo>
                      <a:pt x="99" y="284"/>
                    </a:lnTo>
                    <a:lnTo>
                      <a:pt x="101" y="284"/>
                    </a:lnTo>
                    <a:close/>
                    <a:moveTo>
                      <a:pt x="86" y="208"/>
                    </a:moveTo>
                    <a:lnTo>
                      <a:pt x="88" y="208"/>
                    </a:lnTo>
                    <a:lnTo>
                      <a:pt x="86" y="208"/>
                    </a:lnTo>
                    <a:lnTo>
                      <a:pt x="86" y="210"/>
                    </a:lnTo>
                    <a:lnTo>
                      <a:pt x="86" y="212"/>
                    </a:lnTo>
                    <a:lnTo>
                      <a:pt x="84" y="210"/>
                    </a:lnTo>
                    <a:lnTo>
                      <a:pt x="84" y="208"/>
                    </a:lnTo>
                    <a:lnTo>
                      <a:pt x="86" y="208"/>
                    </a:lnTo>
                    <a:close/>
                    <a:moveTo>
                      <a:pt x="97" y="284"/>
                    </a:moveTo>
                    <a:lnTo>
                      <a:pt x="97" y="286"/>
                    </a:lnTo>
                    <a:lnTo>
                      <a:pt x="97" y="288"/>
                    </a:lnTo>
                    <a:lnTo>
                      <a:pt x="97" y="290"/>
                    </a:lnTo>
                    <a:lnTo>
                      <a:pt x="95" y="290"/>
                    </a:lnTo>
                    <a:lnTo>
                      <a:pt x="97" y="290"/>
                    </a:lnTo>
                    <a:lnTo>
                      <a:pt x="95" y="290"/>
                    </a:lnTo>
                    <a:lnTo>
                      <a:pt x="97" y="290"/>
                    </a:lnTo>
                    <a:lnTo>
                      <a:pt x="95" y="290"/>
                    </a:lnTo>
                    <a:lnTo>
                      <a:pt x="97" y="290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7" y="286"/>
                    </a:lnTo>
                    <a:lnTo>
                      <a:pt x="97" y="284"/>
                    </a:lnTo>
                    <a:close/>
                    <a:moveTo>
                      <a:pt x="99" y="278"/>
                    </a:moveTo>
                    <a:lnTo>
                      <a:pt x="101" y="280"/>
                    </a:lnTo>
                    <a:lnTo>
                      <a:pt x="101" y="282"/>
                    </a:lnTo>
                    <a:lnTo>
                      <a:pt x="101" y="280"/>
                    </a:lnTo>
                    <a:lnTo>
                      <a:pt x="101" y="282"/>
                    </a:lnTo>
                    <a:lnTo>
                      <a:pt x="101" y="280"/>
                    </a:lnTo>
                    <a:lnTo>
                      <a:pt x="103" y="282"/>
                    </a:lnTo>
                    <a:lnTo>
                      <a:pt x="101" y="282"/>
                    </a:lnTo>
                    <a:lnTo>
                      <a:pt x="101" y="280"/>
                    </a:lnTo>
                    <a:lnTo>
                      <a:pt x="99" y="282"/>
                    </a:lnTo>
                    <a:lnTo>
                      <a:pt x="99" y="280"/>
                    </a:lnTo>
                    <a:lnTo>
                      <a:pt x="99" y="278"/>
                    </a:lnTo>
                    <a:close/>
                    <a:moveTo>
                      <a:pt x="13" y="147"/>
                    </a:moveTo>
                    <a:lnTo>
                      <a:pt x="15" y="147"/>
                    </a:lnTo>
                    <a:lnTo>
                      <a:pt x="15" y="149"/>
                    </a:lnTo>
                    <a:lnTo>
                      <a:pt x="15" y="153"/>
                    </a:lnTo>
                    <a:lnTo>
                      <a:pt x="15" y="149"/>
                    </a:lnTo>
                    <a:lnTo>
                      <a:pt x="13" y="149"/>
                    </a:lnTo>
                    <a:lnTo>
                      <a:pt x="13" y="147"/>
                    </a:lnTo>
                    <a:close/>
                    <a:moveTo>
                      <a:pt x="105" y="284"/>
                    </a:moveTo>
                    <a:lnTo>
                      <a:pt x="107" y="284"/>
                    </a:lnTo>
                    <a:lnTo>
                      <a:pt x="105" y="284"/>
                    </a:lnTo>
                    <a:lnTo>
                      <a:pt x="105" y="286"/>
                    </a:lnTo>
                    <a:lnTo>
                      <a:pt x="105" y="284"/>
                    </a:lnTo>
                    <a:lnTo>
                      <a:pt x="103" y="284"/>
                    </a:lnTo>
                    <a:lnTo>
                      <a:pt x="105" y="284"/>
                    </a:lnTo>
                    <a:lnTo>
                      <a:pt x="103" y="284"/>
                    </a:lnTo>
                    <a:lnTo>
                      <a:pt x="103" y="282"/>
                    </a:lnTo>
                    <a:lnTo>
                      <a:pt x="105" y="284"/>
                    </a:lnTo>
                    <a:lnTo>
                      <a:pt x="105" y="282"/>
                    </a:lnTo>
                    <a:lnTo>
                      <a:pt x="105" y="284"/>
                    </a:lnTo>
                    <a:close/>
                    <a:moveTo>
                      <a:pt x="95" y="298"/>
                    </a:moveTo>
                    <a:lnTo>
                      <a:pt x="97" y="298"/>
                    </a:lnTo>
                    <a:lnTo>
                      <a:pt x="97" y="299"/>
                    </a:lnTo>
                    <a:lnTo>
                      <a:pt x="97" y="301"/>
                    </a:lnTo>
                    <a:lnTo>
                      <a:pt x="97" y="303"/>
                    </a:lnTo>
                    <a:lnTo>
                      <a:pt x="97" y="301"/>
                    </a:lnTo>
                    <a:lnTo>
                      <a:pt x="97" y="299"/>
                    </a:lnTo>
                    <a:lnTo>
                      <a:pt x="95" y="299"/>
                    </a:lnTo>
                    <a:lnTo>
                      <a:pt x="93" y="299"/>
                    </a:lnTo>
                    <a:lnTo>
                      <a:pt x="95" y="299"/>
                    </a:lnTo>
                    <a:lnTo>
                      <a:pt x="95" y="298"/>
                    </a:lnTo>
                    <a:close/>
                    <a:moveTo>
                      <a:pt x="97" y="313"/>
                    </a:moveTo>
                    <a:lnTo>
                      <a:pt x="97" y="315"/>
                    </a:lnTo>
                    <a:lnTo>
                      <a:pt x="95" y="315"/>
                    </a:lnTo>
                    <a:lnTo>
                      <a:pt x="95" y="317"/>
                    </a:lnTo>
                    <a:lnTo>
                      <a:pt x="95" y="315"/>
                    </a:lnTo>
                    <a:lnTo>
                      <a:pt x="95" y="313"/>
                    </a:lnTo>
                    <a:lnTo>
                      <a:pt x="97" y="313"/>
                    </a:lnTo>
                    <a:close/>
                    <a:moveTo>
                      <a:pt x="19" y="149"/>
                    </a:moveTo>
                    <a:lnTo>
                      <a:pt x="21" y="149"/>
                    </a:lnTo>
                    <a:lnTo>
                      <a:pt x="21" y="151"/>
                    </a:lnTo>
                    <a:lnTo>
                      <a:pt x="23" y="151"/>
                    </a:lnTo>
                    <a:lnTo>
                      <a:pt x="21" y="151"/>
                    </a:lnTo>
                    <a:lnTo>
                      <a:pt x="21" y="153"/>
                    </a:lnTo>
                    <a:lnTo>
                      <a:pt x="21" y="151"/>
                    </a:lnTo>
                    <a:lnTo>
                      <a:pt x="19" y="151"/>
                    </a:lnTo>
                    <a:lnTo>
                      <a:pt x="19" y="149"/>
                    </a:lnTo>
                    <a:close/>
                    <a:moveTo>
                      <a:pt x="30" y="160"/>
                    </a:moveTo>
                    <a:lnTo>
                      <a:pt x="29" y="162"/>
                    </a:lnTo>
                    <a:lnTo>
                      <a:pt x="30" y="162"/>
                    </a:lnTo>
                    <a:lnTo>
                      <a:pt x="29" y="164"/>
                    </a:lnTo>
                    <a:lnTo>
                      <a:pt x="29" y="162"/>
                    </a:lnTo>
                    <a:lnTo>
                      <a:pt x="29" y="160"/>
                    </a:lnTo>
                    <a:lnTo>
                      <a:pt x="29" y="162"/>
                    </a:lnTo>
                    <a:lnTo>
                      <a:pt x="29" y="160"/>
                    </a:lnTo>
                    <a:lnTo>
                      <a:pt x="30" y="160"/>
                    </a:lnTo>
                    <a:close/>
                    <a:moveTo>
                      <a:pt x="51" y="216"/>
                    </a:moveTo>
                    <a:lnTo>
                      <a:pt x="50" y="216"/>
                    </a:lnTo>
                    <a:lnTo>
                      <a:pt x="50" y="217"/>
                    </a:lnTo>
                    <a:lnTo>
                      <a:pt x="50" y="216"/>
                    </a:lnTo>
                    <a:lnTo>
                      <a:pt x="50" y="214"/>
                    </a:lnTo>
                    <a:lnTo>
                      <a:pt x="51" y="216"/>
                    </a:lnTo>
                    <a:close/>
                    <a:moveTo>
                      <a:pt x="105" y="282"/>
                    </a:moveTo>
                    <a:lnTo>
                      <a:pt x="103" y="282"/>
                    </a:lnTo>
                    <a:lnTo>
                      <a:pt x="103" y="284"/>
                    </a:lnTo>
                    <a:lnTo>
                      <a:pt x="101" y="282"/>
                    </a:lnTo>
                    <a:lnTo>
                      <a:pt x="103" y="282"/>
                    </a:lnTo>
                    <a:lnTo>
                      <a:pt x="105" y="282"/>
                    </a:lnTo>
                    <a:close/>
                    <a:moveTo>
                      <a:pt x="95" y="275"/>
                    </a:moveTo>
                    <a:lnTo>
                      <a:pt x="93" y="275"/>
                    </a:lnTo>
                    <a:lnTo>
                      <a:pt x="93" y="277"/>
                    </a:lnTo>
                    <a:lnTo>
                      <a:pt x="91" y="277"/>
                    </a:lnTo>
                    <a:lnTo>
                      <a:pt x="93" y="275"/>
                    </a:lnTo>
                    <a:lnTo>
                      <a:pt x="91" y="275"/>
                    </a:lnTo>
                    <a:lnTo>
                      <a:pt x="93" y="275"/>
                    </a:lnTo>
                    <a:lnTo>
                      <a:pt x="95" y="275"/>
                    </a:lnTo>
                    <a:close/>
                    <a:moveTo>
                      <a:pt x="93" y="277"/>
                    </a:moveTo>
                    <a:lnTo>
                      <a:pt x="95" y="277"/>
                    </a:lnTo>
                    <a:lnTo>
                      <a:pt x="95" y="278"/>
                    </a:lnTo>
                    <a:lnTo>
                      <a:pt x="93" y="278"/>
                    </a:lnTo>
                    <a:lnTo>
                      <a:pt x="93" y="277"/>
                    </a:lnTo>
                    <a:close/>
                    <a:moveTo>
                      <a:pt x="25" y="151"/>
                    </a:moveTo>
                    <a:lnTo>
                      <a:pt x="25" y="153"/>
                    </a:lnTo>
                    <a:lnTo>
                      <a:pt x="23" y="153"/>
                    </a:lnTo>
                    <a:lnTo>
                      <a:pt x="23" y="151"/>
                    </a:lnTo>
                    <a:lnTo>
                      <a:pt x="25" y="151"/>
                    </a:lnTo>
                    <a:close/>
                    <a:moveTo>
                      <a:pt x="27" y="158"/>
                    </a:moveTo>
                    <a:lnTo>
                      <a:pt x="29" y="158"/>
                    </a:lnTo>
                    <a:lnTo>
                      <a:pt x="29" y="160"/>
                    </a:lnTo>
                    <a:lnTo>
                      <a:pt x="27" y="160"/>
                    </a:lnTo>
                    <a:lnTo>
                      <a:pt x="27" y="158"/>
                    </a:lnTo>
                    <a:close/>
                    <a:moveTo>
                      <a:pt x="42" y="216"/>
                    </a:moveTo>
                    <a:lnTo>
                      <a:pt x="42" y="219"/>
                    </a:lnTo>
                    <a:lnTo>
                      <a:pt x="42" y="216"/>
                    </a:lnTo>
                    <a:close/>
                    <a:moveTo>
                      <a:pt x="97" y="261"/>
                    </a:moveTo>
                    <a:lnTo>
                      <a:pt x="97" y="263"/>
                    </a:lnTo>
                    <a:lnTo>
                      <a:pt x="99" y="263"/>
                    </a:lnTo>
                    <a:lnTo>
                      <a:pt x="97" y="263"/>
                    </a:lnTo>
                    <a:lnTo>
                      <a:pt x="97" y="267"/>
                    </a:lnTo>
                    <a:lnTo>
                      <a:pt x="97" y="263"/>
                    </a:lnTo>
                    <a:lnTo>
                      <a:pt x="97" y="261"/>
                    </a:lnTo>
                    <a:close/>
                    <a:moveTo>
                      <a:pt x="101" y="275"/>
                    </a:moveTo>
                    <a:lnTo>
                      <a:pt x="105" y="275"/>
                    </a:lnTo>
                    <a:lnTo>
                      <a:pt x="105" y="277"/>
                    </a:lnTo>
                    <a:lnTo>
                      <a:pt x="101" y="277"/>
                    </a:lnTo>
                    <a:lnTo>
                      <a:pt x="101" y="275"/>
                    </a:lnTo>
                    <a:close/>
                    <a:moveTo>
                      <a:pt x="103" y="284"/>
                    </a:moveTo>
                    <a:lnTo>
                      <a:pt x="105" y="284"/>
                    </a:lnTo>
                    <a:lnTo>
                      <a:pt x="105" y="286"/>
                    </a:lnTo>
                    <a:lnTo>
                      <a:pt x="103" y="286"/>
                    </a:lnTo>
                    <a:lnTo>
                      <a:pt x="103" y="284"/>
                    </a:lnTo>
                    <a:close/>
                    <a:moveTo>
                      <a:pt x="11" y="147"/>
                    </a:moveTo>
                    <a:lnTo>
                      <a:pt x="13" y="147"/>
                    </a:lnTo>
                    <a:lnTo>
                      <a:pt x="13" y="149"/>
                    </a:lnTo>
                    <a:lnTo>
                      <a:pt x="13" y="151"/>
                    </a:lnTo>
                    <a:lnTo>
                      <a:pt x="13" y="153"/>
                    </a:lnTo>
                    <a:lnTo>
                      <a:pt x="13" y="151"/>
                    </a:lnTo>
                    <a:lnTo>
                      <a:pt x="13" y="149"/>
                    </a:lnTo>
                    <a:lnTo>
                      <a:pt x="11" y="147"/>
                    </a:lnTo>
                    <a:lnTo>
                      <a:pt x="13" y="147"/>
                    </a:lnTo>
                    <a:lnTo>
                      <a:pt x="11" y="147"/>
                    </a:lnTo>
                    <a:close/>
                    <a:moveTo>
                      <a:pt x="93" y="284"/>
                    </a:moveTo>
                    <a:lnTo>
                      <a:pt x="93" y="286"/>
                    </a:lnTo>
                    <a:lnTo>
                      <a:pt x="95" y="286"/>
                    </a:lnTo>
                    <a:lnTo>
                      <a:pt x="93" y="286"/>
                    </a:lnTo>
                    <a:lnTo>
                      <a:pt x="95" y="286"/>
                    </a:lnTo>
                    <a:lnTo>
                      <a:pt x="95" y="288"/>
                    </a:lnTo>
                    <a:lnTo>
                      <a:pt x="93" y="286"/>
                    </a:lnTo>
                    <a:lnTo>
                      <a:pt x="93" y="284"/>
                    </a:lnTo>
                    <a:close/>
                    <a:moveTo>
                      <a:pt x="44" y="217"/>
                    </a:moveTo>
                    <a:lnTo>
                      <a:pt x="46" y="217"/>
                    </a:lnTo>
                    <a:lnTo>
                      <a:pt x="44" y="217"/>
                    </a:lnTo>
                    <a:close/>
                    <a:moveTo>
                      <a:pt x="101" y="296"/>
                    </a:moveTo>
                    <a:lnTo>
                      <a:pt x="101" y="298"/>
                    </a:lnTo>
                    <a:lnTo>
                      <a:pt x="101" y="296"/>
                    </a:lnTo>
                    <a:close/>
                    <a:moveTo>
                      <a:pt x="29" y="158"/>
                    </a:moveTo>
                    <a:lnTo>
                      <a:pt x="30" y="158"/>
                    </a:lnTo>
                    <a:lnTo>
                      <a:pt x="30" y="160"/>
                    </a:lnTo>
                    <a:lnTo>
                      <a:pt x="29" y="160"/>
                    </a:lnTo>
                    <a:lnTo>
                      <a:pt x="29" y="158"/>
                    </a:lnTo>
                    <a:close/>
                    <a:moveTo>
                      <a:pt x="101" y="299"/>
                    </a:moveTo>
                    <a:lnTo>
                      <a:pt x="101" y="301"/>
                    </a:lnTo>
                    <a:lnTo>
                      <a:pt x="101" y="299"/>
                    </a:lnTo>
                    <a:close/>
                    <a:moveTo>
                      <a:pt x="38" y="210"/>
                    </a:moveTo>
                    <a:lnTo>
                      <a:pt x="40" y="210"/>
                    </a:lnTo>
                    <a:lnTo>
                      <a:pt x="40" y="212"/>
                    </a:lnTo>
                    <a:lnTo>
                      <a:pt x="38" y="212"/>
                    </a:lnTo>
                    <a:lnTo>
                      <a:pt x="38" y="210"/>
                    </a:lnTo>
                    <a:close/>
                    <a:moveTo>
                      <a:pt x="101" y="273"/>
                    </a:moveTo>
                    <a:lnTo>
                      <a:pt x="101" y="275"/>
                    </a:lnTo>
                    <a:lnTo>
                      <a:pt x="101" y="273"/>
                    </a:lnTo>
                    <a:close/>
                    <a:moveTo>
                      <a:pt x="15" y="147"/>
                    </a:moveTo>
                    <a:lnTo>
                      <a:pt x="17" y="153"/>
                    </a:lnTo>
                    <a:lnTo>
                      <a:pt x="15" y="147"/>
                    </a:lnTo>
                    <a:close/>
                    <a:moveTo>
                      <a:pt x="95" y="311"/>
                    </a:moveTo>
                    <a:lnTo>
                      <a:pt x="97" y="311"/>
                    </a:lnTo>
                    <a:lnTo>
                      <a:pt x="97" y="313"/>
                    </a:lnTo>
                    <a:lnTo>
                      <a:pt x="95" y="313"/>
                    </a:lnTo>
                    <a:lnTo>
                      <a:pt x="95" y="311"/>
                    </a:lnTo>
                    <a:close/>
                    <a:moveTo>
                      <a:pt x="27" y="158"/>
                    </a:moveTo>
                    <a:lnTo>
                      <a:pt x="29" y="158"/>
                    </a:lnTo>
                    <a:lnTo>
                      <a:pt x="29" y="160"/>
                    </a:lnTo>
                    <a:lnTo>
                      <a:pt x="27" y="160"/>
                    </a:lnTo>
                    <a:lnTo>
                      <a:pt x="27" y="158"/>
                    </a:lnTo>
                    <a:close/>
                    <a:moveTo>
                      <a:pt x="23" y="151"/>
                    </a:moveTo>
                    <a:lnTo>
                      <a:pt x="25" y="151"/>
                    </a:lnTo>
                    <a:lnTo>
                      <a:pt x="23" y="151"/>
                    </a:lnTo>
                    <a:close/>
                    <a:moveTo>
                      <a:pt x="15" y="145"/>
                    </a:moveTo>
                    <a:lnTo>
                      <a:pt x="15" y="147"/>
                    </a:lnTo>
                    <a:lnTo>
                      <a:pt x="15" y="145"/>
                    </a:lnTo>
                    <a:close/>
                    <a:moveTo>
                      <a:pt x="46" y="217"/>
                    </a:moveTo>
                    <a:lnTo>
                      <a:pt x="46" y="219"/>
                    </a:lnTo>
                    <a:lnTo>
                      <a:pt x="46" y="217"/>
                    </a:lnTo>
                    <a:close/>
                    <a:moveTo>
                      <a:pt x="91" y="298"/>
                    </a:moveTo>
                    <a:lnTo>
                      <a:pt x="91" y="299"/>
                    </a:lnTo>
                    <a:lnTo>
                      <a:pt x="91" y="298"/>
                    </a:lnTo>
                    <a:close/>
                    <a:moveTo>
                      <a:pt x="21" y="153"/>
                    </a:moveTo>
                    <a:lnTo>
                      <a:pt x="23" y="153"/>
                    </a:lnTo>
                    <a:lnTo>
                      <a:pt x="23" y="154"/>
                    </a:lnTo>
                    <a:lnTo>
                      <a:pt x="21" y="154"/>
                    </a:lnTo>
                    <a:lnTo>
                      <a:pt x="21" y="153"/>
                    </a:lnTo>
                    <a:close/>
                    <a:moveTo>
                      <a:pt x="29" y="160"/>
                    </a:moveTo>
                    <a:lnTo>
                      <a:pt x="30" y="160"/>
                    </a:lnTo>
                    <a:lnTo>
                      <a:pt x="30" y="162"/>
                    </a:lnTo>
                    <a:lnTo>
                      <a:pt x="29" y="162"/>
                    </a:lnTo>
                    <a:lnTo>
                      <a:pt x="29" y="160"/>
                    </a:lnTo>
                    <a:close/>
                    <a:moveTo>
                      <a:pt x="91" y="305"/>
                    </a:moveTo>
                    <a:lnTo>
                      <a:pt x="91" y="307"/>
                    </a:lnTo>
                    <a:lnTo>
                      <a:pt x="91" y="305"/>
                    </a:lnTo>
                    <a:close/>
                    <a:moveTo>
                      <a:pt x="21" y="153"/>
                    </a:moveTo>
                    <a:lnTo>
                      <a:pt x="21" y="154"/>
                    </a:lnTo>
                    <a:lnTo>
                      <a:pt x="21" y="153"/>
                    </a:lnTo>
                    <a:close/>
                    <a:moveTo>
                      <a:pt x="99" y="275"/>
                    </a:moveTo>
                    <a:lnTo>
                      <a:pt x="101" y="275"/>
                    </a:lnTo>
                    <a:lnTo>
                      <a:pt x="101" y="277"/>
                    </a:lnTo>
                    <a:lnTo>
                      <a:pt x="99" y="277"/>
                    </a:lnTo>
                    <a:lnTo>
                      <a:pt x="99" y="275"/>
                    </a:lnTo>
                    <a:close/>
                    <a:moveTo>
                      <a:pt x="38" y="210"/>
                    </a:moveTo>
                    <a:lnTo>
                      <a:pt x="38" y="212"/>
                    </a:lnTo>
                    <a:lnTo>
                      <a:pt x="38" y="210"/>
                    </a:lnTo>
                    <a:close/>
                    <a:moveTo>
                      <a:pt x="42" y="214"/>
                    </a:moveTo>
                    <a:lnTo>
                      <a:pt x="44" y="214"/>
                    </a:lnTo>
                    <a:lnTo>
                      <a:pt x="44" y="216"/>
                    </a:lnTo>
                    <a:lnTo>
                      <a:pt x="42" y="216"/>
                    </a:lnTo>
                    <a:lnTo>
                      <a:pt x="42" y="214"/>
                    </a:lnTo>
                    <a:close/>
                    <a:moveTo>
                      <a:pt x="86" y="210"/>
                    </a:moveTo>
                    <a:lnTo>
                      <a:pt x="88" y="210"/>
                    </a:lnTo>
                    <a:lnTo>
                      <a:pt x="88" y="212"/>
                    </a:lnTo>
                    <a:lnTo>
                      <a:pt x="86" y="212"/>
                    </a:lnTo>
                    <a:lnTo>
                      <a:pt x="86" y="210"/>
                    </a:lnTo>
                    <a:close/>
                    <a:moveTo>
                      <a:pt x="103" y="280"/>
                    </a:moveTo>
                    <a:lnTo>
                      <a:pt x="105" y="280"/>
                    </a:lnTo>
                    <a:lnTo>
                      <a:pt x="105" y="282"/>
                    </a:lnTo>
                    <a:lnTo>
                      <a:pt x="103" y="282"/>
                    </a:lnTo>
                    <a:lnTo>
                      <a:pt x="103" y="280"/>
                    </a:lnTo>
                    <a:close/>
                    <a:moveTo>
                      <a:pt x="95" y="250"/>
                    </a:moveTo>
                    <a:lnTo>
                      <a:pt x="97" y="250"/>
                    </a:lnTo>
                    <a:lnTo>
                      <a:pt x="97" y="252"/>
                    </a:lnTo>
                    <a:lnTo>
                      <a:pt x="95" y="252"/>
                    </a:lnTo>
                    <a:lnTo>
                      <a:pt x="95" y="250"/>
                    </a:lnTo>
                    <a:close/>
                    <a:moveTo>
                      <a:pt x="91" y="235"/>
                    </a:moveTo>
                    <a:lnTo>
                      <a:pt x="91" y="236"/>
                    </a:lnTo>
                    <a:lnTo>
                      <a:pt x="91" y="235"/>
                    </a:lnTo>
                    <a:close/>
                    <a:moveTo>
                      <a:pt x="97" y="292"/>
                    </a:moveTo>
                    <a:lnTo>
                      <a:pt x="97" y="294"/>
                    </a:lnTo>
                    <a:lnTo>
                      <a:pt x="97" y="292"/>
                    </a:lnTo>
                    <a:close/>
                    <a:moveTo>
                      <a:pt x="88" y="282"/>
                    </a:moveTo>
                    <a:lnTo>
                      <a:pt x="88" y="284"/>
                    </a:lnTo>
                    <a:lnTo>
                      <a:pt x="88" y="282"/>
                    </a:lnTo>
                    <a:close/>
                    <a:moveTo>
                      <a:pt x="29" y="168"/>
                    </a:moveTo>
                    <a:lnTo>
                      <a:pt x="29" y="170"/>
                    </a:lnTo>
                    <a:lnTo>
                      <a:pt x="29" y="168"/>
                    </a:lnTo>
                    <a:close/>
                    <a:moveTo>
                      <a:pt x="97" y="282"/>
                    </a:moveTo>
                    <a:lnTo>
                      <a:pt x="97" y="284"/>
                    </a:lnTo>
                    <a:lnTo>
                      <a:pt x="97" y="282"/>
                    </a:lnTo>
                    <a:close/>
                    <a:moveTo>
                      <a:pt x="32" y="170"/>
                    </a:moveTo>
                    <a:lnTo>
                      <a:pt x="32" y="172"/>
                    </a:lnTo>
                    <a:lnTo>
                      <a:pt x="32" y="170"/>
                    </a:lnTo>
                    <a:close/>
                    <a:moveTo>
                      <a:pt x="91" y="303"/>
                    </a:moveTo>
                    <a:lnTo>
                      <a:pt x="93" y="303"/>
                    </a:lnTo>
                    <a:lnTo>
                      <a:pt x="93" y="305"/>
                    </a:lnTo>
                    <a:lnTo>
                      <a:pt x="91" y="305"/>
                    </a:lnTo>
                    <a:lnTo>
                      <a:pt x="91" y="303"/>
                    </a:lnTo>
                    <a:close/>
                    <a:moveTo>
                      <a:pt x="90" y="271"/>
                    </a:moveTo>
                    <a:lnTo>
                      <a:pt x="91" y="271"/>
                    </a:lnTo>
                    <a:lnTo>
                      <a:pt x="91" y="273"/>
                    </a:lnTo>
                    <a:lnTo>
                      <a:pt x="90" y="273"/>
                    </a:lnTo>
                    <a:lnTo>
                      <a:pt x="90" y="271"/>
                    </a:lnTo>
                    <a:close/>
                    <a:moveTo>
                      <a:pt x="95" y="305"/>
                    </a:moveTo>
                    <a:lnTo>
                      <a:pt x="97" y="305"/>
                    </a:lnTo>
                    <a:lnTo>
                      <a:pt x="95" y="305"/>
                    </a:lnTo>
                    <a:close/>
                    <a:moveTo>
                      <a:pt x="95" y="275"/>
                    </a:moveTo>
                    <a:lnTo>
                      <a:pt x="95" y="277"/>
                    </a:lnTo>
                    <a:lnTo>
                      <a:pt x="95" y="275"/>
                    </a:lnTo>
                    <a:close/>
                    <a:moveTo>
                      <a:pt x="103" y="277"/>
                    </a:moveTo>
                    <a:lnTo>
                      <a:pt x="105" y="277"/>
                    </a:lnTo>
                    <a:lnTo>
                      <a:pt x="105" y="278"/>
                    </a:lnTo>
                    <a:lnTo>
                      <a:pt x="103" y="278"/>
                    </a:lnTo>
                    <a:lnTo>
                      <a:pt x="103" y="277"/>
                    </a:lnTo>
                    <a:close/>
                    <a:moveTo>
                      <a:pt x="103" y="296"/>
                    </a:moveTo>
                    <a:lnTo>
                      <a:pt x="105" y="296"/>
                    </a:lnTo>
                    <a:lnTo>
                      <a:pt x="105" y="298"/>
                    </a:lnTo>
                    <a:lnTo>
                      <a:pt x="103" y="298"/>
                    </a:lnTo>
                    <a:lnTo>
                      <a:pt x="103" y="296"/>
                    </a:lnTo>
                    <a:close/>
                    <a:moveTo>
                      <a:pt x="90" y="267"/>
                    </a:moveTo>
                    <a:lnTo>
                      <a:pt x="91" y="267"/>
                    </a:lnTo>
                    <a:lnTo>
                      <a:pt x="91" y="269"/>
                    </a:lnTo>
                    <a:lnTo>
                      <a:pt x="90" y="269"/>
                    </a:lnTo>
                    <a:lnTo>
                      <a:pt x="90" y="267"/>
                    </a:lnTo>
                    <a:close/>
                    <a:moveTo>
                      <a:pt x="97" y="280"/>
                    </a:moveTo>
                    <a:lnTo>
                      <a:pt x="97" y="282"/>
                    </a:lnTo>
                    <a:lnTo>
                      <a:pt x="97" y="280"/>
                    </a:lnTo>
                    <a:close/>
                    <a:moveTo>
                      <a:pt x="101" y="261"/>
                    </a:moveTo>
                    <a:lnTo>
                      <a:pt x="103" y="261"/>
                    </a:lnTo>
                    <a:lnTo>
                      <a:pt x="103" y="263"/>
                    </a:lnTo>
                    <a:lnTo>
                      <a:pt x="101" y="263"/>
                    </a:lnTo>
                    <a:lnTo>
                      <a:pt x="101" y="261"/>
                    </a:lnTo>
                    <a:close/>
                    <a:moveTo>
                      <a:pt x="23" y="156"/>
                    </a:moveTo>
                    <a:lnTo>
                      <a:pt x="23" y="158"/>
                    </a:lnTo>
                    <a:lnTo>
                      <a:pt x="23" y="156"/>
                    </a:lnTo>
                    <a:close/>
                    <a:moveTo>
                      <a:pt x="93" y="299"/>
                    </a:moveTo>
                    <a:lnTo>
                      <a:pt x="95" y="299"/>
                    </a:lnTo>
                    <a:lnTo>
                      <a:pt x="93" y="299"/>
                    </a:lnTo>
                    <a:close/>
                    <a:moveTo>
                      <a:pt x="23" y="158"/>
                    </a:moveTo>
                    <a:lnTo>
                      <a:pt x="25" y="158"/>
                    </a:lnTo>
                    <a:lnTo>
                      <a:pt x="25" y="160"/>
                    </a:lnTo>
                    <a:lnTo>
                      <a:pt x="23" y="160"/>
                    </a:lnTo>
                    <a:lnTo>
                      <a:pt x="23" y="158"/>
                    </a:lnTo>
                    <a:close/>
                    <a:moveTo>
                      <a:pt x="23" y="151"/>
                    </a:moveTo>
                    <a:lnTo>
                      <a:pt x="23" y="153"/>
                    </a:lnTo>
                    <a:lnTo>
                      <a:pt x="23" y="151"/>
                    </a:lnTo>
                    <a:close/>
                    <a:moveTo>
                      <a:pt x="19" y="246"/>
                    </a:moveTo>
                    <a:lnTo>
                      <a:pt x="19" y="248"/>
                    </a:lnTo>
                    <a:lnTo>
                      <a:pt x="19" y="246"/>
                    </a:lnTo>
                    <a:close/>
                    <a:moveTo>
                      <a:pt x="91" y="250"/>
                    </a:moveTo>
                    <a:lnTo>
                      <a:pt x="91" y="252"/>
                    </a:lnTo>
                    <a:lnTo>
                      <a:pt x="91" y="250"/>
                    </a:lnTo>
                    <a:close/>
                    <a:moveTo>
                      <a:pt x="105" y="280"/>
                    </a:moveTo>
                    <a:lnTo>
                      <a:pt x="105" y="282"/>
                    </a:lnTo>
                    <a:lnTo>
                      <a:pt x="105" y="280"/>
                    </a:lnTo>
                    <a:close/>
                    <a:moveTo>
                      <a:pt x="103" y="269"/>
                    </a:moveTo>
                    <a:lnTo>
                      <a:pt x="105" y="269"/>
                    </a:lnTo>
                    <a:lnTo>
                      <a:pt x="103" y="269"/>
                    </a:lnTo>
                    <a:close/>
                    <a:moveTo>
                      <a:pt x="84" y="284"/>
                    </a:moveTo>
                    <a:lnTo>
                      <a:pt x="86" y="284"/>
                    </a:lnTo>
                    <a:lnTo>
                      <a:pt x="84" y="284"/>
                    </a:lnTo>
                    <a:close/>
                    <a:moveTo>
                      <a:pt x="97" y="311"/>
                    </a:moveTo>
                    <a:lnTo>
                      <a:pt x="97" y="313"/>
                    </a:lnTo>
                    <a:lnTo>
                      <a:pt x="97" y="311"/>
                    </a:lnTo>
                    <a:close/>
                    <a:moveTo>
                      <a:pt x="95" y="290"/>
                    </a:moveTo>
                    <a:lnTo>
                      <a:pt x="95" y="292"/>
                    </a:lnTo>
                    <a:lnTo>
                      <a:pt x="95" y="290"/>
                    </a:lnTo>
                    <a:close/>
                    <a:moveTo>
                      <a:pt x="23" y="156"/>
                    </a:moveTo>
                    <a:lnTo>
                      <a:pt x="25" y="156"/>
                    </a:lnTo>
                    <a:lnTo>
                      <a:pt x="23" y="156"/>
                    </a:lnTo>
                    <a:close/>
                    <a:moveTo>
                      <a:pt x="84" y="284"/>
                    </a:moveTo>
                    <a:lnTo>
                      <a:pt x="86" y="284"/>
                    </a:lnTo>
                    <a:lnTo>
                      <a:pt x="84" y="284"/>
                    </a:lnTo>
                    <a:close/>
                    <a:moveTo>
                      <a:pt x="99" y="298"/>
                    </a:moveTo>
                    <a:lnTo>
                      <a:pt x="101" y="298"/>
                    </a:lnTo>
                    <a:lnTo>
                      <a:pt x="99" y="298"/>
                    </a:lnTo>
                    <a:close/>
                    <a:moveTo>
                      <a:pt x="50" y="216"/>
                    </a:moveTo>
                    <a:lnTo>
                      <a:pt x="50" y="217"/>
                    </a:lnTo>
                    <a:lnTo>
                      <a:pt x="50" y="216"/>
                    </a:lnTo>
                    <a:close/>
                    <a:moveTo>
                      <a:pt x="101" y="292"/>
                    </a:moveTo>
                    <a:lnTo>
                      <a:pt x="101" y="294"/>
                    </a:lnTo>
                    <a:lnTo>
                      <a:pt x="101" y="292"/>
                    </a:lnTo>
                    <a:close/>
                    <a:moveTo>
                      <a:pt x="23" y="233"/>
                    </a:moveTo>
                    <a:lnTo>
                      <a:pt x="23" y="235"/>
                    </a:lnTo>
                    <a:lnTo>
                      <a:pt x="23" y="233"/>
                    </a:lnTo>
                    <a:close/>
                    <a:moveTo>
                      <a:pt x="23" y="151"/>
                    </a:moveTo>
                    <a:lnTo>
                      <a:pt x="23" y="153"/>
                    </a:lnTo>
                    <a:lnTo>
                      <a:pt x="23" y="151"/>
                    </a:lnTo>
                    <a:close/>
                    <a:moveTo>
                      <a:pt x="103" y="296"/>
                    </a:moveTo>
                    <a:lnTo>
                      <a:pt x="103" y="298"/>
                    </a:lnTo>
                    <a:lnTo>
                      <a:pt x="103" y="296"/>
                    </a:lnTo>
                    <a:close/>
                    <a:moveTo>
                      <a:pt x="103" y="269"/>
                    </a:moveTo>
                    <a:lnTo>
                      <a:pt x="105" y="269"/>
                    </a:lnTo>
                    <a:lnTo>
                      <a:pt x="103" y="269"/>
                    </a:lnTo>
                    <a:close/>
                    <a:moveTo>
                      <a:pt x="74" y="200"/>
                    </a:moveTo>
                    <a:lnTo>
                      <a:pt x="76" y="200"/>
                    </a:lnTo>
                    <a:lnTo>
                      <a:pt x="76" y="202"/>
                    </a:lnTo>
                    <a:lnTo>
                      <a:pt x="74" y="202"/>
                    </a:lnTo>
                    <a:lnTo>
                      <a:pt x="74" y="200"/>
                    </a:lnTo>
                    <a:close/>
                    <a:moveTo>
                      <a:pt x="91" y="282"/>
                    </a:moveTo>
                    <a:lnTo>
                      <a:pt x="93" y="282"/>
                    </a:lnTo>
                    <a:lnTo>
                      <a:pt x="91" y="282"/>
                    </a:lnTo>
                    <a:close/>
                    <a:moveTo>
                      <a:pt x="88" y="278"/>
                    </a:moveTo>
                    <a:lnTo>
                      <a:pt x="90" y="278"/>
                    </a:lnTo>
                    <a:lnTo>
                      <a:pt x="88" y="278"/>
                    </a:lnTo>
                    <a:close/>
                    <a:moveTo>
                      <a:pt x="91" y="311"/>
                    </a:moveTo>
                    <a:lnTo>
                      <a:pt x="93" y="311"/>
                    </a:lnTo>
                    <a:lnTo>
                      <a:pt x="91" y="311"/>
                    </a:lnTo>
                    <a:close/>
                    <a:moveTo>
                      <a:pt x="84" y="206"/>
                    </a:moveTo>
                    <a:lnTo>
                      <a:pt x="84" y="208"/>
                    </a:lnTo>
                    <a:lnTo>
                      <a:pt x="84" y="206"/>
                    </a:lnTo>
                    <a:close/>
                    <a:moveTo>
                      <a:pt x="74" y="202"/>
                    </a:moveTo>
                    <a:lnTo>
                      <a:pt x="76" y="202"/>
                    </a:lnTo>
                    <a:lnTo>
                      <a:pt x="74" y="202"/>
                    </a:lnTo>
                    <a:close/>
                    <a:moveTo>
                      <a:pt x="74" y="198"/>
                    </a:moveTo>
                    <a:lnTo>
                      <a:pt x="74" y="200"/>
                    </a:lnTo>
                    <a:lnTo>
                      <a:pt x="74" y="198"/>
                    </a:lnTo>
                    <a:close/>
                    <a:moveTo>
                      <a:pt x="50" y="216"/>
                    </a:moveTo>
                    <a:lnTo>
                      <a:pt x="51" y="216"/>
                    </a:lnTo>
                    <a:lnTo>
                      <a:pt x="51" y="217"/>
                    </a:lnTo>
                    <a:lnTo>
                      <a:pt x="50" y="217"/>
                    </a:lnTo>
                    <a:lnTo>
                      <a:pt x="50" y="216"/>
                    </a:lnTo>
                    <a:close/>
                    <a:moveTo>
                      <a:pt x="21" y="156"/>
                    </a:moveTo>
                    <a:lnTo>
                      <a:pt x="23" y="156"/>
                    </a:lnTo>
                    <a:lnTo>
                      <a:pt x="23" y="158"/>
                    </a:lnTo>
                    <a:lnTo>
                      <a:pt x="21" y="158"/>
                    </a:lnTo>
                    <a:lnTo>
                      <a:pt x="21" y="156"/>
                    </a:lnTo>
                    <a:close/>
                    <a:moveTo>
                      <a:pt x="91" y="280"/>
                    </a:moveTo>
                    <a:lnTo>
                      <a:pt x="93" y="280"/>
                    </a:lnTo>
                    <a:lnTo>
                      <a:pt x="91" y="280"/>
                    </a:lnTo>
                    <a:close/>
                    <a:moveTo>
                      <a:pt x="30" y="164"/>
                    </a:moveTo>
                    <a:lnTo>
                      <a:pt x="30" y="166"/>
                    </a:lnTo>
                    <a:lnTo>
                      <a:pt x="30" y="164"/>
                    </a:lnTo>
                    <a:close/>
                    <a:moveTo>
                      <a:pt x="91" y="319"/>
                    </a:moveTo>
                    <a:lnTo>
                      <a:pt x="93" y="319"/>
                    </a:lnTo>
                    <a:lnTo>
                      <a:pt x="93" y="320"/>
                    </a:lnTo>
                    <a:lnTo>
                      <a:pt x="91" y="320"/>
                    </a:lnTo>
                    <a:lnTo>
                      <a:pt x="91" y="319"/>
                    </a:lnTo>
                    <a:close/>
                    <a:moveTo>
                      <a:pt x="93" y="290"/>
                    </a:moveTo>
                    <a:lnTo>
                      <a:pt x="93" y="292"/>
                    </a:lnTo>
                    <a:lnTo>
                      <a:pt x="93" y="290"/>
                    </a:lnTo>
                    <a:close/>
                    <a:moveTo>
                      <a:pt x="74" y="200"/>
                    </a:moveTo>
                    <a:lnTo>
                      <a:pt x="76" y="200"/>
                    </a:lnTo>
                    <a:lnTo>
                      <a:pt x="74" y="200"/>
                    </a:lnTo>
                    <a:close/>
                    <a:moveTo>
                      <a:pt x="93" y="319"/>
                    </a:moveTo>
                    <a:lnTo>
                      <a:pt x="95" y="319"/>
                    </a:lnTo>
                    <a:lnTo>
                      <a:pt x="93" y="319"/>
                    </a:lnTo>
                    <a:close/>
                    <a:moveTo>
                      <a:pt x="95" y="265"/>
                    </a:moveTo>
                    <a:lnTo>
                      <a:pt x="95" y="267"/>
                    </a:lnTo>
                    <a:lnTo>
                      <a:pt x="95" y="265"/>
                    </a:lnTo>
                    <a:close/>
                    <a:moveTo>
                      <a:pt x="95" y="254"/>
                    </a:moveTo>
                    <a:lnTo>
                      <a:pt x="95" y="256"/>
                    </a:lnTo>
                    <a:lnTo>
                      <a:pt x="95" y="254"/>
                    </a:lnTo>
                    <a:close/>
                    <a:moveTo>
                      <a:pt x="29" y="170"/>
                    </a:moveTo>
                    <a:lnTo>
                      <a:pt x="30" y="170"/>
                    </a:lnTo>
                    <a:lnTo>
                      <a:pt x="29" y="170"/>
                    </a:lnTo>
                    <a:close/>
                    <a:moveTo>
                      <a:pt x="101" y="275"/>
                    </a:moveTo>
                    <a:lnTo>
                      <a:pt x="101" y="277"/>
                    </a:lnTo>
                    <a:lnTo>
                      <a:pt x="101" y="275"/>
                    </a:lnTo>
                    <a:close/>
                    <a:moveTo>
                      <a:pt x="101" y="261"/>
                    </a:moveTo>
                    <a:lnTo>
                      <a:pt x="101" y="263"/>
                    </a:lnTo>
                    <a:lnTo>
                      <a:pt x="101" y="261"/>
                    </a:lnTo>
                    <a:close/>
                    <a:moveTo>
                      <a:pt x="90" y="273"/>
                    </a:moveTo>
                    <a:lnTo>
                      <a:pt x="90" y="275"/>
                    </a:lnTo>
                    <a:lnTo>
                      <a:pt x="90" y="273"/>
                    </a:lnTo>
                    <a:close/>
                    <a:moveTo>
                      <a:pt x="93" y="307"/>
                    </a:moveTo>
                    <a:lnTo>
                      <a:pt x="93" y="309"/>
                    </a:lnTo>
                    <a:lnTo>
                      <a:pt x="93" y="307"/>
                    </a:lnTo>
                    <a:close/>
                    <a:moveTo>
                      <a:pt x="95" y="250"/>
                    </a:moveTo>
                    <a:lnTo>
                      <a:pt x="97" y="250"/>
                    </a:lnTo>
                    <a:lnTo>
                      <a:pt x="95" y="250"/>
                    </a:lnTo>
                    <a:close/>
                    <a:moveTo>
                      <a:pt x="101" y="277"/>
                    </a:moveTo>
                    <a:lnTo>
                      <a:pt x="101" y="278"/>
                    </a:lnTo>
                    <a:lnTo>
                      <a:pt x="101" y="277"/>
                    </a:lnTo>
                    <a:close/>
                    <a:moveTo>
                      <a:pt x="105" y="282"/>
                    </a:moveTo>
                    <a:lnTo>
                      <a:pt x="105" y="284"/>
                    </a:lnTo>
                    <a:lnTo>
                      <a:pt x="105" y="282"/>
                    </a:lnTo>
                    <a:close/>
                    <a:moveTo>
                      <a:pt x="29" y="164"/>
                    </a:moveTo>
                    <a:lnTo>
                      <a:pt x="30" y="164"/>
                    </a:lnTo>
                    <a:lnTo>
                      <a:pt x="29" y="164"/>
                    </a:lnTo>
                    <a:close/>
                    <a:moveTo>
                      <a:pt x="103" y="273"/>
                    </a:moveTo>
                    <a:lnTo>
                      <a:pt x="103" y="275"/>
                    </a:lnTo>
                    <a:lnTo>
                      <a:pt x="103" y="273"/>
                    </a:lnTo>
                    <a:close/>
                    <a:moveTo>
                      <a:pt x="95" y="282"/>
                    </a:moveTo>
                    <a:lnTo>
                      <a:pt x="97" y="282"/>
                    </a:lnTo>
                    <a:lnTo>
                      <a:pt x="97" y="284"/>
                    </a:lnTo>
                    <a:lnTo>
                      <a:pt x="95" y="284"/>
                    </a:lnTo>
                    <a:lnTo>
                      <a:pt x="95" y="282"/>
                    </a:lnTo>
                    <a:close/>
                    <a:moveTo>
                      <a:pt x="86" y="212"/>
                    </a:moveTo>
                    <a:lnTo>
                      <a:pt x="88" y="212"/>
                    </a:lnTo>
                    <a:lnTo>
                      <a:pt x="86" y="212"/>
                    </a:lnTo>
                    <a:close/>
                    <a:moveTo>
                      <a:pt x="48" y="221"/>
                    </a:moveTo>
                    <a:lnTo>
                      <a:pt x="50" y="221"/>
                    </a:lnTo>
                    <a:lnTo>
                      <a:pt x="48" y="221"/>
                    </a:lnTo>
                    <a:close/>
                    <a:moveTo>
                      <a:pt x="101" y="275"/>
                    </a:moveTo>
                    <a:lnTo>
                      <a:pt x="103" y="275"/>
                    </a:lnTo>
                    <a:lnTo>
                      <a:pt x="101" y="275"/>
                    </a:lnTo>
                    <a:close/>
                    <a:moveTo>
                      <a:pt x="101" y="313"/>
                    </a:moveTo>
                    <a:lnTo>
                      <a:pt x="101" y="315"/>
                    </a:lnTo>
                    <a:lnTo>
                      <a:pt x="101" y="313"/>
                    </a:lnTo>
                    <a:close/>
                    <a:moveTo>
                      <a:pt x="74" y="198"/>
                    </a:moveTo>
                    <a:lnTo>
                      <a:pt x="74" y="200"/>
                    </a:lnTo>
                    <a:lnTo>
                      <a:pt x="74" y="198"/>
                    </a:lnTo>
                    <a:close/>
                    <a:moveTo>
                      <a:pt x="46" y="217"/>
                    </a:moveTo>
                    <a:lnTo>
                      <a:pt x="46" y="219"/>
                    </a:lnTo>
                    <a:lnTo>
                      <a:pt x="46" y="217"/>
                    </a:lnTo>
                    <a:close/>
                    <a:moveTo>
                      <a:pt x="21" y="156"/>
                    </a:moveTo>
                    <a:lnTo>
                      <a:pt x="23" y="156"/>
                    </a:lnTo>
                    <a:lnTo>
                      <a:pt x="23" y="158"/>
                    </a:lnTo>
                    <a:lnTo>
                      <a:pt x="21" y="158"/>
                    </a:lnTo>
                    <a:lnTo>
                      <a:pt x="21" y="156"/>
                    </a:lnTo>
                    <a:close/>
                    <a:moveTo>
                      <a:pt x="86" y="208"/>
                    </a:moveTo>
                    <a:lnTo>
                      <a:pt x="88" y="208"/>
                    </a:lnTo>
                    <a:lnTo>
                      <a:pt x="88" y="210"/>
                    </a:lnTo>
                    <a:lnTo>
                      <a:pt x="86" y="210"/>
                    </a:lnTo>
                    <a:lnTo>
                      <a:pt x="86" y="208"/>
                    </a:lnTo>
                    <a:close/>
                    <a:moveTo>
                      <a:pt x="93" y="319"/>
                    </a:moveTo>
                    <a:lnTo>
                      <a:pt x="95" y="319"/>
                    </a:lnTo>
                    <a:lnTo>
                      <a:pt x="93" y="319"/>
                    </a:lnTo>
                    <a:close/>
                    <a:moveTo>
                      <a:pt x="103" y="278"/>
                    </a:moveTo>
                    <a:lnTo>
                      <a:pt x="105" y="278"/>
                    </a:lnTo>
                    <a:lnTo>
                      <a:pt x="103" y="278"/>
                    </a:lnTo>
                    <a:close/>
                    <a:moveTo>
                      <a:pt x="84" y="206"/>
                    </a:moveTo>
                    <a:lnTo>
                      <a:pt x="84" y="208"/>
                    </a:lnTo>
                    <a:lnTo>
                      <a:pt x="84" y="206"/>
                    </a:lnTo>
                    <a:close/>
                    <a:moveTo>
                      <a:pt x="36" y="214"/>
                    </a:moveTo>
                    <a:lnTo>
                      <a:pt x="36" y="216"/>
                    </a:lnTo>
                    <a:lnTo>
                      <a:pt x="36" y="214"/>
                    </a:lnTo>
                    <a:close/>
                    <a:moveTo>
                      <a:pt x="103" y="298"/>
                    </a:moveTo>
                    <a:lnTo>
                      <a:pt x="105" y="298"/>
                    </a:lnTo>
                    <a:lnTo>
                      <a:pt x="103" y="298"/>
                    </a:lnTo>
                    <a:close/>
                    <a:moveTo>
                      <a:pt x="40" y="214"/>
                    </a:moveTo>
                    <a:lnTo>
                      <a:pt x="40" y="216"/>
                    </a:lnTo>
                    <a:lnTo>
                      <a:pt x="40" y="214"/>
                    </a:lnTo>
                    <a:close/>
                    <a:moveTo>
                      <a:pt x="97" y="305"/>
                    </a:moveTo>
                    <a:lnTo>
                      <a:pt x="97" y="307"/>
                    </a:lnTo>
                    <a:lnTo>
                      <a:pt x="97" y="305"/>
                    </a:lnTo>
                    <a:close/>
                    <a:moveTo>
                      <a:pt x="86" y="212"/>
                    </a:moveTo>
                    <a:lnTo>
                      <a:pt x="88" y="212"/>
                    </a:lnTo>
                    <a:lnTo>
                      <a:pt x="86" y="212"/>
                    </a:lnTo>
                    <a:close/>
                    <a:moveTo>
                      <a:pt x="91" y="277"/>
                    </a:moveTo>
                    <a:lnTo>
                      <a:pt x="91" y="278"/>
                    </a:lnTo>
                    <a:lnTo>
                      <a:pt x="91" y="277"/>
                    </a:lnTo>
                    <a:close/>
                    <a:moveTo>
                      <a:pt x="105" y="275"/>
                    </a:moveTo>
                    <a:lnTo>
                      <a:pt x="105" y="277"/>
                    </a:lnTo>
                    <a:lnTo>
                      <a:pt x="105" y="275"/>
                    </a:lnTo>
                    <a:close/>
                    <a:moveTo>
                      <a:pt x="95" y="284"/>
                    </a:moveTo>
                    <a:lnTo>
                      <a:pt x="97" y="284"/>
                    </a:lnTo>
                    <a:lnTo>
                      <a:pt x="95" y="284"/>
                    </a:lnTo>
                    <a:close/>
                    <a:moveTo>
                      <a:pt x="93" y="278"/>
                    </a:moveTo>
                    <a:lnTo>
                      <a:pt x="93" y="280"/>
                    </a:lnTo>
                    <a:lnTo>
                      <a:pt x="93" y="278"/>
                    </a:lnTo>
                    <a:close/>
                    <a:moveTo>
                      <a:pt x="91" y="280"/>
                    </a:moveTo>
                    <a:lnTo>
                      <a:pt x="91" y="282"/>
                    </a:lnTo>
                    <a:lnTo>
                      <a:pt x="91" y="280"/>
                    </a:lnTo>
                    <a:close/>
                    <a:moveTo>
                      <a:pt x="74" y="200"/>
                    </a:moveTo>
                    <a:lnTo>
                      <a:pt x="74" y="202"/>
                    </a:lnTo>
                    <a:lnTo>
                      <a:pt x="74" y="200"/>
                    </a:lnTo>
                    <a:close/>
                    <a:moveTo>
                      <a:pt x="25" y="154"/>
                    </a:moveTo>
                    <a:lnTo>
                      <a:pt x="25" y="156"/>
                    </a:lnTo>
                    <a:lnTo>
                      <a:pt x="25" y="154"/>
                    </a:lnTo>
                    <a:close/>
                    <a:moveTo>
                      <a:pt x="32" y="206"/>
                    </a:moveTo>
                    <a:lnTo>
                      <a:pt x="34" y="206"/>
                    </a:lnTo>
                    <a:lnTo>
                      <a:pt x="32" y="206"/>
                    </a:lnTo>
                    <a:close/>
                    <a:moveTo>
                      <a:pt x="95" y="303"/>
                    </a:moveTo>
                    <a:lnTo>
                      <a:pt x="95" y="305"/>
                    </a:lnTo>
                    <a:lnTo>
                      <a:pt x="95" y="303"/>
                    </a:lnTo>
                    <a:close/>
                    <a:moveTo>
                      <a:pt x="97" y="277"/>
                    </a:moveTo>
                    <a:lnTo>
                      <a:pt x="97" y="278"/>
                    </a:lnTo>
                    <a:lnTo>
                      <a:pt x="97" y="277"/>
                    </a:lnTo>
                    <a:close/>
                    <a:moveTo>
                      <a:pt x="93" y="275"/>
                    </a:moveTo>
                    <a:lnTo>
                      <a:pt x="95" y="275"/>
                    </a:lnTo>
                    <a:lnTo>
                      <a:pt x="95" y="277"/>
                    </a:lnTo>
                    <a:lnTo>
                      <a:pt x="93" y="277"/>
                    </a:lnTo>
                    <a:lnTo>
                      <a:pt x="93" y="275"/>
                    </a:lnTo>
                    <a:close/>
                    <a:moveTo>
                      <a:pt x="97" y="290"/>
                    </a:moveTo>
                    <a:lnTo>
                      <a:pt x="97" y="292"/>
                    </a:lnTo>
                    <a:lnTo>
                      <a:pt x="97" y="290"/>
                    </a:lnTo>
                    <a:close/>
                    <a:moveTo>
                      <a:pt x="88" y="206"/>
                    </a:moveTo>
                    <a:lnTo>
                      <a:pt x="88" y="208"/>
                    </a:lnTo>
                    <a:lnTo>
                      <a:pt x="88" y="206"/>
                    </a:lnTo>
                    <a:close/>
                    <a:moveTo>
                      <a:pt x="86" y="206"/>
                    </a:moveTo>
                    <a:lnTo>
                      <a:pt x="88" y="206"/>
                    </a:lnTo>
                    <a:lnTo>
                      <a:pt x="88" y="208"/>
                    </a:lnTo>
                    <a:lnTo>
                      <a:pt x="86" y="208"/>
                    </a:lnTo>
                    <a:lnTo>
                      <a:pt x="86" y="206"/>
                    </a:lnTo>
                    <a:close/>
                    <a:moveTo>
                      <a:pt x="95" y="256"/>
                    </a:moveTo>
                    <a:lnTo>
                      <a:pt x="97" y="256"/>
                    </a:lnTo>
                    <a:lnTo>
                      <a:pt x="95" y="256"/>
                    </a:lnTo>
                    <a:close/>
                    <a:moveTo>
                      <a:pt x="97" y="305"/>
                    </a:moveTo>
                    <a:lnTo>
                      <a:pt x="97" y="307"/>
                    </a:lnTo>
                    <a:lnTo>
                      <a:pt x="97" y="305"/>
                    </a:lnTo>
                    <a:close/>
                    <a:moveTo>
                      <a:pt x="103" y="290"/>
                    </a:moveTo>
                    <a:lnTo>
                      <a:pt x="105" y="290"/>
                    </a:lnTo>
                    <a:lnTo>
                      <a:pt x="103" y="290"/>
                    </a:lnTo>
                    <a:close/>
                    <a:moveTo>
                      <a:pt x="95" y="250"/>
                    </a:moveTo>
                    <a:lnTo>
                      <a:pt x="97" y="250"/>
                    </a:lnTo>
                    <a:lnTo>
                      <a:pt x="97" y="252"/>
                    </a:lnTo>
                    <a:lnTo>
                      <a:pt x="95" y="252"/>
                    </a:lnTo>
                    <a:lnTo>
                      <a:pt x="95" y="250"/>
                    </a:lnTo>
                    <a:close/>
                    <a:moveTo>
                      <a:pt x="46" y="214"/>
                    </a:moveTo>
                    <a:lnTo>
                      <a:pt x="48" y="214"/>
                    </a:lnTo>
                    <a:lnTo>
                      <a:pt x="46" y="214"/>
                    </a:lnTo>
                    <a:close/>
                    <a:moveTo>
                      <a:pt x="44" y="212"/>
                    </a:moveTo>
                    <a:lnTo>
                      <a:pt x="44" y="214"/>
                    </a:lnTo>
                    <a:lnTo>
                      <a:pt x="44" y="212"/>
                    </a:lnTo>
                    <a:close/>
                    <a:moveTo>
                      <a:pt x="44" y="212"/>
                    </a:moveTo>
                    <a:lnTo>
                      <a:pt x="44" y="214"/>
                    </a:lnTo>
                    <a:lnTo>
                      <a:pt x="44" y="212"/>
                    </a:lnTo>
                    <a:close/>
                    <a:moveTo>
                      <a:pt x="97" y="267"/>
                    </a:moveTo>
                    <a:lnTo>
                      <a:pt x="99" y="267"/>
                    </a:lnTo>
                    <a:lnTo>
                      <a:pt x="97" y="267"/>
                    </a:lnTo>
                    <a:close/>
                    <a:moveTo>
                      <a:pt x="21" y="156"/>
                    </a:moveTo>
                    <a:lnTo>
                      <a:pt x="23" y="156"/>
                    </a:lnTo>
                    <a:lnTo>
                      <a:pt x="21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9" name="Freeform 159">
                <a:extLst>
                  <a:ext uri="{FF2B5EF4-FFF2-40B4-BE49-F238E27FC236}">
                    <a16:creationId xmlns:a16="http://schemas.microsoft.com/office/drawing/2014/main" id="{565B1694-1134-F42D-B366-88C73B25E3B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57896" y="-2283870"/>
                <a:ext cx="132349" cy="112077"/>
              </a:xfrm>
              <a:custGeom>
                <a:avLst/>
                <a:gdLst>
                  <a:gd name="T0" fmla="*/ 80 w 84"/>
                  <a:gd name="T1" fmla="*/ 6 h 71"/>
                  <a:gd name="T2" fmla="*/ 82 w 84"/>
                  <a:gd name="T3" fmla="*/ 14 h 71"/>
                  <a:gd name="T4" fmla="*/ 82 w 84"/>
                  <a:gd name="T5" fmla="*/ 29 h 71"/>
                  <a:gd name="T6" fmla="*/ 82 w 84"/>
                  <a:gd name="T7" fmla="*/ 39 h 71"/>
                  <a:gd name="T8" fmla="*/ 78 w 84"/>
                  <a:gd name="T9" fmla="*/ 41 h 71"/>
                  <a:gd name="T10" fmla="*/ 74 w 84"/>
                  <a:gd name="T11" fmla="*/ 42 h 71"/>
                  <a:gd name="T12" fmla="*/ 69 w 84"/>
                  <a:gd name="T13" fmla="*/ 46 h 71"/>
                  <a:gd name="T14" fmla="*/ 65 w 84"/>
                  <a:gd name="T15" fmla="*/ 46 h 71"/>
                  <a:gd name="T16" fmla="*/ 61 w 84"/>
                  <a:gd name="T17" fmla="*/ 48 h 71"/>
                  <a:gd name="T18" fmla="*/ 57 w 84"/>
                  <a:gd name="T19" fmla="*/ 50 h 71"/>
                  <a:gd name="T20" fmla="*/ 57 w 84"/>
                  <a:gd name="T21" fmla="*/ 54 h 71"/>
                  <a:gd name="T22" fmla="*/ 57 w 84"/>
                  <a:gd name="T23" fmla="*/ 56 h 71"/>
                  <a:gd name="T24" fmla="*/ 61 w 84"/>
                  <a:gd name="T25" fmla="*/ 62 h 71"/>
                  <a:gd name="T26" fmla="*/ 57 w 84"/>
                  <a:gd name="T27" fmla="*/ 63 h 71"/>
                  <a:gd name="T28" fmla="*/ 48 w 84"/>
                  <a:gd name="T29" fmla="*/ 63 h 71"/>
                  <a:gd name="T30" fmla="*/ 42 w 84"/>
                  <a:gd name="T31" fmla="*/ 67 h 71"/>
                  <a:gd name="T32" fmla="*/ 34 w 84"/>
                  <a:gd name="T33" fmla="*/ 71 h 71"/>
                  <a:gd name="T34" fmla="*/ 29 w 84"/>
                  <a:gd name="T35" fmla="*/ 69 h 71"/>
                  <a:gd name="T36" fmla="*/ 23 w 84"/>
                  <a:gd name="T37" fmla="*/ 69 h 71"/>
                  <a:gd name="T38" fmla="*/ 19 w 84"/>
                  <a:gd name="T39" fmla="*/ 67 h 71"/>
                  <a:gd name="T40" fmla="*/ 21 w 84"/>
                  <a:gd name="T41" fmla="*/ 60 h 71"/>
                  <a:gd name="T42" fmla="*/ 17 w 84"/>
                  <a:gd name="T43" fmla="*/ 58 h 71"/>
                  <a:gd name="T44" fmla="*/ 17 w 84"/>
                  <a:gd name="T45" fmla="*/ 63 h 71"/>
                  <a:gd name="T46" fmla="*/ 11 w 84"/>
                  <a:gd name="T47" fmla="*/ 63 h 71"/>
                  <a:gd name="T48" fmla="*/ 11 w 84"/>
                  <a:gd name="T49" fmla="*/ 58 h 71"/>
                  <a:gd name="T50" fmla="*/ 11 w 84"/>
                  <a:gd name="T51" fmla="*/ 56 h 71"/>
                  <a:gd name="T52" fmla="*/ 13 w 84"/>
                  <a:gd name="T53" fmla="*/ 52 h 71"/>
                  <a:gd name="T54" fmla="*/ 10 w 84"/>
                  <a:gd name="T55" fmla="*/ 50 h 71"/>
                  <a:gd name="T56" fmla="*/ 11 w 84"/>
                  <a:gd name="T57" fmla="*/ 50 h 71"/>
                  <a:gd name="T58" fmla="*/ 10 w 84"/>
                  <a:gd name="T59" fmla="*/ 50 h 71"/>
                  <a:gd name="T60" fmla="*/ 10 w 84"/>
                  <a:gd name="T61" fmla="*/ 48 h 71"/>
                  <a:gd name="T62" fmla="*/ 6 w 84"/>
                  <a:gd name="T63" fmla="*/ 39 h 71"/>
                  <a:gd name="T64" fmla="*/ 4 w 84"/>
                  <a:gd name="T65" fmla="*/ 35 h 71"/>
                  <a:gd name="T66" fmla="*/ 2 w 84"/>
                  <a:gd name="T67" fmla="*/ 29 h 71"/>
                  <a:gd name="T68" fmla="*/ 0 w 84"/>
                  <a:gd name="T69" fmla="*/ 23 h 71"/>
                  <a:gd name="T70" fmla="*/ 6 w 84"/>
                  <a:gd name="T71" fmla="*/ 16 h 71"/>
                  <a:gd name="T72" fmla="*/ 11 w 84"/>
                  <a:gd name="T73" fmla="*/ 8 h 71"/>
                  <a:gd name="T74" fmla="*/ 15 w 84"/>
                  <a:gd name="T75" fmla="*/ 6 h 71"/>
                  <a:gd name="T76" fmla="*/ 21 w 84"/>
                  <a:gd name="T77" fmla="*/ 6 h 71"/>
                  <a:gd name="T78" fmla="*/ 31 w 84"/>
                  <a:gd name="T79" fmla="*/ 6 h 71"/>
                  <a:gd name="T80" fmla="*/ 40 w 84"/>
                  <a:gd name="T81" fmla="*/ 4 h 71"/>
                  <a:gd name="T82" fmla="*/ 46 w 84"/>
                  <a:gd name="T83" fmla="*/ 8 h 71"/>
                  <a:gd name="T84" fmla="*/ 50 w 84"/>
                  <a:gd name="T85" fmla="*/ 10 h 71"/>
                  <a:gd name="T86" fmla="*/ 59 w 84"/>
                  <a:gd name="T87" fmla="*/ 14 h 71"/>
                  <a:gd name="T88" fmla="*/ 59 w 84"/>
                  <a:gd name="T89" fmla="*/ 8 h 71"/>
                  <a:gd name="T90" fmla="*/ 67 w 84"/>
                  <a:gd name="T91" fmla="*/ 4 h 71"/>
                  <a:gd name="T92" fmla="*/ 69 w 84"/>
                  <a:gd name="T93" fmla="*/ 4 h 71"/>
                  <a:gd name="T94" fmla="*/ 73 w 84"/>
                  <a:gd name="T95" fmla="*/ 6 h 71"/>
                  <a:gd name="T96" fmla="*/ 76 w 84"/>
                  <a:gd name="T97" fmla="*/ 4 h 71"/>
                  <a:gd name="T98" fmla="*/ 82 w 84"/>
                  <a:gd name="T99" fmla="*/ 4 h 71"/>
                  <a:gd name="T100" fmla="*/ 11 w 84"/>
                  <a:gd name="T101" fmla="*/ 54 h 71"/>
                  <a:gd name="T102" fmla="*/ 15 w 84"/>
                  <a:gd name="T103" fmla="*/ 65 h 71"/>
                  <a:gd name="T104" fmla="*/ 11 w 84"/>
                  <a:gd name="T105" fmla="*/ 52 h 71"/>
                  <a:gd name="T106" fmla="*/ 23 w 84"/>
                  <a:gd name="T107" fmla="*/ 71 h 71"/>
                  <a:gd name="T108" fmla="*/ 29 w 84"/>
                  <a:gd name="T109" fmla="*/ 67 h 71"/>
                  <a:gd name="T110" fmla="*/ 19 w 84"/>
                  <a:gd name="T111" fmla="*/ 69 h 71"/>
                  <a:gd name="T112" fmla="*/ 11 w 84"/>
                  <a:gd name="T113" fmla="*/ 5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4" h="71">
                    <a:moveTo>
                      <a:pt x="84" y="0"/>
                    </a:moveTo>
                    <a:lnTo>
                      <a:pt x="82" y="2"/>
                    </a:lnTo>
                    <a:lnTo>
                      <a:pt x="82" y="4"/>
                    </a:lnTo>
                    <a:lnTo>
                      <a:pt x="82" y="6"/>
                    </a:lnTo>
                    <a:lnTo>
                      <a:pt x="80" y="6"/>
                    </a:lnTo>
                    <a:lnTo>
                      <a:pt x="80" y="8"/>
                    </a:lnTo>
                    <a:lnTo>
                      <a:pt x="80" y="10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84" y="20"/>
                    </a:lnTo>
                    <a:lnTo>
                      <a:pt x="84" y="23"/>
                    </a:lnTo>
                    <a:lnTo>
                      <a:pt x="82" y="27"/>
                    </a:lnTo>
                    <a:lnTo>
                      <a:pt x="82" y="29"/>
                    </a:lnTo>
                    <a:lnTo>
                      <a:pt x="82" y="31"/>
                    </a:lnTo>
                    <a:lnTo>
                      <a:pt x="84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2" y="39"/>
                    </a:lnTo>
                    <a:lnTo>
                      <a:pt x="82" y="41"/>
                    </a:lnTo>
                    <a:lnTo>
                      <a:pt x="80" y="41"/>
                    </a:lnTo>
                    <a:lnTo>
                      <a:pt x="80" y="39"/>
                    </a:lnTo>
                    <a:lnTo>
                      <a:pt x="80" y="41"/>
                    </a:lnTo>
                    <a:lnTo>
                      <a:pt x="78" y="41"/>
                    </a:lnTo>
                    <a:lnTo>
                      <a:pt x="76" y="41"/>
                    </a:lnTo>
                    <a:lnTo>
                      <a:pt x="76" y="42"/>
                    </a:lnTo>
                    <a:lnTo>
                      <a:pt x="74" y="42"/>
                    </a:lnTo>
                    <a:lnTo>
                      <a:pt x="76" y="42"/>
                    </a:lnTo>
                    <a:lnTo>
                      <a:pt x="74" y="42"/>
                    </a:lnTo>
                    <a:lnTo>
                      <a:pt x="74" y="44"/>
                    </a:lnTo>
                    <a:lnTo>
                      <a:pt x="73" y="44"/>
                    </a:lnTo>
                    <a:lnTo>
                      <a:pt x="71" y="44"/>
                    </a:lnTo>
                    <a:lnTo>
                      <a:pt x="71" y="46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69" y="46"/>
                    </a:lnTo>
                    <a:lnTo>
                      <a:pt x="67" y="46"/>
                    </a:lnTo>
                    <a:lnTo>
                      <a:pt x="65" y="44"/>
                    </a:lnTo>
                    <a:lnTo>
                      <a:pt x="65" y="46"/>
                    </a:lnTo>
                    <a:lnTo>
                      <a:pt x="65" y="48"/>
                    </a:lnTo>
                    <a:lnTo>
                      <a:pt x="65" y="50"/>
                    </a:lnTo>
                    <a:lnTo>
                      <a:pt x="63" y="50"/>
                    </a:lnTo>
                    <a:lnTo>
                      <a:pt x="61" y="50"/>
                    </a:lnTo>
                    <a:lnTo>
                      <a:pt x="61" y="48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9" y="48"/>
                    </a:lnTo>
                    <a:lnTo>
                      <a:pt x="59" y="50"/>
                    </a:lnTo>
                    <a:lnTo>
                      <a:pt x="57" y="50"/>
                    </a:lnTo>
                    <a:lnTo>
                      <a:pt x="55" y="50"/>
                    </a:lnTo>
                    <a:lnTo>
                      <a:pt x="55" y="52"/>
                    </a:lnTo>
                    <a:lnTo>
                      <a:pt x="57" y="52"/>
                    </a:lnTo>
                    <a:lnTo>
                      <a:pt x="55" y="54"/>
                    </a:lnTo>
                    <a:lnTo>
                      <a:pt x="57" y="54"/>
                    </a:lnTo>
                    <a:lnTo>
                      <a:pt x="55" y="54"/>
                    </a:lnTo>
                    <a:lnTo>
                      <a:pt x="55" y="56"/>
                    </a:lnTo>
                    <a:lnTo>
                      <a:pt x="57" y="56"/>
                    </a:lnTo>
                    <a:lnTo>
                      <a:pt x="55" y="56"/>
                    </a:lnTo>
                    <a:lnTo>
                      <a:pt x="57" y="56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60"/>
                    </a:lnTo>
                    <a:lnTo>
                      <a:pt x="61" y="60"/>
                    </a:lnTo>
                    <a:lnTo>
                      <a:pt x="61" y="62"/>
                    </a:lnTo>
                    <a:lnTo>
                      <a:pt x="61" y="63"/>
                    </a:lnTo>
                    <a:lnTo>
                      <a:pt x="61" y="65"/>
                    </a:lnTo>
                    <a:lnTo>
                      <a:pt x="61" y="63"/>
                    </a:lnTo>
                    <a:lnTo>
                      <a:pt x="59" y="63"/>
                    </a:lnTo>
                    <a:lnTo>
                      <a:pt x="57" y="63"/>
                    </a:lnTo>
                    <a:lnTo>
                      <a:pt x="55" y="63"/>
                    </a:lnTo>
                    <a:lnTo>
                      <a:pt x="55" y="62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8" y="63"/>
                    </a:lnTo>
                    <a:lnTo>
                      <a:pt x="44" y="63"/>
                    </a:lnTo>
                    <a:lnTo>
                      <a:pt x="44" y="62"/>
                    </a:lnTo>
                    <a:lnTo>
                      <a:pt x="42" y="63"/>
                    </a:lnTo>
                    <a:lnTo>
                      <a:pt x="44" y="65"/>
                    </a:lnTo>
                    <a:lnTo>
                      <a:pt x="42" y="67"/>
                    </a:lnTo>
                    <a:lnTo>
                      <a:pt x="40" y="69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4" y="71"/>
                    </a:lnTo>
                    <a:lnTo>
                      <a:pt x="32" y="71"/>
                    </a:lnTo>
                    <a:lnTo>
                      <a:pt x="32" y="69"/>
                    </a:lnTo>
                    <a:lnTo>
                      <a:pt x="31" y="69"/>
                    </a:lnTo>
                    <a:lnTo>
                      <a:pt x="29" y="67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5" y="67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3" y="69"/>
                    </a:lnTo>
                    <a:lnTo>
                      <a:pt x="21" y="69"/>
                    </a:lnTo>
                    <a:lnTo>
                      <a:pt x="23" y="69"/>
                    </a:lnTo>
                    <a:lnTo>
                      <a:pt x="21" y="69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21" y="65"/>
                    </a:lnTo>
                    <a:lnTo>
                      <a:pt x="21" y="63"/>
                    </a:lnTo>
                    <a:lnTo>
                      <a:pt x="21" y="62"/>
                    </a:lnTo>
                    <a:lnTo>
                      <a:pt x="21" y="60"/>
                    </a:lnTo>
                    <a:lnTo>
                      <a:pt x="23" y="60"/>
                    </a:lnTo>
                    <a:lnTo>
                      <a:pt x="21" y="60"/>
                    </a:lnTo>
                    <a:lnTo>
                      <a:pt x="19" y="60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9" y="58"/>
                    </a:lnTo>
                    <a:lnTo>
                      <a:pt x="19" y="60"/>
                    </a:lnTo>
                    <a:lnTo>
                      <a:pt x="17" y="60"/>
                    </a:lnTo>
                    <a:lnTo>
                      <a:pt x="17" y="62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5" y="62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3" y="56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13" y="54"/>
                    </a:lnTo>
                    <a:lnTo>
                      <a:pt x="15" y="56"/>
                    </a:lnTo>
                    <a:lnTo>
                      <a:pt x="13" y="54"/>
                    </a:lnTo>
                    <a:lnTo>
                      <a:pt x="13" y="52"/>
                    </a:lnTo>
                    <a:lnTo>
                      <a:pt x="13" y="54"/>
                    </a:lnTo>
                    <a:lnTo>
                      <a:pt x="11" y="54"/>
                    </a:lnTo>
                    <a:lnTo>
                      <a:pt x="11" y="52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6" y="42"/>
                    </a:lnTo>
                    <a:lnTo>
                      <a:pt x="6" y="39"/>
                    </a:lnTo>
                    <a:lnTo>
                      <a:pt x="8" y="39"/>
                    </a:lnTo>
                    <a:lnTo>
                      <a:pt x="8" y="37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4" y="35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8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8"/>
                    </a:lnTo>
                    <a:lnTo>
                      <a:pt x="46" y="10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3" y="10"/>
                    </a:lnTo>
                    <a:lnTo>
                      <a:pt x="55" y="12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59" y="12"/>
                    </a:lnTo>
                    <a:lnTo>
                      <a:pt x="61" y="12"/>
                    </a:lnTo>
                    <a:lnTo>
                      <a:pt x="61" y="10"/>
                    </a:lnTo>
                    <a:lnTo>
                      <a:pt x="59" y="10"/>
                    </a:lnTo>
                    <a:lnTo>
                      <a:pt x="59" y="8"/>
                    </a:lnTo>
                    <a:lnTo>
                      <a:pt x="59" y="6"/>
                    </a:lnTo>
                    <a:lnTo>
                      <a:pt x="61" y="6"/>
                    </a:lnTo>
                    <a:lnTo>
                      <a:pt x="63" y="4"/>
                    </a:lnTo>
                    <a:lnTo>
                      <a:pt x="65" y="4"/>
                    </a:lnTo>
                    <a:lnTo>
                      <a:pt x="67" y="4"/>
                    </a:lnTo>
                    <a:lnTo>
                      <a:pt x="65" y="4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71" y="6"/>
                    </a:lnTo>
                    <a:lnTo>
                      <a:pt x="71" y="8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4" y="8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6" y="6"/>
                    </a:lnTo>
                    <a:lnTo>
                      <a:pt x="76" y="4"/>
                    </a:lnTo>
                    <a:lnTo>
                      <a:pt x="78" y="4"/>
                    </a:lnTo>
                    <a:lnTo>
                      <a:pt x="78" y="2"/>
                    </a:lnTo>
                    <a:lnTo>
                      <a:pt x="80" y="2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2"/>
                    </a:lnTo>
                    <a:lnTo>
                      <a:pt x="82" y="0"/>
                    </a:lnTo>
                    <a:lnTo>
                      <a:pt x="84" y="0"/>
                    </a:lnTo>
                    <a:close/>
                    <a:moveTo>
                      <a:pt x="10" y="54"/>
                    </a:moveTo>
                    <a:lnTo>
                      <a:pt x="11" y="54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10" y="54"/>
                    </a:lnTo>
                    <a:close/>
                    <a:moveTo>
                      <a:pt x="13" y="65"/>
                    </a:moveTo>
                    <a:lnTo>
                      <a:pt x="15" y="65"/>
                    </a:lnTo>
                    <a:lnTo>
                      <a:pt x="15" y="67"/>
                    </a:lnTo>
                    <a:lnTo>
                      <a:pt x="13" y="67"/>
                    </a:lnTo>
                    <a:lnTo>
                      <a:pt x="13" y="65"/>
                    </a:lnTo>
                    <a:close/>
                    <a:moveTo>
                      <a:pt x="10" y="52"/>
                    </a:moveTo>
                    <a:lnTo>
                      <a:pt x="11" y="52"/>
                    </a:lnTo>
                    <a:lnTo>
                      <a:pt x="11" y="54"/>
                    </a:lnTo>
                    <a:lnTo>
                      <a:pt x="10" y="54"/>
                    </a:lnTo>
                    <a:lnTo>
                      <a:pt x="10" y="52"/>
                    </a:lnTo>
                    <a:close/>
                    <a:moveTo>
                      <a:pt x="23" y="69"/>
                    </a:moveTo>
                    <a:lnTo>
                      <a:pt x="23" y="71"/>
                    </a:lnTo>
                    <a:lnTo>
                      <a:pt x="23" y="69"/>
                    </a:lnTo>
                    <a:close/>
                    <a:moveTo>
                      <a:pt x="15" y="67"/>
                    </a:moveTo>
                    <a:lnTo>
                      <a:pt x="15" y="69"/>
                    </a:lnTo>
                    <a:lnTo>
                      <a:pt x="15" y="67"/>
                    </a:lnTo>
                    <a:close/>
                    <a:moveTo>
                      <a:pt x="29" y="67"/>
                    </a:moveTo>
                    <a:lnTo>
                      <a:pt x="31" y="67"/>
                    </a:lnTo>
                    <a:lnTo>
                      <a:pt x="31" y="69"/>
                    </a:lnTo>
                    <a:lnTo>
                      <a:pt x="29" y="69"/>
                    </a:lnTo>
                    <a:lnTo>
                      <a:pt x="29" y="67"/>
                    </a:lnTo>
                    <a:close/>
                    <a:moveTo>
                      <a:pt x="19" y="69"/>
                    </a:moveTo>
                    <a:lnTo>
                      <a:pt x="21" y="69"/>
                    </a:lnTo>
                    <a:lnTo>
                      <a:pt x="19" y="69"/>
                    </a:lnTo>
                    <a:close/>
                    <a:moveTo>
                      <a:pt x="11" y="54"/>
                    </a:moveTo>
                    <a:lnTo>
                      <a:pt x="13" y="54"/>
                    </a:lnTo>
                    <a:lnTo>
                      <a:pt x="11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0" name="Freeform 160">
                <a:extLst>
                  <a:ext uri="{FF2B5EF4-FFF2-40B4-BE49-F238E27FC236}">
                    <a16:creationId xmlns:a16="http://schemas.microsoft.com/office/drawing/2014/main" id="{87F6372B-4B7E-E2CD-243A-9CDC511E9F1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531848" y="-2433831"/>
                <a:ext cx="207978" cy="382007"/>
              </a:xfrm>
              <a:custGeom>
                <a:avLst/>
                <a:gdLst>
                  <a:gd name="T0" fmla="*/ 53 w 132"/>
                  <a:gd name="T1" fmla="*/ 15 h 242"/>
                  <a:gd name="T2" fmla="*/ 63 w 132"/>
                  <a:gd name="T3" fmla="*/ 25 h 242"/>
                  <a:gd name="T4" fmla="*/ 59 w 132"/>
                  <a:gd name="T5" fmla="*/ 48 h 242"/>
                  <a:gd name="T6" fmla="*/ 72 w 132"/>
                  <a:gd name="T7" fmla="*/ 40 h 242"/>
                  <a:gd name="T8" fmla="*/ 91 w 132"/>
                  <a:gd name="T9" fmla="*/ 38 h 242"/>
                  <a:gd name="T10" fmla="*/ 112 w 132"/>
                  <a:gd name="T11" fmla="*/ 44 h 242"/>
                  <a:gd name="T12" fmla="*/ 124 w 132"/>
                  <a:gd name="T13" fmla="*/ 73 h 242"/>
                  <a:gd name="T14" fmla="*/ 130 w 132"/>
                  <a:gd name="T15" fmla="*/ 90 h 242"/>
                  <a:gd name="T16" fmla="*/ 122 w 132"/>
                  <a:gd name="T17" fmla="*/ 101 h 242"/>
                  <a:gd name="T18" fmla="*/ 99 w 132"/>
                  <a:gd name="T19" fmla="*/ 101 h 242"/>
                  <a:gd name="T20" fmla="*/ 82 w 132"/>
                  <a:gd name="T21" fmla="*/ 115 h 242"/>
                  <a:gd name="T22" fmla="*/ 88 w 132"/>
                  <a:gd name="T23" fmla="*/ 132 h 242"/>
                  <a:gd name="T24" fmla="*/ 84 w 132"/>
                  <a:gd name="T25" fmla="*/ 136 h 242"/>
                  <a:gd name="T26" fmla="*/ 78 w 132"/>
                  <a:gd name="T27" fmla="*/ 134 h 242"/>
                  <a:gd name="T28" fmla="*/ 74 w 132"/>
                  <a:gd name="T29" fmla="*/ 130 h 242"/>
                  <a:gd name="T30" fmla="*/ 63 w 132"/>
                  <a:gd name="T31" fmla="*/ 130 h 242"/>
                  <a:gd name="T32" fmla="*/ 53 w 132"/>
                  <a:gd name="T33" fmla="*/ 115 h 242"/>
                  <a:gd name="T34" fmla="*/ 44 w 132"/>
                  <a:gd name="T35" fmla="*/ 126 h 242"/>
                  <a:gd name="T36" fmla="*/ 36 w 132"/>
                  <a:gd name="T37" fmla="*/ 151 h 242"/>
                  <a:gd name="T38" fmla="*/ 29 w 132"/>
                  <a:gd name="T39" fmla="*/ 170 h 242"/>
                  <a:gd name="T40" fmla="*/ 30 w 132"/>
                  <a:gd name="T41" fmla="*/ 185 h 242"/>
                  <a:gd name="T42" fmla="*/ 42 w 132"/>
                  <a:gd name="T43" fmla="*/ 187 h 242"/>
                  <a:gd name="T44" fmla="*/ 51 w 132"/>
                  <a:gd name="T45" fmla="*/ 218 h 242"/>
                  <a:gd name="T46" fmla="*/ 48 w 132"/>
                  <a:gd name="T47" fmla="*/ 216 h 242"/>
                  <a:gd name="T48" fmla="*/ 63 w 132"/>
                  <a:gd name="T49" fmla="*/ 221 h 242"/>
                  <a:gd name="T50" fmla="*/ 71 w 132"/>
                  <a:gd name="T51" fmla="*/ 241 h 242"/>
                  <a:gd name="T52" fmla="*/ 59 w 132"/>
                  <a:gd name="T53" fmla="*/ 235 h 242"/>
                  <a:gd name="T54" fmla="*/ 46 w 132"/>
                  <a:gd name="T55" fmla="*/ 227 h 242"/>
                  <a:gd name="T56" fmla="*/ 44 w 132"/>
                  <a:gd name="T57" fmla="*/ 229 h 242"/>
                  <a:gd name="T58" fmla="*/ 38 w 132"/>
                  <a:gd name="T59" fmla="*/ 220 h 242"/>
                  <a:gd name="T60" fmla="*/ 36 w 132"/>
                  <a:gd name="T61" fmla="*/ 216 h 242"/>
                  <a:gd name="T62" fmla="*/ 30 w 132"/>
                  <a:gd name="T63" fmla="*/ 210 h 242"/>
                  <a:gd name="T64" fmla="*/ 23 w 132"/>
                  <a:gd name="T65" fmla="*/ 199 h 242"/>
                  <a:gd name="T66" fmla="*/ 19 w 132"/>
                  <a:gd name="T67" fmla="*/ 200 h 242"/>
                  <a:gd name="T68" fmla="*/ 17 w 132"/>
                  <a:gd name="T69" fmla="*/ 191 h 242"/>
                  <a:gd name="T70" fmla="*/ 19 w 132"/>
                  <a:gd name="T71" fmla="*/ 181 h 242"/>
                  <a:gd name="T72" fmla="*/ 19 w 132"/>
                  <a:gd name="T73" fmla="*/ 178 h 242"/>
                  <a:gd name="T74" fmla="*/ 25 w 132"/>
                  <a:gd name="T75" fmla="*/ 162 h 242"/>
                  <a:gd name="T76" fmla="*/ 36 w 132"/>
                  <a:gd name="T77" fmla="*/ 147 h 242"/>
                  <a:gd name="T78" fmla="*/ 30 w 132"/>
                  <a:gd name="T79" fmla="*/ 128 h 242"/>
                  <a:gd name="T80" fmla="*/ 25 w 132"/>
                  <a:gd name="T81" fmla="*/ 105 h 242"/>
                  <a:gd name="T82" fmla="*/ 17 w 132"/>
                  <a:gd name="T83" fmla="*/ 86 h 242"/>
                  <a:gd name="T84" fmla="*/ 25 w 132"/>
                  <a:gd name="T85" fmla="*/ 69 h 242"/>
                  <a:gd name="T86" fmla="*/ 19 w 132"/>
                  <a:gd name="T87" fmla="*/ 61 h 242"/>
                  <a:gd name="T88" fmla="*/ 8 w 132"/>
                  <a:gd name="T89" fmla="*/ 46 h 242"/>
                  <a:gd name="T90" fmla="*/ 4 w 132"/>
                  <a:gd name="T91" fmla="*/ 33 h 242"/>
                  <a:gd name="T92" fmla="*/ 9 w 132"/>
                  <a:gd name="T93" fmla="*/ 15 h 242"/>
                  <a:gd name="T94" fmla="*/ 27 w 132"/>
                  <a:gd name="T95" fmla="*/ 10 h 242"/>
                  <a:gd name="T96" fmla="*/ 40 w 132"/>
                  <a:gd name="T97" fmla="*/ 0 h 242"/>
                  <a:gd name="T98" fmla="*/ 15 w 132"/>
                  <a:gd name="T99" fmla="*/ 206 h 242"/>
                  <a:gd name="T100" fmla="*/ 80 w 132"/>
                  <a:gd name="T101" fmla="*/ 139 h 242"/>
                  <a:gd name="T102" fmla="*/ 44 w 132"/>
                  <a:gd name="T103" fmla="*/ 178 h 242"/>
                  <a:gd name="T104" fmla="*/ 48 w 132"/>
                  <a:gd name="T105" fmla="*/ 216 h 242"/>
                  <a:gd name="T106" fmla="*/ 29 w 132"/>
                  <a:gd name="T107" fmla="*/ 212 h 242"/>
                  <a:gd name="T108" fmla="*/ 17 w 132"/>
                  <a:gd name="T109" fmla="*/ 189 h 242"/>
                  <a:gd name="T110" fmla="*/ 30 w 132"/>
                  <a:gd name="T111" fmla="*/ 227 h 242"/>
                  <a:gd name="T112" fmla="*/ 40 w 132"/>
                  <a:gd name="T113" fmla="*/ 170 h 242"/>
                  <a:gd name="T114" fmla="*/ 32 w 132"/>
                  <a:gd name="T115" fmla="*/ 185 h 242"/>
                  <a:gd name="T116" fmla="*/ 30 w 132"/>
                  <a:gd name="T117" fmla="*/ 216 h 242"/>
                  <a:gd name="T118" fmla="*/ 38 w 132"/>
                  <a:gd name="T119" fmla="*/ 179 h 242"/>
                  <a:gd name="T120" fmla="*/ 29 w 132"/>
                  <a:gd name="T121" fmla="*/ 229 h 242"/>
                  <a:gd name="T122" fmla="*/ 40 w 132"/>
                  <a:gd name="T123" fmla="*/ 225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2" h="242">
                    <a:moveTo>
                      <a:pt x="44" y="2"/>
                    </a:moveTo>
                    <a:lnTo>
                      <a:pt x="44" y="4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8" y="0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1" y="6"/>
                    </a:lnTo>
                    <a:lnTo>
                      <a:pt x="51" y="4"/>
                    </a:lnTo>
                    <a:lnTo>
                      <a:pt x="51" y="10"/>
                    </a:lnTo>
                    <a:lnTo>
                      <a:pt x="50" y="10"/>
                    </a:lnTo>
                    <a:lnTo>
                      <a:pt x="50" y="12"/>
                    </a:lnTo>
                    <a:lnTo>
                      <a:pt x="50" y="13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9" y="13"/>
                    </a:lnTo>
                    <a:lnTo>
                      <a:pt x="61" y="15"/>
                    </a:lnTo>
                    <a:lnTo>
                      <a:pt x="63" y="13"/>
                    </a:lnTo>
                    <a:lnTo>
                      <a:pt x="63" y="15"/>
                    </a:lnTo>
                    <a:lnTo>
                      <a:pt x="63" y="17"/>
                    </a:lnTo>
                    <a:lnTo>
                      <a:pt x="61" y="17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3"/>
                    </a:lnTo>
                    <a:lnTo>
                      <a:pt x="65" y="25"/>
                    </a:lnTo>
                    <a:lnTo>
                      <a:pt x="63" y="25"/>
                    </a:lnTo>
                    <a:lnTo>
                      <a:pt x="63" y="27"/>
                    </a:lnTo>
                    <a:lnTo>
                      <a:pt x="63" y="29"/>
                    </a:lnTo>
                    <a:lnTo>
                      <a:pt x="63" y="31"/>
                    </a:lnTo>
                    <a:lnTo>
                      <a:pt x="61" y="31"/>
                    </a:lnTo>
                    <a:lnTo>
                      <a:pt x="61" y="33"/>
                    </a:lnTo>
                    <a:lnTo>
                      <a:pt x="59" y="34"/>
                    </a:lnTo>
                    <a:lnTo>
                      <a:pt x="61" y="34"/>
                    </a:lnTo>
                    <a:lnTo>
                      <a:pt x="61" y="36"/>
                    </a:lnTo>
                    <a:lnTo>
                      <a:pt x="61" y="38"/>
                    </a:lnTo>
                    <a:lnTo>
                      <a:pt x="61" y="40"/>
                    </a:lnTo>
                    <a:lnTo>
                      <a:pt x="61" y="42"/>
                    </a:lnTo>
                    <a:lnTo>
                      <a:pt x="59" y="42"/>
                    </a:lnTo>
                    <a:lnTo>
                      <a:pt x="59" y="44"/>
                    </a:lnTo>
                    <a:lnTo>
                      <a:pt x="59" y="46"/>
                    </a:lnTo>
                    <a:lnTo>
                      <a:pt x="59" y="48"/>
                    </a:lnTo>
                    <a:lnTo>
                      <a:pt x="59" y="50"/>
                    </a:lnTo>
                    <a:lnTo>
                      <a:pt x="61" y="50"/>
                    </a:lnTo>
                    <a:lnTo>
                      <a:pt x="63" y="50"/>
                    </a:lnTo>
                    <a:lnTo>
                      <a:pt x="63" y="48"/>
                    </a:lnTo>
                    <a:lnTo>
                      <a:pt x="65" y="48"/>
                    </a:lnTo>
                    <a:lnTo>
                      <a:pt x="65" y="46"/>
                    </a:lnTo>
                    <a:lnTo>
                      <a:pt x="67" y="46"/>
                    </a:lnTo>
                    <a:lnTo>
                      <a:pt x="67" y="44"/>
                    </a:lnTo>
                    <a:lnTo>
                      <a:pt x="69" y="44"/>
                    </a:lnTo>
                    <a:lnTo>
                      <a:pt x="67" y="44"/>
                    </a:lnTo>
                    <a:lnTo>
                      <a:pt x="69" y="44"/>
                    </a:lnTo>
                    <a:lnTo>
                      <a:pt x="69" y="42"/>
                    </a:lnTo>
                    <a:lnTo>
                      <a:pt x="71" y="42"/>
                    </a:lnTo>
                    <a:lnTo>
                      <a:pt x="71" y="40"/>
                    </a:lnTo>
                    <a:lnTo>
                      <a:pt x="72" y="40"/>
                    </a:lnTo>
                    <a:lnTo>
                      <a:pt x="74" y="40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80" y="40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4" y="44"/>
                    </a:lnTo>
                    <a:lnTo>
                      <a:pt x="86" y="44"/>
                    </a:lnTo>
                    <a:lnTo>
                      <a:pt x="86" y="42"/>
                    </a:lnTo>
                    <a:lnTo>
                      <a:pt x="88" y="42"/>
                    </a:lnTo>
                    <a:lnTo>
                      <a:pt x="90" y="40"/>
                    </a:lnTo>
                    <a:lnTo>
                      <a:pt x="91" y="42"/>
                    </a:lnTo>
                    <a:lnTo>
                      <a:pt x="91" y="40"/>
                    </a:lnTo>
                    <a:lnTo>
                      <a:pt x="91" y="38"/>
                    </a:lnTo>
                    <a:lnTo>
                      <a:pt x="93" y="38"/>
                    </a:lnTo>
                    <a:lnTo>
                      <a:pt x="93" y="36"/>
                    </a:lnTo>
                    <a:lnTo>
                      <a:pt x="95" y="36"/>
                    </a:lnTo>
                    <a:lnTo>
                      <a:pt x="95" y="34"/>
                    </a:lnTo>
                    <a:lnTo>
                      <a:pt x="97" y="34"/>
                    </a:lnTo>
                    <a:lnTo>
                      <a:pt x="101" y="34"/>
                    </a:lnTo>
                    <a:lnTo>
                      <a:pt x="101" y="36"/>
                    </a:lnTo>
                    <a:lnTo>
                      <a:pt x="103" y="36"/>
                    </a:lnTo>
                    <a:lnTo>
                      <a:pt x="105" y="36"/>
                    </a:lnTo>
                    <a:lnTo>
                      <a:pt x="107" y="36"/>
                    </a:lnTo>
                    <a:lnTo>
                      <a:pt x="107" y="38"/>
                    </a:lnTo>
                    <a:lnTo>
                      <a:pt x="109" y="40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2" y="44"/>
                    </a:lnTo>
                    <a:lnTo>
                      <a:pt x="114" y="48"/>
                    </a:lnTo>
                    <a:lnTo>
                      <a:pt x="118" y="50"/>
                    </a:lnTo>
                    <a:lnTo>
                      <a:pt x="120" y="52"/>
                    </a:lnTo>
                    <a:lnTo>
                      <a:pt x="120" y="54"/>
                    </a:lnTo>
                    <a:lnTo>
                      <a:pt x="120" y="55"/>
                    </a:lnTo>
                    <a:lnTo>
                      <a:pt x="118" y="57"/>
                    </a:lnTo>
                    <a:lnTo>
                      <a:pt x="118" y="59"/>
                    </a:lnTo>
                    <a:lnTo>
                      <a:pt x="118" y="61"/>
                    </a:lnTo>
                    <a:lnTo>
                      <a:pt x="118" y="63"/>
                    </a:lnTo>
                    <a:lnTo>
                      <a:pt x="118" y="65"/>
                    </a:lnTo>
                    <a:lnTo>
                      <a:pt x="120" y="67"/>
                    </a:lnTo>
                    <a:lnTo>
                      <a:pt x="120" y="69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4" y="73"/>
                    </a:lnTo>
                    <a:lnTo>
                      <a:pt x="126" y="75"/>
                    </a:lnTo>
                    <a:lnTo>
                      <a:pt x="130" y="75"/>
                    </a:lnTo>
                    <a:lnTo>
                      <a:pt x="128" y="75"/>
                    </a:lnTo>
                    <a:lnTo>
                      <a:pt x="128" y="76"/>
                    </a:lnTo>
                    <a:lnTo>
                      <a:pt x="128" y="78"/>
                    </a:lnTo>
                    <a:lnTo>
                      <a:pt x="130" y="78"/>
                    </a:lnTo>
                    <a:lnTo>
                      <a:pt x="132" y="78"/>
                    </a:lnTo>
                    <a:lnTo>
                      <a:pt x="132" y="80"/>
                    </a:lnTo>
                    <a:lnTo>
                      <a:pt x="132" y="82"/>
                    </a:lnTo>
                    <a:lnTo>
                      <a:pt x="132" y="84"/>
                    </a:lnTo>
                    <a:lnTo>
                      <a:pt x="130" y="84"/>
                    </a:lnTo>
                    <a:lnTo>
                      <a:pt x="130" y="86"/>
                    </a:lnTo>
                    <a:lnTo>
                      <a:pt x="132" y="86"/>
                    </a:lnTo>
                    <a:lnTo>
                      <a:pt x="130" y="88"/>
                    </a:lnTo>
                    <a:lnTo>
                      <a:pt x="130" y="90"/>
                    </a:lnTo>
                    <a:lnTo>
                      <a:pt x="132" y="90"/>
                    </a:lnTo>
                    <a:lnTo>
                      <a:pt x="132" y="92"/>
                    </a:lnTo>
                    <a:lnTo>
                      <a:pt x="132" y="94"/>
                    </a:lnTo>
                    <a:lnTo>
                      <a:pt x="130" y="94"/>
                    </a:lnTo>
                    <a:lnTo>
                      <a:pt x="130" y="95"/>
                    </a:lnTo>
                    <a:lnTo>
                      <a:pt x="132" y="95"/>
                    </a:lnTo>
                    <a:lnTo>
                      <a:pt x="132" y="97"/>
                    </a:lnTo>
                    <a:lnTo>
                      <a:pt x="130" y="99"/>
                    </a:lnTo>
                    <a:lnTo>
                      <a:pt x="130" y="101"/>
                    </a:lnTo>
                    <a:lnTo>
                      <a:pt x="128" y="101"/>
                    </a:lnTo>
                    <a:lnTo>
                      <a:pt x="126" y="101"/>
                    </a:lnTo>
                    <a:lnTo>
                      <a:pt x="126" y="103"/>
                    </a:lnTo>
                    <a:lnTo>
                      <a:pt x="124" y="103"/>
                    </a:lnTo>
                    <a:lnTo>
                      <a:pt x="122" y="103"/>
                    </a:lnTo>
                    <a:lnTo>
                      <a:pt x="122" y="101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118" y="101"/>
                    </a:lnTo>
                    <a:lnTo>
                      <a:pt x="116" y="101"/>
                    </a:lnTo>
                    <a:lnTo>
                      <a:pt x="114" y="101"/>
                    </a:lnTo>
                    <a:lnTo>
                      <a:pt x="112" y="101"/>
                    </a:lnTo>
                    <a:lnTo>
                      <a:pt x="111" y="101"/>
                    </a:lnTo>
                    <a:lnTo>
                      <a:pt x="109" y="101"/>
                    </a:lnTo>
                    <a:lnTo>
                      <a:pt x="107" y="101"/>
                    </a:lnTo>
                    <a:lnTo>
                      <a:pt x="105" y="101"/>
                    </a:lnTo>
                    <a:lnTo>
                      <a:pt x="103" y="101"/>
                    </a:lnTo>
                    <a:lnTo>
                      <a:pt x="101" y="101"/>
                    </a:lnTo>
                    <a:lnTo>
                      <a:pt x="101" y="99"/>
                    </a:lnTo>
                    <a:lnTo>
                      <a:pt x="101" y="101"/>
                    </a:lnTo>
                    <a:lnTo>
                      <a:pt x="99" y="101"/>
                    </a:lnTo>
                    <a:lnTo>
                      <a:pt x="97" y="101"/>
                    </a:lnTo>
                    <a:lnTo>
                      <a:pt x="95" y="101"/>
                    </a:lnTo>
                    <a:lnTo>
                      <a:pt x="93" y="101"/>
                    </a:lnTo>
                    <a:lnTo>
                      <a:pt x="93" y="103"/>
                    </a:lnTo>
                    <a:lnTo>
                      <a:pt x="93" y="101"/>
                    </a:lnTo>
                    <a:lnTo>
                      <a:pt x="93" y="103"/>
                    </a:lnTo>
                    <a:lnTo>
                      <a:pt x="91" y="103"/>
                    </a:lnTo>
                    <a:lnTo>
                      <a:pt x="90" y="105"/>
                    </a:lnTo>
                    <a:lnTo>
                      <a:pt x="90" y="107"/>
                    </a:lnTo>
                    <a:lnTo>
                      <a:pt x="88" y="107"/>
                    </a:lnTo>
                    <a:lnTo>
                      <a:pt x="88" y="109"/>
                    </a:lnTo>
                    <a:lnTo>
                      <a:pt x="86" y="111"/>
                    </a:lnTo>
                    <a:lnTo>
                      <a:pt x="84" y="113"/>
                    </a:lnTo>
                    <a:lnTo>
                      <a:pt x="84" y="115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2" y="122"/>
                    </a:lnTo>
                    <a:lnTo>
                      <a:pt x="82" y="124"/>
                    </a:lnTo>
                    <a:lnTo>
                      <a:pt x="84" y="124"/>
                    </a:lnTo>
                    <a:lnTo>
                      <a:pt x="82" y="124"/>
                    </a:lnTo>
                    <a:lnTo>
                      <a:pt x="82" y="126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4" y="130"/>
                    </a:lnTo>
                    <a:lnTo>
                      <a:pt x="86" y="130"/>
                    </a:lnTo>
                    <a:lnTo>
                      <a:pt x="86" y="132"/>
                    </a:lnTo>
                    <a:lnTo>
                      <a:pt x="88" y="132"/>
                    </a:lnTo>
                    <a:lnTo>
                      <a:pt x="88" y="134"/>
                    </a:lnTo>
                    <a:lnTo>
                      <a:pt x="86" y="134"/>
                    </a:lnTo>
                    <a:lnTo>
                      <a:pt x="86" y="137"/>
                    </a:lnTo>
                    <a:lnTo>
                      <a:pt x="88" y="139"/>
                    </a:lnTo>
                    <a:lnTo>
                      <a:pt x="88" y="141"/>
                    </a:lnTo>
                    <a:lnTo>
                      <a:pt x="88" y="143"/>
                    </a:lnTo>
                    <a:lnTo>
                      <a:pt x="90" y="143"/>
                    </a:lnTo>
                    <a:lnTo>
                      <a:pt x="90" y="145"/>
                    </a:lnTo>
                    <a:lnTo>
                      <a:pt x="90" y="143"/>
                    </a:lnTo>
                    <a:lnTo>
                      <a:pt x="88" y="141"/>
                    </a:lnTo>
                    <a:lnTo>
                      <a:pt x="88" y="139"/>
                    </a:lnTo>
                    <a:lnTo>
                      <a:pt x="84" y="137"/>
                    </a:lnTo>
                    <a:lnTo>
                      <a:pt x="86" y="137"/>
                    </a:lnTo>
                    <a:lnTo>
                      <a:pt x="84" y="137"/>
                    </a:lnTo>
                    <a:lnTo>
                      <a:pt x="84" y="136"/>
                    </a:lnTo>
                    <a:lnTo>
                      <a:pt x="84" y="137"/>
                    </a:lnTo>
                    <a:lnTo>
                      <a:pt x="82" y="136"/>
                    </a:lnTo>
                    <a:lnTo>
                      <a:pt x="84" y="136"/>
                    </a:lnTo>
                    <a:lnTo>
                      <a:pt x="84" y="137"/>
                    </a:lnTo>
                    <a:lnTo>
                      <a:pt x="84" y="139"/>
                    </a:lnTo>
                    <a:lnTo>
                      <a:pt x="84" y="137"/>
                    </a:lnTo>
                    <a:lnTo>
                      <a:pt x="82" y="137"/>
                    </a:lnTo>
                    <a:lnTo>
                      <a:pt x="80" y="137"/>
                    </a:lnTo>
                    <a:lnTo>
                      <a:pt x="78" y="137"/>
                    </a:lnTo>
                    <a:lnTo>
                      <a:pt x="80" y="136"/>
                    </a:lnTo>
                    <a:lnTo>
                      <a:pt x="78" y="136"/>
                    </a:lnTo>
                    <a:lnTo>
                      <a:pt x="80" y="136"/>
                    </a:lnTo>
                    <a:lnTo>
                      <a:pt x="80" y="134"/>
                    </a:lnTo>
                    <a:lnTo>
                      <a:pt x="80" y="136"/>
                    </a:lnTo>
                    <a:lnTo>
                      <a:pt x="78" y="134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8" y="132"/>
                    </a:lnTo>
                    <a:lnTo>
                      <a:pt x="78" y="134"/>
                    </a:lnTo>
                    <a:lnTo>
                      <a:pt x="78" y="136"/>
                    </a:lnTo>
                    <a:lnTo>
                      <a:pt x="78" y="134"/>
                    </a:lnTo>
                    <a:lnTo>
                      <a:pt x="76" y="134"/>
                    </a:lnTo>
                    <a:lnTo>
                      <a:pt x="76" y="132"/>
                    </a:lnTo>
                    <a:lnTo>
                      <a:pt x="74" y="132"/>
                    </a:lnTo>
                    <a:lnTo>
                      <a:pt x="76" y="132"/>
                    </a:lnTo>
                    <a:lnTo>
                      <a:pt x="76" y="130"/>
                    </a:lnTo>
                    <a:lnTo>
                      <a:pt x="74" y="132"/>
                    </a:lnTo>
                    <a:lnTo>
                      <a:pt x="74" y="130"/>
                    </a:lnTo>
                    <a:lnTo>
                      <a:pt x="74" y="132"/>
                    </a:lnTo>
                    <a:lnTo>
                      <a:pt x="76" y="132"/>
                    </a:lnTo>
                    <a:lnTo>
                      <a:pt x="74" y="132"/>
                    </a:lnTo>
                    <a:lnTo>
                      <a:pt x="74" y="130"/>
                    </a:lnTo>
                    <a:lnTo>
                      <a:pt x="74" y="132"/>
                    </a:lnTo>
                    <a:lnTo>
                      <a:pt x="72" y="130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71" y="128"/>
                    </a:lnTo>
                    <a:lnTo>
                      <a:pt x="69" y="130"/>
                    </a:lnTo>
                    <a:lnTo>
                      <a:pt x="67" y="130"/>
                    </a:lnTo>
                    <a:lnTo>
                      <a:pt x="65" y="130"/>
                    </a:lnTo>
                    <a:lnTo>
                      <a:pt x="63" y="130"/>
                    </a:lnTo>
                    <a:lnTo>
                      <a:pt x="61" y="130"/>
                    </a:lnTo>
                    <a:lnTo>
                      <a:pt x="59" y="130"/>
                    </a:lnTo>
                    <a:lnTo>
                      <a:pt x="57" y="130"/>
                    </a:lnTo>
                    <a:lnTo>
                      <a:pt x="57" y="128"/>
                    </a:lnTo>
                    <a:lnTo>
                      <a:pt x="55" y="128"/>
                    </a:lnTo>
                    <a:lnTo>
                      <a:pt x="57" y="128"/>
                    </a:lnTo>
                    <a:lnTo>
                      <a:pt x="57" y="126"/>
                    </a:lnTo>
                    <a:lnTo>
                      <a:pt x="57" y="124"/>
                    </a:lnTo>
                    <a:lnTo>
                      <a:pt x="57" y="122"/>
                    </a:lnTo>
                    <a:lnTo>
                      <a:pt x="57" y="120"/>
                    </a:lnTo>
                    <a:lnTo>
                      <a:pt x="57" y="118"/>
                    </a:lnTo>
                    <a:lnTo>
                      <a:pt x="59" y="118"/>
                    </a:lnTo>
                    <a:lnTo>
                      <a:pt x="59" y="116"/>
                    </a:lnTo>
                    <a:lnTo>
                      <a:pt x="57" y="116"/>
                    </a:lnTo>
                    <a:lnTo>
                      <a:pt x="53" y="115"/>
                    </a:lnTo>
                    <a:lnTo>
                      <a:pt x="51" y="115"/>
                    </a:lnTo>
                    <a:lnTo>
                      <a:pt x="48" y="116"/>
                    </a:lnTo>
                    <a:lnTo>
                      <a:pt x="48" y="115"/>
                    </a:lnTo>
                    <a:lnTo>
                      <a:pt x="48" y="116"/>
                    </a:lnTo>
                    <a:lnTo>
                      <a:pt x="44" y="116"/>
                    </a:lnTo>
                    <a:lnTo>
                      <a:pt x="44" y="118"/>
                    </a:lnTo>
                    <a:lnTo>
                      <a:pt x="42" y="118"/>
                    </a:lnTo>
                    <a:lnTo>
                      <a:pt x="42" y="120"/>
                    </a:lnTo>
                    <a:lnTo>
                      <a:pt x="44" y="120"/>
                    </a:lnTo>
                    <a:lnTo>
                      <a:pt x="44" y="122"/>
                    </a:lnTo>
                    <a:lnTo>
                      <a:pt x="44" y="124"/>
                    </a:lnTo>
                    <a:lnTo>
                      <a:pt x="42" y="126"/>
                    </a:lnTo>
                    <a:lnTo>
                      <a:pt x="44" y="126"/>
                    </a:lnTo>
                    <a:lnTo>
                      <a:pt x="42" y="126"/>
                    </a:lnTo>
                    <a:lnTo>
                      <a:pt x="44" y="126"/>
                    </a:lnTo>
                    <a:lnTo>
                      <a:pt x="42" y="128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2" y="134"/>
                    </a:lnTo>
                    <a:lnTo>
                      <a:pt x="44" y="134"/>
                    </a:lnTo>
                    <a:lnTo>
                      <a:pt x="42" y="136"/>
                    </a:lnTo>
                    <a:lnTo>
                      <a:pt x="44" y="137"/>
                    </a:lnTo>
                    <a:lnTo>
                      <a:pt x="42" y="137"/>
                    </a:lnTo>
                    <a:lnTo>
                      <a:pt x="42" y="139"/>
                    </a:lnTo>
                    <a:lnTo>
                      <a:pt x="40" y="141"/>
                    </a:lnTo>
                    <a:lnTo>
                      <a:pt x="40" y="143"/>
                    </a:lnTo>
                    <a:lnTo>
                      <a:pt x="40" y="145"/>
                    </a:lnTo>
                    <a:lnTo>
                      <a:pt x="38" y="145"/>
                    </a:lnTo>
                    <a:lnTo>
                      <a:pt x="36" y="147"/>
                    </a:lnTo>
                    <a:lnTo>
                      <a:pt x="36" y="151"/>
                    </a:lnTo>
                    <a:lnTo>
                      <a:pt x="36" y="153"/>
                    </a:lnTo>
                    <a:lnTo>
                      <a:pt x="34" y="155"/>
                    </a:lnTo>
                    <a:lnTo>
                      <a:pt x="34" y="157"/>
                    </a:lnTo>
                    <a:lnTo>
                      <a:pt x="34" y="158"/>
                    </a:lnTo>
                    <a:lnTo>
                      <a:pt x="34" y="160"/>
                    </a:lnTo>
                    <a:lnTo>
                      <a:pt x="32" y="160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64"/>
                    </a:lnTo>
                    <a:lnTo>
                      <a:pt x="32" y="166"/>
                    </a:lnTo>
                    <a:lnTo>
                      <a:pt x="30" y="166"/>
                    </a:lnTo>
                    <a:lnTo>
                      <a:pt x="29" y="166"/>
                    </a:lnTo>
                    <a:lnTo>
                      <a:pt x="30" y="168"/>
                    </a:lnTo>
                    <a:lnTo>
                      <a:pt x="30" y="170"/>
                    </a:lnTo>
                    <a:lnTo>
                      <a:pt x="29" y="170"/>
                    </a:lnTo>
                    <a:lnTo>
                      <a:pt x="29" y="172"/>
                    </a:lnTo>
                    <a:lnTo>
                      <a:pt x="30" y="172"/>
                    </a:lnTo>
                    <a:lnTo>
                      <a:pt x="29" y="172"/>
                    </a:lnTo>
                    <a:lnTo>
                      <a:pt x="30" y="176"/>
                    </a:lnTo>
                    <a:lnTo>
                      <a:pt x="29" y="176"/>
                    </a:lnTo>
                    <a:lnTo>
                      <a:pt x="29" y="178"/>
                    </a:lnTo>
                    <a:lnTo>
                      <a:pt x="30" y="178"/>
                    </a:lnTo>
                    <a:lnTo>
                      <a:pt x="30" y="179"/>
                    </a:lnTo>
                    <a:lnTo>
                      <a:pt x="30" y="181"/>
                    </a:lnTo>
                    <a:lnTo>
                      <a:pt x="32" y="183"/>
                    </a:lnTo>
                    <a:lnTo>
                      <a:pt x="32" y="181"/>
                    </a:lnTo>
                    <a:lnTo>
                      <a:pt x="30" y="183"/>
                    </a:lnTo>
                    <a:lnTo>
                      <a:pt x="30" y="181"/>
                    </a:lnTo>
                    <a:lnTo>
                      <a:pt x="30" y="183"/>
                    </a:lnTo>
                    <a:lnTo>
                      <a:pt x="30" y="185"/>
                    </a:lnTo>
                    <a:lnTo>
                      <a:pt x="32" y="185"/>
                    </a:lnTo>
                    <a:lnTo>
                      <a:pt x="30" y="185"/>
                    </a:lnTo>
                    <a:lnTo>
                      <a:pt x="30" y="187"/>
                    </a:lnTo>
                    <a:lnTo>
                      <a:pt x="32" y="187"/>
                    </a:lnTo>
                    <a:lnTo>
                      <a:pt x="32" y="185"/>
                    </a:lnTo>
                    <a:lnTo>
                      <a:pt x="32" y="187"/>
                    </a:lnTo>
                    <a:lnTo>
                      <a:pt x="32" y="185"/>
                    </a:lnTo>
                    <a:lnTo>
                      <a:pt x="34" y="185"/>
                    </a:lnTo>
                    <a:lnTo>
                      <a:pt x="36" y="183"/>
                    </a:lnTo>
                    <a:lnTo>
                      <a:pt x="36" y="185"/>
                    </a:lnTo>
                    <a:lnTo>
                      <a:pt x="38" y="183"/>
                    </a:lnTo>
                    <a:lnTo>
                      <a:pt x="40" y="183"/>
                    </a:lnTo>
                    <a:lnTo>
                      <a:pt x="40" y="185"/>
                    </a:lnTo>
                    <a:lnTo>
                      <a:pt x="40" y="187"/>
                    </a:lnTo>
                    <a:lnTo>
                      <a:pt x="42" y="187"/>
                    </a:lnTo>
                    <a:lnTo>
                      <a:pt x="42" y="189"/>
                    </a:lnTo>
                    <a:lnTo>
                      <a:pt x="42" y="191"/>
                    </a:lnTo>
                    <a:lnTo>
                      <a:pt x="42" y="195"/>
                    </a:lnTo>
                    <a:lnTo>
                      <a:pt x="44" y="195"/>
                    </a:lnTo>
                    <a:lnTo>
                      <a:pt x="44" y="197"/>
                    </a:lnTo>
                    <a:lnTo>
                      <a:pt x="44" y="199"/>
                    </a:lnTo>
                    <a:lnTo>
                      <a:pt x="46" y="199"/>
                    </a:lnTo>
                    <a:lnTo>
                      <a:pt x="46" y="197"/>
                    </a:lnTo>
                    <a:lnTo>
                      <a:pt x="44" y="197"/>
                    </a:lnTo>
                    <a:lnTo>
                      <a:pt x="46" y="197"/>
                    </a:lnTo>
                    <a:lnTo>
                      <a:pt x="48" y="200"/>
                    </a:lnTo>
                    <a:lnTo>
                      <a:pt x="48" y="208"/>
                    </a:lnTo>
                    <a:lnTo>
                      <a:pt x="50" y="214"/>
                    </a:lnTo>
                    <a:lnTo>
                      <a:pt x="51" y="216"/>
                    </a:lnTo>
                    <a:lnTo>
                      <a:pt x="51" y="218"/>
                    </a:lnTo>
                    <a:lnTo>
                      <a:pt x="50" y="218"/>
                    </a:lnTo>
                    <a:lnTo>
                      <a:pt x="50" y="216"/>
                    </a:lnTo>
                    <a:lnTo>
                      <a:pt x="50" y="214"/>
                    </a:lnTo>
                    <a:lnTo>
                      <a:pt x="50" y="212"/>
                    </a:lnTo>
                    <a:lnTo>
                      <a:pt x="48" y="212"/>
                    </a:lnTo>
                    <a:lnTo>
                      <a:pt x="48" y="210"/>
                    </a:lnTo>
                    <a:lnTo>
                      <a:pt x="48" y="208"/>
                    </a:lnTo>
                    <a:lnTo>
                      <a:pt x="46" y="208"/>
                    </a:lnTo>
                    <a:lnTo>
                      <a:pt x="46" y="210"/>
                    </a:lnTo>
                    <a:lnTo>
                      <a:pt x="46" y="212"/>
                    </a:lnTo>
                    <a:lnTo>
                      <a:pt x="46" y="214"/>
                    </a:lnTo>
                    <a:lnTo>
                      <a:pt x="46" y="212"/>
                    </a:lnTo>
                    <a:lnTo>
                      <a:pt x="46" y="214"/>
                    </a:lnTo>
                    <a:lnTo>
                      <a:pt x="48" y="214"/>
                    </a:lnTo>
                    <a:lnTo>
                      <a:pt x="48" y="216"/>
                    </a:lnTo>
                    <a:lnTo>
                      <a:pt x="50" y="216"/>
                    </a:lnTo>
                    <a:lnTo>
                      <a:pt x="50" y="218"/>
                    </a:lnTo>
                    <a:lnTo>
                      <a:pt x="51" y="220"/>
                    </a:lnTo>
                    <a:lnTo>
                      <a:pt x="51" y="218"/>
                    </a:lnTo>
                    <a:lnTo>
                      <a:pt x="55" y="221"/>
                    </a:lnTo>
                    <a:lnTo>
                      <a:pt x="57" y="221"/>
                    </a:lnTo>
                    <a:lnTo>
                      <a:pt x="59" y="223"/>
                    </a:lnTo>
                    <a:lnTo>
                      <a:pt x="61" y="223"/>
                    </a:lnTo>
                    <a:lnTo>
                      <a:pt x="63" y="223"/>
                    </a:lnTo>
                    <a:lnTo>
                      <a:pt x="63" y="221"/>
                    </a:lnTo>
                    <a:lnTo>
                      <a:pt x="63" y="223"/>
                    </a:lnTo>
                    <a:lnTo>
                      <a:pt x="63" y="221"/>
                    </a:lnTo>
                    <a:lnTo>
                      <a:pt x="65" y="223"/>
                    </a:lnTo>
                    <a:lnTo>
                      <a:pt x="65" y="221"/>
                    </a:lnTo>
                    <a:lnTo>
                      <a:pt x="63" y="221"/>
                    </a:lnTo>
                    <a:lnTo>
                      <a:pt x="65" y="221"/>
                    </a:lnTo>
                    <a:lnTo>
                      <a:pt x="67" y="223"/>
                    </a:lnTo>
                    <a:lnTo>
                      <a:pt x="69" y="225"/>
                    </a:lnTo>
                    <a:lnTo>
                      <a:pt x="71" y="227"/>
                    </a:lnTo>
                    <a:lnTo>
                      <a:pt x="69" y="227"/>
                    </a:lnTo>
                    <a:lnTo>
                      <a:pt x="71" y="227"/>
                    </a:lnTo>
                    <a:lnTo>
                      <a:pt x="72" y="229"/>
                    </a:lnTo>
                    <a:lnTo>
                      <a:pt x="74" y="231"/>
                    </a:lnTo>
                    <a:lnTo>
                      <a:pt x="76" y="233"/>
                    </a:lnTo>
                    <a:lnTo>
                      <a:pt x="76" y="235"/>
                    </a:lnTo>
                    <a:lnTo>
                      <a:pt x="74" y="237"/>
                    </a:lnTo>
                    <a:lnTo>
                      <a:pt x="74" y="239"/>
                    </a:lnTo>
                    <a:lnTo>
                      <a:pt x="72" y="239"/>
                    </a:lnTo>
                    <a:lnTo>
                      <a:pt x="72" y="241"/>
                    </a:lnTo>
                    <a:lnTo>
                      <a:pt x="71" y="241"/>
                    </a:lnTo>
                    <a:lnTo>
                      <a:pt x="69" y="241"/>
                    </a:lnTo>
                    <a:lnTo>
                      <a:pt x="69" y="239"/>
                    </a:lnTo>
                    <a:lnTo>
                      <a:pt x="67" y="239"/>
                    </a:lnTo>
                    <a:lnTo>
                      <a:pt x="65" y="239"/>
                    </a:lnTo>
                    <a:lnTo>
                      <a:pt x="65" y="241"/>
                    </a:lnTo>
                    <a:lnTo>
                      <a:pt x="63" y="241"/>
                    </a:lnTo>
                    <a:lnTo>
                      <a:pt x="63" y="242"/>
                    </a:lnTo>
                    <a:lnTo>
                      <a:pt x="61" y="242"/>
                    </a:lnTo>
                    <a:lnTo>
                      <a:pt x="61" y="241"/>
                    </a:lnTo>
                    <a:lnTo>
                      <a:pt x="59" y="241"/>
                    </a:lnTo>
                    <a:lnTo>
                      <a:pt x="59" y="239"/>
                    </a:lnTo>
                    <a:lnTo>
                      <a:pt x="61" y="239"/>
                    </a:lnTo>
                    <a:lnTo>
                      <a:pt x="61" y="237"/>
                    </a:lnTo>
                    <a:lnTo>
                      <a:pt x="61" y="235"/>
                    </a:lnTo>
                    <a:lnTo>
                      <a:pt x="59" y="235"/>
                    </a:lnTo>
                    <a:lnTo>
                      <a:pt x="61" y="235"/>
                    </a:lnTo>
                    <a:lnTo>
                      <a:pt x="61" y="233"/>
                    </a:lnTo>
                    <a:lnTo>
                      <a:pt x="59" y="233"/>
                    </a:lnTo>
                    <a:lnTo>
                      <a:pt x="57" y="233"/>
                    </a:lnTo>
                    <a:lnTo>
                      <a:pt x="55" y="233"/>
                    </a:lnTo>
                    <a:lnTo>
                      <a:pt x="57" y="231"/>
                    </a:lnTo>
                    <a:lnTo>
                      <a:pt x="55" y="231"/>
                    </a:lnTo>
                    <a:lnTo>
                      <a:pt x="55" y="229"/>
                    </a:lnTo>
                    <a:lnTo>
                      <a:pt x="53" y="229"/>
                    </a:lnTo>
                    <a:lnTo>
                      <a:pt x="51" y="229"/>
                    </a:lnTo>
                    <a:lnTo>
                      <a:pt x="50" y="229"/>
                    </a:lnTo>
                    <a:lnTo>
                      <a:pt x="48" y="227"/>
                    </a:lnTo>
                    <a:lnTo>
                      <a:pt x="48" y="225"/>
                    </a:lnTo>
                    <a:lnTo>
                      <a:pt x="46" y="225"/>
                    </a:lnTo>
                    <a:lnTo>
                      <a:pt x="46" y="227"/>
                    </a:lnTo>
                    <a:lnTo>
                      <a:pt x="46" y="229"/>
                    </a:lnTo>
                    <a:lnTo>
                      <a:pt x="44" y="231"/>
                    </a:lnTo>
                    <a:lnTo>
                      <a:pt x="44" y="229"/>
                    </a:lnTo>
                    <a:lnTo>
                      <a:pt x="46" y="229"/>
                    </a:lnTo>
                    <a:lnTo>
                      <a:pt x="44" y="229"/>
                    </a:lnTo>
                    <a:lnTo>
                      <a:pt x="46" y="229"/>
                    </a:lnTo>
                    <a:lnTo>
                      <a:pt x="44" y="229"/>
                    </a:lnTo>
                    <a:lnTo>
                      <a:pt x="44" y="227"/>
                    </a:lnTo>
                    <a:lnTo>
                      <a:pt x="46" y="227"/>
                    </a:lnTo>
                    <a:lnTo>
                      <a:pt x="44" y="227"/>
                    </a:lnTo>
                    <a:lnTo>
                      <a:pt x="46" y="227"/>
                    </a:lnTo>
                    <a:lnTo>
                      <a:pt x="44" y="227"/>
                    </a:lnTo>
                    <a:lnTo>
                      <a:pt x="44" y="229"/>
                    </a:lnTo>
                    <a:lnTo>
                      <a:pt x="44" y="227"/>
                    </a:lnTo>
                    <a:lnTo>
                      <a:pt x="44" y="229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2" y="227"/>
                    </a:lnTo>
                    <a:lnTo>
                      <a:pt x="42" y="225"/>
                    </a:lnTo>
                    <a:lnTo>
                      <a:pt x="42" y="227"/>
                    </a:lnTo>
                    <a:lnTo>
                      <a:pt x="42" y="225"/>
                    </a:lnTo>
                    <a:lnTo>
                      <a:pt x="40" y="225"/>
                    </a:lnTo>
                    <a:lnTo>
                      <a:pt x="40" y="223"/>
                    </a:lnTo>
                    <a:lnTo>
                      <a:pt x="40" y="225"/>
                    </a:lnTo>
                    <a:lnTo>
                      <a:pt x="40" y="223"/>
                    </a:lnTo>
                    <a:lnTo>
                      <a:pt x="38" y="223"/>
                    </a:lnTo>
                    <a:lnTo>
                      <a:pt x="38" y="221"/>
                    </a:lnTo>
                    <a:lnTo>
                      <a:pt x="38" y="220"/>
                    </a:lnTo>
                    <a:lnTo>
                      <a:pt x="40" y="220"/>
                    </a:lnTo>
                    <a:lnTo>
                      <a:pt x="38" y="220"/>
                    </a:lnTo>
                    <a:lnTo>
                      <a:pt x="38" y="218"/>
                    </a:lnTo>
                    <a:lnTo>
                      <a:pt x="38" y="220"/>
                    </a:lnTo>
                    <a:lnTo>
                      <a:pt x="38" y="218"/>
                    </a:lnTo>
                    <a:lnTo>
                      <a:pt x="38" y="220"/>
                    </a:lnTo>
                    <a:lnTo>
                      <a:pt x="38" y="218"/>
                    </a:lnTo>
                    <a:lnTo>
                      <a:pt x="36" y="218"/>
                    </a:lnTo>
                    <a:lnTo>
                      <a:pt x="38" y="218"/>
                    </a:lnTo>
                    <a:lnTo>
                      <a:pt x="38" y="216"/>
                    </a:lnTo>
                    <a:lnTo>
                      <a:pt x="36" y="218"/>
                    </a:lnTo>
                    <a:lnTo>
                      <a:pt x="36" y="220"/>
                    </a:lnTo>
                    <a:lnTo>
                      <a:pt x="36" y="218"/>
                    </a:lnTo>
                    <a:lnTo>
                      <a:pt x="34" y="218"/>
                    </a:lnTo>
                    <a:lnTo>
                      <a:pt x="36" y="216"/>
                    </a:lnTo>
                    <a:lnTo>
                      <a:pt x="36" y="214"/>
                    </a:lnTo>
                    <a:lnTo>
                      <a:pt x="36" y="216"/>
                    </a:lnTo>
                    <a:lnTo>
                      <a:pt x="36" y="214"/>
                    </a:lnTo>
                    <a:lnTo>
                      <a:pt x="36" y="216"/>
                    </a:lnTo>
                    <a:lnTo>
                      <a:pt x="34" y="216"/>
                    </a:lnTo>
                    <a:lnTo>
                      <a:pt x="32" y="216"/>
                    </a:lnTo>
                    <a:lnTo>
                      <a:pt x="32" y="214"/>
                    </a:lnTo>
                    <a:lnTo>
                      <a:pt x="32" y="212"/>
                    </a:lnTo>
                    <a:lnTo>
                      <a:pt x="30" y="212"/>
                    </a:lnTo>
                    <a:lnTo>
                      <a:pt x="32" y="210"/>
                    </a:lnTo>
                    <a:lnTo>
                      <a:pt x="30" y="210"/>
                    </a:lnTo>
                    <a:lnTo>
                      <a:pt x="32" y="210"/>
                    </a:lnTo>
                    <a:lnTo>
                      <a:pt x="30" y="210"/>
                    </a:lnTo>
                    <a:lnTo>
                      <a:pt x="30" y="208"/>
                    </a:lnTo>
                    <a:lnTo>
                      <a:pt x="30" y="210"/>
                    </a:lnTo>
                    <a:lnTo>
                      <a:pt x="29" y="208"/>
                    </a:lnTo>
                    <a:lnTo>
                      <a:pt x="30" y="208"/>
                    </a:lnTo>
                    <a:lnTo>
                      <a:pt x="29" y="208"/>
                    </a:lnTo>
                    <a:lnTo>
                      <a:pt x="29" y="206"/>
                    </a:lnTo>
                    <a:lnTo>
                      <a:pt x="29" y="204"/>
                    </a:lnTo>
                    <a:lnTo>
                      <a:pt x="29" y="206"/>
                    </a:lnTo>
                    <a:lnTo>
                      <a:pt x="27" y="206"/>
                    </a:lnTo>
                    <a:lnTo>
                      <a:pt x="27" y="204"/>
                    </a:lnTo>
                    <a:lnTo>
                      <a:pt x="25" y="204"/>
                    </a:lnTo>
                    <a:lnTo>
                      <a:pt x="27" y="204"/>
                    </a:lnTo>
                    <a:lnTo>
                      <a:pt x="25" y="204"/>
                    </a:lnTo>
                    <a:lnTo>
                      <a:pt x="23" y="204"/>
                    </a:lnTo>
                    <a:lnTo>
                      <a:pt x="23" y="202"/>
                    </a:lnTo>
                    <a:lnTo>
                      <a:pt x="23" y="200"/>
                    </a:lnTo>
                    <a:lnTo>
                      <a:pt x="23" y="199"/>
                    </a:lnTo>
                    <a:lnTo>
                      <a:pt x="23" y="200"/>
                    </a:lnTo>
                    <a:lnTo>
                      <a:pt x="21" y="200"/>
                    </a:lnTo>
                    <a:lnTo>
                      <a:pt x="21" y="199"/>
                    </a:lnTo>
                    <a:lnTo>
                      <a:pt x="23" y="199"/>
                    </a:lnTo>
                    <a:lnTo>
                      <a:pt x="21" y="199"/>
                    </a:lnTo>
                    <a:lnTo>
                      <a:pt x="21" y="197"/>
                    </a:lnTo>
                    <a:lnTo>
                      <a:pt x="21" y="199"/>
                    </a:lnTo>
                    <a:lnTo>
                      <a:pt x="19" y="199"/>
                    </a:lnTo>
                    <a:lnTo>
                      <a:pt x="21" y="199"/>
                    </a:lnTo>
                    <a:lnTo>
                      <a:pt x="19" y="199"/>
                    </a:lnTo>
                    <a:lnTo>
                      <a:pt x="21" y="199"/>
                    </a:lnTo>
                    <a:lnTo>
                      <a:pt x="19" y="199"/>
                    </a:lnTo>
                    <a:lnTo>
                      <a:pt x="19" y="200"/>
                    </a:lnTo>
                    <a:lnTo>
                      <a:pt x="19" y="199"/>
                    </a:lnTo>
                    <a:lnTo>
                      <a:pt x="19" y="200"/>
                    </a:lnTo>
                    <a:lnTo>
                      <a:pt x="17" y="200"/>
                    </a:lnTo>
                    <a:lnTo>
                      <a:pt x="19" y="200"/>
                    </a:lnTo>
                    <a:lnTo>
                      <a:pt x="19" y="202"/>
                    </a:lnTo>
                    <a:lnTo>
                      <a:pt x="17" y="202"/>
                    </a:lnTo>
                    <a:lnTo>
                      <a:pt x="15" y="202"/>
                    </a:lnTo>
                    <a:lnTo>
                      <a:pt x="15" y="200"/>
                    </a:lnTo>
                    <a:lnTo>
                      <a:pt x="15" y="197"/>
                    </a:lnTo>
                    <a:lnTo>
                      <a:pt x="15" y="195"/>
                    </a:lnTo>
                    <a:lnTo>
                      <a:pt x="15" y="197"/>
                    </a:lnTo>
                    <a:lnTo>
                      <a:pt x="15" y="195"/>
                    </a:lnTo>
                    <a:lnTo>
                      <a:pt x="15" y="193"/>
                    </a:lnTo>
                    <a:lnTo>
                      <a:pt x="15" y="191"/>
                    </a:lnTo>
                    <a:lnTo>
                      <a:pt x="15" y="189"/>
                    </a:lnTo>
                    <a:lnTo>
                      <a:pt x="17" y="189"/>
                    </a:lnTo>
                    <a:lnTo>
                      <a:pt x="17" y="191"/>
                    </a:lnTo>
                    <a:lnTo>
                      <a:pt x="17" y="189"/>
                    </a:lnTo>
                    <a:lnTo>
                      <a:pt x="17" y="191"/>
                    </a:lnTo>
                    <a:lnTo>
                      <a:pt x="17" y="189"/>
                    </a:lnTo>
                    <a:lnTo>
                      <a:pt x="17" y="187"/>
                    </a:lnTo>
                    <a:lnTo>
                      <a:pt x="17" y="189"/>
                    </a:lnTo>
                    <a:lnTo>
                      <a:pt x="15" y="189"/>
                    </a:lnTo>
                    <a:lnTo>
                      <a:pt x="17" y="187"/>
                    </a:lnTo>
                    <a:lnTo>
                      <a:pt x="15" y="185"/>
                    </a:lnTo>
                    <a:lnTo>
                      <a:pt x="17" y="185"/>
                    </a:lnTo>
                    <a:lnTo>
                      <a:pt x="17" y="183"/>
                    </a:lnTo>
                    <a:lnTo>
                      <a:pt x="17" y="185"/>
                    </a:lnTo>
                    <a:lnTo>
                      <a:pt x="17" y="183"/>
                    </a:lnTo>
                    <a:lnTo>
                      <a:pt x="17" y="181"/>
                    </a:lnTo>
                    <a:lnTo>
                      <a:pt x="19" y="179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19" y="181"/>
                    </a:lnTo>
                    <a:lnTo>
                      <a:pt x="19" y="179"/>
                    </a:lnTo>
                    <a:lnTo>
                      <a:pt x="21" y="179"/>
                    </a:lnTo>
                    <a:lnTo>
                      <a:pt x="19" y="179"/>
                    </a:lnTo>
                    <a:lnTo>
                      <a:pt x="19" y="178"/>
                    </a:lnTo>
                    <a:lnTo>
                      <a:pt x="19" y="179"/>
                    </a:lnTo>
                    <a:lnTo>
                      <a:pt x="19" y="178"/>
                    </a:lnTo>
                    <a:lnTo>
                      <a:pt x="21" y="178"/>
                    </a:lnTo>
                    <a:lnTo>
                      <a:pt x="19" y="178"/>
                    </a:lnTo>
                    <a:lnTo>
                      <a:pt x="21" y="176"/>
                    </a:lnTo>
                    <a:lnTo>
                      <a:pt x="19" y="176"/>
                    </a:lnTo>
                    <a:lnTo>
                      <a:pt x="19" y="178"/>
                    </a:lnTo>
                    <a:lnTo>
                      <a:pt x="19" y="176"/>
                    </a:lnTo>
                    <a:lnTo>
                      <a:pt x="19" y="178"/>
                    </a:lnTo>
                    <a:lnTo>
                      <a:pt x="19" y="176"/>
                    </a:lnTo>
                    <a:lnTo>
                      <a:pt x="21" y="176"/>
                    </a:lnTo>
                    <a:lnTo>
                      <a:pt x="19" y="176"/>
                    </a:lnTo>
                    <a:lnTo>
                      <a:pt x="21" y="176"/>
                    </a:lnTo>
                    <a:lnTo>
                      <a:pt x="19" y="176"/>
                    </a:lnTo>
                    <a:lnTo>
                      <a:pt x="19" y="174"/>
                    </a:lnTo>
                    <a:lnTo>
                      <a:pt x="21" y="174"/>
                    </a:lnTo>
                    <a:lnTo>
                      <a:pt x="19" y="174"/>
                    </a:lnTo>
                    <a:lnTo>
                      <a:pt x="21" y="174"/>
                    </a:lnTo>
                    <a:lnTo>
                      <a:pt x="23" y="170"/>
                    </a:lnTo>
                    <a:lnTo>
                      <a:pt x="23" y="168"/>
                    </a:lnTo>
                    <a:lnTo>
                      <a:pt x="23" y="166"/>
                    </a:lnTo>
                    <a:lnTo>
                      <a:pt x="25" y="164"/>
                    </a:lnTo>
                    <a:lnTo>
                      <a:pt x="23" y="164"/>
                    </a:lnTo>
                    <a:lnTo>
                      <a:pt x="25" y="162"/>
                    </a:lnTo>
                    <a:lnTo>
                      <a:pt x="23" y="162"/>
                    </a:lnTo>
                    <a:lnTo>
                      <a:pt x="25" y="160"/>
                    </a:lnTo>
                    <a:lnTo>
                      <a:pt x="27" y="158"/>
                    </a:lnTo>
                    <a:lnTo>
                      <a:pt x="27" y="157"/>
                    </a:lnTo>
                    <a:lnTo>
                      <a:pt x="29" y="157"/>
                    </a:lnTo>
                    <a:lnTo>
                      <a:pt x="30" y="157"/>
                    </a:lnTo>
                    <a:lnTo>
                      <a:pt x="30" y="155"/>
                    </a:lnTo>
                    <a:lnTo>
                      <a:pt x="30" y="153"/>
                    </a:lnTo>
                    <a:lnTo>
                      <a:pt x="32" y="153"/>
                    </a:lnTo>
                    <a:lnTo>
                      <a:pt x="32" y="151"/>
                    </a:lnTo>
                    <a:lnTo>
                      <a:pt x="32" y="149"/>
                    </a:lnTo>
                    <a:lnTo>
                      <a:pt x="34" y="149"/>
                    </a:lnTo>
                    <a:lnTo>
                      <a:pt x="34" y="147"/>
                    </a:lnTo>
                    <a:lnTo>
                      <a:pt x="34" y="145"/>
                    </a:lnTo>
                    <a:lnTo>
                      <a:pt x="36" y="147"/>
                    </a:lnTo>
                    <a:lnTo>
                      <a:pt x="36" y="145"/>
                    </a:lnTo>
                    <a:lnTo>
                      <a:pt x="36" y="143"/>
                    </a:lnTo>
                    <a:lnTo>
                      <a:pt x="38" y="143"/>
                    </a:lnTo>
                    <a:lnTo>
                      <a:pt x="36" y="143"/>
                    </a:lnTo>
                    <a:lnTo>
                      <a:pt x="36" y="141"/>
                    </a:lnTo>
                    <a:lnTo>
                      <a:pt x="36" y="139"/>
                    </a:lnTo>
                    <a:lnTo>
                      <a:pt x="36" y="137"/>
                    </a:lnTo>
                    <a:lnTo>
                      <a:pt x="34" y="137"/>
                    </a:lnTo>
                    <a:lnTo>
                      <a:pt x="34" y="136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0"/>
                    </a:lnTo>
                    <a:lnTo>
                      <a:pt x="32" y="130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30" y="126"/>
                    </a:lnTo>
                    <a:lnTo>
                      <a:pt x="30" y="124"/>
                    </a:lnTo>
                    <a:lnTo>
                      <a:pt x="29" y="122"/>
                    </a:lnTo>
                    <a:lnTo>
                      <a:pt x="29" y="120"/>
                    </a:lnTo>
                    <a:lnTo>
                      <a:pt x="30" y="120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5"/>
                    </a:lnTo>
                    <a:lnTo>
                      <a:pt x="30" y="113"/>
                    </a:lnTo>
                    <a:lnTo>
                      <a:pt x="29" y="111"/>
                    </a:lnTo>
                    <a:lnTo>
                      <a:pt x="29" y="109"/>
                    </a:lnTo>
                    <a:lnTo>
                      <a:pt x="27" y="109"/>
                    </a:lnTo>
                    <a:lnTo>
                      <a:pt x="27" y="107"/>
                    </a:lnTo>
                    <a:lnTo>
                      <a:pt x="27" y="105"/>
                    </a:lnTo>
                    <a:lnTo>
                      <a:pt x="25" y="105"/>
                    </a:lnTo>
                    <a:lnTo>
                      <a:pt x="23" y="103"/>
                    </a:lnTo>
                    <a:lnTo>
                      <a:pt x="21" y="101"/>
                    </a:lnTo>
                    <a:lnTo>
                      <a:pt x="19" y="99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7" y="95"/>
                    </a:lnTo>
                    <a:lnTo>
                      <a:pt x="15" y="94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5" y="88"/>
                    </a:lnTo>
                    <a:lnTo>
                      <a:pt x="13" y="88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7" y="86"/>
                    </a:lnTo>
                    <a:lnTo>
                      <a:pt x="19" y="84"/>
                    </a:lnTo>
                    <a:lnTo>
                      <a:pt x="19" y="86"/>
                    </a:lnTo>
                    <a:lnTo>
                      <a:pt x="21" y="84"/>
                    </a:lnTo>
                    <a:lnTo>
                      <a:pt x="19" y="80"/>
                    </a:lnTo>
                    <a:lnTo>
                      <a:pt x="21" y="80"/>
                    </a:lnTo>
                    <a:lnTo>
                      <a:pt x="19" y="80"/>
                    </a:lnTo>
                    <a:lnTo>
                      <a:pt x="21" y="76"/>
                    </a:lnTo>
                    <a:lnTo>
                      <a:pt x="21" y="75"/>
                    </a:lnTo>
                    <a:lnTo>
                      <a:pt x="21" y="73"/>
                    </a:lnTo>
                    <a:lnTo>
                      <a:pt x="21" y="75"/>
                    </a:lnTo>
                    <a:lnTo>
                      <a:pt x="21" y="73"/>
                    </a:lnTo>
                    <a:lnTo>
                      <a:pt x="23" y="73"/>
                    </a:lnTo>
                    <a:lnTo>
                      <a:pt x="25" y="73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7" y="69"/>
                    </a:lnTo>
                    <a:lnTo>
                      <a:pt x="25" y="69"/>
                    </a:lnTo>
                    <a:lnTo>
                      <a:pt x="25" y="67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21" y="65"/>
                    </a:lnTo>
                    <a:lnTo>
                      <a:pt x="21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9" y="59"/>
                    </a:lnTo>
                    <a:lnTo>
                      <a:pt x="19" y="61"/>
                    </a:lnTo>
                    <a:lnTo>
                      <a:pt x="19" y="59"/>
                    </a:lnTo>
                    <a:lnTo>
                      <a:pt x="19" y="57"/>
                    </a:lnTo>
                    <a:lnTo>
                      <a:pt x="17" y="57"/>
                    </a:lnTo>
                    <a:lnTo>
                      <a:pt x="15" y="57"/>
                    </a:lnTo>
                    <a:lnTo>
                      <a:pt x="15" y="55"/>
                    </a:lnTo>
                    <a:lnTo>
                      <a:pt x="17" y="55"/>
                    </a:lnTo>
                    <a:lnTo>
                      <a:pt x="15" y="55"/>
                    </a:lnTo>
                    <a:lnTo>
                      <a:pt x="15" y="54"/>
                    </a:lnTo>
                    <a:lnTo>
                      <a:pt x="13" y="54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8" y="46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6" y="33"/>
                    </a:lnTo>
                    <a:lnTo>
                      <a:pt x="6" y="31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6" y="25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9" y="19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9" y="15"/>
                    </a:lnTo>
                    <a:lnTo>
                      <a:pt x="9" y="13"/>
                    </a:lnTo>
                    <a:lnTo>
                      <a:pt x="11" y="13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5" y="12"/>
                    </a:lnTo>
                    <a:lnTo>
                      <a:pt x="15" y="13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9" y="12"/>
                    </a:lnTo>
                    <a:lnTo>
                      <a:pt x="21" y="13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7" y="12"/>
                    </a:lnTo>
                    <a:lnTo>
                      <a:pt x="27" y="10"/>
                    </a:lnTo>
                    <a:lnTo>
                      <a:pt x="29" y="8"/>
                    </a:lnTo>
                    <a:lnTo>
                      <a:pt x="27" y="8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30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2"/>
                    </a:lnTo>
                    <a:close/>
                    <a:moveTo>
                      <a:pt x="15" y="202"/>
                    </a:moveTo>
                    <a:lnTo>
                      <a:pt x="17" y="202"/>
                    </a:lnTo>
                    <a:lnTo>
                      <a:pt x="17" y="204"/>
                    </a:lnTo>
                    <a:lnTo>
                      <a:pt x="17" y="202"/>
                    </a:lnTo>
                    <a:lnTo>
                      <a:pt x="19" y="204"/>
                    </a:lnTo>
                    <a:lnTo>
                      <a:pt x="17" y="204"/>
                    </a:lnTo>
                    <a:lnTo>
                      <a:pt x="17" y="206"/>
                    </a:lnTo>
                    <a:lnTo>
                      <a:pt x="19" y="206"/>
                    </a:lnTo>
                    <a:lnTo>
                      <a:pt x="17" y="206"/>
                    </a:lnTo>
                    <a:lnTo>
                      <a:pt x="17" y="208"/>
                    </a:lnTo>
                    <a:lnTo>
                      <a:pt x="15" y="208"/>
                    </a:lnTo>
                    <a:lnTo>
                      <a:pt x="15" y="206"/>
                    </a:lnTo>
                    <a:lnTo>
                      <a:pt x="15" y="204"/>
                    </a:lnTo>
                    <a:lnTo>
                      <a:pt x="15" y="202"/>
                    </a:lnTo>
                    <a:close/>
                    <a:moveTo>
                      <a:pt x="44" y="179"/>
                    </a:moveTo>
                    <a:lnTo>
                      <a:pt x="44" y="181"/>
                    </a:lnTo>
                    <a:lnTo>
                      <a:pt x="42" y="181"/>
                    </a:lnTo>
                    <a:lnTo>
                      <a:pt x="42" y="179"/>
                    </a:lnTo>
                    <a:lnTo>
                      <a:pt x="44" y="179"/>
                    </a:lnTo>
                    <a:close/>
                    <a:moveTo>
                      <a:pt x="78" y="137"/>
                    </a:moveTo>
                    <a:lnTo>
                      <a:pt x="80" y="137"/>
                    </a:lnTo>
                    <a:lnTo>
                      <a:pt x="80" y="139"/>
                    </a:lnTo>
                    <a:lnTo>
                      <a:pt x="82" y="139"/>
                    </a:lnTo>
                    <a:lnTo>
                      <a:pt x="82" y="141"/>
                    </a:lnTo>
                    <a:lnTo>
                      <a:pt x="80" y="139"/>
                    </a:lnTo>
                    <a:lnTo>
                      <a:pt x="80" y="141"/>
                    </a:lnTo>
                    <a:lnTo>
                      <a:pt x="80" y="139"/>
                    </a:lnTo>
                    <a:lnTo>
                      <a:pt x="78" y="137"/>
                    </a:lnTo>
                    <a:close/>
                    <a:moveTo>
                      <a:pt x="27" y="206"/>
                    </a:moveTo>
                    <a:lnTo>
                      <a:pt x="29" y="206"/>
                    </a:lnTo>
                    <a:lnTo>
                      <a:pt x="29" y="210"/>
                    </a:lnTo>
                    <a:lnTo>
                      <a:pt x="27" y="210"/>
                    </a:lnTo>
                    <a:lnTo>
                      <a:pt x="27" y="206"/>
                    </a:lnTo>
                    <a:close/>
                    <a:moveTo>
                      <a:pt x="38" y="225"/>
                    </a:moveTo>
                    <a:lnTo>
                      <a:pt x="38" y="227"/>
                    </a:lnTo>
                    <a:lnTo>
                      <a:pt x="38" y="229"/>
                    </a:lnTo>
                    <a:lnTo>
                      <a:pt x="36" y="227"/>
                    </a:lnTo>
                    <a:lnTo>
                      <a:pt x="36" y="225"/>
                    </a:lnTo>
                    <a:lnTo>
                      <a:pt x="38" y="225"/>
                    </a:lnTo>
                    <a:close/>
                    <a:moveTo>
                      <a:pt x="42" y="176"/>
                    </a:moveTo>
                    <a:lnTo>
                      <a:pt x="44" y="176"/>
                    </a:lnTo>
                    <a:lnTo>
                      <a:pt x="44" y="178"/>
                    </a:lnTo>
                    <a:lnTo>
                      <a:pt x="42" y="178"/>
                    </a:lnTo>
                    <a:lnTo>
                      <a:pt x="42" y="176"/>
                    </a:lnTo>
                    <a:close/>
                    <a:moveTo>
                      <a:pt x="84" y="145"/>
                    </a:moveTo>
                    <a:lnTo>
                      <a:pt x="84" y="147"/>
                    </a:lnTo>
                    <a:lnTo>
                      <a:pt x="84" y="145"/>
                    </a:lnTo>
                    <a:lnTo>
                      <a:pt x="84" y="143"/>
                    </a:lnTo>
                    <a:lnTo>
                      <a:pt x="84" y="145"/>
                    </a:lnTo>
                    <a:close/>
                    <a:moveTo>
                      <a:pt x="50" y="212"/>
                    </a:moveTo>
                    <a:lnTo>
                      <a:pt x="48" y="214"/>
                    </a:lnTo>
                    <a:lnTo>
                      <a:pt x="50" y="214"/>
                    </a:lnTo>
                    <a:lnTo>
                      <a:pt x="48" y="216"/>
                    </a:lnTo>
                    <a:lnTo>
                      <a:pt x="50" y="216"/>
                    </a:lnTo>
                    <a:lnTo>
                      <a:pt x="50" y="214"/>
                    </a:lnTo>
                    <a:lnTo>
                      <a:pt x="50" y="216"/>
                    </a:lnTo>
                    <a:lnTo>
                      <a:pt x="48" y="216"/>
                    </a:lnTo>
                    <a:lnTo>
                      <a:pt x="48" y="214"/>
                    </a:lnTo>
                    <a:lnTo>
                      <a:pt x="50" y="212"/>
                    </a:lnTo>
                    <a:close/>
                    <a:moveTo>
                      <a:pt x="15" y="185"/>
                    </a:moveTo>
                    <a:lnTo>
                      <a:pt x="17" y="185"/>
                    </a:lnTo>
                    <a:lnTo>
                      <a:pt x="17" y="189"/>
                    </a:lnTo>
                    <a:lnTo>
                      <a:pt x="15" y="189"/>
                    </a:lnTo>
                    <a:lnTo>
                      <a:pt x="15" y="185"/>
                    </a:lnTo>
                    <a:close/>
                    <a:moveTo>
                      <a:pt x="19" y="202"/>
                    </a:moveTo>
                    <a:lnTo>
                      <a:pt x="21" y="204"/>
                    </a:lnTo>
                    <a:lnTo>
                      <a:pt x="21" y="206"/>
                    </a:lnTo>
                    <a:lnTo>
                      <a:pt x="21" y="204"/>
                    </a:lnTo>
                    <a:lnTo>
                      <a:pt x="19" y="204"/>
                    </a:lnTo>
                    <a:lnTo>
                      <a:pt x="19" y="202"/>
                    </a:lnTo>
                    <a:close/>
                    <a:moveTo>
                      <a:pt x="27" y="210"/>
                    </a:moveTo>
                    <a:lnTo>
                      <a:pt x="29" y="212"/>
                    </a:lnTo>
                    <a:lnTo>
                      <a:pt x="29" y="214"/>
                    </a:lnTo>
                    <a:lnTo>
                      <a:pt x="27" y="212"/>
                    </a:lnTo>
                    <a:lnTo>
                      <a:pt x="27" y="210"/>
                    </a:lnTo>
                    <a:close/>
                    <a:moveTo>
                      <a:pt x="30" y="185"/>
                    </a:moveTo>
                    <a:lnTo>
                      <a:pt x="32" y="185"/>
                    </a:lnTo>
                    <a:lnTo>
                      <a:pt x="32" y="187"/>
                    </a:lnTo>
                    <a:lnTo>
                      <a:pt x="30" y="187"/>
                    </a:lnTo>
                    <a:lnTo>
                      <a:pt x="30" y="185"/>
                    </a:lnTo>
                    <a:close/>
                    <a:moveTo>
                      <a:pt x="27" y="210"/>
                    </a:moveTo>
                    <a:lnTo>
                      <a:pt x="29" y="210"/>
                    </a:lnTo>
                    <a:lnTo>
                      <a:pt x="29" y="212"/>
                    </a:lnTo>
                    <a:lnTo>
                      <a:pt x="27" y="212"/>
                    </a:lnTo>
                    <a:lnTo>
                      <a:pt x="27" y="210"/>
                    </a:lnTo>
                    <a:close/>
                    <a:moveTo>
                      <a:pt x="15" y="189"/>
                    </a:moveTo>
                    <a:lnTo>
                      <a:pt x="17" y="189"/>
                    </a:lnTo>
                    <a:lnTo>
                      <a:pt x="17" y="191"/>
                    </a:lnTo>
                    <a:lnTo>
                      <a:pt x="15" y="191"/>
                    </a:lnTo>
                    <a:lnTo>
                      <a:pt x="15" y="189"/>
                    </a:lnTo>
                    <a:close/>
                    <a:moveTo>
                      <a:pt x="21" y="202"/>
                    </a:moveTo>
                    <a:lnTo>
                      <a:pt x="21" y="204"/>
                    </a:lnTo>
                    <a:lnTo>
                      <a:pt x="21" y="202"/>
                    </a:lnTo>
                    <a:close/>
                    <a:moveTo>
                      <a:pt x="32" y="216"/>
                    </a:moveTo>
                    <a:lnTo>
                      <a:pt x="34" y="216"/>
                    </a:lnTo>
                    <a:lnTo>
                      <a:pt x="34" y="218"/>
                    </a:lnTo>
                    <a:lnTo>
                      <a:pt x="32" y="218"/>
                    </a:lnTo>
                    <a:lnTo>
                      <a:pt x="32" y="216"/>
                    </a:lnTo>
                    <a:close/>
                    <a:moveTo>
                      <a:pt x="30" y="227"/>
                    </a:moveTo>
                    <a:lnTo>
                      <a:pt x="30" y="229"/>
                    </a:lnTo>
                    <a:lnTo>
                      <a:pt x="30" y="227"/>
                    </a:lnTo>
                    <a:close/>
                    <a:moveTo>
                      <a:pt x="30" y="227"/>
                    </a:moveTo>
                    <a:lnTo>
                      <a:pt x="32" y="227"/>
                    </a:lnTo>
                    <a:lnTo>
                      <a:pt x="32" y="229"/>
                    </a:lnTo>
                    <a:lnTo>
                      <a:pt x="30" y="229"/>
                    </a:lnTo>
                    <a:lnTo>
                      <a:pt x="30" y="227"/>
                    </a:lnTo>
                    <a:close/>
                    <a:moveTo>
                      <a:pt x="17" y="174"/>
                    </a:moveTo>
                    <a:lnTo>
                      <a:pt x="19" y="174"/>
                    </a:lnTo>
                    <a:lnTo>
                      <a:pt x="19" y="176"/>
                    </a:lnTo>
                    <a:lnTo>
                      <a:pt x="17" y="176"/>
                    </a:lnTo>
                    <a:lnTo>
                      <a:pt x="17" y="174"/>
                    </a:lnTo>
                    <a:close/>
                    <a:moveTo>
                      <a:pt x="27" y="206"/>
                    </a:moveTo>
                    <a:lnTo>
                      <a:pt x="27" y="208"/>
                    </a:lnTo>
                    <a:lnTo>
                      <a:pt x="27" y="206"/>
                    </a:lnTo>
                    <a:close/>
                    <a:moveTo>
                      <a:pt x="40" y="170"/>
                    </a:moveTo>
                    <a:lnTo>
                      <a:pt x="40" y="172"/>
                    </a:lnTo>
                    <a:lnTo>
                      <a:pt x="40" y="170"/>
                    </a:lnTo>
                    <a:close/>
                    <a:moveTo>
                      <a:pt x="17" y="176"/>
                    </a:moveTo>
                    <a:lnTo>
                      <a:pt x="17" y="178"/>
                    </a:lnTo>
                    <a:lnTo>
                      <a:pt x="17" y="176"/>
                    </a:lnTo>
                    <a:close/>
                    <a:moveTo>
                      <a:pt x="27" y="206"/>
                    </a:moveTo>
                    <a:lnTo>
                      <a:pt x="27" y="208"/>
                    </a:lnTo>
                    <a:lnTo>
                      <a:pt x="27" y="206"/>
                    </a:lnTo>
                    <a:close/>
                    <a:moveTo>
                      <a:pt x="27" y="206"/>
                    </a:moveTo>
                    <a:lnTo>
                      <a:pt x="27" y="208"/>
                    </a:lnTo>
                    <a:lnTo>
                      <a:pt x="27" y="206"/>
                    </a:lnTo>
                    <a:close/>
                    <a:moveTo>
                      <a:pt x="55" y="128"/>
                    </a:moveTo>
                    <a:lnTo>
                      <a:pt x="55" y="130"/>
                    </a:lnTo>
                    <a:lnTo>
                      <a:pt x="55" y="128"/>
                    </a:lnTo>
                    <a:close/>
                    <a:moveTo>
                      <a:pt x="32" y="185"/>
                    </a:moveTo>
                    <a:lnTo>
                      <a:pt x="32" y="187"/>
                    </a:lnTo>
                    <a:lnTo>
                      <a:pt x="32" y="185"/>
                    </a:lnTo>
                    <a:close/>
                    <a:moveTo>
                      <a:pt x="23" y="208"/>
                    </a:moveTo>
                    <a:lnTo>
                      <a:pt x="23" y="210"/>
                    </a:lnTo>
                    <a:lnTo>
                      <a:pt x="23" y="208"/>
                    </a:lnTo>
                    <a:close/>
                    <a:moveTo>
                      <a:pt x="19" y="199"/>
                    </a:moveTo>
                    <a:lnTo>
                      <a:pt x="19" y="200"/>
                    </a:lnTo>
                    <a:lnTo>
                      <a:pt x="19" y="199"/>
                    </a:lnTo>
                    <a:close/>
                    <a:moveTo>
                      <a:pt x="15" y="185"/>
                    </a:moveTo>
                    <a:lnTo>
                      <a:pt x="17" y="185"/>
                    </a:lnTo>
                    <a:lnTo>
                      <a:pt x="17" y="187"/>
                    </a:lnTo>
                    <a:lnTo>
                      <a:pt x="15" y="187"/>
                    </a:lnTo>
                    <a:lnTo>
                      <a:pt x="15" y="185"/>
                    </a:lnTo>
                    <a:close/>
                    <a:moveTo>
                      <a:pt x="30" y="214"/>
                    </a:moveTo>
                    <a:lnTo>
                      <a:pt x="32" y="214"/>
                    </a:lnTo>
                    <a:lnTo>
                      <a:pt x="32" y="216"/>
                    </a:lnTo>
                    <a:lnTo>
                      <a:pt x="30" y="216"/>
                    </a:lnTo>
                    <a:lnTo>
                      <a:pt x="30" y="214"/>
                    </a:lnTo>
                    <a:close/>
                    <a:moveTo>
                      <a:pt x="42" y="181"/>
                    </a:moveTo>
                    <a:lnTo>
                      <a:pt x="42" y="183"/>
                    </a:lnTo>
                    <a:lnTo>
                      <a:pt x="42" y="181"/>
                    </a:lnTo>
                    <a:close/>
                    <a:moveTo>
                      <a:pt x="55" y="120"/>
                    </a:moveTo>
                    <a:lnTo>
                      <a:pt x="55" y="122"/>
                    </a:lnTo>
                    <a:lnTo>
                      <a:pt x="55" y="120"/>
                    </a:lnTo>
                    <a:close/>
                    <a:moveTo>
                      <a:pt x="67" y="130"/>
                    </a:moveTo>
                    <a:lnTo>
                      <a:pt x="67" y="132"/>
                    </a:lnTo>
                    <a:lnTo>
                      <a:pt x="67" y="130"/>
                    </a:lnTo>
                    <a:close/>
                    <a:moveTo>
                      <a:pt x="55" y="124"/>
                    </a:moveTo>
                    <a:lnTo>
                      <a:pt x="55" y="126"/>
                    </a:lnTo>
                    <a:lnTo>
                      <a:pt x="55" y="124"/>
                    </a:lnTo>
                    <a:close/>
                    <a:moveTo>
                      <a:pt x="38" y="178"/>
                    </a:moveTo>
                    <a:lnTo>
                      <a:pt x="38" y="179"/>
                    </a:lnTo>
                    <a:lnTo>
                      <a:pt x="38" y="178"/>
                    </a:lnTo>
                    <a:close/>
                    <a:moveTo>
                      <a:pt x="17" y="210"/>
                    </a:moveTo>
                    <a:lnTo>
                      <a:pt x="17" y="212"/>
                    </a:lnTo>
                    <a:lnTo>
                      <a:pt x="17" y="210"/>
                    </a:lnTo>
                    <a:close/>
                    <a:moveTo>
                      <a:pt x="57" y="130"/>
                    </a:moveTo>
                    <a:lnTo>
                      <a:pt x="59" y="130"/>
                    </a:lnTo>
                    <a:lnTo>
                      <a:pt x="59" y="132"/>
                    </a:lnTo>
                    <a:lnTo>
                      <a:pt x="57" y="132"/>
                    </a:lnTo>
                    <a:lnTo>
                      <a:pt x="57" y="130"/>
                    </a:lnTo>
                    <a:close/>
                    <a:moveTo>
                      <a:pt x="53" y="124"/>
                    </a:moveTo>
                    <a:lnTo>
                      <a:pt x="53" y="126"/>
                    </a:lnTo>
                    <a:lnTo>
                      <a:pt x="53" y="124"/>
                    </a:lnTo>
                    <a:close/>
                    <a:moveTo>
                      <a:pt x="29" y="229"/>
                    </a:moveTo>
                    <a:lnTo>
                      <a:pt x="30" y="229"/>
                    </a:lnTo>
                    <a:lnTo>
                      <a:pt x="29" y="229"/>
                    </a:lnTo>
                    <a:close/>
                    <a:moveTo>
                      <a:pt x="17" y="200"/>
                    </a:moveTo>
                    <a:lnTo>
                      <a:pt x="19" y="200"/>
                    </a:lnTo>
                    <a:lnTo>
                      <a:pt x="17" y="200"/>
                    </a:lnTo>
                    <a:close/>
                    <a:moveTo>
                      <a:pt x="38" y="181"/>
                    </a:moveTo>
                    <a:lnTo>
                      <a:pt x="38" y="183"/>
                    </a:lnTo>
                    <a:lnTo>
                      <a:pt x="38" y="181"/>
                    </a:lnTo>
                    <a:close/>
                    <a:moveTo>
                      <a:pt x="15" y="212"/>
                    </a:moveTo>
                    <a:lnTo>
                      <a:pt x="17" y="212"/>
                    </a:lnTo>
                    <a:lnTo>
                      <a:pt x="17" y="214"/>
                    </a:lnTo>
                    <a:lnTo>
                      <a:pt x="15" y="214"/>
                    </a:lnTo>
                    <a:lnTo>
                      <a:pt x="15" y="212"/>
                    </a:lnTo>
                    <a:close/>
                    <a:moveTo>
                      <a:pt x="19" y="174"/>
                    </a:moveTo>
                    <a:lnTo>
                      <a:pt x="21" y="174"/>
                    </a:lnTo>
                    <a:lnTo>
                      <a:pt x="19" y="174"/>
                    </a:lnTo>
                    <a:close/>
                    <a:moveTo>
                      <a:pt x="40" y="225"/>
                    </a:moveTo>
                    <a:lnTo>
                      <a:pt x="40" y="227"/>
                    </a:lnTo>
                    <a:lnTo>
                      <a:pt x="40" y="22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1" name="Freeform 161">
                <a:extLst>
                  <a:ext uri="{FF2B5EF4-FFF2-40B4-BE49-F238E27FC236}">
                    <a16:creationId xmlns:a16="http://schemas.microsoft.com/office/drawing/2014/main" id="{C0EBA81B-BC3D-5EFD-C4C0-E94CF4AE565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51593" y="-2514340"/>
                <a:ext cx="367113" cy="415155"/>
              </a:xfrm>
              <a:custGeom>
                <a:avLst/>
                <a:gdLst>
                  <a:gd name="T0" fmla="*/ 15 w 233"/>
                  <a:gd name="T1" fmla="*/ 15 h 263"/>
                  <a:gd name="T2" fmla="*/ 35 w 233"/>
                  <a:gd name="T3" fmla="*/ 11 h 263"/>
                  <a:gd name="T4" fmla="*/ 46 w 233"/>
                  <a:gd name="T5" fmla="*/ 3 h 263"/>
                  <a:gd name="T6" fmla="*/ 63 w 233"/>
                  <a:gd name="T7" fmla="*/ 9 h 263"/>
                  <a:gd name="T8" fmla="*/ 73 w 233"/>
                  <a:gd name="T9" fmla="*/ 19 h 263"/>
                  <a:gd name="T10" fmla="*/ 86 w 233"/>
                  <a:gd name="T11" fmla="*/ 30 h 263"/>
                  <a:gd name="T12" fmla="*/ 94 w 233"/>
                  <a:gd name="T13" fmla="*/ 34 h 263"/>
                  <a:gd name="T14" fmla="*/ 88 w 233"/>
                  <a:gd name="T15" fmla="*/ 36 h 263"/>
                  <a:gd name="T16" fmla="*/ 80 w 233"/>
                  <a:gd name="T17" fmla="*/ 43 h 263"/>
                  <a:gd name="T18" fmla="*/ 73 w 233"/>
                  <a:gd name="T19" fmla="*/ 47 h 263"/>
                  <a:gd name="T20" fmla="*/ 69 w 233"/>
                  <a:gd name="T21" fmla="*/ 55 h 263"/>
                  <a:gd name="T22" fmla="*/ 59 w 233"/>
                  <a:gd name="T23" fmla="*/ 66 h 263"/>
                  <a:gd name="T24" fmla="*/ 57 w 233"/>
                  <a:gd name="T25" fmla="*/ 80 h 263"/>
                  <a:gd name="T26" fmla="*/ 71 w 233"/>
                  <a:gd name="T27" fmla="*/ 97 h 263"/>
                  <a:gd name="T28" fmla="*/ 80 w 233"/>
                  <a:gd name="T29" fmla="*/ 110 h 263"/>
                  <a:gd name="T30" fmla="*/ 90 w 233"/>
                  <a:gd name="T31" fmla="*/ 118 h 263"/>
                  <a:gd name="T32" fmla="*/ 99 w 233"/>
                  <a:gd name="T33" fmla="*/ 127 h 263"/>
                  <a:gd name="T34" fmla="*/ 105 w 233"/>
                  <a:gd name="T35" fmla="*/ 133 h 263"/>
                  <a:gd name="T36" fmla="*/ 111 w 233"/>
                  <a:gd name="T37" fmla="*/ 146 h 263"/>
                  <a:gd name="T38" fmla="*/ 115 w 233"/>
                  <a:gd name="T39" fmla="*/ 164 h 263"/>
                  <a:gd name="T40" fmla="*/ 117 w 233"/>
                  <a:gd name="T41" fmla="*/ 177 h 263"/>
                  <a:gd name="T42" fmla="*/ 115 w 233"/>
                  <a:gd name="T43" fmla="*/ 187 h 263"/>
                  <a:gd name="T44" fmla="*/ 111 w 233"/>
                  <a:gd name="T45" fmla="*/ 198 h 263"/>
                  <a:gd name="T46" fmla="*/ 92 w 233"/>
                  <a:gd name="T47" fmla="*/ 211 h 263"/>
                  <a:gd name="T48" fmla="*/ 77 w 233"/>
                  <a:gd name="T49" fmla="*/ 217 h 263"/>
                  <a:gd name="T50" fmla="*/ 71 w 233"/>
                  <a:gd name="T51" fmla="*/ 223 h 263"/>
                  <a:gd name="T52" fmla="*/ 65 w 233"/>
                  <a:gd name="T53" fmla="*/ 229 h 263"/>
                  <a:gd name="T54" fmla="*/ 44 w 233"/>
                  <a:gd name="T55" fmla="*/ 244 h 263"/>
                  <a:gd name="T56" fmla="*/ 42 w 233"/>
                  <a:gd name="T57" fmla="*/ 221 h 263"/>
                  <a:gd name="T58" fmla="*/ 59 w 233"/>
                  <a:gd name="T59" fmla="*/ 208 h 263"/>
                  <a:gd name="T60" fmla="*/ 61 w 233"/>
                  <a:gd name="T61" fmla="*/ 200 h 263"/>
                  <a:gd name="T62" fmla="*/ 71 w 233"/>
                  <a:gd name="T63" fmla="*/ 192 h 263"/>
                  <a:gd name="T64" fmla="*/ 86 w 233"/>
                  <a:gd name="T65" fmla="*/ 187 h 263"/>
                  <a:gd name="T66" fmla="*/ 86 w 233"/>
                  <a:gd name="T67" fmla="*/ 152 h 263"/>
                  <a:gd name="T68" fmla="*/ 82 w 233"/>
                  <a:gd name="T69" fmla="*/ 131 h 263"/>
                  <a:gd name="T70" fmla="*/ 73 w 233"/>
                  <a:gd name="T71" fmla="*/ 118 h 263"/>
                  <a:gd name="T72" fmla="*/ 57 w 233"/>
                  <a:gd name="T73" fmla="*/ 97 h 263"/>
                  <a:gd name="T74" fmla="*/ 44 w 233"/>
                  <a:gd name="T75" fmla="*/ 80 h 263"/>
                  <a:gd name="T76" fmla="*/ 35 w 233"/>
                  <a:gd name="T77" fmla="*/ 64 h 263"/>
                  <a:gd name="T78" fmla="*/ 40 w 233"/>
                  <a:gd name="T79" fmla="*/ 51 h 263"/>
                  <a:gd name="T80" fmla="*/ 27 w 233"/>
                  <a:gd name="T81" fmla="*/ 43 h 263"/>
                  <a:gd name="T82" fmla="*/ 14 w 233"/>
                  <a:gd name="T83" fmla="*/ 36 h 263"/>
                  <a:gd name="T84" fmla="*/ 4 w 233"/>
                  <a:gd name="T85" fmla="*/ 21 h 263"/>
                  <a:gd name="T86" fmla="*/ 84 w 233"/>
                  <a:gd name="T87" fmla="*/ 42 h 263"/>
                  <a:gd name="T88" fmla="*/ 67 w 233"/>
                  <a:gd name="T89" fmla="*/ 232 h 263"/>
                  <a:gd name="T90" fmla="*/ 88 w 233"/>
                  <a:gd name="T91" fmla="*/ 116 h 263"/>
                  <a:gd name="T92" fmla="*/ 77 w 233"/>
                  <a:gd name="T93" fmla="*/ 43 h 263"/>
                  <a:gd name="T94" fmla="*/ 92 w 233"/>
                  <a:gd name="T95" fmla="*/ 36 h 263"/>
                  <a:gd name="T96" fmla="*/ 88 w 233"/>
                  <a:gd name="T97" fmla="*/ 42 h 263"/>
                  <a:gd name="T98" fmla="*/ 88 w 233"/>
                  <a:gd name="T99" fmla="*/ 45 h 263"/>
                  <a:gd name="T100" fmla="*/ 160 w 233"/>
                  <a:gd name="T101" fmla="*/ 242 h 263"/>
                  <a:gd name="T102" fmla="*/ 90 w 233"/>
                  <a:gd name="T103" fmla="*/ 36 h 263"/>
                  <a:gd name="T104" fmla="*/ 84 w 233"/>
                  <a:gd name="T105" fmla="*/ 45 h 263"/>
                  <a:gd name="T106" fmla="*/ 103 w 233"/>
                  <a:gd name="T107" fmla="*/ 133 h 263"/>
                  <a:gd name="T108" fmla="*/ 73 w 233"/>
                  <a:gd name="T109" fmla="*/ 55 h 263"/>
                  <a:gd name="T110" fmla="*/ 86 w 233"/>
                  <a:gd name="T111" fmla="*/ 38 h 263"/>
                  <a:gd name="T112" fmla="*/ 73 w 233"/>
                  <a:gd name="T113" fmla="*/ 244 h 263"/>
                  <a:gd name="T114" fmla="*/ 225 w 233"/>
                  <a:gd name="T115" fmla="*/ 240 h 263"/>
                  <a:gd name="T116" fmla="*/ 113 w 233"/>
                  <a:gd name="T117" fmla="*/ 194 h 263"/>
                  <a:gd name="T118" fmla="*/ 86 w 233"/>
                  <a:gd name="T119" fmla="*/ 45 h 263"/>
                  <a:gd name="T120" fmla="*/ 109 w 233"/>
                  <a:gd name="T121" fmla="*/ 139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3" h="263">
                    <a:moveTo>
                      <a:pt x="0" y="17"/>
                    </a:moveTo>
                    <a:lnTo>
                      <a:pt x="2" y="17"/>
                    </a:lnTo>
                    <a:lnTo>
                      <a:pt x="4" y="15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4" y="15"/>
                    </a:lnTo>
                    <a:lnTo>
                      <a:pt x="14" y="17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7" y="15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9" y="11"/>
                    </a:lnTo>
                    <a:lnTo>
                      <a:pt x="21" y="11"/>
                    </a:lnTo>
                    <a:lnTo>
                      <a:pt x="21" y="13"/>
                    </a:lnTo>
                    <a:lnTo>
                      <a:pt x="23" y="15"/>
                    </a:lnTo>
                    <a:lnTo>
                      <a:pt x="23" y="13"/>
                    </a:lnTo>
                    <a:lnTo>
                      <a:pt x="25" y="11"/>
                    </a:lnTo>
                    <a:lnTo>
                      <a:pt x="27" y="13"/>
                    </a:lnTo>
                    <a:lnTo>
                      <a:pt x="29" y="15"/>
                    </a:lnTo>
                    <a:lnTo>
                      <a:pt x="31" y="15"/>
                    </a:lnTo>
                    <a:lnTo>
                      <a:pt x="31" y="13"/>
                    </a:lnTo>
                    <a:lnTo>
                      <a:pt x="31" y="11"/>
                    </a:lnTo>
                    <a:lnTo>
                      <a:pt x="33" y="11"/>
                    </a:lnTo>
                    <a:lnTo>
                      <a:pt x="35" y="9"/>
                    </a:lnTo>
                    <a:lnTo>
                      <a:pt x="35" y="11"/>
                    </a:lnTo>
                    <a:lnTo>
                      <a:pt x="36" y="11"/>
                    </a:lnTo>
                    <a:lnTo>
                      <a:pt x="36" y="13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4" y="7"/>
                    </a:lnTo>
                    <a:lnTo>
                      <a:pt x="44" y="5"/>
                    </a:lnTo>
                    <a:lnTo>
                      <a:pt x="44" y="3"/>
                    </a:lnTo>
                    <a:lnTo>
                      <a:pt x="46" y="5"/>
                    </a:lnTo>
                    <a:lnTo>
                      <a:pt x="46" y="3"/>
                    </a:lnTo>
                    <a:lnTo>
                      <a:pt x="48" y="3"/>
                    </a:lnTo>
                    <a:lnTo>
                      <a:pt x="50" y="1"/>
                    </a:lnTo>
                    <a:lnTo>
                      <a:pt x="50" y="3"/>
                    </a:lnTo>
                    <a:lnTo>
                      <a:pt x="50" y="1"/>
                    </a:lnTo>
                    <a:lnTo>
                      <a:pt x="52" y="1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4" y="3"/>
                    </a:lnTo>
                    <a:lnTo>
                      <a:pt x="56" y="3"/>
                    </a:lnTo>
                    <a:lnTo>
                      <a:pt x="56" y="5"/>
                    </a:lnTo>
                    <a:lnTo>
                      <a:pt x="57" y="5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61" y="9"/>
                    </a:lnTo>
                    <a:lnTo>
                      <a:pt x="61" y="7"/>
                    </a:lnTo>
                    <a:lnTo>
                      <a:pt x="63" y="9"/>
                    </a:lnTo>
                    <a:lnTo>
                      <a:pt x="63" y="7"/>
                    </a:lnTo>
                    <a:lnTo>
                      <a:pt x="65" y="7"/>
                    </a:lnTo>
                    <a:lnTo>
                      <a:pt x="67" y="9"/>
                    </a:lnTo>
                    <a:lnTo>
                      <a:pt x="69" y="9"/>
                    </a:lnTo>
                    <a:lnTo>
                      <a:pt x="71" y="9"/>
                    </a:lnTo>
                    <a:lnTo>
                      <a:pt x="71" y="7"/>
                    </a:lnTo>
                    <a:lnTo>
                      <a:pt x="71" y="9"/>
                    </a:lnTo>
                    <a:lnTo>
                      <a:pt x="73" y="9"/>
                    </a:lnTo>
                    <a:lnTo>
                      <a:pt x="75" y="11"/>
                    </a:lnTo>
                    <a:lnTo>
                      <a:pt x="75" y="13"/>
                    </a:lnTo>
                    <a:lnTo>
                      <a:pt x="73" y="13"/>
                    </a:lnTo>
                    <a:lnTo>
                      <a:pt x="75" y="15"/>
                    </a:lnTo>
                    <a:lnTo>
                      <a:pt x="73" y="15"/>
                    </a:lnTo>
                    <a:lnTo>
                      <a:pt x="71" y="15"/>
                    </a:lnTo>
                    <a:lnTo>
                      <a:pt x="71" y="17"/>
                    </a:lnTo>
                    <a:lnTo>
                      <a:pt x="71" y="19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22"/>
                    </a:lnTo>
                    <a:lnTo>
                      <a:pt x="73" y="24"/>
                    </a:lnTo>
                    <a:lnTo>
                      <a:pt x="75" y="24"/>
                    </a:lnTo>
                    <a:lnTo>
                      <a:pt x="77" y="24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78" y="28"/>
                    </a:lnTo>
                    <a:lnTo>
                      <a:pt x="80" y="28"/>
                    </a:lnTo>
                    <a:lnTo>
                      <a:pt x="82" y="30"/>
                    </a:lnTo>
                    <a:lnTo>
                      <a:pt x="82" y="28"/>
                    </a:lnTo>
                    <a:lnTo>
                      <a:pt x="84" y="30"/>
                    </a:lnTo>
                    <a:lnTo>
                      <a:pt x="84" y="32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86" y="32"/>
                    </a:lnTo>
                    <a:lnTo>
                      <a:pt x="88" y="30"/>
                    </a:lnTo>
                    <a:lnTo>
                      <a:pt x="88" y="32"/>
                    </a:lnTo>
                    <a:lnTo>
                      <a:pt x="90" y="32"/>
                    </a:lnTo>
                    <a:lnTo>
                      <a:pt x="92" y="30"/>
                    </a:lnTo>
                    <a:lnTo>
                      <a:pt x="92" y="32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4" y="34"/>
                    </a:lnTo>
                    <a:lnTo>
                      <a:pt x="96" y="34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0" y="32"/>
                    </a:lnTo>
                    <a:lnTo>
                      <a:pt x="92" y="34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88" y="36"/>
                    </a:lnTo>
                    <a:lnTo>
                      <a:pt x="86" y="36"/>
                    </a:lnTo>
                    <a:lnTo>
                      <a:pt x="84" y="36"/>
                    </a:lnTo>
                    <a:lnTo>
                      <a:pt x="86" y="36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6" y="38"/>
                    </a:lnTo>
                    <a:lnTo>
                      <a:pt x="84" y="38"/>
                    </a:lnTo>
                    <a:lnTo>
                      <a:pt x="84" y="40"/>
                    </a:lnTo>
                    <a:lnTo>
                      <a:pt x="84" y="42"/>
                    </a:lnTo>
                    <a:lnTo>
                      <a:pt x="82" y="42"/>
                    </a:lnTo>
                    <a:lnTo>
                      <a:pt x="82" y="43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80" y="42"/>
                    </a:lnTo>
                    <a:lnTo>
                      <a:pt x="78" y="42"/>
                    </a:lnTo>
                    <a:lnTo>
                      <a:pt x="77" y="42"/>
                    </a:lnTo>
                    <a:lnTo>
                      <a:pt x="77" y="43"/>
                    </a:lnTo>
                    <a:lnTo>
                      <a:pt x="77" y="42"/>
                    </a:lnTo>
                    <a:lnTo>
                      <a:pt x="77" y="43"/>
                    </a:lnTo>
                    <a:lnTo>
                      <a:pt x="75" y="43"/>
                    </a:lnTo>
                    <a:lnTo>
                      <a:pt x="75" y="42"/>
                    </a:lnTo>
                    <a:lnTo>
                      <a:pt x="73" y="42"/>
                    </a:lnTo>
                    <a:lnTo>
                      <a:pt x="75" y="42"/>
                    </a:lnTo>
                    <a:lnTo>
                      <a:pt x="75" y="43"/>
                    </a:lnTo>
                    <a:lnTo>
                      <a:pt x="75" y="45"/>
                    </a:lnTo>
                    <a:lnTo>
                      <a:pt x="73" y="45"/>
                    </a:lnTo>
                    <a:lnTo>
                      <a:pt x="75" y="45"/>
                    </a:lnTo>
                    <a:lnTo>
                      <a:pt x="75" y="47"/>
                    </a:lnTo>
                    <a:lnTo>
                      <a:pt x="73" y="47"/>
                    </a:lnTo>
                    <a:lnTo>
                      <a:pt x="73" y="45"/>
                    </a:lnTo>
                    <a:lnTo>
                      <a:pt x="71" y="45"/>
                    </a:lnTo>
                    <a:lnTo>
                      <a:pt x="73" y="47"/>
                    </a:lnTo>
                    <a:lnTo>
                      <a:pt x="71" y="47"/>
                    </a:lnTo>
                    <a:lnTo>
                      <a:pt x="73" y="47"/>
                    </a:lnTo>
                    <a:lnTo>
                      <a:pt x="73" y="49"/>
                    </a:lnTo>
                    <a:lnTo>
                      <a:pt x="71" y="49"/>
                    </a:lnTo>
                    <a:lnTo>
                      <a:pt x="73" y="51"/>
                    </a:lnTo>
                    <a:lnTo>
                      <a:pt x="71" y="51"/>
                    </a:lnTo>
                    <a:lnTo>
                      <a:pt x="73" y="51"/>
                    </a:lnTo>
                    <a:lnTo>
                      <a:pt x="71" y="53"/>
                    </a:lnTo>
                    <a:lnTo>
                      <a:pt x="71" y="51"/>
                    </a:lnTo>
                    <a:lnTo>
                      <a:pt x="71" y="53"/>
                    </a:lnTo>
                    <a:lnTo>
                      <a:pt x="73" y="53"/>
                    </a:lnTo>
                    <a:lnTo>
                      <a:pt x="71" y="53"/>
                    </a:lnTo>
                    <a:lnTo>
                      <a:pt x="71" y="55"/>
                    </a:lnTo>
                    <a:lnTo>
                      <a:pt x="69" y="55"/>
                    </a:lnTo>
                    <a:lnTo>
                      <a:pt x="67" y="55"/>
                    </a:lnTo>
                    <a:lnTo>
                      <a:pt x="65" y="59"/>
                    </a:lnTo>
                    <a:lnTo>
                      <a:pt x="65" y="61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1" y="59"/>
                    </a:lnTo>
                    <a:lnTo>
                      <a:pt x="63" y="59"/>
                    </a:lnTo>
                    <a:lnTo>
                      <a:pt x="61" y="61"/>
                    </a:lnTo>
                    <a:lnTo>
                      <a:pt x="61" y="63"/>
                    </a:lnTo>
                    <a:lnTo>
                      <a:pt x="59" y="63"/>
                    </a:lnTo>
                    <a:lnTo>
                      <a:pt x="59" y="61"/>
                    </a:lnTo>
                    <a:lnTo>
                      <a:pt x="59" y="63"/>
                    </a:lnTo>
                    <a:lnTo>
                      <a:pt x="61" y="63"/>
                    </a:lnTo>
                    <a:lnTo>
                      <a:pt x="59" y="64"/>
                    </a:lnTo>
                    <a:lnTo>
                      <a:pt x="59" y="66"/>
                    </a:lnTo>
                    <a:lnTo>
                      <a:pt x="59" y="64"/>
                    </a:lnTo>
                    <a:lnTo>
                      <a:pt x="59" y="66"/>
                    </a:lnTo>
                    <a:lnTo>
                      <a:pt x="59" y="68"/>
                    </a:lnTo>
                    <a:lnTo>
                      <a:pt x="59" y="70"/>
                    </a:lnTo>
                    <a:lnTo>
                      <a:pt x="59" y="72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6" y="74"/>
                    </a:lnTo>
                    <a:lnTo>
                      <a:pt x="56" y="76"/>
                    </a:lnTo>
                    <a:lnTo>
                      <a:pt x="56" y="78"/>
                    </a:lnTo>
                    <a:lnTo>
                      <a:pt x="57" y="78"/>
                    </a:lnTo>
                    <a:lnTo>
                      <a:pt x="59" y="80"/>
                    </a:lnTo>
                    <a:lnTo>
                      <a:pt x="57" y="80"/>
                    </a:lnTo>
                    <a:lnTo>
                      <a:pt x="59" y="82"/>
                    </a:lnTo>
                    <a:lnTo>
                      <a:pt x="57" y="82"/>
                    </a:lnTo>
                    <a:lnTo>
                      <a:pt x="59" y="82"/>
                    </a:lnTo>
                    <a:lnTo>
                      <a:pt x="57" y="80"/>
                    </a:lnTo>
                    <a:lnTo>
                      <a:pt x="59" y="80"/>
                    </a:lnTo>
                    <a:lnTo>
                      <a:pt x="59" y="82"/>
                    </a:lnTo>
                    <a:lnTo>
                      <a:pt x="61" y="85"/>
                    </a:lnTo>
                    <a:lnTo>
                      <a:pt x="61" y="84"/>
                    </a:lnTo>
                    <a:lnTo>
                      <a:pt x="61" y="85"/>
                    </a:lnTo>
                    <a:lnTo>
                      <a:pt x="63" y="87"/>
                    </a:lnTo>
                    <a:lnTo>
                      <a:pt x="65" y="87"/>
                    </a:lnTo>
                    <a:lnTo>
                      <a:pt x="67" y="89"/>
                    </a:lnTo>
                    <a:lnTo>
                      <a:pt x="67" y="91"/>
                    </a:lnTo>
                    <a:lnTo>
                      <a:pt x="69" y="91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71" y="93"/>
                    </a:lnTo>
                    <a:lnTo>
                      <a:pt x="69" y="95"/>
                    </a:lnTo>
                    <a:lnTo>
                      <a:pt x="69" y="93"/>
                    </a:lnTo>
                    <a:lnTo>
                      <a:pt x="69" y="95"/>
                    </a:lnTo>
                    <a:lnTo>
                      <a:pt x="71" y="97"/>
                    </a:lnTo>
                    <a:lnTo>
                      <a:pt x="69" y="97"/>
                    </a:lnTo>
                    <a:lnTo>
                      <a:pt x="71" y="97"/>
                    </a:lnTo>
                    <a:lnTo>
                      <a:pt x="71" y="99"/>
                    </a:lnTo>
                    <a:lnTo>
                      <a:pt x="71" y="101"/>
                    </a:lnTo>
                    <a:lnTo>
                      <a:pt x="71" y="99"/>
                    </a:lnTo>
                    <a:lnTo>
                      <a:pt x="73" y="101"/>
                    </a:lnTo>
                    <a:lnTo>
                      <a:pt x="73" y="103"/>
                    </a:lnTo>
                    <a:lnTo>
                      <a:pt x="75" y="105"/>
                    </a:lnTo>
                    <a:lnTo>
                      <a:pt x="73" y="103"/>
                    </a:lnTo>
                    <a:lnTo>
                      <a:pt x="73" y="101"/>
                    </a:lnTo>
                    <a:lnTo>
                      <a:pt x="75" y="105"/>
                    </a:lnTo>
                    <a:lnTo>
                      <a:pt x="80" y="108"/>
                    </a:lnTo>
                    <a:lnTo>
                      <a:pt x="78" y="108"/>
                    </a:lnTo>
                    <a:lnTo>
                      <a:pt x="78" y="110"/>
                    </a:lnTo>
                    <a:lnTo>
                      <a:pt x="78" y="108"/>
                    </a:lnTo>
                    <a:lnTo>
                      <a:pt x="80" y="108"/>
                    </a:lnTo>
                    <a:lnTo>
                      <a:pt x="80" y="110"/>
                    </a:lnTo>
                    <a:lnTo>
                      <a:pt x="80" y="112"/>
                    </a:lnTo>
                    <a:lnTo>
                      <a:pt x="80" y="110"/>
                    </a:lnTo>
                    <a:lnTo>
                      <a:pt x="80" y="112"/>
                    </a:lnTo>
                    <a:lnTo>
                      <a:pt x="80" y="110"/>
                    </a:lnTo>
                    <a:lnTo>
                      <a:pt x="80" y="112"/>
                    </a:lnTo>
                    <a:lnTo>
                      <a:pt x="80" y="110"/>
                    </a:lnTo>
                    <a:lnTo>
                      <a:pt x="82" y="110"/>
                    </a:lnTo>
                    <a:lnTo>
                      <a:pt x="82" y="112"/>
                    </a:lnTo>
                    <a:lnTo>
                      <a:pt x="88" y="116"/>
                    </a:lnTo>
                    <a:lnTo>
                      <a:pt x="86" y="114"/>
                    </a:lnTo>
                    <a:lnTo>
                      <a:pt x="84" y="114"/>
                    </a:lnTo>
                    <a:lnTo>
                      <a:pt x="86" y="114"/>
                    </a:lnTo>
                    <a:lnTo>
                      <a:pt x="86" y="116"/>
                    </a:lnTo>
                    <a:lnTo>
                      <a:pt x="88" y="116"/>
                    </a:lnTo>
                    <a:lnTo>
                      <a:pt x="88" y="118"/>
                    </a:lnTo>
                    <a:lnTo>
                      <a:pt x="90" y="116"/>
                    </a:lnTo>
                    <a:lnTo>
                      <a:pt x="90" y="118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2" y="120"/>
                    </a:lnTo>
                    <a:lnTo>
                      <a:pt x="92" y="122"/>
                    </a:lnTo>
                    <a:lnTo>
                      <a:pt x="94" y="120"/>
                    </a:lnTo>
                    <a:lnTo>
                      <a:pt x="96" y="122"/>
                    </a:lnTo>
                    <a:lnTo>
                      <a:pt x="94" y="122"/>
                    </a:lnTo>
                    <a:lnTo>
                      <a:pt x="96" y="122"/>
                    </a:lnTo>
                    <a:lnTo>
                      <a:pt x="97" y="122"/>
                    </a:lnTo>
                    <a:lnTo>
                      <a:pt x="96" y="124"/>
                    </a:lnTo>
                    <a:lnTo>
                      <a:pt x="97" y="124"/>
                    </a:lnTo>
                    <a:lnTo>
                      <a:pt x="97" y="126"/>
                    </a:lnTo>
                    <a:lnTo>
                      <a:pt x="97" y="124"/>
                    </a:lnTo>
                    <a:lnTo>
                      <a:pt x="99" y="124"/>
                    </a:lnTo>
                    <a:lnTo>
                      <a:pt x="97" y="124"/>
                    </a:lnTo>
                    <a:lnTo>
                      <a:pt x="99" y="126"/>
                    </a:lnTo>
                    <a:lnTo>
                      <a:pt x="99" y="127"/>
                    </a:lnTo>
                    <a:lnTo>
                      <a:pt x="99" y="129"/>
                    </a:lnTo>
                    <a:lnTo>
                      <a:pt x="99" y="127"/>
                    </a:lnTo>
                    <a:lnTo>
                      <a:pt x="101" y="127"/>
                    </a:lnTo>
                    <a:lnTo>
                      <a:pt x="101" y="129"/>
                    </a:lnTo>
                    <a:lnTo>
                      <a:pt x="101" y="131"/>
                    </a:lnTo>
                    <a:lnTo>
                      <a:pt x="103" y="133"/>
                    </a:lnTo>
                    <a:lnTo>
                      <a:pt x="105" y="133"/>
                    </a:lnTo>
                    <a:lnTo>
                      <a:pt x="103" y="133"/>
                    </a:lnTo>
                    <a:lnTo>
                      <a:pt x="101" y="131"/>
                    </a:lnTo>
                    <a:lnTo>
                      <a:pt x="101" y="129"/>
                    </a:lnTo>
                    <a:lnTo>
                      <a:pt x="101" y="131"/>
                    </a:lnTo>
                    <a:lnTo>
                      <a:pt x="103" y="133"/>
                    </a:lnTo>
                    <a:lnTo>
                      <a:pt x="103" y="135"/>
                    </a:lnTo>
                    <a:lnTo>
                      <a:pt x="103" y="133"/>
                    </a:lnTo>
                    <a:lnTo>
                      <a:pt x="103" y="135"/>
                    </a:lnTo>
                    <a:lnTo>
                      <a:pt x="105" y="135"/>
                    </a:lnTo>
                    <a:lnTo>
                      <a:pt x="105" y="133"/>
                    </a:lnTo>
                    <a:lnTo>
                      <a:pt x="105" y="135"/>
                    </a:lnTo>
                    <a:lnTo>
                      <a:pt x="107" y="135"/>
                    </a:lnTo>
                    <a:lnTo>
                      <a:pt x="107" y="137"/>
                    </a:lnTo>
                    <a:lnTo>
                      <a:pt x="109" y="137"/>
                    </a:lnTo>
                    <a:lnTo>
                      <a:pt x="107" y="137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7" y="141"/>
                    </a:lnTo>
                    <a:lnTo>
                      <a:pt x="109" y="139"/>
                    </a:lnTo>
                    <a:lnTo>
                      <a:pt x="107" y="141"/>
                    </a:lnTo>
                    <a:lnTo>
                      <a:pt x="109" y="141"/>
                    </a:lnTo>
                    <a:lnTo>
                      <a:pt x="109" y="143"/>
                    </a:lnTo>
                    <a:lnTo>
                      <a:pt x="111" y="145"/>
                    </a:lnTo>
                    <a:lnTo>
                      <a:pt x="109" y="145"/>
                    </a:lnTo>
                    <a:lnTo>
                      <a:pt x="111" y="145"/>
                    </a:lnTo>
                    <a:lnTo>
                      <a:pt x="111" y="146"/>
                    </a:lnTo>
                    <a:lnTo>
                      <a:pt x="111" y="148"/>
                    </a:lnTo>
                    <a:lnTo>
                      <a:pt x="111" y="146"/>
                    </a:lnTo>
                    <a:lnTo>
                      <a:pt x="111" y="148"/>
                    </a:lnTo>
                    <a:lnTo>
                      <a:pt x="111" y="150"/>
                    </a:lnTo>
                    <a:lnTo>
                      <a:pt x="113" y="150"/>
                    </a:lnTo>
                    <a:lnTo>
                      <a:pt x="113" y="152"/>
                    </a:lnTo>
                    <a:lnTo>
                      <a:pt x="113" y="154"/>
                    </a:lnTo>
                    <a:lnTo>
                      <a:pt x="113" y="156"/>
                    </a:lnTo>
                    <a:lnTo>
                      <a:pt x="115" y="158"/>
                    </a:lnTo>
                    <a:lnTo>
                      <a:pt x="115" y="160"/>
                    </a:lnTo>
                    <a:lnTo>
                      <a:pt x="115" y="162"/>
                    </a:lnTo>
                    <a:lnTo>
                      <a:pt x="115" y="160"/>
                    </a:lnTo>
                    <a:lnTo>
                      <a:pt x="113" y="160"/>
                    </a:lnTo>
                    <a:lnTo>
                      <a:pt x="113" y="162"/>
                    </a:lnTo>
                    <a:lnTo>
                      <a:pt x="115" y="162"/>
                    </a:lnTo>
                    <a:lnTo>
                      <a:pt x="113" y="162"/>
                    </a:lnTo>
                    <a:lnTo>
                      <a:pt x="115" y="164"/>
                    </a:lnTo>
                    <a:lnTo>
                      <a:pt x="113" y="164"/>
                    </a:lnTo>
                    <a:lnTo>
                      <a:pt x="115" y="166"/>
                    </a:lnTo>
                    <a:lnTo>
                      <a:pt x="113" y="166"/>
                    </a:lnTo>
                    <a:lnTo>
                      <a:pt x="113" y="164"/>
                    </a:lnTo>
                    <a:lnTo>
                      <a:pt x="115" y="166"/>
                    </a:lnTo>
                    <a:lnTo>
                      <a:pt x="115" y="167"/>
                    </a:lnTo>
                    <a:lnTo>
                      <a:pt x="113" y="167"/>
                    </a:lnTo>
                    <a:lnTo>
                      <a:pt x="115" y="167"/>
                    </a:lnTo>
                    <a:lnTo>
                      <a:pt x="113" y="167"/>
                    </a:lnTo>
                    <a:lnTo>
                      <a:pt x="115" y="167"/>
                    </a:lnTo>
                    <a:lnTo>
                      <a:pt x="115" y="169"/>
                    </a:lnTo>
                    <a:lnTo>
                      <a:pt x="115" y="171"/>
                    </a:lnTo>
                    <a:lnTo>
                      <a:pt x="115" y="169"/>
                    </a:lnTo>
                    <a:lnTo>
                      <a:pt x="115" y="171"/>
                    </a:lnTo>
                    <a:lnTo>
                      <a:pt x="115" y="173"/>
                    </a:lnTo>
                    <a:lnTo>
                      <a:pt x="117" y="175"/>
                    </a:lnTo>
                    <a:lnTo>
                      <a:pt x="117" y="177"/>
                    </a:lnTo>
                    <a:lnTo>
                      <a:pt x="117" y="179"/>
                    </a:lnTo>
                    <a:lnTo>
                      <a:pt x="117" y="181"/>
                    </a:lnTo>
                    <a:lnTo>
                      <a:pt x="117" y="183"/>
                    </a:lnTo>
                    <a:lnTo>
                      <a:pt x="117" y="181"/>
                    </a:lnTo>
                    <a:lnTo>
                      <a:pt x="115" y="181"/>
                    </a:lnTo>
                    <a:lnTo>
                      <a:pt x="117" y="179"/>
                    </a:lnTo>
                    <a:lnTo>
                      <a:pt x="115" y="179"/>
                    </a:lnTo>
                    <a:lnTo>
                      <a:pt x="113" y="181"/>
                    </a:lnTo>
                    <a:lnTo>
                      <a:pt x="113" y="183"/>
                    </a:lnTo>
                    <a:lnTo>
                      <a:pt x="113" y="181"/>
                    </a:lnTo>
                    <a:lnTo>
                      <a:pt x="115" y="181"/>
                    </a:lnTo>
                    <a:lnTo>
                      <a:pt x="113" y="183"/>
                    </a:lnTo>
                    <a:lnTo>
                      <a:pt x="115" y="183"/>
                    </a:lnTo>
                    <a:lnTo>
                      <a:pt x="115" y="185"/>
                    </a:lnTo>
                    <a:lnTo>
                      <a:pt x="113" y="183"/>
                    </a:lnTo>
                    <a:lnTo>
                      <a:pt x="113" y="185"/>
                    </a:lnTo>
                    <a:lnTo>
                      <a:pt x="115" y="187"/>
                    </a:lnTo>
                    <a:lnTo>
                      <a:pt x="113" y="187"/>
                    </a:lnTo>
                    <a:lnTo>
                      <a:pt x="113" y="188"/>
                    </a:lnTo>
                    <a:lnTo>
                      <a:pt x="113" y="190"/>
                    </a:lnTo>
                    <a:lnTo>
                      <a:pt x="115" y="190"/>
                    </a:lnTo>
                    <a:lnTo>
                      <a:pt x="115" y="192"/>
                    </a:lnTo>
                    <a:lnTo>
                      <a:pt x="115" y="194"/>
                    </a:lnTo>
                    <a:lnTo>
                      <a:pt x="113" y="192"/>
                    </a:lnTo>
                    <a:lnTo>
                      <a:pt x="113" y="190"/>
                    </a:lnTo>
                    <a:lnTo>
                      <a:pt x="113" y="188"/>
                    </a:lnTo>
                    <a:lnTo>
                      <a:pt x="113" y="190"/>
                    </a:lnTo>
                    <a:lnTo>
                      <a:pt x="113" y="192"/>
                    </a:lnTo>
                    <a:lnTo>
                      <a:pt x="113" y="194"/>
                    </a:lnTo>
                    <a:lnTo>
                      <a:pt x="113" y="192"/>
                    </a:lnTo>
                    <a:lnTo>
                      <a:pt x="113" y="194"/>
                    </a:lnTo>
                    <a:lnTo>
                      <a:pt x="113" y="196"/>
                    </a:lnTo>
                    <a:lnTo>
                      <a:pt x="113" y="198"/>
                    </a:lnTo>
                    <a:lnTo>
                      <a:pt x="111" y="198"/>
                    </a:lnTo>
                    <a:lnTo>
                      <a:pt x="111" y="196"/>
                    </a:lnTo>
                    <a:lnTo>
                      <a:pt x="111" y="198"/>
                    </a:lnTo>
                    <a:lnTo>
                      <a:pt x="111" y="200"/>
                    </a:lnTo>
                    <a:lnTo>
                      <a:pt x="111" y="202"/>
                    </a:lnTo>
                    <a:lnTo>
                      <a:pt x="109" y="202"/>
                    </a:lnTo>
                    <a:lnTo>
                      <a:pt x="107" y="202"/>
                    </a:lnTo>
                    <a:lnTo>
                      <a:pt x="105" y="204"/>
                    </a:lnTo>
                    <a:lnTo>
                      <a:pt x="103" y="206"/>
                    </a:lnTo>
                    <a:lnTo>
                      <a:pt x="101" y="206"/>
                    </a:lnTo>
                    <a:lnTo>
                      <a:pt x="101" y="208"/>
                    </a:lnTo>
                    <a:lnTo>
                      <a:pt x="99" y="208"/>
                    </a:lnTo>
                    <a:lnTo>
                      <a:pt x="99" y="209"/>
                    </a:lnTo>
                    <a:lnTo>
                      <a:pt x="99" y="208"/>
                    </a:lnTo>
                    <a:lnTo>
                      <a:pt x="97" y="208"/>
                    </a:lnTo>
                    <a:lnTo>
                      <a:pt x="96" y="209"/>
                    </a:lnTo>
                    <a:lnTo>
                      <a:pt x="94" y="211"/>
                    </a:lnTo>
                    <a:lnTo>
                      <a:pt x="92" y="211"/>
                    </a:lnTo>
                    <a:lnTo>
                      <a:pt x="90" y="213"/>
                    </a:lnTo>
                    <a:lnTo>
                      <a:pt x="88" y="215"/>
                    </a:lnTo>
                    <a:lnTo>
                      <a:pt x="86" y="215"/>
                    </a:lnTo>
                    <a:lnTo>
                      <a:pt x="84" y="215"/>
                    </a:lnTo>
                    <a:lnTo>
                      <a:pt x="82" y="217"/>
                    </a:lnTo>
                    <a:lnTo>
                      <a:pt x="80" y="217"/>
                    </a:lnTo>
                    <a:lnTo>
                      <a:pt x="80" y="219"/>
                    </a:lnTo>
                    <a:lnTo>
                      <a:pt x="78" y="217"/>
                    </a:lnTo>
                    <a:lnTo>
                      <a:pt x="80" y="217"/>
                    </a:lnTo>
                    <a:lnTo>
                      <a:pt x="78" y="217"/>
                    </a:lnTo>
                    <a:lnTo>
                      <a:pt x="78" y="215"/>
                    </a:lnTo>
                    <a:lnTo>
                      <a:pt x="77" y="215"/>
                    </a:lnTo>
                    <a:lnTo>
                      <a:pt x="77" y="217"/>
                    </a:lnTo>
                    <a:lnTo>
                      <a:pt x="78" y="217"/>
                    </a:lnTo>
                    <a:lnTo>
                      <a:pt x="77" y="217"/>
                    </a:lnTo>
                    <a:lnTo>
                      <a:pt x="77" y="215"/>
                    </a:lnTo>
                    <a:lnTo>
                      <a:pt x="77" y="217"/>
                    </a:lnTo>
                    <a:lnTo>
                      <a:pt x="75" y="217"/>
                    </a:lnTo>
                    <a:lnTo>
                      <a:pt x="75" y="215"/>
                    </a:lnTo>
                    <a:lnTo>
                      <a:pt x="75" y="217"/>
                    </a:lnTo>
                    <a:lnTo>
                      <a:pt x="75" y="219"/>
                    </a:lnTo>
                    <a:lnTo>
                      <a:pt x="73" y="219"/>
                    </a:lnTo>
                    <a:lnTo>
                      <a:pt x="71" y="219"/>
                    </a:lnTo>
                    <a:lnTo>
                      <a:pt x="69" y="219"/>
                    </a:lnTo>
                    <a:lnTo>
                      <a:pt x="73" y="219"/>
                    </a:lnTo>
                    <a:lnTo>
                      <a:pt x="75" y="221"/>
                    </a:lnTo>
                    <a:lnTo>
                      <a:pt x="75" y="223"/>
                    </a:lnTo>
                    <a:lnTo>
                      <a:pt x="73" y="223"/>
                    </a:lnTo>
                    <a:lnTo>
                      <a:pt x="73" y="225"/>
                    </a:lnTo>
                    <a:lnTo>
                      <a:pt x="71" y="223"/>
                    </a:lnTo>
                    <a:lnTo>
                      <a:pt x="69" y="221"/>
                    </a:lnTo>
                    <a:lnTo>
                      <a:pt x="67" y="219"/>
                    </a:lnTo>
                    <a:lnTo>
                      <a:pt x="69" y="221"/>
                    </a:lnTo>
                    <a:lnTo>
                      <a:pt x="71" y="223"/>
                    </a:lnTo>
                    <a:lnTo>
                      <a:pt x="73" y="225"/>
                    </a:lnTo>
                    <a:lnTo>
                      <a:pt x="73" y="227"/>
                    </a:lnTo>
                    <a:lnTo>
                      <a:pt x="71" y="225"/>
                    </a:lnTo>
                    <a:lnTo>
                      <a:pt x="69" y="225"/>
                    </a:lnTo>
                    <a:lnTo>
                      <a:pt x="67" y="223"/>
                    </a:lnTo>
                    <a:lnTo>
                      <a:pt x="65" y="221"/>
                    </a:lnTo>
                    <a:lnTo>
                      <a:pt x="65" y="223"/>
                    </a:lnTo>
                    <a:lnTo>
                      <a:pt x="69" y="227"/>
                    </a:lnTo>
                    <a:lnTo>
                      <a:pt x="71" y="227"/>
                    </a:lnTo>
                    <a:lnTo>
                      <a:pt x="71" y="229"/>
                    </a:lnTo>
                    <a:lnTo>
                      <a:pt x="71" y="230"/>
                    </a:lnTo>
                    <a:lnTo>
                      <a:pt x="69" y="230"/>
                    </a:lnTo>
                    <a:lnTo>
                      <a:pt x="67" y="230"/>
                    </a:lnTo>
                    <a:lnTo>
                      <a:pt x="65" y="229"/>
                    </a:lnTo>
                    <a:lnTo>
                      <a:pt x="65" y="227"/>
                    </a:lnTo>
                    <a:lnTo>
                      <a:pt x="63" y="227"/>
                    </a:lnTo>
                    <a:lnTo>
                      <a:pt x="65" y="229"/>
                    </a:lnTo>
                    <a:lnTo>
                      <a:pt x="65" y="230"/>
                    </a:lnTo>
                    <a:lnTo>
                      <a:pt x="65" y="232"/>
                    </a:lnTo>
                    <a:lnTo>
                      <a:pt x="65" y="234"/>
                    </a:lnTo>
                    <a:lnTo>
                      <a:pt x="63" y="234"/>
                    </a:lnTo>
                    <a:lnTo>
                      <a:pt x="61" y="236"/>
                    </a:lnTo>
                    <a:lnTo>
                      <a:pt x="54" y="238"/>
                    </a:lnTo>
                    <a:lnTo>
                      <a:pt x="54" y="240"/>
                    </a:lnTo>
                    <a:lnTo>
                      <a:pt x="52" y="242"/>
                    </a:lnTo>
                    <a:lnTo>
                      <a:pt x="50" y="244"/>
                    </a:lnTo>
                    <a:lnTo>
                      <a:pt x="48" y="246"/>
                    </a:lnTo>
                    <a:lnTo>
                      <a:pt x="46" y="246"/>
                    </a:lnTo>
                    <a:lnTo>
                      <a:pt x="44" y="248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2" y="246"/>
                    </a:lnTo>
                    <a:lnTo>
                      <a:pt x="42" y="244"/>
                    </a:lnTo>
                    <a:lnTo>
                      <a:pt x="44" y="244"/>
                    </a:lnTo>
                    <a:lnTo>
                      <a:pt x="44" y="242"/>
                    </a:lnTo>
                    <a:lnTo>
                      <a:pt x="44" y="244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4" y="240"/>
                    </a:lnTo>
                    <a:lnTo>
                      <a:pt x="44" y="238"/>
                    </a:lnTo>
                    <a:lnTo>
                      <a:pt x="44" y="230"/>
                    </a:lnTo>
                    <a:lnTo>
                      <a:pt x="44" y="229"/>
                    </a:lnTo>
                    <a:lnTo>
                      <a:pt x="44" y="227"/>
                    </a:lnTo>
                    <a:lnTo>
                      <a:pt x="46" y="227"/>
                    </a:lnTo>
                    <a:lnTo>
                      <a:pt x="48" y="225"/>
                    </a:lnTo>
                    <a:lnTo>
                      <a:pt x="48" y="223"/>
                    </a:lnTo>
                    <a:lnTo>
                      <a:pt x="46" y="223"/>
                    </a:lnTo>
                    <a:lnTo>
                      <a:pt x="44" y="223"/>
                    </a:lnTo>
                    <a:lnTo>
                      <a:pt x="44" y="221"/>
                    </a:lnTo>
                    <a:lnTo>
                      <a:pt x="42" y="219"/>
                    </a:lnTo>
                    <a:lnTo>
                      <a:pt x="42" y="221"/>
                    </a:lnTo>
                    <a:lnTo>
                      <a:pt x="40" y="221"/>
                    </a:lnTo>
                    <a:lnTo>
                      <a:pt x="40" y="219"/>
                    </a:lnTo>
                    <a:lnTo>
                      <a:pt x="38" y="219"/>
                    </a:lnTo>
                    <a:lnTo>
                      <a:pt x="38" y="217"/>
                    </a:lnTo>
                    <a:lnTo>
                      <a:pt x="38" y="215"/>
                    </a:lnTo>
                    <a:lnTo>
                      <a:pt x="40" y="215"/>
                    </a:lnTo>
                    <a:lnTo>
                      <a:pt x="42" y="215"/>
                    </a:lnTo>
                    <a:lnTo>
                      <a:pt x="44" y="215"/>
                    </a:lnTo>
                    <a:lnTo>
                      <a:pt x="46" y="213"/>
                    </a:lnTo>
                    <a:lnTo>
                      <a:pt x="48" y="211"/>
                    </a:lnTo>
                    <a:lnTo>
                      <a:pt x="46" y="209"/>
                    </a:lnTo>
                    <a:lnTo>
                      <a:pt x="48" y="208"/>
                    </a:lnTo>
                    <a:lnTo>
                      <a:pt x="48" y="209"/>
                    </a:lnTo>
                    <a:lnTo>
                      <a:pt x="52" y="209"/>
                    </a:lnTo>
                    <a:lnTo>
                      <a:pt x="54" y="208"/>
                    </a:lnTo>
                    <a:lnTo>
                      <a:pt x="56" y="208"/>
                    </a:lnTo>
                    <a:lnTo>
                      <a:pt x="59" y="208"/>
                    </a:lnTo>
                    <a:lnTo>
                      <a:pt x="59" y="209"/>
                    </a:lnTo>
                    <a:lnTo>
                      <a:pt x="61" y="209"/>
                    </a:lnTo>
                    <a:lnTo>
                      <a:pt x="63" y="209"/>
                    </a:lnTo>
                    <a:lnTo>
                      <a:pt x="65" y="209"/>
                    </a:lnTo>
                    <a:lnTo>
                      <a:pt x="65" y="211"/>
                    </a:lnTo>
                    <a:lnTo>
                      <a:pt x="65" y="209"/>
                    </a:lnTo>
                    <a:lnTo>
                      <a:pt x="65" y="208"/>
                    </a:lnTo>
                    <a:lnTo>
                      <a:pt x="65" y="206"/>
                    </a:lnTo>
                    <a:lnTo>
                      <a:pt x="63" y="206"/>
                    </a:lnTo>
                    <a:lnTo>
                      <a:pt x="63" y="204"/>
                    </a:lnTo>
                    <a:lnTo>
                      <a:pt x="61" y="204"/>
                    </a:lnTo>
                    <a:lnTo>
                      <a:pt x="61" y="202"/>
                    </a:lnTo>
                    <a:lnTo>
                      <a:pt x="59" y="202"/>
                    </a:lnTo>
                    <a:lnTo>
                      <a:pt x="61" y="202"/>
                    </a:lnTo>
                    <a:lnTo>
                      <a:pt x="59" y="202"/>
                    </a:lnTo>
                    <a:lnTo>
                      <a:pt x="59" y="200"/>
                    </a:lnTo>
                    <a:lnTo>
                      <a:pt x="61" y="200"/>
                    </a:lnTo>
                    <a:lnTo>
                      <a:pt x="59" y="200"/>
                    </a:lnTo>
                    <a:lnTo>
                      <a:pt x="61" y="198"/>
                    </a:lnTo>
                    <a:lnTo>
                      <a:pt x="59" y="198"/>
                    </a:lnTo>
                    <a:lnTo>
                      <a:pt x="59" y="196"/>
                    </a:lnTo>
                    <a:lnTo>
                      <a:pt x="61" y="196"/>
                    </a:lnTo>
                    <a:lnTo>
                      <a:pt x="63" y="196"/>
                    </a:lnTo>
                    <a:lnTo>
                      <a:pt x="63" y="194"/>
                    </a:lnTo>
                    <a:lnTo>
                      <a:pt x="63" y="196"/>
                    </a:lnTo>
                    <a:lnTo>
                      <a:pt x="65" y="196"/>
                    </a:lnTo>
                    <a:lnTo>
                      <a:pt x="65" y="194"/>
                    </a:lnTo>
                    <a:lnTo>
                      <a:pt x="65" y="196"/>
                    </a:lnTo>
                    <a:lnTo>
                      <a:pt x="67" y="196"/>
                    </a:lnTo>
                    <a:lnTo>
                      <a:pt x="69" y="196"/>
                    </a:lnTo>
                    <a:lnTo>
                      <a:pt x="69" y="194"/>
                    </a:lnTo>
                    <a:lnTo>
                      <a:pt x="69" y="192"/>
                    </a:lnTo>
                    <a:lnTo>
                      <a:pt x="69" y="190"/>
                    </a:lnTo>
                    <a:lnTo>
                      <a:pt x="71" y="192"/>
                    </a:lnTo>
                    <a:lnTo>
                      <a:pt x="73" y="192"/>
                    </a:lnTo>
                    <a:lnTo>
                      <a:pt x="73" y="190"/>
                    </a:lnTo>
                    <a:lnTo>
                      <a:pt x="73" y="192"/>
                    </a:lnTo>
                    <a:lnTo>
                      <a:pt x="75" y="192"/>
                    </a:lnTo>
                    <a:lnTo>
                      <a:pt x="75" y="190"/>
                    </a:lnTo>
                    <a:lnTo>
                      <a:pt x="77" y="190"/>
                    </a:lnTo>
                    <a:lnTo>
                      <a:pt x="78" y="190"/>
                    </a:lnTo>
                    <a:lnTo>
                      <a:pt x="78" y="188"/>
                    </a:lnTo>
                    <a:lnTo>
                      <a:pt x="80" y="188"/>
                    </a:lnTo>
                    <a:lnTo>
                      <a:pt x="78" y="188"/>
                    </a:lnTo>
                    <a:lnTo>
                      <a:pt x="80" y="188"/>
                    </a:lnTo>
                    <a:lnTo>
                      <a:pt x="80" y="187"/>
                    </a:lnTo>
                    <a:lnTo>
                      <a:pt x="82" y="187"/>
                    </a:lnTo>
                    <a:lnTo>
                      <a:pt x="84" y="187"/>
                    </a:lnTo>
                    <a:lnTo>
                      <a:pt x="84" y="185"/>
                    </a:lnTo>
                    <a:lnTo>
                      <a:pt x="84" y="187"/>
                    </a:lnTo>
                    <a:lnTo>
                      <a:pt x="86" y="187"/>
                    </a:lnTo>
                    <a:lnTo>
                      <a:pt x="86" y="185"/>
                    </a:lnTo>
                    <a:lnTo>
                      <a:pt x="88" y="183"/>
                    </a:lnTo>
                    <a:lnTo>
                      <a:pt x="88" y="181"/>
                    </a:lnTo>
                    <a:lnTo>
                      <a:pt x="88" y="179"/>
                    </a:lnTo>
                    <a:lnTo>
                      <a:pt x="86" y="177"/>
                    </a:lnTo>
                    <a:lnTo>
                      <a:pt x="86" y="175"/>
                    </a:lnTo>
                    <a:lnTo>
                      <a:pt x="86" y="173"/>
                    </a:lnTo>
                    <a:lnTo>
                      <a:pt x="88" y="169"/>
                    </a:lnTo>
                    <a:lnTo>
                      <a:pt x="88" y="166"/>
                    </a:lnTo>
                    <a:lnTo>
                      <a:pt x="86" y="162"/>
                    </a:lnTo>
                    <a:lnTo>
                      <a:pt x="86" y="160"/>
                    </a:lnTo>
                    <a:lnTo>
                      <a:pt x="86" y="158"/>
                    </a:lnTo>
                    <a:lnTo>
                      <a:pt x="84" y="158"/>
                    </a:lnTo>
                    <a:lnTo>
                      <a:pt x="84" y="156"/>
                    </a:lnTo>
                    <a:lnTo>
                      <a:pt x="84" y="154"/>
                    </a:lnTo>
                    <a:lnTo>
                      <a:pt x="84" y="152"/>
                    </a:lnTo>
                    <a:lnTo>
                      <a:pt x="86" y="152"/>
                    </a:lnTo>
                    <a:lnTo>
                      <a:pt x="86" y="150"/>
                    </a:lnTo>
                    <a:lnTo>
                      <a:pt x="86" y="148"/>
                    </a:lnTo>
                    <a:lnTo>
                      <a:pt x="88" y="146"/>
                    </a:lnTo>
                    <a:lnTo>
                      <a:pt x="86" y="146"/>
                    </a:lnTo>
                    <a:lnTo>
                      <a:pt x="86" y="145"/>
                    </a:lnTo>
                    <a:lnTo>
                      <a:pt x="88" y="145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8" y="141"/>
                    </a:lnTo>
                    <a:lnTo>
                      <a:pt x="88" y="139"/>
                    </a:lnTo>
                    <a:lnTo>
                      <a:pt x="88" y="137"/>
                    </a:lnTo>
                    <a:lnTo>
                      <a:pt x="88" y="135"/>
                    </a:lnTo>
                    <a:lnTo>
                      <a:pt x="86" y="135"/>
                    </a:lnTo>
                    <a:lnTo>
                      <a:pt x="86" y="133"/>
                    </a:lnTo>
                    <a:lnTo>
                      <a:pt x="84" y="133"/>
                    </a:lnTo>
                    <a:lnTo>
                      <a:pt x="84" y="131"/>
                    </a:lnTo>
                    <a:lnTo>
                      <a:pt x="82" y="131"/>
                    </a:lnTo>
                    <a:lnTo>
                      <a:pt x="82" y="129"/>
                    </a:lnTo>
                    <a:lnTo>
                      <a:pt x="82" y="127"/>
                    </a:lnTo>
                    <a:lnTo>
                      <a:pt x="84" y="127"/>
                    </a:lnTo>
                    <a:lnTo>
                      <a:pt x="86" y="126"/>
                    </a:lnTo>
                    <a:lnTo>
                      <a:pt x="86" y="124"/>
                    </a:lnTo>
                    <a:lnTo>
                      <a:pt x="84" y="124"/>
                    </a:lnTo>
                    <a:lnTo>
                      <a:pt x="82" y="124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78" y="120"/>
                    </a:lnTo>
                    <a:lnTo>
                      <a:pt x="77" y="120"/>
                    </a:lnTo>
                    <a:lnTo>
                      <a:pt x="77" y="118"/>
                    </a:lnTo>
                    <a:lnTo>
                      <a:pt x="77" y="116"/>
                    </a:lnTo>
                    <a:lnTo>
                      <a:pt x="75" y="116"/>
                    </a:lnTo>
                    <a:lnTo>
                      <a:pt x="75" y="118"/>
                    </a:lnTo>
                    <a:lnTo>
                      <a:pt x="73" y="118"/>
                    </a:lnTo>
                    <a:lnTo>
                      <a:pt x="73" y="116"/>
                    </a:lnTo>
                    <a:lnTo>
                      <a:pt x="71" y="116"/>
                    </a:lnTo>
                    <a:lnTo>
                      <a:pt x="71" y="114"/>
                    </a:lnTo>
                    <a:lnTo>
                      <a:pt x="71" y="110"/>
                    </a:lnTo>
                    <a:lnTo>
                      <a:pt x="71" y="108"/>
                    </a:lnTo>
                    <a:lnTo>
                      <a:pt x="71" y="110"/>
                    </a:lnTo>
                    <a:lnTo>
                      <a:pt x="69" y="108"/>
                    </a:lnTo>
                    <a:lnTo>
                      <a:pt x="69" y="106"/>
                    </a:lnTo>
                    <a:lnTo>
                      <a:pt x="67" y="106"/>
                    </a:lnTo>
                    <a:lnTo>
                      <a:pt x="69" y="106"/>
                    </a:lnTo>
                    <a:lnTo>
                      <a:pt x="67" y="106"/>
                    </a:lnTo>
                    <a:lnTo>
                      <a:pt x="67" y="105"/>
                    </a:lnTo>
                    <a:lnTo>
                      <a:pt x="65" y="105"/>
                    </a:lnTo>
                    <a:lnTo>
                      <a:pt x="63" y="103"/>
                    </a:lnTo>
                    <a:lnTo>
                      <a:pt x="59" y="99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7" y="95"/>
                    </a:lnTo>
                    <a:lnTo>
                      <a:pt x="56" y="93"/>
                    </a:lnTo>
                    <a:lnTo>
                      <a:pt x="57" y="93"/>
                    </a:lnTo>
                    <a:lnTo>
                      <a:pt x="56" y="91"/>
                    </a:lnTo>
                    <a:lnTo>
                      <a:pt x="54" y="89"/>
                    </a:lnTo>
                    <a:lnTo>
                      <a:pt x="52" y="89"/>
                    </a:lnTo>
                    <a:lnTo>
                      <a:pt x="52" y="87"/>
                    </a:lnTo>
                    <a:lnTo>
                      <a:pt x="50" y="87"/>
                    </a:lnTo>
                    <a:lnTo>
                      <a:pt x="50" y="85"/>
                    </a:lnTo>
                    <a:lnTo>
                      <a:pt x="48" y="85"/>
                    </a:lnTo>
                    <a:lnTo>
                      <a:pt x="48" y="84"/>
                    </a:lnTo>
                    <a:lnTo>
                      <a:pt x="48" y="82"/>
                    </a:lnTo>
                    <a:lnTo>
                      <a:pt x="50" y="82"/>
                    </a:lnTo>
                    <a:lnTo>
                      <a:pt x="48" y="82"/>
                    </a:lnTo>
                    <a:lnTo>
                      <a:pt x="48" y="80"/>
                    </a:lnTo>
                    <a:lnTo>
                      <a:pt x="46" y="80"/>
                    </a:lnTo>
                    <a:lnTo>
                      <a:pt x="44" y="80"/>
                    </a:lnTo>
                    <a:lnTo>
                      <a:pt x="42" y="80"/>
                    </a:lnTo>
                    <a:lnTo>
                      <a:pt x="42" y="78"/>
                    </a:lnTo>
                    <a:lnTo>
                      <a:pt x="40" y="78"/>
                    </a:lnTo>
                    <a:lnTo>
                      <a:pt x="38" y="76"/>
                    </a:lnTo>
                    <a:lnTo>
                      <a:pt x="36" y="74"/>
                    </a:lnTo>
                    <a:lnTo>
                      <a:pt x="35" y="74"/>
                    </a:lnTo>
                    <a:lnTo>
                      <a:pt x="35" y="72"/>
                    </a:lnTo>
                    <a:lnTo>
                      <a:pt x="33" y="72"/>
                    </a:lnTo>
                    <a:lnTo>
                      <a:pt x="31" y="72"/>
                    </a:lnTo>
                    <a:lnTo>
                      <a:pt x="31" y="70"/>
                    </a:lnTo>
                    <a:lnTo>
                      <a:pt x="29" y="70"/>
                    </a:lnTo>
                    <a:lnTo>
                      <a:pt x="31" y="68"/>
                    </a:lnTo>
                    <a:lnTo>
                      <a:pt x="33" y="66"/>
                    </a:lnTo>
                    <a:lnTo>
                      <a:pt x="31" y="64"/>
                    </a:lnTo>
                    <a:lnTo>
                      <a:pt x="33" y="64"/>
                    </a:lnTo>
                    <a:lnTo>
                      <a:pt x="35" y="63"/>
                    </a:lnTo>
                    <a:lnTo>
                      <a:pt x="35" y="64"/>
                    </a:lnTo>
                    <a:lnTo>
                      <a:pt x="36" y="64"/>
                    </a:lnTo>
                    <a:lnTo>
                      <a:pt x="36" y="63"/>
                    </a:lnTo>
                    <a:lnTo>
                      <a:pt x="38" y="64"/>
                    </a:lnTo>
                    <a:lnTo>
                      <a:pt x="40" y="64"/>
                    </a:lnTo>
                    <a:lnTo>
                      <a:pt x="42" y="63"/>
                    </a:lnTo>
                    <a:lnTo>
                      <a:pt x="44" y="63"/>
                    </a:lnTo>
                    <a:lnTo>
                      <a:pt x="44" y="61"/>
                    </a:lnTo>
                    <a:lnTo>
                      <a:pt x="44" y="59"/>
                    </a:lnTo>
                    <a:lnTo>
                      <a:pt x="46" y="59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4" y="57"/>
                    </a:lnTo>
                    <a:lnTo>
                      <a:pt x="42" y="55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42" y="51"/>
                    </a:lnTo>
                    <a:lnTo>
                      <a:pt x="40" y="51"/>
                    </a:lnTo>
                    <a:lnTo>
                      <a:pt x="38" y="51"/>
                    </a:lnTo>
                    <a:lnTo>
                      <a:pt x="38" y="53"/>
                    </a:lnTo>
                    <a:lnTo>
                      <a:pt x="36" y="53"/>
                    </a:lnTo>
                    <a:lnTo>
                      <a:pt x="36" y="51"/>
                    </a:lnTo>
                    <a:lnTo>
                      <a:pt x="38" y="49"/>
                    </a:lnTo>
                    <a:lnTo>
                      <a:pt x="40" y="47"/>
                    </a:lnTo>
                    <a:lnTo>
                      <a:pt x="38" y="45"/>
                    </a:lnTo>
                    <a:lnTo>
                      <a:pt x="38" y="47"/>
                    </a:lnTo>
                    <a:lnTo>
                      <a:pt x="38" y="45"/>
                    </a:lnTo>
                    <a:lnTo>
                      <a:pt x="36" y="45"/>
                    </a:lnTo>
                    <a:lnTo>
                      <a:pt x="36" y="43"/>
                    </a:lnTo>
                    <a:lnTo>
                      <a:pt x="35" y="43"/>
                    </a:lnTo>
                    <a:lnTo>
                      <a:pt x="33" y="42"/>
                    </a:lnTo>
                    <a:lnTo>
                      <a:pt x="31" y="42"/>
                    </a:lnTo>
                    <a:lnTo>
                      <a:pt x="31" y="43"/>
                    </a:lnTo>
                    <a:lnTo>
                      <a:pt x="29" y="43"/>
                    </a:lnTo>
                    <a:lnTo>
                      <a:pt x="27" y="43"/>
                    </a:lnTo>
                    <a:lnTo>
                      <a:pt x="27" y="45"/>
                    </a:lnTo>
                    <a:lnTo>
                      <a:pt x="27" y="47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3" y="45"/>
                    </a:lnTo>
                    <a:lnTo>
                      <a:pt x="21" y="45"/>
                    </a:lnTo>
                    <a:lnTo>
                      <a:pt x="19" y="45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17" y="43"/>
                    </a:lnTo>
                    <a:lnTo>
                      <a:pt x="15" y="43"/>
                    </a:lnTo>
                    <a:lnTo>
                      <a:pt x="15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2" y="36"/>
                    </a:lnTo>
                    <a:lnTo>
                      <a:pt x="14" y="36"/>
                    </a:lnTo>
                    <a:lnTo>
                      <a:pt x="14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0" y="30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0" y="17"/>
                    </a:lnTo>
                    <a:close/>
                    <a:moveTo>
                      <a:pt x="31" y="217"/>
                    </a:moveTo>
                    <a:lnTo>
                      <a:pt x="33" y="217"/>
                    </a:lnTo>
                    <a:lnTo>
                      <a:pt x="33" y="219"/>
                    </a:lnTo>
                    <a:lnTo>
                      <a:pt x="31" y="223"/>
                    </a:lnTo>
                    <a:lnTo>
                      <a:pt x="29" y="221"/>
                    </a:lnTo>
                    <a:lnTo>
                      <a:pt x="29" y="219"/>
                    </a:lnTo>
                    <a:lnTo>
                      <a:pt x="27" y="217"/>
                    </a:lnTo>
                    <a:lnTo>
                      <a:pt x="29" y="217"/>
                    </a:lnTo>
                    <a:lnTo>
                      <a:pt x="31" y="217"/>
                    </a:lnTo>
                    <a:close/>
                    <a:moveTo>
                      <a:pt x="86" y="38"/>
                    </a:moveTo>
                    <a:lnTo>
                      <a:pt x="88" y="38"/>
                    </a:lnTo>
                    <a:lnTo>
                      <a:pt x="86" y="40"/>
                    </a:lnTo>
                    <a:lnTo>
                      <a:pt x="84" y="40"/>
                    </a:lnTo>
                    <a:lnTo>
                      <a:pt x="84" y="42"/>
                    </a:lnTo>
                    <a:lnTo>
                      <a:pt x="84" y="40"/>
                    </a:lnTo>
                    <a:lnTo>
                      <a:pt x="84" y="38"/>
                    </a:lnTo>
                    <a:lnTo>
                      <a:pt x="86" y="38"/>
                    </a:lnTo>
                    <a:close/>
                    <a:moveTo>
                      <a:pt x="77" y="43"/>
                    </a:moveTo>
                    <a:lnTo>
                      <a:pt x="78" y="43"/>
                    </a:lnTo>
                    <a:lnTo>
                      <a:pt x="78" y="45"/>
                    </a:lnTo>
                    <a:lnTo>
                      <a:pt x="78" y="43"/>
                    </a:lnTo>
                    <a:lnTo>
                      <a:pt x="78" y="45"/>
                    </a:lnTo>
                    <a:lnTo>
                      <a:pt x="80" y="45"/>
                    </a:lnTo>
                    <a:lnTo>
                      <a:pt x="78" y="45"/>
                    </a:lnTo>
                    <a:lnTo>
                      <a:pt x="78" y="47"/>
                    </a:lnTo>
                    <a:lnTo>
                      <a:pt x="78" y="45"/>
                    </a:lnTo>
                    <a:lnTo>
                      <a:pt x="77" y="45"/>
                    </a:lnTo>
                    <a:lnTo>
                      <a:pt x="77" y="43"/>
                    </a:lnTo>
                    <a:close/>
                    <a:moveTo>
                      <a:pt x="65" y="229"/>
                    </a:moveTo>
                    <a:lnTo>
                      <a:pt x="67" y="230"/>
                    </a:lnTo>
                    <a:lnTo>
                      <a:pt x="67" y="232"/>
                    </a:lnTo>
                    <a:lnTo>
                      <a:pt x="65" y="232"/>
                    </a:lnTo>
                    <a:lnTo>
                      <a:pt x="65" y="230"/>
                    </a:lnTo>
                    <a:lnTo>
                      <a:pt x="63" y="229"/>
                    </a:lnTo>
                    <a:lnTo>
                      <a:pt x="63" y="227"/>
                    </a:lnTo>
                    <a:lnTo>
                      <a:pt x="65" y="229"/>
                    </a:lnTo>
                    <a:close/>
                    <a:moveTo>
                      <a:pt x="71" y="219"/>
                    </a:moveTo>
                    <a:lnTo>
                      <a:pt x="73" y="219"/>
                    </a:lnTo>
                    <a:lnTo>
                      <a:pt x="75" y="219"/>
                    </a:lnTo>
                    <a:lnTo>
                      <a:pt x="75" y="221"/>
                    </a:lnTo>
                    <a:lnTo>
                      <a:pt x="73" y="219"/>
                    </a:lnTo>
                    <a:lnTo>
                      <a:pt x="71" y="219"/>
                    </a:lnTo>
                    <a:close/>
                    <a:moveTo>
                      <a:pt x="88" y="116"/>
                    </a:moveTo>
                    <a:lnTo>
                      <a:pt x="90" y="118"/>
                    </a:lnTo>
                    <a:lnTo>
                      <a:pt x="94" y="120"/>
                    </a:lnTo>
                    <a:lnTo>
                      <a:pt x="92" y="120"/>
                    </a:lnTo>
                    <a:lnTo>
                      <a:pt x="90" y="118"/>
                    </a:lnTo>
                    <a:lnTo>
                      <a:pt x="88" y="116"/>
                    </a:lnTo>
                    <a:close/>
                    <a:moveTo>
                      <a:pt x="84" y="42"/>
                    </a:moveTo>
                    <a:lnTo>
                      <a:pt x="88" y="42"/>
                    </a:lnTo>
                    <a:lnTo>
                      <a:pt x="88" y="43"/>
                    </a:lnTo>
                    <a:lnTo>
                      <a:pt x="84" y="43"/>
                    </a:lnTo>
                    <a:lnTo>
                      <a:pt x="84" y="42"/>
                    </a:lnTo>
                    <a:close/>
                    <a:moveTo>
                      <a:pt x="71" y="244"/>
                    </a:moveTo>
                    <a:lnTo>
                      <a:pt x="73" y="244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71" y="244"/>
                    </a:lnTo>
                    <a:close/>
                    <a:moveTo>
                      <a:pt x="178" y="255"/>
                    </a:moveTo>
                    <a:lnTo>
                      <a:pt x="178" y="253"/>
                    </a:lnTo>
                    <a:lnTo>
                      <a:pt x="179" y="251"/>
                    </a:lnTo>
                    <a:lnTo>
                      <a:pt x="179" y="253"/>
                    </a:lnTo>
                    <a:lnTo>
                      <a:pt x="178" y="255"/>
                    </a:lnTo>
                    <a:close/>
                    <a:moveTo>
                      <a:pt x="75" y="43"/>
                    </a:moveTo>
                    <a:lnTo>
                      <a:pt x="77" y="43"/>
                    </a:lnTo>
                    <a:lnTo>
                      <a:pt x="77" y="45"/>
                    </a:lnTo>
                    <a:lnTo>
                      <a:pt x="75" y="45"/>
                    </a:lnTo>
                    <a:lnTo>
                      <a:pt x="75" y="43"/>
                    </a:lnTo>
                    <a:close/>
                    <a:moveTo>
                      <a:pt x="115" y="181"/>
                    </a:moveTo>
                    <a:lnTo>
                      <a:pt x="117" y="181"/>
                    </a:lnTo>
                    <a:lnTo>
                      <a:pt x="117" y="183"/>
                    </a:lnTo>
                    <a:lnTo>
                      <a:pt x="115" y="183"/>
                    </a:lnTo>
                    <a:lnTo>
                      <a:pt x="115" y="181"/>
                    </a:lnTo>
                    <a:close/>
                    <a:moveTo>
                      <a:pt x="69" y="225"/>
                    </a:moveTo>
                    <a:lnTo>
                      <a:pt x="71" y="225"/>
                    </a:lnTo>
                    <a:lnTo>
                      <a:pt x="71" y="227"/>
                    </a:lnTo>
                    <a:lnTo>
                      <a:pt x="69" y="227"/>
                    </a:lnTo>
                    <a:lnTo>
                      <a:pt x="69" y="225"/>
                    </a:lnTo>
                    <a:close/>
                    <a:moveTo>
                      <a:pt x="92" y="34"/>
                    </a:moveTo>
                    <a:lnTo>
                      <a:pt x="94" y="34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2" y="34"/>
                    </a:lnTo>
                    <a:close/>
                    <a:moveTo>
                      <a:pt x="113" y="187"/>
                    </a:moveTo>
                    <a:lnTo>
                      <a:pt x="115" y="187"/>
                    </a:lnTo>
                    <a:lnTo>
                      <a:pt x="115" y="188"/>
                    </a:lnTo>
                    <a:lnTo>
                      <a:pt x="113" y="188"/>
                    </a:lnTo>
                    <a:lnTo>
                      <a:pt x="113" y="187"/>
                    </a:lnTo>
                    <a:close/>
                    <a:moveTo>
                      <a:pt x="65" y="221"/>
                    </a:moveTo>
                    <a:lnTo>
                      <a:pt x="67" y="221"/>
                    </a:lnTo>
                    <a:lnTo>
                      <a:pt x="67" y="223"/>
                    </a:lnTo>
                    <a:lnTo>
                      <a:pt x="65" y="223"/>
                    </a:lnTo>
                    <a:lnTo>
                      <a:pt x="65" y="221"/>
                    </a:lnTo>
                    <a:close/>
                    <a:moveTo>
                      <a:pt x="193" y="244"/>
                    </a:moveTo>
                    <a:lnTo>
                      <a:pt x="193" y="246"/>
                    </a:lnTo>
                    <a:lnTo>
                      <a:pt x="193" y="244"/>
                    </a:lnTo>
                    <a:close/>
                    <a:moveTo>
                      <a:pt x="86" y="40"/>
                    </a:moveTo>
                    <a:lnTo>
                      <a:pt x="88" y="40"/>
                    </a:lnTo>
                    <a:lnTo>
                      <a:pt x="88" y="42"/>
                    </a:lnTo>
                    <a:lnTo>
                      <a:pt x="86" y="42"/>
                    </a:lnTo>
                    <a:lnTo>
                      <a:pt x="86" y="40"/>
                    </a:lnTo>
                    <a:close/>
                    <a:moveTo>
                      <a:pt x="88" y="40"/>
                    </a:moveTo>
                    <a:lnTo>
                      <a:pt x="88" y="42"/>
                    </a:lnTo>
                    <a:lnTo>
                      <a:pt x="88" y="40"/>
                    </a:lnTo>
                    <a:close/>
                    <a:moveTo>
                      <a:pt x="187" y="221"/>
                    </a:moveTo>
                    <a:lnTo>
                      <a:pt x="187" y="223"/>
                    </a:lnTo>
                    <a:lnTo>
                      <a:pt x="187" y="221"/>
                    </a:lnTo>
                    <a:close/>
                    <a:moveTo>
                      <a:pt x="200" y="217"/>
                    </a:moveTo>
                    <a:lnTo>
                      <a:pt x="200" y="219"/>
                    </a:lnTo>
                    <a:lnTo>
                      <a:pt x="200" y="217"/>
                    </a:lnTo>
                    <a:close/>
                    <a:moveTo>
                      <a:pt x="208" y="250"/>
                    </a:moveTo>
                    <a:lnTo>
                      <a:pt x="210" y="250"/>
                    </a:lnTo>
                    <a:lnTo>
                      <a:pt x="208" y="250"/>
                    </a:lnTo>
                    <a:close/>
                    <a:moveTo>
                      <a:pt x="86" y="42"/>
                    </a:moveTo>
                    <a:lnTo>
                      <a:pt x="88" y="42"/>
                    </a:lnTo>
                    <a:lnTo>
                      <a:pt x="88" y="45"/>
                    </a:lnTo>
                    <a:lnTo>
                      <a:pt x="86" y="45"/>
                    </a:lnTo>
                    <a:lnTo>
                      <a:pt x="86" y="42"/>
                    </a:lnTo>
                    <a:close/>
                    <a:moveTo>
                      <a:pt x="71" y="53"/>
                    </a:moveTo>
                    <a:lnTo>
                      <a:pt x="71" y="55"/>
                    </a:lnTo>
                    <a:lnTo>
                      <a:pt x="71" y="53"/>
                    </a:lnTo>
                    <a:close/>
                    <a:moveTo>
                      <a:pt x="199" y="253"/>
                    </a:moveTo>
                    <a:lnTo>
                      <a:pt x="200" y="253"/>
                    </a:lnTo>
                    <a:lnTo>
                      <a:pt x="199" y="253"/>
                    </a:lnTo>
                    <a:close/>
                    <a:moveTo>
                      <a:pt x="166" y="242"/>
                    </a:moveTo>
                    <a:lnTo>
                      <a:pt x="168" y="242"/>
                    </a:lnTo>
                    <a:lnTo>
                      <a:pt x="166" y="242"/>
                    </a:lnTo>
                    <a:close/>
                    <a:moveTo>
                      <a:pt x="77" y="42"/>
                    </a:moveTo>
                    <a:lnTo>
                      <a:pt x="77" y="43"/>
                    </a:lnTo>
                    <a:lnTo>
                      <a:pt x="77" y="42"/>
                    </a:lnTo>
                    <a:close/>
                    <a:moveTo>
                      <a:pt x="160" y="242"/>
                    </a:moveTo>
                    <a:lnTo>
                      <a:pt x="162" y="242"/>
                    </a:lnTo>
                    <a:lnTo>
                      <a:pt x="160" y="242"/>
                    </a:lnTo>
                    <a:close/>
                    <a:moveTo>
                      <a:pt x="220" y="227"/>
                    </a:moveTo>
                    <a:lnTo>
                      <a:pt x="220" y="229"/>
                    </a:lnTo>
                    <a:lnTo>
                      <a:pt x="220" y="227"/>
                    </a:lnTo>
                    <a:close/>
                    <a:moveTo>
                      <a:pt x="77" y="43"/>
                    </a:moveTo>
                    <a:lnTo>
                      <a:pt x="77" y="45"/>
                    </a:lnTo>
                    <a:lnTo>
                      <a:pt x="77" y="43"/>
                    </a:lnTo>
                    <a:close/>
                    <a:moveTo>
                      <a:pt x="187" y="255"/>
                    </a:moveTo>
                    <a:lnTo>
                      <a:pt x="189" y="255"/>
                    </a:lnTo>
                    <a:lnTo>
                      <a:pt x="189" y="257"/>
                    </a:lnTo>
                    <a:lnTo>
                      <a:pt x="187" y="257"/>
                    </a:lnTo>
                    <a:lnTo>
                      <a:pt x="187" y="255"/>
                    </a:lnTo>
                    <a:close/>
                    <a:moveTo>
                      <a:pt x="199" y="223"/>
                    </a:moveTo>
                    <a:lnTo>
                      <a:pt x="200" y="223"/>
                    </a:lnTo>
                    <a:lnTo>
                      <a:pt x="200" y="225"/>
                    </a:lnTo>
                    <a:lnTo>
                      <a:pt x="199" y="225"/>
                    </a:lnTo>
                    <a:lnTo>
                      <a:pt x="199" y="223"/>
                    </a:lnTo>
                    <a:close/>
                    <a:moveTo>
                      <a:pt x="90" y="36"/>
                    </a:moveTo>
                    <a:lnTo>
                      <a:pt x="92" y="36"/>
                    </a:lnTo>
                    <a:lnTo>
                      <a:pt x="90" y="36"/>
                    </a:lnTo>
                    <a:close/>
                    <a:moveTo>
                      <a:pt x="84" y="42"/>
                    </a:moveTo>
                    <a:lnTo>
                      <a:pt x="86" y="42"/>
                    </a:lnTo>
                    <a:lnTo>
                      <a:pt x="86" y="43"/>
                    </a:lnTo>
                    <a:lnTo>
                      <a:pt x="84" y="43"/>
                    </a:lnTo>
                    <a:lnTo>
                      <a:pt x="84" y="42"/>
                    </a:lnTo>
                    <a:close/>
                    <a:moveTo>
                      <a:pt x="191" y="208"/>
                    </a:moveTo>
                    <a:lnTo>
                      <a:pt x="191" y="209"/>
                    </a:lnTo>
                    <a:lnTo>
                      <a:pt x="191" y="208"/>
                    </a:lnTo>
                    <a:close/>
                    <a:moveTo>
                      <a:pt x="189" y="242"/>
                    </a:moveTo>
                    <a:lnTo>
                      <a:pt x="191" y="242"/>
                    </a:lnTo>
                    <a:lnTo>
                      <a:pt x="191" y="244"/>
                    </a:lnTo>
                    <a:lnTo>
                      <a:pt x="189" y="244"/>
                    </a:lnTo>
                    <a:lnTo>
                      <a:pt x="189" y="242"/>
                    </a:lnTo>
                    <a:close/>
                    <a:moveTo>
                      <a:pt x="84" y="43"/>
                    </a:moveTo>
                    <a:lnTo>
                      <a:pt x="84" y="45"/>
                    </a:lnTo>
                    <a:lnTo>
                      <a:pt x="84" y="43"/>
                    </a:lnTo>
                    <a:close/>
                    <a:moveTo>
                      <a:pt x="185" y="261"/>
                    </a:moveTo>
                    <a:lnTo>
                      <a:pt x="187" y="261"/>
                    </a:lnTo>
                    <a:lnTo>
                      <a:pt x="187" y="263"/>
                    </a:lnTo>
                    <a:lnTo>
                      <a:pt x="185" y="263"/>
                    </a:lnTo>
                    <a:lnTo>
                      <a:pt x="185" y="261"/>
                    </a:lnTo>
                    <a:close/>
                    <a:moveTo>
                      <a:pt x="101" y="126"/>
                    </a:moveTo>
                    <a:lnTo>
                      <a:pt x="103" y="126"/>
                    </a:lnTo>
                    <a:lnTo>
                      <a:pt x="103" y="127"/>
                    </a:lnTo>
                    <a:lnTo>
                      <a:pt x="101" y="127"/>
                    </a:lnTo>
                    <a:lnTo>
                      <a:pt x="101" y="126"/>
                    </a:lnTo>
                    <a:close/>
                    <a:moveTo>
                      <a:pt x="82" y="42"/>
                    </a:moveTo>
                    <a:lnTo>
                      <a:pt x="84" y="42"/>
                    </a:lnTo>
                    <a:lnTo>
                      <a:pt x="84" y="43"/>
                    </a:lnTo>
                    <a:lnTo>
                      <a:pt x="82" y="43"/>
                    </a:lnTo>
                    <a:lnTo>
                      <a:pt x="82" y="42"/>
                    </a:lnTo>
                    <a:close/>
                    <a:moveTo>
                      <a:pt x="103" y="133"/>
                    </a:moveTo>
                    <a:lnTo>
                      <a:pt x="103" y="135"/>
                    </a:lnTo>
                    <a:lnTo>
                      <a:pt x="103" y="133"/>
                    </a:lnTo>
                    <a:close/>
                    <a:moveTo>
                      <a:pt x="183" y="240"/>
                    </a:moveTo>
                    <a:lnTo>
                      <a:pt x="185" y="240"/>
                    </a:lnTo>
                    <a:lnTo>
                      <a:pt x="183" y="240"/>
                    </a:lnTo>
                    <a:close/>
                    <a:moveTo>
                      <a:pt x="21" y="234"/>
                    </a:moveTo>
                    <a:lnTo>
                      <a:pt x="23" y="234"/>
                    </a:lnTo>
                    <a:lnTo>
                      <a:pt x="21" y="234"/>
                    </a:lnTo>
                    <a:close/>
                    <a:moveTo>
                      <a:pt x="71" y="219"/>
                    </a:moveTo>
                    <a:lnTo>
                      <a:pt x="73" y="219"/>
                    </a:lnTo>
                    <a:lnTo>
                      <a:pt x="71" y="219"/>
                    </a:lnTo>
                    <a:close/>
                    <a:moveTo>
                      <a:pt x="189" y="261"/>
                    </a:moveTo>
                    <a:lnTo>
                      <a:pt x="189" y="263"/>
                    </a:lnTo>
                    <a:lnTo>
                      <a:pt x="189" y="261"/>
                    </a:lnTo>
                    <a:close/>
                    <a:moveTo>
                      <a:pt x="71" y="53"/>
                    </a:moveTo>
                    <a:lnTo>
                      <a:pt x="73" y="53"/>
                    </a:lnTo>
                    <a:lnTo>
                      <a:pt x="73" y="55"/>
                    </a:lnTo>
                    <a:lnTo>
                      <a:pt x="71" y="55"/>
                    </a:lnTo>
                    <a:lnTo>
                      <a:pt x="71" y="53"/>
                    </a:lnTo>
                    <a:close/>
                    <a:moveTo>
                      <a:pt x="84" y="38"/>
                    </a:moveTo>
                    <a:lnTo>
                      <a:pt x="84" y="40"/>
                    </a:lnTo>
                    <a:lnTo>
                      <a:pt x="84" y="38"/>
                    </a:lnTo>
                    <a:close/>
                    <a:moveTo>
                      <a:pt x="153" y="244"/>
                    </a:moveTo>
                    <a:lnTo>
                      <a:pt x="153" y="246"/>
                    </a:lnTo>
                    <a:lnTo>
                      <a:pt x="153" y="244"/>
                    </a:lnTo>
                    <a:close/>
                    <a:moveTo>
                      <a:pt x="111" y="135"/>
                    </a:moveTo>
                    <a:lnTo>
                      <a:pt x="113" y="135"/>
                    </a:lnTo>
                    <a:lnTo>
                      <a:pt x="111" y="135"/>
                    </a:lnTo>
                    <a:close/>
                    <a:moveTo>
                      <a:pt x="231" y="238"/>
                    </a:moveTo>
                    <a:lnTo>
                      <a:pt x="233" y="238"/>
                    </a:lnTo>
                    <a:lnTo>
                      <a:pt x="233" y="240"/>
                    </a:lnTo>
                    <a:lnTo>
                      <a:pt x="231" y="240"/>
                    </a:lnTo>
                    <a:lnTo>
                      <a:pt x="231" y="238"/>
                    </a:lnTo>
                    <a:close/>
                    <a:moveTo>
                      <a:pt x="86" y="38"/>
                    </a:moveTo>
                    <a:lnTo>
                      <a:pt x="88" y="38"/>
                    </a:lnTo>
                    <a:lnTo>
                      <a:pt x="86" y="38"/>
                    </a:lnTo>
                    <a:close/>
                    <a:moveTo>
                      <a:pt x="88" y="38"/>
                    </a:moveTo>
                    <a:lnTo>
                      <a:pt x="90" y="38"/>
                    </a:lnTo>
                    <a:lnTo>
                      <a:pt x="90" y="40"/>
                    </a:lnTo>
                    <a:lnTo>
                      <a:pt x="88" y="40"/>
                    </a:lnTo>
                    <a:lnTo>
                      <a:pt x="88" y="38"/>
                    </a:lnTo>
                    <a:close/>
                    <a:moveTo>
                      <a:pt x="220" y="234"/>
                    </a:moveTo>
                    <a:lnTo>
                      <a:pt x="221" y="234"/>
                    </a:lnTo>
                    <a:lnTo>
                      <a:pt x="220" y="234"/>
                    </a:lnTo>
                    <a:close/>
                    <a:moveTo>
                      <a:pt x="82" y="43"/>
                    </a:moveTo>
                    <a:lnTo>
                      <a:pt x="84" y="43"/>
                    </a:lnTo>
                    <a:lnTo>
                      <a:pt x="82" y="43"/>
                    </a:lnTo>
                    <a:close/>
                    <a:moveTo>
                      <a:pt x="69" y="219"/>
                    </a:moveTo>
                    <a:lnTo>
                      <a:pt x="71" y="219"/>
                    </a:lnTo>
                    <a:lnTo>
                      <a:pt x="69" y="219"/>
                    </a:lnTo>
                    <a:close/>
                    <a:moveTo>
                      <a:pt x="73" y="244"/>
                    </a:moveTo>
                    <a:lnTo>
                      <a:pt x="73" y="246"/>
                    </a:lnTo>
                    <a:lnTo>
                      <a:pt x="73" y="244"/>
                    </a:lnTo>
                    <a:close/>
                    <a:moveTo>
                      <a:pt x="92" y="34"/>
                    </a:moveTo>
                    <a:lnTo>
                      <a:pt x="94" y="34"/>
                    </a:lnTo>
                    <a:lnTo>
                      <a:pt x="92" y="34"/>
                    </a:lnTo>
                    <a:close/>
                    <a:moveTo>
                      <a:pt x="187" y="242"/>
                    </a:moveTo>
                    <a:lnTo>
                      <a:pt x="189" y="242"/>
                    </a:lnTo>
                    <a:lnTo>
                      <a:pt x="187" y="242"/>
                    </a:lnTo>
                    <a:close/>
                    <a:moveTo>
                      <a:pt x="80" y="43"/>
                    </a:moveTo>
                    <a:lnTo>
                      <a:pt x="82" y="43"/>
                    </a:lnTo>
                    <a:lnTo>
                      <a:pt x="80" y="43"/>
                    </a:lnTo>
                    <a:close/>
                    <a:moveTo>
                      <a:pt x="170" y="242"/>
                    </a:moveTo>
                    <a:lnTo>
                      <a:pt x="172" y="242"/>
                    </a:lnTo>
                    <a:lnTo>
                      <a:pt x="170" y="242"/>
                    </a:lnTo>
                    <a:close/>
                    <a:moveTo>
                      <a:pt x="225" y="240"/>
                    </a:moveTo>
                    <a:lnTo>
                      <a:pt x="225" y="242"/>
                    </a:lnTo>
                    <a:lnTo>
                      <a:pt x="225" y="240"/>
                    </a:lnTo>
                    <a:close/>
                    <a:moveTo>
                      <a:pt x="86" y="42"/>
                    </a:moveTo>
                    <a:lnTo>
                      <a:pt x="86" y="43"/>
                    </a:lnTo>
                    <a:lnTo>
                      <a:pt x="86" y="42"/>
                    </a:lnTo>
                    <a:close/>
                    <a:moveTo>
                      <a:pt x="105" y="133"/>
                    </a:moveTo>
                    <a:lnTo>
                      <a:pt x="105" y="135"/>
                    </a:lnTo>
                    <a:lnTo>
                      <a:pt x="105" y="133"/>
                    </a:lnTo>
                    <a:close/>
                    <a:moveTo>
                      <a:pt x="86" y="36"/>
                    </a:moveTo>
                    <a:lnTo>
                      <a:pt x="88" y="36"/>
                    </a:lnTo>
                    <a:lnTo>
                      <a:pt x="88" y="38"/>
                    </a:lnTo>
                    <a:lnTo>
                      <a:pt x="86" y="38"/>
                    </a:lnTo>
                    <a:lnTo>
                      <a:pt x="86" y="36"/>
                    </a:lnTo>
                    <a:close/>
                    <a:moveTo>
                      <a:pt x="61" y="68"/>
                    </a:moveTo>
                    <a:lnTo>
                      <a:pt x="61" y="70"/>
                    </a:lnTo>
                    <a:lnTo>
                      <a:pt x="61" y="68"/>
                    </a:lnTo>
                    <a:close/>
                    <a:moveTo>
                      <a:pt x="113" y="194"/>
                    </a:moveTo>
                    <a:lnTo>
                      <a:pt x="115" y="194"/>
                    </a:lnTo>
                    <a:lnTo>
                      <a:pt x="113" y="194"/>
                    </a:lnTo>
                    <a:close/>
                    <a:moveTo>
                      <a:pt x="44" y="248"/>
                    </a:moveTo>
                    <a:lnTo>
                      <a:pt x="44" y="250"/>
                    </a:lnTo>
                    <a:lnTo>
                      <a:pt x="44" y="248"/>
                    </a:lnTo>
                    <a:close/>
                    <a:moveTo>
                      <a:pt x="69" y="221"/>
                    </a:moveTo>
                    <a:lnTo>
                      <a:pt x="69" y="223"/>
                    </a:lnTo>
                    <a:lnTo>
                      <a:pt x="69" y="221"/>
                    </a:lnTo>
                    <a:close/>
                    <a:moveTo>
                      <a:pt x="80" y="43"/>
                    </a:moveTo>
                    <a:lnTo>
                      <a:pt x="80" y="45"/>
                    </a:lnTo>
                    <a:lnTo>
                      <a:pt x="80" y="43"/>
                    </a:lnTo>
                    <a:close/>
                    <a:moveTo>
                      <a:pt x="88" y="36"/>
                    </a:moveTo>
                    <a:lnTo>
                      <a:pt x="90" y="36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88" y="36"/>
                    </a:lnTo>
                    <a:close/>
                    <a:moveTo>
                      <a:pt x="86" y="45"/>
                    </a:moveTo>
                    <a:lnTo>
                      <a:pt x="86" y="47"/>
                    </a:lnTo>
                    <a:lnTo>
                      <a:pt x="86" y="45"/>
                    </a:lnTo>
                    <a:close/>
                    <a:moveTo>
                      <a:pt x="82" y="43"/>
                    </a:moveTo>
                    <a:lnTo>
                      <a:pt x="84" y="43"/>
                    </a:lnTo>
                    <a:lnTo>
                      <a:pt x="82" y="43"/>
                    </a:lnTo>
                    <a:close/>
                    <a:moveTo>
                      <a:pt x="90" y="36"/>
                    </a:moveTo>
                    <a:lnTo>
                      <a:pt x="92" y="36"/>
                    </a:lnTo>
                    <a:lnTo>
                      <a:pt x="90" y="36"/>
                    </a:lnTo>
                    <a:close/>
                    <a:moveTo>
                      <a:pt x="69" y="225"/>
                    </a:moveTo>
                    <a:lnTo>
                      <a:pt x="71" y="225"/>
                    </a:lnTo>
                    <a:lnTo>
                      <a:pt x="71" y="227"/>
                    </a:lnTo>
                    <a:lnTo>
                      <a:pt x="69" y="227"/>
                    </a:lnTo>
                    <a:lnTo>
                      <a:pt x="69" y="225"/>
                    </a:lnTo>
                    <a:close/>
                    <a:moveTo>
                      <a:pt x="113" y="185"/>
                    </a:moveTo>
                    <a:lnTo>
                      <a:pt x="115" y="185"/>
                    </a:lnTo>
                    <a:lnTo>
                      <a:pt x="113" y="185"/>
                    </a:lnTo>
                    <a:close/>
                    <a:moveTo>
                      <a:pt x="109" y="139"/>
                    </a:moveTo>
                    <a:lnTo>
                      <a:pt x="109" y="141"/>
                    </a:lnTo>
                    <a:lnTo>
                      <a:pt x="109" y="139"/>
                    </a:lnTo>
                    <a:close/>
                    <a:moveTo>
                      <a:pt x="67" y="223"/>
                    </a:moveTo>
                    <a:lnTo>
                      <a:pt x="69" y="223"/>
                    </a:lnTo>
                    <a:lnTo>
                      <a:pt x="69" y="225"/>
                    </a:lnTo>
                    <a:lnTo>
                      <a:pt x="67" y="225"/>
                    </a:lnTo>
                    <a:lnTo>
                      <a:pt x="67" y="223"/>
                    </a:lnTo>
                    <a:close/>
                    <a:moveTo>
                      <a:pt x="107" y="139"/>
                    </a:moveTo>
                    <a:lnTo>
                      <a:pt x="109" y="139"/>
                    </a:lnTo>
                    <a:lnTo>
                      <a:pt x="107" y="139"/>
                    </a:lnTo>
                    <a:close/>
                    <a:moveTo>
                      <a:pt x="88" y="36"/>
                    </a:moveTo>
                    <a:lnTo>
                      <a:pt x="88" y="38"/>
                    </a:lnTo>
                    <a:lnTo>
                      <a:pt x="88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2" name="Freeform 162">
                <a:extLst>
                  <a:ext uri="{FF2B5EF4-FFF2-40B4-BE49-F238E27FC236}">
                    <a16:creationId xmlns:a16="http://schemas.microsoft.com/office/drawing/2014/main" id="{83E6A872-5D02-CBFF-F619-9E51B4DC386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90985" y="-1946063"/>
                <a:ext cx="12604" cy="6313"/>
              </a:xfrm>
              <a:custGeom>
                <a:avLst/>
                <a:gdLst>
                  <a:gd name="T0" fmla="*/ 2 w 8"/>
                  <a:gd name="T1" fmla="*/ 0 h 4"/>
                  <a:gd name="T2" fmla="*/ 4 w 8"/>
                  <a:gd name="T3" fmla="*/ 0 h 4"/>
                  <a:gd name="T4" fmla="*/ 2 w 8"/>
                  <a:gd name="T5" fmla="*/ 0 h 4"/>
                  <a:gd name="T6" fmla="*/ 4 w 8"/>
                  <a:gd name="T7" fmla="*/ 2 h 4"/>
                  <a:gd name="T8" fmla="*/ 4 w 8"/>
                  <a:gd name="T9" fmla="*/ 0 h 4"/>
                  <a:gd name="T10" fmla="*/ 4 w 8"/>
                  <a:gd name="T11" fmla="*/ 2 h 4"/>
                  <a:gd name="T12" fmla="*/ 6 w 8"/>
                  <a:gd name="T13" fmla="*/ 2 h 4"/>
                  <a:gd name="T14" fmla="*/ 4 w 8"/>
                  <a:gd name="T15" fmla="*/ 4 h 4"/>
                  <a:gd name="T16" fmla="*/ 4 w 8"/>
                  <a:gd name="T17" fmla="*/ 2 h 4"/>
                  <a:gd name="T18" fmla="*/ 4 w 8"/>
                  <a:gd name="T19" fmla="*/ 4 h 4"/>
                  <a:gd name="T20" fmla="*/ 2 w 8"/>
                  <a:gd name="T21" fmla="*/ 4 h 4"/>
                  <a:gd name="T22" fmla="*/ 2 w 8"/>
                  <a:gd name="T23" fmla="*/ 2 h 4"/>
                  <a:gd name="T24" fmla="*/ 0 w 8"/>
                  <a:gd name="T25" fmla="*/ 2 h 4"/>
                  <a:gd name="T26" fmla="*/ 0 w 8"/>
                  <a:gd name="T27" fmla="*/ 4 h 4"/>
                  <a:gd name="T28" fmla="*/ 0 w 8"/>
                  <a:gd name="T29" fmla="*/ 2 h 4"/>
                  <a:gd name="T30" fmla="*/ 0 w 8"/>
                  <a:gd name="T31" fmla="*/ 0 h 4"/>
                  <a:gd name="T32" fmla="*/ 2 w 8"/>
                  <a:gd name="T33" fmla="*/ 0 h 4"/>
                  <a:gd name="T34" fmla="*/ 0 w 8"/>
                  <a:gd name="T35" fmla="*/ 0 h 4"/>
                  <a:gd name="T36" fmla="*/ 2 w 8"/>
                  <a:gd name="T37" fmla="*/ 0 h 4"/>
                  <a:gd name="T38" fmla="*/ 2 w 8"/>
                  <a:gd name="T39" fmla="*/ 2 h 4"/>
                  <a:gd name="T40" fmla="*/ 2 w 8"/>
                  <a:gd name="T41" fmla="*/ 0 h 4"/>
                  <a:gd name="T42" fmla="*/ 2 w 8"/>
                  <a:gd name="T43" fmla="*/ 2 h 4"/>
                  <a:gd name="T44" fmla="*/ 2 w 8"/>
                  <a:gd name="T45" fmla="*/ 0 h 4"/>
                  <a:gd name="T46" fmla="*/ 6 w 8"/>
                  <a:gd name="T47" fmla="*/ 0 h 4"/>
                  <a:gd name="T48" fmla="*/ 8 w 8"/>
                  <a:gd name="T49" fmla="*/ 0 h 4"/>
                  <a:gd name="T50" fmla="*/ 8 w 8"/>
                  <a:gd name="T51" fmla="*/ 2 h 4"/>
                  <a:gd name="T52" fmla="*/ 6 w 8"/>
                  <a:gd name="T53" fmla="*/ 2 h 4"/>
                  <a:gd name="T54" fmla="*/ 6 w 8"/>
                  <a:gd name="T55" fmla="*/ 0 h 4"/>
                  <a:gd name="T56" fmla="*/ 0 w 8"/>
                  <a:gd name="T57" fmla="*/ 2 h 4"/>
                  <a:gd name="T58" fmla="*/ 2 w 8"/>
                  <a:gd name="T59" fmla="*/ 2 h 4"/>
                  <a:gd name="T60" fmla="*/ 2 w 8"/>
                  <a:gd name="T61" fmla="*/ 4 h 4"/>
                  <a:gd name="T62" fmla="*/ 0 w 8"/>
                  <a:gd name="T63" fmla="*/ 4 h 4"/>
                  <a:gd name="T64" fmla="*/ 0 w 8"/>
                  <a:gd name="T65" fmla="*/ 2 h 4"/>
                  <a:gd name="T66" fmla="*/ 4 w 8"/>
                  <a:gd name="T67" fmla="*/ 0 h 4"/>
                  <a:gd name="T68" fmla="*/ 6 w 8"/>
                  <a:gd name="T69" fmla="*/ 0 h 4"/>
                  <a:gd name="T70" fmla="*/ 6 w 8"/>
                  <a:gd name="T71" fmla="*/ 2 h 4"/>
                  <a:gd name="T72" fmla="*/ 4 w 8"/>
                  <a:gd name="T73" fmla="*/ 2 h 4"/>
                  <a:gd name="T74" fmla="*/ 4 w 8"/>
                  <a:gd name="T75" fmla="*/ 0 h 4"/>
                  <a:gd name="T76" fmla="*/ 2 w 8"/>
                  <a:gd name="T77" fmla="*/ 4 h 4"/>
                  <a:gd name="T78" fmla="*/ 4 w 8"/>
                  <a:gd name="T79" fmla="*/ 4 h 4"/>
                  <a:gd name="T80" fmla="*/ 2 w 8"/>
                  <a:gd name="T81" fmla="*/ 4 h 4"/>
                  <a:gd name="T82" fmla="*/ 2 w 8"/>
                  <a:gd name="T83" fmla="*/ 4 h 4"/>
                  <a:gd name="T84" fmla="*/ 4 w 8"/>
                  <a:gd name="T85" fmla="*/ 4 h 4"/>
                  <a:gd name="T86" fmla="*/ 2 w 8"/>
                  <a:gd name="T8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  <a:moveTo>
                      <a:pt x="6" y="0"/>
                    </a:move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  <a:moveTo>
                      <a:pt x="0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  <a:moveTo>
                      <a:pt x="4" y="0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  <a:moveTo>
                      <a:pt x="2" y="4"/>
                    </a:moveTo>
                    <a:lnTo>
                      <a:pt x="4" y="4"/>
                    </a:lnTo>
                    <a:lnTo>
                      <a:pt x="2" y="4"/>
                    </a:lnTo>
                    <a:close/>
                    <a:moveTo>
                      <a:pt x="2" y="4"/>
                    </a:moveTo>
                    <a:lnTo>
                      <a:pt x="4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3" name="Freeform 163">
                <a:extLst>
                  <a:ext uri="{FF2B5EF4-FFF2-40B4-BE49-F238E27FC236}">
                    <a16:creationId xmlns:a16="http://schemas.microsoft.com/office/drawing/2014/main" id="{DF85E85B-1C4B-7FB1-47D2-DDEC1B6C0D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588569" y="-2092867"/>
                <a:ext cx="493158" cy="162591"/>
              </a:xfrm>
              <a:custGeom>
                <a:avLst/>
                <a:gdLst>
                  <a:gd name="T0" fmla="*/ 267 w 313"/>
                  <a:gd name="T1" fmla="*/ 47 h 103"/>
                  <a:gd name="T2" fmla="*/ 256 w 313"/>
                  <a:gd name="T3" fmla="*/ 59 h 103"/>
                  <a:gd name="T4" fmla="*/ 246 w 313"/>
                  <a:gd name="T5" fmla="*/ 72 h 103"/>
                  <a:gd name="T6" fmla="*/ 244 w 313"/>
                  <a:gd name="T7" fmla="*/ 80 h 103"/>
                  <a:gd name="T8" fmla="*/ 239 w 313"/>
                  <a:gd name="T9" fmla="*/ 93 h 103"/>
                  <a:gd name="T10" fmla="*/ 216 w 313"/>
                  <a:gd name="T11" fmla="*/ 95 h 103"/>
                  <a:gd name="T12" fmla="*/ 202 w 313"/>
                  <a:gd name="T13" fmla="*/ 95 h 103"/>
                  <a:gd name="T14" fmla="*/ 185 w 313"/>
                  <a:gd name="T15" fmla="*/ 99 h 103"/>
                  <a:gd name="T16" fmla="*/ 166 w 313"/>
                  <a:gd name="T17" fmla="*/ 97 h 103"/>
                  <a:gd name="T18" fmla="*/ 160 w 313"/>
                  <a:gd name="T19" fmla="*/ 87 h 103"/>
                  <a:gd name="T20" fmla="*/ 174 w 313"/>
                  <a:gd name="T21" fmla="*/ 89 h 103"/>
                  <a:gd name="T22" fmla="*/ 183 w 313"/>
                  <a:gd name="T23" fmla="*/ 87 h 103"/>
                  <a:gd name="T24" fmla="*/ 189 w 313"/>
                  <a:gd name="T25" fmla="*/ 74 h 103"/>
                  <a:gd name="T26" fmla="*/ 214 w 313"/>
                  <a:gd name="T27" fmla="*/ 65 h 103"/>
                  <a:gd name="T28" fmla="*/ 229 w 313"/>
                  <a:gd name="T29" fmla="*/ 45 h 103"/>
                  <a:gd name="T30" fmla="*/ 239 w 313"/>
                  <a:gd name="T31" fmla="*/ 53 h 103"/>
                  <a:gd name="T32" fmla="*/ 244 w 313"/>
                  <a:gd name="T33" fmla="*/ 40 h 103"/>
                  <a:gd name="T34" fmla="*/ 250 w 313"/>
                  <a:gd name="T35" fmla="*/ 42 h 103"/>
                  <a:gd name="T36" fmla="*/ 254 w 313"/>
                  <a:gd name="T37" fmla="*/ 34 h 103"/>
                  <a:gd name="T38" fmla="*/ 261 w 313"/>
                  <a:gd name="T39" fmla="*/ 25 h 103"/>
                  <a:gd name="T40" fmla="*/ 271 w 313"/>
                  <a:gd name="T41" fmla="*/ 11 h 103"/>
                  <a:gd name="T42" fmla="*/ 273 w 313"/>
                  <a:gd name="T43" fmla="*/ 9 h 103"/>
                  <a:gd name="T44" fmla="*/ 284 w 313"/>
                  <a:gd name="T45" fmla="*/ 11 h 103"/>
                  <a:gd name="T46" fmla="*/ 288 w 313"/>
                  <a:gd name="T47" fmla="*/ 21 h 103"/>
                  <a:gd name="T48" fmla="*/ 296 w 313"/>
                  <a:gd name="T49" fmla="*/ 23 h 103"/>
                  <a:gd name="T50" fmla="*/ 301 w 313"/>
                  <a:gd name="T51" fmla="*/ 26 h 103"/>
                  <a:gd name="T52" fmla="*/ 309 w 313"/>
                  <a:gd name="T53" fmla="*/ 30 h 103"/>
                  <a:gd name="T54" fmla="*/ 300 w 313"/>
                  <a:gd name="T55" fmla="*/ 36 h 103"/>
                  <a:gd name="T56" fmla="*/ 303 w 313"/>
                  <a:gd name="T57" fmla="*/ 45 h 103"/>
                  <a:gd name="T58" fmla="*/ 286 w 313"/>
                  <a:gd name="T59" fmla="*/ 45 h 103"/>
                  <a:gd name="T60" fmla="*/ 52 w 313"/>
                  <a:gd name="T61" fmla="*/ 28 h 103"/>
                  <a:gd name="T62" fmla="*/ 59 w 313"/>
                  <a:gd name="T63" fmla="*/ 55 h 103"/>
                  <a:gd name="T64" fmla="*/ 67 w 313"/>
                  <a:gd name="T65" fmla="*/ 78 h 103"/>
                  <a:gd name="T66" fmla="*/ 75 w 313"/>
                  <a:gd name="T67" fmla="*/ 95 h 103"/>
                  <a:gd name="T68" fmla="*/ 65 w 313"/>
                  <a:gd name="T69" fmla="*/ 95 h 103"/>
                  <a:gd name="T70" fmla="*/ 50 w 313"/>
                  <a:gd name="T71" fmla="*/ 87 h 103"/>
                  <a:gd name="T72" fmla="*/ 33 w 313"/>
                  <a:gd name="T73" fmla="*/ 74 h 103"/>
                  <a:gd name="T74" fmla="*/ 21 w 313"/>
                  <a:gd name="T75" fmla="*/ 57 h 103"/>
                  <a:gd name="T76" fmla="*/ 17 w 313"/>
                  <a:gd name="T77" fmla="*/ 45 h 103"/>
                  <a:gd name="T78" fmla="*/ 14 w 313"/>
                  <a:gd name="T79" fmla="*/ 30 h 103"/>
                  <a:gd name="T80" fmla="*/ 10 w 313"/>
                  <a:gd name="T81" fmla="*/ 9 h 103"/>
                  <a:gd name="T82" fmla="*/ 25 w 313"/>
                  <a:gd name="T83" fmla="*/ 19 h 103"/>
                  <a:gd name="T84" fmla="*/ 31 w 313"/>
                  <a:gd name="T85" fmla="*/ 23 h 103"/>
                  <a:gd name="T86" fmla="*/ 187 w 313"/>
                  <a:gd name="T87" fmla="*/ 78 h 103"/>
                  <a:gd name="T88" fmla="*/ 279 w 313"/>
                  <a:gd name="T89" fmla="*/ 2 h 103"/>
                  <a:gd name="T90" fmla="*/ 0 w 313"/>
                  <a:gd name="T91" fmla="*/ 13 h 103"/>
                  <a:gd name="T92" fmla="*/ 288 w 313"/>
                  <a:gd name="T93" fmla="*/ 49 h 103"/>
                  <a:gd name="T94" fmla="*/ 75 w 313"/>
                  <a:gd name="T95" fmla="*/ 74 h 103"/>
                  <a:gd name="T96" fmla="*/ 275 w 313"/>
                  <a:gd name="T97" fmla="*/ 0 h 103"/>
                  <a:gd name="T98" fmla="*/ 17 w 313"/>
                  <a:gd name="T99" fmla="*/ 44 h 103"/>
                  <a:gd name="T100" fmla="*/ 288 w 313"/>
                  <a:gd name="T101" fmla="*/ 49 h 103"/>
                  <a:gd name="T102" fmla="*/ 15 w 313"/>
                  <a:gd name="T103" fmla="*/ 40 h 103"/>
                  <a:gd name="T104" fmla="*/ 288 w 313"/>
                  <a:gd name="T105" fmla="*/ 23 h 103"/>
                  <a:gd name="T106" fmla="*/ 298 w 313"/>
                  <a:gd name="T107" fmla="*/ 38 h 103"/>
                  <a:gd name="T108" fmla="*/ 2 w 313"/>
                  <a:gd name="T109" fmla="*/ 19 h 103"/>
                  <a:gd name="T110" fmla="*/ 256 w 313"/>
                  <a:gd name="T111" fmla="*/ 25 h 103"/>
                  <a:gd name="T112" fmla="*/ 189 w 313"/>
                  <a:gd name="T113" fmla="*/ 74 h 103"/>
                  <a:gd name="T114" fmla="*/ 73 w 313"/>
                  <a:gd name="T115" fmla="*/ 82 h 103"/>
                  <a:gd name="T116" fmla="*/ 288 w 313"/>
                  <a:gd name="T117" fmla="*/ 21 h 103"/>
                  <a:gd name="T118" fmla="*/ 59 w 313"/>
                  <a:gd name="T119" fmla="*/ 3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13" h="103">
                    <a:moveTo>
                      <a:pt x="286" y="49"/>
                    </a:moveTo>
                    <a:lnTo>
                      <a:pt x="284" y="49"/>
                    </a:lnTo>
                    <a:lnTo>
                      <a:pt x="282" y="49"/>
                    </a:lnTo>
                    <a:lnTo>
                      <a:pt x="282" y="47"/>
                    </a:lnTo>
                    <a:lnTo>
                      <a:pt x="280" y="47"/>
                    </a:lnTo>
                    <a:lnTo>
                      <a:pt x="279" y="47"/>
                    </a:lnTo>
                    <a:lnTo>
                      <a:pt x="277" y="47"/>
                    </a:lnTo>
                    <a:lnTo>
                      <a:pt x="275" y="47"/>
                    </a:lnTo>
                    <a:lnTo>
                      <a:pt x="273" y="47"/>
                    </a:lnTo>
                    <a:lnTo>
                      <a:pt x="271" y="47"/>
                    </a:lnTo>
                    <a:lnTo>
                      <a:pt x="271" y="45"/>
                    </a:lnTo>
                    <a:lnTo>
                      <a:pt x="269" y="47"/>
                    </a:lnTo>
                    <a:lnTo>
                      <a:pt x="267" y="47"/>
                    </a:lnTo>
                    <a:lnTo>
                      <a:pt x="265" y="47"/>
                    </a:lnTo>
                    <a:lnTo>
                      <a:pt x="263" y="47"/>
                    </a:lnTo>
                    <a:lnTo>
                      <a:pt x="261" y="47"/>
                    </a:lnTo>
                    <a:lnTo>
                      <a:pt x="260" y="47"/>
                    </a:lnTo>
                    <a:lnTo>
                      <a:pt x="260" y="49"/>
                    </a:lnTo>
                    <a:lnTo>
                      <a:pt x="258" y="49"/>
                    </a:lnTo>
                    <a:lnTo>
                      <a:pt x="256" y="49"/>
                    </a:lnTo>
                    <a:lnTo>
                      <a:pt x="256" y="53"/>
                    </a:lnTo>
                    <a:lnTo>
                      <a:pt x="254" y="53"/>
                    </a:lnTo>
                    <a:lnTo>
                      <a:pt x="256" y="55"/>
                    </a:lnTo>
                    <a:lnTo>
                      <a:pt x="254" y="57"/>
                    </a:lnTo>
                    <a:lnTo>
                      <a:pt x="254" y="59"/>
                    </a:lnTo>
                    <a:lnTo>
                      <a:pt x="256" y="59"/>
                    </a:lnTo>
                    <a:lnTo>
                      <a:pt x="256" y="61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4" y="61"/>
                    </a:lnTo>
                    <a:lnTo>
                      <a:pt x="254" y="63"/>
                    </a:lnTo>
                    <a:lnTo>
                      <a:pt x="254" y="65"/>
                    </a:lnTo>
                    <a:lnTo>
                      <a:pt x="254" y="66"/>
                    </a:lnTo>
                    <a:lnTo>
                      <a:pt x="254" y="68"/>
                    </a:lnTo>
                    <a:lnTo>
                      <a:pt x="252" y="68"/>
                    </a:lnTo>
                    <a:lnTo>
                      <a:pt x="250" y="68"/>
                    </a:lnTo>
                    <a:lnTo>
                      <a:pt x="248" y="68"/>
                    </a:lnTo>
                    <a:lnTo>
                      <a:pt x="248" y="70"/>
                    </a:lnTo>
                    <a:lnTo>
                      <a:pt x="246" y="72"/>
                    </a:lnTo>
                    <a:lnTo>
                      <a:pt x="248" y="72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46" y="74"/>
                    </a:lnTo>
                    <a:lnTo>
                      <a:pt x="248" y="76"/>
                    </a:lnTo>
                    <a:lnTo>
                      <a:pt x="248" y="74"/>
                    </a:lnTo>
                    <a:lnTo>
                      <a:pt x="248" y="76"/>
                    </a:lnTo>
                    <a:lnTo>
                      <a:pt x="250" y="76"/>
                    </a:lnTo>
                    <a:lnTo>
                      <a:pt x="248" y="78"/>
                    </a:lnTo>
                    <a:lnTo>
                      <a:pt x="246" y="78"/>
                    </a:lnTo>
                    <a:lnTo>
                      <a:pt x="246" y="80"/>
                    </a:lnTo>
                    <a:lnTo>
                      <a:pt x="244" y="78"/>
                    </a:lnTo>
                    <a:lnTo>
                      <a:pt x="244" y="80"/>
                    </a:lnTo>
                    <a:lnTo>
                      <a:pt x="242" y="80"/>
                    </a:lnTo>
                    <a:lnTo>
                      <a:pt x="242" y="82"/>
                    </a:lnTo>
                    <a:lnTo>
                      <a:pt x="242" y="84"/>
                    </a:lnTo>
                    <a:lnTo>
                      <a:pt x="244" y="84"/>
                    </a:lnTo>
                    <a:lnTo>
                      <a:pt x="242" y="86"/>
                    </a:lnTo>
                    <a:lnTo>
                      <a:pt x="244" y="86"/>
                    </a:lnTo>
                    <a:lnTo>
                      <a:pt x="242" y="86"/>
                    </a:lnTo>
                    <a:lnTo>
                      <a:pt x="242" y="87"/>
                    </a:lnTo>
                    <a:lnTo>
                      <a:pt x="240" y="87"/>
                    </a:lnTo>
                    <a:lnTo>
                      <a:pt x="240" y="89"/>
                    </a:lnTo>
                    <a:lnTo>
                      <a:pt x="240" y="91"/>
                    </a:lnTo>
                    <a:lnTo>
                      <a:pt x="239" y="91"/>
                    </a:lnTo>
                    <a:lnTo>
                      <a:pt x="239" y="93"/>
                    </a:lnTo>
                    <a:lnTo>
                      <a:pt x="237" y="91"/>
                    </a:lnTo>
                    <a:lnTo>
                      <a:pt x="235" y="93"/>
                    </a:lnTo>
                    <a:lnTo>
                      <a:pt x="233" y="93"/>
                    </a:lnTo>
                    <a:lnTo>
                      <a:pt x="231" y="93"/>
                    </a:lnTo>
                    <a:lnTo>
                      <a:pt x="229" y="93"/>
                    </a:lnTo>
                    <a:lnTo>
                      <a:pt x="227" y="95"/>
                    </a:lnTo>
                    <a:lnTo>
                      <a:pt x="225" y="97"/>
                    </a:lnTo>
                    <a:lnTo>
                      <a:pt x="223" y="97"/>
                    </a:lnTo>
                    <a:lnTo>
                      <a:pt x="223" y="95"/>
                    </a:lnTo>
                    <a:lnTo>
                      <a:pt x="221" y="95"/>
                    </a:lnTo>
                    <a:lnTo>
                      <a:pt x="219" y="95"/>
                    </a:lnTo>
                    <a:lnTo>
                      <a:pt x="218" y="95"/>
                    </a:lnTo>
                    <a:lnTo>
                      <a:pt x="216" y="95"/>
                    </a:lnTo>
                    <a:lnTo>
                      <a:pt x="216" y="93"/>
                    </a:lnTo>
                    <a:lnTo>
                      <a:pt x="214" y="93"/>
                    </a:lnTo>
                    <a:lnTo>
                      <a:pt x="214" y="91"/>
                    </a:lnTo>
                    <a:lnTo>
                      <a:pt x="212" y="91"/>
                    </a:lnTo>
                    <a:lnTo>
                      <a:pt x="210" y="91"/>
                    </a:lnTo>
                    <a:lnTo>
                      <a:pt x="208" y="91"/>
                    </a:lnTo>
                    <a:lnTo>
                      <a:pt x="206" y="91"/>
                    </a:lnTo>
                    <a:lnTo>
                      <a:pt x="204" y="91"/>
                    </a:lnTo>
                    <a:lnTo>
                      <a:pt x="204" y="93"/>
                    </a:lnTo>
                    <a:lnTo>
                      <a:pt x="202" y="93"/>
                    </a:lnTo>
                    <a:lnTo>
                      <a:pt x="200" y="93"/>
                    </a:lnTo>
                    <a:lnTo>
                      <a:pt x="200" y="95"/>
                    </a:lnTo>
                    <a:lnTo>
                      <a:pt x="202" y="95"/>
                    </a:lnTo>
                    <a:lnTo>
                      <a:pt x="200" y="95"/>
                    </a:lnTo>
                    <a:lnTo>
                      <a:pt x="200" y="97"/>
                    </a:lnTo>
                    <a:lnTo>
                      <a:pt x="200" y="99"/>
                    </a:lnTo>
                    <a:lnTo>
                      <a:pt x="198" y="99"/>
                    </a:lnTo>
                    <a:lnTo>
                      <a:pt x="197" y="99"/>
                    </a:lnTo>
                    <a:lnTo>
                      <a:pt x="195" y="101"/>
                    </a:lnTo>
                    <a:lnTo>
                      <a:pt x="193" y="101"/>
                    </a:lnTo>
                    <a:lnTo>
                      <a:pt x="193" y="99"/>
                    </a:lnTo>
                    <a:lnTo>
                      <a:pt x="191" y="101"/>
                    </a:lnTo>
                    <a:lnTo>
                      <a:pt x="189" y="101"/>
                    </a:lnTo>
                    <a:lnTo>
                      <a:pt x="187" y="101"/>
                    </a:lnTo>
                    <a:lnTo>
                      <a:pt x="187" y="99"/>
                    </a:lnTo>
                    <a:lnTo>
                      <a:pt x="185" y="99"/>
                    </a:lnTo>
                    <a:lnTo>
                      <a:pt x="183" y="99"/>
                    </a:lnTo>
                    <a:lnTo>
                      <a:pt x="179" y="101"/>
                    </a:lnTo>
                    <a:lnTo>
                      <a:pt x="179" y="103"/>
                    </a:lnTo>
                    <a:lnTo>
                      <a:pt x="178" y="101"/>
                    </a:lnTo>
                    <a:lnTo>
                      <a:pt x="178" y="103"/>
                    </a:lnTo>
                    <a:lnTo>
                      <a:pt x="176" y="103"/>
                    </a:lnTo>
                    <a:lnTo>
                      <a:pt x="174" y="103"/>
                    </a:lnTo>
                    <a:lnTo>
                      <a:pt x="174" y="101"/>
                    </a:lnTo>
                    <a:lnTo>
                      <a:pt x="172" y="101"/>
                    </a:lnTo>
                    <a:lnTo>
                      <a:pt x="170" y="101"/>
                    </a:lnTo>
                    <a:lnTo>
                      <a:pt x="170" y="99"/>
                    </a:lnTo>
                    <a:lnTo>
                      <a:pt x="168" y="97"/>
                    </a:lnTo>
                    <a:lnTo>
                      <a:pt x="166" y="97"/>
                    </a:lnTo>
                    <a:lnTo>
                      <a:pt x="166" y="95"/>
                    </a:lnTo>
                    <a:lnTo>
                      <a:pt x="166" y="93"/>
                    </a:lnTo>
                    <a:lnTo>
                      <a:pt x="164" y="93"/>
                    </a:lnTo>
                    <a:lnTo>
                      <a:pt x="162" y="93"/>
                    </a:lnTo>
                    <a:lnTo>
                      <a:pt x="160" y="91"/>
                    </a:lnTo>
                    <a:lnTo>
                      <a:pt x="160" y="89"/>
                    </a:lnTo>
                    <a:lnTo>
                      <a:pt x="160" y="87"/>
                    </a:lnTo>
                    <a:lnTo>
                      <a:pt x="158" y="87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60" y="84"/>
                    </a:lnTo>
                    <a:lnTo>
                      <a:pt x="160" y="86"/>
                    </a:lnTo>
                    <a:lnTo>
                      <a:pt x="160" y="87"/>
                    </a:lnTo>
                    <a:lnTo>
                      <a:pt x="162" y="87"/>
                    </a:lnTo>
                    <a:lnTo>
                      <a:pt x="164" y="87"/>
                    </a:lnTo>
                    <a:lnTo>
                      <a:pt x="164" y="89"/>
                    </a:lnTo>
                    <a:lnTo>
                      <a:pt x="166" y="89"/>
                    </a:lnTo>
                    <a:lnTo>
                      <a:pt x="168" y="89"/>
                    </a:lnTo>
                    <a:lnTo>
                      <a:pt x="170" y="89"/>
                    </a:lnTo>
                    <a:lnTo>
                      <a:pt x="172" y="89"/>
                    </a:lnTo>
                    <a:lnTo>
                      <a:pt x="170" y="89"/>
                    </a:lnTo>
                    <a:lnTo>
                      <a:pt x="172" y="87"/>
                    </a:lnTo>
                    <a:lnTo>
                      <a:pt x="172" y="89"/>
                    </a:lnTo>
                    <a:lnTo>
                      <a:pt x="174" y="89"/>
                    </a:lnTo>
                    <a:lnTo>
                      <a:pt x="172" y="89"/>
                    </a:lnTo>
                    <a:lnTo>
                      <a:pt x="174" y="89"/>
                    </a:lnTo>
                    <a:lnTo>
                      <a:pt x="174" y="91"/>
                    </a:lnTo>
                    <a:lnTo>
                      <a:pt x="172" y="91"/>
                    </a:lnTo>
                    <a:lnTo>
                      <a:pt x="174" y="91"/>
                    </a:lnTo>
                    <a:lnTo>
                      <a:pt x="176" y="91"/>
                    </a:lnTo>
                    <a:lnTo>
                      <a:pt x="178" y="91"/>
                    </a:lnTo>
                    <a:lnTo>
                      <a:pt x="179" y="91"/>
                    </a:lnTo>
                    <a:lnTo>
                      <a:pt x="181" y="93"/>
                    </a:lnTo>
                    <a:lnTo>
                      <a:pt x="181" y="91"/>
                    </a:lnTo>
                    <a:lnTo>
                      <a:pt x="181" y="89"/>
                    </a:lnTo>
                    <a:lnTo>
                      <a:pt x="183" y="89"/>
                    </a:lnTo>
                    <a:lnTo>
                      <a:pt x="185" y="89"/>
                    </a:lnTo>
                    <a:lnTo>
                      <a:pt x="183" y="89"/>
                    </a:lnTo>
                    <a:lnTo>
                      <a:pt x="183" y="87"/>
                    </a:lnTo>
                    <a:lnTo>
                      <a:pt x="185" y="86"/>
                    </a:lnTo>
                    <a:lnTo>
                      <a:pt x="185" y="84"/>
                    </a:lnTo>
                    <a:lnTo>
                      <a:pt x="185" y="82"/>
                    </a:lnTo>
                    <a:lnTo>
                      <a:pt x="183" y="82"/>
                    </a:lnTo>
                    <a:lnTo>
                      <a:pt x="185" y="80"/>
                    </a:lnTo>
                    <a:lnTo>
                      <a:pt x="185" y="82"/>
                    </a:lnTo>
                    <a:lnTo>
                      <a:pt x="185" y="78"/>
                    </a:lnTo>
                    <a:lnTo>
                      <a:pt x="187" y="78"/>
                    </a:lnTo>
                    <a:lnTo>
                      <a:pt x="187" y="80"/>
                    </a:lnTo>
                    <a:lnTo>
                      <a:pt x="187" y="78"/>
                    </a:lnTo>
                    <a:lnTo>
                      <a:pt x="189" y="78"/>
                    </a:lnTo>
                    <a:lnTo>
                      <a:pt x="187" y="76"/>
                    </a:lnTo>
                    <a:lnTo>
                      <a:pt x="189" y="74"/>
                    </a:lnTo>
                    <a:lnTo>
                      <a:pt x="189" y="72"/>
                    </a:lnTo>
                    <a:lnTo>
                      <a:pt x="191" y="72"/>
                    </a:lnTo>
                    <a:lnTo>
                      <a:pt x="193" y="70"/>
                    </a:lnTo>
                    <a:lnTo>
                      <a:pt x="193" y="72"/>
                    </a:lnTo>
                    <a:lnTo>
                      <a:pt x="193" y="70"/>
                    </a:lnTo>
                    <a:lnTo>
                      <a:pt x="197" y="70"/>
                    </a:lnTo>
                    <a:lnTo>
                      <a:pt x="202" y="68"/>
                    </a:lnTo>
                    <a:lnTo>
                      <a:pt x="206" y="68"/>
                    </a:lnTo>
                    <a:lnTo>
                      <a:pt x="208" y="68"/>
                    </a:lnTo>
                    <a:lnTo>
                      <a:pt x="212" y="66"/>
                    </a:lnTo>
                    <a:lnTo>
                      <a:pt x="214" y="66"/>
                    </a:lnTo>
                    <a:lnTo>
                      <a:pt x="216" y="65"/>
                    </a:lnTo>
                    <a:lnTo>
                      <a:pt x="214" y="65"/>
                    </a:lnTo>
                    <a:lnTo>
                      <a:pt x="216" y="65"/>
                    </a:lnTo>
                    <a:lnTo>
                      <a:pt x="214" y="65"/>
                    </a:lnTo>
                    <a:lnTo>
                      <a:pt x="216" y="63"/>
                    </a:lnTo>
                    <a:lnTo>
                      <a:pt x="218" y="61"/>
                    </a:lnTo>
                    <a:lnTo>
                      <a:pt x="219" y="59"/>
                    </a:lnTo>
                    <a:lnTo>
                      <a:pt x="219" y="57"/>
                    </a:lnTo>
                    <a:lnTo>
                      <a:pt x="221" y="57"/>
                    </a:lnTo>
                    <a:lnTo>
                      <a:pt x="223" y="53"/>
                    </a:lnTo>
                    <a:lnTo>
                      <a:pt x="225" y="51"/>
                    </a:lnTo>
                    <a:lnTo>
                      <a:pt x="227" y="51"/>
                    </a:lnTo>
                    <a:lnTo>
                      <a:pt x="229" y="49"/>
                    </a:lnTo>
                    <a:lnTo>
                      <a:pt x="229" y="47"/>
                    </a:lnTo>
                    <a:lnTo>
                      <a:pt x="229" y="45"/>
                    </a:lnTo>
                    <a:lnTo>
                      <a:pt x="229" y="44"/>
                    </a:lnTo>
                    <a:lnTo>
                      <a:pt x="231" y="44"/>
                    </a:lnTo>
                    <a:lnTo>
                      <a:pt x="233" y="44"/>
                    </a:lnTo>
                    <a:lnTo>
                      <a:pt x="233" y="45"/>
                    </a:lnTo>
                    <a:lnTo>
                      <a:pt x="235" y="45"/>
                    </a:lnTo>
                    <a:lnTo>
                      <a:pt x="235" y="47"/>
                    </a:lnTo>
                    <a:lnTo>
                      <a:pt x="235" y="49"/>
                    </a:lnTo>
                    <a:lnTo>
                      <a:pt x="237" y="49"/>
                    </a:lnTo>
                    <a:lnTo>
                      <a:pt x="237" y="47"/>
                    </a:lnTo>
                    <a:lnTo>
                      <a:pt x="237" y="49"/>
                    </a:lnTo>
                    <a:lnTo>
                      <a:pt x="237" y="51"/>
                    </a:lnTo>
                    <a:lnTo>
                      <a:pt x="239" y="51"/>
                    </a:lnTo>
                    <a:lnTo>
                      <a:pt x="239" y="53"/>
                    </a:lnTo>
                    <a:lnTo>
                      <a:pt x="240" y="53"/>
                    </a:lnTo>
                    <a:lnTo>
                      <a:pt x="240" y="51"/>
                    </a:lnTo>
                    <a:lnTo>
                      <a:pt x="242" y="51"/>
                    </a:lnTo>
                    <a:lnTo>
                      <a:pt x="242" y="49"/>
                    </a:lnTo>
                    <a:lnTo>
                      <a:pt x="244" y="47"/>
                    </a:lnTo>
                    <a:lnTo>
                      <a:pt x="244" y="45"/>
                    </a:lnTo>
                    <a:lnTo>
                      <a:pt x="242" y="45"/>
                    </a:lnTo>
                    <a:lnTo>
                      <a:pt x="242" y="44"/>
                    </a:lnTo>
                    <a:lnTo>
                      <a:pt x="242" y="42"/>
                    </a:lnTo>
                    <a:lnTo>
                      <a:pt x="242" y="40"/>
                    </a:lnTo>
                    <a:lnTo>
                      <a:pt x="244" y="40"/>
                    </a:lnTo>
                    <a:lnTo>
                      <a:pt x="246" y="40"/>
                    </a:lnTo>
                    <a:lnTo>
                      <a:pt x="244" y="40"/>
                    </a:lnTo>
                    <a:lnTo>
                      <a:pt x="246" y="38"/>
                    </a:lnTo>
                    <a:lnTo>
                      <a:pt x="246" y="40"/>
                    </a:lnTo>
                    <a:lnTo>
                      <a:pt x="246" y="42"/>
                    </a:lnTo>
                    <a:lnTo>
                      <a:pt x="246" y="44"/>
                    </a:lnTo>
                    <a:lnTo>
                      <a:pt x="246" y="45"/>
                    </a:lnTo>
                    <a:lnTo>
                      <a:pt x="246" y="47"/>
                    </a:lnTo>
                    <a:lnTo>
                      <a:pt x="248" y="47"/>
                    </a:lnTo>
                    <a:lnTo>
                      <a:pt x="250" y="47"/>
                    </a:lnTo>
                    <a:lnTo>
                      <a:pt x="252" y="47"/>
                    </a:lnTo>
                    <a:lnTo>
                      <a:pt x="250" y="47"/>
                    </a:lnTo>
                    <a:lnTo>
                      <a:pt x="250" y="45"/>
                    </a:lnTo>
                    <a:lnTo>
                      <a:pt x="250" y="44"/>
                    </a:lnTo>
                    <a:lnTo>
                      <a:pt x="250" y="42"/>
                    </a:lnTo>
                    <a:lnTo>
                      <a:pt x="248" y="40"/>
                    </a:lnTo>
                    <a:lnTo>
                      <a:pt x="250" y="40"/>
                    </a:lnTo>
                    <a:lnTo>
                      <a:pt x="248" y="40"/>
                    </a:lnTo>
                    <a:lnTo>
                      <a:pt x="248" y="38"/>
                    </a:lnTo>
                    <a:lnTo>
                      <a:pt x="250" y="38"/>
                    </a:lnTo>
                    <a:lnTo>
                      <a:pt x="252" y="38"/>
                    </a:lnTo>
                    <a:lnTo>
                      <a:pt x="252" y="36"/>
                    </a:lnTo>
                    <a:lnTo>
                      <a:pt x="254" y="36"/>
                    </a:lnTo>
                    <a:lnTo>
                      <a:pt x="254" y="34"/>
                    </a:lnTo>
                    <a:lnTo>
                      <a:pt x="256" y="34"/>
                    </a:lnTo>
                    <a:lnTo>
                      <a:pt x="254" y="34"/>
                    </a:lnTo>
                    <a:lnTo>
                      <a:pt x="256" y="34"/>
                    </a:lnTo>
                    <a:lnTo>
                      <a:pt x="254" y="34"/>
                    </a:lnTo>
                    <a:lnTo>
                      <a:pt x="252" y="32"/>
                    </a:lnTo>
                    <a:lnTo>
                      <a:pt x="250" y="32"/>
                    </a:lnTo>
                    <a:lnTo>
                      <a:pt x="252" y="32"/>
                    </a:lnTo>
                    <a:lnTo>
                      <a:pt x="252" y="30"/>
                    </a:lnTo>
                    <a:lnTo>
                      <a:pt x="254" y="28"/>
                    </a:lnTo>
                    <a:lnTo>
                      <a:pt x="256" y="26"/>
                    </a:lnTo>
                    <a:lnTo>
                      <a:pt x="256" y="28"/>
                    </a:lnTo>
                    <a:lnTo>
                      <a:pt x="254" y="28"/>
                    </a:lnTo>
                    <a:lnTo>
                      <a:pt x="256" y="28"/>
                    </a:lnTo>
                    <a:lnTo>
                      <a:pt x="258" y="28"/>
                    </a:lnTo>
                    <a:lnTo>
                      <a:pt x="260" y="28"/>
                    </a:lnTo>
                    <a:lnTo>
                      <a:pt x="260" y="25"/>
                    </a:lnTo>
                    <a:lnTo>
                      <a:pt x="261" y="25"/>
                    </a:lnTo>
                    <a:lnTo>
                      <a:pt x="261" y="23"/>
                    </a:lnTo>
                    <a:lnTo>
                      <a:pt x="261" y="21"/>
                    </a:lnTo>
                    <a:lnTo>
                      <a:pt x="263" y="21"/>
                    </a:lnTo>
                    <a:lnTo>
                      <a:pt x="263" y="19"/>
                    </a:lnTo>
                    <a:lnTo>
                      <a:pt x="265" y="17"/>
                    </a:lnTo>
                    <a:lnTo>
                      <a:pt x="265" y="15"/>
                    </a:lnTo>
                    <a:lnTo>
                      <a:pt x="265" y="17"/>
                    </a:lnTo>
                    <a:lnTo>
                      <a:pt x="267" y="15"/>
                    </a:lnTo>
                    <a:lnTo>
                      <a:pt x="267" y="17"/>
                    </a:lnTo>
                    <a:lnTo>
                      <a:pt x="267" y="15"/>
                    </a:lnTo>
                    <a:lnTo>
                      <a:pt x="269" y="13"/>
                    </a:lnTo>
                    <a:lnTo>
                      <a:pt x="269" y="11"/>
                    </a:lnTo>
                    <a:lnTo>
                      <a:pt x="271" y="11"/>
                    </a:lnTo>
                    <a:lnTo>
                      <a:pt x="271" y="9"/>
                    </a:lnTo>
                    <a:lnTo>
                      <a:pt x="271" y="7"/>
                    </a:lnTo>
                    <a:lnTo>
                      <a:pt x="273" y="7"/>
                    </a:lnTo>
                    <a:lnTo>
                      <a:pt x="271" y="7"/>
                    </a:lnTo>
                    <a:lnTo>
                      <a:pt x="273" y="7"/>
                    </a:lnTo>
                    <a:lnTo>
                      <a:pt x="273" y="5"/>
                    </a:lnTo>
                    <a:lnTo>
                      <a:pt x="273" y="4"/>
                    </a:lnTo>
                    <a:lnTo>
                      <a:pt x="275" y="5"/>
                    </a:lnTo>
                    <a:lnTo>
                      <a:pt x="275" y="7"/>
                    </a:lnTo>
                    <a:lnTo>
                      <a:pt x="273" y="7"/>
                    </a:lnTo>
                    <a:lnTo>
                      <a:pt x="275" y="7"/>
                    </a:lnTo>
                    <a:lnTo>
                      <a:pt x="275" y="9"/>
                    </a:lnTo>
                    <a:lnTo>
                      <a:pt x="273" y="9"/>
                    </a:lnTo>
                    <a:lnTo>
                      <a:pt x="273" y="11"/>
                    </a:lnTo>
                    <a:lnTo>
                      <a:pt x="275" y="11"/>
                    </a:lnTo>
                    <a:lnTo>
                      <a:pt x="277" y="9"/>
                    </a:lnTo>
                    <a:lnTo>
                      <a:pt x="277" y="7"/>
                    </a:lnTo>
                    <a:lnTo>
                      <a:pt x="279" y="7"/>
                    </a:lnTo>
                    <a:lnTo>
                      <a:pt x="279" y="5"/>
                    </a:lnTo>
                    <a:lnTo>
                      <a:pt x="280" y="5"/>
                    </a:lnTo>
                    <a:lnTo>
                      <a:pt x="280" y="7"/>
                    </a:lnTo>
                    <a:lnTo>
                      <a:pt x="280" y="9"/>
                    </a:lnTo>
                    <a:lnTo>
                      <a:pt x="282" y="9"/>
                    </a:lnTo>
                    <a:lnTo>
                      <a:pt x="280" y="9"/>
                    </a:lnTo>
                    <a:lnTo>
                      <a:pt x="282" y="11"/>
                    </a:lnTo>
                    <a:lnTo>
                      <a:pt x="284" y="11"/>
                    </a:lnTo>
                    <a:lnTo>
                      <a:pt x="286" y="11"/>
                    </a:lnTo>
                    <a:lnTo>
                      <a:pt x="286" y="13"/>
                    </a:lnTo>
                    <a:lnTo>
                      <a:pt x="288" y="13"/>
                    </a:lnTo>
                    <a:lnTo>
                      <a:pt x="288" y="15"/>
                    </a:lnTo>
                    <a:lnTo>
                      <a:pt x="288" y="17"/>
                    </a:lnTo>
                    <a:lnTo>
                      <a:pt x="286" y="17"/>
                    </a:lnTo>
                    <a:lnTo>
                      <a:pt x="286" y="19"/>
                    </a:lnTo>
                    <a:lnTo>
                      <a:pt x="286" y="17"/>
                    </a:lnTo>
                    <a:lnTo>
                      <a:pt x="286" y="19"/>
                    </a:lnTo>
                    <a:lnTo>
                      <a:pt x="288" y="19"/>
                    </a:lnTo>
                    <a:lnTo>
                      <a:pt x="286" y="19"/>
                    </a:lnTo>
                    <a:lnTo>
                      <a:pt x="288" y="19"/>
                    </a:lnTo>
                    <a:lnTo>
                      <a:pt x="288" y="21"/>
                    </a:lnTo>
                    <a:lnTo>
                      <a:pt x="286" y="21"/>
                    </a:lnTo>
                    <a:lnTo>
                      <a:pt x="288" y="21"/>
                    </a:lnTo>
                    <a:lnTo>
                      <a:pt x="288" y="23"/>
                    </a:lnTo>
                    <a:lnTo>
                      <a:pt x="286" y="23"/>
                    </a:lnTo>
                    <a:lnTo>
                      <a:pt x="284" y="23"/>
                    </a:lnTo>
                    <a:lnTo>
                      <a:pt x="286" y="23"/>
                    </a:lnTo>
                    <a:lnTo>
                      <a:pt x="288" y="23"/>
                    </a:lnTo>
                    <a:lnTo>
                      <a:pt x="290" y="23"/>
                    </a:lnTo>
                    <a:lnTo>
                      <a:pt x="292" y="21"/>
                    </a:lnTo>
                    <a:lnTo>
                      <a:pt x="292" y="19"/>
                    </a:lnTo>
                    <a:lnTo>
                      <a:pt x="294" y="21"/>
                    </a:lnTo>
                    <a:lnTo>
                      <a:pt x="294" y="23"/>
                    </a:lnTo>
                    <a:lnTo>
                      <a:pt x="296" y="23"/>
                    </a:lnTo>
                    <a:lnTo>
                      <a:pt x="294" y="25"/>
                    </a:lnTo>
                    <a:lnTo>
                      <a:pt x="292" y="25"/>
                    </a:lnTo>
                    <a:lnTo>
                      <a:pt x="292" y="26"/>
                    </a:lnTo>
                    <a:lnTo>
                      <a:pt x="294" y="26"/>
                    </a:lnTo>
                    <a:lnTo>
                      <a:pt x="294" y="25"/>
                    </a:lnTo>
                    <a:lnTo>
                      <a:pt x="294" y="26"/>
                    </a:lnTo>
                    <a:lnTo>
                      <a:pt x="294" y="25"/>
                    </a:lnTo>
                    <a:lnTo>
                      <a:pt x="296" y="26"/>
                    </a:lnTo>
                    <a:lnTo>
                      <a:pt x="296" y="25"/>
                    </a:lnTo>
                    <a:lnTo>
                      <a:pt x="298" y="23"/>
                    </a:lnTo>
                    <a:lnTo>
                      <a:pt x="298" y="25"/>
                    </a:lnTo>
                    <a:lnTo>
                      <a:pt x="300" y="23"/>
                    </a:lnTo>
                    <a:lnTo>
                      <a:pt x="301" y="26"/>
                    </a:lnTo>
                    <a:lnTo>
                      <a:pt x="303" y="26"/>
                    </a:lnTo>
                    <a:lnTo>
                      <a:pt x="301" y="26"/>
                    </a:lnTo>
                    <a:lnTo>
                      <a:pt x="301" y="28"/>
                    </a:lnTo>
                    <a:lnTo>
                      <a:pt x="303" y="28"/>
                    </a:lnTo>
                    <a:lnTo>
                      <a:pt x="301" y="28"/>
                    </a:lnTo>
                    <a:lnTo>
                      <a:pt x="303" y="26"/>
                    </a:lnTo>
                    <a:lnTo>
                      <a:pt x="305" y="28"/>
                    </a:lnTo>
                    <a:lnTo>
                      <a:pt x="305" y="30"/>
                    </a:lnTo>
                    <a:lnTo>
                      <a:pt x="307" y="30"/>
                    </a:lnTo>
                    <a:lnTo>
                      <a:pt x="305" y="30"/>
                    </a:lnTo>
                    <a:lnTo>
                      <a:pt x="305" y="28"/>
                    </a:lnTo>
                    <a:lnTo>
                      <a:pt x="307" y="30"/>
                    </a:lnTo>
                    <a:lnTo>
                      <a:pt x="309" y="30"/>
                    </a:lnTo>
                    <a:lnTo>
                      <a:pt x="307" y="30"/>
                    </a:lnTo>
                    <a:lnTo>
                      <a:pt x="309" y="30"/>
                    </a:lnTo>
                    <a:lnTo>
                      <a:pt x="311" y="30"/>
                    </a:lnTo>
                    <a:lnTo>
                      <a:pt x="313" y="30"/>
                    </a:lnTo>
                    <a:lnTo>
                      <a:pt x="313" y="32"/>
                    </a:lnTo>
                    <a:lnTo>
                      <a:pt x="313" y="34"/>
                    </a:lnTo>
                    <a:lnTo>
                      <a:pt x="311" y="36"/>
                    </a:lnTo>
                    <a:lnTo>
                      <a:pt x="307" y="36"/>
                    </a:lnTo>
                    <a:lnTo>
                      <a:pt x="305" y="38"/>
                    </a:lnTo>
                    <a:lnTo>
                      <a:pt x="303" y="38"/>
                    </a:lnTo>
                    <a:lnTo>
                      <a:pt x="301" y="38"/>
                    </a:lnTo>
                    <a:lnTo>
                      <a:pt x="300" y="38"/>
                    </a:lnTo>
                    <a:lnTo>
                      <a:pt x="300" y="36"/>
                    </a:lnTo>
                    <a:lnTo>
                      <a:pt x="298" y="36"/>
                    </a:lnTo>
                    <a:lnTo>
                      <a:pt x="298" y="38"/>
                    </a:lnTo>
                    <a:lnTo>
                      <a:pt x="296" y="38"/>
                    </a:lnTo>
                    <a:lnTo>
                      <a:pt x="296" y="40"/>
                    </a:lnTo>
                    <a:lnTo>
                      <a:pt x="296" y="42"/>
                    </a:lnTo>
                    <a:lnTo>
                      <a:pt x="298" y="42"/>
                    </a:lnTo>
                    <a:lnTo>
                      <a:pt x="298" y="44"/>
                    </a:lnTo>
                    <a:lnTo>
                      <a:pt x="300" y="44"/>
                    </a:lnTo>
                    <a:lnTo>
                      <a:pt x="301" y="44"/>
                    </a:lnTo>
                    <a:lnTo>
                      <a:pt x="300" y="44"/>
                    </a:lnTo>
                    <a:lnTo>
                      <a:pt x="301" y="45"/>
                    </a:lnTo>
                    <a:lnTo>
                      <a:pt x="301" y="44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303" y="45"/>
                    </a:lnTo>
                    <a:lnTo>
                      <a:pt x="301" y="47"/>
                    </a:lnTo>
                    <a:lnTo>
                      <a:pt x="300" y="47"/>
                    </a:lnTo>
                    <a:lnTo>
                      <a:pt x="298" y="47"/>
                    </a:lnTo>
                    <a:lnTo>
                      <a:pt x="296" y="47"/>
                    </a:lnTo>
                    <a:lnTo>
                      <a:pt x="292" y="49"/>
                    </a:lnTo>
                    <a:lnTo>
                      <a:pt x="290" y="47"/>
                    </a:lnTo>
                    <a:lnTo>
                      <a:pt x="288" y="47"/>
                    </a:lnTo>
                    <a:lnTo>
                      <a:pt x="288" y="45"/>
                    </a:lnTo>
                    <a:lnTo>
                      <a:pt x="286" y="45"/>
                    </a:lnTo>
                    <a:lnTo>
                      <a:pt x="286" y="47"/>
                    </a:lnTo>
                    <a:lnTo>
                      <a:pt x="288" y="47"/>
                    </a:lnTo>
                    <a:lnTo>
                      <a:pt x="286" y="47"/>
                    </a:lnTo>
                    <a:lnTo>
                      <a:pt x="286" y="49"/>
                    </a:lnTo>
                    <a:close/>
                    <a:moveTo>
                      <a:pt x="40" y="17"/>
                    </a:moveTo>
                    <a:lnTo>
                      <a:pt x="42" y="17"/>
                    </a:lnTo>
                    <a:lnTo>
                      <a:pt x="44" y="19"/>
                    </a:lnTo>
                    <a:lnTo>
                      <a:pt x="46" y="23"/>
                    </a:lnTo>
                    <a:lnTo>
                      <a:pt x="48" y="25"/>
                    </a:lnTo>
                    <a:lnTo>
                      <a:pt x="50" y="26"/>
                    </a:lnTo>
                    <a:lnTo>
                      <a:pt x="52" y="26"/>
                    </a:lnTo>
                    <a:lnTo>
                      <a:pt x="50" y="26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5" y="30"/>
                    </a:lnTo>
                    <a:lnTo>
                      <a:pt x="61" y="40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61" y="45"/>
                    </a:lnTo>
                    <a:lnTo>
                      <a:pt x="61" y="47"/>
                    </a:lnTo>
                    <a:lnTo>
                      <a:pt x="63" y="47"/>
                    </a:lnTo>
                    <a:lnTo>
                      <a:pt x="61" y="49"/>
                    </a:lnTo>
                    <a:lnTo>
                      <a:pt x="61" y="51"/>
                    </a:lnTo>
                    <a:lnTo>
                      <a:pt x="61" y="53"/>
                    </a:lnTo>
                    <a:lnTo>
                      <a:pt x="61" y="55"/>
                    </a:lnTo>
                    <a:lnTo>
                      <a:pt x="59" y="55"/>
                    </a:lnTo>
                    <a:lnTo>
                      <a:pt x="59" y="57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1" y="63"/>
                    </a:lnTo>
                    <a:lnTo>
                      <a:pt x="61" y="65"/>
                    </a:lnTo>
                    <a:lnTo>
                      <a:pt x="61" y="70"/>
                    </a:lnTo>
                    <a:lnTo>
                      <a:pt x="63" y="72"/>
                    </a:lnTo>
                    <a:lnTo>
                      <a:pt x="65" y="74"/>
                    </a:lnTo>
                    <a:lnTo>
                      <a:pt x="67" y="74"/>
                    </a:lnTo>
                    <a:lnTo>
                      <a:pt x="67" y="76"/>
                    </a:lnTo>
                    <a:lnTo>
                      <a:pt x="69" y="76"/>
                    </a:lnTo>
                    <a:lnTo>
                      <a:pt x="67" y="76"/>
                    </a:lnTo>
                    <a:lnTo>
                      <a:pt x="67" y="78"/>
                    </a:lnTo>
                    <a:lnTo>
                      <a:pt x="69" y="78"/>
                    </a:lnTo>
                    <a:lnTo>
                      <a:pt x="71" y="80"/>
                    </a:lnTo>
                    <a:lnTo>
                      <a:pt x="69" y="80"/>
                    </a:lnTo>
                    <a:lnTo>
                      <a:pt x="71" y="80"/>
                    </a:lnTo>
                    <a:lnTo>
                      <a:pt x="69" y="82"/>
                    </a:lnTo>
                    <a:lnTo>
                      <a:pt x="71" y="82"/>
                    </a:lnTo>
                    <a:lnTo>
                      <a:pt x="71" y="84"/>
                    </a:lnTo>
                    <a:lnTo>
                      <a:pt x="73" y="86"/>
                    </a:lnTo>
                    <a:lnTo>
                      <a:pt x="73" y="87"/>
                    </a:lnTo>
                    <a:lnTo>
                      <a:pt x="75" y="89"/>
                    </a:lnTo>
                    <a:lnTo>
                      <a:pt x="75" y="91"/>
                    </a:lnTo>
                    <a:lnTo>
                      <a:pt x="75" y="93"/>
                    </a:lnTo>
                    <a:lnTo>
                      <a:pt x="75" y="95"/>
                    </a:lnTo>
                    <a:lnTo>
                      <a:pt x="73" y="95"/>
                    </a:lnTo>
                    <a:lnTo>
                      <a:pt x="73" y="93"/>
                    </a:lnTo>
                    <a:lnTo>
                      <a:pt x="71" y="93"/>
                    </a:lnTo>
                    <a:lnTo>
                      <a:pt x="71" y="91"/>
                    </a:lnTo>
                    <a:lnTo>
                      <a:pt x="71" y="89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71" y="91"/>
                    </a:lnTo>
                    <a:lnTo>
                      <a:pt x="71" y="93"/>
                    </a:lnTo>
                    <a:lnTo>
                      <a:pt x="69" y="93"/>
                    </a:lnTo>
                    <a:lnTo>
                      <a:pt x="67" y="93"/>
                    </a:lnTo>
                    <a:lnTo>
                      <a:pt x="65" y="93"/>
                    </a:lnTo>
                    <a:lnTo>
                      <a:pt x="65" y="95"/>
                    </a:lnTo>
                    <a:lnTo>
                      <a:pt x="63" y="95"/>
                    </a:lnTo>
                    <a:lnTo>
                      <a:pt x="63" y="93"/>
                    </a:lnTo>
                    <a:lnTo>
                      <a:pt x="63" y="95"/>
                    </a:lnTo>
                    <a:lnTo>
                      <a:pt x="63" y="97"/>
                    </a:lnTo>
                    <a:lnTo>
                      <a:pt x="61" y="95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7" y="91"/>
                    </a:lnTo>
                    <a:lnTo>
                      <a:pt x="55" y="89"/>
                    </a:lnTo>
                    <a:lnTo>
                      <a:pt x="54" y="89"/>
                    </a:lnTo>
                    <a:lnTo>
                      <a:pt x="54" y="87"/>
                    </a:lnTo>
                    <a:lnTo>
                      <a:pt x="52" y="87"/>
                    </a:lnTo>
                    <a:lnTo>
                      <a:pt x="50" y="87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6" y="84"/>
                    </a:lnTo>
                    <a:lnTo>
                      <a:pt x="42" y="82"/>
                    </a:lnTo>
                    <a:lnTo>
                      <a:pt x="40" y="82"/>
                    </a:lnTo>
                    <a:lnTo>
                      <a:pt x="40" y="80"/>
                    </a:lnTo>
                    <a:lnTo>
                      <a:pt x="38" y="78"/>
                    </a:lnTo>
                    <a:lnTo>
                      <a:pt x="36" y="78"/>
                    </a:lnTo>
                    <a:lnTo>
                      <a:pt x="36" y="76"/>
                    </a:lnTo>
                    <a:lnTo>
                      <a:pt x="35" y="76"/>
                    </a:lnTo>
                    <a:lnTo>
                      <a:pt x="35" y="74"/>
                    </a:lnTo>
                    <a:lnTo>
                      <a:pt x="35" y="76"/>
                    </a:lnTo>
                    <a:lnTo>
                      <a:pt x="33" y="74"/>
                    </a:lnTo>
                    <a:lnTo>
                      <a:pt x="31" y="74"/>
                    </a:lnTo>
                    <a:lnTo>
                      <a:pt x="29" y="72"/>
                    </a:lnTo>
                    <a:lnTo>
                      <a:pt x="27" y="70"/>
                    </a:lnTo>
                    <a:lnTo>
                      <a:pt x="29" y="70"/>
                    </a:lnTo>
                    <a:lnTo>
                      <a:pt x="29" y="68"/>
                    </a:lnTo>
                    <a:lnTo>
                      <a:pt x="27" y="66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5" y="61"/>
                    </a:lnTo>
                    <a:lnTo>
                      <a:pt x="23" y="59"/>
                    </a:lnTo>
                    <a:lnTo>
                      <a:pt x="21" y="59"/>
                    </a:lnTo>
                    <a:lnTo>
                      <a:pt x="21" y="57"/>
                    </a:lnTo>
                    <a:lnTo>
                      <a:pt x="19" y="57"/>
                    </a:lnTo>
                    <a:lnTo>
                      <a:pt x="19" y="55"/>
                    </a:lnTo>
                    <a:lnTo>
                      <a:pt x="17" y="55"/>
                    </a:lnTo>
                    <a:lnTo>
                      <a:pt x="17" y="53"/>
                    </a:lnTo>
                    <a:lnTo>
                      <a:pt x="19" y="53"/>
                    </a:lnTo>
                    <a:lnTo>
                      <a:pt x="19" y="51"/>
                    </a:lnTo>
                    <a:lnTo>
                      <a:pt x="17" y="49"/>
                    </a:lnTo>
                    <a:lnTo>
                      <a:pt x="15" y="49"/>
                    </a:lnTo>
                    <a:lnTo>
                      <a:pt x="17" y="49"/>
                    </a:lnTo>
                    <a:lnTo>
                      <a:pt x="15" y="49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17" y="45"/>
                    </a:lnTo>
                    <a:lnTo>
                      <a:pt x="17" y="44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2" y="36"/>
                    </a:lnTo>
                    <a:lnTo>
                      <a:pt x="14" y="34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4" y="25"/>
                    </a:lnTo>
                    <a:lnTo>
                      <a:pt x="12" y="21"/>
                    </a:lnTo>
                    <a:lnTo>
                      <a:pt x="12" y="19"/>
                    </a:lnTo>
                    <a:lnTo>
                      <a:pt x="10" y="17"/>
                    </a:lnTo>
                    <a:lnTo>
                      <a:pt x="8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15" y="13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19" y="17"/>
                    </a:lnTo>
                    <a:lnTo>
                      <a:pt x="21" y="17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6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40" y="19"/>
                    </a:lnTo>
                    <a:lnTo>
                      <a:pt x="40" y="17"/>
                    </a:lnTo>
                    <a:close/>
                    <a:moveTo>
                      <a:pt x="187" y="72"/>
                    </a:moveTo>
                    <a:lnTo>
                      <a:pt x="187" y="76"/>
                    </a:lnTo>
                    <a:lnTo>
                      <a:pt x="189" y="78"/>
                    </a:lnTo>
                    <a:lnTo>
                      <a:pt x="187" y="78"/>
                    </a:lnTo>
                    <a:lnTo>
                      <a:pt x="187" y="80"/>
                    </a:lnTo>
                    <a:lnTo>
                      <a:pt x="187" y="78"/>
                    </a:lnTo>
                    <a:lnTo>
                      <a:pt x="187" y="76"/>
                    </a:lnTo>
                    <a:lnTo>
                      <a:pt x="187" y="74"/>
                    </a:lnTo>
                    <a:lnTo>
                      <a:pt x="187" y="72"/>
                    </a:lnTo>
                    <a:close/>
                    <a:moveTo>
                      <a:pt x="280" y="0"/>
                    </a:moveTo>
                    <a:lnTo>
                      <a:pt x="282" y="0"/>
                    </a:lnTo>
                    <a:lnTo>
                      <a:pt x="280" y="0"/>
                    </a:lnTo>
                    <a:lnTo>
                      <a:pt x="282" y="0"/>
                    </a:lnTo>
                    <a:lnTo>
                      <a:pt x="280" y="2"/>
                    </a:lnTo>
                    <a:lnTo>
                      <a:pt x="282" y="2"/>
                    </a:lnTo>
                    <a:lnTo>
                      <a:pt x="280" y="2"/>
                    </a:lnTo>
                    <a:lnTo>
                      <a:pt x="279" y="2"/>
                    </a:lnTo>
                    <a:lnTo>
                      <a:pt x="279" y="4"/>
                    </a:lnTo>
                    <a:lnTo>
                      <a:pt x="279" y="2"/>
                    </a:lnTo>
                    <a:lnTo>
                      <a:pt x="279" y="0"/>
                    </a:lnTo>
                    <a:lnTo>
                      <a:pt x="280" y="0"/>
                    </a:lnTo>
                    <a:close/>
                    <a:moveTo>
                      <a:pt x="4" y="13"/>
                    </a:moveTo>
                    <a:lnTo>
                      <a:pt x="6" y="15"/>
                    </a:lnTo>
                    <a:lnTo>
                      <a:pt x="4" y="15"/>
                    </a:lnTo>
                    <a:lnTo>
                      <a:pt x="4" y="17"/>
                    </a:lnTo>
                    <a:lnTo>
                      <a:pt x="4" y="15"/>
                    </a:lnTo>
                    <a:lnTo>
                      <a:pt x="4" y="17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4" y="13"/>
                    </a:lnTo>
                    <a:close/>
                    <a:moveTo>
                      <a:pt x="12" y="28"/>
                    </a:moveTo>
                    <a:lnTo>
                      <a:pt x="12" y="30"/>
                    </a:lnTo>
                    <a:lnTo>
                      <a:pt x="12" y="32"/>
                    </a:lnTo>
                    <a:lnTo>
                      <a:pt x="10" y="32"/>
                    </a:lnTo>
                    <a:lnTo>
                      <a:pt x="10" y="28"/>
                    </a:lnTo>
                    <a:lnTo>
                      <a:pt x="10" y="30"/>
                    </a:lnTo>
                    <a:lnTo>
                      <a:pt x="12" y="28"/>
                    </a:lnTo>
                    <a:close/>
                    <a:moveTo>
                      <a:pt x="292" y="49"/>
                    </a:moveTo>
                    <a:lnTo>
                      <a:pt x="288" y="49"/>
                    </a:lnTo>
                    <a:lnTo>
                      <a:pt x="286" y="49"/>
                    </a:lnTo>
                    <a:lnTo>
                      <a:pt x="288" y="49"/>
                    </a:lnTo>
                    <a:lnTo>
                      <a:pt x="290" y="49"/>
                    </a:lnTo>
                    <a:lnTo>
                      <a:pt x="292" y="49"/>
                    </a:lnTo>
                    <a:close/>
                    <a:moveTo>
                      <a:pt x="284" y="9"/>
                    </a:moveTo>
                    <a:lnTo>
                      <a:pt x="286" y="9"/>
                    </a:lnTo>
                    <a:lnTo>
                      <a:pt x="284" y="11"/>
                    </a:lnTo>
                    <a:lnTo>
                      <a:pt x="282" y="11"/>
                    </a:lnTo>
                    <a:lnTo>
                      <a:pt x="282" y="9"/>
                    </a:lnTo>
                    <a:lnTo>
                      <a:pt x="284" y="9"/>
                    </a:lnTo>
                    <a:close/>
                    <a:moveTo>
                      <a:pt x="73" y="70"/>
                    </a:moveTo>
                    <a:lnTo>
                      <a:pt x="75" y="70"/>
                    </a:lnTo>
                    <a:lnTo>
                      <a:pt x="75" y="74"/>
                    </a:lnTo>
                    <a:lnTo>
                      <a:pt x="73" y="74"/>
                    </a:lnTo>
                    <a:lnTo>
                      <a:pt x="73" y="70"/>
                    </a:lnTo>
                    <a:close/>
                    <a:moveTo>
                      <a:pt x="300" y="42"/>
                    </a:moveTo>
                    <a:lnTo>
                      <a:pt x="301" y="42"/>
                    </a:lnTo>
                    <a:lnTo>
                      <a:pt x="301" y="44"/>
                    </a:lnTo>
                    <a:lnTo>
                      <a:pt x="300" y="44"/>
                    </a:lnTo>
                    <a:lnTo>
                      <a:pt x="298" y="42"/>
                    </a:lnTo>
                    <a:lnTo>
                      <a:pt x="300" y="42"/>
                    </a:lnTo>
                    <a:close/>
                    <a:moveTo>
                      <a:pt x="275" y="0"/>
                    </a:moveTo>
                    <a:lnTo>
                      <a:pt x="277" y="0"/>
                    </a:lnTo>
                    <a:lnTo>
                      <a:pt x="277" y="2"/>
                    </a:lnTo>
                    <a:lnTo>
                      <a:pt x="275" y="2"/>
                    </a:lnTo>
                    <a:lnTo>
                      <a:pt x="275" y="0"/>
                    </a:lnTo>
                    <a:close/>
                    <a:moveTo>
                      <a:pt x="248" y="30"/>
                    </a:moveTo>
                    <a:lnTo>
                      <a:pt x="250" y="30"/>
                    </a:lnTo>
                    <a:lnTo>
                      <a:pt x="250" y="32"/>
                    </a:lnTo>
                    <a:lnTo>
                      <a:pt x="248" y="32"/>
                    </a:lnTo>
                    <a:lnTo>
                      <a:pt x="248" y="30"/>
                    </a:lnTo>
                    <a:close/>
                    <a:moveTo>
                      <a:pt x="15" y="40"/>
                    </a:moveTo>
                    <a:lnTo>
                      <a:pt x="17" y="40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5" y="40"/>
                    </a:lnTo>
                    <a:close/>
                    <a:moveTo>
                      <a:pt x="15" y="42"/>
                    </a:moveTo>
                    <a:lnTo>
                      <a:pt x="17" y="42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5" y="42"/>
                    </a:lnTo>
                    <a:close/>
                    <a:moveTo>
                      <a:pt x="27" y="68"/>
                    </a:moveTo>
                    <a:lnTo>
                      <a:pt x="29" y="68"/>
                    </a:lnTo>
                    <a:lnTo>
                      <a:pt x="29" y="70"/>
                    </a:lnTo>
                    <a:lnTo>
                      <a:pt x="27" y="70"/>
                    </a:lnTo>
                    <a:lnTo>
                      <a:pt x="27" y="68"/>
                    </a:lnTo>
                    <a:close/>
                    <a:moveTo>
                      <a:pt x="303" y="45"/>
                    </a:moveTo>
                    <a:lnTo>
                      <a:pt x="305" y="45"/>
                    </a:lnTo>
                    <a:lnTo>
                      <a:pt x="303" y="45"/>
                    </a:lnTo>
                    <a:close/>
                    <a:moveTo>
                      <a:pt x="286" y="47"/>
                    </a:moveTo>
                    <a:lnTo>
                      <a:pt x="288" y="47"/>
                    </a:lnTo>
                    <a:lnTo>
                      <a:pt x="288" y="49"/>
                    </a:lnTo>
                    <a:lnTo>
                      <a:pt x="286" y="49"/>
                    </a:lnTo>
                    <a:lnTo>
                      <a:pt x="286" y="47"/>
                    </a:lnTo>
                    <a:close/>
                    <a:moveTo>
                      <a:pt x="4" y="17"/>
                    </a:moveTo>
                    <a:lnTo>
                      <a:pt x="4" y="19"/>
                    </a:lnTo>
                    <a:lnTo>
                      <a:pt x="4" y="17"/>
                    </a:lnTo>
                    <a:close/>
                    <a:moveTo>
                      <a:pt x="280" y="4"/>
                    </a:moveTo>
                    <a:lnTo>
                      <a:pt x="282" y="4"/>
                    </a:lnTo>
                    <a:lnTo>
                      <a:pt x="282" y="5"/>
                    </a:lnTo>
                    <a:lnTo>
                      <a:pt x="280" y="5"/>
                    </a:lnTo>
                    <a:lnTo>
                      <a:pt x="280" y="4"/>
                    </a:lnTo>
                    <a:close/>
                    <a:moveTo>
                      <a:pt x="15" y="40"/>
                    </a:moveTo>
                    <a:lnTo>
                      <a:pt x="17" y="40"/>
                    </a:lnTo>
                    <a:lnTo>
                      <a:pt x="15" y="40"/>
                    </a:lnTo>
                    <a:close/>
                    <a:moveTo>
                      <a:pt x="292" y="25"/>
                    </a:moveTo>
                    <a:lnTo>
                      <a:pt x="294" y="25"/>
                    </a:lnTo>
                    <a:lnTo>
                      <a:pt x="292" y="25"/>
                    </a:lnTo>
                    <a:close/>
                    <a:moveTo>
                      <a:pt x="27" y="68"/>
                    </a:moveTo>
                    <a:lnTo>
                      <a:pt x="29" y="68"/>
                    </a:lnTo>
                    <a:lnTo>
                      <a:pt x="27" y="68"/>
                    </a:lnTo>
                    <a:close/>
                    <a:moveTo>
                      <a:pt x="296" y="23"/>
                    </a:moveTo>
                    <a:lnTo>
                      <a:pt x="298" y="23"/>
                    </a:lnTo>
                    <a:lnTo>
                      <a:pt x="298" y="25"/>
                    </a:lnTo>
                    <a:lnTo>
                      <a:pt x="296" y="25"/>
                    </a:lnTo>
                    <a:lnTo>
                      <a:pt x="296" y="23"/>
                    </a:lnTo>
                    <a:close/>
                    <a:moveTo>
                      <a:pt x="288" y="21"/>
                    </a:moveTo>
                    <a:lnTo>
                      <a:pt x="288" y="23"/>
                    </a:lnTo>
                    <a:lnTo>
                      <a:pt x="288" y="21"/>
                    </a:lnTo>
                    <a:close/>
                    <a:moveTo>
                      <a:pt x="54" y="25"/>
                    </a:moveTo>
                    <a:lnTo>
                      <a:pt x="55" y="25"/>
                    </a:lnTo>
                    <a:lnTo>
                      <a:pt x="54" y="25"/>
                    </a:lnTo>
                    <a:close/>
                    <a:moveTo>
                      <a:pt x="27" y="68"/>
                    </a:moveTo>
                    <a:lnTo>
                      <a:pt x="29" y="68"/>
                    </a:lnTo>
                    <a:lnTo>
                      <a:pt x="29" y="70"/>
                    </a:lnTo>
                    <a:lnTo>
                      <a:pt x="27" y="70"/>
                    </a:lnTo>
                    <a:lnTo>
                      <a:pt x="27" y="68"/>
                    </a:lnTo>
                    <a:close/>
                    <a:moveTo>
                      <a:pt x="27" y="68"/>
                    </a:moveTo>
                    <a:lnTo>
                      <a:pt x="27" y="70"/>
                    </a:lnTo>
                    <a:lnTo>
                      <a:pt x="27" y="68"/>
                    </a:lnTo>
                    <a:close/>
                    <a:moveTo>
                      <a:pt x="298" y="38"/>
                    </a:moveTo>
                    <a:lnTo>
                      <a:pt x="300" y="38"/>
                    </a:lnTo>
                    <a:lnTo>
                      <a:pt x="298" y="38"/>
                    </a:lnTo>
                    <a:close/>
                    <a:moveTo>
                      <a:pt x="27" y="68"/>
                    </a:moveTo>
                    <a:lnTo>
                      <a:pt x="27" y="70"/>
                    </a:lnTo>
                    <a:lnTo>
                      <a:pt x="27" y="68"/>
                    </a:lnTo>
                    <a:close/>
                    <a:moveTo>
                      <a:pt x="286" y="47"/>
                    </a:moveTo>
                    <a:lnTo>
                      <a:pt x="288" y="47"/>
                    </a:lnTo>
                    <a:lnTo>
                      <a:pt x="286" y="47"/>
                    </a:lnTo>
                    <a:close/>
                    <a:moveTo>
                      <a:pt x="27" y="68"/>
                    </a:moveTo>
                    <a:lnTo>
                      <a:pt x="27" y="70"/>
                    </a:lnTo>
                    <a:lnTo>
                      <a:pt x="27" y="68"/>
                    </a:lnTo>
                    <a:close/>
                    <a:moveTo>
                      <a:pt x="2" y="17"/>
                    </a:moveTo>
                    <a:lnTo>
                      <a:pt x="2" y="19"/>
                    </a:lnTo>
                    <a:lnTo>
                      <a:pt x="2" y="17"/>
                    </a:lnTo>
                    <a:close/>
                    <a:moveTo>
                      <a:pt x="50" y="23"/>
                    </a:moveTo>
                    <a:lnTo>
                      <a:pt x="52" y="23"/>
                    </a:lnTo>
                    <a:lnTo>
                      <a:pt x="50" y="23"/>
                    </a:lnTo>
                    <a:close/>
                    <a:moveTo>
                      <a:pt x="75" y="76"/>
                    </a:moveTo>
                    <a:lnTo>
                      <a:pt x="76" y="76"/>
                    </a:lnTo>
                    <a:lnTo>
                      <a:pt x="75" y="76"/>
                    </a:lnTo>
                    <a:close/>
                    <a:moveTo>
                      <a:pt x="6" y="15"/>
                    </a:moveTo>
                    <a:lnTo>
                      <a:pt x="6" y="17"/>
                    </a:lnTo>
                    <a:lnTo>
                      <a:pt x="6" y="15"/>
                    </a:lnTo>
                    <a:close/>
                    <a:moveTo>
                      <a:pt x="256" y="25"/>
                    </a:moveTo>
                    <a:lnTo>
                      <a:pt x="256" y="26"/>
                    </a:lnTo>
                    <a:lnTo>
                      <a:pt x="256" y="25"/>
                    </a:lnTo>
                    <a:close/>
                    <a:moveTo>
                      <a:pt x="4" y="13"/>
                    </a:moveTo>
                    <a:lnTo>
                      <a:pt x="6" y="13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4" y="13"/>
                    </a:lnTo>
                    <a:close/>
                    <a:moveTo>
                      <a:pt x="279" y="2"/>
                    </a:moveTo>
                    <a:lnTo>
                      <a:pt x="280" y="2"/>
                    </a:lnTo>
                    <a:lnTo>
                      <a:pt x="280" y="4"/>
                    </a:lnTo>
                    <a:lnTo>
                      <a:pt x="279" y="4"/>
                    </a:lnTo>
                    <a:lnTo>
                      <a:pt x="279" y="2"/>
                    </a:lnTo>
                    <a:close/>
                    <a:moveTo>
                      <a:pt x="187" y="72"/>
                    </a:moveTo>
                    <a:lnTo>
                      <a:pt x="189" y="72"/>
                    </a:lnTo>
                    <a:lnTo>
                      <a:pt x="189" y="74"/>
                    </a:lnTo>
                    <a:lnTo>
                      <a:pt x="187" y="74"/>
                    </a:lnTo>
                    <a:lnTo>
                      <a:pt x="187" y="72"/>
                    </a:lnTo>
                    <a:close/>
                    <a:moveTo>
                      <a:pt x="288" y="45"/>
                    </a:moveTo>
                    <a:lnTo>
                      <a:pt x="288" y="47"/>
                    </a:lnTo>
                    <a:lnTo>
                      <a:pt x="288" y="45"/>
                    </a:lnTo>
                    <a:close/>
                    <a:moveTo>
                      <a:pt x="254" y="17"/>
                    </a:moveTo>
                    <a:lnTo>
                      <a:pt x="256" y="17"/>
                    </a:lnTo>
                    <a:lnTo>
                      <a:pt x="254" y="17"/>
                    </a:lnTo>
                    <a:close/>
                    <a:moveTo>
                      <a:pt x="298" y="47"/>
                    </a:moveTo>
                    <a:lnTo>
                      <a:pt x="300" y="47"/>
                    </a:lnTo>
                    <a:lnTo>
                      <a:pt x="298" y="47"/>
                    </a:lnTo>
                    <a:close/>
                    <a:moveTo>
                      <a:pt x="71" y="82"/>
                    </a:moveTo>
                    <a:lnTo>
                      <a:pt x="73" y="82"/>
                    </a:lnTo>
                    <a:lnTo>
                      <a:pt x="71" y="82"/>
                    </a:lnTo>
                    <a:close/>
                    <a:moveTo>
                      <a:pt x="294" y="25"/>
                    </a:moveTo>
                    <a:lnTo>
                      <a:pt x="296" y="25"/>
                    </a:lnTo>
                    <a:lnTo>
                      <a:pt x="294" y="25"/>
                    </a:lnTo>
                    <a:close/>
                    <a:moveTo>
                      <a:pt x="300" y="42"/>
                    </a:moveTo>
                    <a:lnTo>
                      <a:pt x="301" y="42"/>
                    </a:lnTo>
                    <a:lnTo>
                      <a:pt x="300" y="42"/>
                    </a:lnTo>
                    <a:close/>
                    <a:moveTo>
                      <a:pt x="280" y="7"/>
                    </a:moveTo>
                    <a:lnTo>
                      <a:pt x="282" y="7"/>
                    </a:lnTo>
                    <a:lnTo>
                      <a:pt x="280" y="7"/>
                    </a:lnTo>
                    <a:close/>
                    <a:moveTo>
                      <a:pt x="288" y="21"/>
                    </a:moveTo>
                    <a:lnTo>
                      <a:pt x="288" y="23"/>
                    </a:lnTo>
                    <a:lnTo>
                      <a:pt x="288" y="21"/>
                    </a:lnTo>
                    <a:close/>
                    <a:moveTo>
                      <a:pt x="69" y="89"/>
                    </a:moveTo>
                    <a:lnTo>
                      <a:pt x="71" y="89"/>
                    </a:lnTo>
                    <a:lnTo>
                      <a:pt x="71" y="91"/>
                    </a:lnTo>
                    <a:lnTo>
                      <a:pt x="69" y="91"/>
                    </a:lnTo>
                    <a:lnTo>
                      <a:pt x="69" y="89"/>
                    </a:lnTo>
                    <a:close/>
                    <a:moveTo>
                      <a:pt x="6" y="13"/>
                    </a:moveTo>
                    <a:lnTo>
                      <a:pt x="6" y="15"/>
                    </a:lnTo>
                    <a:lnTo>
                      <a:pt x="6" y="13"/>
                    </a:lnTo>
                    <a:close/>
                    <a:moveTo>
                      <a:pt x="286" y="45"/>
                    </a:moveTo>
                    <a:lnTo>
                      <a:pt x="288" y="45"/>
                    </a:lnTo>
                    <a:lnTo>
                      <a:pt x="286" y="45"/>
                    </a:lnTo>
                    <a:close/>
                    <a:moveTo>
                      <a:pt x="59" y="32"/>
                    </a:moveTo>
                    <a:lnTo>
                      <a:pt x="59" y="34"/>
                    </a:lnTo>
                    <a:lnTo>
                      <a:pt x="59" y="32"/>
                    </a:lnTo>
                    <a:close/>
                    <a:moveTo>
                      <a:pt x="261" y="19"/>
                    </a:moveTo>
                    <a:lnTo>
                      <a:pt x="263" y="19"/>
                    </a:lnTo>
                    <a:lnTo>
                      <a:pt x="263" y="21"/>
                    </a:lnTo>
                    <a:lnTo>
                      <a:pt x="261" y="21"/>
                    </a:lnTo>
                    <a:lnTo>
                      <a:pt x="261" y="19"/>
                    </a:lnTo>
                    <a:close/>
                    <a:moveTo>
                      <a:pt x="286" y="17"/>
                    </a:moveTo>
                    <a:lnTo>
                      <a:pt x="286" y="19"/>
                    </a:lnTo>
                    <a:lnTo>
                      <a:pt x="286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4" name="Freeform 164">
                <a:extLst>
                  <a:ext uri="{FF2B5EF4-FFF2-40B4-BE49-F238E27FC236}">
                    <a16:creationId xmlns:a16="http://schemas.microsoft.com/office/drawing/2014/main" id="{82AE628E-9A76-8527-45E3-A4F41B81989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52529" y="-2036038"/>
                <a:ext cx="33088" cy="26835"/>
              </a:xfrm>
              <a:custGeom>
                <a:avLst/>
                <a:gdLst>
                  <a:gd name="T0" fmla="*/ 11 w 21"/>
                  <a:gd name="T1" fmla="*/ 4 h 17"/>
                  <a:gd name="T2" fmla="*/ 11 w 21"/>
                  <a:gd name="T3" fmla="*/ 8 h 17"/>
                  <a:gd name="T4" fmla="*/ 13 w 21"/>
                  <a:gd name="T5" fmla="*/ 9 h 17"/>
                  <a:gd name="T6" fmla="*/ 11 w 21"/>
                  <a:gd name="T7" fmla="*/ 13 h 17"/>
                  <a:gd name="T8" fmla="*/ 9 w 21"/>
                  <a:gd name="T9" fmla="*/ 15 h 17"/>
                  <a:gd name="T10" fmla="*/ 8 w 21"/>
                  <a:gd name="T11" fmla="*/ 17 h 17"/>
                  <a:gd name="T12" fmla="*/ 6 w 21"/>
                  <a:gd name="T13" fmla="*/ 15 h 17"/>
                  <a:gd name="T14" fmla="*/ 6 w 21"/>
                  <a:gd name="T15" fmla="*/ 11 h 17"/>
                  <a:gd name="T16" fmla="*/ 4 w 21"/>
                  <a:gd name="T17" fmla="*/ 13 h 17"/>
                  <a:gd name="T18" fmla="*/ 4 w 21"/>
                  <a:gd name="T19" fmla="*/ 9 h 17"/>
                  <a:gd name="T20" fmla="*/ 2 w 21"/>
                  <a:gd name="T21" fmla="*/ 8 h 17"/>
                  <a:gd name="T22" fmla="*/ 2 w 21"/>
                  <a:gd name="T23" fmla="*/ 8 h 17"/>
                  <a:gd name="T24" fmla="*/ 8 w 21"/>
                  <a:gd name="T25" fmla="*/ 4 h 17"/>
                  <a:gd name="T26" fmla="*/ 11 w 21"/>
                  <a:gd name="T27" fmla="*/ 2 h 17"/>
                  <a:gd name="T28" fmla="*/ 15 w 21"/>
                  <a:gd name="T29" fmla="*/ 2 h 17"/>
                  <a:gd name="T30" fmla="*/ 15 w 21"/>
                  <a:gd name="T31" fmla="*/ 2 h 17"/>
                  <a:gd name="T32" fmla="*/ 13 w 21"/>
                  <a:gd name="T33" fmla="*/ 4 h 17"/>
                  <a:gd name="T34" fmla="*/ 17 w 21"/>
                  <a:gd name="T35" fmla="*/ 4 h 17"/>
                  <a:gd name="T36" fmla="*/ 17 w 21"/>
                  <a:gd name="T37" fmla="*/ 4 h 17"/>
                  <a:gd name="T38" fmla="*/ 17 w 21"/>
                  <a:gd name="T39" fmla="*/ 4 h 17"/>
                  <a:gd name="T40" fmla="*/ 19 w 21"/>
                  <a:gd name="T41" fmla="*/ 8 h 17"/>
                  <a:gd name="T42" fmla="*/ 19 w 21"/>
                  <a:gd name="T43" fmla="*/ 11 h 17"/>
                  <a:gd name="T44" fmla="*/ 19 w 21"/>
                  <a:gd name="T45" fmla="*/ 11 h 17"/>
                  <a:gd name="T46" fmla="*/ 15 w 21"/>
                  <a:gd name="T47" fmla="*/ 11 h 17"/>
                  <a:gd name="T48" fmla="*/ 15 w 21"/>
                  <a:gd name="T49" fmla="*/ 8 h 17"/>
                  <a:gd name="T50" fmla="*/ 15 w 21"/>
                  <a:gd name="T51" fmla="*/ 4 h 17"/>
                  <a:gd name="T52" fmla="*/ 17 w 21"/>
                  <a:gd name="T53" fmla="*/ 2 h 17"/>
                  <a:gd name="T54" fmla="*/ 15 w 21"/>
                  <a:gd name="T55" fmla="*/ 4 h 17"/>
                  <a:gd name="T56" fmla="*/ 13 w 21"/>
                  <a:gd name="T57" fmla="*/ 2 h 17"/>
                  <a:gd name="T58" fmla="*/ 15 w 21"/>
                  <a:gd name="T59" fmla="*/ 4 h 17"/>
                  <a:gd name="T60" fmla="*/ 13 w 21"/>
                  <a:gd name="T61" fmla="*/ 2 h 17"/>
                  <a:gd name="T62" fmla="*/ 17 w 21"/>
                  <a:gd name="T63" fmla="*/ 0 h 17"/>
                  <a:gd name="T64" fmla="*/ 15 w 21"/>
                  <a:gd name="T65" fmla="*/ 0 h 17"/>
                  <a:gd name="T66" fmla="*/ 15 w 21"/>
                  <a:gd name="T6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7">
                    <a:moveTo>
                      <a:pt x="13" y="4"/>
                    </a:moveTo>
                    <a:lnTo>
                      <a:pt x="11" y="4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9" y="17"/>
                    </a:lnTo>
                    <a:lnTo>
                      <a:pt x="8" y="17"/>
                    </a:lnTo>
                    <a:lnTo>
                      <a:pt x="8" y="15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3" y="4"/>
                    </a:lnTo>
                    <a:close/>
                    <a:moveTo>
                      <a:pt x="15" y="4"/>
                    </a:moveTo>
                    <a:lnTo>
                      <a:pt x="17" y="4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5" y="9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5" y="4"/>
                    </a:lnTo>
                    <a:close/>
                    <a:moveTo>
                      <a:pt x="15" y="2"/>
                    </a:moveTo>
                    <a:lnTo>
                      <a:pt x="17" y="2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2"/>
                    </a:lnTo>
                    <a:close/>
                    <a:moveTo>
                      <a:pt x="13" y="2"/>
                    </a:moveTo>
                    <a:lnTo>
                      <a:pt x="15" y="2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2"/>
                    </a:lnTo>
                    <a:close/>
                    <a:moveTo>
                      <a:pt x="15" y="0"/>
                    </a:moveTo>
                    <a:lnTo>
                      <a:pt x="17" y="0"/>
                    </a:lnTo>
                    <a:lnTo>
                      <a:pt x="15" y="0"/>
                    </a:lnTo>
                    <a:close/>
                    <a:moveTo>
                      <a:pt x="15" y="0"/>
                    </a:move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5" name="Freeform 165">
                <a:extLst>
                  <a:ext uri="{FF2B5EF4-FFF2-40B4-BE49-F238E27FC236}">
                    <a16:creationId xmlns:a16="http://schemas.microsoft.com/office/drawing/2014/main" id="{6012B8BB-624C-753E-020E-CB698B87C10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453565" y="-2102338"/>
                <a:ext cx="12604" cy="20521"/>
              </a:xfrm>
              <a:custGeom>
                <a:avLst/>
                <a:gdLst>
                  <a:gd name="T0" fmla="*/ 8 w 8"/>
                  <a:gd name="T1" fmla="*/ 0 h 13"/>
                  <a:gd name="T2" fmla="*/ 8 w 8"/>
                  <a:gd name="T3" fmla="*/ 2 h 13"/>
                  <a:gd name="T4" fmla="*/ 8 w 8"/>
                  <a:gd name="T5" fmla="*/ 4 h 13"/>
                  <a:gd name="T6" fmla="*/ 8 w 8"/>
                  <a:gd name="T7" fmla="*/ 6 h 13"/>
                  <a:gd name="T8" fmla="*/ 6 w 8"/>
                  <a:gd name="T9" fmla="*/ 6 h 13"/>
                  <a:gd name="T10" fmla="*/ 8 w 8"/>
                  <a:gd name="T11" fmla="*/ 6 h 13"/>
                  <a:gd name="T12" fmla="*/ 6 w 8"/>
                  <a:gd name="T13" fmla="*/ 6 h 13"/>
                  <a:gd name="T14" fmla="*/ 8 w 8"/>
                  <a:gd name="T15" fmla="*/ 6 h 13"/>
                  <a:gd name="T16" fmla="*/ 6 w 8"/>
                  <a:gd name="T17" fmla="*/ 6 h 13"/>
                  <a:gd name="T18" fmla="*/ 6 w 8"/>
                  <a:gd name="T19" fmla="*/ 4 h 13"/>
                  <a:gd name="T20" fmla="*/ 6 w 8"/>
                  <a:gd name="T21" fmla="*/ 2 h 13"/>
                  <a:gd name="T22" fmla="*/ 6 w 8"/>
                  <a:gd name="T23" fmla="*/ 4 h 13"/>
                  <a:gd name="T24" fmla="*/ 6 w 8"/>
                  <a:gd name="T25" fmla="*/ 2 h 13"/>
                  <a:gd name="T26" fmla="*/ 8 w 8"/>
                  <a:gd name="T27" fmla="*/ 2 h 13"/>
                  <a:gd name="T28" fmla="*/ 8 w 8"/>
                  <a:gd name="T29" fmla="*/ 0 h 13"/>
                  <a:gd name="T30" fmla="*/ 4 w 8"/>
                  <a:gd name="T31" fmla="*/ 6 h 13"/>
                  <a:gd name="T32" fmla="*/ 6 w 8"/>
                  <a:gd name="T33" fmla="*/ 6 h 13"/>
                  <a:gd name="T34" fmla="*/ 6 w 8"/>
                  <a:gd name="T35" fmla="*/ 8 h 13"/>
                  <a:gd name="T36" fmla="*/ 4 w 8"/>
                  <a:gd name="T37" fmla="*/ 8 h 13"/>
                  <a:gd name="T38" fmla="*/ 4 w 8"/>
                  <a:gd name="T39" fmla="*/ 6 h 13"/>
                  <a:gd name="T40" fmla="*/ 2 w 8"/>
                  <a:gd name="T41" fmla="*/ 10 h 13"/>
                  <a:gd name="T42" fmla="*/ 2 w 8"/>
                  <a:gd name="T43" fmla="*/ 11 h 13"/>
                  <a:gd name="T44" fmla="*/ 2 w 8"/>
                  <a:gd name="T45" fmla="*/ 10 h 13"/>
                  <a:gd name="T46" fmla="*/ 4 w 8"/>
                  <a:gd name="T47" fmla="*/ 8 h 13"/>
                  <a:gd name="T48" fmla="*/ 4 w 8"/>
                  <a:gd name="T49" fmla="*/ 10 h 13"/>
                  <a:gd name="T50" fmla="*/ 4 w 8"/>
                  <a:gd name="T51" fmla="*/ 8 h 13"/>
                  <a:gd name="T52" fmla="*/ 0 w 8"/>
                  <a:gd name="T53" fmla="*/ 11 h 13"/>
                  <a:gd name="T54" fmla="*/ 0 w 8"/>
                  <a:gd name="T55" fmla="*/ 13 h 13"/>
                  <a:gd name="T56" fmla="*/ 0 w 8"/>
                  <a:gd name="T57" fmla="*/ 11 h 13"/>
                  <a:gd name="T58" fmla="*/ 4 w 8"/>
                  <a:gd name="T59" fmla="*/ 6 h 13"/>
                  <a:gd name="T60" fmla="*/ 4 w 8"/>
                  <a:gd name="T61" fmla="*/ 8 h 13"/>
                  <a:gd name="T62" fmla="*/ 4 w 8"/>
                  <a:gd name="T63" fmla="*/ 6 h 13"/>
                  <a:gd name="T64" fmla="*/ 2 w 8"/>
                  <a:gd name="T65" fmla="*/ 6 h 13"/>
                  <a:gd name="T66" fmla="*/ 4 w 8"/>
                  <a:gd name="T67" fmla="*/ 6 h 13"/>
                  <a:gd name="T68" fmla="*/ 2 w 8"/>
                  <a:gd name="T6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" h="13">
                    <a:moveTo>
                      <a:pt x="8" y="0"/>
                    </a:moveTo>
                    <a:lnTo>
                      <a:pt x="8" y="2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  <a:moveTo>
                      <a:pt x="4" y="6"/>
                    </a:moveTo>
                    <a:lnTo>
                      <a:pt x="6" y="6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6"/>
                    </a:lnTo>
                    <a:close/>
                    <a:moveTo>
                      <a:pt x="2" y="10"/>
                    </a:moveTo>
                    <a:lnTo>
                      <a:pt x="2" y="11"/>
                    </a:lnTo>
                    <a:lnTo>
                      <a:pt x="2" y="10"/>
                    </a:lnTo>
                    <a:close/>
                    <a:moveTo>
                      <a:pt x="4" y="8"/>
                    </a:moveTo>
                    <a:lnTo>
                      <a:pt x="4" y="10"/>
                    </a:lnTo>
                    <a:lnTo>
                      <a:pt x="4" y="8"/>
                    </a:lnTo>
                    <a:close/>
                    <a:moveTo>
                      <a:pt x="0" y="11"/>
                    </a:moveTo>
                    <a:lnTo>
                      <a:pt x="0" y="13"/>
                    </a:lnTo>
                    <a:lnTo>
                      <a:pt x="0" y="11"/>
                    </a:lnTo>
                    <a:close/>
                    <a:moveTo>
                      <a:pt x="4" y="6"/>
                    </a:moveTo>
                    <a:lnTo>
                      <a:pt x="4" y="8"/>
                    </a:lnTo>
                    <a:lnTo>
                      <a:pt x="4" y="6"/>
                    </a:lnTo>
                    <a:close/>
                    <a:moveTo>
                      <a:pt x="2" y="6"/>
                    </a:moveTo>
                    <a:lnTo>
                      <a:pt x="4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6" name="Freeform 179">
                <a:extLst>
                  <a:ext uri="{FF2B5EF4-FFF2-40B4-BE49-F238E27FC236}">
                    <a16:creationId xmlns:a16="http://schemas.microsoft.com/office/drawing/2014/main" id="{DA052045-03EF-0B22-3423-F7CB22AA29F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01470" y="-1704545"/>
                <a:ext cx="85082" cy="36307"/>
              </a:xfrm>
              <a:custGeom>
                <a:avLst/>
                <a:gdLst>
                  <a:gd name="T0" fmla="*/ 15 w 54"/>
                  <a:gd name="T1" fmla="*/ 21 h 23"/>
                  <a:gd name="T2" fmla="*/ 15 w 54"/>
                  <a:gd name="T3" fmla="*/ 17 h 23"/>
                  <a:gd name="T4" fmla="*/ 19 w 54"/>
                  <a:gd name="T5" fmla="*/ 15 h 23"/>
                  <a:gd name="T6" fmla="*/ 17 w 54"/>
                  <a:gd name="T7" fmla="*/ 15 h 23"/>
                  <a:gd name="T8" fmla="*/ 14 w 54"/>
                  <a:gd name="T9" fmla="*/ 15 h 23"/>
                  <a:gd name="T10" fmla="*/ 15 w 54"/>
                  <a:gd name="T11" fmla="*/ 11 h 23"/>
                  <a:gd name="T12" fmla="*/ 17 w 54"/>
                  <a:gd name="T13" fmla="*/ 9 h 23"/>
                  <a:gd name="T14" fmla="*/ 21 w 54"/>
                  <a:gd name="T15" fmla="*/ 7 h 23"/>
                  <a:gd name="T16" fmla="*/ 25 w 54"/>
                  <a:gd name="T17" fmla="*/ 7 h 23"/>
                  <a:gd name="T18" fmla="*/ 27 w 54"/>
                  <a:gd name="T19" fmla="*/ 7 h 23"/>
                  <a:gd name="T20" fmla="*/ 31 w 54"/>
                  <a:gd name="T21" fmla="*/ 6 h 23"/>
                  <a:gd name="T22" fmla="*/ 35 w 54"/>
                  <a:gd name="T23" fmla="*/ 6 h 23"/>
                  <a:gd name="T24" fmla="*/ 38 w 54"/>
                  <a:gd name="T25" fmla="*/ 6 h 23"/>
                  <a:gd name="T26" fmla="*/ 42 w 54"/>
                  <a:gd name="T27" fmla="*/ 6 h 23"/>
                  <a:gd name="T28" fmla="*/ 46 w 54"/>
                  <a:gd name="T29" fmla="*/ 4 h 23"/>
                  <a:gd name="T30" fmla="*/ 50 w 54"/>
                  <a:gd name="T31" fmla="*/ 4 h 23"/>
                  <a:gd name="T32" fmla="*/ 52 w 54"/>
                  <a:gd name="T33" fmla="*/ 6 h 23"/>
                  <a:gd name="T34" fmla="*/ 48 w 54"/>
                  <a:gd name="T35" fmla="*/ 9 h 23"/>
                  <a:gd name="T36" fmla="*/ 44 w 54"/>
                  <a:gd name="T37" fmla="*/ 11 h 23"/>
                  <a:gd name="T38" fmla="*/ 42 w 54"/>
                  <a:gd name="T39" fmla="*/ 11 h 23"/>
                  <a:gd name="T40" fmla="*/ 38 w 54"/>
                  <a:gd name="T41" fmla="*/ 13 h 23"/>
                  <a:gd name="T42" fmla="*/ 35 w 54"/>
                  <a:gd name="T43" fmla="*/ 13 h 23"/>
                  <a:gd name="T44" fmla="*/ 31 w 54"/>
                  <a:gd name="T45" fmla="*/ 17 h 23"/>
                  <a:gd name="T46" fmla="*/ 27 w 54"/>
                  <a:gd name="T47" fmla="*/ 17 h 23"/>
                  <a:gd name="T48" fmla="*/ 21 w 54"/>
                  <a:gd name="T49" fmla="*/ 19 h 23"/>
                  <a:gd name="T50" fmla="*/ 17 w 54"/>
                  <a:gd name="T51" fmla="*/ 21 h 23"/>
                  <a:gd name="T52" fmla="*/ 8 w 54"/>
                  <a:gd name="T53" fmla="*/ 19 h 23"/>
                  <a:gd name="T54" fmla="*/ 6 w 54"/>
                  <a:gd name="T55" fmla="*/ 21 h 23"/>
                  <a:gd name="T56" fmla="*/ 4 w 54"/>
                  <a:gd name="T57" fmla="*/ 23 h 23"/>
                  <a:gd name="T58" fmla="*/ 2 w 54"/>
                  <a:gd name="T59" fmla="*/ 21 h 23"/>
                  <a:gd name="T60" fmla="*/ 0 w 54"/>
                  <a:gd name="T61" fmla="*/ 19 h 23"/>
                  <a:gd name="T62" fmla="*/ 4 w 54"/>
                  <a:gd name="T63" fmla="*/ 19 h 23"/>
                  <a:gd name="T64" fmla="*/ 6 w 54"/>
                  <a:gd name="T65" fmla="*/ 17 h 23"/>
                  <a:gd name="T66" fmla="*/ 23 w 54"/>
                  <a:gd name="T67" fmla="*/ 0 h 23"/>
                  <a:gd name="T68" fmla="*/ 25 w 54"/>
                  <a:gd name="T69" fmla="*/ 4 h 23"/>
                  <a:gd name="T70" fmla="*/ 23 w 54"/>
                  <a:gd name="T71" fmla="*/ 0 h 23"/>
                  <a:gd name="T72" fmla="*/ 54 w 54"/>
                  <a:gd name="T73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4" h="23">
                    <a:moveTo>
                      <a:pt x="17" y="21"/>
                    </a:moveTo>
                    <a:lnTo>
                      <a:pt x="15" y="21"/>
                    </a:lnTo>
                    <a:lnTo>
                      <a:pt x="15" y="19"/>
                    </a:lnTo>
                    <a:lnTo>
                      <a:pt x="15" y="17"/>
                    </a:lnTo>
                    <a:lnTo>
                      <a:pt x="17" y="17"/>
                    </a:lnTo>
                    <a:lnTo>
                      <a:pt x="19" y="15"/>
                    </a:lnTo>
                    <a:lnTo>
                      <a:pt x="17" y="13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4" y="15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17" y="9"/>
                    </a:lnTo>
                    <a:lnTo>
                      <a:pt x="19" y="7"/>
                    </a:lnTo>
                    <a:lnTo>
                      <a:pt x="21" y="7"/>
                    </a:lnTo>
                    <a:lnTo>
                      <a:pt x="23" y="7"/>
                    </a:lnTo>
                    <a:lnTo>
                      <a:pt x="25" y="7"/>
                    </a:lnTo>
                    <a:lnTo>
                      <a:pt x="25" y="6"/>
                    </a:lnTo>
                    <a:lnTo>
                      <a:pt x="27" y="7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7"/>
                    </a:lnTo>
                    <a:lnTo>
                      <a:pt x="35" y="6"/>
                    </a:lnTo>
                    <a:lnTo>
                      <a:pt x="36" y="6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0" y="7"/>
                    </a:lnTo>
                    <a:lnTo>
                      <a:pt x="48" y="9"/>
                    </a:lnTo>
                    <a:lnTo>
                      <a:pt x="46" y="9"/>
                    </a:lnTo>
                    <a:lnTo>
                      <a:pt x="44" y="11"/>
                    </a:lnTo>
                    <a:lnTo>
                      <a:pt x="44" y="9"/>
                    </a:lnTo>
                    <a:lnTo>
                      <a:pt x="42" y="11"/>
                    </a:lnTo>
                    <a:lnTo>
                      <a:pt x="40" y="11"/>
                    </a:lnTo>
                    <a:lnTo>
                      <a:pt x="38" y="13"/>
                    </a:lnTo>
                    <a:lnTo>
                      <a:pt x="36" y="13"/>
                    </a:lnTo>
                    <a:lnTo>
                      <a:pt x="35" y="13"/>
                    </a:lnTo>
                    <a:lnTo>
                      <a:pt x="33" y="15"/>
                    </a:lnTo>
                    <a:lnTo>
                      <a:pt x="31" y="17"/>
                    </a:lnTo>
                    <a:lnTo>
                      <a:pt x="29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1" y="19"/>
                    </a:lnTo>
                    <a:lnTo>
                      <a:pt x="19" y="21"/>
                    </a:lnTo>
                    <a:lnTo>
                      <a:pt x="17" y="21"/>
                    </a:lnTo>
                    <a:close/>
                    <a:moveTo>
                      <a:pt x="8" y="17"/>
                    </a:moveTo>
                    <a:lnTo>
                      <a:pt x="8" y="19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6" y="17"/>
                    </a:lnTo>
                    <a:lnTo>
                      <a:pt x="8" y="17"/>
                    </a:lnTo>
                    <a:close/>
                    <a:moveTo>
                      <a:pt x="23" y="0"/>
                    </a:moveTo>
                    <a:lnTo>
                      <a:pt x="25" y="0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3" y="0"/>
                    </a:lnTo>
                    <a:close/>
                    <a:moveTo>
                      <a:pt x="52" y="6"/>
                    </a:moveTo>
                    <a:lnTo>
                      <a:pt x="54" y="6"/>
                    </a:lnTo>
                    <a:lnTo>
                      <a:pt x="5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7" name="Freeform 180">
                <a:extLst>
                  <a:ext uri="{FF2B5EF4-FFF2-40B4-BE49-F238E27FC236}">
                    <a16:creationId xmlns:a16="http://schemas.microsoft.com/office/drawing/2014/main" id="{38E46740-25CF-D84F-E635-D249FF77A7D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475129" y="-2056560"/>
                <a:ext cx="1153327" cy="427785"/>
              </a:xfrm>
              <a:custGeom>
                <a:avLst/>
                <a:gdLst>
                  <a:gd name="T0" fmla="*/ 366 w 732"/>
                  <a:gd name="T1" fmla="*/ 80 h 271"/>
                  <a:gd name="T2" fmla="*/ 312 w 732"/>
                  <a:gd name="T3" fmla="*/ 160 h 271"/>
                  <a:gd name="T4" fmla="*/ 229 w 732"/>
                  <a:gd name="T5" fmla="*/ 105 h 271"/>
                  <a:gd name="T6" fmla="*/ 312 w 732"/>
                  <a:gd name="T7" fmla="*/ 64 h 271"/>
                  <a:gd name="T8" fmla="*/ 57 w 732"/>
                  <a:gd name="T9" fmla="*/ 30 h 271"/>
                  <a:gd name="T10" fmla="*/ 135 w 732"/>
                  <a:gd name="T11" fmla="*/ 106 h 271"/>
                  <a:gd name="T12" fmla="*/ 152 w 732"/>
                  <a:gd name="T13" fmla="*/ 188 h 271"/>
                  <a:gd name="T14" fmla="*/ 61 w 732"/>
                  <a:gd name="T15" fmla="*/ 66 h 271"/>
                  <a:gd name="T16" fmla="*/ 698 w 732"/>
                  <a:gd name="T17" fmla="*/ 227 h 271"/>
                  <a:gd name="T18" fmla="*/ 639 w 732"/>
                  <a:gd name="T19" fmla="*/ 164 h 271"/>
                  <a:gd name="T20" fmla="*/ 591 w 732"/>
                  <a:gd name="T21" fmla="*/ 137 h 271"/>
                  <a:gd name="T22" fmla="*/ 570 w 732"/>
                  <a:gd name="T23" fmla="*/ 116 h 271"/>
                  <a:gd name="T24" fmla="*/ 650 w 732"/>
                  <a:gd name="T25" fmla="*/ 141 h 271"/>
                  <a:gd name="T26" fmla="*/ 436 w 732"/>
                  <a:gd name="T27" fmla="*/ 85 h 271"/>
                  <a:gd name="T28" fmla="*/ 434 w 732"/>
                  <a:gd name="T29" fmla="*/ 116 h 271"/>
                  <a:gd name="T30" fmla="*/ 423 w 732"/>
                  <a:gd name="T31" fmla="*/ 169 h 271"/>
                  <a:gd name="T32" fmla="*/ 385 w 732"/>
                  <a:gd name="T33" fmla="*/ 148 h 271"/>
                  <a:gd name="T34" fmla="*/ 431 w 732"/>
                  <a:gd name="T35" fmla="*/ 78 h 271"/>
                  <a:gd name="T36" fmla="*/ 248 w 732"/>
                  <a:gd name="T37" fmla="*/ 198 h 271"/>
                  <a:gd name="T38" fmla="*/ 276 w 732"/>
                  <a:gd name="T39" fmla="*/ 227 h 271"/>
                  <a:gd name="T40" fmla="*/ 524 w 732"/>
                  <a:gd name="T41" fmla="*/ 61 h 271"/>
                  <a:gd name="T42" fmla="*/ 515 w 732"/>
                  <a:gd name="T43" fmla="*/ 76 h 271"/>
                  <a:gd name="T44" fmla="*/ 366 w 732"/>
                  <a:gd name="T45" fmla="*/ 223 h 271"/>
                  <a:gd name="T46" fmla="*/ 436 w 732"/>
                  <a:gd name="T47" fmla="*/ 232 h 271"/>
                  <a:gd name="T48" fmla="*/ 455 w 732"/>
                  <a:gd name="T49" fmla="*/ 259 h 271"/>
                  <a:gd name="T50" fmla="*/ 164 w 732"/>
                  <a:gd name="T51" fmla="*/ 127 h 271"/>
                  <a:gd name="T52" fmla="*/ 499 w 732"/>
                  <a:gd name="T53" fmla="*/ 143 h 271"/>
                  <a:gd name="T54" fmla="*/ 333 w 732"/>
                  <a:gd name="T55" fmla="*/ 232 h 271"/>
                  <a:gd name="T56" fmla="*/ 45 w 732"/>
                  <a:gd name="T57" fmla="*/ 76 h 271"/>
                  <a:gd name="T58" fmla="*/ 581 w 732"/>
                  <a:gd name="T59" fmla="*/ 208 h 271"/>
                  <a:gd name="T60" fmla="*/ 480 w 732"/>
                  <a:gd name="T61" fmla="*/ 124 h 271"/>
                  <a:gd name="T62" fmla="*/ 621 w 732"/>
                  <a:gd name="T63" fmla="*/ 204 h 271"/>
                  <a:gd name="T64" fmla="*/ 703 w 732"/>
                  <a:gd name="T65" fmla="*/ 209 h 271"/>
                  <a:gd name="T66" fmla="*/ 515 w 732"/>
                  <a:gd name="T67" fmla="*/ 105 h 271"/>
                  <a:gd name="T68" fmla="*/ 120 w 732"/>
                  <a:gd name="T69" fmla="*/ 78 h 271"/>
                  <a:gd name="T70" fmla="*/ 446 w 732"/>
                  <a:gd name="T71" fmla="*/ 265 h 271"/>
                  <a:gd name="T72" fmla="*/ 425 w 732"/>
                  <a:gd name="T73" fmla="*/ 177 h 271"/>
                  <a:gd name="T74" fmla="*/ 528 w 732"/>
                  <a:gd name="T75" fmla="*/ 148 h 271"/>
                  <a:gd name="T76" fmla="*/ 600 w 732"/>
                  <a:gd name="T77" fmla="*/ 188 h 271"/>
                  <a:gd name="T78" fmla="*/ 600 w 732"/>
                  <a:gd name="T79" fmla="*/ 185 h 271"/>
                  <a:gd name="T80" fmla="*/ 568 w 732"/>
                  <a:gd name="T81" fmla="*/ 227 h 271"/>
                  <a:gd name="T82" fmla="*/ 454 w 732"/>
                  <a:gd name="T83" fmla="*/ 118 h 271"/>
                  <a:gd name="T84" fmla="*/ 189 w 732"/>
                  <a:gd name="T85" fmla="*/ 141 h 271"/>
                  <a:gd name="T86" fmla="*/ 534 w 732"/>
                  <a:gd name="T87" fmla="*/ 148 h 271"/>
                  <a:gd name="T88" fmla="*/ 522 w 732"/>
                  <a:gd name="T89" fmla="*/ 143 h 271"/>
                  <a:gd name="T90" fmla="*/ 515 w 732"/>
                  <a:gd name="T91" fmla="*/ 80 h 271"/>
                  <a:gd name="T92" fmla="*/ 290 w 732"/>
                  <a:gd name="T93" fmla="*/ 229 h 271"/>
                  <a:gd name="T94" fmla="*/ 414 w 732"/>
                  <a:gd name="T95" fmla="*/ 209 h 271"/>
                  <a:gd name="T96" fmla="*/ 669 w 732"/>
                  <a:gd name="T97" fmla="*/ 124 h 271"/>
                  <a:gd name="T98" fmla="*/ 423 w 732"/>
                  <a:gd name="T99" fmla="*/ 263 h 271"/>
                  <a:gd name="T100" fmla="*/ 372 w 732"/>
                  <a:gd name="T101" fmla="*/ 72 h 271"/>
                  <a:gd name="T102" fmla="*/ 457 w 732"/>
                  <a:gd name="T103" fmla="*/ 127 h 271"/>
                  <a:gd name="T104" fmla="*/ 461 w 732"/>
                  <a:gd name="T105" fmla="*/ 122 h 271"/>
                  <a:gd name="T106" fmla="*/ 291 w 732"/>
                  <a:gd name="T107" fmla="*/ 145 h 271"/>
                  <a:gd name="T108" fmla="*/ 598 w 732"/>
                  <a:gd name="T109" fmla="*/ 183 h 271"/>
                  <a:gd name="T110" fmla="*/ 280 w 732"/>
                  <a:gd name="T111" fmla="*/ 229 h 271"/>
                  <a:gd name="T112" fmla="*/ 82 w 732"/>
                  <a:gd name="T113" fmla="*/ 53 h 271"/>
                  <a:gd name="T114" fmla="*/ 433 w 732"/>
                  <a:gd name="T115" fmla="*/ 227 h 271"/>
                  <a:gd name="T116" fmla="*/ 179 w 732"/>
                  <a:gd name="T117" fmla="*/ 43 h 271"/>
                  <a:gd name="T118" fmla="*/ 614 w 732"/>
                  <a:gd name="T119" fmla="*/ 135 h 271"/>
                  <a:gd name="T120" fmla="*/ 51 w 732"/>
                  <a:gd name="T121" fmla="*/ 28 h 271"/>
                  <a:gd name="T122" fmla="*/ 173 w 732"/>
                  <a:gd name="T123" fmla="*/ 43 h 271"/>
                  <a:gd name="T124" fmla="*/ 143 w 732"/>
                  <a:gd name="T125" fmla="*/ 82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32" h="271">
                    <a:moveTo>
                      <a:pt x="358" y="26"/>
                    </a:moveTo>
                    <a:lnTo>
                      <a:pt x="358" y="28"/>
                    </a:lnTo>
                    <a:lnTo>
                      <a:pt x="356" y="28"/>
                    </a:lnTo>
                    <a:lnTo>
                      <a:pt x="354" y="28"/>
                    </a:lnTo>
                    <a:lnTo>
                      <a:pt x="356" y="28"/>
                    </a:lnTo>
                    <a:lnTo>
                      <a:pt x="358" y="30"/>
                    </a:lnTo>
                    <a:lnTo>
                      <a:pt x="360" y="32"/>
                    </a:lnTo>
                    <a:lnTo>
                      <a:pt x="360" y="30"/>
                    </a:lnTo>
                    <a:lnTo>
                      <a:pt x="360" y="32"/>
                    </a:lnTo>
                    <a:lnTo>
                      <a:pt x="358" y="32"/>
                    </a:lnTo>
                    <a:lnTo>
                      <a:pt x="360" y="32"/>
                    </a:lnTo>
                    <a:lnTo>
                      <a:pt x="362" y="34"/>
                    </a:lnTo>
                    <a:lnTo>
                      <a:pt x="360" y="34"/>
                    </a:lnTo>
                    <a:lnTo>
                      <a:pt x="358" y="34"/>
                    </a:lnTo>
                    <a:lnTo>
                      <a:pt x="358" y="32"/>
                    </a:lnTo>
                    <a:lnTo>
                      <a:pt x="358" y="34"/>
                    </a:lnTo>
                    <a:lnTo>
                      <a:pt x="356" y="34"/>
                    </a:lnTo>
                    <a:lnTo>
                      <a:pt x="356" y="36"/>
                    </a:lnTo>
                    <a:lnTo>
                      <a:pt x="358" y="36"/>
                    </a:lnTo>
                    <a:lnTo>
                      <a:pt x="356" y="36"/>
                    </a:lnTo>
                    <a:lnTo>
                      <a:pt x="352" y="36"/>
                    </a:lnTo>
                    <a:lnTo>
                      <a:pt x="352" y="38"/>
                    </a:lnTo>
                    <a:lnTo>
                      <a:pt x="354" y="38"/>
                    </a:lnTo>
                    <a:lnTo>
                      <a:pt x="354" y="40"/>
                    </a:lnTo>
                    <a:lnTo>
                      <a:pt x="354" y="38"/>
                    </a:lnTo>
                    <a:lnTo>
                      <a:pt x="356" y="40"/>
                    </a:lnTo>
                    <a:lnTo>
                      <a:pt x="354" y="40"/>
                    </a:lnTo>
                    <a:lnTo>
                      <a:pt x="356" y="40"/>
                    </a:lnTo>
                    <a:lnTo>
                      <a:pt x="354" y="40"/>
                    </a:lnTo>
                    <a:lnTo>
                      <a:pt x="356" y="42"/>
                    </a:lnTo>
                    <a:lnTo>
                      <a:pt x="356" y="40"/>
                    </a:lnTo>
                    <a:lnTo>
                      <a:pt x="358" y="42"/>
                    </a:lnTo>
                    <a:lnTo>
                      <a:pt x="356" y="42"/>
                    </a:lnTo>
                    <a:lnTo>
                      <a:pt x="354" y="42"/>
                    </a:lnTo>
                    <a:lnTo>
                      <a:pt x="356" y="42"/>
                    </a:lnTo>
                    <a:lnTo>
                      <a:pt x="354" y="42"/>
                    </a:lnTo>
                    <a:lnTo>
                      <a:pt x="352" y="42"/>
                    </a:lnTo>
                    <a:lnTo>
                      <a:pt x="351" y="42"/>
                    </a:lnTo>
                    <a:lnTo>
                      <a:pt x="352" y="42"/>
                    </a:lnTo>
                    <a:lnTo>
                      <a:pt x="354" y="43"/>
                    </a:lnTo>
                    <a:lnTo>
                      <a:pt x="354" y="42"/>
                    </a:lnTo>
                    <a:lnTo>
                      <a:pt x="354" y="43"/>
                    </a:lnTo>
                    <a:lnTo>
                      <a:pt x="356" y="43"/>
                    </a:lnTo>
                    <a:lnTo>
                      <a:pt x="356" y="45"/>
                    </a:lnTo>
                    <a:lnTo>
                      <a:pt x="356" y="43"/>
                    </a:lnTo>
                    <a:lnTo>
                      <a:pt x="356" y="45"/>
                    </a:lnTo>
                    <a:lnTo>
                      <a:pt x="358" y="43"/>
                    </a:lnTo>
                    <a:lnTo>
                      <a:pt x="358" y="45"/>
                    </a:lnTo>
                    <a:lnTo>
                      <a:pt x="358" y="47"/>
                    </a:lnTo>
                    <a:lnTo>
                      <a:pt x="358" y="45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9"/>
                    </a:lnTo>
                    <a:lnTo>
                      <a:pt x="358" y="47"/>
                    </a:lnTo>
                    <a:lnTo>
                      <a:pt x="358" y="49"/>
                    </a:lnTo>
                    <a:lnTo>
                      <a:pt x="360" y="49"/>
                    </a:lnTo>
                    <a:lnTo>
                      <a:pt x="362" y="49"/>
                    </a:lnTo>
                    <a:lnTo>
                      <a:pt x="362" y="51"/>
                    </a:lnTo>
                    <a:lnTo>
                      <a:pt x="364" y="55"/>
                    </a:lnTo>
                    <a:lnTo>
                      <a:pt x="366" y="55"/>
                    </a:lnTo>
                    <a:lnTo>
                      <a:pt x="366" y="57"/>
                    </a:lnTo>
                    <a:lnTo>
                      <a:pt x="366" y="55"/>
                    </a:lnTo>
                    <a:lnTo>
                      <a:pt x="366" y="57"/>
                    </a:lnTo>
                    <a:lnTo>
                      <a:pt x="366" y="59"/>
                    </a:lnTo>
                    <a:lnTo>
                      <a:pt x="364" y="59"/>
                    </a:lnTo>
                    <a:lnTo>
                      <a:pt x="362" y="59"/>
                    </a:lnTo>
                    <a:lnTo>
                      <a:pt x="360" y="59"/>
                    </a:lnTo>
                    <a:lnTo>
                      <a:pt x="360" y="61"/>
                    </a:lnTo>
                    <a:lnTo>
                      <a:pt x="362" y="61"/>
                    </a:lnTo>
                    <a:lnTo>
                      <a:pt x="362" y="63"/>
                    </a:lnTo>
                    <a:lnTo>
                      <a:pt x="362" y="61"/>
                    </a:lnTo>
                    <a:lnTo>
                      <a:pt x="362" y="63"/>
                    </a:lnTo>
                    <a:lnTo>
                      <a:pt x="362" y="61"/>
                    </a:lnTo>
                    <a:lnTo>
                      <a:pt x="362" y="63"/>
                    </a:lnTo>
                    <a:lnTo>
                      <a:pt x="364" y="63"/>
                    </a:lnTo>
                    <a:lnTo>
                      <a:pt x="362" y="63"/>
                    </a:lnTo>
                    <a:lnTo>
                      <a:pt x="362" y="64"/>
                    </a:lnTo>
                    <a:lnTo>
                      <a:pt x="364" y="63"/>
                    </a:lnTo>
                    <a:lnTo>
                      <a:pt x="364" y="64"/>
                    </a:lnTo>
                    <a:lnTo>
                      <a:pt x="366" y="64"/>
                    </a:lnTo>
                    <a:lnTo>
                      <a:pt x="366" y="66"/>
                    </a:lnTo>
                    <a:lnTo>
                      <a:pt x="368" y="66"/>
                    </a:lnTo>
                    <a:lnTo>
                      <a:pt x="370" y="68"/>
                    </a:lnTo>
                    <a:lnTo>
                      <a:pt x="372" y="70"/>
                    </a:lnTo>
                    <a:lnTo>
                      <a:pt x="372" y="72"/>
                    </a:lnTo>
                    <a:lnTo>
                      <a:pt x="373" y="72"/>
                    </a:lnTo>
                    <a:lnTo>
                      <a:pt x="372" y="72"/>
                    </a:lnTo>
                    <a:lnTo>
                      <a:pt x="373" y="72"/>
                    </a:lnTo>
                    <a:lnTo>
                      <a:pt x="375" y="72"/>
                    </a:lnTo>
                    <a:lnTo>
                      <a:pt x="377" y="74"/>
                    </a:lnTo>
                    <a:lnTo>
                      <a:pt x="377" y="76"/>
                    </a:lnTo>
                    <a:lnTo>
                      <a:pt x="379" y="76"/>
                    </a:lnTo>
                    <a:lnTo>
                      <a:pt x="381" y="78"/>
                    </a:lnTo>
                    <a:lnTo>
                      <a:pt x="379" y="80"/>
                    </a:lnTo>
                    <a:lnTo>
                      <a:pt x="377" y="80"/>
                    </a:lnTo>
                    <a:lnTo>
                      <a:pt x="379" y="80"/>
                    </a:lnTo>
                    <a:lnTo>
                      <a:pt x="377" y="80"/>
                    </a:lnTo>
                    <a:lnTo>
                      <a:pt x="375" y="80"/>
                    </a:lnTo>
                    <a:lnTo>
                      <a:pt x="373" y="80"/>
                    </a:lnTo>
                    <a:lnTo>
                      <a:pt x="372" y="80"/>
                    </a:lnTo>
                    <a:lnTo>
                      <a:pt x="370" y="80"/>
                    </a:lnTo>
                    <a:lnTo>
                      <a:pt x="366" y="80"/>
                    </a:lnTo>
                    <a:lnTo>
                      <a:pt x="366" y="78"/>
                    </a:lnTo>
                    <a:lnTo>
                      <a:pt x="364" y="76"/>
                    </a:lnTo>
                    <a:lnTo>
                      <a:pt x="364" y="78"/>
                    </a:lnTo>
                    <a:lnTo>
                      <a:pt x="366" y="80"/>
                    </a:lnTo>
                    <a:lnTo>
                      <a:pt x="366" y="82"/>
                    </a:lnTo>
                    <a:lnTo>
                      <a:pt x="364" y="82"/>
                    </a:lnTo>
                    <a:lnTo>
                      <a:pt x="364" y="80"/>
                    </a:lnTo>
                    <a:lnTo>
                      <a:pt x="362" y="82"/>
                    </a:lnTo>
                    <a:lnTo>
                      <a:pt x="360" y="82"/>
                    </a:lnTo>
                    <a:lnTo>
                      <a:pt x="360" y="84"/>
                    </a:lnTo>
                    <a:lnTo>
                      <a:pt x="360" y="85"/>
                    </a:lnTo>
                    <a:lnTo>
                      <a:pt x="358" y="85"/>
                    </a:lnTo>
                    <a:lnTo>
                      <a:pt x="358" y="87"/>
                    </a:lnTo>
                    <a:lnTo>
                      <a:pt x="358" y="89"/>
                    </a:lnTo>
                    <a:lnTo>
                      <a:pt x="356" y="89"/>
                    </a:lnTo>
                    <a:lnTo>
                      <a:pt x="358" y="91"/>
                    </a:lnTo>
                    <a:lnTo>
                      <a:pt x="356" y="91"/>
                    </a:lnTo>
                    <a:lnTo>
                      <a:pt x="358" y="91"/>
                    </a:lnTo>
                    <a:lnTo>
                      <a:pt x="356" y="91"/>
                    </a:lnTo>
                    <a:lnTo>
                      <a:pt x="356" y="93"/>
                    </a:lnTo>
                    <a:lnTo>
                      <a:pt x="358" y="93"/>
                    </a:lnTo>
                    <a:lnTo>
                      <a:pt x="356" y="93"/>
                    </a:lnTo>
                    <a:lnTo>
                      <a:pt x="358" y="93"/>
                    </a:lnTo>
                    <a:lnTo>
                      <a:pt x="356" y="95"/>
                    </a:lnTo>
                    <a:lnTo>
                      <a:pt x="356" y="97"/>
                    </a:lnTo>
                    <a:lnTo>
                      <a:pt x="356" y="99"/>
                    </a:lnTo>
                    <a:lnTo>
                      <a:pt x="356" y="101"/>
                    </a:lnTo>
                    <a:lnTo>
                      <a:pt x="356" y="103"/>
                    </a:lnTo>
                    <a:lnTo>
                      <a:pt x="354" y="103"/>
                    </a:lnTo>
                    <a:lnTo>
                      <a:pt x="354" y="105"/>
                    </a:lnTo>
                    <a:lnTo>
                      <a:pt x="354" y="106"/>
                    </a:lnTo>
                    <a:lnTo>
                      <a:pt x="352" y="106"/>
                    </a:lnTo>
                    <a:lnTo>
                      <a:pt x="352" y="108"/>
                    </a:lnTo>
                    <a:lnTo>
                      <a:pt x="351" y="110"/>
                    </a:lnTo>
                    <a:lnTo>
                      <a:pt x="349" y="112"/>
                    </a:lnTo>
                    <a:lnTo>
                      <a:pt x="347" y="114"/>
                    </a:lnTo>
                    <a:lnTo>
                      <a:pt x="347" y="112"/>
                    </a:lnTo>
                    <a:lnTo>
                      <a:pt x="345" y="112"/>
                    </a:lnTo>
                    <a:lnTo>
                      <a:pt x="345" y="110"/>
                    </a:lnTo>
                    <a:lnTo>
                      <a:pt x="345" y="112"/>
                    </a:lnTo>
                    <a:lnTo>
                      <a:pt x="345" y="114"/>
                    </a:lnTo>
                    <a:lnTo>
                      <a:pt x="345" y="116"/>
                    </a:lnTo>
                    <a:lnTo>
                      <a:pt x="343" y="116"/>
                    </a:lnTo>
                    <a:lnTo>
                      <a:pt x="341" y="116"/>
                    </a:lnTo>
                    <a:lnTo>
                      <a:pt x="341" y="118"/>
                    </a:lnTo>
                    <a:lnTo>
                      <a:pt x="343" y="120"/>
                    </a:lnTo>
                    <a:lnTo>
                      <a:pt x="341" y="120"/>
                    </a:lnTo>
                    <a:lnTo>
                      <a:pt x="339" y="120"/>
                    </a:lnTo>
                    <a:lnTo>
                      <a:pt x="337" y="122"/>
                    </a:lnTo>
                    <a:lnTo>
                      <a:pt x="339" y="122"/>
                    </a:lnTo>
                    <a:lnTo>
                      <a:pt x="341" y="122"/>
                    </a:lnTo>
                    <a:lnTo>
                      <a:pt x="339" y="124"/>
                    </a:lnTo>
                    <a:lnTo>
                      <a:pt x="341" y="124"/>
                    </a:lnTo>
                    <a:lnTo>
                      <a:pt x="341" y="126"/>
                    </a:lnTo>
                    <a:lnTo>
                      <a:pt x="339" y="127"/>
                    </a:lnTo>
                    <a:lnTo>
                      <a:pt x="341" y="127"/>
                    </a:lnTo>
                    <a:lnTo>
                      <a:pt x="343" y="127"/>
                    </a:lnTo>
                    <a:lnTo>
                      <a:pt x="341" y="129"/>
                    </a:lnTo>
                    <a:lnTo>
                      <a:pt x="343" y="127"/>
                    </a:lnTo>
                    <a:lnTo>
                      <a:pt x="343" y="129"/>
                    </a:lnTo>
                    <a:lnTo>
                      <a:pt x="343" y="131"/>
                    </a:lnTo>
                    <a:lnTo>
                      <a:pt x="341" y="133"/>
                    </a:lnTo>
                    <a:lnTo>
                      <a:pt x="341" y="135"/>
                    </a:lnTo>
                    <a:lnTo>
                      <a:pt x="341" y="133"/>
                    </a:lnTo>
                    <a:lnTo>
                      <a:pt x="339" y="133"/>
                    </a:lnTo>
                    <a:lnTo>
                      <a:pt x="337" y="133"/>
                    </a:lnTo>
                    <a:lnTo>
                      <a:pt x="339" y="133"/>
                    </a:lnTo>
                    <a:lnTo>
                      <a:pt x="339" y="135"/>
                    </a:lnTo>
                    <a:lnTo>
                      <a:pt x="337" y="135"/>
                    </a:lnTo>
                    <a:lnTo>
                      <a:pt x="339" y="135"/>
                    </a:lnTo>
                    <a:lnTo>
                      <a:pt x="339" y="133"/>
                    </a:lnTo>
                    <a:lnTo>
                      <a:pt x="339" y="135"/>
                    </a:lnTo>
                    <a:lnTo>
                      <a:pt x="339" y="139"/>
                    </a:lnTo>
                    <a:lnTo>
                      <a:pt x="339" y="141"/>
                    </a:lnTo>
                    <a:lnTo>
                      <a:pt x="337" y="141"/>
                    </a:lnTo>
                    <a:lnTo>
                      <a:pt x="335" y="141"/>
                    </a:lnTo>
                    <a:lnTo>
                      <a:pt x="337" y="141"/>
                    </a:lnTo>
                    <a:lnTo>
                      <a:pt x="335" y="141"/>
                    </a:lnTo>
                    <a:lnTo>
                      <a:pt x="335" y="139"/>
                    </a:lnTo>
                    <a:lnTo>
                      <a:pt x="335" y="137"/>
                    </a:lnTo>
                    <a:lnTo>
                      <a:pt x="335" y="139"/>
                    </a:lnTo>
                    <a:lnTo>
                      <a:pt x="335" y="141"/>
                    </a:lnTo>
                    <a:lnTo>
                      <a:pt x="333" y="141"/>
                    </a:lnTo>
                    <a:lnTo>
                      <a:pt x="335" y="141"/>
                    </a:lnTo>
                    <a:lnTo>
                      <a:pt x="333" y="141"/>
                    </a:lnTo>
                    <a:lnTo>
                      <a:pt x="335" y="141"/>
                    </a:lnTo>
                    <a:lnTo>
                      <a:pt x="335" y="143"/>
                    </a:lnTo>
                    <a:lnTo>
                      <a:pt x="337" y="143"/>
                    </a:lnTo>
                    <a:lnTo>
                      <a:pt x="335" y="145"/>
                    </a:lnTo>
                    <a:lnTo>
                      <a:pt x="335" y="143"/>
                    </a:lnTo>
                    <a:lnTo>
                      <a:pt x="335" y="145"/>
                    </a:lnTo>
                    <a:lnTo>
                      <a:pt x="335" y="143"/>
                    </a:lnTo>
                    <a:lnTo>
                      <a:pt x="335" y="145"/>
                    </a:lnTo>
                    <a:lnTo>
                      <a:pt x="335" y="147"/>
                    </a:lnTo>
                    <a:lnTo>
                      <a:pt x="333" y="147"/>
                    </a:lnTo>
                    <a:lnTo>
                      <a:pt x="333" y="148"/>
                    </a:lnTo>
                    <a:lnTo>
                      <a:pt x="333" y="150"/>
                    </a:lnTo>
                    <a:lnTo>
                      <a:pt x="332" y="150"/>
                    </a:lnTo>
                    <a:lnTo>
                      <a:pt x="330" y="152"/>
                    </a:lnTo>
                    <a:lnTo>
                      <a:pt x="328" y="152"/>
                    </a:lnTo>
                    <a:lnTo>
                      <a:pt x="328" y="154"/>
                    </a:lnTo>
                    <a:lnTo>
                      <a:pt x="326" y="154"/>
                    </a:lnTo>
                    <a:lnTo>
                      <a:pt x="318" y="158"/>
                    </a:lnTo>
                    <a:lnTo>
                      <a:pt x="312" y="160"/>
                    </a:lnTo>
                    <a:lnTo>
                      <a:pt x="311" y="160"/>
                    </a:lnTo>
                    <a:lnTo>
                      <a:pt x="312" y="158"/>
                    </a:lnTo>
                    <a:lnTo>
                      <a:pt x="311" y="154"/>
                    </a:lnTo>
                    <a:lnTo>
                      <a:pt x="311" y="152"/>
                    </a:lnTo>
                    <a:lnTo>
                      <a:pt x="311" y="150"/>
                    </a:lnTo>
                    <a:lnTo>
                      <a:pt x="311" y="148"/>
                    </a:lnTo>
                    <a:lnTo>
                      <a:pt x="309" y="148"/>
                    </a:lnTo>
                    <a:lnTo>
                      <a:pt x="307" y="148"/>
                    </a:lnTo>
                    <a:lnTo>
                      <a:pt x="305" y="148"/>
                    </a:lnTo>
                    <a:lnTo>
                      <a:pt x="305" y="147"/>
                    </a:lnTo>
                    <a:lnTo>
                      <a:pt x="305" y="148"/>
                    </a:lnTo>
                    <a:lnTo>
                      <a:pt x="303" y="147"/>
                    </a:lnTo>
                    <a:lnTo>
                      <a:pt x="301" y="147"/>
                    </a:lnTo>
                    <a:lnTo>
                      <a:pt x="299" y="148"/>
                    </a:lnTo>
                    <a:lnTo>
                      <a:pt x="297" y="148"/>
                    </a:lnTo>
                    <a:lnTo>
                      <a:pt x="295" y="148"/>
                    </a:lnTo>
                    <a:lnTo>
                      <a:pt x="295" y="147"/>
                    </a:lnTo>
                    <a:lnTo>
                      <a:pt x="295" y="145"/>
                    </a:lnTo>
                    <a:lnTo>
                      <a:pt x="293" y="145"/>
                    </a:lnTo>
                    <a:lnTo>
                      <a:pt x="291" y="145"/>
                    </a:lnTo>
                    <a:lnTo>
                      <a:pt x="291" y="147"/>
                    </a:lnTo>
                    <a:lnTo>
                      <a:pt x="290" y="143"/>
                    </a:lnTo>
                    <a:lnTo>
                      <a:pt x="288" y="143"/>
                    </a:lnTo>
                    <a:lnTo>
                      <a:pt x="286" y="141"/>
                    </a:lnTo>
                    <a:lnTo>
                      <a:pt x="286" y="143"/>
                    </a:lnTo>
                    <a:lnTo>
                      <a:pt x="284" y="143"/>
                    </a:lnTo>
                    <a:lnTo>
                      <a:pt x="286" y="143"/>
                    </a:lnTo>
                    <a:lnTo>
                      <a:pt x="286" y="145"/>
                    </a:lnTo>
                    <a:lnTo>
                      <a:pt x="286" y="143"/>
                    </a:lnTo>
                    <a:lnTo>
                      <a:pt x="284" y="145"/>
                    </a:lnTo>
                    <a:lnTo>
                      <a:pt x="280" y="147"/>
                    </a:lnTo>
                    <a:lnTo>
                      <a:pt x="280" y="148"/>
                    </a:lnTo>
                    <a:lnTo>
                      <a:pt x="278" y="148"/>
                    </a:lnTo>
                    <a:lnTo>
                      <a:pt x="276" y="147"/>
                    </a:lnTo>
                    <a:lnTo>
                      <a:pt x="274" y="147"/>
                    </a:lnTo>
                    <a:lnTo>
                      <a:pt x="272" y="147"/>
                    </a:lnTo>
                    <a:lnTo>
                      <a:pt x="270" y="148"/>
                    </a:lnTo>
                    <a:lnTo>
                      <a:pt x="269" y="150"/>
                    </a:lnTo>
                    <a:lnTo>
                      <a:pt x="267" y="150"/>
                    </a:lnTo>
                    <a:lnTo>
                      <a:pt x="267" y="148"/>
                    </a:lnTo>
                    <a:lnTo>
                      <a:pt x="267" y="147"/>
                    </a:lnTo>
                    <a:lnTo>
                      <a:pt x="267" y="145"/>
                    </a:lnTo>
                    <a:lnTo>
                      <a:pt x="267" y="143"/>
                    </a:lnTo>
                    <a:lnTo>
                      <a:pt x="267" y="141"/>
                    </a:lnTo>
                    <a:lnTo>
                      <a:pt x="265" y="139"/>
                    </a:lnTo>
                    <a:lnTo>
                      <a:pt x="265" y="137"/>
                    </a:lnTo>
                    <a:lnTo>
                      <a:pt x="265" y="139"/>
                    </a:lnTo>
                    <a:lnTo>
                      <a:pt x="265" y="141"/>
                    </a:lnTo>
                    <a:lnTo>
                      <a:pt x="265" y="139"/>
                    </a:lnTo>
                    <a:lnTo>
                      <a:pt x="265" y="141"/>
                    </a:lnTo>
                    <a:lnTo>
                      <a:pt x="263" y="141"/>
                    </a:lnTo>
                    <a:lnTo>
                      <a:pt x="261" y="141"/>
                    </a:lnTo>
                    <a:lnTo>
                      <a:pt x="261" y="139"/>
                    </a:lnTo>
                    <a:lnTo>
                      <a:pt x="259" y="141"/>
                    </a:lnTo>
                    <a:lnTo>
                      <a:pt x="259" y="139"/>
                    </a:lnTo>
                    <a:lnTo>
                      <a:pt x="255" y="141"/>
                    </a:lnTo>
                    <a:lnTo>
                      <a:pt x="253" y="143"/>
                    </a:lnTo>
                    <a:lnTo>
                      <a:pt x="251" y="141"/>
                    </a:lnTo>
                    <a:lnTo>
                      <a:pt x="250" y="141"/>
                    </a:lnTo>
                    <a:lnTo>
                      <a:pt x="248" y="143"/>
                    </a:lnTo>
                    <a:lnTo>
                      <a:pt x="248" y="141"/>
                    </a:lnTo>
                    <a:lnTo>
                      <a:pt x="248" y="139"/>
                    </a:lnTo>
                    <a:lnTo>
                      <a:pt x="244" y="139"/>
                    </a:lnTo>
                    <a:lnTo>
                      <a:pt x="242" y="141"/>
                    </a:lnTo>
                    <a:lnTo>
                      <a:pt x="242" y="139"/>
                    </a:lnTo>
                    <a:lnTo>
                      <a:pt x="242" y="137"/>
                    </a:lnTo>
                    <a:lnTo>
                      <a:pt x="242" y="135"/>
                    </a:lnTo>
                    <a:lnTo>
                      <a:pt x="240" y="135"/>
                    </a:lnTo>
                    <a:lnTo>
                      <a:pt x="242" y="133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0" y="129"/>
                    </a:lnTo>
                    <a:lnTo>
                      <a:pt x="238" y="129"/>
                    </a:lnTo>
                    <a:lnTo>
                      <a:pt x="240" y="129"/>
                    </a:lnTo>
                    <a:lnTo>
                      <a:pt x="240" y="127"/>
                    </a:lnTo>
                    <a:lnTo>
                      <a:pt x="240" y="126"/>
                    </a:lnTo>
                    <a:lnTo>
                      <a:pt x="238" y="124"/>
                    </a:lnTo>
                    <a:lnTo>
                      <a:pt x="236" y="124"/>
                    </a:lnTo>
                    <a:lnTo>
                      <a:pt x="236" y="122"/>
                    </a:lnTo>
                    <a:lnTo>
                      <a:pt x="238" y="122"/>
                    </a:lnTo>
                    <a:lnTo>
                      <a:pt x="238" y="120"/>
                    </a:lnTo>
                    <a:lnTo>
                      <a:pt x="238" y="118"/>
                    </a:lnTo>
                    <a:lnTo>
                      <a:pt x="240" y="116"/>
                    </a:lnTo>
                    <a:lnTo>
                      <a:pt x="238" y="114"/>
                    </a:lnTo>
                    <a:lnTo>
                      <a:pt x="236" y="114"/>
                    </a:lnTo>
                    <a:lnTo>
                      <a:pt x="236" y="112"/>
                    </a:lnTo>
                    <a:lnTo>
                      <a:pt x="236" y="110"/>
                    </a:lnTo>
                    <a:lnTo>
                      <a:pt x="234" y="110"/>
                    </a:lnTo>
                    <a:lnTo>
                      <a:pt x="234" y="108"/>
                    </a:lnTo>
                    <a:lnTo>
                      <a:pt x="232" y="110"/>
                    </a:lnTo>
                    <a:lnTo>
                      <a:pt x="232" y="108"/>
                    </a:lnTo>
                    <a:lnTo>
                      <a:pt x="232" y="110"/>
                    </a:lnTo>
                    <a:lnTo>
                      <a:pt x="232" y="108"/>
                    </a:lnTo>
                    <a:lnTo>
                      <a:pt x="230" y="108"/>
                    </a:lnTo>
                    <a:lnTo>
                      <a:pt x="229" y="106"/>
                    </a:lnTo>
                    <a:lnTo>
                      <a:pt x="229" y="108"/>
                    </a:lnTo>
                    <a:lnTo>
                      <a:pt x="227" y="108"/>
                    </a:lnTo>
                    <a:lnTo>
                      <a:pt x="227" y="106"/>
                    </a:lnTo>
                    <a:lnTo>
                      <a:pt x="227" y="105"/>
                    </a:lnTo>
                    <a:lnTo>
                      <a:pt x="229" y="105"/>
                    </a:lnTo>
                    <a:lnTo>
                      <a:pt x="230" y="105"/>
                    </a:lnTo>
                    <a:lnTo>
                      <a:pt x="230" y="106"/>
                    </a:lnTo>
                    <a:lnTo>
                      <a:pt x="230" y="105"/>
                    </a:lnTo>
                    <a:lnTo>
                      <a:pt x="229" y="105"/>
                    </a:lnTo>
                    <a:lnTo>
                      <a:pt x="230" y="105"/>
                    </a:lnTo>
                    <a:lnTo>
                      <a:pt x="230" y="103"/>
                    </a:lnTo>
                    <a:lnTo>
                      <a:pt x="230" y="105"/>
                    </a:lnTo>
                    <a:lnTo>
                      <a:pt x="230" y="103"/>
                    </a:lnTo>
                    <a:lnTo>
                      <a:pt x="229" y="103"/>
                    </a:lnTo>
                    <a:lnTo>
                      <a:pt x="227" y="103"/>
                    </a:lnTo>
                    <a:lnTo>
                      <a:pt x="225" y="103"/>
                    </a:lnTo>
                    <a:lnTo>
                      <a:pt x="223" y="99"/>
                    </a:lnTo>
                    <a:lnTo>
                      <a:pt x="225" y="99"/>
                    </a:lnTo>
                    <a:lnTo>
                      <a:pt x="223" y="99"/>
                    </a:lnTo>
                    <a:lnTo>
                      <a:pt x="225" y="97"/>
                    </a:lnTo>
                    <a:lnTo>
                      <a:pt x="225" y="95"/>
                    </a:lnTo>
                    <a:lnTo>
                      <a:pt x="225" y="93"/>
                    </a:lnTo>
                    <a:lnTo>
                      <a:pt x="227" y="93"/>
                    </a:lnTo>
                    <a:lnTo>
                      <a:pt x="225" y="93"/>
                    </a:lnTo>
                    <a:lnTo>
                      <a:pt x="225" y="91"/>
                    </a:lnTo>
                    <a:lnTo>
                      <a:pt x="225" y="89"/>
                    </a:lnTo>
                    <a:lnTo>
                      <a:pt x="223" y="89"/>
                    </a:lnTo>
                    <a:lnTo>
                      <a:pt x="221" y="87"/>
                    </a:lnTo>
                    <a:lnTo>
                      <a:pt x="221" y="85"/>
                    </a:lnTo>
                    <a:lnTo>
                      <a:pt x="221" y="84"/>
                    </a:lnTo>
                    <a:lnTo>
                      <a:pt x="221" y="82"/>
                    </a:lnTo>
                    <a:lnTo>
                      <a:pt x="219" y="82"/>
                    </a:lnTo>
                    <a:lnTo>
                      <a:pt x="219" y="80"/>
                    </a:lnTo>
                    <a:lnTo>
                      <a:pt x="221" y="80"/>
                    </a:lnTo>
                    <a:lnTo>
                      <a:pt x="221" y="78"/>
                    </a:lnTo>
                    <a:lnTo>
                      <a:pt x="221" y="74"/>
                    </a:lnTo>
                    <a:lnTo>
                      <a:pt x="223" y="72"/>
                    </a:lnTo>
                    <a:lnTo>
                      <a:pt x="223" y="70"/>
                    </a:lnTo>
                    <a:lnTo>
                      <a:pt x="223" y="68"/>
                    </a:lnTo>
                    <a:lnTo>
                      <a:pt x="225" y="68"/>
                    </a:lnTo>
                    <a:lnTo>
                      <a:pt x="227" y="66"/>
                    </a:lnTo>
                    <a:lnTo>
                      <a:pt x="227" y="64"/>
                    </a:lnTo>
                    <a:lnTo>
                      <a:pt x="227" y="63"/>
                    </a:lnTo>
                    <a:lnTo>
                      <a:pt x="229" y="63"/>
                    </a:lnTo>
                    <a:lnTo>
                      <a:pt x="230" y="63"/>
                    </a:lnTo>
                    <a:lnTo>
                      <a:pt x="232" y="61"/>
                    </a:lnTo>
                    <a:lnTo>
                      <a:pt x="232" y="63"/>
                    </a:lnTo>
                    <a:lnTo>
                      <a:pt x="230" y="63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68"/>
                    </a:lnTo>
                    <a:lnTo>
                      <a:pt x="234" y="70"/>
                    </a:lnTo>
                    <a:lnTo>
                      <a:pt x="236" y="70"/>
                    </a:lnTo>
                    <a:lnTo>
                      <a:pt x="238" y="70"/>
                    </a:lnTo>
                    <a:lnTo>
                      <a:pt x="238" y="72"/>
                    </a:lnTo>
                    <a:lnTo>
                      <a:pt x="238" y="74"/>
                    </a:lnTo>
                    <a:lnTo>
                      <a:pt x="240" y="74"/>
                    </a:lnTo>
                    <a:lnTo>
                      <a:pt x="242" y="76"/>
                    </a:lnTo>
                    <a:lnTo>
                      <a:pt x="242" y="78"/>
                    </a:lnTo>
                    <a:lnTo>
                      <a:pt x="244" y="78"/>
                    </a:lnTo>
                    <a:lnTo>
                      <a:pt x="246" y="78"/>
                    </a:lnTo>
                    <a:lnTo>
                      <a:pt x="246" y="80"/>
                    </a:lnTo>
                    <a:lnTo>
                      <a:pt x="248" y="80"/>
                    </a:lnTo>
                    <a:lnTo>
                      <a:pt x="250" y="80"/>
                    </a:lnTo>
                    <a:lnTo>
                      <a:pt x="250" y="78"/>
                    </a:lnTo>
                    <a:lnTo>
                      <a:pt x="251" y="80"/>
                    </a:lnTo>
                    <a:lnTo>
                      <a:pt x="251" y="78"/>
                    </a:lnTo>
                    <a:lnTo>
                      <a:pt x="255" y="76"/>
                    </a:lnTo>
                    <a:lnTo>
                      <a:pt x="257" y="76"/>
                    </a:lnTo>
                    <a:lnTo>
                      <a:pt x="259" y="76"/>
                    </a:lnTo>
                    <a:lnTo>
                      <a:pt x="259" y="78"/>
                    </a:lnTo>
                    <a:lnTo>
                      <a:pt x="261" y="78"/>
                    </a:lnTo>
                    <a:lnTo>
                      <a:pt x="263" y="78"/>
                    </a:lnTo>
                    <a:lnTo>
                      <a:pt x="265" y="76"/>
                    </a:lnTo>
                    <a:lnTo>
                      <a:pt x="265" y="78"/>
                    </a:lnTo>
                    <a:lnTo>
                      <a:pt x="267" y="78"/>
                    </a:lnTo>
                    <a:lnTo>
                      <a:pt x="269" y="76"/>
                    </a:lnTo>
                    <a:lnTo>
                      <a:pt x="270" y="76"/>
                    </a:lnTo>
                    <a:lnTo>
                      <a:pt x="272" y="76"/>
                    </a:lnTo>
                    <a:lnTo>
                      <a:pt x="272" y="74"/>
                    </a:lnTo>
                    <a:lnTo>
                      <a:pt x="272" y="72"/>
                    </a:lnTo>
                    <a:lnTo>
                      <a:pt x="274" y="72"/>
                    </a:lnTo>
                    <a:lnTo>
                      <a:pt x="272" y="72"/>
                    </a:lnTo>
                    <a:lnTo>
                      <a:pt x="272" y="70"/>
                    </a:lnTo>
                    <a:lnTo>
                      <a:pt x="274" y="70"/>
                    </a:lnTo>
                    <a:lnTo>
                      <a:pt x="276" y="70"/>
                    </a:lnTo>
                    <a:lnTo>
                      <a:pt x="276" y="68"/>
                    </a:lnTo>
                    <a:lnTo>
                      <a:pt x="278" y="68"/>
                    </a:lnTo>
                    <a:lnTo>
                      <a:pt x="280" y="68"/>
                    </a:lnTo>
                    <a:lnTo>
                      <a:pt x="282" y="68"/>
                    </a:lnTo>
                    <a:lnTo>
                      <a:pt x="284" y="68"/>
                    </a:lnTo>
                    <a:lnTo>
                      <a:pt x="286" y="68"/>
                    </a:lnTo>
                    <a:lnTo>
                      <a:pt x="286" y="70"/>
                    </a:lnTo>
                    <a:lnTo>
                      <a:pt x="288" y="70"/>
                    </a:lnTo>
                    <a:lnTo>
                      <a:pt x="288" y="72"/>
                    </a:lnTo>
                    <a:lnTo>
                      <a:pt x="290" y="72"/>
                    </a:lnTo>
                    <a:lnTo>
                      <a:pt x="291" y="72"/>
                    </a:lnTo>
                    <a:lnTo>
                      <a:pt x="293" y="72"/>
                    </a:lnTo>
                    <a:lnTo>
                      <a:pt x="295" y="72"/>
                    </a:lnTo>
                    <a:lnTo>
                      <a:pt x="295" y="74"/>
                    </a:lnTo>
                    <a:lnTo>
                      <a:pt x="297" y="74"/>
                    </a:lnTo>
                    <a:lnTo>
                      <a:pt x="299" y="72"/>
                    </a:lnTo>
                    <a:lnTo>
                      <a:pt x="301" y="70"/>
                    </a:lnTo>
                    <a:lnTo>
                      <a:pt x="303" y="70"/>
                    </a:lnTo>
                    <a:lnTo>
                      <a:pt x="305" y="70"/>
                    </a:lnTo>
                    <a:lnTo>
                      <a:pt x="307" y="70"/>
                    </a:lnTo>
                    <a:lnTo>
                      <a:pt x="309" y="68"/>
                    </a:lnTo>
                    <a:lnTo>
                      <a:pt x="311" y="70"/>
                    </a:lnTo>
                    <a:lnTo>
                      <a:pt x="311" y="68"/>
                    </a:lnTo>
                    <a:lnTo>
                      <a:pt x="312" y="68"/>
                    </a:lnTo>
                    <a:lnTo>
                      <a:pt x="312" y="66"/>
                    </a:lnTo>
                    <a:lnTo>
                      <a:pt x="312" y="64"/>
                    </a:lnTo>
                    <a:lnTo>
                      <a:pt x="314" y="64"/>
                    </a:lnTo>
                    <a:lnTo>
                      <a:pt x="314" y="63"/>
                    </a:lnTo>
                    <a:lnTo>
                      <a:pt x="316" y="63"/>
                    </a:lnTo>
                    <a:lnTo>
                      <a:pt x="314" y="63"/>
                    </a:lnTo>
                    <a:lnTo>
                      <a:pt x="316" y="61"/>
                    </a:lnTo>
                    <a:lnTo>
                      <a:pt x="314" y="61"/>
                    </a:lnTo>
                    <a:lnTo>
                      <a:pt x="314" y="59"/>
                    </a:lnTo>
                    <a:lnTo>
                      <a:pt x="314" y="57"/>
                    </a:lnTo>
                    <a:lnTo>
                      <a:pt x="316" y="57"/>
                    </a:lnTo>
                    <a:lnTo>
                      <a:pt x="316" y="55"/>
                    </a:lnTo>
                    <a:lnTo>
                      <a:pt x="318" y="57"/>
                    </a:lnTo>
                    <a:lnTo>
                      <a:pt x="318" y="55"/>
                    </a:lnTo>
                    <a:lnTo>
                      <a:pt x="320" y="55"/>
                    </a:lnTo>
                    <a:lnTo>
                      <a:pt x="322" y="53"/>
                    </a:lnTo>
                    <a:lnTo>
                      <a:pt x="320" y="53"/>
                    </a:lnTo>
                    <a:lnTo>
                      <a:pt x="320" y="51"/>
                    </a:lnTo>
                    <a:lnTo>
                      <a:pt x="320" y="53"/>
                    </a:lnTo>
                    <a:lnTo>
                      <a:pt x="318" y="51"/>
                    </a:lnTo>
                    <a:lnTo>
                      <a:pt x="320" y="51"/>
                    </a:lnTo>
                    <a:lnTo>
                      <a:pt x="318" y="51"/>
                    </a:lnTo>
                    <a:lnTo>
                      <a:pt x="320" y="49"/>
                    </a:lnTo>
                    <a:lnTo>
                      <a:pt x="318" y="49"/>
                    </a:lnTo>
                    <a:lnTo>
                      <a:pt x="320" y="47"/>
                    </a:lnTo>
                    <a:lnTo>
                      <a:pt x="320" y="45"/>
                    </a:lnTo>
                    <a:lnTo>
                      <a:pt x="322" y="45"/>
                    </a:lnTo>
                    <a:lnTo>
                      <a:pt x="324" y="45"/>
                    </a:lnTo>
                    <a:lnTo>
                      <a:pt x="326" y="45"/>
                    </a:lnTo>
                    <a:lnTo>
                      <a:pt x="326" y="43"/>
                    </a:lnTo>
                    <a:lnTo>
                      <a:pt x="326" y="42"/>
                    </a:lnTo>
                    <a:lnTo>
                      <a:pt x="326" y="40"/>
                    </a:lnTo>
                    <a:lnTo>
                      <a:pt x="326" y="38"/>
                    </a:lnTo>
                    <a:lnTo>
                      <a:pt x="328" y="38"/>
                    </a:lnTo>
                    <a:lnTo>
                      <a:pt x="328" y="40"/>
                    </a:lnTo>
                    <a:lnTo>
                      <a:pt x="328" y="38"/>
                    </a:lnTo>
                    <a:lnTo>
                      <a:pt x="328" y="36"/>
                    </a:lnTo>
                    <a:lnTo>
                      <a:pt x="326" y="36"/>
                    </a:lnTo>
                    <a:lnTo>
                      <a:pt x="326" y="34"/>
                    </a:lnTo>
                    <a:lnTo>
                      <a:pt x="328" y="32"/>
                    </a:lnTo>
                    <a:lnTo>
                      <a:pt x="326" y="30"/>
                    </a:lnTo>
                    <a:lnTo>
                      <a:pt x="328" y="30"/>
                    </a:lnTo>
                    <a:lnTo>
                      <a:pt x="328" y="26"/>
                    </a:lnTo>
                    <a:lnTo>
                      <a:pt x="330" y="26"/>
                    </a:lnTo>
                    <a:lnTo>
                      <a:pt x="332" y="26"/>
                    </a:lnTo>
                    <a:lnTo>
                      <a:pt x="332" y="24"/>
                    </a:lnTo>
                    <a:lnTo>
                      <a:pt x="333" y="24"/>
                    </a:lnTo>
                    <a:lnTo>
                      <a:pt x="335" y="24"/>
                    </a:lnTo>
                    <a:lnTo>
                      <a:pt x="337" y="24"/>
                    </a:lnTo>
                    <a:lnTo>
                      <a:pt x="339" y="24"/>
                    </a:lnTo>
                    <a:lnTo>
                      <a:pt x="341" y="24"/>
                    </a:lnTo>
                    <a:lnTo>
                      <a:pt x="343" y="22"/>
                    </a:lnTo>
                    <a:lnTo>
                      <a:pt x="343" y="24"/>
                    </a:lnTo>
                    <a:lnTo>
                      <a:pt x="345" y="24"/>
                    </a:lnTo>
                    <a:lnTo>
                      <a:pt x="347" y="24"/>
                    </a:lnTo>
                    <a:lnTo>
                      <a:pt x="349" y="24"/>
                    </a:lnTo>
                    <a:lnTo>
                      <a:pt x="351" y="24"/>
                    </a:lnTo>
                    <a:lnTo>
                      <a:pt x="352" y="24"/>
                    </a:lnTo>
                    <a:lnTo>
                      <a:pt x="354" y="24"/>
                    </a:lnTo>
                    <a:lnTo>
                      <a:pt x="354" y="26"/>
                    </a:lnTo>
                    <a:lnTo>
                      <a:pt x="356" y="26"/>
                    </a:lnTo>
                    <a:lnTo>
                      <a:pt x="358" y="26"/>
                    </a:lnTo>
                    <a:close/>
                    <a:moveTo>
                      <a:pt x="7" y="3"/>
                    </a:moveTo>
                    <a:lnTo>
                      <a:pt x="9" y="3"/>
                    </a:lnTo>
                    <a:lnTo>
                      <a:pt x="13" y="5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3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8" y="9"/>
                    </a:lnTo>
                    <a:lnTo>
                      <a:pt x="30" y="9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2" y="13"/>
                    </a:lnTo>
                    <a:lnTo>
                      <a:pt x="44" y="15"/>
                    </a:lnTo>
                    <a:lnTo>
                      <a:pt x="45" y="15"/>
                    </a:lnTo>
                    <a:lnTo>
                      <a:pt x="45" y="19"/>
                    </a:lnTo>
                    <a:lnTo>
                      <a:pt x="47" y="19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47" y="22"/>
                    </a:lnTo>
                    <a:lnTo>
                      <a:pt x="49" y="21"/>
                    </a:lnTo>
                    <a:lnTo>
                      <a:pt x="49" y="22"/>
                    </a:lnTo>
                    <a:lnTo>
                      <a:pt x="51" y="22"/>
                    </a:lnTo>
                    <a:lnTo>
                      <a:pt x="51" y="24"/>
                    </a:lnTo>
                    <a:lnTo>
                      <a:pt x="51" y="26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9" y="28"/>
                    </a:lnTo>
                    <a:lnTo>
                      <a:pt x="51" y="28"/>
                    </a:lnTo>
                    <a:lnTo>
                      <a:pt x="53" y="28"/>
                    </a:lnTo>
                    <a:lnTo>
                      <a:pt x="53" y="30"/>
                    </a:lnTo>
                    <a:lnTo>
                      <a:pt x="53" y="28"/>
                    </a:lnTo>
                    <a:lnTo>
                      <a:pt x="55" y="30"/>
                    </a:lnTo>
                    <a:lnTo>
                      <a:pt x="55" y="28"/>
                    </a:lnTo>
                    <a:lnTo>
                      <a:pt x="55" y="30"/>
                    </a:lnTo>
                    <a:lnTo>
                      <a:pt x="57" y="30"/>
                    </a:lnTo>
                    <a:lnTo>
                      <a:pt x="57" y="32"/>
                    </a:lnTo>
                    <a:lnTo>
                      <a:pt x="59" y="32"/>
                    </a:lnTo>
                    <a:lnTo>
                      <a:pt x="57" y="34"/>
                    </a:lnTo>
                    <a:lnTo>
                      <a:pt x="59" y="34"/>
                    </a:lnTo>
                    <a:lnTo>
                      <a:pt x="59" y="32"/>
                    </a:lnTo>
                    <a:lnTo>
                      <a:pt x="59" y="34"/>
                    </a:lnTo>
                    <a:lnTo>
                      <a:pt x="61" y="34"/>
                    </a:lnTo>
                    <a:lnTo>
                      <a:pt x="63" y="36"/>
                    </a:lnTo>
                    <a:lnTo>
                      <a:pt x="65" y="36"/>
                    </a:lnTo>
                    <a:lnTo>
                      <a:pt x="66" y="38"/>
                    </a:lnTo>
                    <a:lnTo>
                      <a:pt x="68" y="38"/>
                    </a:lnTo>
                    <a:lnTo>
                      <a:pt x="68" y="40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2" y="42"/>
                    </a:lnTo>
                    <a:lnTo>
                      <a:pt x="74" y="42"/>
                    </a:lnTo>
                    <a:lnTo>
                      <a:pt x="74" y="43"/>
                    </a:lnTo>
                    <a:lnTo>
                      <a:pt x="76" y="43"/>
                    </a:lnTo>
                    <a:lnTo>
                      <a:pt x="76" y="45"/>
                    </a:lnTo>
                    <a:lnTo>
                      <a:pt x="78" y="45"/>
                    </a:lnTo>
                    <a:lnTo>
                      <a:pt x="78" y="47"/>
                    </a:lnTo>
                    <a:lnTo>
                      <a:pt x="78" y="45"/>
                    </a:lnTo>
                    <a:lnTo>
                      <a:pt x="78" y="47"/>
                    </a:lnTo>
                    <a:lnTo>
                      <a:pt x="78" y="49"/>
                    </a:lnTo>
                    <a:lnTo>
                      <a:pt x="78" y="51"/>
                    </a:lnTo>
                    <a:lnTo>
                      <a:pt x="80" y="49"/>
                    </a:lnTo>
                    <a:lnTo>
                      <a:pt x="80" y="51"/>
                    </a:lnTo>
                    <a:lnTo>
                      <a:pt x="80" y="53"/>
                    </a:lnTo>
                    <a:lnTo>
                      <a:pt x="82" y="53"/>
                    </a:lnTo>
                    <a:lnTo>
                      <a:pt x="82" y="51"/>
                    </a:lnTo>
                    <a:lnTo>
                      <a:pt x="84" y="53"/>
                    </a:lnTo>
                    <a:lnTo>
                      <a:pt x="84" y="55"/>
                    </a:lnTo>
                    <a:lnTo>
                      <a:pt x="86" y="55"/>
                    </a:lnTo>
                    <a:lnTo>
                      <a:pt x="86" y="57"/>
                    </a:lnTo>
                    <a:lnTo>
                      <a:pt x="87" y="59"/>
                    </a:lnTo>
                    <a:lnTo>
                      <a:pt x="89" y="59"/>
                    </a:lnTo>
                    <a:lnTo>
                      <a:pt x="89" y="61"/>
                    </a:lnTo>
                    <a:lnTo>
                      <a:pt x="89" y="59"/>
                    </a:lnTo>
                    <a:lnTo>
                      <a:pt x="91" y="61"/>
                    </a:lnTo>
                    <a:lnTo>
                      <a:pt x="93" y="63"/>
                    </a:lnTo>
                    <a:lnTo>
                      <a:pt x="93" y="61"/>
                    </a:lnTo>
                    <a:lnTo>
                      <a:pt x="91" y="59"/>
                    </a:lnTo>
                    <a:lnTo>
                      <a:pt x="89" y="59"/>
                    </a:lnTo>
                    <a:lnTo>
                      <a:pt x="91" y="57"/>
                    </a:lnTo>
                    <a:lnTo>
                      <a:pt x="93" y="57"/>
                    </a:lnTo>
                    <a:lnTo>
                      <a:pt x="95" y="57"/>
                    </a:lnTo>
                    <a:lnTo>
                      <a:pt x="95" y="59"/>
                    </a:lnTo>
                    <a:lnTo>
                      <a:pt x="99" y="61"/>
                    </a:lnTo>
                    <a:lnTo>
                      <a:pt x="101" y="63"/>
                    </a:lnTo>
                    <a:lnTo>
                      <a:pt x="101" y="64"/>
                    </a:lnTo>
                    <a:lnTo>
                      <a:pt x="101" y="66"/>
                    </a:lnTo>
                    <a:lnTo>
                      <a:pt x="103" y="66"/>
                    </a:lnTo>
                    <a:lnTo>
                      <a:pt x="105" y="68"/>
                    </a:lnTo>
                    <a:lnTo>
                      <a:pt x="105" y="66"/>
                    </a:lnTo>
                    <a:lnTo>
                      <a:pt x="107" y="66"/>
                    </a:lnTo>
                    <a:lnTo>
                      <a:pt x="110" y="70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4" y="74"/>
                    </a:lnTo>
                    <a:lnTo>
                      <a:pt x="114" y="76"/>
                    </a:lnTo>
                    <a:lnTo>
                      <a:pt x="114" y="78"/>
                    </a:lnTo>
                    <a:lnTo>
                      <a:pt x="116" y="80"/>
                    </a:lnTo>
                    <a:lnTo>
                      <a:pt x="118" y="80"/>
                    </a:lnTo>
                    <a:lnTo>
                      <a:pt x="118" y="82"/>
                    </a:lnTo>
                    <a:lnTo>
                      <a:pt x="120" y="82"/>
                    </a:lnTo>
                    <a:lnTo>
                      <a:pt x="122" y="82"/>
                    </a:lnTo>
                    <a:lnTo>
                      <a:pt x="124" y="82"/>
                    </a:lnTo>
                    <a:lnTo>
                      <a:pt x="126" y="82"/>
                    </a:lnTo>
                    <a:lnTo>
                      <a:pt x="127" y="85"/>
                    </a:lnTo>
                    <a:lnTo>
                      <a:pt x="126" y="87"/>
                    </a:lnTo>
                    <a:lnTo>
                      <a:pt x="124" y="89"/>
                    </a:lnTo>
                    <a:lnTo>
                      <a:pt x="126" y="89"/>
                    </a:lnTo>
                    <a:lnTo>
                      <a:pt x="127" y="87"/>
                    </a:lnTo>
                    <a:lnTo>
                      <a:pt x="129" y="87"/>
                    </a:lnTo>
                    <a:lnTo>
                      <a:pt x="129" y="85"/>
                    </a:lnTo>
                    <a:lnTo>
                      <a:pt x="131" y="85"/>
                    </a:lnTo>
                    <a:lnTo>
                      <a:pt x="133" y="85"/>
                    </a:lnTo>
                    <a:lnTo>
                      <a:pt x="135" y="87"/>
                    </a:lnTo>
                    <a:lnTo>
                      <a:pt x="137" y="87"/>
                    </a:lnTo>
                    <a:lnTo>
                      <a:pt x="137" y="89"/>
                    </a:lnTo>
                    <a:lnTo>
                      <a:pt x="137" y="87"/>
                    </a:lnTo>
                    <a:lnTo>
                      <a:pt x="137" y="89"/>
                    </a:lnTo>
                    <a:lnTo>
                      <a:pt x="139" y="89"/>
                    </a:lnTo>
                    <a:lnTo>
                      <a:pt x="139" y="91"/>
                    </a:lnTo>
                    <a:lnTo>
                      <a:pt x="139" y="93"/>
                    </a:lnTo>
                    <a:lnTo>
                      <a:pt x="137" y="93"/>
                    </a:lnTo>
                    <a:lnTo>
                      <a:pt x="137" y="95"/>
                    </a:lnTo>
                    <a:lnTo>
                      <a:pt x="135" y="93"/>
                    </a:lnTo>
                    <a:lnTo>
                      <a:pt x="135" y="95"/>
                    </a:lnTo>
                    <a:lnTo>
                      <a:pt x="133" y="95"/>
                    </a:lnTo>
                    <a:lnTo>
                      <a:pt x="135" y="95"/>
                    </a:lnTo>
                    <a:lnTo>
                      <a:pt x="133" y="97"/>
                    </a:lnTo>
                    <a:lnTo>
                      <a:pt x="131" y="97"/>
                    </a:lnTo>
                    <a:lnTo>
                      <a:pt x="129" y="97"/>
                    </a:lnTo>
                    <a:lnTo>
                      <a:pt x="131" y="99"/>
                    </a:lnTo>
                    <a:lnTo>
                      <a:pt x="133" y="99"/>
                    </a:lnTo>
                    <a:lnTo>
                      <a:pt x="135" y="99"/>
                    </a:lnTo>
                    <a:lnTo>
                      <a:pt x="137" y="101"/>
                    </a:lnTo>
                    <a:lnTo>
                      <a:pt x="135" y="101"/>
                    </a:lnTo>
                    <a:lnTo>
                      <a:pt x="133" y="101"/>
                    </a:lnTo>
                    <a:lnTo>
                      <a:pt x="133" y="103"/>
                    </a:lnTo>
                    <a:lnTo>
                      <a:pt x="133" y="105"/>
                    </a:lnTo>
                    <a:lnTo>
                      <a:pt x="133" y="106"/>
                    </a:lnTo>
                    <a:lnTo>
                      <a:pt x="135" y="106"/>
                    </a:lnTo>
                    <a:lnTo>
                      <a:pt x="137" y="108"/>
                    </a:lnTo>
                    <a:lnTo>
                      <a:pt x="139" y="108"/>
                    </a:lnTo>
                    <a:lnTo>
                      <a:pt x="139" y="110"/>
                    </a:lnTo>
                    <a:lnTo>
                      <a:pt x="139" y="108"/>
                    </a:lnTo>
                    <a:lnTo>
                      <a:pt x="139" y="110"/>
                    </a:lnTo>
                    <a:lnTo>
                      <a:pt x="141" y="108"/>
                    </a:lnTo>
                    <a:lnTo>
                      <a:pt x="143" y="110"/>
                    </a:lnTo>
                    <a:lnTo>
                      <a:pt x="145" y="110"/>
                    </a:lnTo>
                    <a:lnTo>
                      <a:pt x="147" y="110"/>
                    </a:lnTo>
                    <a:lnTo>
                      <a:pt x="145" y="110"/>
                    </a:lnTo>
                    <a:lnTo>
                      <a:pt x="147" y="110"/>
                    </a:lnTo>
                    <a:lnTo>
                      <a:pt x="148" y="110"/>
                    </a:lnTo>
                    <a:lnTo>
                      <a:pt x="148" y="112"/>
                    </a:lnTo>
                    <a:lnTo>
                      <a:pt x="150" y="114"/>
                    </a:lnTo>
                    <a:lnTo>
                      <a:pt x="150" y="116"/>
                    </a:lnTo>
                    <a:lnTo>
                      <a:pt x="150" y="118"/>
                    </a:lnTo>
                    <a:lnTo>
                      <a:pt x="150" y="122"/>
                    </a:lnTo>
                    <a:lnTo>
                      <a:pt x="150" y="124"/>
                    </a:lnTo>
                    <a:lnTo>
                      <a:pt x="152" y="124"/>
                    </a:lnTo>
                    <a:lnTo>
                      <a:pt x="152" y="126"/>
                    </a:lnTo>
                    <a:lnTo>
                      <a:pt x="150" y="126"/>
                    </a:lnTo>
                    <a:lnTo>
                      <a:pt x="152" y="126"/>
                    </a:lnTo>
                    <a:lnTo>
                      <a:pt x="154" y="126"/>
                    </a:lnTo>
                    <a:lnTo>
                      <a:pt x="152" y="126"/>
                    </a:lnTo>
                    <a:lnTo>
                      <a:pt x="154" y="126"/>
                    </a:lnTo>
                    <a:lnTo>
                      <a:pt x="156" y="126"/>
                    </a:lnTo>
                    <a:lnTo>
                      <a:pt x="156" y="127"/>
                    </a:lnTo>
                    <a:lnTo>
                      <a:pt x="154" y="129"/>
                    </a:lnTo>
                    <a:lnTo>
                      <a:pt x="154" y="131"/>
                    </a:lnTo>
                    <a:lnTo>
                      <a:pt x="156" y="131"/>
                    </a:lnTo>
                    <a:lnTo>
                      <a:pt x="156" y="129"/>
                    </a:lnTo>
                    <a:lnTo>
                      <a:pt x="158" y="129"/>
                    </a:lnTo>
                    <a:lnTo>
                      <a:pt x="156" y="131"/>
                    </a:lnTo>
                    <a:lnTo>
                      <a:pt x="158" y="131"/>
                    </a:lnTo>
                    <a:lnTo>
                      <a:pt x="160" y="131"/>
                    </a:lnTo>
                    <a:lnTo>
                      <a:pt x="158" y="131"/>
                    </a:lnTo>
                    <a:lnTo>
                      <a:pt x="160" y="131"/>
                    </a:lnTo>
                    <a:lnTo>
                      <a:pt x="162" y="131"/>
                    </a:lnTo>
                    <a:lnTo>
                      <a:pt x="164" y="131"/>
                    </a:lnTo>
                    <a:lnTo>
                      <a:pt x="168" y="131"/>
                    </a:lnTo>
                    <a:lnTo>
                      <a:pt x="168" y="133"/>
                    </a:lnTo>
                    <a:lnTo>
                      <a:pt x="168" y="135"/>
                    </a:lnTo>
                    <a:lnTo>
                      <a:pt x="169" y="137"/>
                    </a:lnTo>
                    <a:lnTo>
                      <a:pt x="171" y="137"/>
                    </a:lnTo>
                    <a:lnTo>
                      <a:pt x="171" y="139"/>
                    </a:lnTo>
                    <a:lnTo>
                      <a:pt x="171" y="141"/>
                    </a:lnTo>
                    <a:lnTo>
                      <a:pt x="173" y="141"/>
                    </a:lnTo>
                    <a:lnTo>
                      <a:pt x="175" y="141"/>
                    </a:lnTo>
                    <a:lnTo>
                      <a:pt x="175" y="143"/>
                    </a:lnTo>
                    <a:lnTo>
                      <a:pt x="175" y="145"/>
                    </a:lnTo>
                    <a:lnTo>
                      <a:pt x="173" y="147"/>
                    </a:lnTo>
                    <a:lnTo>
                      <a:pt x="173" y="148"/>
                    </a:lnTo>
                    <a:lnTo>
                      <a:pt x="171" y="150"/>
                    </a:lnTo>
                    <a:lnTo>
                      <a:pt x="171" y="152"/>
                    </a:lnTo>
                    <a:lnTo>
                      <a:pt x="173" y="154"/>
                    </a:lnTo>
                    <a:lnTo>
                      <a:pt x="171" y="158"/>
                    </a:lnTo>
                    <a:lnTo>
                      <a:pt x="171" y="160"/>
                    </a:lnTo>
                    <a:lnTo>
                      <a:pt x="171" y="162"/>
                    </a:lnTo>
                    <a:lnTo>
                      <a:pt x="171" y="164"/>
                    </a:lnTo>
                    <a:lnTo>
                      <a:pt x="173" y="164"/>
                    </a:lnTo>
                    <a:lnTo>
                      <a:pt x="173" y="166"/>
                    </a:lnTo>
                    <a:lnTo>
                      <a:pt x="173" y="168"/>
                    </a:lnTo>
                    <a:lnTo>
                      <a:pt x="171" y="168"/>
                    </a:lnTo>
                    <a:lnTo>
                      <a:pt x="173" y="168"/>
                    </a:lnTo>
                    <a:lnTo>
                      <a:pt x="171" y="169"/>
                    </a:lnTo>
                    <a:lnTo>
                      <a:pt x="171" y="171"/>
                    </a:lnTo>
                    <a:lnTo>
                      <a:pt x="173" y="171"/>
                    </a:lnTo>
                    <a:lnTo>
                      <a:pt x="171" y="173"/>
                    </a:lnTo>
                    <a:lnTo>
                      <a:pt x="171" y="177"/>
                    </a:lnTo>
                    <a:lnTo>
                      <a:pt x="171" y="179"/>
                    </a:lnTo>
                    <a:lnTo>
                      <a:pt x="171" y="181"/>
                    </a:lnTo>
                    <a:lnTo>
                      <a:pt x="171" y="183"/>
                    </a:lnTo>
                    <a:lnTo>
                      <a:pt x="171" y="185"/>
                    </a:lnTo>
                    <a:lnTo>
                      <a:pt x="171" y="187"/>
                    </a:lnTo>
                    <a:lnTo>
                      <a:pt x="169" y="187"/>
                    </a:lnTo>
                    <a:lnTo>
                      <a:pt x="169" y="188"/>
                    </a:lnTo>
                    <a:lnTo>
                      <a:pt x="169" y="187"/>
                    </a:lnTo>
                    <a:lnTo>
                      <a:pt x="168" y="187"/>
                    </a:lnTo>
                    <a:lnTo>
                      <a:pt x="168" y="185"/>
                    </a:lnTo>
                    <a:lnTo>
                      <a:pt x="166" y="183"/>
                    </a:lnTo>
                    <a:lnTo>
                      <a:pt x="164" y="181"/>
                    </a:lnTo>
                    <a:lnTo>
                      <a:pt x="162" y="181"/>
                    </a:lnTo>
                    <a:lnTo>
                      <a:pt x="162" y="183"/>
                    </a:lnTo>
                    <a:lnTo>
                      <a:pt x="162" y="185"/>
                    </a:lnTo>
                    <a:lnTo>
                      <a:pt x="160" y="185"/>
                    </a:lnTo>
                    <a:lnTo>
                      <a:pt x="162" y="185"/>
                    </a:lnTo>
                    <a:lnTo>
                      <a:pt x="162" y="187"/>
                    </a:lnTo>
                    <a:lnTo>
                      <a:pt x="160" y="187"/>
                    </a:lnTo>
                    <a:lnTo>
                      <a:pt x="160" y="185"/>
                    </a:lnTo>
                    <a:lnTo>
                      <a:pt x="160" y="187"/>
                    </a:lnTo>
                    <a:lnTo>
                      <a:pt x="160" y="185"/>
                    </a:lnTo>
                    <a:lnTo>
                      <a:pt x="158" y="185"/>
                    </a:lnTo>
                    <a:lnTo>
                      <a:pt x="156" y="185"/>
                    </a:lnTo>
                    <a:lnTo>
                      <a:pt x="156" y="183"/>
                    </a:lnTo>
                    <a:lnTo>
                      <a:pt x="154" y="183"/>
                    </a:lnTo>
                    <a:lnTo>
                      <a:pt x="154" y="181"/>
                    </a:lnTo>
                    <a:lnTo>
                      <a:pt x="152" y="181"/>
                    </a:lnTo>
                    <a:lnTo>
                      <a:pt x="150" y="181"/>
                    </a:lnTo>
                    <a:lnTo>
                      <a:pt x="152" y="185"/>
                    </a:lnTo>
                    <a:lnTo>
                      <a:pt x="154" y="187"/>
                    </a:lnTo>
                    <a:lnTo>
                      <a:pt x="154" y="188"/>
                    </a:lnTo>
                    <a:lnTo>
                      <a:pt x="152" y="188"/>
                    </a:lnTo>
                    <a:lnTo>
                      <a:pt x="150" y="188"/>
                    </a:lnTo>
                    <a:lnTo>
                      <a:pt x="152" y="188"/>
                    </a:lnTo>
                    <a:lnTo>
                      <a:pt x="152" y="187"/>
                    </a:lnTo>
                    <a:lnTo>
                      <a:pt x="150" y="185"/>
                    </a:lnTo>
                    <a:lnTo>
                      <a:pt x="148" y="185"/>
                    </a:lnTo>
                    <a:lnTo>
                      <a:pt x="147" y="183"/>
                    </a:lnTo>
                    <a:lnTo>
                      <a:pt x="148" y="183"/>
                    </a:lnTo>
                    <a:lnTo>
                      <a:pt x="147" y="183"/>
                    </a:lnTo>
                    <a:lnTo>
                      <a:pt x="147" y="181"/>
                    </a:lnTo>
                    <a:lnTo>
                      <a:pt x="145" y="181"/>
                    </a:lnTo>
                    <a:lnTo>
                      <a:pt x="143" y="179"/>
                    </a:lnTo>
                    <a:lnTo>
                      <a:pt x="143" y="177"/>
                    </a:lnTo>
                    <a:lnTo>
                      <a:pt x="141" y="177"/>
                    </a:lnTo>
                    <a:lnTo>
                      <a:pt x="141" y="175"/>
                    </a:lnTo>
                    <a:lnTo>
                      <a:pt x="139" y="173"/>
                    </a:lnTo>
                    <a:lnTo>
                      <a:pt x="137" y="173"/>
                    </a:lnTo>
                    <a:lnTo>
                      <a:pt x="137" y="171"/>
                    </a:lnTo>
                    <a:lnTo>
                      <a:pt x="135" y="171"/>
                    </a:lnTo>
                    <a:lnTo>
                      <a:pt x="133" y="171"/>
                    </a:lnTo>
                    <a:lnTo>
                      <a:pt x="133" y="169"/>
                    </a:lnTo>
                    <a:lnTo>
                      <a:pt x="131" y="169"/>
                    </a:lnTo>
                    <a:lnTo>
                      <a:pt x="131" y="168"/>
                    </a:lnTo>
                    <a:lnTo>
                      <a:pt x="129" y="168"/>
                    </a:lnTo>
                    <a:lnTo>
                      <a:pt x="127" y="166"/>
                    </a:lnTo>
                    <a:lnTo>
                      <a:pt x="126" y="166"/>
                    </a:lnTo>
                    <a:lnTo>
                      <a:pt x="126" y="164"/>
                    </a:lnTo>
                    <a:lnTo>
                      <a:pt x="122" y="162"/>
                    </a:lnTo>
                    <a:lnTo>
                      <a:pt x="118" y="158"/>
                    </a:lnTo>
                    <a:lnTo>
                      <a:pt x="116" y="158"/>
                    </a:lnTo>
                    <a:lnTo>
                      <a:pt x="116" y="156"/>
                    </a:lnTo>
                    <a:lnTo>
                      <a:pt x="114" y="156"/>
                    </a:lnTo>
                    <a:lnTo>
                      <a:pt x="116" y="156"/>
                    </a:lnTo>
                    <a:lnTo>
                      <a:pt x="116" y="154"/>
                    </a:lnTo>
                    <a:lnTo>
                      <a:pt x="116" y="156"/>
                    </a:lnTo>
                    <a:lnTo>
                      <a:pt x="116" y="154"/>
                    </a:lnTo>
                    <a:lnTo>
                      <a:pt x="114" y="154"/>
                    </a:lnTo>
                    <a:lnTo>
                      <a:pt x="114" y="152"/>
                    </a:lnTo>
                    <a:lnTo>
                      <a:pt x="112" y="150"/>
                    </a:lnTo>
                    <a:lnTo>
                      <a:pt x="110" y="148"/>
                    </a:lnTo>
                    <a:lnTo>
                      <a:pt x="108" y="148"/>
                    </a:lnTo>
                    <a:lnTo>
                      <a:pt x="108" y="147"/>
                    </a:lnTo>
                    <a:lnTo>
                      <a:pt x="107" y="147"/>
                    </a:lnTo>
                    <a:lnTo>
                      <a:pt x="105" y="145"/>
                    </a:lnTo>
                    <a:lnTo>
                      <a:pt x="103" y="143"/>
                    </a:lnTo>
                    <a:lnTo>
                      <a:pt x="103" y="141"/>
                    </a:lnTo>
                    <a:lnTo>
                      <a:pt x="101" y="141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7" y="135"/>
                    </a:lnTo>
                    <a:lnTo>
                      <a:pt x="95" y="133"/>
                    </a:lnTo>
                    <a:lnTo>
                      <a:pt x="95" y="131"/>
                    </a:lnTo>
                    <a:lnTo>
                      <a:pt x="93" y="131"/>
                    </a:lnTo>
                    <a:lnTo>
                      <a:pt x="93" y="129"/>
                    </a:lnTo>
                    <a:lnTo>
                      <a:pt x="91" y="127"/>
                    </a:lnTo>
                    <a:lnTo>
                      <a:pt x="93" y="126"/>
                    </a:lnTo>
                    <a:lnTo>
                      <a:pt x="93" y="124"/>
                    </a:lnTo>
                    <a:lnTo>
                      <a:pt x="91" y="122"/>
                    </a:lnTo>
                    <a:lnTo>
                      <a:pt x="89" y="120"/>
                    </a:lnTo>
                    <a:lnTo>
                      <a:pt x="89" y="118"/>
                    </a:lnTo>
                    <a:lnTo>
                      <a:pt x="87" y="116"/>
                    </a:lnTo>
                    <a:lnTo>
                      <a:pt x="87" y="114"/>
                    </a:lnTo>
                    <a:lnTo>
                      <a:pt x="86" y="114"/>
                    </a:lnTo>
                    <a:lnTo>
                      <a:pt x="86" y="112"/>
                    </a:lnTo>
                    <a:lnTo>
                      <a:pt x="86" y="114"/>
                    </a:lnTo>
                    <a:lnTo>
                      <a:pt x="86" y="112"/>
                    </a:lnTo>
                    <a:lnTo>
                      <a:pt x="84" y="112"/>
                    </a:lnTo>
                    <a:lnTo>
                      <a:pt x="86" y="112"/>
                    </a:lnTo>
                    <a:lnTo>
                      <a:pt x="86" y="110"/>
                    </a:lnTo>
                    <a:lnTo>
                      <a:pt x="86" y="108"/>
                    </a:lnTo>
                    <a:lnTo>
                      <a:pt x="86" y="110"/>
                    </a:lnTo>
                    <a:lnTo>
                      <a:pt x="84" y="108"/>
                    </a:lnTo>
                    <a:lnTo>
                      <a:pt x="84" y="106"/>
                    </a:lnTo>
                    <a:lnTo>
                      <a:pt x="82" y="105"/>
                    </a:lnTo>
                    <a:lnTo>
                      <a:pt x="80" y="103"/>
                    </a:lnTo>
                    <a:lnTo>
                      <a:pt x="80" y="101"/>
                    </a:lnTo>
                    <a:lnTo>
                      <a:pt x="78" y="101"/>
                    </a:lnTo>
                    <a:lnTo>
                      <a:pt x="78" y="99"/>
                    </a:lnTo>
                    <a:lnTo>
                      <a:pt x="76" y="99"/>
                    </a:lnTo>
                    <a:lnTo>
                      <a:pt x="76" y="97"/>
                    </a:lnTo>
                    <a:lnTo>
                      <a:pt x="74" y="95"/>
                    </a:lnTo>
                    <a:lnTo>
                      <a:pt x="76" y="95"/>
                    </a:lnTo>
                    <a:lnTo>
                      <a:pt x="74" y="95"/>
                    </a:lnTo>
                    <a:lnTo>
                      <a:pt x="76" y="95"/>
                    </a:lnTo>
                    <a:lnTo>
                      <a:pt x="74" y="93"/>
                    </a:lnTo>
                    <a:lnTo>
                      <a:pt x="72" y="93"/>
                    </a:lnTo>
                    <a:lnTo>
                      <a:pt x="70" y="91"/>
                    </a:lnTo>
                    <a:lnTo>
                      <a:pt x="68" y="91"/>
                    </a:lnTo>
                    <a:lnTo>
                      <a:pt x="68" y="89"/>
                    </a:lnTo>
                    <a:lnTo>
                      <a:pt x="68" y="91"/>
                    </a:lnTo>
                    <a:lnTo>
                      <a:pt x="68" y="89"/>
                    </a:lnTo>
                    <a:lnTo>
                      <a:pt x="66" y="89"/>
                    </a:lnTo>
                    <a:lnTo>
                      <a:pt x="65" y="89"/>
                    </a:lnTo>
                    <a:lnTo>
                      <a:pt x="65" y="87"/>
                    </a:lnTo>
                    <a:lnTo>
                      <a:pt x="65" y="85"/>
                    </a:lnTo>
                    <a:lnTo>
                      <a:pt x="65" y="84"/>
                    </a:lnTo>
                    <a:lnTo>
                      <a:pt x="65" y="82"/>
                    </a:lnTo>
                    <a:lnTo>
                      <a:pt x="63" y="80"/>
                    </a:lnTo>
                    <a:lnTo>
                      <a:pt x="63" y="78"/>
                    </a:lnTo>
                    <a:lnTo>
                      <a:pt x="61" y="76"/>
                    </a:lnTo>
                    <a:lnTo>
                      <a:pt x="61" y="72"/>
                    </a:lnTo>
                    <a:lnTo>
                      <a:pt x="59" y="70"/>
                    </a:lnTo>
                    <a:lnTo>
                      <a:pt x="59" y="68"/>
                    </a:lnTo>
                    <a:lnTo>
                      <a:pt x="61" y="68"/>
                    </a:lnTo>
                    <a:lnTo>
                      <a:pt x="59" y="68"/>
                    </a:lnTo>
                    <a:lnTo>
                      <a:pt x="61" y="68"/>
                    </a:lnTo>
                    <a:lnTo>
                      <a:pt x="61" y="66"/>
                    </a:lnTo>
                    <a:lnTo>
                      <a:pt x="59" y="66"/>
                    </a:lnTo>
                    <a:lnTo>
                      <a:pt x="59" y="64"/>
                    </a:lnTo>
                    <a:lnTo>
                      <a:pt x="57" y="64"/>
                    </a:lnTo>
                    <a:lnTo>
                      <a:pt x="59" y="64"/>
                    </a:lnTo>
                    <a:lnTo>
                      <a:pt x="59" y="66"/>
                    </a:lnTo>
                    <a:lnTo>
                      <a:pt x="59" y="64"/>
                    </a:lnTo>
                    <a:lnTo>
                      <a:pt x="59" y="66"/>
                    </a:lnTo>
                    <a:lnTo>
                      <a:pt x="57" y="64"/>
                    </a:lnTo>
                    <a:lnTo>
                      <a:pt x="55" y="64"/>
                    </a:lnTo>
                    <a:lnTo>
                      <a:pt x="55" y="63"/>
                    </a:lnTo>
                    <a:lnTo>
                      <a:pt x="53" y="61"/>
                    </a:lnTo>
                    <a:lnTo>
                      <a:pt x="51" y="61"/>
                    </a:lnTo>
                    <a:lnTo>
                      <a:pt x="49" y="59"/>
                    </a:lnTo>
                    <a:lnTo>
                      <a:pt x="47" y="57"/>
                    </a:lnTo>
                    <a:lnTo>
                      <a:pt x="45" y="57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2" y="55"/>
                    </a:lnTo>
                    <a:lnTo>
                      <a:pt x="42" y="51"/>
                    </a:lnTo>
                    <a:lnTo>
                      <a:pt x="40" y="47"/>
                    </a:lnTo>
                    <a:lnTo>
                      <a:pt x="38" y="47"/>
                    </a:lnTo>
                    <a:lnTo>
                      <a:pt x="38" y="45"/>
                    </a:lnTo>
                    <a:lnTo>
                      <a:pt x="36" y="45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19" y="28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1" y="22"/>
                    </a:lnTo>
                    <a:lnTo>
                      <a:pt x="9" y="21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5" y="17"/>
                    </a:lnTo>
                    <a:lnTo>
                      <a:pt x="5" y="15"/>
                    </a:lnTo>
                    <a:lnTo>
                      <a:pt x="5" y="13"/>
                    </a:lnTo>
                    <a:lnTo>
                      <a:pt x="4" y="13"/>
                    </a:lnTo>
                    <a:lnTo>
                      <a:pt x="4" y="11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5" y="3"/>
                    </a:lnTo>
                    <a:lnTo>
                      <a:pt x="7" y="3"/>
                    </a:lnTo>
                    <a:close/>
                    <a:moveTo>
                      <a:pt x="732" y="135"/>
                    </a:moveTo>
                    <a:lnTo>
                      <a:pt x="730" y="139"/>
                    </a:lnTo>
                    <a:lnTo>
                      <a:pt x="730" y="160"/>
                    </a:lnTo>
                    <a:lnTo>
                      <a:pt x="730" y="177"/>
                    </a:lnTo>
                    <a:lnTo>
                      <a:pt x="730" y="194"/>
                    </a:lnTo>
                    <a:lnTo>
                      <a:pt x="732" y="194"/>
                    </a:lnTo>
                    <a:lnTo>
                      <a:pt x="730" y="194"/>
                    </a:lnTo>
                    <a:lnTo>
                      <a:pt x="730" y="196"/>
                    </a:lnTo>
                    <a:lnTo>
                      <a:pt x="730" y="198"/>
                    </a:lnTo>
                    <a:lnTo>
                      <a:pt x="728" y="198"/>
                    </a:lnTo>
                    <a:lnTo>
                      <a:pt x="730" y="198"/>
                    </a:lnTo>
                    <a:lnTo>
                      <a:pt x="728" y="198"/>
                    </a:lnTo>
                    <a:lnTo>
                      <a:pt x="728" y="200"/>
                    </a:lnTo>
                    <a:lnTo>
                      <a:pt x="730" y="202"/>
                    </a:lnTo>
                    <a:lnTo>
                      <a:pt x="728" y="202"/>
                    </a:lnTo>
                    <a:lnTo>
                      <a:pt x="730" y="202"/>
                    </a:lnTo>
                    <a:lnTo>
                      <a:pt x="730" y="204"/>
                    </a:lnTo>
                    <a:lnTo>
                      <a:pt x="732" y="204"/>
                    </a:lnTo>
                    <a:lnTo>
                      <a:pt x="732" y="217"/>
                    </a:lnTo>
                    <a:lnTo>
                      <a:pt x="732" y="240"/>
                    </a:lnTo>
                    <a:lnTo>
                      <a:pt x="730" y="238"/>
                    </a:lnTo>
                    <a:lnTo>
                      <a:pt x="724" y="234"/>
                    </a:lnTo>
                    <a:lnTo>
                      <a:pt x="722" y="232"/>
                    </a:lnTo>
                    <a:lnTo>
                      <a:pt x="722" y="230"/>
                    </a:lnTo>
                    <a:lnTo>
                      <a:pt x="721" y="230"/>
                    </a:lnTo>
                    <a:lnTo>
                      <a:pt x="721" y="229"/>
                    </a:lnTo>
                    <a:lnTo>
                      <a:pt x="719" y="229"/>
                    </a:lnTo>
                    <a:lnTo>
                      <a:pt x="719" y="227"/>
                    </a:lnTo>
                    <a:lnTo>
                      <a:pt x="717" y="227"/>
                    </a:lnTo>
                    <a:lnTo>
                      <a:pt x="715" y="225"/>
                    </a:lnTo>
                    <a:lnTo>
                      <a:pt x="715" y="223"/>
                    </a:lnTo>
                    <a:lnTo>
                      <a:pt x="717" y="223"/>
                    </a:lnTo>
                    <a:lnTo>
                      <a:pt x="717" y="221"/>
                    </a:lnTo>
                    <a:lnTo>
                      <a:pt x="717" y="219"/>
                    </a:lnTo>
                    <a:lnTo>
                      <a:pt x="715" y="221"/>
                    </a:lnTo>
                    <a:lnTo>
                      <a:pt x="717" y="223"/>
                    </a:lnTo>
                    <a:lnTo>
                      <a:pt x="715" y="223"/>
                    </a:lnTo>
                    <a:lnTo>
                      <a:pt x="713" y="223"/>
                    </a:lnTo>
                    <a:lnTo>
                      <a:pt x="711" y="223"/>
                    </a:lnTo>
                    <a:lnTo>
                      <a:pt x="709" y="223"/>
                    </a:lnTo>
                    <a:lnTo>
                      <a:pt x="707" y="225"/>
                    </a:lnTo>
                    <a:lnTo>
                      <a:pt x="705" y="225"/>
                    </a:lnTo>
                    <a:lnTo>
                      <a:pt x="703" y="225"/>
                    </a:lnTo>
                    <a:lnTo>
                      <a:pt x="703" y="223"/>
                    </a:lnTo>
                    <a:lnTo>
                      <a:pt x="700" y="223"/>
                    </a:lnTo>
                    <a:lnTo>
                      <a:pt x="700" y="225"/>
                    </a:lnTo>
                    <a:lnTo>
                      <a:pt x="700" y="227"/>
                    </a:lnTo>
                    <a:lnTo>
                      <a:pt x="698" y="227"/>
                    </a:lnTo>
                    <a:lnTo>
                      <a:pt x="698" y="225"/>
                    </a:lnTo>
                    <a:lnTo>
                      <a:pt x="696" y="223"/>
                    </a:lnTo>
                    <a:lnTo>
                      <a:pt x="698" y="223"/>
                    </a:lnTo>
                    <a:lnTo>
                      <a:pt x="698" y="221"/>
                    </a:lnTo>
                    <a:lnTo>
                      <a:pt x="698" y="219"/>
                    </a:lnTo>
                    <a:lnTo>
                      <a:pt x="700" y="219"/>
                    </a:lnTo>
                    <a:lnTo>
                      <a:pt x="700" y="217"/>
                    </a:lnTo>
                    <a:lnTo>
                      <a:pt x="700" y="215"/>
                    </a:lnTo>
                    <a:lnTo>
                      <a:pt x="701" y="215"/>
                    </a:lnTo>
                    <a:lnTo>
                      <a:pt x="701" y="213"/>
                    </a:lnTo>
                    <a:lnTo>
                      <a:pt x="700" y="213"/>
                    </a:lnTo>
                    <a:lnTo>
                      <a:pt x="698" y="213"/>
                    </a:lnTo>
                    <a:lnTo>
                      <a:pt x="698" y="211"/>
                    </a:lnTo>
                    <a:lnTo>
                      <a:pt x="698" y="209"/>
                    </a:lnTo>
                    <a:lnTo>
                      <a:pt x="694" y="209"/>
                    </a:lnTo>
                    <a:lnTo>
                      <a:pt x="694" y="208"/>
                    </a:lnTo>
                    <a:lnTo>
                      <a:pt x="696" y="208"/>
                    </a:lnTo>
                    <a:lnTo>
                      <a:pt x="698" y="208"/>
                    </a:lnTo>
                    <a:lnTo>
                      <a:pt x="700" y="209"/>
                    </a:lnTo>
                    <a:lnTo>
                      <a:pt x="701" y="209"/>
                    </a:lnTo>
                    <a:lnTo>
                      <a:pt x="703" y="208"/>
                    </a:lnTo>
                    <a:lnTo>
                      <a:pt x="703" y="209"/>
                    </a:lnTo>
                    <a:lnTo>
                      <a:pt x="705" y="209"/>
                    </a:lnTo>
                    <a:lnTo>
                      <a:pt x="705" y="208"/>
                    </a:lnTo>
                    <a:lnTo>
                      <a:pt x="705" y="206"/>
                    </a:lnTo>
                    <a:lnTo>
                      <a:pt x="703" y="206"/>
                    </a:lnTo>
                    <a:lnTo>
                      <a:pt x="701" y="204"/>
                    </a:lnTo>
                    <a:lnTo>
                      <a:pt x="700" y="202"/>
                    </a:lnTo>
                    <a:lnTo>
                      <a:pt x="698" y="202"/>
                    </a:lnTo>
                    <a:lnTo>
                      <a:pt x="696" y="202"/>
                    </a:lnTo>
                    <a:lnTo>
                      <a:pt x="696" y="200"/>
                    </a:lnTo>
                    <a:lnTo>
                      <a:pt x="694" y="198"/>
                    </a:lnTo>
                    <a:lnTo>
                      <a:pt x="692" y="196"/>
                    </a:lnTo>
                    <a:lnTo>
                      <a:pt x="690" y="194"/>
                    </a:lnTo>
                    <a:lnTo>
                      <a:pt x="690" y="192"/>
                    </a:lnTo>
                    <a:lnTo>
                      <a:pt x="688" y="190"/>
                    </a:lnTo>
                    <a:lnTo>
                      <a:pt x="688" y="188"/>
                    </a:lnTo>
                    <a:lnTo>
                      <a:pt x="686" y="188"/>
                    </a:lnTo>
                    <a:lnTo>
                      <a:pt x="688" y="187"/>
                    </a:lnTo>
                    <a:lnTo>
                      <a:pt x="686" y="187"/>
                    </a:lnTo>
                    <a:lnTo>
                      <a:pt x="686" y="185"/>
                    </a:lnTo>
                    <a:lnTo>
                      <a:pt x="684" y="185"/>
                    </a:lnTo>
                    <a:lnTo>
                      <a:pt x="684" y="183"/>
                    </a:lnTo>
                    <a:lnTo>
                      <a:pt x="684" y="181"/>
                    </a:lnTo>
                    <a:lnTo>
                      <a:pt x="682" y="181"/>
                    </a:lnTo>
                    <a:lnTo>
                      <a:pt x="680" y="179"/>
                    </a:lnTo>
                    <a:lnTo>
                      <a:pt x="680" y="177"/>
                    </a:lnTo>
                    <a:lnTo>
                      <a:pt x="679" y="179"/>
                    </a:lnTo>
                    <a:lnTo>
                      <a:pt x="679" y="177"/>
                    </a:lnTo>
                    <a:lnTo>
                      <a:pt x="679" y="175"/>
                    </a:lnTo>
                    <a:lnTo>
                      <a:pt x="679" y="177"/>
                    </a:lnTo>
                    <a:lnTo>
                      <a:pt x="677" y="177"/>
                    </a:lnTo>
                    <a:lnTo>
                      <a:pt x="677" y="175"/>
                    </a:lnTo>
                    <a:lnTo>
                      <a:pt x="677" y="173"/>
                    </a:lnTo>
                    <a:lnTo>
                      <a:pt x="677" y="175"/>
                    </a:lnTo>
                    <a:lnTo>
                      <a:pt x="675" y="175"/>
                    </a:lnTo>
                    <a:lnTo>
                      <a:pt x="675" y="173"/>
                    </a:lnTo>
                    <a:lnTo>
                      <a:pt x="677" y="173"/>
                    </a:lnTo>
                    <a:lnTo>
                      <a:pt x="675" y="173"/>
                    </a:lnTo>
                    <a:lnTo>
                      <a:pt x="675" y="175"/>
                    </a:lnTo>
                    <a:lnTo>
                      <a:pt x="675" y="173"/>
                    </a:lnTo>
                    <a:lnTo>
                      <a:pt x="675" y="171"/>
                    </a:lnTo>
                    <a:lnTo>
                      <a:pt x="673" y="173"/>
                    </a:lnTo>
                    <a:lnTo>
                      <a:pt x="671" y="173"/>
                    </a:lnTo>
                    <a:lnTo>
                      <a:pt x="669" y="173"/>
                    </a:lnTo>
                    <a:lnTo>
                      <a:pt x="669" y="171"/>
                    </a:lnTo>
                    <a:lnTo>
                      <a:pt x="669" y="173"/>
                    </a:lnTo>
                    <a:lnTo>
                      <a:pt x="669" y="171"/>
                    </a:lnTo>
                    <a:lnTo>
                      <a:pt x="669" y="169"/>
                    </a:lnTo>
                    <a:lnTo>
                      <a:pt x="667" y="171"/>
                    </a:lnTo>
                    <a:lnTo>
                      <a:pt x="669" y="171"/>
                    </a:lnTo>
                    <a:lnTo>
                      <a:pt x="667" y="171"/>
                    </a:lnTo>
                    <a:lnTo>
                      <a:pt x="669" y="171"/>
                    </a:lnTo>
                    <a:lnTo>
                      <a:pt x="667" y="171"/>
                    </a:lnTo>
                    <a:lnTo>
                      <a:pt x="665" y="171"/>
                    </a:lnTo>
                    <a:lnTo>
                      <a:pt x="667" y="171"/>
                    </a:lnTo>
                    <a:lnTo>
                      <a:pt x="665" y="171"/>
                    </a:lnTo>
                    <a:lnTo>
                      <a:pt x="667" y="171"/>
                    </a:lnTo>
                    <a:lnTo>
                      <a:pt x="665" y="171"/>
                    </a:lnTo>
                    <a:lnTo>
                      <a:pt x="665" y="169"/>
                    </a:lnTo>
                    <a:lnTo>
                      <a:pt x="665" y="171"/>
                    </a:lnTo>
                    <a:lnTo>
                      <a:pt x="665" y="169"/>
                    </a:lnTo>
                    <a:lnTo>
                      <a:pt x="665" y="171"/>
                    </a:lnTo>
                    <a:lnTo>
                      <a:pt x="663" y="171"/>
                    </a:lnTo>
                    <a:lnTo>
                      <a:pt x="663" y="169"/>
                    </a:lnTo>
                    <a:lnTo>
                      <a:pt x="663" y="171"/>
                    </a:lnTo>
                    <a:lnTo>
                      <a:pt x="661" y="171"/>
                    </a:lnTo>
                    <a:lnTo>
                      <a:pt x="661" y="169"/>
                    </a:lnTo>
                    <a:lnTo>
                      <a:pt x="661" y="171"/>
                    </a:lnTo>
                    <a:lnTo>
                      <a:pt x="661" y="169"/>
                    </a:lnTo>
                    <a:lnTo>
                      <a:pt x="660" y="169"/>
                    </a:lnTo>
                    <a:lnTo>
                      <a:pt x="658" y="169"/>
                    </a:lnTo>
                    <a:lnTo>
                      <a:pt x="658" y="168"/>
                    </a:lnTo>
                    <a:lnTo>
                      <a:pt x="656" y="168"/>
                    </a:lnTo>
                    <a:lnTo>
                      <a:pt x="654" y="168"/>
                    </a:lnTo>
                    <a:lnTo>
                      <a:pt x="654" y="166"/>
                    </a:lnTo>
                    <a:lnTo>
                      <a:pt x="654" y="168"/>
                    </a:lnTo>
                    <a:lnTo>
                      <a:pt x="652" y="166"/>
                    </a:lnTo>
                    <a:lnTo>
                      <a:pt x="650" y="166"/>
                    </a:lnTo>
                    <a:lnTo>
                      <a:pt x="648" y="166"/>
                    </a:lnTo>
                    <a:lnTo>
                      <a:pt x="646" y="166"/>
                    </a:lnTo>
                    <a:lnTo>
                      <a:pt x="642" y="164"/>
                    </a:lnTo>
                    <a:lnTo>
                      <a:pt x="640" y="164"/>
                    </a:lnTo>
                    <a:lnTo>
                      <a:pt x="639" y="164"/>
                    </a:lnTo>
                    <a:lnTo>
                      <a:pt x="637" y="164"/>
                    </a:lnTo>
                    <a:lnTo>
                      <a:pt x="637" y="162"/>
                    </a:lnTo>
                    <a:lnTo>
                      <a:pt x="635" y="162"/>
                    </a:lnTo>
                    <a:lnTo>
                      <a:pt x="633" y="162"/>
                    </a:lnTo>
                    <a:lnTo>
                      <a:pt x="633" y="160"/>
                    </a:lnTo>
                    <a:lnTo>
                      <a:pt x="633" y="162"/>
                    </a:lnTo>
                    <a:lnTo>
                      <a:pt x="631" y="160"/>
                    </a:lnTo>
                    <a:lnTo>
                      <a:pt x="629" y="160"/>
                    </a:lnTo>
                    <a:lnTo>
                      <a:pt x="631" y="158"/>
                    </a:lnTo>
                    <a:lnTo>
                      <a:pt x="629" y="158"/>
                    </a:lnTo>
                    <a:lnTo>
                      <a:pt x="631" y="158"/>
                    </a:lnTo>
                    <a:lnTo>
                      <a:pt x="631" y="156"/>
                    </a:lnTo>
                    <a:lnTo>
                      <a:pt x="633" y="156"/>
                    </a:lnTo>
                    <a:lnTo>
                      <a:pt x="631" y="156"/>
                    </a:lnTo>
                    <a:lnTo>
                      <a:pt x="633" y="156"/>
                    </a:lnTo>
                    <a:lnTo>
                      <a:pt x="633" y="158"/>
                    </a:lnTo>
                    <a:lnTo>
                      <a:pt x="633" y="156"/>
                    </a:lnTo>
                    <a:lnTo>
                      <a:pt x="635" y="156"/>
                    </a:lnTo>
                    <a:lnTo>
                      <a:pt x="633" y="156"/>
                    </a:lnTo>
                    <a:lnTo>
                      <a:pt x="631" y="156"/>
                    </a:lnTo>
                    <a:lnTo>
                      <a:pt x="629" y="156"/>
                    </a:lnTo>
                    <a:lnTo>
                      <a:pt x="629" y="158"/>
                    </a:lnTo>
                    <a:lnTo>
                      <a:pt x="627" y="158"/>
                    </a:lnTo>
                    <a:lnTo>
                      <a:pt x="627" y="156"/>
                    </a:lnTo>
                    <a:lnTo>
                      <a:pt x="625" y="156"/>
                    </a:lnTo>
                    <a:lnTo>
                      <a:pt x="623" y="156"/>
                    </a:lnTo>
                    <a:lnTo>
                      <a:pt x="625" y="158"/>
                    </a:lnTo>
                    <a:lnTo>
                      <a:pt x="623" y="158"/>
                    </a:lnTo>
                    <a:lnTo>
                      <a:pt x="623" y="156"/>
                    </a:lnTo>
                    <a:lnTo>
                      <a:pt x="621" y="156"/>
                    </a:lnTo>
                    <a:lnTo>
                      <a:pt x="623" y="154"/>
                    </a:lnTo>
                    <a:lnTo>
                      <a:pt x="621" y="154"/>
                    </a:lnTo>
                    <a:lnTo>
                      <a:pt x="621" y="152"/>
                    </a:lnTo>
                    <a:lnTo>
                      <a:pt x="621" y="154"/>
                    </a:lnTo>
                    <a:lnTo>
                      <a:pt x="621" y="152"/>
                    </a:lnTo>
                    <a:lnTo>
                      <a:pt x="621" y="154"/>
                    </a:lnTo>
                    <a:lnTo>
                      <a:pt x="619" y="154"/>
                    </a:lnTo>
                    <a:lnTo>
                      <a:pt x="618" y="154"/>
                    </a:lnTo>
                    <a:lnTo>
                      <a:pt x="618" y="152"/>
                    </a:lnTo>
                    <a:lnTo>
                      <a:pt x="619" y="154"/>
                    </a:lnTo>
                    <a:lnTo>
                      <a:pt x="618" y="152"/>
                    </a:lnTo>
                    <a:lnTo>
                      <a:pt x="618" y="150"/>
                    </a:lnTo>
                    <a:lnTo>
                      <a:pt x="616" y="150"/>
                    </a:lnTo>
                    <a:lnTo>
                      <a:pt x="618" y="152"/>
                    </a:lnTo>
                    <a:lnTo>
                      <a:pt x="616" y="152"/>
                    </a:lnTo>
                    <a:lnTo>
                      <a:pt x="614" y="152"/>
                    </a:lnTo>
                    <a:lnTo>
                      <a:pt x="616" y="150"/>
                    </a:lnTo>
                    <a:lnTo>
                      <a:pt x="614" y="148"/>
                    </a:lnTo>
                    <a:lnTo>
                      <a:pt x="616" y="148"/>
                    </a:lnTo>
                    <a:lnTo>
                      <a:pt x="614" y="147"/>
                    </a:lnTo>
                    <a:lnTo>
                      <a:pt x="614" y="148"/>
                    </a:lnTo>
                    <a:lnTo>
                      <a:pt x="612" y="148"/>
                    </a:lnTo>
                    <a:lnTo>
                      <a:pt x="612" y="147"/>
                    </a:lnTo>
                    <a:lnTo>
                      <a:pt x="612" y="148"/>
                    </a:lnTo>
                    <a:lnTo>
                      <a:pt x="610" y="148"/>
                    </a:lnTo>
                    <a:lnTo>
                      <a:pt x="612" y="148"/>
                    </a:lnTo>
                    <a:lnTo>
                      <a:pt x="614" y="150"/>
                    </a:lnTo>
                    <a:lnTo>
                      <a:pt x="612" y="150"/>
                    </a:lnTo>
                    <a:lnTo>
                      <a:pt x="610" y="152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0" y="156"/>
                    </a:lnTo>
                    <a:lnTo>
                      <a:pt x="608" y="158"/>
                    </a:lnTo>
                    <a:lnTo>
                      <a:pt x="604" y="158"/>
                    </a:lnTo>
                    <a:lnTo>
                      <a:pt x="604" y="160"/>
                    </a:lnTo>
                    <a:lnTo>
                      <a:pt x="602" y="158"/>
                    </a:lnTo>
                    <a:lnTo>
                      <a:pt x="600" y="156"/>
                    </a:lnTo>
                    <a:lnTo>
                      <a:pt x="600" y="154"/>
                    </a:lnTo>
                    <a:lnTo>
                      <a:pt x="598" y="152"/>
                    </a:lnTo>
                    <a:lnTo>
                      <a:pt x="600" y="150"/>
                    </a:lnTo>
                    <a:lnTo>
                      <a:pt x="602" y="152"/>
                    </a:lnTo>
                    <a:lnTo>
                      <a:pt x="602" y="150"/>
                    </a:lnTo>
                    <a:lnTo>
                      <a:pt x="602" y="148"/>
                    </a:lnTo>
                    <a:lnTo>
                      <a:pt x="600" y="148"/>
                    </a:lnTo>
                    <a:lnTo>
                      <a:pt x="600" y="147"/>
                    </a:lnTo>
                    <a:lnTo>
                      <a:pt x="600" y="145"/>
                    </a:lnTo>
                    <a:lnTo>
                      <a:pt x="600" y="147"/>
                    </a:lnTo>
                    <a:lnTo>
                      <a:pt x="600" y="145"/>
                    </a:lnTo>
                    <a:lnTo>
                      <a:pt x="598" y="147"/>
                    </a:lnTo>
                    <a:lnTo>
                      <a:pt x="598" y="145"/>
                    </a:lnTo>
                    <a:lnTo>
                      <a:pt x="597" y="145"/>
                    </a:lnTo>
                    <a:lnTo>
                      <a:pt x="598" y="145"/>
                    </a:lnTo>
                    <a:lnTo>
                      <a:pt x="597" y="145"/>
                    </a:lnTo>
                    <a:lnTo>
                      <a:pt x="597" y="143"/>
                    </a:lnTo>
                    <a:lnTo>
                      <a:pt x="597" y="145"/>
                    </a:lnTo>
                    <a:lnTo>
                      <a:pt x="597" y="143"/>
                    </a:lnTo>
                    <a:lnTo>
                      <a:pt x="595" y="141"/>
                    </a:lnTo>
                    <a:lnTo>
                      <a:pt x="593" y="141"/>
                    </a:lnTo>
                    <a:lnTo>
                      <a:pt x="591" y="141"/>
                    </a:lnTo>
                    <a:lnTo>
                      <a:pt x="591" y="139"/>
                    </a:lnTo>
                    <a:lnTo>
                      <a:pt x="591" y="141"/>
                    </a:lnTo>
                    <a:lnTo>
                      <a:pt x="589" y="141"/>
                    </a:lnTo>
                    <a:lnTo>
                      <a:pt x="589" y="139"/>
                    </a:lnTo>
                    <a:lnTo>
                      <a:pt x="589" y="141"/>
                    </a:lnTo>
                    <a:lnTo>
                      <a:pt x="587" y="139"/>
                    </a:lnTo>
                    <a:lnTo>
                      <a:pt x="587" y="141"/>
                    </a:lnTo>
                    <a:lnTo>
                      <a:pt x="587" y="139"/>
                    </a:lnTo>
                    <a:lnTo>
                      <a:pt x="589" y="139"/>
                    </a:lnTo>
                    <a:lnTo>
                      <a:pt x="587" y="139"/>
                    </a:lnTo>
                    <a:lnTo>
                      <a:pt x="589" y="139"/>
                    </a:lnTo>
                    <a:lnTo>
                      <a:pt x="589" y="137"/>
                    </a:lnTo>
                    <a:lnTo>
                      <a:pt x="587" y="137"/>
                    </a:lnTo>
                    <a:lnTo>
                      <a:pt x="589" y="137"/>
                    </a:lnTo>
                    <a:lnTo>
                      <a:pt x="591" y="137"/>
                    </a:lnTo>
                    <a:lnTo>
                      <a:pt x="589" y="137"/>
                    </a:lnTo>
                    <a:lnTo>
                      <a:pt x="591" y="135"/>
                    </a:lnTo>
                    <a:lnTo>
                      <a:pt x="593" y="135"/>
                    </a:lnTo>
                    <a:lnTo>
                      <a:pt x="595" y="137"/>
                    </a:lnTo>
                    <a:lnTo>
                      <a:pt x="597" y="137"/>
                    </a:lnTo>
                    <a:lnTo>
                      <a:pt x="598" y="137"/>
                    </a:lnTo>
                    <a:lnTo>
                      <a:pt x="598" y="139"/>
                    </a:lnTo>
                    <a:lnTo>
                      <a:pt x="600" y="139"/>
                    </a:lnTo>
                    <a:lnTo>
                      <a:pt x="600" y="137"/>
                    </a:lnTo>
                    <a:lnTo>
                      <a:pt x="602" y="135"/>
                    </a:lnTo>
                    <a:lnTo>
                      <a:pt x="604" y="133"/>
                    </a:lnTo>
                    <a:lnTo>
                      <a:pt x="606" y="133"/>
                    </a:lnTo>
                    <a:lnTo>
                      <a:pt x="606" y="131"/>
                    </a:lnTo>
                    <a:lnTo>
                      <a:pt x="608" y="133"/>
                    </a:lnTo>
                    <a:lnTo>
                      <a:pt x="610" y="133"/>
                    </a:lnTo>
                    <a:lnTo>
                      <a:pt x="610" y="135"/>
                    </a:lnTo>
                    <a:lnTo>
                      <a:pt x="610" y="133"/>
                    </a:lnTo>
                    <a:lnTo>
                      <a:pt x="610" y="135"/>
                    </a:lnTo>
                    <a:lnTo>
                      <a:pt x="610" y="133"/>
                    </a:lnTo>
                    <a:lnTo>
                      <a:pt x="612" y="135"/>
                    </a:lnTo>
                    <a:lnTo>
                      <a:pt x="612" y="133"/>
                    </a:lnTo>
                    <a:lnTo>
                      <a:pt x="612" y="135"/>
                    </a:lnTo>
                    <a:lnTo>
                      <a:pt x="614" y="133"/>
                    </a:lnTo>
                    <a:lnTo>
                      <a:pt x="614" y="135"/>
                    </a:lnTo>
                    <a:lnTo>
                      <a:pt x="614" y="137"/>
                    </a:lnTo>
                    <a:lnTo>
                      <a:pt x="616" y="135"/>
                    </a:lnTo>
                    <a:lnTo>
                      <a:pt x="614" y="133"/>
                    </a:lnTo>
                    <a:lnTo>
                      <a:pt x="616" y="133"/>
                    </a:lnTo>
                    <a:lnTo>
                      <a:pt x="616" y="135"/>
                    </a:lnTo>
                    <a:lnTo>
                      <a:pt x="616" y="133"/>
                    </a:lnTo>
                    <a:lnTo>
                      <a:pt x="618" y="133"/>
                    </a:lnTo>
                    <a:lnTo>
                      <a:pt x="619" y="133"/>
                    </a:lnTo>
                    <a:lnTo>
                      <a:pt x="619" y="131"/>
                    </a:lnTo>
                    <a:lnTo>
                      <a:pt x="618" y="131"/>
                    </a:lnTo>
                    <a:lnTo>
                      <a:pt x="618" y="129"/>
                    </a:lnTo>
                    <a:lnTo>
                      <a:pt x="619" y="129"/>
                    </a:lnTo>
                    <a:lnTo>
                      <a:pt x="619" y="127"/>
                    </a:lnTo>
                    <a:lnTo>
                      <a:pt x="618" y="127"/>
                    </a:lnTo>
                    <a:lnTo>
                      <a:pt x="619" y="127"/>
                    </a:lnTo>
                    <a:lnTo>
                      <a:pt x="619" y="126"/>
                    </a:lnTo>
                    <a:lnTo>
                      <a:pt x="619" y="127"/>
                    </a:lnTo>
                    <a:lnTo>
                      <a:pt x="618" y="126"/>
                    </a:lnTo>
                    <a:lnTo>
                      <a:pt x="618" y="127"/>
                    </a:lnTo>
                    <a:lnTo>
                      <a:pt x="618" y="126"/>
                    </a:lnTo>
                    <a:lnTo>
                      <a:pt x="618" y="127"/>
                    </a:lnTo>
                    <a:lnTo>
                      <a:pt x="618" y="126"/>
                    </a:lnTo>
                    <a:lnTo>
                      <a:pt x="618" y="127"/>
                    </a:lnTo>
                    <a:lnTo>
                      <a:pt x="616" y="127"/>
                    </a:lnTo>
                    <a:lnTo>
                      <a:pt x="614" y="129"/>
                    </a:lnTo>
                    <a:lnTo>
                      <a:pt x="614" y="127"/>
                    </a:lnTo>
                    <a:lnTo>
                      <a:pt x="612" y="129"/>
                    </a:lnTo>
                    <a:lnTo>
                      <a:pt x="612" y="127"/>
                    </a:lnTo>
                    <a:lnTo>
                      <a:pt x="612" y="129"/>
                    </a:lnTo>
                    <a:lnTo>
                      <a:pt x="610" y="129"/>
                    </a:lnTo>
                    <a:lnTo>
                      <a:pt x="608" y="129"/>
                    </a:lnTo>
                    <a:lnTo>
                      <a:pt x="608" y="127"/>
                    </a:lnTo>
                    <a:lnTo>
                      <a:pt x="608" y="129"/>
                    </a:lnTo>
                    <a:lnTo>
                      <a:pt x="608" y="127"/>
                    </a:lnTo>
                    <a:lnTo>
                      <a:pt x="608" y="129"/>
                    </a:lnTo>
                    <a:lnTo>
                      <a:pt x="606" y="127"/>
                    </a:lnTo>
                    <a:lnTo>
                      <a:pt x="604" y="129"/>
                    </a:lnTo>
                    <a:lnTo>
                      <a:pt x="602" y="129"/>
                    </a:lnTo>
                    <a:lnTo>
                      <a:pt x="600" y="129"/>
                    </a:lnTo>
                    <a:lnTo>
                      <a:pt x="598" y="129"/>
                    </a:lnTo>
                    <a:lnTo>
                      <a:pt x="597" y="129"/>
                    </a:lnTo>
                    <a:lnTo>
                      <a:pt x="597" y="127"/>
                    </a:lnTo>
                    <a:lnTo>
                      <a:pt x="593" y="129"/>
                    </a:lnTo>
                    <a:lnTo>
                      <a:pt x="591" y="127"/>
                    </a:lnTo>
                    <a:lnTo>
                      <a:pt x="589" y="127"/>
                    </a:lnTo>
                    <a:lnTo>
                      <a:pt x="589" y="126"/>
                    </a:lnTo>
                    <a:lnTo>
                      <a:pt x="589" y="124"/>
                    </a:lnTo>
                    <a:lnTo>
                      <a:pt x="589" y="126"/>
                    </a:lnTo>
                    <a:lnTo>
                      <a:pt x="587" y="126"/>
                    </a:lnTo>
                    <a:lnTo>
                      <a:pt x="587" y="124"/>
                    </a:lnTo>
                    <a:lnTo>
                      <a:pt x="587" y="122"/>
                    </a:lnTo>
                    <a:lnTo>
                      <a:pt x="587" y="124"/>
                    </a:lnTo>
                    <a:lnTo>
                      <a:pt x="587" y="122"/>
                    </a:lnTo>
                    <a:lnTo>
                      <a:pt x="589" y="120"/>
                    </a:lnTo>
                    <a:lnTo>
                      <a:pt x="589" y="122"/>
                    </a:lnTo>
                    <a:lnTo>
                      <a:pt x="587" y="120"/>
                    </a:lnTo>
                    <a:lnTo>
                      <a:pt x="589" y="120"/>
                    </a:lnTo>
                    <a:lnTo>
                      <a:pt x="587" y="120"/>
                    </a:lnTo>
                    <a:lnTo>
                      <a:pt x="585" y="120"/>
                    </a:lnTo>
                    <a:lnTo>
                      <a:pt x="587" y="118"/>
                    </a:lnTo>
                    <a:lnTo>
                      <a:pt x="585" y="118"/>
                    </a:lnTo>
                    <a:lnTo>
                      <a:pt x="585" y="120"/>
                    </a:lnTo>
                    <a:lnTo>
                      <a:pt x="585" y="118"/>
                    </a:lnTo>
                    <a:lnTo>
                      <a:pt x="583" y="118"/>
                    </a:lnTo>
                    <a:lnTo>
                      <a:pt x="583" y="116"/>
                    </a:lnTo>
                    <a:lnTo>
                      <a:pt x="581" y="116"/>
                    </a:lnTo>
                    <a:lnTo>
                      <a:pt x="583" y="116"/>
                    </a:lnTo>
                    <a:lnTo>
                      <a:pt x="581" y="116"/>
                    </a:lnTo>
                    <a:lnTo>
                      <a:pt x="581" y="118"/>
                    </a:lnTo>
                    <a:lnTo>
                      <a:pt x="579" y="116"/>
                    </a:lnTo>
                    <a:lnTo>
                      <a:pt x="579" y="118"/>
                    </a:lnTo>
                    <a:lnTo>
                      <a:pt x="578" y="116"/>
                    </a:lnTo>
                    <a:lnTo>
                      <a:pt x="578" y="114"/>
                    </a:lnTo>
                    <a:lnTo>
                      <a:pt x="578" y="116"/>
                    </a:lnTo>
                    <a:lnTo>
                      <a:pt x="576" y="116"/>
                    </a:lnTo>
                    <a:lnTo>
                      <a:pt x="578" y="116"/>
                    </a:lnTo>
                    <a:lnTo>
                      <a:pt x="576" y="118"/>
                    </a:lnTo>
                    <a:lnTo>
                      <a:pt x="574" y="116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2" y="116"/>
                    </a:lnTo>
                    <a:lnTo>
                      <a:pt x="572" y="114"/>
                    </a:lnTo>
                    <a:lnTo>
                      <a:pt x="574" y="114"/>
                    </a:lnTo>
                    <a:lnTo>
                      <a:pt x="574" y="112"/>
                    </a:lnTo>
                    <a:lnTo>
                      <a:pt x="576" y="110"/>
                    </a:lnTo>
                    <a:lnTo>
                      <a:pt x="576" y="108"/>
                    </a:lnTo>
                    <a:lnTo>
                      <a:pt x="578" y="108"/>
                    </a:lnTo>
                    <a:lnTo>
                      <a:pt x="576" y="108"/>
                    </a:lnTo>
                    <a:lnTo>
                      <a:pt x="576" y="106"/>
                    </a:lnTo>
                    <a:lnTo>
                      <a:pt x="578" y="106"/>
                    </a:lnTo>
                    <a:lnTo>
                      <a:pt x="579" y="106"/>
                    </a:lnTo>
                    <a:lnTo>
                      <a:pt x="579" y="105"/>
                    </a:lnTo>
                    <a:lnTo>
                      <a:pt x="581" y="105"/>
                    </a:lnTo>
                    <a:lnTo>
                      <a:pt x="579" y="106"/>
                    </a:lnTo>
                    <a:lnTo>
                      <a:pt x="581" y="105"/>
                    </a:lnTo>
                    <a:lnTo>
                      <a:pt x="583" y="105"/>
                    </a:lnTo>
                    <a:lnTo>
                      <a:pt x="585" y="105"/>
                    </a:lnTo>
                    <a:lnTo>
                      <a:pt x="587" y="105"/>
                    </a:lnTo>
                    <a:lnTo>
                      <a:pt x="587" y="103"/>
                    </a:lnTo>
                    <a:lnTo>
                      <a:pt x="589" y="103"/>
                    </a:lnTo>
                    <a:lnTo>
                      <a:pt x="589" y="101"/>
                    </a:lnTo>
                    <a:lnTo>
                      <a:pt x="591" y="101"/>
                    </a:lnTo>
                    <a:lnTo>
                      <a:pt x="593" y="101"/>
                    </a:lnTo>
                    <a:lnTo>
                      <a:pt x="593" y="99"/>
                    </a:lnTo>
                    <a:lnTo>
                      <a:pt x="595" y="99"/>
                    </a:lnTo>
                    <a:lnTo>
                      <a:pt x="598" y="99"/>
                    </a:lnTo>
                    <a:lnTo>
                      <a:pt x="600" y="99"/>
                    </a:lnTo>
                    <a:lnTo>
                      <a:pt x="600" y="101"/>
                    </a:lnTo>
                    <a:lnTo>
                      <a:pt x="602" y="101"/>
                    </a:lnTo>
                    <a:lnTo>
                      <a:pt x="604" y="101"/>
                    </a:lnTo>
                    <a:lnTo>
                      <a:pt x="604" y="103"/>
                    </a:lnTo>
                    <a:lnTo>
                      <a:pt x="604" y="101"/>
                    </a:lnTo>
                    <a:lnTo>
                      <a:pt x="604" y="103"/>
                    </a:lnTo>
                    <a:lnTo>
                      <a:pt x="606" y="103"/>
                    </a:lnTo>
                    <a:lnTo>
                      <a:pt x="608" y="103"/>
                    </a:lnTo>
                    <a:lnTo>
                      <a:pt x="608" y="105"/>
                    </a:lnTo>
                    <a:lnTo>
                      <a:pt x="610" y="105"/>
                    </a:lnTo>
                    <a:lnTo>
                      <a:pt x="612" y="105"/>
                    </a:lnTo>
                    <a:lnTo>
                      <a:pt x="616" y="105"/>
                    </a:lnTo>
                    <a:lnTo>
                      <a:pt x="618" y="105"/>
                    </a:lnTo>
                    <a:lnTo>
                      <a:pt x="619" y="105"/>
                    </a:lnTo>
                    <a:lnTo>
                      <a:pt x="619" y="106"/>
                    </a:lnTo>
                    <a:lnTo>
                      <a:pt x="621" y="106"/>
                    </a:lnTo>
                    <a:lnTo>
                      <a:pt x="621" y="108"/>
                    </a:lnTo>
                    <a:lnTo>
                      <a:pt x="621" y="106"/>
                    </a:lnTo>
                    <a:lnTo>
                      <a:pt x="621" y="108"/>
                    </a:lnTo>
                    <a:lnTo>
                      <a:pt x="621" y="106"/>
                    </a:lnTo>
                    <a:lnTo>
                      <a:pt x="619" y="106"/>
                    </a:lnTo>
                    <a:lnTo>
                      <a:pt x="619" y="108"/>
                    </a:lnTo>
                    <a:lnTo>
                      <a:pt x="621" y="110"/>
                    </a:lnTo>
                    <a:lnTo>
                      <a:pt x="621" y="112"/>
                    </a:lnTo>
                    <a:lnTo>
                      <a:pt x="623" y="112"/>
                    </a:lnTo>
                    <a:lnTo>
                      <a:pt x="623" y="114"/>
                    </a:lnTo>
                    <a:lnTo>
                      <a:pt x="623" y="116"/>
                    </a:lnTo>
                    <a:lnTo>
                      <a:pt x="623" y="118"/>
                    </a:lnTo>
                    <a:lnTo>
                      <a:pt x="621" y="120"/>
                    </a:lnTo>
                    <a:lnTo>
                      <a:pt x="621" y="122"/>
                    </a:lnTo>
                    <a:lnTo>
                      <a:pt x="621" y="124"/>
                    </a:lnTo>
                    <a:lnTo>
                      <a:pt x="621" y="126"/>
                    </a:lnTo>
                    <a:lnTo>
                      <a:pt x="621" y="127"/>
                    </a:lnTo>
                    <a:lnTo>
                      <a:pt x="621" y="129"/>
                    </a:lnTo>
                    <a:lnTo>
                      <a:pt x="623" y="131"/>
                    </a:lnTo>
                    <a:lnTo>
                      <a:pt x="623" y="133"/>
                    </a:lnTo>
                    <a:lnTo>
                      <a:pt x="623" y="131"/>
                    </a:lnTo>
                    <a:lnTo>
                      <a:pt x="623" y="133"/>
                    </a:lnTo>
                    <a:lnTo>
                      <a:pt x="625" y="133"/>
                    </a:lnTo>
                    <a:lnTo>
                      <a:pt x="623" y="133"/>
                    </a:lnTo>
                    <a:lnTo>
                      <a:pt x="625" y="133"/>
                    </a:lnTo>
                    <a:lnTo>
                      <a:pt x="625" y="135"/>
                    </a:lnTo>
                    <a:lnTo>
                      <a:pt x="625" y="137"/>
                    </a:lnTo>
                    <a:lnTo>
                      <a:pt x="627" y="139"/>
                    </a:lnTo>
                    <a:lnTo>
                      <a:pt x="627" y="137"/>
                    </a:lnTo>
                    <a:lnTo>
                      <a:pt x="627" y="135"/>
                    </a:lnTo>
                    <a:lnTo>
                      <a:pt x="627" y="133"/>
                    </a:lnTo>
                    <a:lnTo>
                      <a:pt x="629" y="133"/>
                    </a:lnTo>
                    <a:lnTo>
                      <a:pt x="627" y="133"/>
                    </a:lnTo>
                    <a:lnTo>
                      <a:pt x="629" y="133"/>
                    </a:lnTo>
                    <a:lnTo>
                      <a:pt x="627" y="133"/>
                    </a:lnTo>
                    <a:lnTo>
                      <a:pt x="629" y="133"/>
                    </a:lnTo>
                    <a:lnTo>
                      <a:pt x="631" y="135"/>
                    </a:lnTo>
                    <a:lnTo>
                      <a:pt x="631" y="137"/>
                    </a:lnTo>
                    <a:lnTo>
                      <a:pt x="631" y="139"/>
                    </a:lnTo>
                    <a:lnTo>
                      <a:pt x="631" y="141"/>
                    </a:lnTo>
                    <a:lnTo>
                      <a:pt x="633" y="141"/>
                    </a:lnTo>
                    <a:lnTo>
                      <a:pt x="633" y="139"/>
                    </a:lnTo>
                    <a:lnTo>
                      <a:pt x="633" y="141"/>
                    </a:lnTo>
                    <a:lnTo>
                      <a:pt x="633" y="143"/>
                    </a:lnTo>
                    <a:lnTo>
                      <a:pt x="633" y="145"/>
                    </a:lnTo>
                    <a:lnTo>
                      <a:pt x="635" y="145"/>
                    </a:lnTo>
                    <a:lnTo>
                      <a:pt x="635" y="147"/>
                    </a:lnTo>
                    <a:lnTo>
                      <a:pt x="637" y="147"/>
                    </a:lnTo>
                    <a:lnTo>
                      <a:pt x="639" y="147"/>
                    </a:lnTo>
                    <a:lnTo>
                      <a:pt x="640" y="148"/>
                    </a:lnTo>
                    <a:lnTo>
                      <a:pt x="642" y="147"/>
                    </a:lnTo>
                    <a:lnTo>
                      <a:pt x="644" y="147"/>
                    </a:lnTo>
                    <a:lnTo>
                      <a:pt x="644" y="145"/>
                    </a:lnTo>
                    <a:lnTo>
                      <a:pt x="646" y="143"/>
                    </a:lnTo>
                    <a:lnTo>
                      <a:pt x="648" y="143"/>
                    </a:lnTo>
                    <a:lnTo>
                      <a:pt x="646" y="143"/>
                    </a:lnTo>
                    <a:lnTo>
                      <a:pt x="648" y="143"/>
                    </a:lnTo>
                    <a:lnTo>
                      <a:pt x="648" y="141"/>
                    </a:lnTo>
                    <a:lnTo>
                      <a:pt x="648" y="143"/>
                    </a:lnTo>
                    <a:lnTo>
                      <a:pt x="648" y="141"/>
                    </a:lnTo>
                    <a:lnTo>
                      <a:pt x="650" y="141"/>
                    </a:lnTo>
                    <a:lnTo>
                      <a:pt x="650" y="139"/>
                    </a:lnTo>
                    <a:lnTo>
                      <a:pt x="650" y="141"/>
                    </a:lnTo>
                    <a:lnTo>
                      <a:pt x="650" y="139"/>
                    </a:lnTo>
                    <a:lnTo>
                      <a:pt x="650" y="137"/>
                    </a:lnTo>
                    <a:lnTo>
                      <a:pt x="652" y="137"/>
                    </a:lnTo>
                    <a:lnTo>
                      <a:pt x="652" y="135"/>
                    </a:lnTo>
                    <a:lnTo>
                      <a:pt x="654" y="135"/>
                    </a:lnTo>
                    <a:lnTo>
                      <a:pt x="656" y="135"/>
                    </a:lnTo>
                    <a:lnTo>
                      <a:pt x="656" y="133"/>
                    </a:lnTo>
                    <a:lnTo>
                      <a:pt x="656" y="131"/>
                    </a:lnTo>
                    <a:lnTo>
                      <a:pt x="658" y="131"/>
                    </a:lnTo>
                    <a:lnTo>
                      <a:pt x="656" y="129"/>
                    </a:lnTo>
                    <a:lnTo>
                      <a:pt x="658" y="129"/>
                    </a:lnTo>
                    <a:lnTo>
                      <a:pt x="660" y="127"/>
                    </a:lnTo>
                    <a:lnTo>
                      <a:pt x="660" y="129"/>
                    </a:lnTo>
                    <a:lnTo>
                      <a:pt x="661" y="129"/>
                    </a:lnTo>
                    <a:lnTo>
                      <a:pt x="663" y="129"/>
                    </a:lnTo>
                    <a:lnTo>
                      <a:pt x="665" y="127"/>
                    </a:lnTo>
                    <a:lnTo>
                      <a:pt x="663" y="127"/>
                    </a:lnTo>
                    <a:lnTo>
                      <a:pt x="665" y="127"/>
                    </a:lnTo>
                    <a:lnTo>
                      <a:pt x="663" y="127"/>
                    </a:lnTo>
                    <a:lnTo>
                      <a:pt x="665" y="127"/>
                    </a:lnTo>
                    <a:lnTo>
                      <a:pt x="667" y="127"/>
                    </a:lnTo>
                    <a:lnTo>
                      <a:pt x="669" y="127"/>
                    </a:lnTo>
                    <a:lnTo>
                      <a:pt x="671" y="127"/>
                    </a:lnTo>
                    <a:lnTo>
                      <a:pt x="671" y="126"/>
                    </a:lnTo>
                    <a:lnTo>
                      <a:pt x="671" y="124"/>
                    </a:lnTo>
                    <a:lnTo>
                      <a:pt x="669" y="122"/>
                    </a:lnTo>
                    <a:lnTo>
                      <a:pt x="671" y="122"/>
                    </a:lnTo>
                    <a:lnTo>
                      <a:pt x="673" y="120"/>
                    </a:lnTo>
                    <a:lnTo>
                      <a:pt x="675" y="120"/>
                    </a:lnTo>
                    <a:lnTo>
                      <a:pt x="679" y="118"/>
                    </a:lnTo>
                    <a:lnTo>
                      <a:pt x="680" y="118"/>
                    </a:lnTo>
                    <a:lnTo>
                      <a:pt x="680" y="116"/>
                    </a:lnTo>
                    <a:lnTo>
                      <a:pt x="682" y="116"/>
                    </a:lnTo>
                    <a:lnTo>
                      <a:pt x="682" y="118"/>
                    </a:lnTo>
                    <a:lnTo>
                      <a:pt x="684" y="120"/>
                    </a:lnTo>
                    <a:lnTo>
                      <a:pt x="686" y="120"/>
                    </a:lnTo>
                    <a:lnTo>
                      <a:pt x="688" y="120"/>
                    </a:lnTo>
                    <a:lnTo>
                      <a:pt x="694" y="122"/>
                    </a:lnTo>
                    <a:lnTo>
                      <a:pt x="696" y="124"/>
                    </a:lnTo>
                    <a:lnTo>
                      <a:pt x="698" y="126"/>
                    </a:lnTo>
                    <a:lnTo>
                      <a:pt x="698" y="124"/>
                    </a:lnTo>
                    <a:lnTo>
                      <a:pt x="700" y="126"/>
                    </a:lnTo>
                    <a:lnTo>
                      <a:pt x="701" y="126"/>
                    </a:lnTo>
                    <a:lnTo>
                      <a:pt x="703" y="127"/>
                    </a:lnTo>
                    <a:lnTo>
                      <a:pt x="705" y="127"/>
                    </a:lnTo>
                    <a:lnTo>
                      <a:pt x="711" y="131"/>
                    </a:lnTo>
                    <a:lnTo>
                      <a:pt x="713" y="131"/>
                    </a:lnTo>
                    <a:lnTo>
                      <a:pt x="715" y="131"/>
                    </a:lnTo>
                    <a:lnTo>
                      <a:pt x="717" y="131"/>
                    </a:lnTo>
                    <a:lnTo>
                      <a:pt x="719" y="131"/>
                    </a:lnTo>
                    <a:lnTo>
                      <a:pt x="721" y="131"/>
                    </a:lnTo>
                    <a:lnTo>
                      <a:pt x="721" y="133"/>
                    </a:lnTo>
                    <a:lnTo>
                      <a:pt x="721" y="131"/>
                    </a:lnTo>
                    <a:lnTo>
                      <a:pt x="722" y="131"/>
                    </a:lnTo>
                    <a:lnTo>
                      <a:pt x="722" y="133"/>
                    </a:lnTo>
                    <a:lnTo>
                      <a:pt x="722" y="131"/>
                    </a:lnTo>
                    <a:lnTo>
                      <a:pt x="724" y="133"/>
                    </a:lnTo>
                    <a:lnTo>
                      <a:pt x="726" y="133"/>
                    </a:lnTo>
                    <a:lnTo>
                      <a:pt x="726" y="135"/>
                    </a:lnTo>
                    <a:lnTo>
                      <a:pt x="728" y="135"/>
                    </a:lnTo>
                    <a:lnTo>
                      <a:pt x="730" y="135"/>
                    </a:lnTo>
                    <a:lnTo>
                      <a:pt x="732" y="135"/>
                    </a:lnTo>
                    <a:close/>
                    <a:moveTo>
                      <a:pt x="476" y="66"/>
                    </a:moveTo>
                    <a:lnTo>
                      <a:pt x="478" y="66"/>
                    </a:lnTo>
                    <a:lnTo>
                      <a:pt x="478" y="68"/>
                    </a:lnTo>
                    <a:lnTo>
                      <a:pt x="480" y="70"/>
                    </a:lnTo>
                    <a:lnTo>
                      <a:pt x="478" y="70"/>
                    </a:lnTo>
                    <a:lnTo>
                      <a:pt x="478" y="72"/>
                    </a:lnTo>
                    <a:lnTo>
                      <a:pt x="476" y="76"/>
                    </a:lnTo>
                    <a:lnTo>
                      <a:pt x="475" y="78"/>
                    </a:lnTo>
                    <a:lnTo>
                      <a:pt x="473" y="78"/>
                    </a:lnTo>
                    <a:lnTo>
                      <a:pt x="473" y="80"/>
                    </a:lnTo>
                    <a:lnTo>
                      <a:pt x="471" y="80"/>
                    </a:lnTo>
                    <a:lnTo>
                      <a:pt x="471" y="82"/>
                    </a:lnTo>
                    <a:lnTo>
                      <a:pt x="469" y="82"/>
                    </a:lnTo>
                    <a:lnTo>
                      <a:pt x="469" y="84"/>
                    </a:lnTo>
                    <a:lnTo>
                      <a:pt x="469" y="85"/>
                    </a:lnTo>
                    <a:lnTo>
                      <a:pt x="467" y="85"/>
                    </a:lnTo>
                    <a:lnTo>
                      <a:pt x="467" y="87"/>
                    </a:lnTo>
                    <a:lnTo>
                      <a:pt x="467" y="85"/>
                    </a:lnTo>
                    <a:lnTo>
                      <a:pt x="465" y="87"/>
                    </a:lnTo>
                    <a:lnTo>
                      <a:pt x="465" y="85"/>
                    </a:lnTo>
                    <a:lnTo>
                      <a:pt x="465" y="87"/>
                    </a:lnTo>
                    <a:lnTo>
                      <a:pt x="463" y="87"/>
                    </a:lnTo>
                    <a:lnTo>
                      <a:pt x="461" y="87"/>
                    </a:lnTo>
                    <a:lnTo>
                      <a:pt x="459" y="87"/>
                    </a:lnTo>
                    <a:lnTo>
                      <a:pt x="457" y="87"/>
                    </a:lnTo>
                    <a:lnTo>
                      <a:pt x="457" y="89"/>
                    </a:lnTo>
                    <a:lnTo>
                      <a:pt x="455" y="87"/>
                    </a:lnTo>
                    <a:lnTo>
                      <a:pt x="455" y="89"/>
                    </a:lnTo>
                    <a:lnTo>
                      <a:pt x="454" y="89"/>
                    </a:lnTo>
                    <a:lnTo>
                      <a:pt x="452" y="89"/>
                    </a:lnTo>
                    <a:lnTo>
                      <a:pt x="452" y="87"/>
                    </a:lnTo>
                    <a:lnTo>
                      <a:pt x="452" y="89"/>
                    </a:lnTo>
                    <a:lnTo>
                      <a:pt x="450" y="89"/>
                    </a:lnTo>
                    <a:lnTo>
                      <a:pt x="450" y="87"/>
                    </a:lnTo>
                    <a:lnTo>
                      <a:pt x="448" y="87"/>
                    </a:lnTo>
                    <a:lnTo>
                      <a:pt x="446" y="85"/>
                    </a:lnTo>
                    <a:lnTo>
                      <a:pt x="442" y="85"/>
                    </a:lnTo>
                    <a:lnTo>
                      <a:pt x="440" y="85"/>
                    </a:lnTo>
                    <a:lnTo>
                      <a:pt x="438" y="85"/>
                    </a:lnTo>
                    <a:lnTo>
                      <a:pt x="436" y="85"/>
                    </a:lnTo>
                    <a:lnTo>
                      <a:pt x="434" y="85"/>
                    </a:lnTo>
                    <a:lnTo>
                      <a:pt x="433" y="85"/>
                    </a:lnTo>
                    <a:lnTo>
                      <a:pt x="431" y="85"/>
                    </a:lnTo>
                    <a:lnTo>
                      <a:pt x="429" y="85"/>
                    </a:lnTo>
                    <a:lnTo>
                      <a:pt x="427" y="85"/>
                    </a:lnTo>
                    <a:lnTo>
                      <a:pt x="425" y="87"/>
                    </a:lnTo>
                    <a:lnTo>
                      <a:pt x="425" y="85"/>
                    </a:lnTo>
                    <a:lnTo>
                      <a:pt x="423" y="85"/>
                    </a:lnTo>
                    <a:lnTo>
                      <a:pt x="421" y="85"/>
                    </a:lnTo>
                    <a:lnTo>
                      <a:pt x="419" y="85"/>
                    </a:lnTo>
                    <a:lnTo>
                      <a:pt x="417" y="85"/>
                    </a:lnTo>
                    <a:lnTo>
                      <a:pt x="415" y="85"/>
                    </a:lnTo>
                    <a:lnTo>
                      <a:pt x="415" y="87"/>
                    </a:lnTo>
                    <a:lnTo>
                      <a:pt x="414" y="87"/>
                    </a:lnTo>
                    <a:lnTo>
                      <a:pt x="412" y="87"/>
                    </a:lnTo>
                    <a:lnTo>
                      <a:pt x="410" y="85"/>
                    </a:lnTo>
                    <a:lnTo>
                      <a:pt x="408" y="85"/>
                    </a:lnTo>
                    <a:lnTo>
                      <a:pt x="406" y="85"/>
                    </a:lnTo>
                    <a:lnTo>
                      <a:pt x="404" y="85"/>
                    </a:lnTo>
                    <a:lnTo>
                      <a:pt x="402" y="85"/>
                    </a:lnTo>
                    <a:lnTo>
                      <a:pt x="402" y="87"/>
                    </a:lnTo>
                    <a:lnTo>
                      <a:pt x="400" y="87"/>
                    </a:lnTo>
                    <a:lnTo>
                      <a:pt x="400" y="89"/>
                    </a:lnTo>
                    <a:lnTo>
                      <a:pt x="398" y="91"/>
                    </a:lnTo>
                    <a:lnTo>
                      <a:pt x="398" y="93"/>
                    </a:lnTo>
                    <a:lnTo>
                      <a:pt x="398" y="95"/>
                    </a:lnTo>
                    <a:lnTo>
                      <a:pt x="396" y="97"/>
                    </a:lnTo>
                    <a:lnTo>
                      <a:pt x="396" y="99"/>
                    </a:lnTo>
                    <a:lnTo>
                      <a:pt x="398" y="99"/>
                    </a:lnTo>
                    <a:lnTo>
                      <a:pt x="398" y="101"/>
                    </a:lnTo>
                    <a:lnTo>
                      <a:pt x="398" y="103"/>
                    </a:lnTo>
                    <a:lnTo>
                      <a:pt x="398" y="106"/>
                    </a:lnTo>
                    <a:lnTo>
                      <a:pt x="400" y="106"/>
                    </a:lnTo>
                    <a:lnTo>
                      <a:pt x="402" y="108"/>
                    </a:lnTo>
                    <a:lnTo>
                      <a:pt x="404" y="108"/>
                    </a:lnTo>
                    <a:lnTo>
                      <a:pt x="406" y="110"/>
                    </a:lnTo>
                    <a:lnTo>
                      <a:pt x="406" y="112"/>
                    </a:lnTo>
                    <a:lnTo>
                      <a:pt x="406" y="114"/>
                    </a:lnTo>
                    <a:lnTo>
                      <a:pt x="408" y="114"/>
                    </a:lnTo>
                    <a:lnTo>
                      <a:pt x="408" y="116"/>
                    </a:lnTo>
                    <a:lnTo>
                      <a:pt x="410" y="116"/>
                    </a:lnTo>
                    <a:lnTo>
                      <a:pt x="410" y="114"/>
                    </a:lnTo>
                    <a:lnTo>
                      <a:pt x="410" y="116"/>
                    </a:lnTo>
                    <a:lnTo>
                      <a:pt x="412" y="116"/>
                    </a:lnTo>
                    <a:lnTo>
                      <a:pt x="414" y="116"/>
                    </a:lnTo>
                    <a:lnTo>
                      <a:pt x="415" y="116"/>
                    </a:lnTo>
                    <a:lnTo>
                      <a:pt x="415" y="112"/>
                    </a:lnTo>
                    <a:lnTo>
                      <a:pt x="417" y="112"/>
                    </a:lnTo>
                    <a:lnTo>
                      <a:pt x="417" y="110"/>
                    </a:lnTo>
                    <a:lnTo>
                      <a:pt x="419" y="110"/>
                    </a:lnTo>
                    <a:lnTo>
                      <a:pt x="419" y="108"/>
                    </a:lnTo>
                    <a:lnTo>
                      <a:pt x="421" y="108"/>
                    </a:lnTo>
                    <a:lnTo>
                      <a:pt x="423" y="106"/>
                    </a:lnTo>
                    <a:lnTo>
                      <a:pt x="423" y="108"/>
                    </a:lnTo>
                    <a:lnTo>
                      <a:pt x="425" y="108"/>
                    </a:lnTo>
                    <a:lnTo>
                      <a:pt x="427" y="108"/>
                    </a:lnTo>
                    <a:lnTo>
                      <a:pt x="429" y="108"/>
                    </a:lnTo>
                    <a:lnTo>
                      <a:pt x="431" y="108"/>
                    </a:lnTo>
                    <a:lnTo>
                      <a:pt x="431" y="106"/>
                    </a:lnTo>
                    <a:lnTo>
                      <a:pt x="433" y="106"/>
                    </a:lnTo>
                    <a:lnTo>
                      <a:pt x="434" y="106"/>
                    </a:lnTo>
                    <a:lnTo>
                      <a:pt x="436" y="106"/>
                    </a:lnTo>
                    <a:lnTo>
                      <a:pt x="438" y="106"/>
                    </a:lnTo>
                    <a:lnTo>
                      <a:pt x="440" y="106"/>
                    </a:lnTo>
                    <a:lnTo>
                      <a:pt x="442" y="106"/>
                    </a:lnTo>
                    <a:lnTo>
                      <a:pt x="444" y="105"/>
                    </a:lnTo>
                    <a:lnTo>
                      <a:pt x="442" y="105"/>
                    </a:lnTo>
                    <a:lnTo>
                      <a:pt x="440" y="105"/>
                    </a:lnTo>
                    <a:lnTo>
                      <a:pt x="442" y="103"/>
                    </a:lnTo>
                    <a:lnTo>
                      <a:pt x="442" y="105"/>
                    </a:lnTo>
                    <a:lnTo>
                      <a:pt x="442" y="103"/>
                    </a:lnTo>
                    <a:lnTo>
                      <a:pt x="444" y="103"/>
                    </a:lnTo>
                    <a:lnTo>
                      <a:pt x="444" y="105"/>
                    </a:lnTo>
                    <a:lnTo>
                      <a:pt x="444" y="103"/>
                    </a:lnTo>
                    <a:lnTo>
                      <a:pt x="446" y="103"/>
                    </a:lnTo>
                    <a:lnTo>
                      <a:pt x="448" y="103"/>
                    </a:lnTo>
                    <a:lnTo>
                      <a:pt x="452" y="105"/>
                    </a:lnTo>
                    <a:lnTo>
                      <a:pt x="450" y="105"/>
                    </a:lnTo>
                    <a:lnTo>
                      <a:pt x="452" y="105"/>
                    </a:lnTo>
                    <a:lnTo>
                      <a:pt x="452" y="106"/>
                    </a:lnTo>
                    <a:lnTo>
                      <a:pt x="452" y="108"/>
                    </a:lnTo>
                    <a:lnTo>
                      <a:pt x="450" y="108"/>
                    </a:lnTo>
                    <a:lnTo>
                      <a:pt x="450" y="110"/>
                    </a:lnTo>
                    <a:lnTo>
                      <a:pt x="448" y="110"/>
                    </a:lnTo>
                    <a:lnTo>
                      <a:pt x="448" y="108"/>
                    </a:lnTo>
                    <a:lnTo>
                      <a:pt x="446" y="108"/>
                    </a:lnTo>
                    <a:lnTo>
                      <a:pt x="448" y="108"/>
                    </a:lnTo>
                    <a:lnTo>
                      <a:pt x="446" y="108"/>
                    </a:lnTo>
                    <a:lnTo>
                      <a:pt x="448" y="108"/>
                    </a:lnTo>
                    <a:lnTo>
                      <a:pt x="446" y="106"/>
                    </a:lnTo>
                    <a:lnTo>
                      <a:pt x="446" y="108"/>
                    </a:lnTo>
                    <a:lnTo>
                      <a:pt x="446" y="106"/>
                    </a:lnTo>
                    <a:lnTo>
                      <a:pt x="444" y="108"/>
                    </a:lnTo>
                    <a:lnTo>
                      <a:pt x="446" y="108"/>
                    </a:lnTo>
                    <a:lnTo>
                      <a:pt x="444" y="108"/>
                    </a:lnTo>
                    <a:lnTo>
                      <a:pt x="442" y="108"/>
                    </a:lnTo>
                    <a:lnTo>
                      <a:pt x="442" y="110"/>
                    </a:lnTo>
                    <a:lnTo>
                      <a:pt x="440" y="110"/>
                    </a:lnTo>
                    <a:lnTo>
                      <a:pt x="440" y="112"/>
                    </a:lnTo>
                    <a:lnTo>
                      <a:pt x="438" y="112"/>
                    </a:lnTo>
                    <a:lnTo>
                      <a:pt x="438" y="114"/>
                    </a:lnTo>
                    <a:lnTo>
                      <a:pt x="436" y="114"/>
                    </a:lnTo>
                    <a:lnTo>
                      <a:pt x="436" y="116"/>
                    </a:lnTo>
                    <a:lnTo>
                      <a:pt x="434" y="116"/>
                    </a:lnTo>
                    <a:lnTo>
                      <a:pt x="434" y="118"/>
                    </a:lnTo>
                    <a:lnTo>
                      <a:pt x="433" y="120"/>
                    </a:lnTo>
                    <a:lnTo>
                      <a:pt x="431" y="120"/>
                    </a:lnTo>
                    <a:lnTo>
                      <a:pt x="429" y="120"/>
                    </a:lnTo>
                    <a:lnTo>
                      <a:pt x="427" y="120"/>
                    </a:lnTo>
                    <a:lnTo>
                      <a:pt x="425" y="122"/>
                    </a:lnTo>
                    <a:lnTo>
                      <a:pt x="425" y="124"/>
                    </a:lnTo>
                    <a:lnTo>
                      <a:pt x="423" y="124"/>
                    </a:lnTo>
                    <a:lnTo>
                      <a:pt x="423" y="126"/>
                    </a:lnTo>
                    <a:lnTo>
                      <a:pt x="421" y="124"/>
                    </a:lnTo>
                    <a:lnTo>
                      <a:pt x="419" y="124"/>
                    </a:lnTo>
                    <a:lnTo>
                      <a:pt x="421" y="124"/>
                    </a:lnTo>
                    <a:lnTo>
                      <a:pt x="419" y="124"/>
                    </a:lnTo>
                    <a:lnTo>
                      <a:pt x="421" y="122"/>
                    </a:lnTo>
                    <a:lnTo>
                      <a:pt x="419" y="122"/>
                    </a:lnTo>
                    <a:lnTo>
                      <a:pt x="417" y="122"/>
                    </a:lnTo>
                    <a:lnTo>
                      <a:pt x="417" y="124"/>
                    </a:lnTo>
                    <a:lnTo>
                      <a:pt x="419" y="124"/>
                    </a:lnTo>
                    <a:lnTo>
                      <a:pt x="417" y="124"/>
                    </a:lnTo>
                    <a:lnTo>
                      <a:pt x="419" y="124"/>
                    </a:lnTo>
                    <a:lnTo>
                      <a:pt x="417" y="124"/>
                    </a:lnTo>
                    <a:lnTo>
                      <a:pt x="419" y="124"/>
                    </a:lnTo>
                    <a:lnTo>
                      <a:pt x="417" y="126"/>
                    </a:lnTo>
                    <a:lnTo>
                      <a:pt x="419" y="126"/>
                    </a:lnTo>
                    <a:lnTo>
                      <a:pt x="419" y="124"/>
                    </a:lnTo>
                    <a:lnTo>
                      <a:pt x="419" y="126"/>
                    </a:lnTo>
                    <a:lnTo>
                      <a:pt x="421" y="126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5" y="129"/>
                    </a:lnTo>
                    <a:lnTo>
                      <a:pt x="427" y="129"/>
                    </a:lnTo>
                    <a:lnTo>
                      <a:pt x="427" y="131"/>
                    </a:lnTo>
                    <a:lnTo>
                      <a:pt x="429" y="133"/>
                    </a:lnTo>
                    <a:lnTo>
                      <a:pt x="429" y="135"/>
                    </a:lnTo>
                    <a:lnTo>
                      <a:pt x="429" y="137"/>
                    </a:lnTo>
                    <a:lnTo>
                      <a:pt x="431" y="137"/>
                    </a:lnTo>
                    <a:lnTo>
                      <a:pt x="431" y="139"/>
                    </a:lnTo>
                    <a:lnTo>
                      <a:pt x="433" y="139"/>
                    </a:lnTo>
                    <a:lnTo>
                      <a:pt x="434" y="139"/>
                    </a:lnTo>
                    <a:lnTo>
                      <a:pt x="434" y="141"/>
                    </a:lnTo>
                    <a:lnTo>
                      <a:pt x="433" y="141"/>
                    </a:lnTo>
                    <a:lnTo>
                      <a:pt x="434" y="143"/>
                    </a:lnTo>
                    <a:lnTo>
                      <a:pt x="436" y="143"/>
                    </a:lnTo>
                    <a:lnTo>
                      <a:pt x="436" y="145"/>
                    </a:lnTo>
                    <a:lnTo>
                      <a:pt x="436" y="143"/>
                    </a:lnTo>
                    <a:lnTo>
                      <a:pt x="436" y="145"/>
                    </a:lnTo>
                    <a:lnTo>
                      <a:pt x="436" y="147"/>
                    </a:lnTo>
                    <a:lnTo>
                      <a:pt x="434" y="145"/>
                    </a:lnTo>
                    <a:lnTo>
                      <a:pt x="433" y="147"/>
                    </a:lnTo>
                    <a:lnTo>
                      <a:pt x="434" y="147"/>
                    </a:lnTo>
                    <a:lnTo>
                      <a:pt x="434" y="148"/>
                    </a:lnTo>
                    <a:lnTo>
                      <a:pt x="434" y="147"/>
                    </a:lnTo>
                    <a:lnTo>
                      <a:pt x="433" y="147"/>
                    </a:lnTo>
                    <a:lnTo>
                      <a:pt x="433" y="148"/>
                    </a:lnTo>
                    <a:lnTo>
                      <a:pt x="433" y="147"/>
                    </a:lnTo>
                    <a:lnTo>
                      <a:pt x="433" y="148"/>
                    </a:lnTo>
                    <a:lnTo>
                      <a:pt x="433" y="150"/>
                    </a:lnTo>
                    <a:lnTo>
                      <a:pt x="433" y="152"/>
                    </a:lnTo>
                    <a:lnTo>
                      <a:pt x="434" y="152"/>
                    </a:lnTo>
                    <a:lnTo>
                      <a:pt x="436" y="152"/>
                    </a:lnTo>
                    <a:lnTo>
                      <a:pt x="436" y="154"/>
                    </a:lnTo>
                    <a:lnTo>
                      <a:pt x="436" y="156"/>
                    </a:lnTo>
                    <a:lnTo>
                      <a:pt x="438" y="156"/>
                    </a:lnTo>
                    <a:lnTo>
                      <a:pt x="440" y="156"/>
                    </a:lnTo>
                    <a:lnTo>
                      <a:pt x="438" y="156"/>
                    </a:lnTo>
                    <a:lnTo>
                      <a:pt x="436" y="156"/>
                    </a:lnTo>
                    <a:lnTo>
                      <a:pt x="438" y="156"/>
                    </a:lnTo>
                    <a:lnTo>
                      <a:pt x="438" y="158"/>
                    </a:lnTo>
                    <a:lnTo>
                      <a:pt x="440" y="158"/>
                    </a:lnTo>
                    <a:lnTo>
                      <a:pt x="438" y="158"/>
                    </a:lnTo>
                    <a:lnTo>
                      <a:pt x="438" y="160"/>
                    </a:lnTo>
                    <a:lnTo>
                      <a:pt x="440" y="160"/>
                    </a:lnTo>
                    <a:lnTo>
                      <a:pt x="442" y="160"/>
                    </a:lnTo>
                    <a:lnTo>
                      <a:pt x="442" y="158"/>
                    </a:lnTo>
                    <a:lnTo>
                      <a:pt x="440" y="158"/>
                    </a:lnTo>
                    <a:lnTo>
                      <a:pt x="442" y="158"/>
                    </a:lnTo>
                    <a:lnTo>
                      <a:pt x="442" y="160"/>
                    </a:lnTo>
                    <a:lnTo>
                      <a:pt x="444" y="160"/>
                    </a:lnTo>
                    <a:lnTo>
                      <a:pt x="442" y="162"/>
                    </a:lnTo>
                    <a:lnTo>
                      <a:pt x="444" y="162"/>
                    </a:lnTo>
                    <a:lnTo>
                      <a:pt x="442" y="162"/>
                    </a:lnTo>
                    <a:lnTo>
                      <a:pt x="442" y="164"/>
                    </a:lnTo>
                    <a:lnTo>
                      <a:pt x="440" y="164"/>
                    </a:lnTo>
                    <a:lnTo>
                      <a:pt x="440" y="162"/>
                    </a:lnTo>
                    <a:lnTo>
                      <a:pt x="438" y="162"/>
                    </a:lnTo>
                    <a:lnTo>
                      <a:pt x="438" y="164"/>
                    </a:lnTo>
                    <a:lnTo>
                      <a:pt x="440" y="164"/>
                    </a:lnTo>
                    <a:lnTo>
                      <a:pt x="440" y="166"/>
                    </a:lnTo>
                    <a:lnTo>
                      <a:pt x="440" y="164"/>
                    </a:lnTo>
                    <a:lnTo>
                      <a:pt x="440" y="166"/>
                    </a:lnTo>
                    <a:lnTo>
                      <a:pt x="438" y="164"/>
                    </a:lnTo>
                    <a:lnTo>
                      <a:pt x="436" y="164"/>
                    </a:lnTo>
                    <a:lnTo>
                      <a:pt x="434" y="164"/>
                    </a:lnTo>
                    <a:lnTo>
                      <a:pt x="434" y="166"/>
                    </a:lnTo>
                    <a:lnTo>
                      <a:pt x="433" y="166"/>
                    </a:lnTo>
                    <a:lnTo>
                      <a:pt x="431" y="166"/>
                    </a:lnTo>
                    <a:lnTo>
                      <a:pt x="429" y="168"/>
                    </a:lnTo>
                    <a:lnTo>
                      <a:pt x="429" y="169"/>
                    </a:lnTo>
                    <a:lnTo>
                      <a:pt x="431" y="169"/>
                    </a:lnTo>
                    <a:lnTo>
                      <a:pt x="429" y="171"/>
                    </a:lnTo>
                    <a:lnTo>
                      <a:pt x="427" y="171"/>
                    </a:lnTo>
                    <a:lnTo>
                      <a:pt x="425" y="171"/>
                    </a:lnTo>
                    <a:lnTo>
                      <a:pt x="423" y="171"/>
                    </a:lnTo>
                    <a:lnTo>
                      <a:pt x="423" y="169"/>
                    </a:lnTo>
                    <a:lnTo>
                      <a:pt x="421" y="169"/>
                    </a:lnTo>
                    <a:lnTo>
                      <a:pt x="421" y="168"/>
                    </a:lnTo>
                    <a:lnTo>
                      <a:pt x="421" y="164"/>
                    </a:lnTo>
                    <a:lnTo>
                      <a:pt x="421" y="162"/>
                    </a:lnTo>
                    <a:lnTo>
                      <a:pt x="423" y="160"/>
                    </a:lnTo>
                    <a:lnTo>
                      <a:pt x="423" y="158"/>
                    </a:lnTo>
                    <a:lnTo>
                      <a:pt x="421" y="158"/>
                    </a:lnTo>
                    <a:lnTo>
                      <a:pt x="419" y="158"/>
                    </a:lnTo>
                    <a:lnTo>
                      <a:pt x="419" y="156"/>
                    </a:lnTo>
                    <a:lnTo>
                      <a:pt x="417" y="156"/>
                    </a:lnTo>
                    <a:lnTo>
                      <a:pt x="417" y="154"/>
                    </a:lnTo>
                    <a:lnTo>
                      <a:pt x="415" y="154"/>
                    </a:lnTo>
                    <a:lnTo>
                      <a:pt x="414" y="152"/>
                    </a:lnTo>
                    <a:lnTo>
                      <a:pt x="412" y="150"/>
                    </a:lnTo>
                    <a:lnTo>
                      <a:pt x="412" y="148"/>
                    </a:lnTo>
                    <a:lnTo>
                      <a:pt x="412" y="147"/>
                    </a:lnTo>
                    <a:lnTo>
                      <a:pt x="412" y="145"/>
                    </a:lnTo>
                    <a:lnTo>
                      <a:pt x="414" y="145"/>
                    </a:lnTo>
                    <a:lnTo>
                      <a:pt x="414" y="143"/>
                    </a:lnTo>
                    <a:lnTo>
                      <a:pt x="414" y="141"/>
                    </a:lnTo>
                    <a:lnTo>
                      <a:pt x="414" y="139"/>
                    </a:lnTo>
                    <a:lnTo>
                      <a:pt x="412" y="139"/>
                    </a:lnTo>
                    <a:lnTo>
                      <a:pt x="414" y="139"/>
                    </a:lnTo>
                    <a:lnTo>
                      <a:pt x="414" y="137"/>
                    </a:lnTo>
                    <a:lnTo>
                      <a:pt x="414" y="135"/>
                    </a:lnTo>
                    <a:lnTo>
                      <a:pt x="414" y="137"/>
                    </a:lnTo>
                    <a:lnTo>
                      <a:pt x="412" y="135"/>
                    </a:lnTo>
                    <a:lnTo>
                      <a:pt x="410" y="135"/>
                    </a:lnTo>
                    <a:lnTo>
                      <a:pt x="408" y="135"/>
                    </a:lnTo>
                    <a:lnTo>
                      <a:pt x="408" y="137"/>
                    </a:lnTo>
                    <a:lnTo>
                      <a:pt x="406" y="137"/>
                    </a:lnTo>
                    <a:lnTo>
                      <a:pt x="404" y="139"/>
                    </a:lnTo>
                    <a:lnTo>
                      <a:pt x="402" y="139"/>
                    </a:lnTo>
                    <a:lnTo>
                      <a:pt x="400" y="141"/>
                    </a:lnTo>
                    <a:lnTo>
                      <a:pt x="400" y="143"/>
                    </a:lnTo>
                    <a:lnTo>
                      <a:pt x="400" y="145"/>
                    </a:lnTo>
                    <a:lnTo>
                      <a:pt x="402" y="145"/>
                    </a:lnTo>
                    <a:lnTo>
                      <a:pt x="404" y="145"/>
                    </a:lnTo>
                    <a:lnTo>
                      <a:pt x="404" y="147"/>
                    </a:lnTo>
                    <a:lnTo>
                      <a:pt x="404" y="148"/>
                    </a:lnTo>
                    <a:lnTo>
                      <a:pt x="402" y="148"/>
                    </a:lnTo>
                    <a:lnTo>
                      <a:pt x="404" y="150"/>
                    </a:lnTo>
                    <a:lnTo>
                      <a:pt x="404" y="152"/>
                    </a:lnTo>
                    <a:lnTo>
                      <a:pt x="402" y="154"/>
                    </a:lnTo>
                    <a:lnTo>
                      <a:pt x="402" y="156"/>
                    </a:lnTo>
                    <a:lnTo>
                      <a:pt x="402" y="158"/>
                    </a:lnTo>
                    <a:lnTo>
                      <a:pt x="402" y="160"/>
                    </a:lnTo>
                    <a:lnTo>
                      <a:pt x="402" y="162"/>
                    </a:lnTo>
                    <a:lnTo>
                      <a:pt x="404" y="162"/>
                    </a:lnTo>
                    <a:lnTo>
                      <a:pt x="402" y="164"/>
                    </a:lnTo>
                    <a:lnTo>
                      <a:pt x="404" y="166"/>
                    </a:lnTo>
                    <a:lnTo>
                      <a:pt x="402" y="166"/>
                    </a:lnTo>
                    <a:lnTo>
                      <a:pt x="404" y="168"/>
                    </a:lnTo>
                    <a:lnTo>
                      <a:pt x="404" y="169"/>
                    </a:lnTo>
                    <a:lnTo>
                      <a:pt x="402" y="171"/>
                    </a:lnTo>
                    <a:lnTo>
                      <a:pt x="402" y="173"/>
                    </a:lnTo>
                    <a:lnTo>
                      <a:pt x="402" y="175"/>
                    </a:lnTo>
                    <a:lnTo>
                      <a:pt x="402" y="179"/>
                    </a:lnTo>
                    <a:lnTo>
                      <a:pt x="404" y="179"/>
                    </a:lnTo>
                    <a:lnTo>
                      <a:pt x="404" y="181"/>
                    </a:lnTo>
                    <a:lnTo>
                      <a:pt x="404" y="183"/>
                    </a:lnTo>
                    <a:lnTo>
                      <a:pt x="402" y="181"/>
                    </a:lnTo>
                    <a:lnTo>
                      <a:pt x="400" y="181"/>
                    </a:lnTo>
                    <a:lnTo>
                      <a:pt x="398" y="183"/>
                    </a:lnTo>
                    <a:lnTo>
                      <a:pt x="396" y="181"/>
                    </a:lnTo>
                    <a:lnTo>
                      <a:pt x="394" y="183"/>
                    </a:lnTo>
                    <a:lnTo>
                      <a:pt x="394" y="185"/>
                    </a:lnTo>
                    <a:lnTo>
                      <a:pt x="394" y="183"/>
                    </a:lnTo>
                    <a:lnTo>
                      <a:pt x="393" y="185"/>
                    </a:lnTo>
                    <a:lnTo>
                      <a:pt x="391" y="185"/>
                    </a:lnTo>
                    <a:lnTo>
                      <a:pt x="391" y="183"/>
                    </a:lnTo>
                    <a:lnTo>
                      <a:pt x="389" y="183"/>
                    </a:lnTo>
                    <a:lnTo>
                      <a:pt x="391" y="183"/>
                    </a:lnTo>
                    <a:lnTo>
                      <a:pt x="389" y="183"/>
                    </a:lnTo>
                    <a:lnTo>
                      <a:pt x="389" y="181"/>
                    </a:lnTo>
                    <a:lnTo>
                      <a:pt x="389" y="183"/>
                    </a:lnTo>
                    <a:lnTo>
                      <a:pt x="387" y="183"/>
                    </a:lnTo>
                    <a:lnTo>
                      <a:pt x="389" y="181"/>
                    </a:lnTo>
                    <a:lnTo>
                      <a:pt x="387" y="181"/>
                    </a:lnTo>
                    <a:lnTo>
                      <a:pt x="389" y="181"/>
                    </a:lnTo>
                    <a:lnTo>
                      <a:pt x="387" y="181"/>
                    </a:lnTo>
                    <a:lnTo>
                      <a:pt x="387" y="179"/>
                    </a:lnTo>
                    <a:lnTo>
                      <a:pt x="387" y="177"/>
                    </a:lnTo>
                    <a:lnTo>
                      <a:pt x="387" y="175"/>
                    </a:lnTo>
                    <a:lnTo>
                      <a:pt x="389" y="175"/>
                    </a:lnTo>
                    <a:lnTo>
                      <a:pt x="389" y="173"/>
                    </a:lnTo>
                    <a:lnTo>
                      <a:pt x="389" y="171"/>
                    </a:lnTo>
                    <a:lnTo>
                      <a:pt x="389" y="169"/>
                    </a:lnTo>
                    <a:lnTo>
                      <a:pt x="389" y="168"/>
                    </a:lnTo>
                    <a:lnTo>
                      <a:pt x="391" y="166"/>
                    </a:lnTo>
                    <a:lnTo>
                      <a:pt x="391" y="164"/>
                    </a:lnTo>
                    <a:lnTo>
                      <a:pt x="391" y="162"/>
                    </a:lnTo>
                    <a:lnTo>
                      <a:pt x="391" y="160"/>
                    </a:lnTo>
                    <a:lnTo>
                      <a:pt x="391" y="158"/>
                    </a:lnTo>
                    <a:lnTo>
                      <a:pt x="391" y="156"/>
                    </a:lnTo>
                    <a:lnTo>
                      <a:pt x="391" y="158"/>
                    </a:lnTo>
                    <a:lnTo>
                      <a:pt x="391" y="156"/>
                    </a:lnTo>
                    <a:lnTo>
                      <a:pt x="389" y="156"/>
                    </a:lnTo>
                    <a:lnTo>
                      <a:pt x="389" y="154"/>
                    </a:lnTo>
                    <a:lnTo>
                      <a:pt x="389" y="152"/>
                    </a:lnTo>
                    <a:lnTo>
                      <a:pt x="389" y="150"/>
                    </a:lnTo>
                    <a:lnTo>
                      <a:pt x="389" y="148"/>
                    </a:lnTo>
                    <a:lnTo>
                      <a:pt x="387" y="148"/>
                    </a:lnTo>
                    <a:lnTo>
                      <a:pt x="385" y="148"/>
                    </a:lnTo>
                    <a:lnTo>
                      <a:pt x="383" y="148"/>
                    </a:lnTo>
                    <a:lnTo>
                      <a:pt x="383" y="150"/>
                    </a:lnTo>
                    <a:lnTo>
                      <a:pt x="383" y="148"/>
                    </a:lnTo>
                    <a:lnTo>
                      <a:pt x="381" y="150"/>
                    </a:lnTo>
                    <a:lnTo>
                      <a:pt x="379" y="150"/>
                    </a:lnTo>
                    <a:lnTo>
                      <a:pt x="379" y="148"/>
                    </a:lnTo>
                    <a:lnTo>
                      <a:pt x="379" y="147"/>
                    </a:lnTo>
                    <a:lnTo>
                      <a:pt x="379" y="145"/>
                    </a:lnTo>
                    <a:lnTo>
                      <a:pt x="377" y="143"/>
                    </a:lnTo>
                    <a:lnTo>
                      <a:pt x="379" y="143"/>
                    </a:lnTo>
                    <a:lnTo>
                      <a:pt x="379" y="141"/>
                    </a:lnTo>
                    <a:lnTo>
                      <a:pt x="379" y="139"/>
                    </a:lnTo>
                    <a:lnTo>
                      <a:pt x="377" y="139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9" y="137"/>
                    </a:lnTo>
                    <a:lnTo>
                      <a:pt x="379" y="135"/>
                    </a:lnTo>
                    <a:lnTo>
                      <a:pt x="381" y="135"/>
                    </a:lnTo>
                    <a:lnTo>
                      <a:pt x="381" y="133"/>
                    </a:lnTo>
                    <a:lnTo>
                      <a:pt x="383" y="133"/>
                    </a:lnTo>
                    <a:lnTo>
                      <a:pt x="383" y="131"/>
                    </a:lnTo>
                    <a:lnTo>
                      <a:pt x="383" y="129"/>
                    </a:lnTo>
                    <a:lnTo>
                      <a:pt x="383" y="127"/>
                    </a:lnTo>
                    <a:lnTo>
                      <a:pt x="385" y="127"/>
                    </a:lnTo>
                    <a:lnTo>
                      <a:pt x="385" y="126"/>
                    </a:lnTo>
                    <a:lnTo>
                      <a:pt x="385" y="124"/>
                    </a:lnTo>
                    <a:lnTo>
                      <a:pt x="387" y="126"/>
                    </a:lnTo>
                    <a:lnTo>
                      <a:pt x="387" y="124"/>
                    </a:lnTo>
                    <a:lnTo>
                      <a:pt x="387" y="122"/>
                    </a:lnTo>
                    <a:lnTo>
                      <a:pt x="385" y="120"/>
                    </a:lnTo>
                    <a:lnTo>
                      <a:pt x="387" y="120"/>
                    </a:lnTo>
                    <a:lnTo>
                      <a:pt x="385" y="120"/>
                    </a:lnTo>
                    <a:lnTo>
                      <a:pt x="387" y="118"/>
                    </a:lnTo>
                    <a:lnTo>
                      <a:pt x="385" y="116"/>
                    </a:lnTo>
                    <a:lnTo>
                      <a:pt x="387" y="114"/>
                    </a:lnTo>
                    <a:lnTo>
                      <a:pt x="385" y="114"/>
                    </a:lnTo>
                    <a:lnTo>
                      <a:pt x="387" y="112"/>
                    </a:lnTo>
                    <a:lnTo>
                      <a:pt x="389" y="110"/>
                    </a:lnTo>
                    <a:lnTo>
                      <a:pt x="389" y="106"/>
                    </a:lnTo>
                    <a:lnTo>
                      <a:pt x="391" y="106"/>
                    </a:lnTo>
                    <a:lnTo>
                      <a:pt x="393" y="106"/>
                    </a:lnTo>
                    <a:lnTo>
                      <a:pt x="393" y="105"/>
                    </a:lnTo>
                    <a:lnTo>
                      <a:pt x="391" y="105"/>
                    </a:lnTo>
                    <a:lnTo>
                      <a:pt x="393" y="105"/>
                    </a:lnTo>
                    <a:lnTo>
                      <a:pt x="394" y="108"/>
                    </a:lnTo>
                    <a:lnTo>
                      <a:pt x="394" y="106"/>
                    </a:lnTo>
                    <a:lnTo>
                      <a:pt x="394" y="105"/>
                    </a:lnTo>
                    <a:lnTo>
                      <a:pt x="393" y="101"/>
                    </a:lnTo>
                    <a:lnTo>
                      <a:pt x="393" y="99"/>
                    </a:lnTo>
                    <a:lnTo>
                      <a:pt x="394" y="97"/>
                    </a:lnTo>
                    <a:lnTo>
                      <a:pt x="394" y="95"/>
                    </a:lnTo>
                    <a:lnTo>
                      <a:pt x="393" y="95"/>
                    </a:lnTo>
                    <a:lnTo>
                      <a:pt x="391" y="95"/>
                    </a:lnTo>
                    <a:lnTo>
                      <a:pt x="391" y="93"/>
                    </a:lnTo>
                    <a:lnTo>
                      <a:pt x="393" y="93"/>
                    </a:lnTo>
                    <a:lnTo>
                      <a:pt x="393" y="95"/>
                    </a:lnTo>
                    <a:lnTo>
                      <a:pt x="394" y="95"/>
                    </a:lnTo>
                    <a:lnTo>
                      <a:pt x="394" y="93"/>
                    </a:lnTo>
                    <a:lnTo>
                      <a:pt x="394" y="91"/>
                    </a:lnTo>
                    <a:lnTo>
                      <a:pt x="393" y="91"/>
                    </a:lnTo>
                    <a:lnTo>
                      <a:pt x="393" y="89"/>
                    </a:lnTo>
                    <a:lnTo>
                      <a:pt x="394" y="89"/>
                    </a:lnTo>
                    <a:lnTo>
                      <a:pt x="394" y="87"/>
                    </a:lnTo>
                    <a:lnTo>
                      <a:pt x="394" y="85"/>
                    </a:lnTo>
                    <a:lnTo>
                      <a:pt x="396" y="85"/>
                    </a:lnTo>
                    <a:lnTo>
                      <a:pt x="398" y="85"/>
                    </a:lnTo>
                    <a:lnTo>
                      <a:pt x="396" y="84"/>
                    </a:lnTo>
                    <a:lnTo>
                      <a:pt x="398" y="82"/>
                    </a:lnTo>
                    <a:lnTo>
                      <a:pt x="400" y="82"/>
                    </a:lnTo>
                    <a:lnTo>
                      <a:pt x="400" y="78"/>
                    </a:lnTo>
                    <a:lnTo>
                      <a:pt x="402" y="78"/>
                    </a:lnTo>
                    <a:lnTo>
                      <a:pt x="402" y="80"/>
                    </a:lnTo>
                    <a:lnTo>
                      <a:pt x="404" y="82"/>
                    </a:lnTo>
                    <a:lnTo>
                      <a:pt x="406" y="82"/>
                    </a:lnTo>
                    <a:lnTo>
                      <a:pt x="406" y="80"/>
                    </a:lnTo>
                    <a:lnTo>
                      <a:pt x="408" y="80"/>
                    </a:lnTo>
                    <a:lnTo>
                      <a:pt x="408" y="78"/>
                    </a:lnTo>
                    <a:lnTo>
                      <a:pt x="410" y="78"/>
                    </a:lnTo>
                    <a:lnTo>
                      <a:pt x="410" y="76"/>
                    </a:lnTo>
                    <a:lnTo>
                      <a:pt x="410" y="74"/>
                    </a:lnTo>
                    <a:lnTo>
                      <a:pt x="410" y="76"/>
                    </a:lnTo>
                    <a:lnTo>
                      <a:pt x="410" y="74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14" y="72"/>
                    </a:lnTo>
                    <a:lnTo>
                      <a:pt x="417" y="74"/>
                    </a:lnTo>
                    <a:lnTo>
                      <a:pt x="419" y="74"/>
                    </a:lnTo>
                    <a:lnTo>
                      <a:pt x="419" y="72"/>
                    </a:lnTo>
                    <a:lnTo>
                      <a:pt x="421" y="74"/>
                    </a:lnTo>
                    <a:lnTo>
                      <a:pt x="419" y="74"/>
                    </a:lnTo>
                    <a:lnTo>
                      <a:pt x="419" y="76"/>
                    </a:lnTo>
                    <a:lnTo>
                      <a:pt x="421" y="76"/>
                    </a:lnTo>
                    <a:lnTo>
                      <a:pt x="423" y="76"/>
                    </a:lnTo>
                    <a:lnTo>
                      <a:pt x="423" y="78"/>
                    </a:lnTo>
                    <a:lnTo>
                      <a:pt x="423" y="76"/>
                    </a:lnTo>
                    <a:lnTo>
                      <a:pt x="425" y="78"/>
                    </a:lnTo>
                    <a:lnTo>
                      <a:pt x="423" y="76"/>
                    </a:lnTo>
                    <a:lnTo>
                      <a:pt x="425" y="76"/>
                    </a:lnTo>
                    <a:lnTo>
                      <a:pt x="427" y="76"/>
                    </a:lnTo>
                    <a:lnTo>
                      <a:pt x="429" y="76"/>
                    </a:lnTo>
                    <a:lnTo>
                      <a:pt x="429" y="78"/>
                    </a:lnTo>
                    <a:lnTo>
                      <a:pt x="429" y="76"/>
                    </a:lnTo>
                    <a:lnTo>
                      <a:pt x="431" y="76"/>
                    </a:lnTo>
                    <a:lnTo>
                      <a:pt x="431" y="78"/>
                    </a:lnTo>
                    <a:lnTo>
                      <a:pt x="433" y="76"/>
                    </a:lnTo>
                    <a:lnTo>
                      <a:pt x="433" y="78"/>
                    </a:lnTo>
                    <a:lnTo>
                      <a:pt x="434" y="78"/>
                    </a:lnTo>
                    <a:lnTo>
                      <a:pt x="434" y="76"/>
                    </a:lnTo>
                    <a:lnTo>
                      <a:pt x="434" y="78"/>
                    </a:lnTo>
                    <a:lnTo>
                      <a:pt x="436" y="78"/>
                    </a:lnTo>
                    <a:lnTo>
                      <a:pt x="438" y="78"/>
                    </a:lnTo>
                    <a:lnTo>
                      <a:pt x="440" y="80"/>
                    </a:lnTo>
                    <a:lnTo>
                      <a:pt x="442" y="80"/>
                    </a:lnTo>
                    <a:lnTo>
                      <a:pt x="444" y="80"/>
                    </a:lnTo>
                    <a:lnTo>
                      <a:pt x="444" y="78"/>
                    </a:lnTo>
                    <a:lnTo>
                      <a:pt x="446" y="78"/>
                    </a:lnTo>
                    <a:lnTo>
                      <a:pt x="446" y="80"/>
                    </a:lnTo>
                    <a:lnTo>
                      <a:pt x="446" y="78"/>
                    </a:lnTo>
                    <a:lnTo>
                      <a:pt x="446" y="80"/>
                    </a:lnTo>
                    <a:lnTo>
                      <a:pt x="446" y="78"/>
                    </a:lnTo>
                    <a:lnTo>
                      <a:pt x="448" y="80"/>
                    </a:lnTo>
                    <a:lnTo>
                      <a:pt x="448" y="78"/>
                    </a:lnTo>
                    <a:lnTo>
                      <a:pt x="448" y="80"/>
                    </a:lnTo>
                    <a:lnTo>
                      <a:pt x="450" y="78"/>
                    </a:lnTo>
                    <a:lnTo>
                      <a:pt x="450" y="80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5" y="80"/>
                    </a:lnTo>
                    <a:lnTo>
                      <a:pt x="457" y="80"/>
                    </a:lnTo>
                    <a:lnTo>
                      <a:pt x="459" y="80"/>
                    </a:lnTo>
                    <a:lnTo>
                      <a:pt x="461" y="78"/>
                    </a:lnTo>
                    <a:lnTo>
                      <a:pt x="463" y="78"/>
                    </a:lnTo>
                    <a:lnTo>
                      <a:pt x="465" y="78"/>
                    </a:lnTo>
                    <a:lnTo>
                      <a:pt x="467" y="76"/>
                    </a:lnTo>
                    <a:lnTo>
                      <a:pt x="467" y="74"/>
                    </a:lnTo>
                    <a:lnTo>
                      <a:pt x="469" y="74"/>
                    </a:lnTo>
                    <a:lnTo>
                      <a:pt x="471" y="74"/>
                    </a:lnTo>
                    <a:lnTo>
                      <a:pt x="469" y="72"/>
                    </a:lnTo>
                    <a:lnTo>
                      <a:pt x="469" y="74"/>
                    </a:lnTo>
                    <a:lnTo>
                      <a:pt x="469" y="72"/>
                    </a:lnTo>
                    <a:lnTo>
                      <a:pt x="471" y="70"/>
                    </a:lnTo>
                    <a:lnTo>
                      <a:pt x="471" y="72"/>
                    </a:lnTo>
                    <a:lnTo>
                      <a:pt x="473" y="70"/>
                    </a:lnTo>
                    <a:lnTo>
                      <a:pt x="475" y="70"/>
                    </a:lnTo>
                    <a:lnTo>
                      <a:pt x="473" y="68"/>
                    </a:lnTo>
                    <a:lnTo>
                      <a:pt x="475" y="68"/>
                    </a:lnTo>
                    <a:lnTo>
                      <a:pt x="475" y="66"/>
                    </a:lnTo>
                    <a:lnTo>
                      <a:pt x="476" y="66"/>
                    </a:lnTo>
                    <a:close/>
                    <a:moveTo>
                      <a:pt x="175" y="187"/>
                    </a:moveTo>
                    <a:lnTo>
                      <a:pt x="175" y="188"/>
                    </a:lnTo>
                    <a:lnTo>
                      <a:pt x="177" y="188"/>
                    </a:lnTo>
                    <a:lnTo>
                      <a:pt x="177" y="190"/>
                    </a:lnTo>
                    <a:lnTo>
                      <a:pt x="177" y="188"/>
                    </a:lnTo>
                    <a:lnTo>
                      <a:pt x="179" y="188"/>
                    </a:lnTo>
                    <a:lnTo>
                      <a:pt x="181" y="188"/>
                    </a:lnTo>
                    <a:lnTo>
                      <a:pt x="181" y="190"/>
                    </a:lnTo>
                    <a:lnTo>
                      <a:pt x="183" y="190"/>
                    </a:lnTo>
                    <a:lnTo>
                      <a:pt x="183" y="188"/>
                    </a:lnTo>
                    <a:lnTo>
                      <a:pt x="183" y="190"/>
                    </a:lnTo>
                    <a:lnTo>
                      <a:pt x="185" y="188"/>
                    </a:lnTo>
                    <a:lnTo>
                      <a:pt x="185" y="190"/>
                    </a:lnTo>
                    <a:lnTo>
                      <a:pt x="187" y="190"/>
                    </a:lnTo>
                    <a:lnTo>
                      <a:pt x="189" y="190"/>
                    </a:lnTo>
                    <a:lnTo>
                      <a:pt x="190" y="190"/>
                    </a:lnTo>
                    <a:lnTo>
                      <a:pt x="190" y="188"/>
                    </a:lnTo>
                    <a:lnTo>
                      <a:pt x="190" y="190"/>
                    </a:lnTo>
                    <a:lnTo>
                      <a:pt x="190" y="188"/>
                    </a:lnTo>
                    <a:lnTo>
                      <a:pt x="192" y="188"/>
                    </a:lnTo>
                    <a:lnTo>
                      <a:pt x="194" y="188"/>
                    </a:lnTo>
                    <a:lnTo>
                      <a:pt x="196" y="188"/>
                    </a:lnTo>
                    <a:lnTo>
                      <a:pt x="198" y="192"/>
                    </a:lnTo>
                    <a:lnTo>
                      <a:pt x="200" y="192"/>
                    </a:lnTo>
                    <a:lnTo>
                      <a:pt x="202" y="192"/>
                    </a:lnTo>
                    <a:lnTo>
                      <a:pt x="204" y="192"/>
                    </a:lnTo>
                    <a:lnTo>
                      <a:pt x="206" y="194"/>
                    </a:lnTo>
                    <a:lnTo>
                      <a:pt x="208" y="194"/>
                    </a:lnTo>
                    <a:lnTo>
                      <a:pt x="209" y="194"/>
                    </a:lnTo>
                    <a:lnTo>
                      <a:pt x="209" y="192"/>
                    </a:lnTo>
                    <a:lnTo>
                      <a:pt x="211" y="192"/>
                    </a:lnTo>
                    <a:lnTo>
                      <a:pt x="211" y="194"/>
                    </a:lnTo>
                    <a:lnTo>
                      <a:pt x="211" y="192"/>
                    </a:lnTo>
                    <a:lnTo>
                      <a:pt x="211" y="194"/>
                    </a:lnTo>
                    <a:lnTo>
                      <a:pt x="213" y="196"/>
                    </a:lnTo>
                    <a:lnTo>
                      <a:pt x="215" y="196"/>
                    </a:lnTo>
                    <a:lnTo>
                      <a:pt x="215" y="200"/>
                    </a:lnTo>
                    <a:lnTo>
                      <a:pt x="215" y="202"/>
                    </a:lnTo>
                    <a:lnTo>
                      <a:pt x="217" y="202"/>
                    </a:lnTo>
                    <a:lnTo>
                      <a:pt x="219" y="202"/>
                    </a:lnTo>
                    <a:lnTo>
                      <a:pt x="221" y="202"/>
                    </a:lnTo>
                    <a:lnTo>
                      <a:pt x="223" y="202"/>
                    </a:lnTo>
                    <a:lnTo>
                      <a:pt x="227" y="204"/>
                    </a:lnTo>
                    <a:lnTo>
                      <a:pt x="229" y="202"/>
                    </a:lnTo>
                    <a:lnTo>
                      <a:pt x="230" y="202"/>
                    </a:lnTo>
                    <a:lnTo>
                      <a:pt x="232" y="202"/>
                    </a:lnTo>
                    <a:lnTo>
                      <a:pt x="236" y="204"/>
                    </a:lnTo>
                    <a:lnTo>
                      <a:pt x="238" y="204"/>
                    </a:lnTo>
                    <a:lnTo>
                      <a:pt x="240" y="204"/>
                    </a:lnTo>
                    <a:lnTo>
                      <a:pt x="240" y="202"/>
                    </a:lnTo>
                    <a:lnTo>
                      <a:pt x="242" y="204"/>
                    </a:lnTo>
                    <a:lnTo>
                      <a:pt x="244" y="204"/>
                    </a:lnTo>
                    <a:lnTo>
                      <a:pt x="246" y="204"/>
                    </a:lnTo>
                    <a:lnTo>
                      <a:pt x="246" y="202"/>
                    </a:lnTo>
                    <a:lnTo>
                      <a:pt x="248" y="202"/>
                    </a:lnTo>
                    <a:lnTo>
                      <a:pt x="246" y="202"/>
                    </a:lnTo>
                    <a:lnTo>
                      <a:pt x="248" y="202"/>
                    </a:ln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198"/>
                    </a:lnTo>
                    <a:lnTo>
                      <a:pt x="250" y="198"/>
                    </a:lnTo>
                    <a:lnTo>
                      <a:pt x="248" y="198"/>
                    </a:lnTo>
                    <a:lnTo>
                      <a:pt x="250" y="196"/>
                    </a:lnTo>
                    <a:lnTo>
                      <a:pt x="251" y="196"/>
                    </a:lnTo>
                    <a:lnTo>
                      <a:pt x="253" y="196"/>
                    </a:lnTo>
                    <a:lnTo>
                      <a:pt x="255" y="196"/>
                    </a:lnTo>
                    <a:lnTo>
                      <a:pt x="255" y="198"/>
                    </a:lnTo>
                    <a:lnTo>
                      <a:pt x="255" y="200"/>
                    </a:lnTo>
                    <a:lnTo>
                      <a:pt x="257" y="200"/>
                    </a:lnTo>
                    <a:lnTo>
                      <a:pt x="259" y="200"/>
                    </a:lnTo>
                    <a:lnTo>
                      <a:pt x="261" y="200"/>
                    </a:lnTo>
                    <a:lnTo>
                      <a:pt x="263" y="200"/>
                    </a:lnTo>
                    <a:lnTo>
                      <a:pt x="265" y="202"/>
                    </a:lnTo>
                    <a:lnTo>
                      <a:pt x="267" y="202"/>
                    </a:lnTo>
                    <a:lnTo>
                      <a:pt x="269" y="202"/>
                    </a:lnTo>
                    <a:lnTo>
                      <a:pt x="270" y="204"/>
                    </a:lnTo>
                    <a:lnTo>
                      <a:pt x="272" y="204"/>
                    </a:lnTo>
                    <a:lnTo>
                      <a:pt x="274" y="204"/>
                    </a:lnTo>
                    <a:lnTo>
                      <a:pt x="276" y="204"/>
                    </a:lnTo>
                    <a:lnTo>
                      <a:pt x="278" y="204"/>
                    </a:lnTo>
                    <a:lnTo>
                      <a:pt x="278" y="202"/>
                    </a:lnTo>
                    <a:lnTo>
                      <a:pt x="278" y="204"/>
                    </a:lnTo>
                    <a:lnTo>
                      <a:pt x="280" y="204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80" y="209"/>
                    </a:lnTo>
                    <a:lnTo>
                      <a:pt x="282" y="209"/>
                    </a:lnTo>
                    <a:lnTo>
                      <a:pt x="280" y="208"/>
                    </a:lnTo>
                    <a:lnTo>
                      <a:pt x="282" y="208"/>
                    </a:lnTo>
                    <a:lnTo>
                      <a:pt x="282" y="209"/>
                    </a:lnTo>
                    <a:lnTo>
                      <a:pt x="284" y="209"/>
                    </a:lnTo>
                    <a:lnTo>
                      <a:pt x="282" y="211"/>
                    </a:lnTo>
                    <a:lnTo>
                      <a:pt x="284" y="211"/>
                    </a:lnTo>
                    <a:lnTo>
                      <a:pt x="284" y="213"/>
                    </a:lnTo>
                    <a:lnTo>
                      <a:pt x="282" y="213"/>
                    </a:lnTo>
                    <a:lnTo>
                      <a:pt x="284" y="213"/>
                    </a:lnTo>
                    <a:lnTo>
                      <a:pt x="284" y="215"/>
                    </a:lnTo>
                    <a:lnTo>
                      <a:pt x="284" y="213"/>
                    </a:lnTo>
                    <a:lnTo>
                      <a:pt x="284" y="215"/>
                    </a:lnTo>
                    <a:lnTo>
                      <a:pt x="286" y="215"/>
                    </a:lnTo>
                    <a:lnTo>
                      <a:pt x="288" y="217"/>
                    </a:lnTo>
                    <a:lnTo>
                      <a:pt x="290" y="217"/>
                    </a:lnTo>
                    <a:lnTo>
                      <a:pt x="291" y="217"/>
                    </a:lnTo>
                    <a:lnTo>
                      <a:pt x="293" y="217"/>
                    </a:lnTo>
                    <a:lnTo>
                      <a:pt x="295" y="217"/>
                    </a:lnTo>
                    <a:lnTo>
                      <a:pt x="297" y="217"/>
                    </a:lnTo>
                    <a:lnTo>
                      <a:pt x="299" y="217"/>
                    </a:lnTo>
                    <a:lnTo>
                      <a:pt x="299" y="215"/>
                    </a:lnTo>
                    <a:lnTo>
                      <a:pt x="301" y="217"/>
                    </a:lnTo>
                    <a:lnTo>
                      <a:pt x="301" y="215"/>
                    </a:lnTo>
                    <a:lnTo>
                      <a:pt x="303" y="215"/>
                    </a:lnTo>
                    <a:lnTo>
                      <a:pt x="303" y="217"/>
                    </a:lnTo>
                    <a:lnTo>
                      <a:pt x="305" y="217"/>
                    </a:lnTo>
                    <a:lnTo>
                      <a:pt x="307" y="217"/>
                    </a:lnTo>
                    <a:lnTo>
                      <a:pt x="309" y="217"/>
                    </a:lnTo>
                    <a:lnTo>
                      <a:pt x="309" y="219"/>
                    </a:lnTo>
                    <a:lnTo>
                      <a:pt x="309" y="221"/>
                    </a:lnTo>
                    <a:lnTo>
                      <a:pt x="309" y="223"/>
                    </a:lnTo>
                    <a:lnTo>
                      <a:pt x="307" y="225"/>
                    </a:lnTo>
                    <a:lnTo>
                      <a:pt x="309" y="225"/>
                    </a:lnTo>
                    <a:lnTo>
                      <a:pt x="307" y="225"/>
                    </a:lnTo>
                    <a:lnTo>
                      <a:pt x="307" y="229"/>
                    </a:lnTo>
                    <a:lnTo>
                      <a:pt x="307" y="230"/>
                    </a:lnTo>
                    <a:lnTo>
                      <a:pt x="307" y="229"/>
                    </a:lnTo>
                    <a:lnTo>
                      <a:pt x="309" y="229"/>
                    </a:lnTo>
                    <a:lnTo>
                      <a:pt x="309" y="230"/>
                    </a:lnTo>
                    <a:lnTo>
                      <a:pt x="311" y="232"/>
                    </a:lnTo>
                    <a:lnTo>
                      <a:pt x="311" y="234"/>
                    </a:lnTo>
                    <a:lnTo>
                      <a:pt x="309" y="232"/>
                    </a:lnTo>
                    <a:lnTo>
                      <a:pt x="307" y="232"/>
                    </a:lnTo>
                    <a:lnTo>
                      <a:pt x="307" y="230"/>
                    </a:lnTo>
                    <a:lnTo>
                      <a:pt x="305" y="230"/>
                    </a:lnTo>
                    <a:lnTo>
                      <a:pt x="307" y="230"/>
                    </a:lnTo>
                    <a:lnTo>
                      <a:pt x="305" y="230"/>
                    </a:lnTo>
                    <a:lnTo>
                      <a:pt x="305" y="232"/>
                    </a:lnTo>
                    <a:lnTo>
                      <a:pt x="303" y="230"/>
                    </a:lnTo>
                    <a:lnTo>
                      <a:pt x="303" y="232"/>
                    </a:lnTo>
                    <a:lnTo>
                      <a:pt x="303" y="230"/>
                    </a:lnTo>
                    <a:lnTo>
                      <a:pt x="301" y="230"/>
                    </a:lnTo>
                    <a:lnTo>
                      <a:pt x="299" y="230"/>
                    </a:lnTo>
                    <a:lnTo>
                      <a:pt x="299" y="229"/>
                    </a:lnTo>
                    <a:lnTo>
                      <a:pt x="297" y="229"/>
                    </a:lnTo>
                    <a:lnTo>
                      <a:pt x="297" y="230"/>
                    </a:lnTo>
                    <a:lnTo>
                      <a:pt x="297" y="229"/>
                    </a:lnTo>
                    <a:lnTo>
                      <a:pt x="297" y="230"/>
                    </a:lnTo>
                    <a:lnTo>
                      <a:pt x="297" y="229"/>
                    </a:lnTo>
                    <a:lnTo>
                      <a:pt x="295" y="229"/>
                    </a:lnTo>
                    <a:lnTo>
                      <a:pt x="293" y="229"/>
                    </a:lnTo>
                    <a:lnTo>
                      <a:pt x="293" y="227"/>
                    </a:lnTo>
                    <a:lnTo>
                      <a:pt x="291" y="227"/>
                    </a:lnTo>
                    <a:lnTo>
                      <a:pt x="290" y="227"/>
                    </a:lnTo>
                    <a:lnTo>
                      <a:pt x="288" y="227"/>
                    </a:lnTo>
                    <a:lnTo>
                      <a:pt x="286" y="227"/>
                    </a:lnTo>
                    <a:lnTo>
                      <a:pt x="284" y="227"/>
                    </a:lnTo>
                    <a:lnTo>
                      <a:pt x="284" y="229"/>
                    </a:lnTo>
                    <a:lnTo>
                      <a:pt x="284" y="227"/>
                    </a:lnTo>
                    <a:lnTo>
                      <a:pt x="284" y="229"/>
                    </a:lnTo>
                    <a:lnTo>
                      <a:pt x="284" y="227"/>
                    </a:lnTo>
                    <a:lnTo>
                      <a:pt x="282" y="229"/>
                    </a:lnTo>
                    <a:lnTo>
                      <a:pt x="282" y="227"/>
                    </a:lnTo>
                    <a:lnTo>
                      <a:pt x="282" y="229"/>
                    </a:lnTo>
                    <a:lnTo>
                      <a:pt x="280" y="229"/>
                    </a:lnTo>
                    <a:lnTo>
                      <a:pt x="278" y="227"/>
                    </a:lnTo>
                    <a:lnTo>
                      <a:pt x="276" y="227"/>
                    </a:lnTo>
                    <a:lnTo>
                      <a:pt x="274" y="227"/>
                    </a:lnTo>
                    <a:lnTo>
                      <a:pt x="272" y="227"/>
                    </a:lnTo>
                    <a:lnTo>
                      <a:pt x="270" y="227"/>
                    </a:lnTo>
                    <a:lnTo>
                      <a:pt x="269" y="225"/>
                    </a:lnTo>
                    <a:lnTo>
                      <a:pt x="269" y="227"/>
                    </a:lnTo>
                    <a:lnTo>
                      <a:pt x="267" y="225"/>
                    </a:lnTo>
                    <a:lnTo>
                      <a:pt x="267" y="227"/>
                    </a:lnTo>
                    <a:lnTo>
                      <a:pt x="265" y="227"/>
                    </a:lnTo>
                    <a:lnTo>
                      <a:pt x="263" y="227"/>
                    </a:lnTo>
                    <a:lnTo>
                      <a:pt x="265" y="227"/>
                    </a:lnTo>
                    <a:lnTo>
                      <a:pt x="263" y="227"/>
                    </a:lnTo>
                    <a:lnTo>
                      <a:pt x="261" y="227"/>
                    </a:lnTo>
                    <a:lnTo>
                      <a:pt x="261" y="225"/>
                    </a:lnTo>
                    <a:lnTo>
                      <a:pt x="259" y="225"/>
                    </a:lnTo>
                    <a:lnTo>
                      <a:pt x="257" y="225"/>
                    </a:lnTo>
                    <a:lnTo>
                      <a:pt x="257" y="227"/>
                    </a:lnTo>
                    <a:lnTo>
                      <a:pt x="255" y="225"/>
                    </a:lnTo>
                    <a:lnTo>
                      <a:pt x="253" y="225"/>
                    </a:lnTo>
                    <a:lnTo>
                      <a:pt x="251" y="225"/>
                    </a:lnTo>
                    <a:lnTo>
                      <a:pt x="250" y="225"/>
                    </a:lnTo>
                    <a:lnTo>
                      <a:pt x="244" y="223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38" y="219"/>
                    </a:lnTo>
                    <a:lnTo>
                      <a:pt x="236" y="219"/>
                    </a:lnTo>
                    <a:lnTo>
                      <a:pt x="232" y="217"/>
                    </a:lnTo>
                    <a:lnTo>
                      <a:pt x="229" y="217"/>
                    </a:lnTo>
                    <a:lnTo>
                      <a:pt x="225" y="215"/>
                    </a:lnTo>
                    <a:lnTo>
                      <a:pt x="225" y="217"/>
                    </a:lnTo>
                    <a:lnTo>
                      <a:pt x="223" y="215"/>
                    </a:lnTo>
                    <a:lnTo>
                      <a:pt x="223" y="217"/>
                    </a:lnTo>
                    <a:lnTo>
                      <a:pt x="221" y="217"/>
                    </a:lnTo>
                    <a:lnTo>
                      <a:pt x="223" y="215"/>
                    </a:lnTo>
                    <a:lnTo>
                      <a:pt x="221" y="215"/>
                    </a:lnTo>
                    <a:lnTo>
                      <a:pt x="223" y="215"/>
                    </a:lnTo>
                    <a:lnTo>
                      <a:pt x="221" y="217"/>
                    </a:lnTo>
                    <a:lnTo>
                      <a:pt x="221" y="215"/>
                    </a:lnTo>
                    <a:lnTo>
                      <a:pt x="221" y="217"/>
                    </a:lnTo>
                    <a:lnTo>
                      <a:pt x="219" y="217"/>
                    </a:lnTo>
                    <a:lnTo>
                      <a:pt x="219" y="215"/>
                    </a:lnTo>
                    <a:lnTo>
                      <a:pt x="219" y="217"/>
                    </a:lnTo>
                    <a:lnTo>
                      <a:pt x="219" y="215"/>
                    </a:lnTo>
                    <a:lnTo>
                      <a:pt x="219" y="217"/>
                    </a:lnTo>
                    <a:lnTo>
                      <a:pt x="217" y="215"/>
                    </a:lnTo>
                    <a:lnTo>
                      <a:pt x="217" y="217"/>
                    </a:lnTo>
                    <a:lnTo>
                      <a:pt x="217" y="215"/>
                    </a:lnTo>
                    <a:lnTo>
                      <a:pt x="215" y="215"/>
                    </a:lnTo>
                    <a:lnTo>
                      <a:pt x="215" y="217"/>
                    </a:lnTo>
                    <a:lnTo>
                      <a:pt x="213" y="217"/>
                    </a:lnTo>
                    <a:lnTo>
                      <a:pt x="213" y="219"/>
                    </a:lnTo>
                    <a:lnTo>
                      <a:pt x="211" y="219"/>
                    </a:lnTo>
                    <a:lnTo>
                      <a:pt x="208" y="217"/>
                    </a:lnTo>
                    <a:lnTo>
                      <a:pt x="206" y="217"/>
                    </a:lnTo>
                    <a:lnTo>
                      <a:pt x="204" y="217"/>
                    </a:lnTo>
                    <a:lnTo>
                      <a:pt x="204" y="215"/>
                    </a:lnTo>
                    <a:lnTo>
                      <a:pt x="202" y="215"/>
                    </a:lnTo>
                    <a:lnTo>
                      <a:pt x="200" y="215"/>
                    </a:lnTo>
                    <a:lnTo>
                      <a:pt x="198" y="213"/>
                    </a:lnTo>
                    <a:lnTo>
                      <a:pt x="196" y="213"/>
                    </a:lnTo>
                    <a:lnTo>
                      <a:pt x="194" y="213"/>
                    </a:lnTo>
                    <a:lnTo>
                      <a:pt x="192" y="213"/>
                    </a:lnTo>
                    <a:lnTo>
                      <a:pt x="187" y="211"/>
                    </a:lnTo>
                    <a:lnTo>
                      <a:pt x="183" y="211"/>
                    </a:lnTo>
                    <a:lnTo>
                      <a:pt x="181" y="211"/>
                    </a:lnTo>
                    <a:lnTo>
                      <a:pt x="181" y="209"/>
                    </a:lnTo>
                    <a:lnTo>
                      <a:pt x="181" y="208"/>
                    </a:lnTo>
                    <a:lnTo>
                      <a:pt x="183" y="206"/>
                    </a:lnTo>
                    <a:lnTo>
                      <a:pt x="183" y="204"/>
                    </a:lnTo>
                    <a:lnTo>
                      <a:pt x="181" y="204"/>
                    </a:lnTo>
                    <a:lnTo>
                      <a:pt x="181" y="206"/>
                    </a:lnTo>
                    <a:lnTo>
                      <a:pt x="179" y="206"/>
                    </a:lnTo>
                    <a:lnTo>
                      <a:pt x="179" y="204"/>
                    </a:lnTo>
                    <a:lnTo>
                      <a:pt x="177" y="204"/>
                    </a:lnTo>
                    <a:lnTo>
                      <a:pt x="175" y="204"/>
                    </a:lnTo>
                    <a:lnTo>
                      <a:pt x="175" y="202"/>
                    </a:lnTo>
                    <a:lnTo>
                      <a:pt x="173" y="202"/>
                    </a:lnTo>
                    <a:lnTo>
                      <a:pt x="171" y="202"/>
                    </a:lnTo>
                    <a:lnTo>
                      <a:pt x="169" y="202"/>
                    </a:lnTo>
                    <a:lnTo>
                      <a:pt x="168" y="204"/>
                    </a:lnTo>
                    <a:lnTo>
                      <a:pt x="166" y="204"/>
                    </a:lnTo>
                    <a:lnTo>
                      <a:pt x="166" y="202"/>
                    </a:lnTo>
                    <a:lnTo>
                      <a:pt x="164" y="202"/>
                    </a:lnTo>
                    <a:lnTo>
                      <a:pt x="162" y="202"/>
                    </a:lnTo>
                    <a:lnTo>
                      <a:pt x="164" y="200"/>
                    </a:lnTo>
                    <a:lnTo>
                      <a:pt x="166" y="200"/>
                    </a:lnTo>
                    <a:lnTo>
                      <a:pt x="164" y="202"/>
                    </a:lnTo>
                    <a:lnTo>
                      <a:pt x="166" y="202"/>
                    </a:lnTo>
                    <a:lnTo>
                      <a:pt x="166" y="200"/>
                    </a:lnTo>
                    <a:lnTo>
                      <a:pt x="168" y="200"/>
                    </a:lnTo>
                    <a:lnTo>
                      <a:pt x="168" y="198"/>
                    </a:lnTo>
                    <a:lnTo>
                      <a:pt x="169" y="196"/>
                    </a:lnTo>
                    <a:lnTo>
                      <a:pt x="169" y="198"/>
                    </a:lnTo>
                    <a:lnTo>
                      <a:pt x="171" y="198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2"/>
                    </a:lnTo>
                    <a:lnTo>
                      <a:pt x="173" y="190"/>
                    </a:lnTo>
                    <a:lnTo>
                      <a:pt x="173" y="188"/>
                    </a:lnTo>
                    <a:lnTo>
                      <a:pt x="175" y="188"/>
                    </a:lnTo>
                    <a:lnTo>
                      <a:pt x="173" y="188"/>
                    </a:lnTo>
                    <a:lnTo>
                      <a:pt x="175" y="187"/>
                    </a:lnTo>
                    <a:close/>
                    <a:moveTo>
                      <a:pt x="524" y="59"/>
                    </a:moveTo>
                    <a:lnTo>
                      <a:pt x="526" y="59"/>
                    </a:lnTo>
                    <a:lnTo>
                      <a:pt x="524" y="61"/>
                    </a:lnTo>
                    <a:lnTo>
                      <a:pt x="524" y="63"/>
                    </a:lnTo>
                    <a:lnTo>
                      <a:pt x="522" y="63"/>
                    </a:lnTo>
                    <a:lnTo>
                      <a:pt x="522" y="64"/>
                    </a:lnTo>
                    <a:lnTo>
                      <a:pt x="524" y="64"/>
                    </a:lnTo>
                    <a:lnTo>
                      <a:pt x="524" y="66"/>
                    </a:lnTo>
                    <a:lnTo>
                      <a:pt x="524" y="68"/>
                    </a:lnTo>
                    <a:lnTo>
                      <a:pt x="524" y="70"/>
                    </a:lnTo>
                    <a:lnTo>
                      <a:pt x="524" y="72"/>
                    </a:lnTo>
                    <a:lnTo>
                      <a:pt x="524" y="74"/>
                    </a:lnTo>
                    <a:lnTo>
                      <a:pt x="522" y="74"/>
                    </a:lnTo>
                    <a:lnTo>
                      <a:pt x="522" y="76"/>
                    </a:lnTo>
                    <a:lnTo>
                      <a:pt x="520" y="76"/>
                    </a:lnTo>
                    <a:lnTo>
                      <a:pt x="518" y="78"/>
                    </a:lnTo>
                    <a:lnTo>
                      <a:pt x="518" y="80"/>
                    </a:lnTo>
                    <a:lnTo>
                      <a:pt x="520" y="80"/>
                    </a:lnTo>
                    <a:lnTo>
                      <a:pt x="520" y="82"/>
                    </a:lnTo>
                    <a:lnTo>
                      <a:pt x="522" y="80"/>
                    </a:lnTo>
                    <a:lnTo>
                      <a:pt x="522" y="78"/>
                    </a:lnTo>
                    <a:lnTo>
                      <a:pt x="524" y="78"/>
                    </a:lnTo>
                    <a:lnTo>
                      <a:pt x="522" y="78"/>
                    </a:lnTo>
                    <a:lnTo>
                      <a:pt x="524" y="78"/>
                    </a:lnTo>
                    <a:lnTo>
                      <a:pt x="524" y="76"/>
                    </a:lnTo>
                    <a:lnTo>
                      <a:pt x="526" y="76"/>
                    </a:lnTo>
                    <a:lnTo>
                      <a:pt x="528" y="74"/>
                    </a:lnTo>
                    <a:lnTo>
                      <a:pt x="526" y="74"/>
                    </a:lnTo>
                    <a:lnTo>
                      <a:pt x="526" y="72"/>
                    </a:lnTo>
                    <a:lnTo>
                      <a:pt x="528" y="72"/>
                    </a:lnTo>
                    <a:lnTo>
                      <a:pt x="530" y="70"/>
                    </a:lnTo>
                    <a:lnTo>
                      <a:pt x="530" y="68"/>
                    </a:lnTo>
                    <a:lnTo>
                      <a:pt x="532" y="68"/>
                    </a:lnTo>
                    <a:lnTo>
                      <a:pt x="534" y="68"/>
                    </a:lnTo>
                    <a:lnTo>
                      <a:pt x="536" y="68"/>
                    </a:lnTo>
                    <a:lnTo>
                      <a:pt x="536" y="70"/>
                    </a:lnTo>
                    <a:lnTo>
                      <a:pt x="536" y="72"/>
                    </a:lnTo>
                    <a:lnTo>
                      <a:pt x="536" y="74"/>
                    </a:lnTo>
                    <a:lnTo>
                      <a:pt x="536" y="76"/>
                    </a:lnTo>
                    <a:lnTo>
                      <a:pt x="534" y="76"/>
                    </a:lnTo>
                    <a:lnTo>
                      <a:pt x="532" y="78"/>
                    </a:lnTo>
                    <a:lnTo>
                      <a:pt x="530" y="78"/>
                    </a:lnTo>
                    <a:lnTo>
                      <a:pt x="530" y="80"/>
                    </a:lnTo>
                    <a:lnTo>
                      <a:pt x="528" y="80"/>
                    </a:lnTo>
                    <a:lnTo>
                      <a:pt x="530" y="80"/>
                    </a:lnTo>
                    <a:lnTo>
                      <a:pt x="528" y="80"/>
                    </a:lnTo>
                    <a:lnTo>
                      <a:pt x="528" y="82"/>
                    </a:lnTo>
                    <a:lnTo>
                      <a:pt x="530" y="84"/>
                    </a:lnTo>
                    <a:lnTo>
                      <a:pt x="532" y="84"/>
                    </a:lnTo>
                    <a:lnTo>
                      <a:pt x="534" y="84"/>
                    </a:lnTo>
                    <a:lnTo>
                      <a:pt x="536" y="85"/>
                    </a:lnTo>
                    <a:lnTo>
                      <a:pt x="536" y="87"/>
                    </a:lnTo>
                    <a:lnTo>
                      <a:pt x="537" y="89"/>
                    </a:lnTo>
                    <a:lnTo>
                      <a:pt x="539" y="89"/>
                    </a:lnTo>
                    <a:lnTo>
                      <a:pt x="537" y="89"/>
                    </a:lnTo>
                    <a:lnTo>
                      <a:pt x="534" y="89"/>
                    </a:lnTo>
                    <a:lnTo>
                      <a:pt x="532" y="87"/>
                    </a:lnTo>
                    <a:lnTo>
                      <a:pt x="528" y="87"/>
                    </a:lnTo>
                    <a:lnTo>
                      <a:pt x="526" y="87"/>
                    </a:lnTo>
                    <a:lnTo>
                      <a:pt x="526" y="85"/>
                    </a:lnTo>
                    <a:lnTo>
                      <a:pt x="524" y="85"/>
                    </a:lnTo>
                    <a:lnTo>
                      <a:pt x="522" y="85"/>
                    </a:lnTo>
                    <a:lnTo>
                      <a:pt x="522" y="87"/>
                    </a:lnTo>
                    <a:lnTo>
                      <a:pt x="522" y="89"/>
                    </a:lnTo>
                    <a:lnTo>
                      <a:pt x="522" y="91"/>
                    </a:lnTo>
                    <a:lnTo>
                      <a:pt x="522" y="93"/>
                    </a:lnTo>
                    <a:lnTo>
                      <a:pt x="524" y="95"/>
                    </a:lnTo>
                    <a:lnTo>
                      <a:pt x="524" y="97"/>
                    </a:lnTo>
                    <a:lnTo>
                      <a:pt x="524" y="101"/>
                    </a:lnTo>
                    <a:lnTo>
                      <a:pt x="528" y="103"/>
                    </a:lnTo>
                    <a:lnTo>
                      <a:pt x="528" y="105"/>
                    </a:lnTo>
                    <a:lnTo>
                      <a:pt x="528" y="106"/>
                    </a:lnTo>
                    <a:lnTo>
                      <a:pt x="530" y="106"/>
                    </a:lnTo>
                    <a:lnTo>
                      <a:pt x="532" y="108"/>
                    </a:lnTo>
                    <a:lnTo>
                      <a:pt x="530" y="108"/>
                    </a:lnTo>
                    <a:lnTo>
                      <a:pt x="530" y="106"/>
                    </a:lnTo>
                    <a:lnTo>
                      <a:pt x="530" y="108"/>
                    </a:lnTo>
                    <a:lnTo>
                      <a:pt x="528" y="106"/>
                    </a:lnTo>
                    <a:lnTo>
                      <a:pt x="528" y="105"/>
                    </a:lnTo>
                    <a:lnTo>
                      <a:pt x="528" y="106"/>
                    </a:lnTo>
                    <a:lnTo>
                      <a:pt x="526" y="105"/>
                    </a:lnTo>
                    <a:lnTo>
                      <a:pt x="524" y="105"/>
                    </a:lnTo>
                    <a:lnTo>
                      <a:pt x="522" y="101"/>
                    </a:lnTo>
                    <a:lnTo>
                      <a:pt x="522" y="99"/>
                    </a:lnTo>
                    <a:lnTo>
                      <a:pt x="520" y="99"/>
                    </a:lnTo>
                    <a:lnTo>
                      <a:pt x="518" y="97"/>
                    </a:lnTo>
                    <a:lnTo>
                      <a:pt x="520" y="95"/>
                    </a:lnTo>
                    <a:lnTo>
                      <a:pt x="518" y="93"/>
                    </a:lnTo>
                    <a:lnTo>
                      <a:pt x="520" y="93"/>
                    </a:lnTo>
                    <a:lnTo>
                      <a:pt x="520" y="91"/>
                    </a:lnTo>
                    <a:lnTo>
                      <a:pt x="518" y="91"/>
                    </a:lnTo>
                    <a:lnTo>
                      <a:pt x="520" y="91"/>
                    </a:lnTo>
                    <a:lnTo>
                      <a:pt x="518" y="91"/>
                    </a:lnTo>
                    <a:lnTo>
                      <a:pt x="520" y="89"/>
                    </a:lnTo>
                    <a:lnTo>
                      <a:pt x="520" y="87"/>
                    </a:lnTo>
                    <a:lnTo>
                      <a:pt x="518" y="87"/>
                    </a:lnTo>
                    <a:lnTo>
                      <a:pt x="516" y="87"/>
                    </a:lnTo>
                    <a:lnTo>
                      <a:pt x="516" y="85"/>
                    </a:lnTo>
                    <a:lnTo>
                      <a:pt x="516" y="82"/>
                    </a:lnTo>
                    <a:lnTo>
                      <a:pt x="518" y="82"/>
                    </a:lnTo>
                    <a:lnTo>
                      <a:pt x="518" y="80"/>
                    </a:lnTo>
                    <a:lnTo>
                      <a:pt x="516" y="80"/>
                    </a:lnTo>
                    <a:lnTo>
                      <a:pt x="516" y="78"/>
                    </a:lnTo>
                    <a:lnTo>
                      <a:pt x="516" y="76"/>
                    </a:lnTo>
                    <a:lnTo>
                      <a:pt x="515" y="76"/>
                    </a:lnTo>
                    <a:lnTo>
                      <a:pt x="515" y="78"/>
                    </a:lnTo>
                    <a:lnTo>
                      <a:pt x="515" y="76"/>
                    </a:lnTo>
                    <a:lnTo>
                      <a:pt x="515" y="74"/>
                    </a:lnTo>
                    <a:lnTo>
                      <a:pt x="516" y="72"/>
                    </a:lnTo>
                    <a:lnTo>
                      <a:pt x="516" y="70"/>
                    </a:lnTo>
                    <a:lnTo>
                      <a:pt x="516" y="68"/>
                    </a:lnTo>
                    <a:lnTo>
                      <a:pt x="516" y="66"/>
                    </a:lnTo>
                    <a:lnTo>
                      <a:pt x="518" y="66"/>
                    </a:lnTo>
                    <a:lnTo>
                      <a:pt x="516" y="66"/>
                    </a:lnTo>
                    <a:lnTo>
                      <a:pt x="516" y="64"/>
                    </a:lnTo>
                    <a:lnTo>
                      <a:pt x="518" y="64"/>
                    </a:lnTo>
                    <a:lnTo>
                      <a:pt x="518" y="63"/>
                    </a:lnTo>
                    <a:lnTo>
                      <a:pt x="520" y="63"/>
                    </a:lnTo>
                    <a:lnTo>
                      <a:pt x="522" y="61"/>
                    </a:lnTo>
                    <a:lnTo>
                      <a:pt x="524" y="59"/>
                    </a:lnTo>
                    <a:close/>
                    <a:moveTo>
                      <a:pt x="549" y="139"/>
                    </a:moveTo>
                    <a:lnTo>
                      <a:pt x="551" y="139"/>
                    </a:lnTo>
                    <a:lnTo>
                      <a:pt x="553" y="139"/>
                    </a:lnTo>
                    <a:lnTo>
                      <a:pt x="555" y="139"/>
                    </a:lnTo>
                    <a:lnTo>
                      <a:pt x="555" y="141"/>
                    </a:lnTo>
                    <a:lnTo>
                      <a:pt x="555" y="139"/>
                    </a:lnTo>
                    <a:lnTo>
                      <a:pt x="555" y="141"/>
                    </a:lnTo>
                    <a:lnTo>
                      <a:pt x="557" y="141"/>
                    </a:lnTo>
                    <a:lnTo>
                      <a:pt x="558" y="141"/>
                    </a:lnTo>
                    <a:lnTo>
                      <a:pt x="560" y="141"/>
                    </a:lnTo>
                    <a:lnTo>
                      <a:pt x="562" y="141"/>
                    </a:lnTo>
                    <a:lnTo>
                      <a:pt x="562" y="143"/>
                    </a:lnTo>
                    <a:lnTo>
                      <a:pt x="564" y="143"/>
                    </a:lnTo>
                    <a:lnTo>
                      <a:pt x="566" y="143"/>
                    </a:lnTo>
                    <a:lnTo>
                      <a:pt x="566" y="145"/>
                    </a:lnTo>
                    <a:lnTo>
                      <a:pt x="566" y="147"/>
                    </a:lnTo>
                    <a:lnTo>
                      <a:pt x="566" y="148"/>
                    </a:lnTo>
                    <a:lnTo>
                      <a:pt x="568" y="148"/>
                    </a:lnTo>
                    <a:lnTo>
                      <a:pt x="570" y="148"/>
                    </a:lnTo>
                    <a:lnTo>
                      <a:pt x="568" y="148"/>
                    </a:lnTo>
                    <a:lnTo>
                      <a:pt x="570" y="150"/>
                    </a:lnTo>
                    <a:lnTo>
                      <a:pt x="570" y="152"/>
                    </a:lnTo>
                    <a:lnTo>
                      <a:pt x="570" y="154"/>
                    </a:lnTo>
                    <a:lnTo>
                      <a:pt x="570" y="156"/>
                    </a:lnTo>
                    <a:lnTo>
                      <a:pt x="568" y="154"/>
                    </a:lnTo>
                    <a:lnTo>
                      <a:pt x="566" y="154"/>
                    </a:lnTo>
                    <a:lnTo>
                      <a:pt x="564" y="152"/>
                    </a:lnTo>
                    <a:lnTo>
                      <a:pt x="562" y="150"/>
                    </a:lnTo>
                    <a:lnTo>
                      <a:pt x="560" y="150"/>
                    </a:lnTo>
                    <a:lnTo>
                      <a:pt x="558" y="150"/>
                    </a:lnTo>
                    <a:lnTo>
                      <a:pt x="558" y="148"/>
                    </a:lnTo>
                    <a:lnTo>
                      <a:pt x="557" y="148"/>
                    </a:lnTo>
                    <a:lnTo>
                      <a:pt x="555" y="148"/>
                    </a:lnTo>
                    <a:lnTo>
                      <a:pt x="555" y="147"/>
                    </a:lnTo>
                    <a:lnTo>
                      <a:pt x="553" y="147"/>
                    </a:lnTo>
                    <a:lnTo>
                      <a:pt x="551" y="147"/>
                    </a:lnTo>
                    <a:lnTo>
                      <a:pt x="549" y="147"/>
                    </a:lnTo>
                    <a:lnTo>
                      <a:pt x="547" y="147"/>
                    </a:lnTo>
                    <a:lnTo>
                      <a:pt x="549" y="147"/>
                    </a:lnTo>
                    <a:lnTo>
                      <a:pt x="549" y="148"/>
                    </a:lnTo>
                    <a:lnTo>
                      <a:pt x="547" y="148"/>
                    </a:lnTo>
                    <a:lnTo>
                      <a:pt x="543" y="148"/>
                    </a:lnTo>
                    <a:lnTo>
                      <a:pt x="541" y="147"/>
                    </a:lnTo>
                    <a:lnTo>
                      <a:pt x="539" y="147"/>
                    </a:lnTo>
                    <a:lnTo>
                      <a:pt x="539" y="145"/>
                    </a:lnTo>
                    <a:lnTo>
                      <a:pt x="537" y="145"/>
                    </a:lnTo>
                    <a:lnTo>
                      <a:pt x="536" y="145"/>
                    </a:lnTo>
                    <a:lnTo>
                      <a:pt x="536" y="147"/>
                    </a:lnTo>
                    <a:lnTo>
                      <a:pt x="536" y="148"/>
                    </a:lnTo>
                    <a:lnTo>
                      <a:pt x="534" y="148"/>
                    </a:lnTo>
                    <a:lnTo>
                      <a:pt x="532" y="148"/>
                    </a:lnTo>
                    <a:lnTo>
                      <a:pt x="530" y="148"/>
                    </a:lnTo>
                    <a:lnTo>
                      <a:pt x="530" y="147"/>
                    </a:lnTo>
                    <a:lnTo>
                      <a:pt x="528" y="145"/>
                    </a:lnTo>
                    <a:lnTo>
                      <a:pt x="526" y="145"/>
                    </a:lnTo>
                    <a:lnTo>
                      <a:pt x="526" y="143"/>
                    </a:lnTo>
                    <a:lnTo>
                      <a:pt x="528" y="143"/>
                    </a:lnTo>
                    <a:lnTo>
                      <a:pt x="526" y="143"/>
                    </a:lnTo>
                    <a:lnTo>
                      <a:pt x="526" y="145"/>
                    </a:lnTo>
                    <a:lnTo>
                      <a:pt x="524" y="147"/>
                    </a:lnTo>
                    <a:lnTo>
                      <a:pt x="524" y="148"/>
                    </a:lnTo>
                    <a:lnTo>
                      <a:pt x="524" y="150"/>
                    </a:lnTo>
                    <a:lnTo>
                      <a:pt x="522" y="150"/>
                    </a:lnTo>
                    <a:lnTo>
                      <a:pt x="522" y="148"/>
                    </a:lnTo>
                    <a:lnTo>
                      <a:pt x="524" y="147"/>
                    </a:lnTo>
                    <a:lnTo>
                      <a:pt x="522" y="147"/>
                    </a:lnTo>
                    <a:lnTo>
                      <a:pt x="522" y="145"/>
                    </a:lnTo>
                    <a:lnTo>
                      <a:pt x="522" y="143"/>
                    </a:lnTo>
                    <a:lnTo>
                      <a:pt x="524" y="143"/>
                    </a:lnTo>
                    <a:lnTo>
                      <a:pt x="526" y="143"/>
                    </a:lnTo>
                    <a:lnTo>
                      <a:pt x="526" y="141"/>
                    </a:lnTo>
                    <a:lnTo>
                      <a:pt x="526" y="139"/>
                    </a:lnTo>
                    <a:lnTo>
                      <a:pt x="528" y="139"/>
                    </a:lnTo>
                    <a:lnTo>
                      <a:pt x="530" y="139"/>
                    </a:lnTo>
                    <a:lnTo>
                      <a:pt x="532" y="139"/>
                    </a:lnTo>
                    <a:lnTo>
                      <a:pt x="534" y="139"/>
                    </a:lnTo>
                    <a:lnTo>
                      <a:pt x="536" y="139"/>
                    </a:lnTo>
                    <a:lnTo>
                      <a:pt x="537" y="139"/>
                    </a:lnTo>
                    <a:lnTo>
                      <a:pt x="539" y="139"/>
                    </a:lnTo>
                    <a:lnTo>
                      <a:pt x="541" y="137"/>
                    </a:lnTo>
                    <a:lnTo>
                      <a:pt x="541" y="139"/>
                    </a:lnTo>
                    <a:lnTo>
                      <a:pt x="541" y="141"/>
                    </a:lnTo>
                    <a:lnTo>
                      <a:pt x="543" y="141"/>
                    </a:lnTo>
                    <a:lnTo>
                      <a:pt x="545" y="139"/>
                    </a:lnTo>
                    <a:lnTo>
                      <a:pt x="545" y="137"/>
                    </a:lnTo>
                    <a:lnTo>
                      <a:pt x="547" y="137"/>
                    </a:lnTo>
                    <a:lnTo>
                      <a:pt x="549" y="139"/>
                    </a:lnTo>
                    <a:lnTo>
                      <a:pt x="549" y="137"/>
                    </a:lnTo>
                    <a:lnTo>
                      <a:pt x="549" y="139"/>
                    </a:lnTo>
                    <a:close/>
                    <a:moveTo>
                      <a:pt x="364" y="223"/>
                    </a:moveTo>
                    <a:lnTo>
                      <a:pt x="366" y="223"/>
                    </a:lnTo>
                    <a:lnTo>
                      <a:pt x="368" y="223"/>
                    </a:lnTo>
                    <a:lnTo>
                      <a:pt x="368" y="225"/>
                    </a:lnTo>
                    <a:lnTo>
                      <a:pt x="368" y="227"/>
                    </a:lnTo>
                    <a:lnTo>
                      <a:pt x="370" y="227"/>
                    </a:lnTo>
                    <a:lnTo>
                      <a:pt x="372" y="227"/>
                    </a:lnTo>
                    <a:lnTo>
                      <a:pt x="372" y="225"/>
                    </a:lnTo>
                    <a:lnTo>
                      <a:pt x="373" y="225"/>
                    </a:lnTo>
                    <a:lnTo>
                      <a:pt x="375" y="227"/>
                    </a:lnTo>
                    <a:lnTo>
                      <a:pt x="375" y="229"/>
                    </a:lnTo>
                    <a:lnTo>
                      <a:pt x="375" y="230"/>
                    </a:lnTo>
                    <a:lnTo>
                      <a:pt x="375" y="229"/>
                    </a:lnTo>
                    <a:lnTo>
                      <a:pt x="377" y="229"/>
                    </a:lnTo>
                    <a:lnTo>
                      <a:pt x="375" y="229"/>
                    </a:lnTo>
                    <a:lnTo>
                      <a:pt x="377" y="229"/>
                    </a:lnTo>
                    <a:lnTo>
                      <a:pt x="375" y="227"/>
                    </a:lnTo>
                    <a:lnTo>
                      <a:pt x="377" y="227"/>
                    </a:lnTo>
                    <a:lnTo>
                      <a:pt x="377" y="225"/>
                    </a:lnTo>
                    <a:lnTo>
                      <a:pt x="381" y="227"/>
                    </a:lnTo>
                    <a:lnTo>
                      <a:pt x="381" y="229"/>
                    </a:lnTo>
                    <a:lnTo>
                      <a:pt x="381" y="230"/>
                    </a:lnTo>
                    <a:lnTo>
                      <a:pt x="383" y="232"/>
                    </a:lnTo>
                    <a:lnTo>
                      <a:pt x="383" y="230"/>
                    </a:lnTo>
                    <a:lnTo>
                      <a:pt x="385" y="230"/>
                    </a:lnTo>
                    <a:lnTo>
                      <a:pt x="383" y="230"/>
                    </a:lnTo>
                    <a:lnTo>
                      <a:pt x="383" y="232"/>
                    </a:lnTo>
                    <a:lnTo>
                      <a:pt x="381" y="232"/>
                    </a:lnTo>
                    <a:lnTo>
                      <a:pt x="379" y="232"/>
                    </a:lnTo>
                    <a:lnTo>
                      <a:pt x="377" y="232"/>
                    </a:lnTo>
                    <a:lnTo>
                      <a:pt x="375" y="232"/>
                    </a:lnTo>
                    <a:lnTo>
                      <a:pt x="377" y="234"/>
                    </a:lnTo>
                    <a:lnTo>
                      <a:pt x="379" y="234"/>
                    </a:lnTo>
                    <a:lnTo>
                      <a:pt x="381" y="234"/>
                    </a:lnTo>
                    <a:lnTo>
                      <a:pt x="379" y="234"/>
                    </a:lnTo>
                    <a:lnTo>
                      <a:pt x="377" y="234"/>
                    </a:lnTo>
                    <a:lnTo>
                      <a:pt x="375" y="234"/>
                    </a:lnTo>
                    <a:lnTo>
                      <a:pt x="373" y="236"/>
                    </a:lnTo>
                    <a:lnTo>
                      <a:pt x="372" y="234"/>
                    </a:lnTo>
                    <a:lnTo>
                      <a:pt x="372" y="232"/>
                    </a:lnTo>
                    <a:lnTo>
                      <a:pt x="372" y="230"/>
                    </a:lnTo>
                    <a:lnTo>
                      <a:pt x="372" y="232"/>
                    </a:lnTo>
                    <a:lnTo>
                      <a:pt x="370" y="232"/>
                    </a:lnTo>
                    <a:lnTo>
                      <a:pt x="370" y="234"/>
                    </a:lnTo>
                    <a:lnTo>
                      <a:pt x="368" y="234"/>
                    </a:lnTo>
                    <a:lnTo>
                      <a:pt x="368" y="236"/>
                    </a:lnTo>
                    <a:lnTo>
                      <a:pt x="366" y="234"/>
                    </a:lnTo>
                    <a:lnTo>
                      <a:pt x="364" y="236"/>
                    </a:lnTo>
                    <a:lnTo>
                      <a:pt x="362" y="236"/>
                    </a:lnTo>
                    <a:lnTo>
                      <a:pt x="360" y="236"/>
                    </a:lnTo>
                    <a:lnTo>
                      <a:pt x="358" y="238"/>
                    </a:lnTo>
                    <a:lnTo>
                      <a:pt x="354" y="238"/>
                    </a:lnTo>
                    <a:lnTo>
                      <a:pt x="352" y="238"/>
                    </a:lnTo>
                    <a:lnTo>
                      <a:pt x="351" y="238"/>
                    </a:lnTo>
                    <a:lnTo>
                      <a:pt x="349" y="238"/>
                    </a:lnTo>
                    <a:lnTo>
                      <a:pt x="347" y="238"/>
                    </a:lnTo>
                    <a:lnTo>
                      <a:pt x="345" y="238"/>
                    </a:lnTo>
                    <a:lnTo>
                      <a:pt x="345" y="236"/>
                    </a:lnTo>
                    <a:lnTo>
                      <a:pt x="345" y="234"/>
                    </a:lnTo>
                    <a:lnTo>
                      <a:pt x="347" y="234"/>
                    </a:lnTo>
                    <a:lnTo>
                      <a:pt x="345" y="234"/>
                    </a:lnTo>
                    <a:lnTo>
                      <a:pt x="347" y="232"/>
                    </a:lnTo>
                    <a:lnTo>
                      <a:pt x="345" y="232"/>
                    </a:lnTo>
                    <a:lnTo>
                      <a:pt x="345" y="230"/>
                    </a:lnTo>
                    <a:lnTo>
                      <a:pt x="347" y="230"/>
                    </a:lnTo>
                    <a:lnTo>
                      <a:pt x="347" y="229"/>
                    </a:lnTo>
                    <a:lnTo>
                      <a:pt x="347" y="230"/>
                    </a:lnTo>
                    <a:lnTo>
                      <a:pt x="349" y="229"/>
                    </a:lnTo>
                    <a:lnTo>
                      <a:pt x="351" y="229"/>
                    </a:lnTo>
                    <a:lnTo>
                      <a:pt x="351" y="227"/>
                    </a:lnTo>
                    <a:lnTo>
                      <a:pt x="352" y="227"/>
                    </a:lnTo>
                    <a:lnTo>
                      <a:pt x="352" y="229"/>
                    </a:lnTo>
                    <a:lnTo>
                      <a:pt x="352" y="227"/>
                    </a:lnTo>
                    <a:lnTo>
                      <a:pt x="356" y="229"/>
                    </a:lnTo>
                    <a:lnTo>
                      <a:pt x="356" y="227"/>
                    </a:lnTo>
                    <a:lnTo>
                      <a:pt x="356" y="229"/>
                    </a:lnTo>
                    <a:lnTo>
                      <a:pt x="358" y="229"/>
                    </a:lnTo>
                    <a:lnTo>
                      <a:pt x="360" y="230"/>
                    </a:lnTo>
                    <a:lnTo>
                      <a:pt x="362" y="230"/>
                    </a:lnTo>
                    <a:lnTo>
                      <a:pt x="362" y="232"/>
                    </a:lnTo>
                    <a:lnTo>
                      <a:pt x="364" y="232"/>
                    </a:lnTo>
                    <a:lnTo>
                      <a:pt x="366" y="232"/>
                    </a:lnTo>
                    <a:lnTo>
                      <a:pt x="368" y="232"/>
                    </a:lnTo>
                    <a:lnTo>
                      <a:pt x="370" y="232"/>
                    </a:lnTo>
                    <a:lnTo>
                      <a:pt x="368" y="232"/>
                    </a:lnTo>
                    <a:lnTo>
                      <a:pt x="370" y="232"/>
                    </a:lnTo>
                    <a:lnTo>
                      <a:pt x="370" y="230"/>
                    </a:lnTo>
                    <a:lnTo>
                      <a:pt x="368" y="230"/>
                    </a:lnTo>
                    <a:lnTo>
                      <a:pt x="368" y="229"/>
                    </a:lnTo>
                    <a:lnTo>
                      <a:pt x="366" y="229"/>
                    </a:lnTo>
                    <a:lnTo>
                      <a:pt x="364" y="229"/>
                    </a:lnTo>
                    <a:lnTo>
                      <a:pt x="362" y="227"/>
                    </a:lnTo>
                    <a:lnTo>
                      <a:pt x="360" y="225"/>
                    </a:lnTo>
                    <a:lnTo>
                      <a:pt x="360" y="223"/>
                    </a:lnTo>
                    <a:lnTo>
                      <a:pt x="362" y="223"/>
                    </a:lnTo>
                    <a:lnTo>
                      <a:pt x="364" y="223"/>
                    </a:lnTo>
                    <a:close/>
                    <a:moveTo>
                      <a:pt x="442" y="223"/>
                    </a:moveTo>
                    <a:lnTo>
                      <a:pt x="444" y="223"/>
                    </a:lnTo>
                    <a:lnTo>
                      <a:pt x="444" y="225"/>
                    </a:lnTo>
                    <a:lnTo>
                      <a:pt x="444" y="227"/>
                    </a:lnTo>
                    <a:lnTo>
                      <a:pt x="442" y="227"/>
                    </a:lnTo>
                    <a:lnTo>
                      <a:pt x="442" y="229"/>
                    </a:lnTo>
                    <a:lnTo>
                      <a:pt x="442" y="230"/>
                    </a:lnTo>
                    <a:lnTo>
                      <a:pt x="440" y="230"/>
                    </a:lnTo>
                    <a:lnTo>
                      <a:pt x="438" y="232"/>
                    </a:lnTo>
                    <a:lnTo>
                      <a:pt x="436" y="232"/>
                    </a:lnTo>
                    <a:lnTo>
                      <a:pt x="434" y="232"/>
                    </a:lnTo>
                    <a:lnTo>
                      <a:pt x="433" y="232"/>
                    </a:lnTo>
                    <a:lnTo>
                      <a:pt x="431" y="232"/>
                    </a:lnTo>
                    <a:lnTo>
                      <a:pt x="429" y="234"/>
                    </a:lnTo>
                    <a:lnTo>
                      <a:pt x="427" y="234"/>
                    </a:lnTo>
                    <a:lnTo>
                      <a:pt x="425" y="236"/>
                    </a:lnTo>
                    <a:lnTo>
                      <a:pt x="423" y="234"/>
                    </a:lnTo>
                    <a:lnTo>
                      <a:pt x="423" y="236"/>
                    </a:lnTo>
                    <a:lnTo>
                      <a:pt x="423" y="234"/>
                    </a:lnTo>
                    <a:lnTo>
                      <a:pt x="421" y="234"/>
                    </a:lnTo>
                    <a:lnTo>
                      <a:pt x="419" y="234"/>
                    </a:lnTo>
                    <a:lnTo>
                      <a:pt x="419" y="236"/>
                    </a:lnTo>
                    <a:lnTo>
                      <a:pt x="417" y="236"/>
                    </a:lnTo>
                    <a:lnTo>
                      <a:pt x="415" y="236"/>
                    </a:lnTo>
                    <a:lnTo>
                      <a:pt x="414" y="236"/>
                    </a:lnTo>
                    <a:lnTo>
                      <a:pt x="412" y="236"/>
                    </a:lnTo>
                    <a:lnTo>
                      <a:pt x="410" y="234"/>
                    </a:lnTo>
                    <a:lnTo>
                      <a:pt x="410" y="236"/>
                    </a:lnTo>
                    <a:lnTo>
                      <a:pt x="408" y="234"/>
                    </a:lnTo>
                    <a:lnTo>
                      <a:pt x="406" y="234"/>
                    </a:lnTo>
                    <a:lnTo>
                      <a:pt x="402" y="234"/>
                    </a:lnTo>
                    <a:lnTo>
                      <a:pt x="400" y="234"/>
                    </a:lnTo>
                    <a:lnTo>
                      <a:pt x="398" y="234"/>
                    </a:lnTo>
                    <a:lnTo>
                      <a:pt x="396" y="234"/>
                    </a:lnTo>
                    <a:lnTo>
                      <a:pt x="394" y="234"/>
                    </a:lnTo>
                    <a:lnTo>
                      <a:pt x="394" y="232"/>
                    </a:lnTo>
                    <a:lnTo>
                      <a:pt x="394" y="230"/>
                    </a:lnTo>
                    <a:lnTo>
                      <a:pt x="394" y="229"/>
                    </a:lnTo>
                    <a:lnTo>
                      <a:pt x="396" y="229"/>
                    </a:lnTo>
                    <a:lnTo>
                      <a:pt x="396" y="227"/>
                    </a:lnTo>
                    <a:lnTo>
                      <a:pt x="398" y="227"/>
                    </a:lnTo>
                    <a:lnTo>
                      <a:pt x="398" y="229"/>
                    </a:lnTo>
                    <a:lnTo>
                      <a:pt x="398" y="227"/>
                    </a:lnTo>
                    <a:lnTo>
                      <a:pt x="398" y="229"/>
                    </a:lnTo>
                    <a:lnTo>
                      <a:pt x="398" y="227"/>
                    </a:lnTo>
                    <a:lnTo>
                      <a:pt x="400" y="227"/>
                    </a:lnTo>
                    <a:lnTo>
                      <a:pt x="400" y="225"/>
                    </a:lnTo>
                    <a:lnTo>
                      <a:pt x="402" y="225"/>
                    </a:lnTo>
                    <a:lnTo>
                      <a:pt x="402" y="227"/>
                    </a:lnTo>
                    <a:lnTo>
                      <a:pt x="404" y="225"/>
                    </a:lnTo>
                    <a:lnTo>
                      <a:pt x="404" y="227"/>
                    </a:lnTo>
                    <a:lnTo>
                      <a:pt x="406" y="225"/>
                    </a:lnTo>
                    <a:lnTo>
                      <a:pt x="406" y="227"/>
                    </a:lnTo>
                    <a:lnTo>
                      <a:pt x="406" y="225"/>
                    </a:lnTo>
                    <a:lnTo>
                      <a:pt x="408" y="227"/>
                    </a:lnTo>
                    <a:lnTo>
                      <a:pt x="410" y="227"/>
                    </a:lnTo>
                    <a:lnTo>
                      <a:pt x="412" y="227"/>
                    </a:lnTo>
                    <a:lnTo>
                      <a:pt x="414" y="227"/>
                    </a:lnTo>
                    <a:lnTo>
                      <a:pt x="414" y="229"/>
                    </a:lnTo>
                    <a:lnTo>
                      <a:pt x="415" y="229"/>
                    </a:lnTo>
                    <a:lnTo>
                      <a:pt x="417" y="229"/>
                    </a:lnTo>
                    <a:lnTo>
                      <a:pt x="417" y="230"/>
                    </a:lnTo>
                    <a:lnTo>
                      <a:pt x="419" y="230"/>
                    </a:lnTo>
                    <a:lnTo>
                      <a:pt x="421" y="230"/>
                    </a:lnTo>
                    <a:lnTo>
                      <a:pt x="423" y="230"/>
                    </a:lnTo>
                    <a:lnTo>
                      <a:pt x="423" y="229"/>
                    </a:lnTo>
                    <a:lnTo>
                      <a:pt x="425" y="229"/>
                    </a:lnTo>
                    <a:lnTo>
                      <a:pt x="427" y="229"/>
                    </a:lnTo>
                    <a:lnTo>
                      <a:pt x="429" y="229"/>
                    </a:lnTo>
                    <a:lnTo>
                      <a:pt x="429" y="230"/>
                    </a:lnTo>
                    <a:lnTo>
                      <a:pt x="431" y="230"/>
                    </a:lnTo>
                    <a:lnTo>
                      <a:pt x="433" y="230"/>
                    </a:lnTo>
                    <a:lnTo>
                      <a:pt x="433" y="232"/>
                    </a:lnTo>
                    <a:lnTo>
                      <a:pt x="434" y="230"/>
                    </a:lnTo>
                    <a:lnTo>
                      <a:pt x="436" y="230"/>
                    </a:lnTo>
                    <a:lnTo>
                      <a:pt x="436" y="229"/>
                    </a:lnTo>
                    <a:lnTo>
                      <a:pt x="438" y="229"/>
                    </a:lnTo>
                    <a:lnTo>
                      <a:pt x="438" y="227"/>
                    </a:lnTo>
                    <a:lnTo>
                      <a:pt x="440" y="227"/>
                    </a:lnTo>
                    <a:lnTo>
                      <a:pt x="442" y="227"/>
                    </a:lnTo>
                    <a:lnTo>
                      <a:pt x="442" y="225"/>
                    </a:lnTo>
                    <a:lnTo>
                      <a:pt x="444" y="225"/>
                    </a:lnTo>
                    <a:lnTo>
                      <a:pt x="442" y="225"/>
                    </a:lnTo>
                    <a:lnTo>
                      <a:pt x="440" y="225"/>
                    </a:lnTo>
                    <a:lnTo>
                      <a:pt x="442" y="223"/>
                    </a:lnTo>
                    <a:lnTo>
                      <a:pt x="440" y="223"/>
                    </a:lnTo>
                    <a:lnTo>
                      <a:pt x="442" y="223"/>
                    </a:lnTo>
                    <a:close/>
                    <a:moveTo>
                      <a:pt x="476" y="236"/>
                    </a:moveTo>
                    <a:lnTo>
                      <a:pt x="475" y="238"/>
                    </a:lnTo>
                    <a:lnTo>
                      <a:pt x="476" y="238"/>
                    </a:lnTo>
                    <a:lnTo>
                      <a:pt x="478" y="238"/>
                    </a:lnTo>
                    <a:lnTo>
                      <a:pt x="478" y="236"/>
                    </a:lnTo>
                    <a:lnTo>
                      <a:pt x="480" y="238"/>
                    </a:lnTo>
                    <a:lnTo>
                      <a:pt x="478" y="240"/>
                    </a:lnTo>
                    <a:lnTo>
                      <a:pt x="476" y="240"/>
                    </a:lnTo>
                    <a:lnTo>
                      <a:pt x="476" y="242"/>
                    </a:lnTo>
                    <a:lnTo>
                      <a:pt x="476" y="244"/>
                    </a:lnTo>
                    <a:lnTo>
                      <a:pt x="478" y="244"/>
                    </a:lnTo>
                    <a:lnTo>
                      <a:pt x="476" y="246"/>
                    </a:lnTo>
                    <a:lnTo>
                      <a:pt x="476" y="248"/>
                    </a:lnTo>
                    <a:lnTo>
                      <a:pt x="475" y="248"/>
                    </a:lnTo>
                    <a:lnTo>
                      <a:pt x="475" y="250"/>
                    </a:lnTo>
                    <a:lnTo>
                      <a:pt x="473" y="251"/>
                    </a:lnTo>
                    <a:lnTo>
                      <a:pt x="471" y="251"/>
                    </a:lnTo>
                    <a:lnTo>
                      <a:pt x="471" y="253"/>
                    </a:lnTo>
                    <a:lnTo>
                      <a:pt x="469" y="253"/>
                    </a:lnTo>
                    <a:lnTo>
                      <a:pt x="469" y="255"/>
                    </a:lnTo>
                    <a:lnTo>
                      <a:pt x="467" y="255"/>
                    </a:lnTo>
                    <a:lnTo>
                      <a:pt x="463" y="255"/>
                    </a:lnTo>
                    <a:lnTo>
                      <a:pt x="461" y="257"/>
                    </a:lnTo>
                    <a:lnTo>
                      <a:pt x="459" y="257"/>
                    </a:lnTo>
                    <a:lnTo>
                      <a:pt x="459" y="259"/>
                    </a:lnTo>
                    <a:lnTo>
                      <a:pt x="457" y="259"/>
                    </a:lnTo>
                    <a:lnTo>
                      <a:pt x="455" y="259"/>
                    </a:lnTo>
                    <a:lnTo>
                      <a:pt x="454" y="259"/>
                    </a:lnTo>
                    <a:lnTo>
                      <a:pt x="452" y="259"/>
                    </a:lnTo>
                    <a:lnTo>
                      <a:pt x="452" y="257"/>
                    </a:lnTo>
                    <a:lnTo>
                      <a:pt x="454" y="257"/>
                    </a:lnTo>
                    <a:lnTo>
                      <a:pt x="454" y="255"/>
                    </a:lnTo>
                    <a:lnTo>
                      <a:pt x="455" y="255"/>
                    </a:lnTo>
                    <a:lnTo>
                      <a:pt x="457" y="253"/>
                    </a:lnTo>
                    <a:lnTo>
                      <a:pt x="455" y="253"/>
                    </a:lnTo>
                    <a:lnTo>
                      <a:pt x="454" y="253"/>
                    </a:lnTo>
                    <a:lnTo>
                      <a:pt x="454" y="251"/>
                    </a:lnTo>
                    <a:lnTo>
                      <a:pt x="455" y="251"/>
                    </a:lnTo>
                    <a:lnTo>
                      <a:pt x="455" y="250"/>
                    </a:lnTo>
                    <a:lnTo>
                      <a:pt x="455" y="248"/>
                    </a:lnTo>
                    <a:lnTo>
                      <a:pt x="455" y="246"/>
                    </a:lnTo>
                    <a:lnTo>
                      <a:pt x="457" y="246"/>
                    </a:lnTo>
                    <a:lnTo>
                      <a:pt x="459" y="246"/>
                    </a:lnTo>
                    <a:lnTo>
                      <a:pt x="459" y="244"/>
                    </a:lnTo>
                    <a:lnTo>
                      <a:pt x="461" y="242"/>
                    </a:lnTo>
                    <a:lnTo>
                      <a:pt x="461" y="244"/>
                    </a:lnTo>
                    <a:lnTo>
                      <a:pt x="463" y="244"/>
                    </a:lnTo>
                    <a:lnTo>
                      <a:pt x="465" y="244"/>
                    </a:lnTo>
                    <a:lnTo>
                      <a:pt x="465" y="246"/>
                    </a:lnTo>
                    <a:lnTo>
                      <a:pt x="467" y="246"/>
                    </a:lnTo>
                    <a:lnTo>
                      <a:pt x="467" y="244"/>
                    </a:lnTo>
                    <a:lnTo>
                      <a:pt x="467" y="242"/>
                    </a:lnTo>
                    <a:lnTo>
                      <a:pt x="469" y="242"/>
                    </a:lnTo>
                    <a:lnTo>
                      <a:pt x="469" y="240"/>
                    </a:lnTo>
                    <a:lnTo>
                      <a:pt x="471" y="240"/>
                    </a:lnTo>
                    <a:lnTo>
                      <a:pt x="471" y="238"/>
                    </a:lnTo>
                    <a:lnTo>
                      <a:pt x="473" y="238"/>
                    </a:lnTo>
                    <a:lnTo>
                      <a:pt x="475" y="238"/>
                    </a:lnTo>
                    <a:lnTo>
                      <a:pt x="475" y="236"/>
                    </a:lnTo>
                    <a:lnTo>
                      <a:pt x="476" y="236"/>
                    </a:lnTo>
                    <a:close/>
                    <a:moveTo>
                      <a:pt x="694" y="211"/>
                    </a:moveTo>
                    <a:lnTo>
                      <a:pt x="696" y="211"/>
                    </a:lnTo>
                    <a:lnTo>
                      <a:pt x="698" y="211"/>
                    </a:lnTo>
                    <a:lnTo>
                      <a:pt x="698" y="213"/>
                    </a:lnTo>
                    <a:lnTo>
                      <a:pt x="700" y="215"/>
                    </a:lnTo>
                    <a:lnTo>
                      <a:pt x="700" y="217"/>
                    </a:lnTo>
                    <a:lnTo>
                      <a:pt x="700" y="219"/>
                    </a:lnTo>
                    <a:lnTo>
                      <a:pt x="698" y="219"/>
                    </a:lnTo>
                    <a:lnTo>
                      <a:pt x="698" y="221"/>
                    </a:lnTo>
                    <a:lnTo>
                      <a:pt x="698" y="223"/>
                    </a:lnTo>
                    <a:lnTo>
                      <a:pt x="696" y="223"/>
                    </a:lnTo>
                    <a:lnTo>
                      <a:pt x="694" y="223"/>
                    </a:lnTo>
                    <a:lnTo>
                      <a:pt x="694" y="225"/>
                    </a:lnTo>
                    <a:lnTo>
                      <a:pt x="690" y="227"/>
                    </a:lnTo>
                    <a:lnTo>
                      <a:pt x="688" y="227"/>
                    </a:lnTo>
                    <a:lnTo>
                      <a:pt x="686" y="227"/>
                    </a:lnTo>
                    <a:lnTo>
                      <a:pt x="684" y="227"/>
                    </a:lnTo>
                    <a:lnTo>
                      <a:pt x="680" y="227"/>
                    </a:lnTo>
                    <a:lnTo>
                      <a:pt x="679" y="229"/>
                    </a:lnTo>
                    <a:lnTo>
                      <a:pt x="677" y="229"/>
                    </a:lnTo>
                    <a:lnTo>
                      <a:pt x="679" y="225"/>
                    </a:lnTo>
                    <a:lnTo>
                      <a:pt x="679" y="223"/>
                    </a:lnTo>
                    <a:lnTo>
                      <a:pt x="680" y="221"/>
                    </a:lnTo>
                    <a:lnTo>
                      <a:pt x="682" y="217"/>
                    </a:lnTo>
                    <a:lnTo>
                      <a:pt x="682" y="215"/>
                    </a:lnTo>
                    <a:lnTo>
                      <a:pt x="684" y="215"/>
                    </a:lnTo>
                    <a:lnTo>
                      <a:pt x="684" y="213"/>
                    </a:lnTo>
                    <a:lnTo>
                      <a:pt x="686" y="213"/>
                    </a:lnTo>
                    <a:lnTo>
                      <a:pt x="688" y="211"/>
                    </a:lnTo>
                    <a:lnTo>
                      <a:pt x="694" y="211"/>
                    </a:lnTo>
                    <a:close/>
                    <a:moveTo>
                      <a:pt x="173" y="118"/>
                    </a:moveTo>
                    <a:lnTo>
                      <a:pt x="175" y="120"/>
                    </a:lnTo>
                    <a:lnTo>
                      <a:pt x="175" y="122"/>
                    </a:lnTo>
                    <a:lnTo>
                      <a:pt x="177" y="122"/>
                    </a:lnTo>
                    <a:lnTo>
                      <a:pt x="177" y="124"/>
                    </a:lnTo>
                    <a:lnTo>
                      <a:pt x="177" y="126"/>
                    </a:lnTo>
                    <a:lnTo>
                      <a:pt x="177" y="127"/>
                    </a:lnTo>
                    <a:lnTo>
                      <a:pt x="177" y="129"/>
                    </a:lnTo>
                    <a:lnTo>
                      <a:pt x="177" y="131"/>
                    </a:lnTo>
                    <a:lnTo>
                      <a:pt x="179" y="131"/>
                    </a:lnTo>
                    <a:lnTo>
                      <a:pt x="181" y="133"/>
                    </a:lnTo>
                    <a:lnTo>
                      <a:pt x="183" y="133"/>
                    </a:lnTo>
                    <a:lnTo>
                      <a:pt x="189" y="135"/>
                    </a:lnTo>
                    <a:lnTo>
                      <a:pt x="187" y="135"/>
                    </a:lnTo>
                    <a:lnTo>
                      <a:pt x="185" y="135"/>
                    </a:lnTo>
                    <a:lnTo>
                      <a:pt x="185" y="137"/>
                    </a:lnTo>
                    <a:lnTo>
                      <a:pt x="183" y="139"/>
                    </a:lnTo>
                    <a:lnTo>
                      <a:pt x="185" y="141"/>
                    </a:lnTo>
                    <a:lnTo>
                      <a:pt x="187" y="141"/>
                    </a:lnTo>
                    <a:lnTo>
                      <a:pt x="187" y="143"/>
                    </a:lnTo>
                    <a:lnTo>
                      <a:pt x="185" y="143"/>
                    </a:lnTo>
                    <a:lnTo>
                      <a:pt x="183" y="143"/>
                    </a:lnTo>
                    <a:lnTo>
                      <a:pt x="181" y="141"/>
                    </a:lnTo>
                    <a:lnTo>
                      <a:pt x="179" y="141"/>
                    </a:lnTo>
                    <a:lnTo>
                      <a:pt x="179" y="139"/>
                    </a:lnTo>
                    <a:lnTo>
                      <a:pt x="177" y="139"/>
                    </a:lnTo>
                    <a:lnTo>
                      <a:pt x="175" y="139"/>
                    </a:lnTo>
                    <a:lnTo>
                      <a:pt x="173" y="139"/>
                    </a:lnTo>
                    <a:lnTo>
                      <a:pt x="173" y="137"/>
                    </a:lnTo>
                    <a:lnTo>
                      <a:pt x="173" y="135"/>
                    </a:lnTo>
                    <a:lnTo>
                      <a:pt x="173" y="133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71" y="127"/>
                    </a:lnTo>
                    <a:lnTo>
                      <a:pt x="169" y="127"/>
                    </a:lnTo>
                    <a:lnTo>
                      <a:pt x="168" y="127"/>
                    </a:lnTo>
                    <a:lnTo>
                      <a:pt x="168" y="126"/>
                    </a:lnTo>
                    <a:lnTo>
                      <a:pt x="168" y="127"/>
                    </a:lnTo>
                    <a:lnTo>
                      <a:pt x="166" y="127"/>
                    </a:lnTo>
                    <a:lnTo>
                      <a:pt x="164" y="127"/>
                    </a:lnTo>
                    <a:lnTo>
                      <a:pt x="162" y="126"/>
                    </a:lnTo>
                    <a:lnTo>
                      <a:pt x="160" y="126"/>
                    </a:lnTo>
                    <a:lnTo>
                      <a:pt x="160" y="127"/>
                    </a:lnTo>
                    <a:lnTo>
                      <a:pt x="160" y="126"/>
                    </a:lnTo>
                    <a:lnTo>
                      <a:pt x="162" y="124"/>
                    </a:lnTo>
                    <a:lnTo>
                      <a:pt x="164" y="124"/>
                    </a:lnTo>
                    <a:lnTo>
                      <a:pt x="164" y="122"/>
                    </a:lnTo>
                    <a:lnTo>
                      <a:pt x="166" y="122"/>
                    </a:lnTo>
                    <a:lnTo>
                      <a:pt x="164" y="122"/>
                    </a:lnTo>
                    <a:lnTo>
                      <a:pt x="164" y="120"/>
                    </a:lnTo>
                    <a:lnTo>
                      <a:pt x="166" y="120"/>
                    </a:lnTo>
                    <a:lnTo>
                      <a:pt x="166" y="118"/>
                    </a:lnTo>
                    <a:lnTo>
                      <a:pt x="168" y="118"/>
                    </a:lnTo>
                    <a:lnTo>
                      <a:pt x="169" y="120"/>
                    </a:lnTo>
                    <a:lnTo>
                      <a:pt x="169" y="122"/>
                    </a:lnTo>
                    <a:lnTo>
                      <a:pt x="171" y="122"/>
                    </a:lnTo>
                    <a:lnTo>
                      <a:pt x="169" y="122"/>
                    </a:lnTo>
                    <a:lnTo>
                      <a:pt x="169" y="120"/>
                    </a:lnTo>
                    <a:lnTo>
                      <a:pt x="171" y="120"/>
                    </a:lnTo>
                    <a:lnTo>
                      <a:pt x="169" y="120"/>
                    </a:lnTo>
                    <a:lnTo>
                      <a:pt x="171" y="120"/>
                    </a:lnTo>
                    <a:lnTo>
                      <a:pt x="169" y="120"/>
                    </a:lnTo>
                    <a:lnTo>
                      <a:pt x="169" y="118"/>
                    </a:lnTo>
                    <a:lnTo>
                      <a:pt x="171" y="118"/>
                    </a:lnTo>
                    <a:lnTo>
                      <a:pt x="173" y="118"/>
                    </a:lnTo>
                    <a:close/>
                    <a:moveTo>
                      <a:pt x="396" y="242"/>
                    </a:moveTo>
                    <a:lnTo>
                      <a:pt x="398" y="246"/>
                    </a:lnTo>
                    <a:lnTo>
                      <a:pt x="400" y="246"/>
                    </a:lnTo>
                    <a:lnTo>
                      <a:pt x="400" y="248"/>
                    </a:lnTo>
                    <a:lnTo>
                      <a:pt x="402" y="248"/>
                    </a:lnTo>
                    <a:lnTo>
                      <a:pt x="404" y="248"/>
                    </a:lnTo>
                    <a:lnTo>
                      <a:pt x="406" y="248"/>
                    </a:lnTo>
                    <a:lnTo>
                      <a:pt x="406" y="250"/>
                    </a:lnTo>
                    <a:lnTo>
                      <a:pt x="408" y="251"/>
                    </a:lnTo>
                    <a:lnTo>
                      <a:pt x="410" y="253"/>
                    </a:lnTo>
                    <a:lnTo>
                      <a:pt x="410" y="255"/>
                    </a:lnTo>
                    <a:lnTo>
                      <a:pt x="408" y="257"/>
                    </a:lnTo>
                    <a:lnTo>
                      <a:pt x="406" y="257"/>
                    </a:lnTo>
                    <a:lnTo>
                      <a:pt x="404" y="257"/>
                    </a:lnTo>
                    <a:lnTo>
                      <a:pt x="404" y="259"/>
                    </a:lnTo>
                    <a:lnTo>
                      <a:pt x="402" y="257"/>
                    </a:lnTo>
                    <a:lnTo>
                      <a:pt x="400" y="257"/>
                    </a:lnTo>
                    <a:lnTo>
                      <a:pt x="398" y="255"/>
                    </a:lnTo>
                    <a:lnTo>
                      <a:pt x="398" y="257"/>
                    </a:lnTo>
                    <a:lnTo>
                      <a:pt x="398" y="255"/>
                    </a:lnTo>
                    <a:lnTo>
                      <a:pt x="396" y="255"/>
                    </a:lnTo>
                    <a:lnTo>
                      <a:pt x="396" y="253"/>
                    </a:lnTo>
                    <a:lnTo>
                      <a:pt x="394" y="253"/>
                    </a:lnTo>
                    <a:lnTo>
                      <a:pt x="394" y="251"/>
                    </a:lnTo>
                    <a:lnTo>
                      <a:pt x="393" y="251"/>
                    </a:lnTo>
                    <a:lnTo>
                      <a:pt x="393" y="250"/>
                    </a:lnTo>
                    <a:lnTo>
                      <a:pt x="391" y="250"/>
                    </a:lnTo>
                    <a:lnTo>
                      <a:pt x="389" y="250"/>
                    </a:lnTo>
                    <a:lnTo>
                      <a:pt x="387" y="250"/>
                    </a:lnTo>
                    <a:lnTo>
                      <a:pt x="385" y="250"/>
                    </a:lnTo>
                    <a:lnTo>
                      <a:pt x="383" y="250"/>
                    </a:lnTo>
                    <a:lnTo>
                      <a:pt x="381" y="248"/>
                    </a:lnTo>
                    <a:lnTo>
                      <a:pt x="379" y="246"/>
                    </a:lnTo>
                    <a:lnTo>
                      <a:pt x="381" y="246"/>
                    </a:lnTo>
                    <a:lnTo>
                      <a:pt x="381" y="244"/>
                    </a:lnTo>
                    <a:lnTo>
                      <a:pt x="383" y="244"/>
                    </a:lnTo>
                    <a:lnTo>
                      <a:pt x="385" y="244"/>
                    </a:lnTo>
                    <a:lnTo>
                      <a:pt x="387" y="244"/>
                    </a:lnTo>
                    <a:lnTo>
                      <a:pt x="389" y="244"/>
                    </a:lnTo>
                    <a:lnTo>
                      <a:pt x="391" y="244"/>
                    </a:lnTo>
                    <a:lnTo>
                      <a:pt x="391" y="242"/>
                    </a:lnTo>
                    <a:lnTo>
                      <a:pt x="393" y="244"/>
                    </a:lnTo>
                    <a:lnTo>
                      <a:pt x="394" y="244"/>
                    </a:lnTo>
                    <a:lnTo>
                      <a:pt x="394" y="242"/>
                    </a:lnTo>
                    <a:lnTo>
                      <a:pt x="396" y="242"/>
                    </a:lnTo>
                    <a:close/>
                    <a:moveTo>
                      <a:pt x="503" y="143"/>
                    </a:moveTo>
                    <a:lnTo>
                      <a:pt x="505" y="143"/>
                    </a:lnTo>
                    <a:lnTo>
                      <a:pt x="507" y="143"/>
                    </a:lnTo>
                    <a:lnTo>
                      <a:pt x="509" y="143"/>
                    </a:lnTo>
                    <a:lnTo>
                      <a:pt x="509" y="145"/>
                    </a:lnTo>
                    <a:lnTo>
                      <a:pt x="511" y="145"/>
                    </a:lnTo>
                    <a:lnTo>
                      <a:pt x="511" y="147"/>
                    </a:lnTo>
                    <a:lnTo>
                      <a:pt x="509" y="147"/>
                    </a:lnTo>
                    <a:lnTo>
                      <a:pt x="509" y="145"/>
                    </a:lnTo>
                    <a:lnTo>
                      <a:pt x="509" y="147"/>
                    </a:lnTo>
                    <a:lnTo>
                      <a:pt x="511" y="147"/>
                    </a:lnTo>
                    <a:lnTo>
                      <a:pt x="513" y="147"/>
                    </a:lnTo>
                    <a:lnTo>
                      <a:pt x="513" y="148"/>
                    </a:lnTo>
                    <a:lnTo>
                      <a:pt x="513" y="150"/>
                    </a:lnTo>
                    <a:lnTo>
                      <a:pt x="513" y="152"/>
                    </a:lnTo>
                    <a:lnTo>
                      <a:pt x="511" y="152"/>
                    </a:lnTo>
                    <a:lnTo>
                      <a:pt x="509" y="152"/>
                    </a:lnTo>
                    <a:lnTo>
                      <a:pt x="507" y="154"/>
                    </a:lnTo>
                    <a:lnTo>
                      <a:pt x="505" y="154"/>
                    </a:lnTo>
                    <a:lnTo>
                      <a:pt x="503" y="154"/>
                    </a:lnTo>
                    <a:lnTo>
                      <a:pt x="501" y="154"/>
                    </a:lnTo>
                    <a:lnTo>
                      <a:pt x="499" y="154"/>
                    </a:lnTo>
                    <a:lnTo>
                      <a:pt x="499" y="152"/>
                    </a:lnTo>
                    <a:lnTo>
                      <a:pt x="497" y="152"/>
                    </a:lnTo>
                    <a:lnTo>
                      <a:pt x="496" y="150"/>
                    </a:lnTo>
                    <a:lnTo>
                      <a:pt x="494" y="148"/>
                    </a:lnTo>
                    <a:lnTo>
                      <a:pt x="492" y="147"/>
                    </a:lnTo>
                    <a:lnTo>
                      <a:pt x="492" y="145"/>
                    </a:lnTo>
                    <a:lnTo>
                      <a:pt x="494" y="143"/>
                    </a:lnTo>
                    <a:lnTo>
                      <a:pt x="494" y="145"/>
                    </a:lnTo>
                    <a:lnTo>
                      <a:pt x="496" y="145"/>
                    </a:lnTo>
                    <a:lnTo>
                      <a:pt x="496" y="143"/>
                    </a:lnTo>
                    <a:lnTo>
                      <a:pt x="497" y="143"/>
                    </a:lnTo>
                    <a:lnTo>
                      <a:pt x="499" y="143"/>
                    </a:lnTo>
                    <a:lnTo>
                      <a:pt x="503" y="143"/>
                    </a:lnTo>
                    <a:close/>
                    <a:moveTo>
                      <a:pt x="320" y="223"/>
                    </a:moveTo>
                    <a:lnTo>
                      <a:pt x="322" y="223"/>
                    </a:lnTo>
                    <a:lnTo>
                      <a:pt x="326" y="225"/>
                    </a:lnTo>
                    <a:lnTo>
                      <a:pt x="328" y="227"/>
                    </a:lnTo>
                    <a:lnTo>
                      <a:pt x="330" y="227"/>
                    </a:lnTo>
                    <a:lnTo>
                      <a:pt x="328" y="229"/>
                    </a:lnTo>
                    <a:lnTo>
                      <a:pt x="326" y="229"/>
                    </a:lnTo>
                    <a:lnTo>
                      <a:pt x="326" y="230"/>
                    </a:lnTo>
                    <a:lnTo>
                      <a:pt x="324" y="230"/>
                    </a:lnTo>
                    <a:lnTo>
                      <a:pt x="322" y="232"/>
                    </a:lnTo>
                    <a:lnTo>
                      <a:pt x="320" y="232"/>
                    </a:lnTo>
                    <a:lnTo>
                      <a:pt x="322" y="232"/>
                    </a:lnTo>
                    <a:lnTo>
                      <a:pt x="320" y="232"/>
                    </a:lnTo>
                    <a:lnTo>
                      <a:pt x="320" y="234"/>
                    </a:lnTo>
                    <a:lnTo>
                      <a:pt x="320" y="232"/>
                    </a:lnTo>
                    <a:lnTo>
                      <a:pt x="322" y="234"/>
                    </a:lnTo>
                    <a:lnTo>
                      <a:pt x="320" y="234"/>
                    </a:lnTo>
                    <a:lnTo>
                      <a:pt x="318" y="234"/>
                    </a:lnTo>
                    <a:lnTo>
                      <a:pt x="320" y="234"/>
                    </a:lnTo>
                    <a:lnTo>
                      <a:pt x="320" y="232"/>
                    </a:lnTo>
                    <a:lnTo>
                      <a:pt x="318" y="230"/>
                    </a:lnTo>
                    <a:lnTo>
                      <a:pt x="316" y="229"/>
                    </a:lnTo>
                    <a:lnTo>
                      <a:pt x="314" y="229"/>
                    </a:lnTo>
                    <a:lnTo>
                      <a:pt x="312" y="227"/>
                    </a:lnTo>
                    <a:lnTo>
                      <a:pt x="312" y="229"/>
                    </a:lnTo>
                    <a:lnTo>
                      <a:pt x="311" y="229"/>
                    </a:lnTo>
                    <a:lnTo>
                      <a:pt x="311" y="227"/>
                    </a:lnTo>
                    <a:lnTo>
                      <a:pt x="309" y="225"/>
                    </a:lnTo>
                    <a:lnTo>
                      <a:pt x="309" y="223"/>
                    </a:lnTo>
                    <a:lnTo>
                      <a:pt x="311" y="223"/>
                    </a:lnTo>
                    <a:lnTo>
                      <a:pt x="314" y="225"/>
                    </a:lnTo>
                    <a:lnTo>
                      <a:pt x="318" y="225"/>
                    </a:lnTo>
                    <a:lnTo>
                      <a:pt x="320" y="223"/>
                    </a:lnTo>
                    <a:close/>
                    <a:moveTo>
                      <a:pt x="204" y="133"/>
                    </a:moveTo>
                    <a:lnTo>
                      <a:pt x="204" y="135"/>
                    </a:lnTo>
                    <a:lnTo>
                      <a:pt x="206" y="135"/>
                    </a:lnTo>
                    <a:lnTo>
                      <a:pt x="208" y="135"/>
                    </a:lnTo>
                    <a:lnTo>
                      <a:pt x="209" y="135"/>
                    </a:lnTo>
                    <a:lnTo>
                      <a:pt x="208" y="135"/>
                    </a:lnTo>
                    <a:lnTo>
                      <a:pt x="209" y="137"/>
                    </a:lnTo>
                    <a:lnTo>
                      <a:pt x="209" y="135"/>
                    </a:lnTo>
                    <a:lnTo>
                      <a:pt x="209" y="137"/>
                    </a:lnTo>
                    <a:lnTo>
                      <a:pt x="211" y="139"/>
                    </a:lnTo>
                    <a:lnTo>
                      <a:pt x="209" y="139"/>
                    </a:lnTo>
                    <a:lnTo>
                      <a:pt x="209" y="141"/>
                    </a:lnTo>
                    <a:lnTo>
                      <a:pt x="209" y="143"/>
                    </a:lnTo>
                    <a:lnTo>
                      <a:pt x="208" y="145"/>
                    </a:lnTo>
                    <a:lnTo>
                      <a:pt x="206" y="145"/>
                    </a:lnTo>
                    <a:lnTo>
                      <a:pt x="206" y="147"/>
                    </a:lnTo>
                    <a:lnTo>
                      <a:pt x="206" y="145"/>
                    </a:lnTo>
                    <a:lnTo>
                      <a:pt x="206" y="143"/>
                    </a:lnTo>
                    <a:lnTo>
                      <a:pt x="204" y="143"/>
                    </a:lnTo>
                    <a:lnTo>
                      <a:pt x="204" y="145"/>
                    </a:lnTo>
                    <a:lnTo>
                      <a:pt x="202" y="145"/>
                    </a:lnTo>
                    <a:lnTo>
                      <a:pt x="200" y="145"/>
                    </a:lnTo>
                    <a:lnTo>
                      <a:pt x="200" y="143"/>
                    </a:lnTo>
                    <a:lnTo>
                      <a:pt x="200" y="141"/>
                    </a:lnTo>
                    <a:lnTo>
                      <a:pt x="200" y="139"/>
                    </a:lnTo>
                    <a:lnTo>
                      <a:pt x="198" y="141"/>
                    </a:lnTo>
                    <a:lnTo>
                      <a:pt x="200" y="139"/>
                    </a:lnTo>
                    <a:lnTo>
                      <a:pt x="200" y="137"/>
                    </a:lnTo>
                    <a:lnTo>
                      <a:pt x="200" y="135"/>
                    </a:lnTo>
                    <a:lnTo>
                      <a:pt x="200" y="133"/>
                    </a:lnTo>
                    <a:lnTo>
                      <a:pt x="202" y="135"/>
                    </a:lnTo>
                    <a:lnTo>
                      <a:pt x="202" y="133"/>
                    </a:lnTo>
                    <a:lnTo>
                      <a:pt x="202" y="135"/>
                    </a:lnTo>
                    <a:lnTo>
                      <a:pt x="204" y="133"/>
                    </a:lnTo>
                    <a:close/>
                    <a:moveTo>
                      <a:pt x="339" y="225"/>
                    </a:moveTo>
                    <a:lnTo>
                      <a:pt x="341" y="225"/>
                    </a:lnTo>
                    <a:lnTo>
                      <a:pt x="343" y="227"/>
                    </a:lnTo>
                    <a:lnTo>
                      <a:pt x="345" y="227"/>
                    </a:lnTo>
                    <a:lnTo>
                      <a:pt x="345" y="229"/>
                    </a:lnTo>
                    <a:lnTo>
                      <a:pt x="343" y="229"/>
                    </a:lnTo>
                    <a:lnTo>
                      <a:pt x="345" y="229"/>
                    </a:lnTo>
                    <a:lnTo>
                      <a:pt x="343" y="230"/>
                    </a:lnTo>
                    <a:lnTo>
                      <a:pt x="341" y="232"/>
                    </a:lnTo>
                    <a:lnTo>
                      <a:pt x="341" y="234"/>
                    </a:lnTo>
                    <a:lnTo>
                      <a:pt x="343" y="234"/>
                    </a:lnTo>
                    <a:lnTo>
                      <a:pt x="343" y="236"/>
                    </a:lnTo>
                    <a:lnTo>
                      <a:pt x="341" y="236"/>
                    </a:lnTo>
                    <a:lnTo>
                      <a:pt x="341" y="234"/>
                    </a:lnTo>
                    <a:lnTo>
                      <a:pt x="341" y="236"/>
                    </a:lnTo>
                    <a:lnTo>
                      <a:pt x="341" y="234"/>
                    </a:lnTo>
                    <a:lnTo>
                      <a:pt x="339" y="234"/>
                    </a:lnTo>
                    <a:lnTo>
                      <a:pt x="339" y="236"/>
                    </a:lnTo>
                    <a:lnTo>
                      <a:pt x="337" y="236"/>
                    </a:lnTo>
                    <a:lnTo>
                      <a:pt x="335" y="236"/>
                    </a:lnTo>
                    <a:lnTo>
                      <a:pt x="335" y="234"/>
                    </a:lnTo>
                    <a:lnTo>
                      <a:pt x="335" y="236"/>
                    </a:lnTo>
                    <a:lnTo>
                      <a:pt x="333" y="236"/>
                    </a:lnTo>
                    <a:lnTo>
                      <a:pt x="333" y="234"/>
                    </a:lnTo>
                    <a:lnTo>
                      <a:pt x="335" y="234"/>
                    </a:lnTo>
                    <a:lnTo>
                      <a:pt x="333" y="234"/>
                    </a:lnTo>
                    <a:lnTo>
                      <a:pt x="333" y="236"/>
                    </a:lnTo>
                    <a:lnTo>
                      <a:pt x="332" y="234"/>
                    </a:lnTo>
                    <a:lnTo>
                      <a:pt x="330" y="232"/>
                    </a:lnTo>
                    <a:lnTo>
                      <a:pt x="332" y="232"/>
                    </a:lnTo>
                    <a:lnTo>
                      <a:pt x="332" y="234"/>
                    </a:lnTo>
                    <a:lnTo>
                      <a:pt x="332" y="232"/>
                    </a:lnTo>
                    <a:lnTo>
                      <a:pt x="332" y="234"/>
                    </a:lnTo>
                    <a:lnTo>
                      <a:pt x="333" y="232"/>
                    </a:lnTo>
                    <a:lnTo>
                      <a:pt x="333" y="234"/>
                    </a:lnTo>
                    <a:lnTo>
                      <a:pt x="333" y="232"/>
                    </a:lnTo>
                    <a:lnTo>
                      <a:pt x="335" y="232"/>
                    </a:lnTo>
                    <a:lnTo>
                      <a:pt x="333" y="232"/>
                    </a:lnTo>
                    <a:lnTo>
                      <a:pt x="335" y="232"/>
                    </a:lnTo>
                    <a:lnTo>
                      <a:pt x="335" y="230"/>
                    </a:lnTo>
                    <a:lnTo>
                      <a:pt x="333" y="230"/>
                    </a:lnTo>
                    <a:lnTo>
                      <a:pt x="333" y="229"/>
                    </a:lnTo>
                    <a:lnTo>
                      <a:pt x="335" y="227"/>
                    </a:lnTo>
                    <a:lnTo>
                      <a:pt x="337" y="227"/>
                    </a:lnTo>
                    <a:lnTo>
                      <a:pt x="337" y="225"/>
                    </a:lnTo>
                    <a:lnTo>
                      <a:pt x="339" y="225"/>
                    </a:lnTo>
                    <a:close/>
                    <a:moveTo>
                      <a:pt x="446" y="164"/>
                    </a:moveTo>
                    <a:lnTo>
                      <a:pt x="446" y="166"/>
                    </a:lnTo>
                    <a:lnTo>
                      <a:pt x="448" y="168"/>
                    </a:lnTo>
                    <a:lnTo>
                      <a:pt x="448" y="169"/>
                    </a:lnTo>
                    <a:lnTo>
                      <a:pt x="448" y="171"/>
                    </a:lnTo>
                    <a:lnTo>
                      <a:pt x="448" y="169"/>
                    </a:lnTo>
                    <a:lnTo>
                      <a:pt x="446" y="169"/>
                    </a:lnTo>
                    <a:lnTo>
                      <a:pt x="448" y="169"/>
                    </a:lnTo>
                    <a:lnTo>
                      <a:pt x="446" y="169"/>
                    </a:lnTo>
                    <a:lnTo>
                      <a:pt x="446" y="168"/>
                    </a:lnTo>
                    <a:lnTo>
                      <a:pt x="446" y="169"/>
                    </a:lnTo>
                    <a:lnTo>
                      <a:pt x="444" y="169"/>
                    </a:lnTo>
                    <a:lnTo>
                      <a:pt x="446" y="169"/>
                    </a:lnTo>
                    <a:lnTo>
                      <a:pt x="444" y="169"/>
                    </a:lnTo>
                    <a:lnTo>
                      <a:pt x="444" y="171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7"/>
                    </a:lnTo>
                    <a:lnTo>
                      <a:pt x="444" y="175"/>
                    </a:lnTo>
                    <a:lnTo>
                      <a:pt x="446" y="175"/>
                    </a:lnTo>
                    <a:lnTo>
                      <a:pt x="446" y="177"/>
                    </a:lnTo>
                    <a:lnTo>
                      <a:pt x="446" y="175"/>
                    </a:lnTo>
                    <a:lnTo>
                      <a:pt x="446" y="177"/>
                    </a:lnTo>
                    <a:lnTo>
                      <a:pt x="448" y="177"/>
                    </a:lnTo>
                    <a:lnTo>
                      <a:pt x="446" y="179"/>
                    </a:lnTo>
                    <a:lnTo>
                      <a:pt x="444" y="181"/>
                    </a:lnTo>
                    <a:lnTo>
                      <a:pt x="444" y="179"/>
                    </a:lnTo>
                    <a:lnTo>
                      <a:pt x="444" y="181"/>
                    </a:lnTo>
                    <a:lnTo>
                      <a:pt x="442" y="181"/>
                    </a:lnTo>
                    <a:lnTo>
                      <a:pt x="442" y="183"/>
                    </a:lnTo>
                    <a:lnTo>
                      <a:pt x="442" y="185"/>
                    </a:lnTo>
                    <a:lnTo>
                      <a:pt x="440" y="185"/>
                    </a:lnTo>
                    <a:lnTo>
                      <a:pt x="440" y="183"/>
                    </a:lnTo>
                    <a:lnTo>
                      <a:pt x="440" y="185"/>
                    </a:lnTo>
                    <a:lnTo>
                      <a:pt x="440" y="183"/>
                    </a:lnTo>
                    <a:lnTo>
                      <a:pt x="440" y="185"/>
                    </a:lnTo>
                    <a:lnTo>
                      <a:pt x="438" y="185"/>
                    </a:lnTo>
                    <a:lnTo>
                      <a:pt x="438" y="183"/>
                    </a:lnTo>
                    <a:lnTo>
                      <a:pt x="438" y="181"/>
                    </a:lnTo>
                    <a:lnTo>
                      <a:pt x="438" y="179"/>
                    </a:lnTo>
                    <a:lnTo>
                      <a:pt x="440" y="179"/>
                    </a:lnTo>
                    <a:lnTo>
                      <a:pt x="440" y="177"/>
                    </a:lnTo>
                    <a:lnTo>
                      <a:pt x="442" y="177"/>
                    </a:lnTo>
                    <a:lnTo>
                      <a:pt x="442" y="175"/>
                    </a:lnTo>
                    <a:lnTo>
                      <a:pt x="440" y="177"/>
                    </a:lnTo>
                    <a:lnTo>
                      <a:pt x="440" y="175"/>
                    </a:lnTo>
                    <a:lnTo>
                      <a:pt x="442" y="175"/>
                    </a:lnTo>
                    <a:lnTo>
                      <a:pt x="440" y="175"/>
                    </a:lnTo>
                    <a:lnTo>
                      <a:pt x="442" y="173"/>
                    </a:lnTo>
                    <a:lnTo>
                      <a:pt x="440" y="173"/>
                    </a:lnTo>
                    <a:lnTo>
                      <a:pt x="442" y="173"/>
                    </a:lnTo>
                    <a:lnTo>
                      <a:pt x="442" y="171"/>
                    </a:lnTo>
                    <a:lnTo>
                      <a:pt x="442" y="169"/>
                    </a:lnTo>
                    <a:lnTo>
                      <a:pt x="442" y="168"/>
                    </a:lnTo>
                    <a:lnTo>
                      <a:pt x="442" y="166"/>
                    </a:lnTo>
                    <a:lnTo>
                      <a:pt x="444" y="164"/>
                    </a:lnTo>
                    <a:lnTo>
                      <a:pt x="446" y="164"/>
                    </a:lnTo>
                    <a:close/>
                    <a:moveTo>
                      <a:pt x="299" y="204"/>
                    </a:moveTo>
                    <a:lnTo>
                      <a:pt x="301" y="204"/>
                    </a:lnTo>
                    <a:lnTo>
                      <a:pt x="303" y="204"/>
                    </a:lnTo>
                    <a:lnTo>
                      <a:pt x="303" y="206"/>
                    </a:lnTo>
                    <a:lnTo>
                      <a:pt x="301" y="206"/>
                    </a:lnTo>
                    <a:lnTo>
                      <a:pt x="299" y="206"/>
                    </a:lnTo>
                    <a:lnTo>
                      <a:pt x="301" y="206"/>
                    </a:lnTo>
                    <a:lnTo>
                      <a:pt x="299" y="206"/>
                    </a:lnTo>
                    <a:lnTo>
                      <a:pt x="299" y="208"/>
                    </a:lnTo>
                    <a:lnTo>
                      <a:pt x="297" y="208"/>
                    </a:lnTo>
                    <a:lnTo>
                      <a:pt x="295" y="208"/>
                    </a:lnTo>
                    <a:lnTo>
                      <a:pt x="295" y="209"/>
                    </a:lnTo>
                    <a:lnTo>
                      <a:pt x="293" y="209"/>
                    </a:lnTo>
                    <a:lnTo>
                      <a:pt x="291" y="209"/>
                    </a:lnTo>
                    <a:lnTo>
                      <a:pt x="288" y="209"/>
                    </a:lnTo>
                    <a:lnTo>
                      <a:pt x="288" y="208"/>
                    </a:lnTo>
                    <a:lnTo>
                      <a:pt x="288" y="209"/>
                    </a:lnTo>
                    <a:lnTo>
                      <a:pt x="284" y="208"/>
                    </a:lnTo>
                    <a:lnTo>
                      <a:pt x="282" y="208"/>
                    </a:lnTo>
                    <a:lnTo>
                      <a:pt x="280" y="208"/>
                    </a:lnTo>
                    <a:lnTo>
                      <a:pt x="280" y="206"/>
                    </a:lnTo>
                    <a:lnTo>
                      <a:pt x="282" y="206"/>
                    </a:lnTo>
                    <a:lnTo>
                      <a:pt x="282" y="204"/>
                    </a:lnTo>
                    <a:lnTo>
                      <a:pt x="284" y="204"/>
                    </a:lnTo>
                    <a:lnTo>
                      <a:pt x="286" y="204"/>
                    </a:lnTo>
                    <a:lnTo>
                      <a:pt x="288" y="204"/>
                    </a:lnTo>
                    <a:lnTo>
                      <a:pt x="291" y="204"/>
                    </a:lnTo>
                    <a:lnTo>
                      <a:pt x="293" y="204"/>
                    </a:lnTo>
                    <a:lnTo>
                      <a:pt x="299" y="204"/>
                    </a:lnTo>
                    <a:close/>
                    <a:moveTo>
                      <a:pt x="38" y="70"/>
                    </a:moveTo>
                    <a:lnTo>
                      <a:pt x="38" y="68"/>
                    </a:lnTo>
                    <a:lnTo>
                      <a:pt x="38" y="70"/>
                    </a:lnTo>
                    <a:lnTo>
                      <a:pt x="40" y="70"/>
                    </a:lnTo>
                    <a:lnTo>
                      <a:pt x="40" y="72"/>
                    </a:lnTo>
                    <a:lnTo>
                      <a:pt x="42" y="74"/>
                    </a:lnTo>
                    <a:lnTo>
                      <a:pt x="44" y="76"/>
                    </a:lnTo>
                    <a:lnTo>
                      <a:pt x="45" y="76"/>
                    </a:lnTo>
                    <a:lnTo>
                      <a:pt x="45" y="78"/>
                    </a:lnTo>
                    <a:lnTo>
                      <a:pt x="45" y="80"/>
                    </a:lnTo>
                    <a:lnTo>
                      <a:pt x="45" y="82"/>
                    </a:lnTo>
                    <a:lnTo>
                      <a:pt x="45" y="84"/>
                    </a:lnTo>
                    <a:lnTo>
                      <a:pt x="44" y="85"/>
                    </a:lnTo>
                    <a:lnTo>
                      <a:pt x="44" y="84"/>
                    </a:lnTo>
                    <a:lnTo>
                      <a:pt x="44" y="85"/>
                    </a:lnTo>
                    <a:lnTo>
                      <a:pt x="44" y="84"/>
                    </a:lnTo>
                    <a:lnTo>
                      <a:pt x="44" y="85"/>
                    </a:lnTo>
                    <a:lnTo>
                      <a:pt x="44" y="84"/>
                    </a:lnTo>
                    <a:lnTo>
                      <a:pt x="44" y="85"/>
                    </a:lnTo>
                    <a:lnTo>
                      <a:pt x="44" y="84"/>
                    </a:lnTo>
                    <a:lnTo>
                      <a:pt x="42" y="85"/>
                    </a:lnTo>
                    <a:lnTo>
                      <a:pt x="42" y="84"/>
                    </a:lnTo>
                    <a:lnTo>
                      <a:pt x="42" y="82"/>
                    </a:lnTo>
                    <a:lnTo>
                      <a:pt x="42" y="80"/>
                    </a:lnTo>
                    <a:lnTo>
                      <a:pt x="40" y="80"/>
                    </a:lnTo>
                    <a:lnTo>
                      <a:pt x="40" y="78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6" y="76"/>
                    </a:lnTo>
                    <a:lnTo>
                      <a:pt x="36" y="74"/>
                    </a:lnTo>
                    <a:lnTo>
                      <a:pt x="34" y="74"/>
                    </a:lnTo>
                    <a:lnTo>
                      <a:pt x="34" y="72"/>
                    </a:lnTo>
                    <a:lnTo>
                      <a:pt x="32" y="70"/>
                    </a:lnTo>
                    <a:lnTo>
                      <a:pt x="32" y="72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4" y="72"/>
                    </a:lnTo>
                    <a:lnTo>
                      <a:pt x="34" y="70"/>
                    </a:lnTo>
                    <a:lnTo>
                      <a:pt x="36" y="70"/>
                    </a:lnTo>
                    <a:lnTo>
                      <a:pt x="36" y="68"/>
                    </a:lnTo>
                    <a:lnTo>
                      <a:pt x="38" y="70"/>
                    </a:lnTo>
                    <a:close/>
                    <a:moveTo>
                      <a:pt x="61" y="108"/>
                    </a:moveTo>
                    <a:lnTo>
                      <a:pt x="63" y="108"/>
                    </a:lnTo>
                    <a:lnTo>
                      <a:pt x="63" y="110"/>
                    </a:lnTo>
                    <a:lnTo>
                      <a:pt x="61" y="108"/>
                    </a:lnTo>
                    <a:lnTo>
                      <a:pt x="63" y="110"/>
                    </a:lnTo>
                    <a:lnTo>
                      <a:pt x="63" y="112"/>
                    </a:lnTo>
                    <a:lnTo>
                      <a:pt x="65" y="112"/>
                    </a:lnTo>
                    <a:lnTo>
                      <a:pt x="65" y="114"/>
                    </a:lnTo>
                    <a:lnTo>
                      <a:pt x="65" y="116"/>
                    </a:lnTo>
                    <a:lnTo>
                      <a:pt x="66" y="116"/>
                    </a:lnTo>
                    <a:lnTo>
                      <a:pt x="65" y="116"/>
                    </a:lnTo>
                    <a:lnTo>
                      <a:pt x="66" y="118"/>
                    </a:lnTo>
                    <a:lnTo>
                      <a:pt x="66" y="120"/>
                    </a:lnTo>
                    <a:lnTo>
                      <a:pt x="66" y="118"/>
                    </a:lnTo>
                    <a:lnTo>
                      <a:pt x="68" y="120"/>
                    </a:lnTo>
                    <a:lnTo>
                      <a:pt x="66" y="120"/>
                    </a:lnTo>
                    <a:lnTo>
                      <a:pt x="68" y="120"/>
                    </a:lnTo>
                    <a:lnTo>
                      <a:pt x="66" y="120"/>
                    </a:lnTo>
                    <a:lnTo>
                      <a:pt x="68" y="120"/>
                    </a:lnTo>
                    <a:lnTo>
                      <a:pt x="68" y="122"/>
                    </a:lnTo>
                    <a:lnTo>
                      <a:pt x="66" y="122"/>
                    </a:lnTo>
                    <a:lnTo>
                      <a:pt x="66" y="120"/>
                    </a:lnTo>
                    <a:lnTo>
                      <a:pt x="66" y="122"/>
                    </a:lnTo>
                    <a:lnTo>
                      <a:pt x="65" y="122"/>
                    </a:lnTo>
                    <a:lnTo>
                      <a:pt x="61" y="120"/>
                    </a:lnTo>
                    <a:lnTo>
                      <a:pt x="61" y="118"/>
                    </a:lnTo>
                    <a:lnTo>
                      <a:pt x="57" y="112"/>
                    </a:lnTo>
                    <a:lnTo>
                      <a:pt x="57" y="110"/>
                    </a:lnTo>
                    <a:lnTo>
                      <a:pt x="57" y="108"/>
                    </a:lnTo>
                    <a:lnTo>
                      <a:pt x="59" y="108"/>
                    </a:lnTo>
                    <a:lnTo>
                      <a:pt x="61" y="108"/>
                    </a:lnTo>
                    <a:close/>
                    <a:moveTo>
                      <a:pt x="581" y="208"/>
                    </a:moveTo>
                    <a:lnTo>
                      <a:pt x="583" y="208"/>
                    </a:lnTo>
                    <a:lnTo>
                      <a:pt x="581" y="208"/>
                    </a:lnTo>
                    <a:lnTo>
                      <a:pt x="583" y="208"/>
                    </a:lnTo>
                    <a:lnTo>
                      <a:pt x="583" y="209"/>
                    </a:lnTo>
                    <a:lnTo>
                      <a:pt x="581" y="209"/>
                    </a:lnTo>
                    <a:lnTo>
                      <a:pt x="583" y="211"/>
                    </a:lnTo>
                    <a:lnTo>
                      <a:pt x="581" y="211"/>
                    </a:lnTo>
                    <a:lnTo>
                      <a:pt x="583" y="211"/>
                    </a:lnTo>
                    <a:lnTo>
                      <a:pt x="581" y="211"/>
                    </a:lnTo>
                    <a:lnTo>
                      <a:pt x="583" y="211"/>
                    </a:lnTo>
                    <a:lnTo>
                      <a:pt x="583" y="213"/>
                    </a:lnTo>
                    <a:lnTo>
                      <a:pt x="581" y="213"/>
                    </a:lnTo>
                    <a:lnTo>
                      <a:pt x="583" y="213"/>
                    </a:lnTo>
                    <a:lnTo>
                      <a:pt x="581" y="215"/>
                    </a:lnTo>
                    <a:lnTo>
                      <a:pt x="581" y="217"/>
                    </a:lnTo>
                    <a:lnTo>
                      <a:pt x="579" y="217"/>
                    </a:lnTo>
                    <a:lnTo>
                      <a:pt x="579" y="219"/>
                    </a:lnTo>
                    <a:lnTo>
                      <a:pt x="578" y="219"/>
                    </a:lnTo>
                    <a:lnTo>
                      <a:pt x="578" y="221"/>
                    </a:lnTo>
                    <a:lnTo>
                      <a:pt x="576" y="221"/>
                    </a:lnTo>
                    <a:lnTo>
                      <a:pt x="578" y="221"/>
                    </a:lnTo>
                    <a:lnTo>
                      <a:pt x="576" y="219"/>
                    </a:lnTo>
                    <a:lnTo>
                      <a:pt x="576" y="221"/>
                    </a:lnTo>
                    <a:lnTo>
                      <a:pt x="574" y="221"/>
                    </a:lnTo>
                    <a:lnTo>
                      <a:pt x="574" y="219"/>
                    </a:lnTo>
                    <a:lnTo>
                      <a:pt x="574" y="217"/>
                    </a:lnTo>
                    <a:lnTo>
                      <a:pt x="574" y="215"/>
                    </a:lnTo>
                    <a:lnTo>
                      <a:pt x="574" y="217"/>
                    </a:lnTo>
                    <a:lnTo>
                      <a:pt x="576" y="217"/>
                    </a:lnTo>
                    <a:lnTo>
                      <a:pt x="574" y="215"/>
                    </a:lnTo>
                    <a:lnTo>
                      <a:pt x="576" y="215"/>
                    </a:lnTo>
                    <a:lnTo>
                      <a:pt x="574" y="215"/>
                    </a:lnTo>
                    <a:lnTo>
                      <a:pt x="576" y="215"/>
                    </a:lnTo>
                    <a:lnTo>
                      <a:pt x="576" y="213"/>
                    </a:lnTo>
                    <a:lnTo>
                      <a:pt x="578" y="211"/>
                    </a:lnTo>
                    <a:lnTo>
                      <a:pt x="579" y="211"/>
                    </a:lnTo>
                    <a:lnTo>
                      <a:pt x="579" y="209"/>
                    </a:lnTo>
                    <a:lnTo>
                      <a:pt x="579" y="208"/>
                    </a:lnTo>
                    <a:lnTo>
                      <a:pt x="581" y="208"/>
                    </a:lnTo>
                    <a:close/>
                    <a:moveTo>
                      <a:pt x="568" y="93"/>
                    </a:moveTo>
                    <a:lnTo>
                      <a:pt x="570" y="93"/>
                    </a:lnTo>
                    <a:lnTo>
                      <a:pt x="572" y="95"/>
                    </a:lnTo>
                    <a:lnTo>
                      <a:pt x="572" y="93"/>
                    </a:lnTo>
                    <a:lnTo>
                      <a:pt x="572" y="95"/>
                    </a:lnTo>
                    <a:lnTo>
                      <a:pt x="572" y="93"/>
                    </a:lnTo>
                    <a:lnTo>
                      <a:pt x="572" y="95"/>
                    </a:lnTo>
                    <a:lnTo>
                      <a:pt x="572" y="93"/>
                    </a:lnTo>
                    <a:lnTo>
                      <a:pt x="572" y="95"/>
                    </a:lnTo>
                    <a:lnTo>
                      <a:pt x="574" y="95"/>
                    </a:lnTo>
                    <a:lnTo>
                      <a:pt x="576" y="95"/>
                    </a:lnTo>
                    <a:lnTo>
                      <a:pt x="578" y="97"/>
                    </a:lnTo>
                    <a:lnTo>
                      <a:pt x="576" y="97"/>
                    </a:lnTo>
                    <a:lnTo>
                      <a:pt x="578" y="99"/>
                    </a:lnTo>
                    <a:lnTo>
                      <a:pt x="576" y="99"/>
                    </a:lnTo>
                    <a:lnTo>
                      <a:pt x="574" y="99"/>
                    </a:lnTo>
                    <a:lnTo>
                      <a:pt x="572" y="99"/>
                    </a:lnTo>
                    <a:lnTo>
                      <a:pt x="570" y="99"/>
                    </a:lnTo>
                    <a:lnTo>
                      <a:pt x="570" y="97"/>
                    </a:lnTo>
                    <a:lnTo>
                      <a:pt x="568" y="97"/>
                    </a:lnTo>
                    <a:lnTo>
                      <a:pt x="568" y="95"/>
                    </a:lnTo>
                    <a:lnTo>
                      <a:pt x="566" y="95"/>
                    </a:lnTo>
                    <a:lnTo>
                      <a:pt x="568" y="95"/>
                    </a:lnTo>
                    <a:lnTo>
                      <a:pt x="566" y="95"/>
                    </a:lnTo>
                    <a:lnTo>
                      <a:pt x="566" y="97"/>
                    </a:lnTo>
                    <a:lnTo>
                      <a:pt x="568" y="97"/>
                    </a:lnTo>
                    <a:lnTo>
                      <a:pt x="568" y="99"/>
                    </a:lnTo>
                    <a:lnTo>
                      <a:pt x="570" y="99"/>
                    </a:lnTo>
                    <a:lnTo>
                      <a:pt x="572" y="99"/>
                    </a:lnTo>
                    <a:lnTo>
                      <a:pt x="570" y="99"/>
                    </a:lnTo>
                    <a:lnTo>
                      <a:pt x="570" y="101"/>
                    </a:lnTo>
                    <a:lnTo>
                      <a:pt x="568" y="101"/>
                    </a:lnTo>
                    <a:lnTo>
                      <a:pt x="566" y="99"/>
                    </a:lnTo>
                    <a:lnTo>
                      <a:pt x="568" y="99"/>
                    </a:lnTo>
                    <a:lnTo>
                      <a:pt x="566" y="99"/>
                    </a:lnTo>
                    <a:lnTo>
                      <a:pt x="564" y="99"/>
                    </a:lnTo>
                    <a:lnTo>
                      <a:pt x="566" y="99"/>
                    </a:lnTo>
                    <a:lnTo>
                      <a:pt x="564" y="101"/>
                    </a:lnTo>
                    <a:lnTo>
                      <a:pt x="564" y="99"/>
                    </a:lnTo>
                    <a:lnTo>
                      <a:pt x="564" y="97"/>
                    </a:lnTo>
                    <a:lnTo>
                      <a:pt x="562" y="99"/>
                    </a:lnTo>
                    <a:lnTo>
                      <a:pt x="562" y="97"/>
                    </a:lnTo>
                    <a:lnTo>
                      <a:pt x="562" y="99"/>
                    </a:lnTo>
                    <a:lnTo>
                      <a:pt x="562" y="97"/>
                    </a:lnTo>
                    <a:lnTo>
                      <a:pt x="560" y="97"/>
                    </a:lnTo>
                    <a:lnTo>
                      <a:pt x="562" y="97"/>
                    </a:lnTo>
                    <a:lnTo>
                      <a:pt x="562" y="95"/>
                    </a:lnTo>
                    <a:lnTo>
                      <a:pt x="562" y="97"/>
                    </a:lnTo>
                    <a:lnTo>
                      <a:pt x="562" y="95"/>
                    </a:lnTo>
                    <a:lnTo>
                      <a:pt x="562" y="97"/>
                    </a:lnTo>
                    <a:lnTo>
                      <a:pt x="560" y="95"/>
                    </a:lnTo>
                    <a:lnTo>
                      <a:pt x="562" y="97"/>
                    </a:lnTo>
                    <a:lnTo>
                      <a:pt x="560" y="97"/>
                    </a:lnTo>
                    <a:lnTo>
                      <a:pt x="560" y="95"/>
                    </a:lnTo>
                    <a:lnTo>
                      <a:pt x="562" y="95"/>
                    </a:lnTo>
                    <a:lnTo>
                      <a:pt x="564" y="95"/>
                    </a:lnTo>
                    <a:lnTo>
                      <a:pt x="566" y="95"/>
                    </a:lnTo>
                    <a:lnTo>
                      <a:pt x="564" y="95"/>
                    </a:lnTo>
                    <a:lnTo>
                      <a:pt x="566" y="95"/>
                    </a:lnTo>
                    <a:lnTo>
                      <a:pt x="568" y="93"/>
                    </a:lnTo>
                    <a:lnTo>
                      <a:pt x="568" y="95"/>
                    </a:lnTo>
                    <a:lnTo>
                      <a:pt x="568" y="93"/>
                    </a:lnTo>
                    <a:close/>
                    <a:moveTo>
                      <a:pt x="440" y="168"/>
                    </a:moveTo>
                    <a:lnTo>
                      <a:pt x="440" y="169"/>
                    </a:lnTo>
                    <a:lnTo>
                      <a:pt x="440" y="171"/>
                    </a:lnTo>
                    <a:lnTo>
                      <a:pt x="440" y="173"/>
                    </a:lnTo>
                    <a:lnTo>
                      <a:pt x="438" y="175"/>
                    </a:lnTo>
                    <a:lnTo>
                      <a:pt x="438" y="177"/>
                    </a:lnTo>
                    <a:lnTo>
                      <a:pt x="438" y="179"/>
                    </a:lnTo>
                    <a:lnTo>
                      <a:pt x="438" y="181"/>
                    </a:lnTo>
                    <a:lnTo>
                      <a:pt x="438" y="179"/>
                    </a:lnTo>
                    <a:lnTo>
                      <a:pt x="438" y="181"/>
                    </a:lnTo>
                    <a:lnTo>
                      <a:pt x="436" y="181"/>
                    </a:lnTo>
                    <a:lnTo>
                      <a:pt x="436" y="179"/>
                    </a:lnTo>
                    <a:lnTo>
                      <a:pt x="436" y="177"/>
                    </a:lnTo>
                    <a:lnTo>
                      <a:pt x="436" y="179"/>
                    </a:lnTo>
                    <a:lnTo>
                      <a:pt x="434" y="179"/>
                    </a:lnTo>
                    <a:lnTo>
                      <a:pt x="436" y="179"/>
                    </a:lnTo>
                    <a:lnTo>
                      <a:pt x="434" y="179"/>
                    </a:lnTo>
                    <a:lnTo>
                      <a:pt x="433" y="179"/>
                    </a:lnTo>
                    <a:lnTo>
                      <a:pt x="434" y="177"/>
                    </a:lnTo>
                    <a:lnTo>
                      <a:pt x="433" y="177"/>
                    </a:lnTo>
                    <a:lnTo>
                      <a:pt x="434" y="175"/>
                    </a:lnTo>
                    <a:lnTo>
                      <a:pt x="434" y="173"/>
                    </a:lnTo>
                    <a:lnTo>
                      <a:pt x="434" y="171"/>
                    </a:lnTo>
                    <a:lnTo>
                      <a:pt x="434" y="169"/>
                    </a:lnTo>
                    <a:lnTo>
                      <a:pt x="436" y="169"/>
                    </a:lnTo>
                    <a:lnTo>
                      <a:pt x="436" y="168"/>
                    </a:lnTo>
                    <a:lnTo>
                      <a:pt x="438" y="168"/>
                    </a:lnTo>
                    <a:lnTo>
                      <a:pt x="440" y="168"/>
                    </a:lnTo>
                    <a:close/>
                    <a:moveTo>
                      <a:pt x="469" y="120"/>
                    </a:moveTo>
                    <a:lnTo>
                      <a:pt x="471" y="120"/>
                    </a:lnTo>
                    <a:lnTo>
                      <a:pt x="473" y="120"/>
                    </a:lnTo>
                    <a:lnTo>
                      <a:pt x="475" y="120"/>
                    </a:lnTo>
                    <a:lnTo>
                      <a:pt x="476" y="120"/>
                    </a:lnTo>
                    <a:lnTo>
                      <a:pt x="476" y="122"/>
                    </a:lnTo>
                    <a:lnTo>
                      <a:pt x="478" y="122"/>
                    </a:lnTo>
                    <a:lnTo>
                      <a:pt x="478" y="120"/>
                    </a:lnTo>
                    <a:lnTo>
                      <a:pt x="480" y="122"/>
                    </a:lnTo>
                    <a:lnTo>
                      <a:pt x="478" y="122"/>
                    </a:lnTo>
                    <a:lnTo>
                      <a:pt x="480" y="122"/>
                    </a:lnTo>
                    <a:lnTo>
                      <a:pt x="482" y="122"/>
                    </a:lnTo>
                    <a:lnTo>
                      <a:pt x="482" y="124"/>
                    </a:lnTo>
                    <a:lnTo>
                      <a:pt x="480" y="124"/>
                    </a:lnTo>
                    <a:lnTo>
                      <a:pt x="478" y="124"/>
                    </a:lnTo>
                    <a:lnTo>
                      <a:pt x="476" y="124"/>
                    </a:lnTo>
                    <a:lnTo>
                      <a:pt x="475" y="124"/>
                    </a:lnTo>
                    <a:lnTo>
                      <a:pt x="473" y="124"/>
                    </a:lnTo>
                    <a:lnTo>
                      <a:pt x="471" y="126"/>
                    </a:lnTo>
                    <a:lnTo>
                      <a:pt x="469" y="126"/>
                    </a:lnTo>
                    <a:lnTo>
                      <a:pt x="467" y="126"/>
                    </a:lnTo>
                    <a:lnTo>
                      <a:pt x="465" y="124"/>
                    </a:lnTo>
                    <a:lnTo>
                      <a:pt x="467" y="122"/>
                    </a:lnTo>
                    <a:lnTo>
                      <a:pt x="467" y="120"/>
                    </a:lnTo>
                    <a:lnTo>
                      <a:pt x="467" y="122"/>
                    </a:lnTo>
                    <a:lnTo>
                      <a:pt x="467" y="120"/>
                    </a:lnTo>
                    <a:lnTo>
                      <a:pt x="469" y="120"/>
                    </a:lnTo>
                    <a:close/>
                    <a:moveTo>
                      <a:pt x="503" y="213"/>
                    </a:moveTo>
                    <a:lnTo>
                      <a:pt x="503" y="215"/>
                    </a:lnTo>
                    <a:lnTo>
                      <a:pt x="505" y="215"/>
                    </a:lnTo>
                    <a:lnTo>
                      <a:pt x="505" y="217"/>
                    </a:lnTo>
                    <a:lnTo>
                      <a:pt x="503" y="217"/>
                    </a:lnTo>
                    <a:lnTo>
                      <a:pt x="501" y="219"/>
                    </a:lnTo>
                    <a:lnTo>
                      <a:pt x="499" y="221"/>
                    </a:lnTo>
                    <a:lnTo>
                      <a:pt x="497" y="221"/>
                    </a:lnTo>
                    <a:lnTo>
                      <a:pt x="497" y="219"/>
                    </a:lnTo>
                    <a:lnTo>
                      <a:pt x="496" y="219"/>
                    </a:lnTo>
                    <a:lnTo>
                      <a:pt x="494" y="219"/>
                    </a:lnTo>
                    <a:lnTo>
                      <a:pt x="492" y="219"/>
                    </a:lnTo>
                    <a:lnTo>
                      <a:pt x="490" y="221"/>
                    </a:lnTo>
                    <a:lnTo>
                      <a:pt x="490" y="219"/>
                    </a:lnTo>
                    <a:lnTo>
                      <a:pt x="490" y="217"/>
                    </a:lnTo>
                    <a:lnTo>
                      <a:pt x="492" y="217"/>
                    </a:lnTo>
                    <a:lnTo>
                      <a:pt x="492" y="215"/>
                    </a:lnTo>
                    <a:lnTo>
                      <a:pt x="494" y="217"/>
                    </a:lnTo>
                    <a:lnTo>
                      <a:pt x="496" y="217"/>
                    </a:lnTo>
                    <a:lnTo>
                      <a:pt x="496" y="215"/>
                    </a:lnTo>
                    <a:lnTo>
                      <a:pt x="497" y="217"/>
                    </a:lnTo>
                    <a:lnTo>
                      <a:pt x="497" y="215"/>
                    </a:lnTo>
                    <a:lnTo>
                      <a:pt x="499" y="215"/>
                    </a:lnTo>
                    <a:lnTo>
                      <a:pt x="503" y="213"/>
                    </a:lnTo>
                    <a:close/>
                    <a:moveTo>
                      <a:pt x="642" y="103"/>
                    </a:moveTo>
                    <a:lnTo>
                      <a:pt x="642" y="105"/>
                    </a:lnTo>
                    <a:lnTo>
                      <a:pt x="644" y="105"/>
                    </a:lnTo>
                    <a:lnTo>
                      <a:pt x="646" y="105"/>
                    </a:lnTo>
                    <a:lnTo>
                      <a:pt x="648" y="105"/>
                    </a:lnTo>
                    <a:lnTo>
                      <a:pt x="650" y="105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2" y="108"/>
                    </a:lnTo>
                    <a:lnTo>
                      <a:pt x="654" y="108"/>
                    </a:lnTo>
                    <a:lnTo>
                      <a:pt x="654" y="110"/>
                    </a:lnTo>
                    <a:lnTo>
                      <a:pt x="656" y="110"/>
                    </a:lnTo>
                    <a:lnTo>
                      <a:pt x="658" y="110"/>
                    </a:lnTo>
                    <a:lnTo>
                      <a:pt x="656" y="112"/>
                    </a:lnTo>
                    <a:lnTo>
                      <a:pt x="654" y="112"/>
                    </a:lnTo>
                    <a:lnTo>
                      <a:pt x="652" y="112"/>
                    </a:lnTo>
                    <a:lnTo>
                      <a:pt x="650" y="112"/>
                    </a:lnTo>
                    <a:lnTo>
                      <a:pt x="648" y="110"/>
                    </a:lnTo>
                    <a:lnTo>
                      <a:pt x="648" y="108"/>
                    </a:lnTo>
                    <a:lnTo>
                      <a:pt x="648" y="106"/>
                    </a:lnTo>
                    <a:lnTo>
                      <a:pt x="646" y="106"/>
                    </a:lnTo>
                    <a:lnTo>
                      <a:pt x="646" y="108"/>
                    </a:lnTo>
                    <a:lnTo>
                      <a:pt x="644" y="106"/>
                    </a:lnTo>
                    <a:lnTo>
                      <a:pt x="642" y="106"/>
                    </a:lnTo>
                    <a:lnTo>
                      <a:pt x="642" y="105"/>
                    </a:lnTo>
                    <a:lnTo>
                      <a:pt x="644" y="106"/>
                    </a:lnTo>
                    <a:lnTo>
                      <a:pt x="642" y="106"/>
                    </a:lnTo>
                    <a:lnTo>
                      <a:pt x="642" y="105"/>
                    </a:lnTo>
                    <a:lnTo>
                      <a:pt x="640" y="103"/>
                    </a:lnTo>
                    <a:lnTo>
                      <a:pt x="642" y="103"/>
                    </a:lnTo>
                    <a:close/>
                    <a:moveTo>
                      <a:pt x="518" y="114"/>
                    </a:moveTo>
                    <a:lnTo>
                      <a:pt x="520" y="114"/>
                    </a:lnTo>
                    <a:lnTo>
                      <a:pt x="520" y="116"/>
                    </a:lnTo>
                    <a:lnTo>
                      <a:pt x="522" y="116"/>
                    </a:lnTo>
                    <a:lnTo>
                      <a:pt x="524" y="118"/>
                    </a:lnTo>
                    <a:lnTo>
                      <a:pt x="526" y="118"/>
                    </a:lnTo>
                    <a:lnTo>
                      <a:pt x="526" y="120"/>
                    </a:lnTo>
                    <a:lnTo>
                      <a:pt x="526" y="122"/>
                    </a:lnTo>
                    <a:lnTo>
                      <a:pt x="524" y="122"/>
                    </a:lnTo>
                    <a:lnTo>
                      <a:pt x="524" y="120"/>
                    </a:lnTo>
                    <a:lnTo>
                      <a:pt x="522" y="120"/>
                    </a:lnTo>
                    <a:lnTo>
                      <a:pt x="520" y="120"/>
                    </a:lnTo>
                    <a:lnTo>
                      <a:pt x="518" y="120"/>
                    </a:lnTo>
                    <a:lnTo>
                      <a:pt x="518" y="122"/>
                    </a:lnTo>
                    <a:lnTo>
                      <a:pt x="516" y="122"/>
                    </a:lnTo>
                    <a:lnTo>
                      <a:pt x="515" y="120"/>
                    </a:lnTo>
                    <a:lnTo>
                      <a:pt x="515" y="118"/>
                    </a:lnTo>
                    <a:lnTo>
                      <a:pt x="515" y="116"/>
                    </a:lnTo>
                    <a:lnTo>
                      <a:pt x="516" y="116"/>
                    </a:lnTo>
                    <a:lnTo>
                      <a:pt x="518" y="114"/>
                    </a:lnTo>
                    <a:close/>
                    <a:moveTo>
                      <a:pt x="621" y="192"/>
                    </a:moveTo>
                    <a:lnTo>
                      <a:pt x="623" y="192"/>
                    </a:lnTo>
                    <a:lnTo>
                      <a:pt x="623" y="194"/>
                    </a:lnTo>
                    <a:lnTo>
                      <a:pt x="625" y="194"/>
                    </a:lnTo>
                    <a:lnTo>
                      <a:pt x="625" y="196"/>
                    </a:lnTo>
                    <a:lnTo>
                      <a:pt x="627" y="196"/>
                    </a:lnTo>
                    <a:lnTo>
                      <a:pt x="627" y="198"/>
                    </a:lnTo>
                    <a:lnTo>
                      <a:pt x="627" y="200"/>
                    </a:lnTo>
                    <a:lnTo>
                      <a:pt x="625" y="200"/>
                    </a:lnTo>
                    <a:lnTo>
                      <a:pt x="627" y="200"/>
                    </a:lnTo>
                    <a:lnTo>
                      <a:pt x="625" y="200"/>
                    </a:lnTo>
                    <a:lnTo>
                      <a:pt x="625" y="202"/>
                    </a:lnTo>
                    <a:lnTo>
                      <a:pt x="625" y="204"/>
                    </a:lnTo>
                    <a:lnTo>
                      <a:pt x="623" y="204"/>
                    </a:lnTo>
                    <a:lnTo>
                      <a:pt x="621" y="204"/>
                    </a:lnTo>
                    <a:lnTo>
                      <a:pt x="621" y="202"/>
                    </a:lnTo>
                    <a:lnTo>
                      <a:pt x="621" y="204"/>
                    </a:lnTo>
                    <a:lnTo>
                      <a:pt x="621" y="202"/>
                    </a:lnTo>
                    <a:lnTo>
                      <a:pt x="619" y="202"/>
                    </a:lnTo>
                    <a:lnTo>
                      <a:pt x="621" y="200"/>
                    </a:lnTo>
                    <a:lnTo>
                      <a:pt x="621" y="196"/>
                    </a:lnTo>
                    <a:lnTo>
                      <a:pt x="623" y="196"/>
                    </a:lnTo>
                    <a:lnTo>
                      <a:pt x="621" y="198"/>
                    </a:lnTo>
                    <a:lnTo>
                      <a:pt x="623" y="196"/>
                    </a:lnTo>
                    <a:lnTo>
                      <a:pt x="623" y="198"/>
                    </a:lnTo>
                    <a:lnTo>
                      <a:pt x="623" y="196"/>
                    </a:lnTo>
                    <a:lnTo>
                      <a:pt x="621" y="196"/>
                    </a:lnTo>
                    <a:lnTo>
                      <a:pt x="621" y="194"/>
                    </a:lnTo>
                    <a:lnTo>
                      <a:pt x="621" y="192"/>
                    </a:lnTo>
                    <a:close/>
                    <a:moveTo>
                      <a:pt x="448" y="112"/>
                    </a:moveTo>
                    <a:lnTo>
                      <a:pt x="448" y="114"/>
                    </a:lnTo>
                    <a:lnTo>
                      <a:pt x="448" y="116"/>
                    </a:lnTo>
                    <a:lnTo>
                      <a:pt x="450" y="116"/>
                    </a:lnTo>
                    <a:lnTo>
                      <a:pt x="450" y="114"/>
                    </a:lnTo>
                    <a:lnTo>
                      <a:pt x="450" y="112"/>
                    </a:lnTo>
                    <a:lnTo>
                      <a:pt x="452" y="112"/>
                    </a:lnTo>
                    <a:lnTo>
                      <a:pt x="452" y="114"/>
                    </a:lnTo>
                    <a:lnTo>
                      <a:pt x="452" y="112"/>
                    </a:lnTo>
                    <a:lnTo>
                      <a:pt x="452" y="114"/>
                    </a:lnTo>
                    <a:lnTo>
                      <a:pt x="454" y="114"/>
                    </a:lnTo>
                    <a:lnTo>
                      <a:pt x="454" y="116"/>
                    </a:lnTo>
                    <a:lnTo>
                      <a:pt x="452" y="116"/>
                    </a:lnTo>
                    <a:lnTo>
                      <a:pt x="452" y="118"/>
                    </a:lnTo>
                    <a:lnTo>
                      <a:pt x="450" y="118"/>
                    </a:lnTo>
                    <a:lnTo>
                      <a:pt x="450" y="116"/>
                    </a:lnTo>
                    <a:lnTo>
                      <a:pt x="448" y="116"/>
                    </a:lnTo>
                    <a:lnTo>
                      <a:pt x="448" y="118"/>
                    </a:lnTo>
                    <a:lnTo>
                      <a:pt x="448" y="120"/>
                    </a:lnTo>
                    <a:lnTo>
                      <a:pt x="446" y="120"/>
                    </a:lnTo>
                    <a:lnTo>
                      <a:pt x="446" y="118"/>
                    </a:lnTo>
                    <a:lnTo>
                      <a:pt x="446" y="120"/>
                    </a:lnTo>
                    <a:lnTo>
                      <a:pt x="446" y="118"/>
                    </a:lnTo>
                    <a:lnTo>
                      <a:pt x="448" y="118"/>
                    </a:lnTo>
                    <a:lnTo>
                      <a:pt x="448" y="116"/>
                    </a:lnTo>
                    <a:lnTo>
                      <a:pt x="448" y="114"/>
                    </a:lnTo>
                    <a:lnTo>
                      <a:pt x="446" y="114"/>
                    </a:lnTo>
                    <a:lnTo>
                      <a:pt x="446" y="116"/>
                    </a:lnTo>
                    <a:lnTo>
                      <a:pt x="444" y="118"/>
                    </a:lnTo>
                    <a:lnTo>
                      <a:pt x="442" y="118"/>
                    </a:lnTo>
                    <a:lnTo>
                      <a:pt x="442" y="116"/>
                    </a:lnTo>
                    <a:lnTo>
                      <a:pt x="442" y="114"/>
                    </a:lnTo>
                    <a:lnTo>
                      <a:pt x="444" y="112"/>
                    </a:lnTo>
                    <a:lnTo>
                      <a:pt x="446" y="112"/>
                    </a:lnTo>
                    <a:lnTo>
                      <a:pt x="448" y="112"/>
                    </a:lnTo>
                    <a:close/>
                    <a:moveTo>
                      <a:pt x="642" y="120"/>
                    </a:moveTo>
                    <a:lnTo>
                      <a:pt x="646" y="120"/>
                    </a:lnTo>
                    <a:lnTo>
                      <a:pt x="648" y="120"/>
                    </a:lnTo>
                    <a:lnTo>
                      <a:pt x="650" y="120"/>
                    </a:lnTo>
                    <a:lnTo>
                      <a:pt x="652" y="120"/>
                    </a:lnTo>
                    <a:lnTo>
                      <a:pt x="654" y="120"/>
                    </a:lnTo>
                    <a:lnTo>
                      <a:pt x="658" y="122"/>
                    </a:lnTo>
                    <a:lnTo>
                      <a:pt x="658" y="120"/>
                    </a:lnTo>
                    <a:lnTo>
                      <a:pt x="661" y="122"/>
                    </a:lnTo>
                    <a:lnTo>
                      <a:pt x="663" y="122"/>
                    </a:lnTo>
                    <a:lnTo>
                      <a:pt x="665" y="122"/>
                    </a:lnTo>
                    <a:lnTo>
                      <a:pt x="663" y="122"/>
                    </a:lnTo>
                    <a:lnTo>
                      <a:pt x="663" y="124"/>
                    </a:lnTo>
                    <a:lnTo>
                      <a:pt x="661" y="122"/>
                    </a:lnTo>
                    <a:lnTo>
                      <a:pt x="661" y="124"/>
                    </a:lnTo>
                    <a:lnTo>
                      <a:pt x="660" y="124"/>
                    </a:lnTo>
                    <a:lnTo>
                      <a:pt x="658" y="124"/>
                    </a:lnTo>
                    <a:lnTo>
                      <a:pt x="656" y="124"/>
                    </a:lnTo>
                    <a:lnTo>
                      <a:pt x="654" y="124"/>
                    </a:lnTo>
                    <a:lnTo>
                      <a:pt x="652" y="124"/>
                    </a:lnTo>
                    <a:lnTo>
                      <a:pt x="652" y="122"/>
                    </a:lnTo>
                    <a:lnTo>
                      <a:pt x="650" y="122"/>
                    </a:lnTo>
                    <a:lnTo>
                      <a:pt x="648" y="122"/>
                    </a:lnTo>
                    <a:lnTo>
                      <a:pt x="650" y="122"/>
                    </a:lnTo>
                    <a:lnTo>
                      <a:pt x="648" y="122"/>
                    </a:lnTo>
                    <a:lnTo>
                      <a:pt x="648" y="120"/>
                    </a:lnTo>
                    <a:lnTo>
                      <a:pt x="648" y="122"/>
                    </a:lnTo>
                    <a:lnTo>
                      <a:pt x="646" y="120"/>
                    </a:lnTo>
                    <a:lnTo>
                      <a:pt x="644" y="120"/>
                    </a:lnTo>
                    <a:lnTo>
                      <a:pt x="642" y="120"/>
                    </a:lnTo>
                    <a:close/>
                    <a:moveTo>
                      <a:pt x="534" y="51"/>
                    </a:moveTo>
                    <a:lnTo>
                      <a:pt x="534" y="53"/>
                    </a:lnTo>
                    <a:lnTo>
                      <a:pt x="536" y="53"/>
                    </a:lnTo>
                    <a:lnTo>
                      <a:pt x="536" y="55"/>
                    </a:lnTo>
                    <a:lnTo>
                      <a:pt x="534" y="55"/>
                    </a:lnTo>
                    <a:lnTo>
                      <a:pt x="534" y="57"/>
                    </a:lnTo>
                    <a:lnTo>
                      <a:pt x="534" y="59"/>
                    </a:lnTo>
                    <a:lnTo>
                      <a:pt x="534" y="61"/>
                    </a:lnTo>
                    <a:lnTo>
                      <a:pt x="532" y="61"/>
                    </a:lnTo>
                    <a:lnTo>
                      <a:pt x="530" y="61"/>
                    </a:lnTo>
                    <a:lnTo>
                      <a:pt x="528" y="61"/>
                    </a:lnTo>
                    <a:lnTo>
                      <a:pt x="528" y="63"/>
                    </a:lnTo>
                    <a:lnTo>
                      <a:pt x="528" y="61"/>
                    </a:lnTo>
                    <a:lnTo>
                      <a:pt x="528" y="57"/>
                    </a:lnTo>
                    <a:lnTo>
                      <a:pt x="528" y="55"/>
                    </a:lnTo>
                    <a:lnTo>
                      <a:pt x="530" y="53"/>
                    </a:lnTo>
                    <a:lnTo>
                      <a:pt x="532" y="53"/>
                    </a:lnTo>
                    <a:lnTo>
                      <a:pt x="534" y="51"/>
                    </a:lnTo>
                    <a:close/>
                    <a:moveTo>
                      <a:pt x="698" y="202"/>
                    </a:moveTo>
                    <a:lnTo>
                      <a:pt x="700" y="204"/>
                    </a:lnTo>
                    <a:lnTo>
                      <a:pt x="701" y="204"/>
                    </a:lnTo>
                    <a:lnTo>
                      <a:pt x="703" y="206"/>
                    </a:lnTo>
                    <a:lnTo>
                      <a:pt x="705" y="206"/>
                    </a:lnTo>
                    <a:lnTo>
                      <a:pt x="705" y="208"/>
                    </a:lnTo>
                    <a:lnTo>
                      <a:pt x="705" y="209"/>
                    </a:lnTo>
                    <a:lnTo>
                      <a:pt x="703" y="208"/>
                    </a:lnTo>
                    <a:lnTo>
                      <a:pt x="703" y="209"/>
                    </a:lnTo>
                    <a:lnTo>
                      <a:pt x="703" y="208"/>
                    </a:lnTo>
                    <a:lnTo>
                      <a:pt x="701" y="208"/>
                    </a:lnTo>
                    <a:lnTo>
                      <a:pt x="700" y="208"/>
                    </a:lnTo>
                    <a:lnTo>
                      <a:pt x="698" y="208"/>
                    </a:lnTo>
                    <a:lnTo>
                      <a:pt x="696" y="208"/>
                    </a:lnTo>
                    <a:lnTo>
                      <a:pt x="694" y="206"/>
                    </a:lnTo>
                    <a:lnTo>
                      <a:pt x="692" y="204"/>
                    </a:lnTo>
                    <a:lnTo>
                      <a:pt x="694" y="204"/>
                    </a:lnTo>
                    <a:lnTo>
                      <a:pt x="696" y="204"/>
                    </a:lnTo>
                    <a:lnTo>
                      <a:pt x="696" y="202"/>
                    </a:lnTo>
                    <a:lnTo>
                      <a:pt x="698" y="202"/>
                    </a:lnTo>
                    <a:close/>
                    <a:moveTo>
                      <a:pt x="469" y="223"/>
                    </a:moveTo>
                    <a:lnTo>
                      <a:pt x="471" y="223"/>
                    </a:lnTo>
                    <a:lnTo>
                      <a:pt x="471" y="225"/>
                    </a:lnTo>
                    <a:lnTo>
                      <a:pt x="471" y="223"/>
                    </a:lnTo>
                    <a:lnTo>
                      <a:pt x="473" y="223"/>
                    </a:lnTo>
                    <a:lnTo>
                      <a:pt x="475" y="225"/>
                    </a:lnTo>
                    <a:lnTo>
                      <a:pt x="476" y="223"/>
                    </a:lnTo>
                    <a:lnTo>
                      <a:pt x="478" y="223"/>
                    </a:lnTo>
                    <a:lnTo>
                      <a:pt x="478" y="225"/>
                    </a:lnTo>
                    <a:lnTo>
                      <a:pt x="478" y="227"/>
                    </a:lnTo>
                    <a:lnTo>
                      <a:pt x="475" y="227"/>
                    </a:lnTo>
                    <a:lnTo>
                      <a:pt x="473" y="229"/>
                    </a:lnTo>
                    <a:lnTo>
                      <a:pt x="471" y="227"/>
                    </a:lnTo>
                    <a:lnTo>
                      <a:pt x="471" y="229"/>
                    </a:lnTo>
                    <a:lnTo>
                      <a:pt x="469" y="229"/>
                    </a:lnTo>
                    <a:lnTo>
                      <a:pt x="467" y="229"/>
                    </a:lnTo>
                    <a:lnTo>
                      <a:pt x="465" y="229"/>
                    </a:lnTo>
                    <a:lnTo>
                      <a:pt x="465" y="227"/>
                    </a:lnTo>
                    <a:lnTo>
                      <a:pt x="467" y="227"/>
                    </a:lnTo>
                    <a:lnTo>
                      <a:pt x="469" y="225"/>
                    </a:lnTo>
                    <a:lnTo>
                      <a:pt x="467" y="225"/>
                    </a:lnTo>
                    <a:lnTo>
                      <a:pt x="469" y="223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4"/>
                    </a:lnTo>
                    <a:lnTo>
                      <a:pt x="562" y="126"/>
                    </a:lnTo>
                    <a:lnTo>
                      <a:pt x="562" y="124"/>
                    </a:lnTo>
                    <a:lnTo>
                      <a:pt x="562" y="126"/>
                    </a:lnTo>
                    <a:lnTo>
                      <a:pt x="562" y="124"/>
                    </a:lnTo>
                    <a:lnTo>
                      <a:pt x="562" y="126"/>
                    </a:lnTo>
                    <a:lnTo>
                      <a:pt x="564" y="126"/>
                    </a:lnTo>
                    <a:lnTo>
                      <a:pt x="562" y="126"/>
                    </a:lnTo>
                    <a:lnTo>
                      <a:pt x="560" y="126"/>
                    </a:lnTo>
                    <a:lnTo>
                      <a:pt x="562" y="126"/>
                    </a:lnTo>
                    <a:lnTo>
                      <a:pt x="562" y="124"/>
                    </a:lnTo>
                    <a:lnTo>
                      <a:pt x="560" y="126"/>
                    </a:lnTo>
                    <a:lnTo>
                      <a:pt x="558" y="126"/>
                    </a:lnTo>
                    <a:lnTo>
                      <a:pt x="557" y="126"/>
                    </a:lnTo>
                    <a:lnTo>
                      <a:pt x="558" y="126"/>
                    </a:lnTo>
                    <a:lnTo>
                      <a:pt x="557" y="126"/>
                    </a:lnTo>
                    <a:lnTo>
                      <a:pt x="558" y="126"/>
                    </a:lnTo>
                    <a:lnTo>
                      <a:pt x="557" y="126"/>
                    </a:lnTo>
                    <a:lnTo>
                      <a:pt x="555" y="126"/>
                    </a:lnTo>
                    <a:lnTo>
                      <a:pt x="553" y="124"/>
                    </a:lnTo>
                    <a:lnTo>
                      <a:pt x="551" y="124"/>
                    </a:lnTo>
                    <a:lnTo>
                      <a:pt x="553" y="124"/>
                    </a:lnTo>
                    <a:lnTo>
                      <a:pt x="551" y="124"/>
                    </a:lnTo>
                    <a:lnTo>
                      <a:pt x="553" y="124"/>
                    </a:lnTo>
                    <a:lnTo>
                      <a:pt x="555" y="122"/>
                    </a:lnTo>
                    <a:lnTo>
                      <a:pt x="557" y="122"/>
                    </a:lnTo>
                    <a:lnTo>
                      <a:pt x="558" y="122"/>
                    </a:lnTo>
                    <a:lnTo>
                      <a:pt x="558" y="120"/>
                    </a:lnTo>
                    <a:lnTo>
                      <a:pt x="558" y="122"/>
                    </a:lnTo>
                    <a:lnTo>
                      <a:pt x="560" y="122"/>
                    </a:lnTo>
                    <a:lnTo>
                      <a:pt x="560" y="120"/>
                    </a:lnTo>
                    <a:lnTo>
                      <a:pt x="562" y="120"/>
                    </a:lnTo>
                    <a:close/>
                    <a:moveTo>
                      <a:pt x="337" y="145"/>
                    </a:moveTo>
                    <a:lnTo>
                      <a:pt x="337" y="147"/>
                    </a:lnTo>
                    <a:lnTo>
                      <a:pt x="339" y="148"/>
                    </a:lnTo>
                    <a:lnTo>
                      <a:pt x="337" y="150"/>
                    </a:lnTo>
                    <a:lnTo>
                      <a:pt x="337" y="152"/>
                    </a:lnTo>
                    <a:lnTo>
                      <a:pt x="339" y="152"/>
                    </a:lnTo>
                    <a:lnTo>
                      <a:pt x="337" y="154"/>
                    </a:lnTo>
                    <a:lnTo>
                      <a:pt x="339" y="154"/>
                    </a:lnTo>
                    <a:lnTo>
                      <a:pt x="337" y="156"/>
                    </a:lnTo>
                    <a:lnTo>
                      <a:pt x="339" y="156"/>
                    </a:lnTo>
                    <a:lnTo>
                      <a:pt x="337" y="156"/>
                    </a:lnTo>
                    <a:lnTo>
                      <a:pt x="335" y="158"/>
                    </a:lnTo>
                    <a:lnTo>
                      <a:pt x="333" y="158"/>
                    </a:lnTo>
                    <a:lnTo>
                      <a:pt x="335" y="156"/>
                    </a:lnTo>
                    <a:lnTo>
                      <a:pt x="333" y="156"/>
                    </a:lnTo>
                    <a:lnTo>
                      <a:pt x="333" y="154"/>
                    </a:lnTo>
                    <a:lnTo>
                      <a:pt x="335" y="154"/>
                    </a:lnTo>
                    <a:lnTo>
                      <a:pt x="333" y="154"/>
                    </a:lnTo>
                    <a:lnTo>
                      <a:pt x="333" y="152"/>
                    </a:lnTo>
                    <a:lnTo>
                      <a:pt x="333" y="150"/>
                    </a:lnTo>
                    <a:lnTo>
                      <a:pt x="333" y="148"/>
                    </a:lnTo>
                    <a:lnTo>
                      <a:pt x="335" y="147"/>
                    </a:lnTo>
                    <a:lnTo>
                      <a:pt x="337" y="145"/>
                    </a:lnTo>
                    <a:close/>
                    <a:moveTo>
                      <a:pt x="516" y="99"/>
                    </a:moveTo>
                    <a:lnTo>
                      <a:pt x="518" y="99"/>
                    </a:lnTo>
                    <a:lnTo>
                      <a:pt x="518" y="101"/>
                    </a:lnTo>
                    <a:lnTo>
                      <a:pt x="518" y="103"/>
                    </a:lnTo>
                    <a:lnTo>
                      <a:pt x="518" y="105"/>
                    </a:lnTo>
                    <a:lnTo>
                      <a:pt x="520" y="105"/>
                    </a:lnTo>
                    <a:lnTo>
                      <a:pt x="522" y="105"/>
                    </a:lnTo>
                    <a:lnTo>
                      <a:pt x="522" y="106"/>
                    </a:lnTo>
                    <a:lnTo>
                      <a:pt x="520" y="106"/>
                    </a:lnTo>
                    <a:lnTo>
                      <a:pt x="518" y="106"/>
                    </a:lnTo>
                    <a:lnTo>
                      <a:pt x="518" y="105"/>
                    </a:lnTo>
                    <a:lnTo>
                      <a:pt x="518" y="106"/>
                    </a:lnTo>
                    <a:lnTo>
                      <a:pt x="516" y="106"/>
                    </a:lnTo>
                    <a:lnTo>
                      <a:pt x="515" y="105"/>
                    </a:lnTo>
                    <a:lnTo>
                      <a:pt x="516" y="103"/>
                    </a:lnTo>
                    <a:lnTo>
                      <a:pt x="515" y="103"/>
                    </a:lnTo>
                    <a:lnTo>
                      <a:pt x="513" y="101"/>
                    </a:lnTo>
                    <a:lnTo>
                      <a:pt x="513" y="99"/>
                    </a:lnTo>
                    <a:lnTo>
                      <a:pt x="515" y="99"/>
                    </a:lnTo>
                    <a:lnTo>
                      <a:pt x="515" y="101"/>
                    </a:lnTo>
                    <a:lnTo>
                      <a:pt x="516" y="99"/>
                    </a:lnTo>
                    <a:close/>
                    <a:moveTo>
                      <a:pt x="13" y="47"/>
                    </a:moveTo>
                    <a:lnTo>
                      <a:pt x="11" y="47"/>
                    </a:lnTo>
                    <a:lnTo>
                      <a:pt x="13" y="47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5" y="49"/>
                    </a:lnTo>
                    <a:lnTo>
                      <a:pt x="17" y="49"/>
                    </a:lnTo>
                    <a:lnTo>
                      <a:pt x="17" y="51"/>
                    </a:lnTo>
                    <a:lnTo>
                      <a:pt x="19" y="51"/>
                    </a:lnTo>
                    <a:lnTo>
                      <a:pt x="17" y="51"/>
                    </a:lnTo>
                    <a:lnTo>
                      <a:pt x="19" y="51"/>
                    </a:lnTo>
                    <a:lnTo>
                      <a:pt x="19" y="53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3" y="55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19" y="55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3" y="51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3" y="47"/>
                    </a:lnTo>
                    <a:close/>
                    <a:moveTo>
                      <a:pt x="629" y="188"/>
                    </a:moveTo>
                    <a:lnTo>
                      <a:pt x="631" y="188"/>
                    </a:lnTo>
                    <a:lnTo>
                      <a:pt x="629" y="188"/>
                    </a:lnTo>
                    <a:lnTo>
                      <a:pt x="631" y="190"/>
                    </a:lnTo>
                    <a:lnTo>
                      <a:pt x="633" y="190"/>
                    </a:lnTo>
                    <a:lnTo>
                      <a:pt x="631" y="190"/>
                    </a:lnTo>
                    <a:lnTo>
                      <a:pt x="633" y="190"/>
                    </a:lnTo>
                    <a:lnTo>
                      <a:pt x="631" y="190"/>
                    </a:lnTo>
                    <a:lnTo>
                      <a:pt x="631" y="192"/>
                    </a:lnTo>
                    <a:lnTo>
                      <a:pt x="631" y="194"/>
                    </a:lnTo>
                    <a:lnTo>
                      <a:pt x="629" y="194"/>
                    </a:lnTo>
                    <a:lnTo>
                      <a:pt x="627" y="194"/>
                    </a:lnTo>
                    <a:lnTo>
                      <a:pt x="627" y="192"/>
                    </a:lnTo>
                    <a:lnTo>
                      <a:pt x="625" y="192"/>
                    </a:lnTo>
                    <a:lnTo>
                      <a:pt x="623" y="192"/>
                    </a:lnTo>
                    <a:lnTo>
                      <a:pt x="623" y="190"/>
                    </a:lnTo>
                    <a:lnTo>
                      <a:pt x="625" y="190"/>
                    </a:lnTo>
                    <a:lnTo>
                      <a:pt x="625" y="188"/>
                    </a:lnTo>
                    <a:lnTo>
                      <a:pt x="627" y="190"/>
                    </a:lnTo>
                    <a:lnTo>
                      <a:pt x="627" y="188"/>
                    </a:lnTo>
                    <a:lnTo>
                      <a:pt x="629" y="188"/>
                    </a:lnTo>
                    <a:close/>
                    <a:moveTo>
                      <a:pt x="570" y="108"/>
                    </a:moveTo>
                    <a:lnTo>
                      <a:pt x="572" y="108"/>
                    </a:lnTo>
                    <a:lnTo>
                      <a:pt x="574" y="108"/>
                    </a:lnTo>
                    <a:lnTo>
                      <a:pt x="574" y="110"/>
                    </a:lnTo>
                    <a:lnTo>
                      <a:pt x="572" y="112"/>
                    </a:lnTo>
                    <a:lnTo>
                      <a:pt x="572" y="114"/>
                    </a:lnTo>
                    <a:lnTo>
                      <a:pt x="572" y="116"/>
                    </a:lnTo>
                    <a:lnTo>
                      <a:pt x="570" y="114"/>
                    </a:lnTo>
                    <a:lnTo>
                      <a:pt x="568" y="114"/>
                    </a:lnTo>
                    <a:lnTo>
                      <a:pt x="568" y="112"/>
                    </a:lnTo>
                    <a:lnTo>
                      <a:pt x="566" y="110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08"/>
                    </a:lnTo>
                    <a:lnTo>
                      <a:pt x="568" y="108"/>
                    </a:lnTo>
                    <a:lnTo>
                      <a:pt x="570" y="108"/>
                    </a:lnTo>
                    <a:close/>
                    <a:moveTo>
                      <a:pt x="209" y="26"/>
                    </a:moveTo>
                    <a:lnTo>
                      <a:pt x="209" y="28"/>
                    </a:lnTo>
                    <a:lnTo>
                      <a:pt x="211" y="28"/>
                    </a:lnTo>
                    <a:lnTo>
                      <a:pt x="211" y="30"/>
                    </a:lnTo>
                    <a:lnTo>
                      <a:pt x="213" y="30"/>
                    </a:lnTo>
                    <a:lnTo>
                      <a:pt x="211" y="30"/>
                    </a:lnTo>
                    <a:lnTo>
                      <a:pt x="211" y="32"/>
                    </a:lnTo>
                    <a:lnTo>
                      <a:pt x="213" y="32"/>
                    </a:lnTo>
                    <a:lnTo>
                      <a:pt x="211" y="34"/>
                    </a:lnTo>
                    <a:lnTo>
                      <a:pt x="211" y="36"/>
                    </a:lnTo>
                    <a:lnTo>
                      <a:pt x="209" y="36"/>
                    </a:lnTo>
                    <a:lnTo>
                      <a:pt x="208" y="36"/>
                    </a:lnTo>
                    <a:lnTo>
                      <a:pt x="208" y="34"/>
                    </a:lnTo>
                    <a:lnTo>
                      <a:pt x="209" y="34"/>
                    </a:lnTo>
                    <a:lnTo>
                      <a:pt x="211" y="34"/>
                    </a:lnTo>
                    <a:lnTo>
                      <a:pt x="209" y="34"/>
                    </a:lnTo>
                    <a:lnTo>
                      <a:pt x="209" y="32"/>
                    </a:lnTo>
                    <a:lnTo>
                      <a:pt x="209" y="34"/>
                    </a:lnTo>
                    <a:lnTo>
                      <a:pt x="209" y="32"/>
                    </a:lnTo>
                    <a:lnTo>
                      <a:pt x="208" y="32"/>
                    </a:lnTo>
                    <a:lnTo>
                      <a:pt x="206" y="32"/>
                    </a:lnTo>
                    <a:lnTo>
                      <a:pt x="206" y="30"/>
                    </a:lnTo>
                    <a:lnTo>
                      <a:pt x="206" y="32"/>
                    </a:lnTo>
                    <a:lnTo>
                      <a:pt x="206" y="30"/>
                    </a:lnTo>
                    <a:lnTo>
                      <a:pt x="206" y="28"/>
                    </a:lnTo>
                    <a:lnTo>
                      <a:pt x="208" y="28"/>
                    </a:lnTo>
                    <a:lnTo>
                      <a:pt x="209" y="26"/>
                    </a:lnTo>
                    <a:close/>
                    <a:moveTo>
                      <a:pt x="118" y="76"/>
                    </a:moveTo>
                    <a:lnTo>
                      <a:pt x="120" y="76"/>
                    </a:lnTo>
                    <a:lnTo>
                      <a:pt x="120" y="78"/>
                    </a:lnTo>
                    <a:lnTo>
                      <a:pt x="122" y="78"/>
                    </a:lnTo>
                    <a:lnTo>
                      <a:pt x="124" y="78"/>
                    </a:lnTo>
                    <a:lnTo>
                      <a:pt x="126" y="78"/>
                    </a:lnTo>
                    <a:lnTo>
                      <a:pt x="126" y="80"/>
                    </a:lnTo>
                    <a:lnTo>
                      <a:pt x="127" y="80"/>
                    </a:lnTo>
                    <a:lnTo>
                      <a:pt x="127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2" y="82"/>
                    </a:lnTo>
                    <a:lnTo>
                      <a:pt x="120" y="82"/>
                    </a:lnTo>
                    <a:lnTo>
                      <a:pt x="118" y="80"/>
                    </a:lnTo>
                    <a:lnTo>
                      <a:pt x="118" y="78"/>
                    </a:lnTo>
                    <a:lnTo>
                      <a:pt x="118" y="76"/>
                    </a:lnTo>
                    <a:close/>
                    <a:moveTo>
                      <a:pt x="627" y="183"/>
                    </a:moveTo>
                    <a:lnTo>
                      <a:pt x="627" y="181"/>
                    </a:lnTo>
                    <a:lnTo>
                      <a:pt x="627" y="183"/>
                    </a:lnTo>
                    <a:lnTo>
                      <a:pt x="629" y="183"/>
                    </a:lnTo>
                    <a:lnTo>
                      <a:pt x="629" y="185"/>
                    </a:lnTo>
                    <a:lnTo>
                      <a:pt x="631" y="185"/>
                    </a:lnTo>
                    <a:lnTo>
                      <a:pt x="631" y="187"/>
                    </a:lnTo>
                    <a:lnTo>
                      <a:pt x="631" y="188"/>
                    </a:lnTo>
                    <a:lnTo>
                      <a:pt x="631" y="187"/>
                    </a:lnTo>
                    <a:lnTo>
                      <a:pt x="631" y="188"/>
                    </a:lnTo>
                    <a:lnTo>
                      <a:pt x="629" y="188"/>
                    </a:lnTo>
                    <a:lnTo>
                      <a:pt x="629" y="187"/>
                    </a:lnTo>
                    <a:lnTo>
                      <a:pt x="629" y="188"/>
                    </a:lnTo>
                    <a:lnTo>
                      <a:pt x="627" y="188"/>
                    </a:lnTo>
                    <a:lnTo>
                      <a:pt x="627" y="190"/>
                    </a:lnTo>
                    <a:lnTo>
                      <a:pt x="625" y="188"/>
                    </a:lnTo>
                    <a:lnTo>
                      <a:pt x="625" y="190"/>
                    </a:lnTo>
                    <a:lnTo>
                      <a:pt x="625" y="188"/>
                    </a:lnTo>
                    <a:lnTo>
                      <a:pt x="625" y="187"/>
                    </a:lnTo>
                    <a:lnTo>
                      <a:pt x="625" y="188"/>
                    </a:lnTo>
                    <a:lnTo>
                      <a:pt x="625" y="187"/>
                    </a:lnTo>
                    <a:lnTo>
                      <a:pt x="627" y="187"/>
                    </a:lnTo>
                    <a:lnTo>
                      <a:pt x="625" y="187"/>
                    </a:lnTo>
                    <a:lnTo>
                      <a:pt x="625" y="185"/>
                    </a:lnTo>
                    <a:lnTo>
                      <a:pt x="625" y="187"/>
                    </a:lnTo>
                    <a:lnTo>
                      <a:pt x="625" y="185"/>
                    </a:lnTo>
                    <a:lnTo>
                      <a:pt x="623" y="185"/>
                    </a:lnTo>
                    <a:lnTo>
                      <a:pt x="623" y="183"/>
                    </a:lnTo>
                    <a:lnTo>
                      <a:pt x="623" y="185"/>
                    </a:lnTo>
                    <a:lnTo>
                      <a:pt x="625" y="185"/>
                    </a:lnTo>
                    <a:lnTo>
                      <a:pt x="627" y="183"/>
                    </a:lnTo>
                    <a:lnTo>
                      <a:pt x="627" y="181"/>
                    </a:lnTo>
                    <a:lnTo>
                      <a:pt x="627" y="183"/>
                    </a:lnTo>
                    <a:close/>
                    <a:moveTo>
                      <a:pt x="105" y="61"/>
                    </a:moveTo>
                    <a:lnTo>
                      <a:pt x="107" y="61"/>
                    </a:lnTo>
                    <a:lnTo>
                      <a:pt x="107" y="63"/>
                    </a:lnTo>
                    <a:lnTo>
                      <a:pt x="107" y="64"/>
                    </a:lnTo>
                    <a:lnTo>
                      <a:pt x="105" y="66"/>
                    </a:lnTo>
                    <a:lnTo>
                      <a:pt x="103" y="66"/>
                    </a:lnTo>
                    <a:lnTo>
                      <a:pt x="101" y="63"/>
                    </a:lnTo>
                    <a:lnTo>
                      <a:pt x="101" y="61"/>
                    </a:lnTo>
                    <a:lnTo>
                      <a:pt x="103" y="61"/>
                    </a:lnTo>
                    <a:lnTo>
                      <a:pt x="105" y="61"/>
                    </a:lnTo>
                    <a:lnTo>
                      <a:pt x="105" y="59"/>
                    </a:lnTo>
                    <a:lnTo>
                      <a:pt x="105" y="61"/>
                    </a:lnTo>
                    <a:close/>
                    <a:moveTo>
                      <a:pt x="457" y="225"/>
                    </a:moveTo>
                    <a:lnTo>
                      <a:pt x="459" y="225"/>
                    </a:lnTo>
                    <a:lnTo>
                      <a:pt x="457" y="227"/>
                    </a:lnTo>
                    <a:lnTo>
                      <a:pt x="457" y="225"/>
                    </a:lnTo>
                    <a:lnTo>
                      <a:pt x="457" y="227"/>
                    </a:lnTo>
                    <a:lnTo>
                      <a:pt x="455" y="229"/>
                    </a:lnTo>
                    <a:lnTo>
                      <a:pt x="454" y="229"/>
                    </a:lnTo>
                    <a:lnTo>
                      <a:pt x="454" y="230"/>
                    </a:lnTo>
                    <a:lnTo>
                      <a:pt x="452" y="229"/>
                    </a:lnTo>
                    <a:lnTo>
                      <a:pt x="452" y="230"/>
                    </a:lnTo>
                    <a:lnTo>
                      <a:pt x="450" y="230"/>
                    </a:lnTo>
                    <a:lnTo>
                      <a:pt x="448" y="230"/>
                    </a:lnTo>
                    <a:lnTo>
                      <a:pt x="448" y="229"/>
                    </a:lnTo>
                    <a:lnTo>
                      <a:pt x="450" y="229"/>
                    </a:lnTo>
                    <a:lnTo>
                      <a:pt x="450" y="227"/>
                    </a:lnTo>
                    <a:lnTo>
                      <a:pt x="452" y="227"/>
                    </a:lnTo>
                    <a:lnTo>
                      <a:pt x="450" y="227"/>
                    </a:lnTo>
                    <a:lnTo>
                      <a:pt x="450" y="225"/>
                    </a:lnTo>
                    <a:lnTo>
                      <a:pt x="452" y="225"/>
                    </a:lnTo>
                    <a:lnTo>
                      <a:pt x="454" y="225"/>
                    </a:lnTo>
                    <a:lnTo>
                      <a:pt x="452" y="227"/>
                    </a:lnTo>
                    <a:lnTo>
                      <a:pt x="454" y="227"/>
                    </a:lnTo>
                    <a:lnTo>
                      <a:pt x="455" y="227"/>
                    </a:lnTo>
                    <a:lnTo>
                      <a:pt x="455" y="225"/>
                    </a:lnTo>
                    <a:lnTo>
                      <a:pt x="454" y="225"/>
                    </a:lnTo>
                    <a:lnTo>
                      <a:pt x="455" y="225"/>
                    </a:lnTo>
                    <a:lnTo>
                      <a:pt x="457" y="225"/>
                    </a:lnTo>
                    <a:close/>
                    <a:moveTo>
                      <a:pt x="452" y="261"/>
                    </a:moveTo>
                    <a:lnTo>
                      <a:pt x="450" y="263"/>
                    </a:lnTo>
                    <a:lnTo>
                      <a:pt x="452" y="261"/>
                    </a:lnTo>
                    <a:lnTo>
                      <a:pt x="452" y="263"/>
                    </a:lnTo>
                    <a:lnTo>
                      <a:pt x="450" y="263"/>
                    </a:lnTo>
                    <a:lnTo>
                      <a:pt x="452" y="263"/>
                    </a:lnTo>
                    <a:lnTo>
                      <a:pt x="450" y="263"/>
                    </a:lnTo>
                    <a:lnTo>
                      <a:pt x="452" y="263"/>
                    </a:lnTo>
                    <a:lnTo>
                      <a:pt x="452" y="265"/>
                    </a:lnTo>
                    <a:lnTo>
                      <a:pt x="450" y="265"/>
                    </a:lnTo>
                    <a:lnTo>
                      <a:pt x="448" y="265"/>
                    </a:lnTo>
                    <a:lnTo>
                      <a:pt x="448" y="267"/>
                    </a:lnTo>
                    <a:lnTo>
                      <a:pt x="446" y="267"/>
                    </a:lnTo>
                    <a:lnTo>
                      <a:pt x="444" y="267"/>
                    </a:lnTo>
                    <a:lnTo>
                      <a:pt x="444" y="269"/>
                    </a:lnTo>
                    <a:lnTo>
                      <a:pt x="442" y="269"/>
                    </a:lnTo>
                    <a:lnTo>
                      <a:pt x="442" y="267"/>
                    </a:lnTo>
                    <a:lnTo>
                      <a:pt x="444" y="265"/>
                    </a:lnTo>
                    <a:lnTo>
                      <a:pt x="446" y="265"/>
                    </a:lnTo>
                    <a:lnTo>
                      <a:pt x="446" y="263"/>
                    </a:lnTo>
                    <a:lnTo>
                      <a:pt x="448" y="265"/>
                    </a:lnTo>
                    <a:lnTo>
                      <a:pt x="448" y="263"/>
                    </a:lnTo>
                    <a:lnTo>
                      <a:pt x="450" y="263"/>
                    </a:lnTo>
                    <a:lnTo>
                      <a:pt x="448" y="263"/>
                    </a:lnTo>
                    <a:lnTo>
                      <a:pt x="450" y="261"/>
                    </a:lnTo>
                    <a:lnTo>
                      <a:pt x="452" y="261"/>
                    </a:lnTo>
                    <a:close/>
                    <a:moveTo>
                      <a:pt x="482" y="122"/>
                    </a:moveTo>
                    <a:lnTo>
                      <a:pt x="484" y="122"/>
                    </a:lnTo>
                    <a:lnTo>
                      <a:pt x="486" y="122"/>
                    </a:lnTo>
                    <a:lnTo>
                      <a:pt x="488" y="122"/>
                    </a:lnTo>
                    <a:lnTo>
                      <a:pt x="490" y="122"/>
                    </a:lnTo>
                    <a:lnTo>
                      <a:pt x="492" y="122"/>
                    </a:lnTo>
                    <a:lnTo>
                      <a:pt x="494" y="122"/>
                    </a:lnTo>
                    <a:lnTo>
                      <a:pt x="496" y="122"/>
                    </a:lnTo>
                    <a:lnTo>
                      <a:pt x="497" y="122"/>
                    </a:lnTo>
                    <a:lnTo>
                      <a:pt x="496" y="124"/>
                    </a:lnTo>
                    <a:lnTo>
                      <a:pt x="494" y="124"/>
                    </a:lnTo>
                    <a:lnTo>
                      <a:pt x="492" y="124"/>
                    </a:lnTo>
                    <a:lnTo>
                      <a:pt x="490" y="124"/>
                    </a:lnTo>
                    <a:lnTo>
                      <a:pt x="488" y="124"/>
                    </a:lnTo>
                    <a:lnTo>
                      <a:pt x="486" y="124"/>
                    </a:lnTo>
                    <a:lnTo>
                      <a:pt x="484" y="124"/>
                    </a:lnTo>
                    <a:lnTo>
                      <a:pt x="482" y="124"/>
                    </a:lnTo>
                    <a:lnTo>
                      <a:pt x="482" y="122"/>
                    </a:lnTo>
                    <a:close/>
                    <a:moveTo>
                      <a:pt x="152" y="74"/>
                    </a:moveTo>
                    <a:lnTo>
                      <a:pt x="152" y="76"/>
                    </a:lnTo>
                    <a:lnTo>
                      <a:pt x="152" y="78"/>
                    </a:lnTo>
                    <a:lnTo>
                      <a:pt x="152" y="80"/>
                    </a:lnTo>
                    <a:lnTo>
                      <a:pt x="150" y="80"/>
                    </a:lnTo>
                    <a:lnTo>
                      <a:pt x="148" y="78"/>
                    </a:lnTo>
                    <a:lnTo>
                      <a:pt x="150" y="78"/>
                    </a:lnTo>
                    <a:lnTo>
                      <a:pt x="150" y="80"/>
                    </a:lnTo>
                    <a:lnTo>
                      <a:pt x="150" y="78"/>
                    </a:lnTo>
                    <a:lnTo>
                      <a:pt x="148" y="78"/>
                    </a:lnTo>
                    <a:lnTo>
                      <a:pt x="150" y="78"/>
                    </a:lnTo>
                    <a:lnTo>
                      <a:pt x="150" y="76"/>
                    </a:lnTo>
                    <a:lnTo>
                      <a:pt x="148" y="78"/>
                    </a:lnTo>
                    <a:lnTo>
                      <a:pt x="148" y="76"/>
                    </a:lnTo>
                    <a:lnTo>
                      <a:pt x="148" y="78"/>
                    </a:lnTo>
                    <a:lnTo>
                      <a:pt x="148" y="76"/>
                    </a:lnTo>
                    <a:lnTo>
                      <a:pt x="148" y="78"/>
                    </a:lnTo>
                    <a:lnTo>
                      <a:pt x="147" y="78"/>
                    </a:lnTo>
                    <a:lnTo>
                      <a:pt x="147" y="76"/>
                    </a:lnTo>
                    <a:lnTo>
                      <a:pt x="148" y="76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50" y="74"/>
                    </a:lnTo>
                    <a:lnTo>
                      <a:pt x="152" y="74"/>
                    </a:lnTo>
                    <a:lnTo>
                      <a:pt x="150" y="74"/>
                    </a:lnTo>
                    <a:lnTo>
                      <a:pt x="152" y="74"/>
                    </a:lnTo>
                    <a:close/>
                    <a:moveTo>
                      <a:pt x="114" y="70"/>
                    </a:moveTo>
                    <a:lnTo>
                      <a:pt x="118" y="74"/>
                    </a:lnTo>
                    <a:lnTo>
                      <a:pt x="118" y="76"/>
                    </a:lnTo>
                    <a:lnTo>
                      <a:pt x="118" y="78"/>
                    </a:lnTo>
                    <a:lnTo>
                      <a:pt x="116" y="80"/>
                    </a:lnTo>
                    <a:lnTo>
                      <a:pt x="114" y="78"/>
                    </a:lnTo>
                    <a:lnTo>
                      <a:pt x="114" y="76"/>
                    </a:lnTo>
                    <a:lnTo>
                      <a:pt x="114" y="74"/>
                    </a:lnTo>
                    <a:lnTo>
                      <a:pt x="114" y="72"/>
                    </a:lnTo>
                    <a:lnTo>
                      <a:pt x="114" y="70"/>
                    </a:lnTo>
                    <a:close/>
                    <a:moveTo>
                      <a:pt x="230" y="108"/>
                    </a:moveTo>
                    <a:lnTo>
                      <a:pt x="230" y="110"/>
                    </a:lnTo>
                    <a:lnTo>
                      <a:pt x="232" y="108"/>
                    </a:lnTo>
                    <a:lnTo>
                      <a:pt x="232" y="110"/>
                    </a:lnTo>
                    <a:lnTo>
                      <a:pt x="234" y="108"/>
                    </a:lnTo>
                    <a:lnTo>
                      <a:pt x="234" y="110"/>
                    </a:lnTo>
                    <a:lnTo>
                      <a:pt x="234" y="112"/>
                    </a:lnTo>
                    <a:lnTo>
                      <a:pt x="232" y="112"/>
                    </a:lnTo>
                    <a:lnTo>
                      <a:pt x="230" y="114"/>
                    </a:lnTo>
                    <a:lnTo>
                      <a:pt x="229" y="114"/>
                    </a:lnTo>
                    <a:lnTo>
                      <a:pt x="229" y="112"/>
                    </a:lnTo>
                    <a:lnTo>
                      <a:pt x="229" y="110"/>
                    </a:lnTo>
                    <a:lnTo>
                      <a:pt x="230" y="108"/>
                    </a:lnTo>
                    <a:close/>
                    <a:moveTo>
                      <a:pt x="110" y="68"/>
                    </a:moveTo>
                    <a:lnTo>
                      <a:pt x="118" y="70"/>
                    </a:lnTo>
                    <a:lnTo>
                      <a:pt x="118" y="74"/>
                    </a:lnTo>
                    <a:lnTo>
                      <a:pt x="116" y="72"/>
                    </a:lnTo>
                    <a:lnTo>
                      <a:pt x="116" y="70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68"/>
                    </a:lnTo>
                    <a:close/>
                    <a:moveTo>
                      <a:pt x="124" y="76"/>
                    </a:moveTo>
                    <a:lnTo>
                      <a:pt x="126" y="76"/>
                    </a:lnTo>
                    <a:lnTo>
                      <a:pt x="129" y="80"/>
                    </a:lnTo>
                    <a:lnTo>
                      <a:pt x="127" y="80"/>
                    </a:lnTo>
                    <a:lnTo>
                      <a:pt x="126" y="80"/>
                    </a:lnTo>
                    <a:lnTo>
                      <a:pt x="126" y="78"/>
                    </a:lnTo>
                    <a:lnTo>
                      <a:pt x="124" y="78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2" y="78"/>
                    </a:lnTo>
                    <a:lnTo>
                      <a:pt x="122" y="76"/>
                    </a:lnTo>
                    <a:lnTo>
                      <a:pt x="124" y="76"/>
                    </a:lnTo>
                    <a:close/>
                    <a:moveTo>
                      <a:pt x="427" y="175"/>
                    </a:moveTo>
                    <a:lnTo>
                      <a:pt x="429" y="173"/>
                    </a:lnTo>
                    <a:lnTo>
                      <a:pt x="429" y="175"/>
                    </a:lnTo>
                    <a:lnTo>
                      <a:pt x="429" y="177"/>
                    </a:lnTo>
                    <a:lnTo>
                      <a:pt x="431" y="177"/>
                    </a:lnTo>
                    <a:lnTo>
                      <a:pt x="429" y="177"/>
                    </a:lnTo>
                    <a:lnTo>
                      <a:pt x="429" y="179"/>
                    </a:lnTo>
                    <a:lnTo>
                      <a:pt x="429" y="181"/>
                    </a:lnTo>
                    <a:lnTo>
                      <a:pt x="427" y="179"/>
                    </a:lnTo>
                    <a:lnTo>
                      <a:pt x="425" y="177"/>
                    </a:lnTo>
                    <a:lnTo>
                      <a:pt x="427" y="177"/>
                    </a:lnTo>
                    <a:lnTo>
                      <a:pt x="425" y="175"/>
                    </a:lnTo>
                    <a:lnTo>
                      <a:pt x="427" y="175"/>
                    </a:lnTo>
                    <a:lnTo>
                      <a:pt x="427" y="173"/>
                    </a:lnTo>
                    <a:lnTo>
                      <a:pt x="427" y="175"/>
                    </a:lnTo>
                    <a:close/>
                    <a:moveTo>
                      <a:pt x="82" y="137"/>
                    </a:moveTo>
                    <a:lnTo>
                      <a:pt x="84" y="139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6" y="143"/>
                    </a:lnTo>
                    <a:lnTo>
                      <a:pt x="86" y="145"/>
                    </a:lnTo>
                    <a:lnTo>
                      <a:pt x="86" y="147"/>
                    </a:lnTo>
                    <a:lnTo>
                      <a:pt x="86" y="145"/>
                    </a:lnTo>
                    <a:lnTo>
                      <a:pt x="84" y="145"/>
                    </a:lnTo>
                    <a:lnTo>
                      <a:pt x="86" y="145"/>
                    </a:lnTo>
                    <a:lnTo>
                      <a:pt x="84" y="145"/>
                    </a:lnTo>
                    <a:lnTo>
                      <a:pt x="84" y="143"/>
                    </a:lnTo>
                    <a:lnTo>
                      <a:pt x="82" y="143"/>
                    </a:lnTo>
                    <a:lnTo>
                      <a:pt x="82" y="141"/>
                    </a:lnTo>
                    <a:lnTo>
                      <a:pt x="82" y="139"/>
                    </a:lnTo>
                    <a:lnTo>
                      <a:pt x="82" y="137"/>
                    </a:lnTo>
                    <a:close/>
                    <a:moveTo>
                      <a:pt x="150" y="93"/>
                    </a:moveTo>
                    <a:lnTo>
                      <a:pt x="152" y="95"/>
                    </a:lnTo>
                    <a:lnTo>
                      <a:pt x="154" y="95"/>
                    </a:lnTo>
                    <a:lnTo>
                      <a:pt x="154" y="97"/>
                    </a:lnTo>
                    <a:lnTo>
                      <a:pt x="156" y="97"/>
                    </a:lnTo>
                    <a:lnTo>
                      <a:pt x="156" y="95"/>
                    </a:lnTo>
                    <a:lnTo>
                      <a:pt x="156" y="97"/>
                    </a:lnTo>
                    <a:lnTo>
                      <a:pt x="158" y="97"/>
                    </a:lnTo>
                    <a:lnTo>
                      <a:pt x="158" y="99"/>
                    </a:lnTo>
                    <a:lnTo>
                      <a:pt x="158" y="97"/>
                    </a:lnTo>
                    <a:lnTo>
                      <a:pt x="156" y="99"/>
                    </a:lnTo>
                    <a:lnTo>
                      <a:pt x="158" y="99"/>
                    </a:lnTo>
                    <a:lnTo>
                      <a:pt x="156" y="99"/>
                    </a:lnTo>
                    <a:lnTo>
                      <a:pt x="154" y="99"/>
                    </a:lnTo>
                    <a:lnTo>
                      <a:pt x="154" y="97"/>
                    </a:lnTo>
                    <a:lnTo>
                      <a:pt x="152" y="97"/>
                    </a:lnTo>
                    <a:lnTo>
                      <a:pt x="150" y="97"/>
                    </a:lnTo>
                    <a:lnTo>
                      <a:pt x="148" y="97"/>
                    </a:lnTo>
                    <a:lnTo>
                      <a:pt x="150" y="97"/>
                    </a:lnTo>
                    <a:lnTo>
                      <a:pt x="150" y="95"/>
                    </a:lnTo>
                    <a:lnTo>
                      <a:pt x="150" y="93"/>
                    </a:lnTo>
                    <a:lnTo>
                      <a:pt x="152" y="93"/>
                    </a:lnTo>
                    <a:lnTo>
                      <a:pt x="150" y="93"/>
                    </a:lnTo>
                    <a:close/>
                    <a:moveTo>
                      <a:pt x="505" y="21"/>
                    </a:moveTo>
                    <a:lnTo>
                      <a:pt x="505" y="22"/>
                    </a:lnTo>
                    <a:lnTo>
                      <a:pt x="507" y="22"/>
                    </a:lnTo>
                    <a:lnTo>
                      <a:pt x="505" y="22"/>
                    </a:lnTo>
                    <a:lnTo>
                      <a:pt x="505" y="24"/>
                    </a:lnTo>
                    <a:lnTo>
                      <a:pt x="507" y="26"/>
                    </a:lnTo>
                    <a:lnTo>
                      <a:pt x="505" y="28"/>
                    </a:lnTo>
                    <a:lnTo>
                      <a:pt x="505" y="30"/>
                    </a:lnTo>
                    <a:lnTo>
                      <a:pt x="503" y="30"/>
                    </a:lnTo>
                    <a:lnTo>
                      <a:pt x="503" y="28"/>
                    </a:lnTo>
                    <a:lnTo>
                      <a:pt x="505" y="26"/>
                    </a:lnTo>
                    <a:lnTo>
                      <a:pt x="503" y="26"/>
                    </a:lnTo>
                    <a:lnTo>
                      <a:pt x="503" y="24"/>
                    </a:lnTo>
                    <a:lnTo>
                      <a:pt x="503" y="22"/>
                    </a:lnTo>
                    <a:lnTo>
                      <a:pt x="503" y="21"/>
                    </a:lnTo>
                    <a:lnTo>
                      <a:pt x="505" y="21"/>
                    </a:lnTo>
                    <a:close/>
                    <a:moveTo>
                      <a:pt x="150" y="99"/>
                    </a:moveTo>
                    <a:lnTo>
                      <a:pt x="152" y="101"/>
                    </a:lnTo>
                    <a:lnTo>
                      <a:pt x="150" y="103"/>
                    </a:lnTo>
                    <a:lnTo>
                      <a:pt x="150" y="105"/>
                    </a:lnTo>
                    <a:lnTo>
                      <a:pt x="150" y="103"/>
                    </a:lnTo>
                    <a:lnTo>
                      <a:pt x="148" y="103"/>
                    </a:lnTo>
                    <a:lnTo>
                      <a:pt x="148" y="105"/>
                    </a:lnTo>
                    <a:lnTo>
                      <a:pt x="148" y="103"/>
                    </a:lnTo>
                    <a:lnTo>
                      <a:pt x="148" y="101"/>
                    </a:lnTo>
                    <a:lnTo>
                      <a:pt x="147" y="103"/>
                    </a:lnTo>
                    <a:lnTo>
                      <a:pt x="147" y="101"/>
                    </a:lnTo>
                    <a:lnTo>
                      <a:pt x="147" y="99"/>
                    </a:lnTo>
                    <a:lnTo>
                      <a:pt x="148" y="99"/>
                    </a:lnTo>
                    <a:lnTo>
                      <a:pt x="147" y="101"/>
                    </a:lnTo>
                    <a:lnTo>
                      <a:pt x="148" y="101"/>
                    </a:lnTo>
                    <a:lnTo>
                      <a:pt x="148" y="99"/>
                    </a:lnTo>
                    <a:lnTo>
                      <a:pt x="148" y="101"/>
                    </a:lnTo>
                    <a:lnTo>
                      <a:pt x="148" y="99"/>
                    </a:lnTo>
                    <a:lnTo>
                      <a:pt x="150" y="99"/>
                    </a:lnTo>
                    <a:close/>
                    <a:moveTo>
                      <a:pt x="528" y="148"/>
                    </a:moveTo>
                    <a:lnTo>
                      <a:pt x="530" y="148"/>
                    </a:lnTo>
                    <a:lnTo>
                      <a:pt x="530" y="150"/>
                    </a:lnTo>
                    <a:lnTo>
                      <a:pt x="530" y="152"/>
                    </a:lnTo>
                    <a:lnTo>
                      <a:pt x="528" y="150"/>
                    </a:lnTo>
                    <a:lnTo>
                      <a:pt x="530" y="152"/>
                    </a:lnTo>
                    <a:lnTo>
                      <a:pt x="528" y="152"/>
                    </a:lnTo>
                    <a:lnTo>
                      <a:pt x="526" y="152"/>
                    </a:lnTo>
                    <a:lnTo>
                      <a:pt x="526" y="154"/>
                    </a:lnTo>
                    <a:lnTo>
                      <a:pt x="526" y="152"/>
                    </a:lnTo>
                    <a:lnTo>
                      <a:pt x="528" y="152"/>
                    </a:lnTo>
                    <a:lnTo>
                      <a:pt x="528" y="150"/>
                    </a:lnTo>
                    <a:lnTo>
                      <a:pt x="528" y="152"/>
                    </a:lnTo>
                    <a:lnTo>
                      <a:pt x="526" y="152"/>
                    </a:lnTo>
                    <a:lnTo>
                      <a:pt x="524" y="152"/>
                    </a:lnTo>
                    <a:lnTo>
                      <a:pt x="524" y="154"/>
                    </a:lnTo>
                    <a:lnTo>
                      <a:pt x="522" y="152"/>
                    </a:lnTo>
                    <a:lnTo>
                      <a:pt x="524" y="152"/>
                    </a:lnTo>
                    <a:lnTo>
                      <a:pt x="524" y="150"/>
                    </a:lnTo>
                    <a:lnTo>
                      <a:pt x="526" y="150"/>
                    </a:lnTo>
                    <a:lnTo>
                      <a:pt x="528" y="150"/>
                    </a:lnTo>
                    <a:lnTo>
                      <a:pt x="528" y="148"/>
                    </a:lnTo>
                    <a:close/>
                    <a:moveTo>
                      <a:pt x="465" y="225"/>
                    </a:moveTo>
                    <a:lnTo>
                      <a:pt x="465" y="227"/>
                    </a:lnTo>
                    <a:lnTo>
                      <a:pt x="463" y="229"/>
                    </a:lnTo>
                    <a:lnTo>
                      <a:pt x="463" y="230"/>
                    </a:lnTo>
                    <a:lnTo>
                      <a:pt x="461" y="230"/>
                    </a:lnTo>
                    <a:lnTo>
                      <a:pt x="461" y="229"/>
                    </a:lnTo>
                    <a:lnTo>
                      <a:pt x="459" y="229"/>
                    </a:lnTo>
                    <a:lnTo>
                      <a:pt x="459" y="227"/>
                    </a:lnTo>
                    <a:lnTo>
                      <a:pt x="461" y="227"/>
                    </a:lnTo>
                    <a:lnTo>
                      <a:pt x="463" y="227"/>
                    </a:lnTo>
                    <a:lnTo>
                      <a:pt x="463" y="225"/>
                    </a:lnTo>
                    <a:lnTo>
                      <a:pt x="465" y="225"/>
                    </a:lnTo>
                    <a:close/>
                    <a:moveTo>
                      <a:pt x="446" y="158"/>
                    </a:moveTo>
                    <a:lnTo>
                      <a:pt x="448" y="158"/>
                    </a:lnTo>
                    <a:lnTo>
                      <a:pt x="448" y="160"/>
                    </a:lnTo>
                    <a:lnTo>
                      <a:pt x="446" y="162"/>
                    </a:lnTo>
                    <a:lnTo>
                      <a:pt x="444" y="160"/>
                    </a:lnTo>
                    <a:lnTo>
                      <a:pt x="444" y="158"/>
                    </a:lnTo>
                    <a:lnTo>
                      <a:pt x="444" y="156"/>
                    </a:lnTo>
                    <a:lnTo>
                      <a:pt x="446" y="158"/>
                    </a:lnTo>
                    <a:close/>
                    <a:moveTo>
                      <a:pt x="696" y="225"/>
                    </a:moveTo>
                    <a:lnTo>
                      <a:pt x="698" y="227"/>
                    </a:lnTo>
                    <a:lnTo>
                      <a:pt x="696" y="227"/>
                    </a:lnTo>
                    <a:lnTo>
                      <a:pt x="692" y="227"/>
                    </a:lnTo>
                    <a:lnTo>
                      <a:pt x="694" y="225"/>
                    </a:lnTo>
                    <a:lnTo>
                      <a:pt x="696" y="225"/>
                    </a:lnTo>
                    <a:lnTo>
                      <a:pt x="696" y="223"/>
                    </a:lnTo>
                    <a:lnTo>
                      <a:pt x="696" y="225"/>
                    </a:lnTo>
                    <a:close/>
                    <a:moveTo>
                      <a:pt x="404" y="185"/>
                    </a:moveTo>
                    <a:lnTo>
                      <a:pt x="406" y="187"/>
                    </a:lnTo>
                    <a:lnTo>
                      <a:pt x="404" y="187"/>
                    </a:lnTo>
                    <a:lnTo>
                      <a:pt x="406" y="187"/>
                    </a:lnTo>
                    <a:lnTo>
                      <a:pt x="406" y="190"/>
                    </a:lnTo>
                    <a:lnTo>
                      <a:pt x="406" y="192"/>
                    </a:lnTo>
                    <a:lnTo>
                      <a:pt x="406" y="194"/>
                    </a:lnTo>
                    <a:lnTo>
                      <a:pt x="406" y="196"/>
                    </a:lnTo>
                    <a:lnTo>
                      <a:pt x="404" y="196"/>
                    </a:lnTo>
                    <a:lnTo>
                      <a:pt x="406" y="196"/>
                    </a:lnTo>
                    <a:lnTo>
                      <a:pt x="404" y="196"/>
                    </a:lnTo>
                    <a:lnTo>
                      <a:pt x="404" y="194"/>
                    </a:lnTo>
                    <a:lnTo>
                      <a:pt x="404" y="192"/>
                    </a:lnTo>
                    <a:lnTo>
                      <a:pt x="404" y="190"/>
                    </a:lnTo>
                    <a:lnTo>
                      <a:pt x="404" y="188"/>
                    </a:lnTo>
                    <a:lnTo>
                      <a:pt x="404" y="187"/>
                    </a:lnTo>
                    <a:lnTo>
                      <a:pt x="404" y="185"/>
                    </a:lnTo>
                    <a:close/>
                    <a:moveTo>
                      <a:pt x="551" y="217"/>
                    </a:moveTo>
                    <a:lnTo>
                      <a:pt x="553" y="219"/>
                    </a:lnTo>
                    <a:lnTo>
                      <a:pt x="555" y="219"/>
                    </a:lnTo>
                    <a:lnTo>
                      <a:pt x="553" y="219"/>
                    </a:lnTo>
                    <a:lnTo>
                      <a:pt x="555" y="219"/>
                    </a:lnTo>
                    <a:lnTo>
                      <a:pt x="553" y="221"/>
                    </a:lnTo>
                    <a:lnTo>
                      <a:pt x="553" y="223"/>
                    </a:lnTo>
                    <a:lnTo>
                      <a:pt x="551" y="221"/>
                    </a:lnTo>
                    <a:lnTo>
                      <a:pt x="549" y="219"/>
                    </a:lnTo>
                    <a:lnTo>
                      <a:pt x="551" y="217"/>
                    </a:lnTo>
                    <a:close/>
                    <a:moveTo>
                      <a:pt x="78" y="133"/>
                    </a:moveTo>
                    <a:lnTo>
                      <a:pt x="80" y="135"/>
                    </a:lnTo>
                    <a:lnTo>
                      <a:pt x="82" y="135"/>
                    </a:lnTo>
                    <a:lnTo>
                      <a:pt x="82" y="137"/>
                    </a:lnTo>
                    <a:lnTo>
                      <a:pt x="82" y="139"/>
                    </a:lnTo>
                    <a:lnTo>
                      <a:pt x="80" y="139"/>
                    </a:lnTo>
                    <a:lnTo>
                      <a:pt x="78" y="139"/>
                    </a:lnTo>
                    <a:lnTo>
                      <a:pt x="80" y="139"/>
                    </a:lnTo>
                    <a:lnTo>
                      <a:pt x="78" y="137"/>
                    </a:lnTo>
                    <a:lnTo>
                      <a:pt x="80" y="137"/>
                    </a:lnTo>
                    <a:lnTo>
                      <a:pt x="78" y="137"/>
                    </a:lnTo>
                    <a:lnTo>
                      <a:pt x="80" y="137"/>
                    </a:lnTo>
                    <a:lnTo>
                      <a:pt x="78" y="135"/>
                    </a:lnTo>
                    <a:lnTo>
                      <a:pt x="78" y="133"/>
                    </a:lnTo>
                    <a:close/>
                    <a:moveTo>
                      <a:pt x="72" y="126"/>
                    </a:moveTo>
                    <a:lnTo>
                      <a:pt x="74" y="127"/>
                    </a:lnTo>
                    <a:lnTo>
                      <a:pt x="76" y="129"/>
                    </a:lnTo>
                    <a:lnTo>
                      <a:pt x="76" y="131"/>
                    </a:lnTo>
                    <a:lnTo>
                      <a:pt x="74" y="131"/>
                    </a:lnTo>
                    <a:lnTo>
                      <a:pt x="74" y="129"/>
                    </a:lnTo>
                    <a:lnTo>
                      <a:pt x="72" y="129"/>
                    </a:lnTo>
                    <a:lnTo>
                      <a:pt x="72" y="127"/>
                    </a:lnTo>
                    <a:lnTo>
                      <a:pt x="72" y="126"/>
                    </a:lnTo>
                    <a:close/>
                    <a:moveTo>
                      <a:pt x="484" y="34"/>
                    </a:moveTo>
                    <a:lnTo>
                      <a:pt x="486" y="36"/>
                    </a:lnTo>
                    <a:lnTo>
                      <a:pt x="486" y="38"/>
                    </a:lnTo>
                    <a:lnTo>
                      <a:pt x="486" y="36"/>
                    </a:lnTo>
                    <a:lnTo>
                      <a:pt x="486" y="38"/>
                    </a:lnTo>
                    <a:lnTo>
                      <a:pt x="488" y="38"/>
                    </a:lnTo>
                    <a:lnTo>
                      <a:pt x="486" y="38"/>
                    </a:lnTo>
                    <a:lnTo>
                      <a:pt x="488" y="38"/>
                    </a:lnTo>
                    <a:lnTo>
                      <a:pt x="488" y="40"/>
                    </a:lnTo>
                    <a:lnTo>
                      <a:pt x="486" y="40"/>
                    </a:lnTo>
                    <a:lnTo>
                      <a:pt x="484" y="40"/>
                    </a:lnTo>
                    <a:lnTo>
                      <a:pt x="484" y="38"/>
                    </a:lnTo>
                    <a:lnTo>
                      <a:pt x="484" y="40"/>
                    </a:lnTo>
                    <a:lnTo>
                      <a:pt x="484" y="38"/>
                    </a:lnTo>
                    <a:lnTo>
                      <a:pt x="484" y="36"/>
                    </a:lnTo>
                    <a:lnTo>
                      <a:pt x="482" y="36"/>
                    </a:lnTo>
                    <a:lnTo>
                      <a:pt x="482" y="34"/>
                    </a:lnTo>
                    <a:lnTo>
                      <a:pt x="484" y="34"/>
                    </a:lnTo>
                    <a:close/>
                    <a:moveTo>
                      <a:pt x="606" y="177"/>
                    </a:moveTo>
                    <a:lnTo>
                      <a:pt x="606" y="179"/>
                    </a:lnTo>
                    <a:lnTo>
                      <a:pt x="606" y="183"/>
                    </a:lnTo>
                    <a:lnTo>
                      <a:pt x="604" y="183"/>
                    </a:lnTo>
                    <a:lnTo>
                      <a:pt x="602" y="185"/>
                    </a:lnTo>
                    <a:lnTo>
                      <a:pt x="602" y="187"/>
                    </a:lnTo>
                    <a:lnTo>
                      <a:pt x="602" y="188"/>
                    </a:lnTo>
                    <a:lnTo>
                      <a:pt x="600" y="188"/>
                    </a:lnTo>
                    <a:lnTo>
                      <a:pt x="602" y="188"/>
                    </a:lnTo>
                    <a:lnTo>
                      <a:pt x="602" y="187"/>
                    </a:lnTo>
                    <a:lnTo>
                      <a:pt x="602" y="185"/>
                    </a:lnTo>
                    <a:lnTo>
                      <a:pt x="602" y="183"/>
                    </a:lnTo>
                    <a:lnTo>
                      <a:pt x="604" y="183"/>
                    </a:lnTo>
                    <a:lnTo>
                      <a:pt x="604" y="179"/>
                    </a:lnTo>
                    <a:lnTo>
                      <a:pt x="606" y="177"/>
                    </a:lnTo>
                    <a:close/>
                    <a:moveTo>
                      <a:pt x="492" y="126"/>
                    </a:moveTo>
                    <a:lnTo>
                      <a:pt x="492" y="127"/>
                    </a:lnTo>
                    <a:lnTo>
                      <a:pt x="494" y="131"/>
                    </a:lnTo>
                    <a:lnTo>
                      <a:pt x="494" y="133"/>
                    </a:lnTo>
                    <a:lnTo>
                      <a:pt x="492" y="133"/>
                    </a:lnTo>
                    <a:lnTo>
                      <a:pt x="492" y="131"/>
                    </a:lnTo>
                    <a:lnTo>
                      <a:pt x="490" y="129"/>
                    </a:lnTo>
                    <a:lnTo>
                      <a:pt x="490" y="127"/>
                    </a:lnTo>
                    <a:lnTo>
                      <a:pt x="490" y="126"/>
                    </a:lnTo>
                    <a:lnTo>
                      <a:pt x="492" y="126"/>
                    </a:lnTo>
                    <a:close/>
                    <a:moveTo>
                      <a:pt x="448" y="225"/>
                    </a:moveTo>
                    <a:lnTo>
                      <a:pt x="450" y="225"/>
                    </a:lnTo>
                    <a:lnTo>
                      <a:pt x="450" y="227"/>
                    </a:lnTo>
                    <a:lnTo>
                      <a:pt x="448" y="227"/>
                    </a:lnTo>
                    <a:lnTo>
                      <a:pt x="446" y="229"/>
                    </a:lnTo>
                    <a:lnTo>
                      <a:pt x="446" y="227"/>
                    </a:lnTo>
                    <a:lnTo>
                      <a:pt x="444" y="229"/>
                    </a:lnTo>
                    <a:lnTo>
                      <a:pt x="444" y="227"/>
                    </a:lnTo>
                    <a:lnTo>
                      <a:pt x="446" y="227"/>
                    </a:lnTo>
                    <a:lnTo>
                      <a:pt x="448" y="225"/>
                    </a:lnTo>
                    <a:close/>
                    <a:moveTo>
                      <a:pt x="358" y="34"/>
                    </a:moveTo>
                    <a:lnTo>
                      <a:pt x="360" y="34"/>
                    </a:lnTo>
                    <a:lnTo>
                      <a:pt x="362" y="34"/>
                    </a:lnTo>
                    <a:lnTo>
                      <a:pt x="360" y="34"/>
                    </a:lnTo>
                    <a:lnTo>
                      <a:pt x="362" y="34"/>
                    </a:lnTo>
                    <a:lnTo>
                      <a:pt x="360" y="36"/>
                    </a:lnTo>
                    <a:lnTo>
                      <a:pt x="358" y="36"/>
                    </a:lnTo>
                    <a:lnTo>
                      <a:pt x="358" y="34"/>
                    </a:lnTo>
                    <a:lnTo>
                      <a:pt x="356" y="34"/>
                    </a:lnTo>
                    <a:lnTo>
                      <a:pt x="358" y="34"/>
                    </a:lnTo>
                    <a:close/>
                    <a:moveTo>
                      <a:pt x="135" y="97"/>
                    </a:moveTo>
                    <a:lnTo>
                      <a:pt x="137" y="97"/>
                    </a:lnTo>
                    <a:lnTo>
                      <a:pt x="139" y="99"/>
                    </a:lnTo>
                    <a:lnTo>
                      <a:pt x="137" y="99"/>
                    </a:lnTo>
                    <a:lnTo>
                      <a:pt x="135" y="99"/>
                    </a:lnTo>
                    <a:lnTo>
                      <a:pt x="133" y="99"/>
                    </a:lnTo>
                    <a:lnTo>
                      <a:pt x="135" y="97"/>
                    </a:lnTo>
                    <a:close/>
                    <a:moveTo>
                      <a:pt x="568" y="105"/>
                    </a:moveTo>
                    <a:lnTo>
                      <a:pt x="570" y="106"/>
                    </a:lnTo>
                    <a:lnTo>
                      <a:pt x="568" y="106"/>
                    </a:lnTo>
                    <a:lnTo>
                      <a:pt x="566" y="108"/>
                    </a:lnTo>
                    <a:lnTo>
                      <a:pt x="564" y="108"/>
                    </a:lnTo>
                    <a:lnTo>
                      <a:pt x="562" y="108"/>
                    </a:lnTo>
                    <a:lnTo>
                      <a:pt x="562" y="106"/>
                    </a:lnTo>
                    <a:lnTo>
                      <a:pt x="564" y="106"/>
                    </a:lnTo>
                    <a:lnTo>
                      <a:pt x="566" y="106"/>
                    </a:lnTo>
                    <a:lnTo>
                      <a:pt x="568" y="106"/>
                    </a:lnTo>
                    <a:lnTo>
                      <a:pt x="568" y="105"/>
                    </a:lnTo>
                    <a:close/>
                    <a:moveTo>
                      <a:pt x="53" y="97"/>
                    </a:moveTo>
                    <a:lnTo>
                      <a:pt x="55" y="97"/>
                    </a:lnTo>
                    <a:lnTo>
                      <a:pt x="55" y="99"/>
                    </a:lnTo>
                    <a:lnTo>
                      <a:pt x="55" y="101"/>
                    </a:lnTo>
                    <a:lnTo>
                      <a:pt x="55" y="103"/>
                    </a:lnTo>
                    <a:lnTo>
                      <a:pt x="53" y="103"/>
                    </a:lnTo>
                    <a:lnTo>
                      <a:pt x="51" y="103"/>
                    </a:lnTo>
                    <a:lnTo>
                      <a:pt x="51" y="101"/>
                    </a:lnTo>
                    <a:lnTo>
                      <a:pt x="53" y="103"/>
                    </a:lnTo>
                    <a:lnTo>
                      <a:pt x="53" y="101"/>
                    </a:lnTo>
                    <a:lnTo>
                      <a:pt x="53" y="99"/>
                    </a:lnTo>
                    <a:lnTo>
                      <a:pt x="53" y="97"/>
                    </a:lnTo>
                    <a:close/>
                    <a:moveTo>
                      <a:pt x="513" y="97"/>
                    </a:moveTo>
                    <a:lnTo>
                      <a:pt x="513" y="99"/>
                    </a:lnTo>
                    <a:lnTo>
                      <a:pt x="513" y="97"/>
                    </a:lnTo>
                    <a:lnTo>
                      <a:pt x="513" y="99"/>
                    </a:lnTo>
                    <a:lnTo>
                      <a:pt x="513" y="101"/>
                    </a:lnTo>
                    <a:lnTo>
                      <a:pt x="511" y="103"/>
                    </a:lnTo>
                    <a:lnTo>
                      <a:pt x="511" y="101"/>
                    </a:lnTo>
                    <a:lnTo>
                      <a:pt x="511" y="99"/>
                    </a:lnTo>
                    <a:lnTo>
                      <a:pt x="511" y="97"/>
                    </a:lnTo>
                    <a:lnTo>
                      <a:pt x="513" y="97"/>
                    </a:lnTo>
                    <a:close/>
                    <a:moveTo>
                      <a:pt x="322" y="202"/>
                    </a:moveTo>
                    <a:lnTo>
                      <a:pt x="324" y="202"/>
                    </a:lnTo>
                    <a:lnTo>
                      <a:pt x="326" y="204"/>
                    </a:lnTo>
                    <a:lnTo>
                      <a:pt x="324" y="204"/>
                    </a:lnTo>
                    <a:lnTo>
                      <a:pt x="322" y="204"/>
                    </a:lnTo>
                    <a:lnTo>
                      <a:pt x="324" y="204"/>
                    </a:lnTo>
                    <a:lnTo>
                      <a:pt x="324" y="206"/>
                    </a:lnTo>
                    <a:lnTo>
                      <a:pt x="322" y="206"/>
                    </a:lnTo>
                    <a:lnTo>
                      <a:pt x="322" y="204"/>
                    </a:lnTo>
                    <a:lnTo>
                      <a:pt x="322" y="206"/>
                    </a:lnTo>
                    <a:lnTo>
                      <a:pt x="322" y="204"/>
                    </a:lnTo>
                    <a:lnTo>
                      <a:pt x="322" y="206"/>
                    </a:lnTo>
                    <a:lnTo>
                      <a:pt x="322" y="204"/>
                    </a:lnTo>
                    <a:lnTo>
                      <a:pt x="320" y="204"/>
                    </a:lnTo>
                    <a:lnTo>
                      <a:pt x="322" y="204"/>
                    </a:lnTo>
                    <a:lnTo>
                      <a:pt x="320" y="202"/>
                    </a:lnTo>
                    <a:lnTo>
                      <a:pt x="322" y="202"/>
                    </a:lnTo>
                    <a:close/>
                    <a:moveTo>
                      <a:pt x="427" y="261"/>
                    </a:moveTo>
                    <a:lnTo>
                      <a:pt x="429" y="261"/>
                    </a:lnTo>
                    <a:lnTo>
                      <a:pt x="429" y="263"/>
                    </a:lnTo>
                    <a:lnTo>
                      <a:pt x="427" y="263"/>
                    </a:lnTo>
                    <a:lnTo>
                      <a:pt x="425" y="263"/>
                    </a:lnTo>
                    <a:lnTo>
                      <a:pt x="423" y="263"/>
                    </a:lnTo>
                    <a:lnTo>
                      <a:pt x="427" y="261"/>
                    </a:lnTo>
                    <a:close/>
                    <a:moveTo>
                      <a:pt x="598" y="183"/>
                    </a:moveTo>
                    <a:lnTo>
                      <a:pt x="600" y="183"/>
                    </a:lnTo>
                    <a:lnTo>
                      <a:pt x="600" y="185"/>
                    </a:lnTo>
                    <a:lnTo>
                      <a:pt x="600" y="187"/>
                    </a:lnTo>
                    <a:lnTo>
                      <a:pt x="600" y="185"/>
                    </a:lnTo>
                    <a:lnTo>
                      <a:pt x="600" y="187"/>
                    </a:lnTo>
                    <a:lnTo>
                      <a:pt x="600" y="188"/>
                    </a:lnTo>
                    <a:lnTo>
                      <a:pt x="598" y="188"/>
                    </a:lnTo>
                    <a:lnTo>
                      <a:pt x="598" y="187"/>
                    </a:lnTo>
                    <a:lnTo>
                      <a:pt x="598" y="188"/>
                    </a:lnTo>
                    <a:lnTo>
                      <a:pt x="598" y="187"/>
                    </a:lnTo>
                    <a:lnTo>
                      <a:pt x="598" y="185"/>
                    </a:lnTo>
                    <a:lnTo>
                      <a:pt x="598" y="187"/>
                    </a:lnTo>
                    <a:lnTo>
                      <a:pt x="598" y="185"/>
                    </a:lnTo>
                    <a:lnTo>
                      <a:pt x="598" y="183"/>
                    </a:lnTo>
                    <a:lnTo>
                      <a:pt x="597" y="183"/>
                    </a:lnTo>
                    <a:lnTo>
                      <a:pt x="598" y="183"/>
                    </a:lnTo>
                    <a:close/>
                    <a:moveTo>
                      <a:pt x="627" y="194"/>
                    </a:moveTo>
                    <a:lnTo>
                      <a:pt x="629" y="194"/>
                    </a:lnTo>
                    <a:lnTo>
                      <a:pt x="629" y="196"/>
                    </a:lnTo>
                    <a:lnTo>
                      <a:pt x="629" y="198"/>
                    </a:lnTo>
                    <a:lnTo>
                      <a:pt x="627" y="198"/>
                    </a:lnTo>
                    <a:lnTo>
                      <a:pt x="627" y="196"/>
                    </a:lnTo>
                    <a:lnTo>
                      <a:pt x="625" y="196"/>
                    </a:lnTo>
                    <a:lnTo>
                      <a:pt x="625" y="194"/>
                    </a:lnTo>
                    <a:lnTo>
                      <a:pt x="625" y="196"/>
                    </a:lnTo>
                    <a:lnTo>
                      <a:pt x="625" y="194"/>
                    </a:lnTo>
                    <a:lnTo>
                      <a:pt x="627" y="194"/>
                    </a:lnTo>
                    <a:close/>
                    <a:moveTo>
                      <a:pt x="114" y="177"/>
                    </a:moveTo>
                    <a:lnTo>
                      <a:pt x="114" y="179"/>
                    </a:lnTo>
                    <a:lnTo>
                      <a:pt x="116" y="179"/>
                    </a:lnTo>
                    <a:lnTo>
                      <a:pt x="116" y="181"/>
                    </a:lnTo>
                    <a:lnTo>
                      <a:pt x="114" y="181"/>
                    </a:lnTo>
                    <a:lnTo>
                      <a:pt x="114" y="179"/>
                    </a:lnTo>
                    <a:lnTo>
                      <a:pt x="112" y="179"/>
                    </a:lnTo>
                    <a:lnTo>
                      <a:pt x="112" y="177"/>
                    </a:lnTo>
                    <a:lnTo>
                      <a:pt x="114" y="177"/>
                    </a:lnTo>
                    <a:close/>
                    <a:moveTo>
                      <a:pt x="145" y="74"/>
                    </a:moveTo>
                    <a:lnTo>
                      <a:pt x="145" y="76"/>
                    </a:lnTo>
                    <a:lnTo>
                      <a:pt x="145" y="78"/>
                    </a:lnTo>
                    <a:lnTo>
                      <a:pt x="145" y="76"/>
                    </a:lnTo>
                    <a:lnTo>
                      <a:pt x="143" y="76"/>
                    </a:lnTo>
                    <a:lnTo>
                      <a:pt x="145" y="76"/>
                    </a:lnTo>
                    <a:lnTo>
                      <a:pt x="143" y="76"/>
                    </a:lnTo>
                    <a:lnTo>
                      <a:pt x="143" y="78"/>
                    </a:lnTo>
                    <a:lnTo>
                      <a:pt x="143" y="76"/>
                    </a:lnTo>
                    <a:lnTo>
                      <a:pt x="145" y="76"/>
                    </a:lnTo>
                    <a:lnTo>
                      <a:pt x="145" y="78"/>
                    </a:lnTo>
                    <a:lnTo>
                      <a:pt x="143" y="78"/>
                    </a:lnTo>
                    <a:lnTo>
                      <a:pt x="141" y="78"/>
                    </a:lnTo>
                    <a:lnTo>
                      <a:pt x="141" y="76"/>
                    </a:lnTo>
                    <a:lnTo>
                      <a:pt x="143" y="76"/>
                    </a:lnTo>
                    <a:lnTo>
                      <a:pt x="143" y="74"/>
                    </a:lnTo>
                    <a:lnTo>
                      <a:pt x="143" y="76"/>
                    </a:lnTo>
                    <a:lnTo>
                      <a:pt x="145" y="76"/>
                    </a:lnTo>
                    <a:lnTo>
                      <a:pt x="143" y="74"/>
                    </a:lnTo>
                    <a:lnTo>
                      <a:pt x="145" y="74"/>
                    </a:lnTo>
                    <a:close/>
                    <a:moveTo>
                      <a:pt x="621" y="188"/>
                    </a:moveTo>
                    <a:lnTo>
                      <a:pt x="621" y="190"/>
                    </a:lnTo>
                    <a:lnTo>
                      <a:pt x="623" y="188"/>
                    </a:lnTo>
                    <a:lnTo>
                      <a:pt x="623" y="190"/>
                    </a:lnTo>
                    <a:lnTo>
                      <a:pt x="623" y="192"/>
                    </a:lnTo>
                    <a:lnTo>
                      <a:pt x="625" y="192"/>
                    </a:lnTo>
                    <a:lnTo>
                      <a:pt x="625" y="194"/>
                    </a:lnTo>
                    <a:lnTo>
                      <a:pt x="627" y="194"/>
                    </a:lnTo>
                    <a:lnTo>
                      <a:pt x="625" y="194"/>
                    </a:lnTo>
                    <a:lnTo>
                      <a:pt x="623" y="194"/>
                    </a:lnTo>
                    <a:lnTo>
                      <a:pt x="623" y="192"/>
                    </a:lnTo>
                    <a:lnTo>
                      <a:pt x="621" y="192"/>
                    </a:lnTo>
                    <a:lnTo>
                      <a:pt x="623" y="192"/>
                    </a:lnTo>
                    <a:lnTo>
                      <a:pt x="623" y="190"/>
                    </a:lnTo>
                    <a:lnTo>
                      <a:pt x="621" y="190"/>
                    </a:lnTo>
                    <a:lnTo>
                      <a:pt x="621" y="192"/>
                    </a:lnTo>
                    <a:lnTo>
                      <a:pt x="621" y="190"/>
                    </a:lnTo>
                    <a:lnTo>
                      <a:pt x="621" y="188"/>
                    </a:lnTo>
                    <a:close/>
                    <a:moveTo>
                      <a:pt x="356" y="103"/>
                    </a:moveTo>
                    <a:lnTo>
                      <a:pt x="358" y="103"/>
                    </a:lnTo>
                    <a:lnTo>
                      <a:pt x="356" y="103"/>
                    </a:lnTo>
                    <a:lnTo>
                      <a:pt x="358" y="103"/>
                    </a:lnTo>
                    <a:lnTo>
                      <a:pt x="358" y="105"/>
                    </a:lnTo>
                    <a:lnTo>
                      <a:pt x="356" y="103"/>
                    </a:lnTo>
                    <a:lnTo>
                      <a:pt x="356" y="105"/>
                    </a:lnTo>
                    <a:lnTo>
                      <a:pt x="358" y="105"/>
                    </a:lnTo>
                    <a:lnTo>
                      <a:pt x="358" y="106"/>
                    </a:lnTo>
                    <a:lnTo>
                      <a:pt x="356" y="105"/>
                    </a:lnTo>
                    <a:lnTo>
                      <a:pt x="356" y="106"/>
                    </a:lnTo>
                    <a:lnTo>
                      <a:pt x="358" y="106"/>
                    </a:lnTo>
                    <a:lnTo>
                      <a:pt x="356" y="106"/>
                    </a:lnTo>
                    <a:lnTo>
                      <a:pt x="356" y="105"/>
                    </a:lnTo>
                    <a:lnTo>
                      <a:pt x="354" y="105"/>
                    </a:lnTo>
                    <a:lnTo>
                      <a:pt x="354" y="103"/>
                    </a:lnTo>
                    <a:lnTo>
                      <a:pt x="356" y="103"/>
                    </a:lnTo>
                    <a:close/>
                    <a:moveTo>
                      <a:pt x="520" y="223"/>
                    </a:moveTo>
                    <a:lnTo>
                      <a:pt x="522" y="223"/>
                    </a:lnTo>
                    <a:lnTo>
                      <a:pt x="524" y="223"/>
                    </a:lnTo>
                    <a:lnTo>
                      <a:pt x="526" y="223"/>
                    </a:lnTo>
                    <a:lnTo>
                      <a:pt x="526" y="225"/>
                    </a:lnTo>
                    <a:lnTo>
                      <a:pt x="524" y="225"/>
                    </a:lnTo>
                    <a:lnTo>
                      <a:pt x="522" y="225"/>
                    </a:lnTo>
                    <a:lnTo>
                      <a:pt x="520" y="225"/>
                    </a:lnTo>
                    <a:lnTo>
                      <a:pt x="520" y="223"/>
                    </a:lnTo>
                    <a:close/>
                    <a:moveTo>
                      <a:pt x="572" y="223"/>
                    </a:moveTo>
                    <a:lnTo>
                      <a:pt x="574" y="223"/>
                    </a:lnTo>
                    <a:lnTo>
                      <a:pt x="572" y="225"/>
                    </a:lnTo>
                    <a:lnTo>
                      <a:pt x="570" y="225"/>
                    </a:lnTo>
                    <a:lnTo>
                      <a:pt x="570" y="227"/>
                    </a:lnTo>
                    <a:lnTo>
                      <a:pt x="568" y="227"/>
                    </a:lnTo>
                    <a:lnTo>
                      <a:pt x="570" y="225"/>
                    </a:lnTo>
                    <a:lnTo>
                      <a:pt x="570" y="223"/>
                    </a:lnTo>
                    <a:lnTo>
                      <a:pt x="572" y="223"/>
                    </a:lnTo>
                    <a:close/>
                    <a:moveTo>
                      <a:pt x="358" y="223"/>
                    </a:moveTo>
                    <a:lnTo>
                      <a:pt x="360" y="223"/>
                    </a:lnTo>
                    <a:lnTo>
                      <a:pt x="360" y="225"/>
                    </a:lnTo>
                    <a:lnTo>
                      <a:pt x="358" y="225"/>
                    </a:lnTo>
                    <a:lnTo>
                      <a:pt x="358" y="227"/>
                    </a:lnTo>
                    <a:lnTo>
                      <a:pt x="356" y="227"/>
                    </a:lnTo>
                    <a:lnTo>
                      <a:pt x="358" y="225"/>
                    </a:lnTo>
                    <a:lnTo>
                      <a:pt x="356" y="225"/>
                    </a:lnTo>
                    <a:lnTo>
                      <a:pt x="358" y="223"/>
                    </a:lnTo>
                    <a:close/>
                    <a:moveTo>
                      <a:pt x="53" y="93"/>
                    </a:moveTo>
                    <a:lnTo>
                      <a:pt x="55" y="95"/>
                    </a:lnTo>
                    <a:lnTo>
                      <a:pt x="55" y="97"/>
                    </a:lnTo>
                    <a:lnTo>
                      <a:pt x="57" y="99"/>
                    </a:lnTo>
                    <a:lnTo>
                      <a:pt x="55" y="99"/>
                    </a:lnTo>
                    <a:lnTo>
                      <a:pt x="53" y="97"/>
                    </a:lnTo>
                    <a:lnTo>
                      <a:pt x="53" y="95"/>
                    </a:lnTo>
                    <a:lnTo>
                      <a:pt x="51" y="93"/>
                    </a:lnTo>
                    <a:lnTo>
                      <a:pt x="53" y="93"/>
                    </a:lnTo>
                    <a:close/>
                    <a:moveTo>
                      <a:pt x="389" y="229"/>
                    </a:moveTo>
                    <a:lnTo>
                      <a:pt x="391" y="229"/>
                    </a:lnTo>
                    <a:lnTo>
                      <a:pt x="391" y="230"/>
                    </a:lnTo>
                    <a:lnTo>
                      <a:pt x="391" y="229"/>
                    </a:lnTo>
                    <a:lnTo>
                      <a:pt x="391" y="230"/>
                    </a:lnTo>
                    <a:lnTo>
                      <a:pt x="389" y="230"/>
                    </a:lnTo>
                    <a:lnTo>
                      <a:pt x="389" y="232"/>
                    </a:lnTo>
                    <a:lnTo>
                      <a:pt x="387" y="232"/>
                    </a:lnTo>
                    <a:lnTo>
                      <a:pt x="387" y="230"/>
                    </a:lnTo>
                    <a:lnTo>
                      <a:pt x="389" y="230"/>
                    </a:lnTo>
                    <a:lnTo>
                      <a:pt x="387" y="229"/>
                    </a:lnTo>
                    <a:lnTo>
                      <a:pt x="389" y="229"/>
                    </a:lnTo>
                    <a:lnTo>
                      <a:pt x="387" y="229"/>
                    </a:lnTo>
                    <a:lnTo>
                      <a:pt x="389" y="229"/>
                    </a:lnTo>
                    <a:close/>
                    <a:moveTo>
                      <a:pt x="633" y="108"/>
                    </a:moveTo>
                    <a:lnTo>
                      <a:pt x="635" y="108"/>
                    </a:lnTo>
                    <a:lnTo>
                      <a:pt x="635" y="110"/>
                    </a:lnTo>
                    <a:lnTo>
                      <a:pt x="635" y="112"/>
                    </a:lnTo>
                    <a:lnTo>
                      <a:pt x="633" y="112"/>
                    </a:lnTo>
                    <a:lnTo>
                      <a:pt x="633" y="110"/>
                    </a:lnTo>
                    <a:lnTo>
                      <a:pt x="633" y="108"/>
                    </a:lnTo>
                    <a:close/>
                    <a:moveTo>
                      <a:pt x="57" y="91"/>
                    </a:moveTo>
                    <a:lnTo>
                      <a:pt x="59" y="91"/>
                    </a:lnTo>
                    <a:lnTo>
                      <a:pt x="61" y="91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9" y="93"/>
                    </a:lnTo>
                    <a:lnTo>
                      <a:pt x="57" y="93"/>
                    </a:lnTo>
                    <a:lnTo>
                      <a:pt x="57" y="91"/>
                    </a:lnTo>
                    <a:lnTo>
                      <a:pt x="55" y="91"/>
                    </a:lnTo>
                    <a:lnTo>
                      <a:pt x="57" y="91"/>
                    </a:lnTo>
                    <a:close/>
                    <a:moveTo>
                      <a:pt x="133" y="80"/>
                    </a:moveTo>
                    <a:lnTo>
                      <a:pt x="135" y="82"/>
                    </a:lnTo>
                    <a:lnTo>
                      <a:pt x="133" y="84"/>
                    </a:lnTo>
                    <a:lnTo>
                      <a:pt x="131" y="82"/>
                    </a:lnTo>
                    <a:lnTo>
                      <a:pt x="131" y="80"/>
                    </a:lnTo>
                    <a:lnTo>
                      <a:pt x="133" y="80"/>
                    </a:lnTo>
                    <a:close/>
                    <a:moveTo>
                      <a:pt x="129" y="82"/>
                    </a:moveTo>
                    <a:lnTo>
                      <a:pt x="131" y="84"/>
                    </a:lnTo>
                    <a:lnTo>
                      <a:pt x="131" y="85"/>
                    </a:lnTo>
                    <a:lnTo>
                      <a:pt x="129" y="85"/>
                    </a:lnTo>
                    <a:lnTo>
                      <a:pt x="129" y="84"/>
                    </a:lnTo>
                    <a:lnTo>
                      <a:pt x="129" y="82"/>
                    </a:lnTo>
                    <a:close/>
                    <a:moveTo>
                      <a:pt x="629" y="183"/>
                    </a:moveTo>
                    <a:lnTo>
                      <a:pt x="631" y="183"/>
                    </a:lnTo>
                    <a:lnTo>
                      <a:pt x="631" y="185"/>
                    </a:lnTo>
                    <a:lnTo>
                      <a:pt x="629" y="185"/>
                    </a:lnTo>
                    <a:lnTo>
                      <a:pt x="629" y="183"/>
                    </a:lnTo>
                    <a:lnTo>
                      <a:pt x="627" y="183"/>
                    </a:lnTo>
                    <a:lnTo>
                      <a:pt x="629" y="183"/>
                    </a:lnTo>
                    <a:close/>
                    <a:moveTo>
                      <a:pt x="629" y="179"/>
                    </a:moveTo>
                    <a:lnTo>
                      <a:pt x="629" y="181"/>
                    </a:lnTo>
                    <a:lnTo>
                      <a:pt x="629" y="179"/>
                    </a:lnTo>
                    <a:lnTo>
                      <a:pt x="629" y="181"/>
                    </a:lnTo>
                    <a:lnTo>
                      <a:pt x="631" y="181"/>
                    </a:lnTo>
                    <a:lnTo>
                      <a:pt x="631" y="183"/>
                    </a:lnTo>
                    <a:lnTo>
                      <a:pt x="631" y="181"/>
                    </a:lnTo>
                    <a:lnTo>
                      <a:pt x="631" y="183"/>
                    </a:lnTo>
                    <a:lnTo>
                      <a:pt x="629" y="183"/>
                    </a:lnTo>
                    <a:lnTo>
                      <a:pt x="627" y="183"/>
                    </a:lnTo>
                    <a:lnTo>
                      <a:pt x="627" y="181"/>
                    </a:lnTo>
                    <a:lnTo>
                      <a:pt x="627" y="179"/>
                    </a:lnTo>
                    <a:lnTo>
                      <a:pt x="629" y="181"/>
                    </a:lnTo>
                    <a:lnTo>
                      <a:pt x="629" y="179"/>
                    </a:lnTo>
                    <a:close/>
                    <a:moveTo>
                      <a:pt x="135" y="97"/>
                    </a:moveTo>
                    <a:lnTo>
                      <a:pt x="133" y="99"/>
                    </a:lnTo>
                    <a:lnTo>
                      <a:pt x="131" y="99"/>
                    </a:lnTo>
                    <a:lnTo>
                      <a:pt x="129" y="99"/>
                    </a:lnTo>
                    <a:lnTo>
                      <a:pt x="131" y="97"/>
                    </a:lnTo>
                    <a:lnTo>
                      <a:pt x="133" y="97"/>
                    </a:lnTo>
                    <a:lnTo>
                      <a:pt x="135" y="97"/>
                    </a:lnTo>
                    <a:close/>
                    <a:moveTo>
                      <a:pt x="354" y="36"/>
                    </a:moveTo>
                    <a:lnTo>
                      <a:pt x="356" y="38"/>
                    </a:lnTo>
                    <a:lnTo>
                      <a:pt x="358" y="38"/>
                    </a:lnTo>
                    <a:lnTo>
                      <a:pt x="356" y="40"/>
                    </a:lnTo>
                    <a:lnTo>
                      <a:pt x="356" y="38"/>
                    </a:lnTo>
                    <a:lnTo>
                      <a:pt x="354" y="38"/>
                    </a:lnTo>
                    <a:lnTo>
                      <a:pt x="352" y="38"/>
                    </a:lnTo>
                    <a:lnTo>
                      <a:pt x="352" y="36"/>
                    </a:lnTo>
                    <a:lnTo>
                      <a:pt x="354" y="36"/>
                    </a:lnTo>
                    <a:close/>
                    <a:moveTo>
                      <a:pt x="454" y="118"/>
                    </a:moveTo>
                    <a:lnTo>
                      <a:pt x="454" y="120"/>
                    </a:lnTo>
                    <a:lnTo>
                      <a:pt x="454" y="118"/>
                    </a:lnTo>
                    <a:lnTo>
                      <a:pt x="455" y="120"/>
                    </a:lnTo>
                    <a:lnTo>
                      <a:pt x="454" y="120"/>
                    </a:lnTo>
                    <a:lnTo>
                      <a:pt x="454" y="122"/>
                    </a:lnTo>
                    <a:lnTo>
                      <a:pt x="454" y="120"/>
                    </a:lnTo>
                    <a:lnTo>
                      <a:pt x="454" y="122"/>
                    </a:lnTo>
                    <a:lnTo>
                      <a:pt x="452" y="120"/>
                    </a:lnTo>
                    <a:lnTo>
                      <a:pt x="452" y="118"/>
                    </a:lnTo>
                    <a:lnTo>
                      <a:pt x="454" y="118"/>
                    </a:lnTo>
                    <a:close/>
                    <a:moveTo>
                      <a:pt x="358" y="38"/>
                    </a:moveTo>
                    <a:lnTo>
                      <a:pt x="360" y="40"/>
                    </a:lnTo>
                    <a:lnTo>
                      <a:pt x="360" y="42"/>
                    </a:lnTo>
                    <a:lnTo>
                      <a:pt x="358" y="42"/>
                    </a:lnTo>
                    <a:lnTo>
                      <a:pt x="358" y="40"/>
                    </a:lnTo>
                    <a:lnTo>
                      <a:pt x="358" y="38"/>
                    </a:lnTo>
                    <a:close/>
                    <a:moveTo>
                      <a:pt x="427" y="101"/>
                    </a:moveTo>
                    <a:lnTo>
                      <a:pt x="427" y="103"/>
                    </a:lnTo>
                    <a:lnTo>
                      <a:pt x="427" y="101"/>
                    </a:lnTo>
                    <a:lnTo>
                      <a:pt x="427" y="103"/>
                    </a:lnTo>
                    <a:lnTo>
                      <a:pt x="425" y="101"/>
                    </a:lnTo>
                    <a:lnTo>
                      <a:pt x="423" y="103"/>
                    </a:lnTo>
                    <a:lnTo>
                      <a:pt x="423" y="101"/>
                    </a:lnTo>
                    <a:lnTo>
                      <a:pt x="425" y="101"/>
                    </a:lnTo>
                    <a:lnTo>
                      <a:pt x="423" y="101"/>
                    </a:lnTo>
                    <a:lnTo>
                      <a:pt x="425" y="101"/>
                    </a:lnTo>
                    <a:lnTo>
                      <a:pt x="427" y="101"/>
                    </a:lnTo>
                    <a:close/>
                    <a:moveTo>
                      <a:pt x="360" y="26"/>
                    </a:moveTo>
                    <a:lnTo>
                      <a:pt x="364" y="26"/>
                    </a:lnTo>
                    <a:lnTo>
                      <a:pt x="364" y="28"/>
                    </a:lnTo>
                    <a:lnTo>
                      <a:pt x="362" y="30"/>
                    </a:lnTo>
                    <a:lnTo>
                      <a:pt x="360" y="26"/>
                    </a:lnTo>
                    <a:close/>
                    <a:moveTo>
                      <a:pt x="360" y="28"/>
                    </a:moveTo>
                    <a:lnTo>
                      <a:pt x="362" y="28"/>
                    </a:lnTo>
                    <a:lnTo>
                      <a:pt x="360" y="30"/>
                    </a:lnTo>
                    <a:lnTo>
                      <a:pt x="358" y="30"/>
                    </a:lnTo>
                    <a:lnTo>
                      <a:pt x="358" y="28"/>
                    </a:lnTo>
                    <a:lnTo>
                      <a:pt x="360" y="28"/>
                    </a:lnTo>
                    <a:close/>
                    <a:moveTo>
                      <a:pt x="452" y="255"/>
                    </a:moveTo>
                    <a:lnTo>
                      <a:pt x="454" y="257"/>
                    </a:lnTo>
                    <a:lnTo>
                      <a:pt x="452" y="257"/>
                    </a:lnTo>
                    <a:lnTo>
                      <a:pt x="452" y="259"/>
                    </a:lnTo>
                    <a:lnTo>
                      <a:pt x="452" y="257"/>
                    </a:lnTo>
                    <a:lnTo>
                      <a:pt x="452" y="259"/>
                    </a:lnTo>
                    <a:lnTo>
                      <a:pt x="450" y="259"/>
                    </a:lnTo>
                    <a:lnTo>
                      <a:pt x="450" y="257"/>
                    </a:lnTo>
                    <a:lnTo>
                      <a:pt x="452" y="255"/>
                    </a:lnTo>
                    <a:close/>
                    <a:moveTo>
                      <a:pt x="696" y="200"/>
                    </a:moveTo>
                    <a:lnTo>
                      <a:pt x="696" y="202"/>
                    </a:lnTo>
                    <a:lnTo>
                      <a:pt x="698" y="202"/>
                    </a:lnTo>
                    <a:lnTo>
                      <a:pt x="696" y="202"/>
                    </a:lnTo>
                    <a:lnTo>
                      <a:pt x="694" y="200"/>
                    </a:lnTo>
                    <a:lnTo>
                      <a:pt x="696" y="200"/>
                    </a:lnTo>
                    <a:close/>
                    <a:moveTo>
                      <a:pt x="448" y="229"/>
                    </a:moveTo>
                    <a:lnTo>
                      <a:pt x="446" y="229"/>
                    </a:lnTo>
                    <a:lnTo>
                      <a:pt x="444" y="229"/>
                    </a:lnTo>
                    <a:lnTo>
                      <a:pt x="444" y="230"/>
                    </a:lnTo>
                    <a:lnTo>
                      <a:pt x="442" y="230"/>
                    </a:lnTo>
                    <a:lnTo>
                      <a:pt x="444" y="229"/>
                    </a:lnTo>
                    <a:lnTo>
                      <a:pt x="446" y="229"/>
                    </a:lnTo>
                    <a:lnTo>
                      <a:pt x="448" y="229"/>
                    </a:lnTo>
                    <a:close/>
                    <a:moveTo>
                      <a:pt x="360" y="101"/>
                    </a:moveTo>
                    <a:lnTo>
                      <a:pt x="358" y="101"/>
                    </a:lnTo>
                    <a:lnTo>
                      <a:pt x="356" y="101"/>
                    </a:lnTo>
                    <a:lnTo>
                      <a:pt x="356" y="103"/>
                    </a:lnTo>
                    <a:lnTo>
                      <a:pt x="358" y="101"/>
                    </a:lnTo>
                    <a:lnTo>
                      <a:pt x="358" y="103"/>
                    </a:lnTo>
                    <a:lnTo>
                      <a:pt x="358" y="101"/>
                    </a:lnTo>
                    <a:lnTo>
                      <a:pt x="358" y="103"/>
                    </a:lnTo>
                    <a:lnTo>
                      <a:pt x="356" y="103"/>
                    </a:lnTo>
                    <a:lnTo>
                      <a:pt x="358" y="101"/>
                    </a:lnTo>
                    <a:lnTo>
                      <a:pt x="360" y="101"/>
                    </a:lnTo>
                    <a:close/>
                    <a:moveTo>
                      <a:pt x="587" y="208"/>
                    </a:moveTo>
                    <a:lnTo>
                      <a:pt x="587" y="209"/>
                    </a:lnTo>
                    <a:lnTo>
                      <a:pt x="587" y="208"/>
                    </a:lnTo>
                    <a:lnTo>
                      <a:pt x="585" y="208"/>
                    </a:lnTo>
                    <a:lnTo>
                      <a:pt x="583" y="208"/>
                    </a:lnTo>
                    <a:lnTo>
                      <a:pt x="587" y="208"/>
                    </a:lnTo>
                    <a:close/>
                    <a:moveTo>
                      <a:pt x="513" y="103"/>
                    </a:moveTo>
                    <a:lnTo>
                      <a:pt x="513" y="105"/>
                    </a:lnTo>
                    <a:lnTo>
                      <a:pt x="513" y="106"/>
                    </a:lnTo>
                    <a:lnTo>
                      <a:pt x="511" y="106"/>
                    </a:lnTo>
                    <a:lnTo>
                      <a:pt x="511" y="105"/>
                    </a:lnTo>
                    <a:lnTo>
                      <a:pt x="511" y="103"/>
                    </a:lnTo>
                    <a:lnTo>
                      <a:pt x="513" y="103"/>
                    </a:lnTo>
                    <a:close/>
                    <a:moveTo>
                      <a:pt x="339" y="147"/>
                    </a:moveTo>
                    <a:lnTo>
                      <a:pt x="341" y="147"/>
                    </a:lnTo>
                    <a:lnTo>
                      <a:pt x="341" y="148"/>
                    </a:lnTo>
                    <a:lnTo>
                      <a:pt x="339" y="150"/>
                    </a:lnTo>
                    <a:lnTo>
                      <a:pt x="339" y="152"/>
                    </a:lnTo>
                    <a:lnTo>
                      <a:pt x="339" y="150"/>
                    </a:lnTo>
                    <a:lnTo>
                      <a:pt x="339" y="148"/>
                    </a:lnTo>
                    <a:lnTo>
                      <a:pt x="339" y="147"/>
                    </a:lnTo>
                    <a:close/>
                    <a:moveTo>
                      <a:pt x="391" y="230"/>
                    </a:moveTo>
                    <a:lnTo>
                      <a:pt x="391" y="232"/>
                    </a:lnTo>
                    <a:lnTo>
                      <a:pt x="393" y="232"/>
                    </a:lnTo>
                    <a:lnTo>
                      <a:pt x="393" y="230"/>
                    </a:lnTo>
                    <a:lnTo>
                      <a:pt x="394" y="230"/>
                    </a:lnTo>
                    <a:lnTo>
                      <a:pt x="394" y="232"/>
                    </a:lnTo>
                    <a:lnTo>
                      <a:pt x="393" y="232"/>
                    </a:lnTo>
                    <a:lnTo>
                      <a:pt x="393" y="234"/>
                    </a:lnTo>
                    <a:lnTo>
                      <a:pt x="391" y="234"/>
                    </a:lnTo>
                    <a:lnTo>
                      <a:pt x="391" y="232"/>
                    </a:lnTo>
                    <a:lnTo>
                      <a:pt x="391" y="230"/>
                    </a:lnTo>
                    <a:close/>
                    <a:moveTo>
                      <a:pt x="187" y="139"/>
                    </a:moveTo>
                    <a:lnTo>
                      <a:pt x="189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7" y="141"/>
                    </a:lnTo>
                    <a:lnTo>
                      <a:pt x="187" y="139"/>
                    </a:lnTo>
                    <a:close/>
                    <a:moveTo>
                      <a:pt x="36" y="59"/>
                    </a:moveTo>
                    <a:lnTo>
                      <a:pt x="36" y="61"/>
                    </a:lnTo>
                    <a:lnTo>
                      <a:pt x="36" y="59"/>
                    </a:lnTo>
                    <a:lnTo>
                      <a:pt x="34" y="59"/>
                    </a:lnTo>
                    <a:lnTo>
                      <a:pt x="32" y="59"/>
                    </a:lnTo>
                    <a:lnTo>
                      <a:pt x="34" y="59"/>
                    </a:lnTo>
                    <a:lnTo>
                      <a:pt x="36" y="59"/>
                    </a:lnTo>
                    <a:close/>
                    <a:moveTo>
                      <a:pt x="169" y="45"/>
                    </a:moveTo>
                    <a:lnTo>
                      <a:pt x="171" y="45"/>
                    </a:lnTo>
                    <a:lnTo>
                      <a:pt x="171" y="47"/>
                    </a:lnTo>
                    <a:lnTo>
                      <a:pt x="171" y="45"/>
                    </a:lnTo>
                    <a:lnTo>
                      <a:pt x="171" y="47"/>
                    </a:lnTo>
                    <a:lnTo>
                      <a:pt x="169" y="47"/>
                    </a:lnTo>
                    <a:lnTo>
                      <a:pt x="171" y="47"/>
                    </a:lnTo>
                    <a:lnTo>
                      <a:pt x="169" y="49"/>
                    </a:lnTo>
                    <a:lnTo>
                      <a:pt x="169" y="47"/>
                    </a:lnTo>
                    <a:lnTo>
                      <a:pt x="169" y="45"/>
                    </a:lnTo>
                    <a:close/>
                    <a:moveTo>
                      <a:pt x="278" y="185"/>
                    </a:moveTo>
                    <a:lnTo>
                      <a:pt x="282" y="185"/>
                    </a:lnTo>
                    <a:lnTo>
                      <a:pt x="282" y="187"/>
                    </a:lnTo>
                    <a:lnTo>
                      <a:pt x="278" y="187"/>
                    </a:lnTo>
                    <a:lnTo>
                      <a:pt x="278" y="185"/>
                    </a:lnTo>
                    <a:close/>
                    <a:moveTo>
                      <a:pt x="326" y="232"/>
                    </a:moveTo>
                    <a:lnTo>
                      <a:pt x="328" y="232"/>
                    </a:lnTo>
                    <a:lnTo>
                      <a:pt x="328" y="234"/>
                    </a:lnTo>
                    <a:lnTo>
                      <a:pt x="326" y="234"/>
                    </a:lnTo>
                    <a:lnTo>
                      <a:pt x="326" y="232"/>
                    </a:lnTo>
                    <a:lnTo>
                      <a:pt x="324" y="232"/>
                    </a:lnTo>
                    <a:lnTo>
                      <a:pt x="326" y="232"/>
                    </a:lnTo>
                    <a:close/>
                    <a:moveTo>
                      <a:pt x="532" y="206"/>
                    </a:moveTo>
                    <a:lnTo>
                      <a:pt x="536" y="206"/>
                    </a:lnTo>
                    <a:lnTo>
                      <a:pt x="536" y="209"/>
                    </a:lnTo>
                    <a:lnTo>
                      <a:pt x="532" y="209"/>
                    </a:lnTo>
                    <a:lnTo>
                      <a:pt x="532" y="206"/>
                    </a:lnTo>
                    <a:close/>
                    <a:moveTo>
                      <a:pt x="566" y="99"/>
                    </a:moveTo>
                    <a:lnTo>
                      <a:pt x="566" y="101"/>
                    </a:lnTo>
                    <a:lnTo>
                      <a:pt x="566" y="103"/>
                    </a:lnTo>
                    <a:lnTo>
                      <a:pt x="564" y="103"/>
                    </a:lnTo>
                    <a:lnTo>
                      <a:pt x="566" y="101"/>
                    </a:lnTo>
                    <a:lnTo>
                      <a:pt x="564" y="101"/>
                    </a:lnTo>
                    <a:lnTo>
                      <a:pt x="564" y="103"/>
                    </a:lnTo>
                    <a:lnTo>
                      <a:pt x="562" y="101"/>
                    </a:lnTo>
                    <a:lnTo>
                      <a:pt x="564" y="101"/>
                    </a:lnTo>
                    <a:lnTo>
                      <a:pt x="566" y="101"/>
                    </a:lnTo>
                    <a:lnTo>
                      <a:pt x="566" y="99"/>
                    </a:lnTo>
                    <a:close/>
                    <a:moveTo>
                      <a:pt x="694" y="200"/>
                    </a:moveTo>
                    <a:lnTo>
                      <a:pt x="694" y="202"/>
                    </a:lnTo>
                    <a:lnTo>
                      <a:pt x="696" y="202"/>
                    </a:lnTo>
                    <a:lnTo>
                      <a:pt x="694" y="204"/>
                    </a:lnTo>
                    <a:lnTo>
                      <a:pt x="694" y="202"/>
                    </a:lnTo>
                    <a:lnTo>
                      <a:pt x="694" y="200"/>
                    </a:lnTo>
                    <a:close/>
                    <a:moveTo>
                      <a:pt x="221" y="118"/>
                    </a:moveTo>
                    <a:lnTo>
                      <a:pt x="221" y="120"/>
                    </a:lnTo>
                    <a:lnTo>
                      <a:pt x="219" y="120"/>
                    </a:lnTo>
                    <a:lnTo>
                      <a:pt x="219" y="118"/>
                    </a:lnTo>
                    <a:lnTo>
                      <a:pt x="221" y="118"/>
                    </a:lnTo>
                    <a:close/>
                    <a:moveTo>
                      <a:pt x="354" y="105"/>
                    </a:moveTo>
                    <a:lnTo>
                      <a:pt x="356" y="106"/>
                    </a:lnTo>
                    <a:lnTo>
                      <a:pt x="356" y="105"/>
                    </a:lnTo>
                    <a:lnTo>
                      <a:pt x="356" y="106"/>
                    </a:lnTo>
                    <a:lnTo>
                      <a:pt x="356" y="108"/>
                    </a:lnTo>
                    <a:lnTo>
                      <a:pt x="354" y="106"/>
                    </a:lnTo>
                    <a:lnTo>
                      <a:pt x="354" y="105"/>
                    </a:lnTo>
                    <a:lnTo>
                      <a:pt x="354" y="103"/>
                    </a:lnTo>
                    <a:lnTo>
                      <a:pt x="354" y="105"/>
                    </a:lnTo>
                    <a:close/>
                    <a:moveTo>
                      <a:pt x="429" y="99"/>
                    </a:moveTo>
                    <a:lnTo>
                      <a:pt x="431" y="99"/>
                    </a:lnTo>
                    <a:lnTo>
                      <a:pt x="429" y="101"/>
                    </a:lnTo>
                    <a:lnTo>
                      <a:pt x="427" y="101"/>
                    </a:lnTo>
                    <a:lnTo>
                      <a:pt x="427" y="99"/>
                    </a:lnTo>
                    <a:lnTo>
                      <a:pt x="429" y="99"/>
                    </a:lnTo>
                    <a:lnTo>
                      <a:pt x="427" y="99"/>
                    </a:lnTo>
                    <a:lnTo>
                      <a:pt x="429" y="99"/>
                    </a:lnTo>
                    <a:close/>
                    <a:moveTo>
                      <a:pt x="513" y="213"/>
                    </a:moveTo>
                    <a:lnTo>
                      <a:pt x="516" y="213"/>
                    </a:lnTo>
                    <a:lnTo>
                      <a:pt x="516" y="215"/>
                    </a:lnTo>
                    <a:lnTo>
                      <a:pt x="513" y="215"/>
                    </a:lnTo>
                    <a:lnTo>
                      <a:pt x="513" y="213"/>
                    </a:lnTo>
                    <a:close/>
                    <a:moveTo>
                      <a:pt x="530" y="148"/>
                    </a:moveTo>
                    <a:lnTo>
                      <a:pt x="534" y="148"/>
                    </a:lnTo>
                    <a:lnTo>
                      <a:pt x="534" y="152"/>
                    </a:lnTo>
                    <a:lnTo>
                      <a:pt x="530" y="152"/>
                    </a:lnTo>
                    <a:lnTo>
                      <a:pt x="530" y="148"/>
                    </a:lnTo>
                    <a:close/>
                    <a:moveTo>
                      <a:pt x="516" y="112"/>
                    </a:moveTo>
                    <a:lnTo>
                      <a:pt x="518" y="112"/>
                    </a:lnTo>
                    <a:lnTo>
                      <a:pt x="518" y="114"/>
                    </a:lnTo>
                    <a:lnTo>
                      <a:pt x="516" y="114"/>
                    </a:lnTo>
                    <a:lnTo>
                      <a:pt x="516" y="112"/>
                    </a:lnTo>
                    <a:close/>
                    <a:moveTo>
                      <a:pt x="631" y="198"/>
                    </a:moveTo>
                    <a:lnTo>
                      <a:pt x="631" y="200"/>
                    </a:lnTo>
                    <a:lnTo>
                      <a:pt x="631" y="202"/>
                    </a:lnTo>
                    <a:lnTo>
                      <a:pt x="629" y="202"/>
                    </a:lnTo>
                    <a:lnTo>
                      <a:pt x="629" y="200"/>
                    </a:lnTo>
                    <a:lnTo>
                      <a:pt x="631" y="200"/>
                    </a:lnTo>
                    <a:lnTo>
                      <a:pt x="631" y="198"/>
                    </a:lnTo>
                    <a:close/>
                    <a:moveTo>
                      <a:pt x="534" y="148"/>
                    </a:moveTo>
                    <a:lnTo>
                      <a:pt x="536" y="148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8"/>
                    </a:lnTo>
                    <a:close/>
                    <a:moveTo>
                      <a:pt x="408" y="206"/>
                    </a:moveTo>
                    <a:lnTo>
                      <a:pt x="410" y="206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6" y="208"/>
                    </a:lnTo>
                    <a:lnTo>
                      <a:pt x="406" y="206"/>
                    </a:lnTo>
                    <a:lnTo>
                      <a:pt x="408" y="206"/>
                    </a:lnTo>
                    <a:lnTo>
                      <a:pt x="406" y="206"/>
                    </a:lnTo>
                    <a:lnTo>
                      <a:pt x="408" y="206"/>
                    </a:lnTo>
                    <a:close/>
                    <a:moveTo>
                      <a:pt x="574" y="211"/>
                    </a:moveTo>
                    <a:lnTo>
                      <a:pt x="574" y="213"/>
                    </a:lnTo>
                    <a:lnTo>
                      <a:pt x="572" y="213"/>
                    </a:lnTo>
                    <a:lnTo>
                      <a:pt x="574" y="213"/>
                    </a:lnTo>
                    <a:lnTo>
                      <a:pt x="572" y="213"/>
                    </a:lnTo>
                    <a:lnTo>
                      <a:pt x="572" y="211"/>
                    </a:lnTo>
                    <a:lnTo>
                      <a:pt x="574" y="211"/>
                    </a:lnTo>
                    <a:close/>
                    <a:moveTo>
                      <a:pt x="145" y="78"/>
                    </a:moveTo>
                    <a:lnTo>
                      <a:pt x="145" y="80"/>
                    </a:lnTo>
                    <a:lnTo>
                      <a:pt x="147" y="80"/>
                    </a:lnTo>
                    <a:lnTo>
                      <a:pt x="145" y="82"/>
                    </a:lnTo>
                    <a:lnTo>
                      <a:pt x="145" y="80"/>
                    </a:lnTo>
                    <a:lnTo>
                      <a:pt x="145" y="78"/>
                    </a:lnTo>
                    <a:lnTo>
                      <a:pt x="143" y="78"/>
                    </a:lnTo>
                    <a:lnTo>
                      <a:pt x="145" y="78"/>
                    </a:lnTo>
                    <a:close/>
                    <a:moveTo>
                      <a:pt x="454" y="177"/>
                    </a:moveTo>
                    <a:lnTo>
                      <a:pt x="455" y="177"/>
                    </a:lnTo>
                    <a:lnTo>
                      <a:pt x="455" y="179"/>
                    </a:lnTo>
                    <a:lnTo>
                      <a:pt x="454" y="179"/>
                    </a:lnTo>
                    <a:lnTo>
                      <a:pt x="454" y="177"/>
                    </a:lnTo>
                    <a:close/>
                    <a:moveTo>
                      <a:pt x="608" y="158"/>
                    </a:moveTo>
                    <a:lnTo>
                      <a:pt x="610" y="158"/>
                    </a:lnTo>
                    <a:lnTo>
                      <a:pt x="610" y="160"/>
                    </a:lnTo>
                    <a:lnTo>
                      <a:pt x="612" y="160"/>
                    </a:lnTo>
                    <a:lnTo>
                      <a:pt x="614" y="162"/>
                    </a:lnTo>
                    <a:lnTo>
                      <a:pt x="612" y="162"/>
                    </a:lnTo>
                    <a:lnTo>
                      <a:pt x="610" y="160"/>
                    </a:lnTo>
                    <a:lnTo>
                      <a:pt x="608" y="160"/>
                    </a:lnTo>
                    <a:lnTo>
                      <a:pt x="610" y="160"/>
                    </a:lnTo>
                    <a:lnTo>
                      <a:pt x="608" y="160"/>
                    </a:lnTo>
                    <a:lnTo>
                      <a:pt x="608" y="158"/>
                    </a:lnTo>
                    <a:close/>
                    <a:moveTo>
                      <a:pt x="381" y="223"/>
                    </a:moveTo>
                    <a:lnTo>
                      <a:pt x="383" y="223"/>
                    </a:lnTo>
                    <a:lnTo>
                      <a:pt x="383" y="225"/>
                    </a:lnTo>
                    <a:lnTo>
                      <a:pt x="381" y="225"/>
                    </a:lnTo>
                    <a:lnTo>
                      <a:pt x="381" y="223"/>
                    </a:lnTo>
                    <a:close/>
                    <a:moveTo>
                      <a:pt x="555" y="112"/>
                    </a:moveTo>
                    <a:lnTo>
                      <a:pt x="553" y="114"/>
                    </a:lnTo>
                    <a:lnTo>
                      <a:pt x="553" y="112"/>
                    </a:lnTo>
                    <a:lnTo>
                      <a:pt x="555" y="112"/>
                    </a:lnTo>
                    <a:lnTo>
                      <a:pt x="553" y="112"/>
                    </a:lnTo>
                    <a:lnTo>
                      <a:pt x="551" y="112"/>
                    </a:lnTo>
                    <a:lnTo>
                      <a:pt x="553" y="112"/>
                    </a:lnTo>
                    <a:lnTo>
                      <a:pt x="555" y="112"/>
                    </a:lnTo>
                    <a:close/>
                    <a:moveTo>
                      <a:pt x="545" y="93"/>
                    </a:moveTo>
                    <a:lnTo>
                      <a:pt x="547" y="93"/>
                    </a:lnTo>
                    <a:lnTo>
                      <a:pt x="547" y="95"/>
                    </a:lnTo>
                    <a:lnTo>
                      <a:pt x="549" y="95"/>
                    </a:lnTo>
                    <a:lnTo>
                      <a:pt x="549" y="97"/>
                    </a:lnTo>
                    <a:lnTo>
                      <a:pt x="547" y="95"/>
                    </a:lnTo>
                    <a:lnTo>
                      <a:pt x="545" y="93"/>
                    </a:lnTo>
                    <a:close/>
                    <a:moveTo>
                      <a:pt x="518" y="143"/>
                    </a:moveTo>
                    <a:lnTo>
                      <a:pt x="520" y="143"/>
                    </a:lnTo>
                    <a:lnTo>
                      <a:pt x="520" y="145"/>
                    </a:lnTo>
                    <a:lnTo>
                      <a:pt x="518" y="145"/>
                    </a:lnTo>
                    <a:lnTo>
                      <a:pt x="518" y="143"/>
                    </a:lnTo>
                    <a:close/>
                    <a:moveTo>
                      <a:pt x="581" y="116"/>
                    </a:moveTo>
                    <a:lnTo>
                      <a:pt x="583" y="116"/>
                    </a:lnTo>
                    <a:lnTo>
                      <a:pt x="583" y="118"/>
                    </a:lnTo>
                    <a:lnTo>
                      <a:pt x="581" y="118"/>
                    </a:lnTo>
                    <a:lnTo>
                      <a:pt x="581" y="116"/>
                    </a:lnTo>
                    <a:close/>
                    <a:moveTo>
                      <a:pt x="150" y="89"/>
                    </a:moveTo>
                    <a:lnTo>
                      <a:pt x="152" y="93"/>
                    </a:lnTo>
                    <a:lnTo>
                      <a:pt x="154" y="93"/>
                    </a:lnTo>
                    <a:lnTo>
                      <a:pt x="152" y="93"/>
                    </a:lnTo>
                    <a:lnTo>
                      <a:pt x="152" y="91"/>
                    </a:lnTo>
                    <a:lnTo>
                      <a:pt x="152" y="93"/>
                    </a:lnTo>
                    <a:lnTo>
                      <a:pt x="150" y="91"/>
                    </a:lnTo>
                    <a:lnTo>
                      <a:pt x="152" y="91"/>
                    </a:lnTo>
                    <a:lnTo>
                      <a:pt x="150" y="91"/>
                    </a:lnTo>
                    <a:lnTo>
                      <a:pt x="150" y="89"/>
                    </a:lnTo>
                    <a:close/>
                    <a:moveTo>
                      <a:pt x="633" y="194"/>
                    </a:moveTo>
                    <a:lnTo>
                      <a:pt x="635" y="194"/>
                    </a:lnTo>
                    <a:lnTo>
                      <a:pt x="633" y="196"/>
                    </a:lnTo>
                    <a:lnTo>
                      <a:pt x="633" y="194"/>
                    </a:lnTo>
                    <a:close/>
                    <a:moveTo>
                      <a:pt x="219" y="215"/>
                    </a:moveTo>
                    <a:lnTo>
                      <a:pt x="219" y="217"/>
                    </a:lnTo>
                    <a:lnTo>
                      <a:pt x="221" y="217"/>
                    </a:lnTo>
                    <a:lnTo>
                      <a:pt x="223" y="217"/>
                    </a:lnTo>
                    <a:lnTo>
                      <a:pt x="219" y="217"/>
                    </a:lnTo>
                    <a:lnTo>
                      <a:pt x="219" y="215"/>
                    </a:lnTo>
                    <a:close/>
                    <a:moveTo>
                      <a:pt x="219" y="45"/>
                    </a:moveTo>
                    <a:lnTo>
                      <a:pt x="221" y="45"/>
                    </a:lnTo>
                    <a:lnTo>
                      <a:pt x="221" y="47"/>
                    </a:lnTo>
                    <a:lnTo>
                      <a:pt x="219" y="47"/>
                    </a:lnTo>
                    <a:lnTo>
                      <a:pt x="219" y="45"/>
                    </a:lnTo>
                    <a:close/>
                    <a:moveTo>
                      <a:pt x="307" y="206"/>
                    </a:moveTo>
                    <a:lnTo>
                      <a:pt x="309" y="206"/>
                    </a:lnTo>
                    <a:lnTo>
                      <a:pt x="309" y="208"/>
                    </a:lnTo>
                    <a:lnTo>
                      <a:pt x="307" y="208"/>
                    </a:lnTo>
                    <a:lnTo>
                      <a:pt x="307" y="206"/>
                    </a:lnTo>
                    <a:close/>
                    <a:moveTo>
                      <a:pt x="522" y="141"/>
                    </a:moveTo>
                    <a:lnTo>
                      <a:pt x="524" y="141"/>
                    </a:lnTo>
                    <a:lnTo>
                      <a:pt x="524" y="143"/>
                    </a:lnTo>
                    <a:lnTo>
                      <a:pt x="522" y="143"/>
                    </a:lnTo>
                    <a:lnTo>
                      <a:pt x="522" y="141"/>
                    </a:lnTo>
                    <a:close/>
                    <a:moveTo>
                      <a:pt x="362" y="61"/>
                    </a:moveTo>
                    <a:lnTo>
                      <a:pt x="364" y="61"/>
                    </a:lnTo>
                    <a:lnTo>
                      <a:pt x="362" y="61"/>
                    </a:lnTo>
                    <a:lnTo>
                      <a:pt x="360" y="61"/>
                    </a:lnTo>
                    <a:lnTo>
                      <a:pt x="362" y="61"/>
                    </a:lnTo>
                    <a:close/>
                    <a:moveTo>
                      <a:pt x="131" y="76"/>
                    </a:moveTo>
                    <a:lnTo>
                      <a:pt x="133" y="76"/>
                    </a:lnTo>
                    <a:lnTo>
                      <a:pt x="133" y="78"/>
                    </a:lnTo>
                    <a:lnTo>
                      <a:pt x="131" y="78"/>
                    </a:lnTo>
                    <a:lnTo>
                      <a:pt x="131" y="76"/>
                    </a:lnTo>
                    <a:close/>
                    <a:moveTo>
                      <a:pt x="160" y="198"/>
                    </a:moveTo>
                    <a:lnTo>
                      <a:pt x="162" y="198"/>
                    </a:lnTo>
                    <a:lnTo>
                      <a:pt x="162" y="200"/>
                    </a:lnTo>
                    <a:lnTo>
                      <a:pt x="160" y="200"/>
                    </a:lnTo>
                    <a:lnTo>
                      <a:pt x="160" y="198"/>
                    </a:lnTo>
                    <a:close/>
                    <a:moveTo>
                      <a:pt x="675" y="171"/>
                    </a:moveTo>
                    <a:lnTo>
                      <a:pt x="675" y="173"/>
                    </a:lnTo>
                    <a:lnTo>
                      <a:pt x="675" y="175"/>
                    </a:lnTo>
                    <a:lnTo>
                      <a:pt x="673" y="175"/>
                    </a:lnTo>
                    <a:lnTo>
                      <a:pt x="673" y="173"/>
                    </a:lnTo>
                    <a:lnTo>
                      <a:pt x="675" y="173"/>
                    </a:lnTo>
                    <a:lnTo>
                      <a:pt x="675" y="171"/>
                    </a:lnTo>
                    <a:close/>
                    <a:moveTo>
                      <a:pt x="4" y="0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  <a:moveTo>
                      <a:pt x="196" y="139"/>
                    </a:moveTo>
                    <a:lnTo>
                      <a:pt x="198" y="139"/>
                    </a:lnTo>
                    <a:lnTo>
                      <a:pt x="198" y="141"/>
                    </a:lnTo>
                    <a:lnTo>
                      <a:pt x="196" y="141"/>
                    </a:lnTo>
                    <a:lnTo>
                      <a:pt x="196" y="139"/>
                    </a:lnTo>
                    <a:close/>
                    <a:moveTo>
                      <a:pt x="515" y="82"/>
                    </a:moveTo>
                    <a:lnTo>
                      <a:pt x="516" y="82"/>
                    </a:lnTo>
                    <a:lnTo>
                      <a:pt x="516" y="84"/>
                    </a:lnTo>
                    <a:lnTo>
                      <a:pt x="515" y="84"/>
                    </a:lnTo>
                    <a:lnTo>
                      <a:pt x="515" y="82"/>
                    </a:lnTo>
                    <a:close/>
                    <a:moveTo>
                      <a:pt x="482" y="49"/>
                    </a:moveTo>
                    <a:lnTo>
                      <a:pt x="484" y="49"/>
                    </a:lnTo>
                    <a:lnTo>
                      <a:pt x="484" y="51"/>
                    </a:lnTo>
                    <a:lnTo>
                      <a:pt x="482" y="51"/>
                    </a:lnTo>
                    <a:lnTo>
                      <a:pt x="482" y="49"/>
                    </a:lnTo>
                    <a:close/>
                    <a:moveTo>
                      <a:pt x="516" y="145"/>
                    </a:moveTo>
                    <a:lnTo>
                      <a:pt x="518" y="145"/>
                    </a:lnTo>
                    <a:lnTo>
                      <a:pt x="518" y="147"/>
                    </a:lnTo>
                    <a:lnTo>
                      <a:pt x="516" y="147"/>
                    </a:lnTo>
                    <a:lnTo>
                      <a:pt x="516" y="145"/>
                    </a:lnTo>
                    <a:close/>
                    <a:moveTo>
                      <a:pt x="446" y="122"/>
                    </a:moveTo>
                    <a:lnTo>
                      <a:pt x="448" y="122"/>
                    </a:lnTo>
                    <a:lnTo>
                      <a:pt x="448" y="124"/>
                    </a:lnTo>
                    <a:lnTo>
                      <a:pt x="446" y="124"/>
                    </a:lnTo>
                    <a:lnTo>
                      <a:pt x="446" y="122"/>
                    </a:lnTo>
                    <a:close/>
                    <a:moveTo>
                      <a:pt x="362" y="36"/>
                    </a:moveTo>
                    <a:lnTo>
                      <a:pt x="364" y="36"/>
                    </a:lnTo>
                    <a:lnTo>
                      <a:pt x="364" y="38"/>
                    </a:lnTo>
                    <a:lnTo>
                      <a:pt x="362" y="38"/>
                    </a:lnTo>
                    <a:lnTo>
                      <a:pt x="362" y="36"/>
                    </a:lnTo>
                    <a:close/>
                    <a:moveTo>
                      <a:pt x="526" y="225"/>
                    </a:moveTo>
                    <a:lnTo>
                      <a:pt x="528" y="225"/>
                    </a:lnTo>
                    <a:lnTo>
                      <a:pt x="526" y="225"/>
                    </a:lnTo>
                    <a:close/>
                    <a:moveTo>
                      <a:pt x="410" y="209"/>
                    </a:moveTo>
                    <a:lnTo>
                      <a:pt x="414" y="209"/>
                    </a:lnTo>
                    <a:lnTo>
                      <a:pt x="414" y="211"/>
                    </a:lnTo>
                    <a:lnTo>
                      <a:pt x="412" y="209"/>
                    </a:lnTo>
                    <a:lnTo>
                      <a:pt x="410" y="209"/>
                    </a:lnTo>
                    <a:close/>
                    <a:moveTo>
                      <a:pt x="625" y="126"/>
                    </a:moveTo>
                    <a:lnTo>
                      <a:pt x="625" y="127"/>
                    </a:lnTo>
                    <a:lnTo>
                      <a:pt x="625" y="126"/>
                    </a:lnTo>
                    <a:close/>
                    <a:moveTo>
                      <a:pt x="537" y="225"/>
                    </a:moveTo>
                    <a:lnTo>
                      <a:pt x="539" y="225"/>
                    </a:lnTo>
                    <a:lnTo>
                      <a:pt x="541" y="225"/>
                    </a:lnTo>
                    <a:lnTo>
                      <a:pt x="539" y="225"/>
                    </a:lnTo>
                    <a:lnTo>
                      <a:pt x="537" y="225"/>
                    </a:lnTo>
                    <a:close/>
                    <a:moveTo>
                      <a:pt x="629" y="196"/>
                    </a:moveTo>
                    <a:lnTo>
                      <a:pt x="631" y="196"/>
                    </a:lnTo>
                    <a:lnTo>
                      <a:pt x="631" y="198"/>
                    </a:lnTo>
                    <a:lnTo>
                      <a:pt x="629" y="198"/>
                    </a:lnTo>
                    <a:lnTo>
                      <a:pt x="629" y="196"/>
                    </a:lnTo>
                    <a:close/>
                    <a:moveTo>
                      <a:pt x="139" y="78"/>
                    </a:moveTo>
                    <a:lnTo>
                      <a:pt x="143" y="78"/>
                    </a:lnTo>
                    <a:lnTo>
                      <a:pt x="143" y="80"/>
                    </a:lnTo>
                    <a:lnTo>
                      <a:pt x="139" y="80"/>
                    </a:lnTo>
                    <a:lnTo>
                      <a:pt x="139" y="78"/>
                    </a:lnTo>
                    <a:close/>
                    <a:moveTo>
                      <a:pt x="177" y="42"/>
                    </a:moveTo>
                    <a:lnTo>
                      <a:pt x="179" y="42"/>
                    </a:lnTo>
                    <a:lnTo>
                      <a:pt x="179" y="45"/>
                    </a:lnTo>
                    <a:lnTo>
                      <a:pt x="177" y="45"/>
                    </a:lnTo>
                    <a:lnTo>
                      <a:pt x="177" y="42"/>
                    </a:lnTo>
                    <a:close/>
                    <a:moveTo>
                      <a:pt x="623" y="122"/>
                    </a:moveTo>
                    <a:lnTo>
                      <a:pt x="623" y="124"/>
                    </a:lnTo>
                    <a:lnTo>
                      <a:pt x="621" y="124"/>
                    </a:lnTo>
                    <a:lnTo>
                      <a:pt x="621" y="122"/>
                    </a:lnTo>
                    <a:lnTo>
                      <a:pt x="623" y="122"/>
                    </a:lnTo>
                    <a:close/>
                    <a:moveTo>
                      <a:pt x="616" y="127"/>
                    </a:moveTo>
                    <a:lnTo>
                      <a:pt x="618" y="127"/>
                    </a:lnTo>
                    <a:lnTo>
                      <a:pt x="618" y="129"/>
                    </a:lnTo>
                    <a:lnTo>
                      <a:pt x="616" y="129"/>
                    </a:lnTo>
                    <a:lnTo>
                      <a:pt x="616" y="127"/>
                    </a:lnTo>
                    <a:close/>
                    <a:moveTo>
                      <a:pt x="330" y="208"/>
                    </a:moveTo>
                    <a:lnTo>
                      <a:pt x="332" y="208"/>
                    </a:lnTo>
                    <a:lnTo>
                      <a:pt x="330" y="208"/>
                    </a:lnTo>
                    <a:close/>
                    <a:moveTo>
                      <a:pt x="513" y="80"/>
                    </a:moveTo>
                    <a:lnTo>
                      <a:pt x="515" y="80"/>
                    </a:lnTo>
                    <a:lnTo>
                      <a:pt x="515" y="82"/>
                    </a:lnTo>
                    <a:lnTo>
                      <a:pt x="513" y="82"/>
                    </a:lnTo>
                    <a:lnTo>
                      <a:pt x="513" y="80"/>
                    </a:lnTo>
                    <a:close/>
                    <a:moveTo>
                      <a:pt x="459" y="187"/>
                    </a:moveTo>
                    <a:lnTo>
                      <a:pt x="461" y="187"/>
                    </a:lnTo>
                    <a:lnTo>
                      <a:pt x="461" y="190"/>
                    </a:lnTo>
                    <a:lnTo>
                      <a:pt x="459" y="190"/>
                    </a:lnTo>
                    <a:lnTo>
                      <a:pt x="459" y="187"/>
                    </a:lnTo>
                    <a:close/>
                    <a:moveTo>
                      <a:pt x="429" y="97"/>
                    </a:moveTo>
                    <a:lnTo>
                      <a:pt x="431" y="97"/>
                    </a:lnTo>
                    <a:lnTo>
                      <a:pt x="431" y="101"/>
                    </a:lnTo>
                    <a:lnTo>
                      <a:pt x="429" y="101"/>
                    </a:lnTo>
                    <a:lnTo>
                      <a:pt x="429" y="97"/>
                    </a:lnTo>
                    <a:close/>
                    <a:moveTo>
                      <a:pt x="600" y="181"/>
                    </a:moveTo>
                    <a:lnTo>
                      <a:pt x="600" y="185"/>
                    </a:lnTo>
                    <a:lnTo>
                      <a:pt x="600" y="181"/>
                    </a:lnTo>
                    <a:close/>
                    <a:moveTo>
                      <a:pt x="572" y="215"/>
                    </a:moveTo>
                    <a:lnTo>
                      <a:pt x="574" y="215"/>
                    </a:lnTo>
                    <a:lnTo>
                      <a:pt x="574" y="217"/>
                    </a:lnTo>
                    <a:lnTo>
                      <a:pt x="572" y="217"/>
                    </a:lnTo>
                    <a:lnTo>
                      <a:pt x="572" y="215"/>
                    </a:lnTo>
                    <a:close/>
                    <a:moveTo>
                      <a:pt x="505" y="32"/>
                    </a:moveTo>
                    <a:lnTo>
                      <a:pt x="505" y="34"/>
                    </a:lnTo>
                    <a:lnTo>
                      <a:pt x="505" y="32"/>
                    </a:lnTo>
                    <a:close/>
                    <a:moveTo>
                      <a:pt x="618" y="131"/>
                    </a:moveTo>
                    <a:lnTo>
                      <a:pt x="619" y="131"/>
                    </a:lnTo>
                    <a:lnTo>
                      <a:pt x="619" y="133"/>
                    </a:lnTo>
                    <a:lnTo>
                      <a:pt x="618" y="133"/>
                    </a:lnTo>
                    <a:lnTo>
                      <a:pt x="618" y="131"/>
                    </a:lnTo>
                    <a:close/>
                    <a:moveTo>
                      <a:pt x="139" y="80"/>
                    </a:moveTo>
                    <a:lnTo>
                      <a:pt x="141" y="80"/>
                    </a:lnTo>
                    <a:lnTo>
                      <a:pt x="141" y="82"/>
                    </a:lnTo>
                    <a:lnTo>
                      <a:pt x="139" y="82"/>
                    </a:lnTo>
                    <a:lnTo>
                      <a:pt x="139" y="80"/>
                    </a:lnTo>
                    <a:close/>
                    <a:moveTo>
                      <a:pt x="570" y="213"/>
                    </a:moveTo>
                    <a:lnTo>
                      <a:pt x="572" y="213"/>
                    </a:lnTo>
                    <a:lnTo>
                      <a:pt x="572" y="215"/>
                    </a:lnTo>
                    <a:lnTo>
                      <a:pt x="570" y="215"/>
                    </a:lnTo>
                    <a:lnTo>
                      <a:pt x="570" y="213"/>
                    </a:lnTo>
                    <a:close/>
                    <a:moveTo>
                      <a:pt x="518" y="223"/>
                    </a:moveTo>
                    <a:lnTo>
                      <a:pt x="520" y="223"/>
                    </a:lnTo>
                    <a:lnTo>
                      <a:pt x="520" y="225"/>
                    </a:lnTo>
                    <a:lnTo>
                      <a:pt x="518" y="225"/>
                    </a:lnTo>
                    <a:lnTo>
                      <a:pt x="518" y="223"/>
                    </a:lnTo>
                    <a:close/>
                    <a:moveTo>
                      <a:pt x="503" y="30"/>
                    </a:moveTo>
                    <a:lnTo>
                      <a:pt x="503" y="32"/>
                    </a:lnTo>
                    <a:lnTo>
                      <a:pt x="503" y="30"/>
                    </a:lnTo>
                    <a:lnTo>
                      <a:pt x="501" y="30"/>
                    </a:lnTo>
                    <a:lnTo>
                      <a:pt x="501" y="28"/>
                    </a:lnTo>
                    <a:lnTo>
                      <a:pt x="503" y="30"/>
                    </a:lnTo>
                    <a:close/>
                    <a:moveTo>
                      <a:pt x="637" y="116"/>
                    </a:moveTo>
                    <a:lnTo>
                      <a:pt x="639" y="118"/>
                    </a:lnTo>
                    <a:lnTo>
                      <a:pt x="639" y="116"/>
                    </a:lnTo>
                    <a:lnTo>
                      <a:pt x="639" y="118"/>
                    </a:lnTo>
                    <a:lnTo>
                      <a:pt x="640" y="118"/>
                    </a:lnTo>
                    <a:lnTo>
                      <a:pt x="640" y="116"/>
                    </a:lnTo>
                    <a:lnTo>
                      <a:pt x="640" y="118"/>
                    </a:lnTo>
                    <a:lnTo>
                      <a:pt x="639" y="118"/>
                    </a:lnTo>
                    <a:lnTo>
                      <a:pt x="637" y="118"/>
                    </a:lnTo>
                    <a:lnTo>
                      <a:pt x="637" y="116"/>
                    </a:lnTo>
                    <a:close/>
                    <a:moveTo>
                      <a:pt x="692" y="227"/>
                    </a:moveTo>
                    <a:lnTo>
                      <a:pt x="690" y="227"/>
                    </a:lnTo>
                    <a:lnTo>
                      <a:pt x="688" y="229"/>
                    </a:lnTo>
                    <a:lnTo>
                      <a:pt x="688" y="227"/>
                    </a:lnTo>
                    <a:lnTo>
                      <a:pt x="690" y="227"/>
                    </a:lnTo>
                    <a:lnTo>
                      <a:pt x="692" y="227"/>
                    </a:lnTo>
                    <a:close/>
                    <a:moveTo>
                      <a:pt x="356" y="36"/>
                    </a:moveTo>
                    <a:lnTo>
                      <a:pt x="358" y="38"/>
                    </a:lnTo>
                    <a:lnTo>
                      <a:pt x="356" y="38"/>
                    </a:lnTo>
                    <a:lnTo>
                      <a:pt x="356" y="36"/>
                    </a:lnTo>
                    <a:close/>
                    <a:moveTo>
                      <a:pt x="145" y="80"/>
                    </a:moveTo>
                    <a:lnTo>
                      <a:pt x="147" y="80"/>
                    </a:lnTo>
                    <a:lnTo>
                      <a:pt x="147" y="82"/>
                    </a:lnTo>
                    <a:lnTo>
                      <a:pt x="145" y="82"/>
                    </a:lnTo>
                    <a:lnTo>
                      <a:pt x="145" y="80"/>
                    </a:lnTo>
                    <a:close/>
                    <a:moveTo>
                      <a:pt x="457" y="124"/>
                    </a:moveTo>
                    <a:lnTo>
                      <a:pt x="459" y="124"/>
                    </a:lnTo>
                    <a:lnTo>
                      <a:pt x="459" y="126"/>
                    </a:lnTo>
                    <a:lnTo>
                      <a:pt x="457" y="126"/>
                    </a:lnTo>
                    <a:lnTo>
                      <a:pt x="457" y="124"/>
                    </a:lnTo>
                    <a:close/>
                    <a:moveTo>
                      <a:pt x="177" y="40"/>
                    </a:moveTo>
                    <a:lnTo>
                      <a:pt x="179" y="40"/>
                    </a:lnTo>
                    <a:lnTo>
                      <a:pt x="179" y="42"/>
                    </a:lnTo>
                    <a:lnTo>
                      <a:pt x="177" y="42"/>
                    </a:lnTo>
                    <a:lnTo>
                      <a:pt x="177" y="40"/>
                    </a:lnTo>
                    <a:close/>
                    <a:moveTo>
                      <a:pt x="515" y="87"/>
                    </a:moveTo>
                    <a:lnTo>
                      <a:pt x="515" y="89"/>
                    </a:lnTo>
                    <a:lnTo>
                      <a:pt x="515" y="87"/>
                    </a:lnTo>
                    <a:close/>
                    <a:moveTo>
                      <a:pt x="612" y="131"/>
                    </a:moveTo>
                    <a:lnTo>
                      <a:pt x="614" y="131"/>
                    </a:lnTo>
                    <a:lnTo>
                      <a:pt x="614" y="133"/>
                    </a:lnTo>
                    <a:lnTo>
                      <a:pt x="612" y="133"/>
                    </a:lnTo>
                    <a:lnTo>
                      <a:pt x="612" y="131"/>
                    </a:lnTo>
                    <a:close/>
                    <a:moveTo>
                      <a:pt x="511" y="221"/>
                    </a:moveTo>
                    <a:lnTo>
                      <a:pt x="513" y="221"/>
                    </a:lnTo>
                    <a:lnTo>
                      <a:pt x="513" y="223"/>
                    </a:lnTo>
                    <a:lnTo>
                      <a:pt x="511" y="223"/>
                    </a:lnTo>
                    <a:lnTo>
                      <a:pt x="511" y="221"/>
                    </a:lnTo>
                    <a:close/>
                    <a:moveTo>
                      <a:pt x="139" y="80"/>
                    </a:moveTo>
                    <a:lnTo>
                      <a:pt x="141" y="80"/>
                    </a:lnTo>
                    <a:lnTo>
                      <a:pt x="141" y="82"/>
                    </a:lnTo>
                    <a:lnTo>
                      <a:pt x="139" y="82"/>
                    </a:lnTo>
                    <a:lnTo>
                      <a:pt x="139" y="80"/>
                    </a:lnTo>
                    <a:close/>
                    <a:moveTo>
                      <a:pt x="290" y="229"/>
                    </a:moveTo>
                    <a:lnTo>
                      <a:pt x="291" y="229"/>
                    </a:lnTo>
                    <a:lnTo>
                      <a:pt x="290" y="229"/>
                    </a:lnTo>
                    <a:close/>
                    <a:moveTo>
                      <a:pt x="223" y="97"/>
                    </a:moveTo>
                    <a:lnTo>
                      <a:pt x="225" y="97"/>
                    </a:lnTo>
                    <a:lnTo>
                      <a:pt x="225" y="99"/>
                    </a:lnTo>
                    <a:lnTo>
                      <a:pt x="223" y="99"/>
                    </a:lnTo>
                    <a:lnTo>
                      <a:pt x="223" y="97"/>
                    </a:lnTo>
                    <a:close/>
                    <a:moveTo>
                      <a:pt x="229" y="103"/>
                    </a:moveTo>
                    <a:lnTo>
                      <a:pt x="230" y="103"/>
                    </a:lnTo>
                    <a:lnTo>
                      <a:pt x="230" y="105"/>
                    </a:lnTo>
                    <a:lnTo>
                      <a:pt x="229" y="105"/>
                    </a:lnTo>
                    <a:lnTo>
                      <a:pt x="229" y="103"/>
                    </a:lnTo>
                    <a:close/>
                    <a:moveTo>
                      <a:pt x="446" y="150"/>
                    </a:moveTo>
                    <a:lnTo>
                      <a:pt x="448" y="150"/>
                    </a:lnTo>
                    <a:lnTo>
                      <a:pt x="448" y="152"/>
                    </a:lnTo>
                    <a:lnTo>
                      <a:pt x="446" y="152"/>
                    </a:lnTo>
                    <a:lnTo>
                      <a:pt x="446" y="150"/>
                    </a:lnTo>
                    <a:close/>
                    <a:moveTo>
                      <a:pt x="425" y="209"/>
                    </a:moveTo>
                    <a:lnTo>
                      <a:pt x="427" y="209"/>
                    </a:lnTo>
                    <a:lnTo>
                      <a:pt x="427" y="211"/>
                    </a:lnTo>
                    <a:lnTo>
                      <a:pt x="425" y="211"/>
                    </a:lnTo>
                    <a:lnTo>
                      <a:pt x="425" y="209"/>
                    </a:lnTo>
                    <a:close/>
                    <a:moveTo>
                      <a:pt x="433" y="97"/>
                    </a:moveTo>
                    <a:lnTo>
                      <a:pt x="434" y="97"/>
                    </a:lnTo>
                    <a:lnTo>
                      <a:pt x="434" y="99"/>
                    </a:lnTo>
                    <a:lnTo>
                      <a:pt x="433" y="99"/>
                    </a:lnTo>
                    <a:lnTo>
                      <a:pt x="433" y="97"/>
                    </a:lnTo>
                    <a:close/>
                    <a:moveTo>
                      <a:pt x="421" y="95"/>
                    </a:moveTo>
                    <a:lnTo>
                      <a:pt x="423" y="95"/>
                    </a:lnTo>
                    <a:lnTo>
                      <a:pt x="423" y="97"/>
                    </a:lnTo>
                    <a:lnTo>
                      <a:pt x="421" y="97"/>
                    </a:lnTo>
                    <a:lnTo>
                      <a:pt x="421" y="95"/>
                    </a:lnTo>
                    <a:close/>
                    <a:moveTo>
                      <a:pt x="669" y="122"/>
                    </a:moveTo>
                    <a:lnTo>
                      <a:pt x="669" y="124"/>
                    </a:lnTo>
                    <a:lnTo>
                      <a:pt x="669" y="122"/>
                    </a:lnTo>
                    <a:close/>
                    <a:moveTo>
                      <a:pt x="616" y="131"/>
                    </a:moveTo>
                    <a:lnTo>
                      <a:pt x="618" y="131"/>
                    </a:lnTo>
                    <a:lnTo>
                      <a:pt x="618" y="133"/>
                    </a:lnTo>
                    <a:lnTo>
                      <a:pt x="616" y="133"/>
                    </a:lnTo>
                    <a:lnTo>
                      <a:pt x="616" y="131"/>
                    </a:lnTo>
                    <a:close/>
                    <a:moveTo>
                      <a:pt x="53" y="66"/>
                    </a:moveTo>
                    <a:lnTo>
                      <a:pt x="57" y="66"/>
                    </a:lnTo>
                    <a:lnTo>
                      <a:pt x="57" y="68"/>
                    </a:lnTo>
                    <a:lnTo>
                      <a:pt x="53" y="68"/>
                    </a:lnTo>
                    <a:lnTo>
                      <a:pt x="53" y="66"/>
                    </a:lnTo>
                    <a:close/>
                    <a:moveTo>
                      <a:pt x="579" y="200"/>
                    </a:moveTo>
                    <a:lnTo>
                      <a:pt x="581" y="200"/>
                    </a:lnTo>
                    <a:lnTo>
                      <a:pt x="581" y="202"/>
                    </a:lnTo>
                    <a:lnTo>
                      <a:pt x="579" y="202"/>
                    </a:lnTo>
                    <a:lnTo>
                      <a:pt x="579" y="200"/>
                    </a:lnTo>
                    <a:close/>
                    <a:moveTo>
                      <a:pt x="663" y="171"/>
                    </a:moveTo>
                    <a:lnTo>
                      <a:pt x="665" y="171"/>
                    </a:lnTo>
                    <a:lnTo>
                      <a:pt x="663" y="171"/>
                    </a:lnTo>
                    <a:close/>
                    <a:moveTo>
                      <a:pt x="148" y="91"/>
                    </a:moveTo>
                    <a:lnTo>
                      <a:pt x="150" y="91"/>
                    </a:lnTo>
                    <a:lnTo>
                      <a:pt x="150" y="93"/>
                    </a:lnTo>
                    <a:lnTo>
                      <a:pt x="148" y="93"/>
                    </a:lnTo>
                    <a:lnTo>
                      <a:pt x="148" y="91"/>
                    </a:lnTo>
                    <a:close/>
                    <a:moveTo>
                      <a:pt x="511" y="154"/>
                    </a:moveTo>
                    <a:lnTo>
                      <a:pt x="513" y="154"/>
                    </a:lnTo>
                    <a:lnTo>
                      <a:pt x="513" y="156"/>
                    </a:lnTo>
                    <a:lnTo>
                      <a:pt x="511" y="156"/>
                    </a:lnTo>
                    <a:lnTo>
                      <a:pt x="511" y="154"/>
                    </a:lnTo>
                    <a:close/>
                    <a:moveTo>
                      <a:pt x="515" y="91"/>
                    </a:moveTo>
                    <a:lnTo>
                      <a:pt x="515" y="93"/>
                    </a:lnTo>
                    <a:lnTo>
                      <a:pt x="516" y="93"/>
                    </a:lnTo>
                    <a:lnTo>
                      <a:pt x="515" y="93"/>
                    </a:lnTo>
                    <a:lnTo>
                      <a:pt x="516" y="93"/>
                    </a:lnTo>
                    <a:lnTo>
                      <a:pt x="516" y="95"/>
                    </a:lnTo>
                    <a:lnTo>
                      <a:pt x="515" y="93"/>
                    </a:lnTo>
                    <a:lnTo>
                      <a:pt x="515" y="91"/>
                    </a:lnTo>
                    <a:close/>
                    <a:moveTo>
                      <a:pt x="356" y="99"/>
                    </a:moveTo>
                    <a:lnTo>
                      <a:pt x="358" y="99"/>
                    </a:lnTo>
                    <a:lnTo>
                      <a:pt x="358" y="101"/>
                    </a:lnTo>
                    <a:lnTo>
                      <a:pt x="356" y="101"/>
                    </a:lnTo>
                    <a:lnTo>
                      <a:pt x="356" y="99"/>
                    </a:lnTo>
                    <a:close/>
                    <a:moveTo>
                      <a:pt x="619" y="156"/>
                    </a:moveTo>
                    <a:lnTo>
                      <a:pt x="623" y="156"/>
                    </a:lnTo>
                    <a:lnTo>
                      <a:pt x="623" y="158"/>
                    </a:lnTo>
                    <a:lnTo>
                      <a:pt x="619" y="158"/>
                    </a:lnTo>
                    <a:lnTo>
                      <a:pt x="619" y="156"/>
                    </a:lnTo>
                    <a:close/>
                    <a:moveTo>
                      <a:pt x="450" y="120"/>
                    </a:moveTo>
                    <a:lnTo>
                      <a:pt x="452" y="120"/>
                    </a:lnTo>
                    <a:lnTo>
                      <a:pt x="452" y="122"/>
                    </a:lnTo>
                    <a:lnTo>
                      <a:pt x="450" y="122"/>
                    </a:lnTo>
                    <a:lnTo>
                      <a:pt x="450" y="120"/>
                    </a:lnTo>
                    <a:close/>
                    <a:moveTo>
                      <a:pt x="578" y="156"/>
                    </a:moveTo>
                    <a:lnTo>
                      <a:pt x="579" y="156"/>
                    </a:lnTo>
                    <a:lnTo>
                      <a:pt x="579" y="158"/>
                    </a:lnTo>
                    <a:lnTo>
                      <a:pt x="578" y="158"/>
                    </a:lnTo>
                    <a:lnTo>
                      <a:pt x="578" y="156"/>
                    </a:lnTo>
                    <a:close/>
                    <a:moveTo>
                      <a:pt x="360" y="59"/>
                    </a:moveTo>
                    <a:lnTo>
                      <a:pt x="362" y="59"/>
                    </a:lnTo>
                    <a:lnTo>
                      <a:pt x="362" y="61"/>
                    </a:lnTo>
                    <a:lnTo>
                      <a:pt x="360" y="61"/>
                    </a:lnTo>
                    <a:lnTo>
                      <a:pt x="360" y="59"/>
                    </a:lnTo>
                    <a:close/>
                    <a:moveTo>
                      <a:pt x="513" y="116"/>
                    </a:moveTo>
                    <a:lnTo>
                      <a:pt x="515" y="116"/>
                    </a:lnTo>
                    <a:lnTo>
                      <a:pt x="513" y="116"/>
                    </a:lnTo>
                    <a:close/>
                    <a:moveTo>
                      <a:pt x="414" y="209"/>
                    </a:moveTo>
                    <a:lnTo>
                      <a:pt x="415" y="209"/>
                    </a:lnTo>
                    <a:lnTo>
                      <a:pt x="415" y="211"/>
                    </a:lnTo>
                    <a:lnTo>
                      <a:pt x="414" y="211"/>
                    </a:lnTo>
                    <a:lnTo>
                      <a:pt x="414" y="209"/>
                    </a:lnTo>
                    <a:close/>
                    <a:moveTo>
                      <a:pt x="455" y="181"/>
                    </a:moveTo>
                    <a:lnTo>
                      <a:pt x="457" y="181"/>
                    </a:lnTo>
                    <a:lnTo>
                      <a:pt x="457" y="183"/>
                    </a:lnTo>
                    <a:lnTo>
                      <a:pt x="455" y="183"/>
                    </a:lnTo>
                    <a:lnTo>
                      <a:pt x="455" y="181"/>
                    </a:lnTo>
                    <a:close/>
                    <a:moveTo>
                      <a:pt x="360" y="32"/>
                    </a:moveTo>
                    <a:lnTo>
                      <a:pt x="362" y="32"/>
                    </a:lnTo>
                    <a:lnTo>
                      <a:pt x="362" y="34"/>
                    </a:lnTo>
                    <a:lnTo>
                      <a:pt x="360" y="34"/>
                    </a:lnTo>
                    <a:lnTo>
                      <a:pt x="360" y="32"/>
                    </a:lnTo>
                    <a:close/>
                    <a:moveTo>
                      <a:pt x="362" y="59"/>
                    </a:moveTo>
                    <a:lnTo>
                      <a:pt x="364" y="59"/>
                    </a:lnTo>
                    <a:lnTo>
                      <a:pt x="364" y="61"/>
                    </a:lnTo>
                    <a:lnTo>
                      <a:pt x="362" y="61"/>
                    </a:lnTo>
                    <a:lnTo>
                      <a:pt x="362" y="59"/>
                    </a:lnTo>
                    <a:close/>
                    <a:moveTo>
                      <a:pt x="553" y="101"/>
                    </a:moveTo>
                    <a:lnTo>
                      <a:pt x="555" y="101"/>
                    </a:lnTo>
                    <a:lnTo>
                      <a:pt x="553" y="101"/>
                    </a:lnTo>
                    <a:close/>
                    <a:moveTo>
                      <a:pt x="618" y="131"/>
                    </a:moveTo>
                    <a:lnTo>
                      <a:pt x="619" y="131"/>
                    </a:lnTo>
                    <a:lnTo>
                      <a:pt x="618" y="131"/>
                    </a:lnTo>
                    <a:close/>
                    <a:moveTo>
                      <a:pt x="0" y="2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close/>
                    <a:moveTo>
                      <a:pt x="526" y="55"/>
                    </a:moveTo>
                    <a:lnTo>
                      <a:pt x="528" y="55"/>
                    </a:lnTo>
                    <a:lnTo>
                      <a:pt x="528" y="57"/>
                    </a:lnTo>
                    <a:lnTo>
                      <a:pt x="526" y="57"/>
                    </a:lnTo>
                    <a:lnTo>
                      <a:pt x="526" y="55"/>
                    </a:lnTo>
                    <a:close/>
                    <a:moveTo>
                      <a:pt x="221" y="53"/>
                    </a:moveTo>
                    <a:lnTo>
                      <a:pt x="225" y="53"/>
                    </a:lnTo>
                    <a:lnTo>
                      <a:pt x="221" y="53"/>
                    </a:lnTo>
                    <a:close/>
                    <a:moveTo>
                      <a:pt x="530" y="108"/>
                    </a:moveTo>
                    <a:lnTo>
                      <a:pt x="530" y="110"/>
                    </a:lnTo>
                    <a:lnTo>
                      <a:pt x="530" y="108"/>
                    </a:lnTo>
                    <a:close/>
                    <a:moveTo>
                      <a:pt x="32" y="61"/>
                    </a:moveTo>
                    <a:lnTo>
                      <a:pt x="34" y="61"/>
                    </a:lnTo>
                    <a:lnTo>
                      <a:pt x="32" y="61"/>
                    </a:lnTo>
                    <a:close/>
                    <a:moveTo>
                      <a:pt x="478" y="68"/>
                    </a:moveTo>
                    <a:lnTo>
                      <a:pt x="480" y="68"/>
                    </a:lnTo>
                    <a:lnTo>
                      <a:pt x="480" y="72"/>
                    </a:lnTo>
                    <a:lnTo>
                      <a:pt x="478" y="72"/>
                    </a:lnTo>
                    <a:lnTo>
                      <a:pt x="478" y="68"/>
                    </a:lnTo>
                    <a:close/>
                    <a:moveTo>
                      <a:pt x="225" y="95"/>
                    </a:moveTo>
                    <a:lnTo>
                      <a:pt x="225" y="97"/>
                    </a:lnTo>
                    <a:lnTo>
                      <a:pt x="225" y="95"/>
                    </a:lnTo>
                    <a:close/>
                    <a:moveTo>
                      <a:pt x="627" y="129"/>
                    </a:moveTo>
                    <a:lnTo>
                      <a:pt x="629" y="129"/>
                    </a:lnTo>
                    <a:lnTo>
                      <a:pt x="629" y="133"/>
                    </a:lnTo>
                    <a:lnTo>
                      <a:pt x="627" y="133"/>
                    </a:lnTo>
                    <a:lnTo>
                      <a:pt x="627" y="129"/>
                    </a:lnTo>
                    <a:close/>
                    <a:moveTo>
                      <a:pt x="631" y="185"/>
                    </a:moveTo>
                    <a:lnTo>
                      <a:pt x="631" y="187"/>
                    </a:lnTo>
                    <a:lnTo>
                      <a:pt x="631" y="185"/>
                    </a:lnTo>
                    <a:close/>
                    <a:moveTo>
                      <a:pt x="482" y="55"/>
                    </a:moveTo>
                    <a:lnTo>
                      <a:pt x="484" y="55"/>
                    </a:lnTo>
                    <a:lnTo>
                      <a:pt x="484" y="57"/>
                    </a:lnTo>
                    <a:lnTo>
                      <a:pt x="482" y="57"/>
                    </a:lnTo>
                    <a:lnTo>
                      <a:pt x="482" y="55"/>
                    </a:lnTo>
                    <a:close/>
                    <a:moveTo>
                      <a:pt x="133" y="80"/>
                    </a:moveTo>
                    <a:lnTo>
                      <a:pt x="135" y="80"/>
                    </a:lnTo>
                    <a:lnTo>
                      <a:pt x="135" y="82"/>
                    </a:lnTo>
                    <a:lnTo>
                      <a:pt x="133" y="82"/>
                    </a:lnTo>
                    <a:lnTo>
                      <a:pt x="133" y="80"/>
                    </a:lnTo>
                    <a:close/>
                    <a:moveTo>
                      <a:pt x="436" y="183"/>
                    </a:moveTo>
                    <a:lnTo>
                      <a:pt x="438" y="183"/>
                    </a:lnTo>
                    <a:lnTo>
                      <a:pt x="438" y="185"/>
                    </a:lnTo>
                    <a:lnTo>
                      <a:pt x="436" y="185"/>
                    </a:lnTo>
                    <a:lnTo>
                      <a:pt x="436" y="183"/>
                    </a:lnTo>
                    <a:close/>
                    <a:moveTo>
                      <a:pt x="354" y="105"/>
                    </a:moveTo>
                    <a:lnTo>
                      <a:pt x="354" y="106"/>
                    </a:lnTo>
                    <a:lnTo>
                      <a:pt x="354" y="105"/>
                    </a:lnTo>
                    <a:close/>
                    <a:moveTo>
                      <a:pt x="459" y="185"/>
                    </a:moveTo>
                    <a:lnTo>
                      <a:pt x="461" y="185"/>
                    </a:lnTo>
                    <a:lnTo>
                      <a:pt x="459" y="185"/>
                    </a:lnTo>
                    <a:close/>
                    <a:moveTo>
                      <a:pt x="576" y="158"/>
                    </a:moveTo>
                    <a:lnTo>
                      <a:pt x="578" y="158"/>
                    </a:lnTo>
                    <a:lnTo>
                      <a:pt x="578" y="160"/>
                    </a:lnTo>
                    <a:lnTo>
                      <a:pt x="576" y="160"/>
                    </a:lnTo>
                    <a:lnTo>
                      <a:pt x="576" y="158"/>
                    </a:lnTo>
                    <a:close/>
                    <a:moveTo>
                      <a:pt x="301" y="206"/>
                    </a:moveTo>
                    <a:lnTo>
                      <a:pt x="303" y="206"/>
                    </a:lnTo>
                    <a:lnTo>
                      <a:pt x="303" y="208"/>
                    </a:lnTo>
                    <a:lnTo>
                      <a:pt x="301" y="208"/>
                    </a:lnTo>
                    <a:lnTo>
                      <a:pt x="301" y="206"/>
                    </a:lnTo>
                    <a:close/>
                    <a:moveTo>
                      <a:pt x="238" y="135"/>
                    </a:moveTo>
                    <a:lnTo>
                      <a:pt x="240" y="135"/>
                    </a:lnTo>
                    <a:lnTo>
                      <a:pt x="240" y="137"/>
                    </a:lnTo>
                    <a:lnTo>
                      <a:pt x="238" y="137"/>
                    </a:lnTo>
                    <a:lnTo>
                      <a:pt x="238" y="135"/>
                    </a:lnTo>
                    <a:close/>
                    <a:moveTo>
                      <a:pt x="354" y="106"/>
                    </a:moveTo>
                    <a:lnTo>
                      <a:pt x="354" y="108"/>
                    </a:lnTo>
                    <a:lnTo>
                      <a:pt x="354" y="106"/>
                    </a:lnTo>
                    <a:close/>
                    <a:moveTo>
                      <a:pt x="623" y="185"/>
                    </a:moveTo>
                    <a:lnTo>
                      <a:pt x="623" y="187"/>
                    </a:lnTo>
                    <a:lnTo>
                      <a:pt x="623" y="185"/>
                    </a:lnTo>
                    <a:close/>
                    <a:moveTo>
                      <a:pt x="190" y="139"/>
                    </a:moveTo>
                    <a:lnTo>
                      <a:pt x="192" y="139"/>
                    </a:lnTo>
                    <a:lnTo>
                      <a:pt x="190" y="139"/>
                    </a:lnTo>
                    <a:close/>
                    <a:moveTo>
                      <a:pt x="669" y="124"/>
                    </a:moveTo>
                    <a:lnTo>
                      <a:pt x="671" y="124"/>
                    </a:lnTo>
                    <a:lnTo>
                      <a:pt x="669" y="124"/>
                    </a:lnTo>
                    <a:close/>
                    <a:moveTo>
                      <a:pt x="627" y="179"/>
                    </a:moveTo>
                    <a:lnTo>
                      <a:pt x="629" y="179"/>
                    </a:lnTo>
                    <a:lnTo>
                      <a:pt x="627" y="179"/>
                    </a:lnTo>
                    <a:close/>
                    <a:moveTo>
                      <a:pt x="557" y="93"/>
                    </a:moveTo>
                    <a:lnTo>
                      <a:pt x="558" y="93"/>
                    </a:lnTo>
                    <a:lnTo>
                      <a:pt x="558" y="95"/>
                    </a:lnTo>
                    <a:lnTo>
                      <a:pt x="557" y="95"/>
                    </a:lnTo>
                    <a:lnTo>
                      <a:pt x="557" y="93"/>
                    </a:lnTo>
                    <a:close/>
                    <a:moveTo>
                      <a:pt x="326" y="204"/>
                    </a:moveTo>
                    <a:lnTo>
                      <a:pt x="328" y="204"/>
                    </a:lnTo>
                    <a:lnTo>
                      <a:pt x="328" y="206"/>
                    </a:lnTo>
                    <a:lnTo>
                      <a:pt x="326" y="206"/>
                    </a:lnTo>
                    <a:lnTo>
                      <a:pt x="326" y="204"/>
                    </a:lnTo>
                    <a:close/>
                    <a:moveTo>
                      <a:pt x="356" y="36"/>
                    </a:moveTo>
                    <a:lnTo>
                      <a:pt x="360" y="36"/>
                    </a:lnTo>
                    <a:lnTo>
                      <a:pt x="360" y="38"/>
                    </a:lnTo>
                    <a:lnTo>
                      <a:pt x="356" y="38"/>
                    </a:lnTo>
                    <a:lnTo>
                      <a:pt x="356" y="36"/>
                    </a:lnTo>
                    <a:close/>
                    <a:moveTo>
                      <a:pt x="553" y="223"/>
                    </a:moveTo>
                    <a:lnTo>
                      <a:pt x="555" y="223"/>
                    </a:lnTo>
                    <a:lnTo>
                      <a:pt x="555" y="225"/>
                    </a:lnTo>
                    <a:lnTo>
                      <a:pt x="553" y="225"/>
                    </a:lnTo>
                    <a:lnTo>
                      <a:pt x="553" y="223"/>
                    </a:lnTo>
                    <a:close/>
                    <a:moveTo>
                      <a:pt x="25" y="59"/>
                    </a:moveTo>
                    <a:lnTo>
                      <a:pt x="26" y="59"/>
                    </a:lnTo>
                    <a:lnTo>
                      <a:pt x="26" y="61"/>
                    </a:lnTo>
                    <a:lnTo>
                      <a:pt x="25" y="61"/>
                    </a:lnTo>
                    <a:lnTo>
                      <a:pt x="25" y="59"/>
                    </a:lnTo>
                    <a:close/>
                    <a:moveTo>
                      <a:pt x="133" y="78"/>
                    </a:moveTo>
                    <a:lnTo>
                      <a:pt x="135" y="78"/>
                    </a:lnTo>
                    <a:lnTo>
                      <a:pt x="135" y="80"/>
                    </a:lnTo>
                    <a:lnTo>
                      <a:pt x="133" y="80"/>
                    </a:lnTo>
                    <a:lnTo>
                      <a:pt x="133" y="78"/>
                    </a:lnTo>
                    <a:close/>
                    <a:moveTo>
                      <a:pt x="478" y="64"/>
                    </a:moveTo>
                    <a:lnTo>
                      <a:pt x="480" y="64"/>
                    </a:lnTo>
                    <a:lnTo>
                      <a:pt x="480" y="66"/>
                    </a:lnTo>
                    <a:lnTo>
                      <a:pt x="478" y="66"/>
                    </a:lnTo>
                    <a:lnTo>
                      <a:pt x="478" y="64"/>
                    </a:lnTo>
                    <a:close/>
                    <a:moveTo>
                      <a:pt x="549" y="219"/>
                    </a:moveTo>
                    <a:lnTo>
                      <a:pt x="549" y="221"/>
                    </a:lnTo>
                    <a:lnTo>
                      <a:pt x="549" y="219"/>
                    </a:lnTo>
                    <a:close/>
                    <a:moveTo>
                      <a:pt x="623" y="183"/>
                    </a:moveTo>
                    <a:lnTo>
                      <a:pt x="625" y="183"/>
                    </a:lnTo>
                    <a:lnTo>
                      <a:pt x="623" y="183"/>
                    </a:lnTo>
                    <a:close/>
                    <a:moveTo>
                      <a:pt x="148" y="87"/>
                    </a:moveTo>
                    <a:lnTo>
                      <a:pt x="148" y="89"/>
                    </a:lnTo>
                    <a:lnTo>
                      <a:pt x="148" y="87"/>
                    </a:lnTo>
                    <a:close/>
                    <a:moveTo>
                      <a:pt x="434" y="148"/>
                    </a:moveTo>
                    <a:lnTo>
                      <a:pt x="436" y="148"/>
                    </a:lnTo>
                    <a:lnTo>
                      <a:pt x="434" y="148"/>
                    </a:lnTo>
                    <a:close/>
                    <a:moveTo>
                      <a:pt x="574" y="108"/>
                    </a:moveTo>
                    <a:lnTo>
                      <a:pt x="574" y="110"/>
                    </a:lnTo>
                    <a:lnTo>
                      <a:pt x="574" y="108"/>
                    </a:lnTo>
                    <a:close/>
                    <a:moveTo>
                      <a:pt x="431" y="97"/>
                    </a:moveTo>
                    <a:lnTo>
                      <a:pt x="433" y="97"/>
                    </a:lnTo>
                    <a:lnTo>
                      <a:pt x="433" y="99"/>
                    </a:lnTo>
                    <a:lnTo>
                      <a:pt x="431" y="99"/>
                    </a:lnTo>
                    <a:lnTo>
                      <a:pt x="431" y="97"/>
                    </a:lnTo>
                    <a:close/>
                    <a:moveTo>
                      <a:pt x="148" y="99"/>
                    </a:moveTo>
                    <a:lnTo>
                      <a:pt x="150" y="99"/>
                    </a:lnTo>
                    <a:lnTo>
                      <a:pt x="148" y="99"/>
                    </a:lnTo>
                    <a:close/>
                    <a:moveTo>
                      <a:pt x="450" y="112"/>
                    </a:moveTo>
                    <a:lnTo>
                      <a:pt x="450" y="114"/>
                    </a:lnTo>
                    <a:lnTo>
                      <a:pt x="450" y="112"/>
                    </a:lnTo>
                    <a:close/>
                    <a:moveTo>
                      <a:pt x="513" y="103"/>
                    </a:moveTo>
                    <a:lnTo>
                      <a:pt x="515" y="103"/>
                    </a:lnTo>
                    <a:lnTo>
                      <a:pt x="515" y="105"/>
                    </a:lnTo>
                    <a:lnTo>
                      <a:pt x="513" y="105"/>
                    </a:lnTo>
                    <a:lnTo>
                      <a:pt x="513" y="103"/>
                    </a:lnTo>
                    <a:close/>
                    <a:moveTo>
                      <a:pt x="446" y="169"/>
                    </a:moveTo>
                    <a:lnTo>
                      <a:pt x="446" y="171"/>
                    </a:lnTo>
                    <a:lnTo>
                      <a:pt x="446" y="169"/>
                    </a:lnTo>
                    <a:close/>
                    <a:moveTo>
                      <a:pt x="385" y="181"/>
                    </a:moveTo>
                    <a:lnTo>
                      <a:pt x="387" y="181"/>
                    </a:lnTo>
                    <a:lnTo>
                      <a:pt x="385" y="181"/>
                    </a:lnTo>
                    <a:close/>
                    <a:moveTo>
                      <a:pt x="423" y="227"/>
                    </a:moveTo>
                    <a:lnTo>
                      <a:pt x="425" y="227"/>
                    </a:lnTo>
                    <a:lnTo>
                      <a:pt x="423" y="227"/>
                    </a:lnTo>
                    <a:close/>
                    <a:moveTo>
                      <a:pt x="528" y="120"/>
                    </a:moveTo>
                    <a:lnTo>
                      <a:pt x="530" y="120"/>
                    </a:lnTo>
                    <a:lnTo>
                      <a:pt x="528" y="120"/>
                    </a:lnTo>
                    <a:close/>
                    <a:moveTo>
                      <a:pt x="465" y="126"/>
                    </a:moveTo>
                    <a:lnTo>
                      <a:pt x="467" y="126"/>
                    </a:lnTo>
                    <a:lnTo>
                      <a:pt x="465" y="126"/>
                    </a:lnTo>
                    <a:close/>
                    <a:moveTo>
                      <a:pt x="91" y="61"/>
                    </a:moveTo>
                    <a:lnTo>
                      <a:pt x="93" y="61"/>
                    </a:lnTo>
                    <a:lnTo>
                      <a:pt x="93" y="63"/>
                    </a:lnTo>
                    <a:lnTo>
                      <a:pt x="91" y="63"/>
                    </a:lnTo>
                    <a:lnTo>
                      <a:pt x="91" y="61"/>
                    </a:lnTo>
                    <a:close/>
                    <a:moveTo>
                      <a:pt x="618" y="152"/>
                    </a:moveTo>
                    <a:lnTo>
                      <a:pt x="618" y="156"/>
                    </a:lnTo>
                    <a:lnTo>
                      <a:pt x="618" y="152"/>
                    </a:lnTo>
                    <a:close/>
                    <a:moveTo>
                      <a:pt x="177" y="40"/>
                    </a:moveTo>
                    <a:lnTo>
                      <a:pt x="179" y="40"/>
                    </a:lnTo>
                    <a:lnTo>
                      <a:pt x="179" y="42"/>
                    </a:lnTo>
                    <a:lnTo>
                      <a:pt x="177" y="42"/>
                    </a:lnTo>
                    <a:lnTo>
                      <a:pt x="177" y="40"/>
                    </a:lnTo>
                    <a:close/>
                    <a:moveTo>
                      <a:pt x="362" y="59"/>
                    </a:moveTo>
                    <a:lnTo>
                      <a:pt x="364" y="59"/>
                    </a:lnTo>
                    <a:lnTo>
                      <a:pt x="364" y="61"/>
                    </a:lnTo>
                    <a:lnTo>
                      <a:pt x="362" y="61"/>
                    </a:lnTo>
                    <a:lnTo>
                      <a:pt x="362" y="59"/>
                    </a:lnTo>
                    <a:close/>
                    <a:moveTo>
                      <a:pt x="421" y="263"/>
                    </a:moveTo>
                    <a:lnTo>
                      <a:pt x="423" y="263"/>
                    </a:lnTo>
                    <a:lnTo>
                      <a:pt x="421" y="263"/>
                    </a:lnTo>
                    <a:close/>
                    <a:moveTo>
                      <a:pt x="360" y="47"/>
                    </a:moveTo>
                    <a:lnTo>
                      <a:pt x="360" y="49"/>
                    </a:lnTo>
                    <a:lnTo>
                      <a:pt x="360" y="47"/>
                    </a:lnTo>
                    <a:close/>
                    <a:moveTo>
                      <a:pt x="633" y="196"/>
                    </a:moveTo>
                    <a:lnTo>
                      <a:pt x="633" y="198"/>
                    </a:lnTo>
                    <a:lnTo>
                      <a:pt x="633" y="196"/>
                    </a:lnTo>
                    <a:close/>
                    <a:moveTo>
                      <a:pt x="354" y="36"/>
                    </a:moveTo>
                    <a:lnTo>
                      <a:pt x="356" y="36"/>
                    </a:lnTo>
                    <a:lnTo>
                      <a:pt x="354" y="36"/>
                    </a:lnTo>
                    <a:close/>
                    <a:moveTo>
                      <a:pt x="587" y="179"/>
                    </a:moveTo>
                    <a:lnTo>
                      <a:pt x="589" y="179"/>
                    </a:lnTo>
                    <a:lnTo>
                      <a:pt x="587" y="179"/>
                    </a:lnTo>
                    <a:close/>
                    <a:moveTo>
                      <a:pt x="669" y="122"/>
                    </a:moveTo>
                    <a:lnTo>
                      <a:pt x="671" y="122"/>
                    </a:lnTo>
                    <a:lnTo>
                      <a:pt x="671" y="124"/>
                    </a:lnTo>
                    <a:lnTo>
                      <a:pt x="669" y="124"/>
                    </a:lnTo>
                    <a:lnTo>
                      <a:pt x="669" y="122"/>
                    </a:lnTo>
                    <a:close/>
                    <a:moveTo>
                      <a:pt x="244" y="185"/>
                    </a:moveTo>
                    <a:lnTo>
                      <a:pt x="246" y="185"/>
                    </a:lnTo>
                    <a:lnTo>
                      <a:pt x="246" y="187"/>
                    </a:lnTo>
                    <a:lnTo>
                      <a:pt x="244" y="187"/>
                    </a:lnTo>
                    <a:lnTo>
                      <a:pt x="244" y="185"/>
                    </a:lnTo>
                    <a:close/>
                    <a:moveTo>
                      <a:pt x="206" y="17"/>
                    </a:moveTo>
                    <a:lnTo>
                      <a:pt x="206" y="19"/>
                    </a:lnTo>
                    <a:lnTo>
                      <a:pt x="206" y="17"/>
                    </a:lnTo>
                    <a:close/>
                    <a:moveTo>
                      <a:pt x="520" y="57"/>
                    </a:moveTo>
                    <a:lnTo>
                      <a:pt x="522" y="57"/>
                    </a:lnTo>
                    <a:lnTo>
                      <a:pt x="522" y="59"/>
                    </a:lnTo>
                    <a:lnTo>
                      <a:pt x="520" y="59"/>
                    </a:lnTo>
                    <a:lnTo>
                      <a:pt x="520" y="57"/>
                    </a:lnTo>
                    <a:close/>
                    <a:moveTo>
                      <a:pt x="356" y="99"/>
                    </a:moveTo>
                    <a:lnTo>
                      <a:pt x="356" y="101"/>
                    </a:lnTo>
                    <a:lnTo>
                      <a:pt x="356" y="99"/>
                    </a:lnTo>
                    <a:close/>
                    <a:moveTo>
                      <a:pt x="576" y="209"/>
                    </a:moveTo>
                    <a:lnTo>
                      <a:pt x="578" y="209"/>
                    </a:lnTo>
                    <a:lnTo>
                      <a:pt x="578" y="211"/>
                    </a:lnTo>
                    <a:lnTo>
                      <a:pt x="576" y="211"/>
                    </a:lnTo>
                    <a:lnTo>
                      <a:pt x="576" y="209"/>
                    </a:lnTo>
                    <a:close/>
                    <a:moveTo>
                      <a:pt x="309" y="208"/>
                    </a:moveTo>
                    <a:lnTo>
                      <a:pt x="311" y="208"/>
                    </a:lnTo>
                    <a:lnTo>
                      <a:pt x="309" y="208"/>
                    </a:lnTo>
                    <a:close/>
                    <a:moveTo>
                      <a:pt x="618" y="127"/>
                    </a:moveTo>
                    <a:lnTo>
                      <a:pt x="618" y="129"/>
                    </a:lnTo>
                    <a:lnTo>
                      <a:pt x="618" y="127"/>
                    </a:lnTo>
                    <a:close/>
                    <a:moveTo>
                      <a:pt x="497" y="122"/>
                    </a:moveTo>
                    <a:lnTo>
                      <a:pt x="499" y="122"/>
                    </a:lnTo>
                    <a:lnTo>
                      <a:pt x="499" y="124"/>
                    </a:lnTo>
                    <a:lnTo>
                      <a:pt x="497" y="124"/>
                    </a:lnTo>
                    <a:lnTo>
                      <a:pt x="497" y="122"/>
                    </a:lnTo>
                    <a:close/>
                    <a:moveTo>
                      <a:pt x="229" y="103"/>
                    </a:moveTo>
                    <a:lnTo>
                      <a:pt x="230" y="103"/>
                    </a:lnTo>
                    <a:lnTo>
                      <a:pt x="230" y="105"/>
                    </a:lnTo>
                    <a:lnTo>
                      <a:pt x="229" y="105"/>
                    </a:lnTo>
                    <a:lnTo>
                      <a:pt x="229" y="103"/>
                    </a:lnTo>
                    <a:close/>
                    <a:moveTo>
                      <a:pt x="124" y="87"/>
                    </a:moveTo>
                    <a:lnTo>
                      <a:pt x="126" y="87"/>
                    </a:lnTo>
                    <a:lnTo>
                      <a:pt x="126" y="89"/>
                    </a:lnTo>
                    <a:lnTo>
                      <a:pt x="124" y="89"/>
                    </a:lnTo>
                    <a:lnTo>
                      <a:pt x="124" y="87"/>
                    </a:lnTo>
                    <a:close/>
                    <a:moveTo>
                      <a:pt x="433" y="150"/>
                    </a:moveTo>
                    <a:lnTo>
                      <a:pt x="434" y="150"/>
                    </a:lnTo>
                    <a:lnTo>
                      <a:pt x="433" y="150"/>
                    </a:lnTo>
                    <a:close/>
                    <a:moveTo>
                      <a:pt x="154" y="185"/>
                    </a:moveTo>
                    <a:lnTo>
                      <a:pt x="156" y="185"/>
                    </a:lnTo>
                    <a:lnTo>
                      <a:pt x="156" y="187"/>
                    </a:lnTo>
                    <a:lnTo>
                      <a:pt x="154" y="187"/>
                    </a:lnTo>
                    <a:lnTo>
                      <a:pt x="154" y="185"/>
                    </a:lnTo>
                    <a:close/>
                    <a:moveTo>
                      <a:pt x="419" y="158"/>
                    </a:moveTo>
                    <a:lnTo>
                      <a:pt x="419" y="160"/>
                    </a:lnTo>
                    <a:lnTo>
                      <a:pt x="419" y="158"/>
                    </a:lnTo>
                    <a:close/>
                    <a:moveTo>
                      <a:pt x="147" y="82"/>
                    </a:moveTo>
                    <a:lnTo>
                      <a:pt x="147" y="84"/>
                    </a:lnTo>
                    <a:lnTo>
                      <a:pt x="147" y="82"/>
                    </a:lnTo>
                    <a:close/>
                    <a:moveTo>
                      <a:pt x="198" y="78"/>
                    </a:moveTo>
                    <a:lnTo>
                      <a:pt x="200" y="78"/>
                    </a:lnTo>
                    <a:lnTo>
                      <a:pt x="198" y="78"/>
                    </a:lnTo>
                    <a:close/>
                    <a:moveTo>
                      <a:pt x="549" y="93"/>
                    </a:moveTo>
                    <a:lnTo>
                      <a:pt x="551" y="93"/>
                    </a:lnTo>
                    <a:lnTo>
                      <a:pt x="551" y="95"/>
                    </a:lnTo>
                    <a:lnTo>
                      <a:pt x="549" y="95"/>
                    </a:lnTo>
                    <a:lnTo>
                      <a:pt x="549" y="93"/>
                    </a:lnTo>
                    <a:close/>
                    <a:moveTo>
                      <a:pt x="511" y="95"/>
                    </a:moveTo>
                    <a:lnTo>
                      <a:pt x="513" y="95"/>
                    </a:lnTo>
                    <a:lnTo>
                      <a:pt x="511" y="95"/>
                    </a:lnTo>
                    <a:close/>
                    <a:moveTo>
                      <a:pt x="360" y="229"/>
                    </a:moveTo>
                    <a:lnTo>
                      <a:pt x="362" y="229"/>
                    </a:lnTo>
                    <a:lnTo>
                      <a:pt x="362" y="230"/>
                    </a:lnTo>
                    <a:lnTo>
                      <a:pt x="360" y="230"/>
                    </a:lnTo>
                    <a:lnTo>
                      <a:pt x="360" y="229"/>
                    </a:lnTo>
                    <a:close/>
                    <a:moveTo>
                      <a:pt x="581" y="164"/>
                    </a:moveTo>
                    <a:lnTo>
                      <a:pt x="583" y="164"/>
                    </a:lnTo>
                    <a:lnTo>
                      <a:pt x="583" y="166"/>
                    </a:lnTo>
                    <a:lnTo>
                      <a:pt x="581" y="166"/>
                    </a:lnTo>
                    <a:lnTo>
                      <a:pt x="581" y="164"/>
                    </a:lnTo>
                    <a:close/>
                    <a:moveTo>
                      <a:pt x="576" y="114"/>
                    </a:moveTo>
                    <a:lnTo>
                      <a:pt x="578" y="114"/>
                    </a:lnTo>
                    <a:lnTo>
                      <a:pt x="578" y="116"/>
                    </a:lnTo>
                    <a:lnTo>
                      <a:pt x="576" y="116"/>
                    </a:lnTo>
                    <a:lnTo>
                      <a:pt x="576" y="114"/>
                    </a:lnTo>
                    <a:close/>
                    <a:moveTo>
                      <a:pt x="372" y="70"/>
                    </a:moveTo>
                    <a:lnTo>
                      <a:pt x="373" y="70"/>
                    </a:lnTo>
                    <a:lnTo>
                      <a:pt x="373" y="72"/>
                    </a:lnTo>
                    <a:lnTo>
                      <a:pt x="372" y="72"/>
                    </a:lnTo>
                    <a:lnTo>
                      <a:pt x="372" y="70"/>
                    </a:lnTo>
                    <a:close/>
                    <a:moveTo>
                      <a:pt x="616" y="127"/>
                    </a:moveTo>
                    <a:lnTo>
                      <a:pt x="618" y="127"/>
                    </a:lnTo>
                    <a:lnTo>
                      <a:pt x="616" y="127"/>
                    </a:lnTo>
                    <a:close/>
                    <a:moveTo>
                      <a:pt x="240" y="139"/>
                    </a:moveTo>
                    <a:lnTo>
                      <a:pt x="242" y="139"/>
                    </a:lnTo>
                    <a:lnTo>
                      <a:pt x="242" y="141"/>
                    </a:lnTo>
                    <a:lnTo>
                      <a:pt x="240" y="141"/>
                    </a:lnTo>
                    <a:lnTo>
                      <a:pt x="240" y="139"/>
                    </a:lnTo>
                    <a:close/>
                    <a:moveTo>
                      <a:pt x="330" y="169"/>
                    </a:moveTo>
                    <a:lnTo>
                      <a:pt x="332" y="169"/>
                    </a:lnTo>
                    <a:lnTo>
                      <a:pt x="332" y="171"/>
                    </a:lnTo>
                    <a:lnTo>
                      <a:pt x="330" y="171"/>
                    </a:lnTo>
                    <a:lnTo>
                      <a:pt x="330" y="169"/>
                    </a:lnTo>
                    <a:close/>
                    <a:moveTo>
                      <a:pt x="154" y="78"/>
                    </a:moveTo>
                    <a:lnTo>
                      <a:pt x="156" y="78"/>
                    </a:lnTo>
                    <a:lnTo>
                      <a:pt x="154" y="78"/>
                    </a:lnTo>
                    <a:close/>
                    <a:moveTo>
                      <a:pt x="465" y="225"/>
                    </a:moveTo>
                    <a:lnTo>
                      <a:pt x="467" y="225"/>
                    </a:lnTo>
                    <a:lnTo>
                      <a:pt x="467" y="227"/>
                    </a:lnTo>
                    <a:lnTo>
                      <a:pt x="465" y="227"/>
                    </a:lnTo>
                    <a:lnTo>
                      <a:pt x="465" y="225"/>
                    </a:lnTo>
                    <a:close/>
                    <a:moveTo>
                      <a:pt x="625" y="156"/>
                    </a:moveTo>
                    <a:lnTo>
                      <a:pt x="627" y="156"/>
                    </a:lnTo>
                    <a:lnTo>
                      <a:pt x="627" y="158"/>
                    </a:lnTo>
                    <a:lnTo>
                      <a:pt x="625" y="158"/>
                    </a:lnTo>
                    <a:lnTo>
                      <a:pt x="625" y="156"/>
                    </a:lnTo>
                    <a:close/>
                    <a:moveTo>
                      <a:pt x="177" y="49"/>
                    </a:moveTo>
                    <a:lnTo>
                      <a:pt x="179" y="49"/>
                    </a:lnTo>
                    <a:lnTo>
                      <a:pt x="177" y="49"/>
                    </a:lnTo>
                    <a:close/>
                    <a:moveTo>
                      <a:pt x="536" y="152"/>
                    </a:moveTo>
                    <a:lnTo>
                      <a:pt x="537" y="152"/>
                    </a:lnTo>
                    <a:lnTo>
                      <a:pt x="536" y="152"/>
                    </a:lnTo>
                    <a:close/>
                    <a:moveTo>
                      <a:pt x="612" y="133"/>
                    </a:moveTo>
                    <a:lnTo>
                      <a:pt x="612" y="135"/>
                    </a:lnTo>
                    <a:lnTo>
                      <a:pt x="612" y="133"/>
                    </a:lnTo>
                    <a:close/>
                    <a:moveTo>
                      <a:pt x="593" y="181"/>
                    </a:moveTo>
                    <a:lnTo>
                      <a:pt x="595" y="181"/>
                    </a:lnTo>
                    <a:lnTo>
                      <a:pt x="595" y="183"/>
                    </a:lnTo>
                    <a:lnTo>
                      <a:pt x="593" y="183"/>
                    </a:lnTo>
                    <a:lnTo>
                      <a:pt x="593" y="181"/>
                    </a:lnTo>
                    <a:close/>
                    <a:moveTo>
                      <a:pt x="629" y="196"/>
                    </a:moveTo>
                    <a:lnTo>
                      <a:pt x="629" y="198"/>
                    </a:lnTo>
                    <a:lnTo>
                      <a:pt x="629" y="196"/>
                    </a:lnTo>
                    <a:close/>
                    <a:moveTo>
                      <a:pt x="139" y="76"/>
                    </a:moveTo>
                    <a:lnTo>
                      <a:pt x="139" y="78"/>
                    </a:lnTo>
                    <a:lnTo>
                      <a:pt x="139" y="76"/>
                    </a:lnTo>
                    <a:close/>
                    <a:moveTo>
                      <a:pt x="385" y="227"/>
                    </a:moveTo>
                    <a:lnTo>
                      <a:pt x="387" y="227"/>
                    </a:lnTo>
                    <a:lnTo>
                      <a:pt x="387" y="229"/>
                    </a:lnTo>
                    <a:lnTo>
                      <a:pt x="385" y="229"/>
                    </a:lnTo>
                    <a:lnTo>
                      <a:pt x="385" y="227"/>
                    </a:lnTo>
                    <a:close/>
                    <a:moveTo>
                      <a:pt x="354" y="105"/>
                    </a:moveTo>
                    <a:lnTo>
                      <a:pt x="356" y="105"/>
                    </a:lnTo>
                    <a:lnTo>
                      <a:pt x="356" y="106"/>
                    </a:lnTo>
                    <a:lnTo>
                      <a:pt x="354" y="106"/>
                    </a:lnTo>
                    <a:lnTo>
                      <a:pt x="354" y="105"/>
                    </a:lnTo>
                    <a:close/>
                    <a:moveTo>
                      <a:pt x="646" y="141"/>
                    </a:moveTo>
                    <a:lnTo>
                      <a:pt x="648" y="141"/>
                    </a:lnTo>
                    <a:lnTo>
                      <a:pt x="646" y="141"/>
                    </a:lnTo>
                    <a:close/>
                    <a:moveTo>
                      <a:pt x="614" y="127"/>
                    </a:moveTo>
                    <a:lnTo>
                      <a:pt x="616" y="127"/>
                    </a:lnTo>
                    <a:lnTo>
                      <a:pt x="616" y="129"/>
                    </a:lnTo>
                    <a:lnTo>
                      <a:pt x="614" y="129"/>
                    </a:lnTo>
                    <a:lnTo>
                      <a:pt x="614" y="127"/>
                    </a:lnTo>
                    <a:close/>
                    <a:moveTo>
                      <a:pt x="530" y="110"/>
                    </a:moveTo>
                    <a:lnTo>
                      <a:pt x="532" y="110"/>
                    </a:lnTo>
                    <a:lnTo>
                      <a:pt x="532" y="112"/>
                    </a:lnTo>
                    <a:lnTo>
                      <a:pt x="530" y="112"/>
                    </a:lnTo>
                    <a:lnTo>
                      <a:pt x="530" y="110"/>
                    </a:lnTo>
                    <a:close/>
                    <a:moveTo>
                      <a:pt x="133" y="82"/>
                    </a:moveTo>
                    <a:lnTo>
                      <a:pt x="135" y="82"/>
                    </a:lnTo>
                    <a:lnTo>
                      <a:pt x="135" y="84"/>
                    </a:lnTo>
                    <a:lnTo>
                      <a:pt x="133" y="84"/>
                    </a:lnTo>
                    <a:lnTo>
                      <a:pt x="133" y="82"/>
                    </a:lnTo>
                    <a:close/>
                    <a:moveTo>
                      <a:pt x="202" y="45"/>
                    </a:moveTo>
                    <a:lnTo>
                      <a:pt x="204" y="45"/>
                    </a:lnTo>
                    <a:lnTo>
                      <a:pt x="202" y="45"/>
                    </a:lnTo>
                    <a:close/>
                    <a:moveTo>
                      <a:pt x="553" y="87"/>
                    </a:moveTo>
                    <a:lnTo>
                      <a:pt x="555" y="87"/>
                    </a:lnTo>
                    <a:lnTo>
                      <a:pt x="555" y="89"/>
                    </a:lnTo>
                    <a:lnTo>
                      <a:pt x="553" y="89"/>
                    </a:lnTo>
                    <a:lnTo>
                      <a:pt x="553" y="87"/>
                    </a:lnTo>
                    <a:close/>
                    <a:moveTo>
                      <a:pt x="509" y="97"/>
                    </a:moveTo>
                    <a:lnTo>
                      <a:pt x="511" y="97"/>
                    </a:lnTo>
                    <a:lnTo>
                      <a:pt x="509" y="97"/>
                    </a:lnTo>
                    <a:close/>
                    <a:moveTo>
                      <a:pt x="364" y="230"/>
                    </a:moveTo>
                    <a:lnTo>
                      <a:pt x="366" y="230"/>
                    </a:lnTo>
                    <a:lnTo>
                      <a:pt x="366" y="232"/>
                    </a:lnTo>
                    <a:lnTo>
                      <a:pt x="364" y="232"/>
                    </a:lnTo>
                    <a:lnTo>
                      <a:pt x="364" y="230"/>
                    </a:lnTo>
                    <a:close/>
                    <a:moveTo>
                      <a:pt x="515" y="85"/>
                    </a:moveTo>
                    <a:lnTo>
                      <a:pt x="515" y="87"/>
                    </a:lnTo>
                    <a:lnTo>
                      <a:pt x="515" y="85"/>
                    </a:lnTo>
                    <a:close/>
                    <a:moveTo>
                      <a:pt x="551" y="112"/>
                    </a:moveTo>
                    <a:lnTo>
                      <a:pt x="553" y="112"/>
                    </a:lnTo>
                    <a:lnTo>
                      <a:pt x="551" y="112"/>
                    </a:lnTo>
                    <a:close/>
                    <a:moveTo>
                      <a:pt x="309" y="181"/>
                    </a:moveTo>
                    <a:lnTo>
                      <a:pt x="309" y="183"/>
                    </a:lnTo>
                    <a:lnTo>
                      <a:pt x="309" y="181"/>
                    </a:lnTo>
                    <a:close/>
                    <a:moveTo>
                      <a:pt x="457" y="126"/>
                    </a:moveTo>
                    <a:lnTo>
                      <a:pt x="459" y="126"/>
                    </a:lnTo>
                    <a:lnTo>
                      <a:pt x="459" y="127"/>
                    </a:lnTo>
                    <a:lnTo>
                      <a:pt x="457" y="127"/>
                    </a:lnTo>
                    <a:lnTo>
                      <a:pt x="457" y="126"/>
                    </a:lnTo>
                    <a:close/>
                    <a:moveTo>
                      <a:pt x="436" y="181"/>
                    </a:moveTo>
                    <a:lnTo>
                      <a:pt x="436" y="183"/>
                    </a:lnTo>
                    <a:lnTo>
                      <a:pt x="436" y="181"/>
                    </a:lnTo>
                    <a:close/>
                    <a:moveTo>
                      <a:pt x="360" y="229"/>
                    </a:moveTo>
                    <a:lnTo>
                      <a:pt x="360" y="230"/>
                    </a:lnTo>
                    <a:lnTo>
                      <a:pt x="360" y="229"/>
                    </a:lnTo>
                    <a:close/>
                    <a:moveTo>
                      <a:pt x="509" y="97"/>
                    </a:moveTo>
                    <a:lnTo>
                      <a:pt x="509" y="99"/>
                    </a:lnTo>
                    <a:lnTo>
                      <a:pt x="509" y="97"/>
                    </a:lnTo>
                    <a:close/>
                    <a:moveTo>
                      <a:pt x="482" y="59"/>
                    </a:moveTo>
                    <a:lnTo>
                      <a:pt x="482" y="61"/>
                    </a:lnTo>
                    <a:lnTo>
                      <a:pt x="482" y="59"/>
                    </a:lnTo>
                    <a:close/>
                    <a:moveTo>
                      <a:pt x="217" y="120"/>
                    </a:moveTo>
                    <a:lnTo>
                      <a:pt x="219" y="120"/>
                    </a:lnTo>
                    <a:lnTo>
                      <a:pt x="219" y="122"/>
                    </a:lnTo>
                    <a:lnTo>
                      <a:pt x="217" y="122"/>
                    </a:lnTo>
                    <a:lnTo>
                      <a:pt x="217" y="120"/>
                    </a:lnTo>
                    <a:close/>
                    <a:moveTo>
                      <a:pt x="694" y="208"/>
                    </a:moveTo>
                    <a:lnTo>
                      <a:pt x="696" y="208"/>
                    </a:lnTo>
                    <a:lnTo>
                      <a:pt x="694" y="208"/>
                    </a:lnTo>
                    <a:close/>
                    <a:moveTo>
                      <a:pt x="488" y="221"/>
                    </a:moveTo>
                    <a:lnTo>
                      <a:pt x="488" y="223"/>
                    </a:lnTo>
                    <a:lnTo>
                      <a:pt x="488" y="221"/>
                    </a:lnTo>
                    <a:close/>
                    <a:moveTo>
                      <a:pt x="373" y="57"/>
                    </a:moveTo>
                    <a:lnTo>
                      <a:pt x="375" y="57"/>
                    </a:lnTo>
                    <a:lnTo>
                      <a:pt x="375" y="59"/>
                    </a:lnTo>
                    <a:lnTo>
                      <a:pt x="373" y="59"/>
                    </a:lnTo>
                    <a:lnTo>
                      <a:pt x="373" y="57"/>
                    </a:lnTo>
                    <a:close/>
                    <a:moveTo>
                      <a:pt x="497" y="72"/>
                    </a:moveTo>
                    <a:lnTo>
                      <a:pt x="499" y="72"/>
                    </a:lnTo>
                    <a:lnTo>
                      <a:pt x="499" y="74"/>
                    </a:lnTo>
                    <a:lnTo>
                      <a:pt x="497" y="74"/>
                    </a:lnTo>
                    <a:lnTo>
                      <a:pt x="497" y="72"/>
                    </a:lnTo>
                    <a:close/>
                    <a:moveTo>
                      <a:pt x="608" y="131"/>
                    </a:moveTo>
                    <a:lnTo>
                      <a:pt x="610" y="131"/>
                    </a:lnTo>
                    <a:lnTo>
                      <a:pt x="610" y="133"/>
                    </a:lnTo>
                    <a:lnTo>
                      <a:pt x="608" y="133"/>
                    </a:lnTo>
                    <a:lnTo>
                      <a:pt x="608" y="131"/>
                    </a:lnTo>
                    <a:close/>
                    <a:moveTo>
                      <a:pt x="404" y="190"/>
                    </a:moveTo>
                    <a:lnTo>
                      <a:pt x="404" y="192"/>
                    </a:lnTo>
                    <a:lnTo>
                      <a:pt x="404" y="190"/>
                    </a:lnTo>
                    <a:close/>
                    <a:moveTo>
                      <a:pt x="516" y="122"/>
                    </a:moveTo>
                    <a:lnTo>
                      <a:pt x="518" y="122"/>
                    </a:lnTo>
                    <a:lnTo>
                      <a:pt x="518" y="124"/>
                    </a:lnTo>
                    <a:lnTo>
                      <a:pt x="516" y="124"/>
                    </a:lnTo>
                    <a:lnTo>
                      <a:pt x="516" y="122"/>
                    </a:lnTo>
                    <a:close/>
                    <a:moveTo>
                      <a:pt x="402" y="76"/>
                    </a:moveTo>
                    <a:lnTo>
                      <a:pt x="404" y="76"/>
                    </a:lnTo>
                    <a:lnTo>
                      <a:pt x="404" y="78"/>
                    </a:lnTo>
                    <a:lnTo>
                      <a:pt x="402" y="78"/>
                    </a:lnTo>
                    <a:lnTo>
                      <a:pt x="402" y="76"/>
                    </a:lnTo>
                    <a:close/>
                    <a:moveTo>
                      <a:pt x="591" y="183"/>
                    </a:moveTo>
                    <a:lnTo>
                      <a:pt x="593" y="183"/>
                    </a:lnTo>
                    <a:lnTo>
                      <a:pt x="591" y="183"/>
                    </a:lnTo>
                    <a:close/>
                    <a:moveTo>
                      <a:pt x="583" y="168"/>
                    </a:moveTo>
                    <a:lnTo>
                      <a:pt x="583" y="169"/>
                    </a:lnTo>
                    <a:lnTo>
                      <a:pt x="583" y="168"/>
                    </a:lnTo>
                    <a:close/>
                    <a:moveTo>
                      <a:pt x="225" y="112"/>
                    </a:moveTo>
                    <a:lnTo>
                      <a:pt x="227" y="112"/>
                    </a:lnTo>
                    <a:lnTo>
                      <a:pt x="227" y="114"/>
                    </a:lnTo>
                    <a:lnTo>
                      <a:pt x="225" y="114"/>
                    </a:lnTo>
                    <a:lnTo>
                      <a:pt x="225" y="112"/>
                    </a:lnTo>
                    <a:close/>
                    <a:moveTo>
                      <a:pt x="595" y="143"/>
                    </a:moveTo>
                    <a:lnTo>
                      <a:pt x="597" y="143"/>
                    </a:lnTo>
                    <a:lnTo>
                      <a:pt x="595" y="143"/>
                    </a:lnTo>
                    <a:close/>
                    <a:moveTo>
                      <a:pt x="667" y="122"/>
                    </a:moveTo>
                    <a:lnTo>
                      <a:pt x="667" y="124"/>
                    </a:lnTo>
                    <a:lnTo>
                      <a:pt x="667" y="122"/>
                    </a:lnTo>
                    <a:close/>
                    <a:moveTo>
                      <a:pt x="196" y="141"/>
                    </a:moveTo>
                    <a:lnTo>
                      <a:pt x="198" y="141"/>
                    </a:lnTo>
                    <a:lnTo>
                      <a:pt x="196" y="141"/>
                    </a:lnTo>
                    <a:close/>
                    <a:moveTo>
                      <a:pt x="455" y="124"/>
                    </a:moveTo>
                    <a:lnTo>
                      <a:pt x="455" y="126"/>
                    </a:lnTo>
                    <a:lnTo>
                      <a:pt x="455" y="124"/>
                    </a:lnTo>
                    <a:close/>
                    <a:moveTo>
                      <a:pt x="696" y="225"/>
                    </a:moveTo>
                    <a:lnTo>
                      <a:pt x="698" y="225"/>
                    </a:lnTo>
                    <a:lnTo>
                      <a:pt x="696" y="225"/>
                    </a:lnTo>
                    <a:close/>
                    <a:moveTo>
                      <a:pt x="436" y="101"/>
                    </a:moveTo>
                    <a:lnTo>
                      <a:pt x="438" y="101"/>
                    </a:lnTo>
                    <a:lnTo>
                      <a:pt x="438" y="103"/>
                    </a:lnTo>
                    <a:lnTo>
                      <a:pt x="436" y="103"/>
                    </a:lnTo>
                    <a:lnTo>
                      <a:pt x="436" y="101"/>
                    </a:lnTo>
                    <a:close/>
                    <a:moveTo>
                      <a:pt x="196" y="78"/>
                    </a:moveTo>
                    <a:lnTo>
                      <a:pt x="198" y="78"/>
                    </a:lnTo>
                    <a:lnTo>
                      <a:pt x="196" y="78"/>
                    </a:lnTo>
                    <a:close/>
                    <a:moveTo>
                      <a:pt x="135" y="78"/>
                    </a:moveTo>
                    <a:lnTo>
                      <a:pt x="135" y="80"/>
                    </a:lnTo>
                    <a:lnTo>
                      <a:pt x="135" y="78"/>
                    </a:lnTo>
                    <a:close/>
                    <a:moveTo>
                      <a:pt x="223" y="97"/>
                    </a:moveTo>
                    <a:lnTo>
                      <a:pt x="225" y="97"/>
                    </a:lnTo>
                    <a:lnTo>
                      <a:pt x="223" y="97"/>
                    </a:lnTo>
                    <a:close/>
                    <a:moveTo>
                      <a:pt x="576" y="156"/>
                    </a:moveTo>
                    <a:lnTo>
                      <a:pt x="576" y="158"/>
                    </a:lnTo>
                    <a:lnTo>
                      <a:pt x="576" y="156"/>
                    </a:lnTo>
                    <a:close/>
                    <a:moveTo>
                      <a:pt x="547" y="200"/>
                    </a:moveTo>
                    <a:lnTo>
                      <a:pt x="549" y="200"/>
                    </a:lnTo>
                    <a:lnTo>
                      <a:pt x="549" y="202"/>
                    </a:lnTo>
                    <a:lnTo>
                      <a:pt x="547" y="202"/>
                    </a:lnTo>
                    <a:lnTo>
                      <a:pt x="547" y="200"/>
                    </a:lnTo>
                    <a:close/>
                    <a:moveTo>
                      <a:pt x="595" y="135"/>
                    </a:moveTo>
                    <a:lnTo>
                      <a:pt x="597" y="135"/>
                    </a:lnTo>
                    <a:lnTo>
                      <a:pt x="595" y="135"/>
                    </a:lnTo>
                    <a:close/>
                    <a:moveTo>
                      <a:pt x="461" y="122"/>
                    </a:moveTo>
                    <a:lnTo>
                      <a:pt x="461" y="124"/>
                    </a:lnTo>
                    <a:lnTo>
                      <a:pt x="461" y="122"/>
                    </a:lnTo>
                    <a:close/>
                    <a:moveTo>
                      <a:pt x="162" y="187"/>
                    </a:moveTo>
                    <a:lnTo>
                      <a:pt x="164" y="187"/>
                    </a:lnTo>
                    <a:lnTo>
                      <a:pt x="162" y="187"/>
                    </a:lnTo>
                    <a:close/>
                    <a:moveTo>
                      <a:pt x="150" y="82"/>
                    </a:moveTo>
                    <a:lnTo>
                      <a:pt x="152" y="82"/>
                    </a:lnTo>
                    <a:lnTo>
                      <a:pt x="150" y="82"/>
                    </a:lnTo>
                    <a:close/>
                    <a:moveTo>
                      <a:pt x="356" y="105"/>
                    </a:moveTo>
                    <a:lnTo>
                      <a:pt x="358" y="105"/>
                    </a:lnTo>
                    <a:lnTo>
                      <a:pt x="356" y="105"/>
                    </a:lnTo>
                    <a:close/>
                    <a:moveTo>
                      <a:pt x="133" y="97"/>
                    </a:moveTo>
                    <a:lnTo>
                      <a:pt x="135" y="97"/>
                    </a:lnTo>
                    <a:lnTo>
                      <a:pt x="133" y="97"/>
                    </a:lnTo>
                    <a:close/>
                    <a:moveTo>
                      <a:pt x="137" y="82"/>
                    </a:moveTo>
                    <a:lnTo>
                      <a:pt x="139" y="82"/>
                    </a:lnTo>
                    <a:lnTo>
                      <a:pt x="137" y="82"/>
                    </a:lnTo>
                    <a:close/>
                    <a:moveTo>
                      <a:pt x="137" y="80"/>
                    </a:moveTo>
                    <a:lnTo>
                      <a:pt x="139" y="80"/>
                    </a:lnTo>
                    <a:lnTo>
                      <a:pt x="139" y="82"/>
                    </a:lnTo>
                    <a:lnTo>
                      <a:pt x="137" y="82"/>
                    </a:lnTo>
                    <a:lnTo>
                      <a:pt x="137" y="80"/>
                    </a:lnTo>
                    <a:close/>
                    <a:moveTo>
                      <a:pt x="537" y="84"/>
                    </a:moveTo>
                    <a:lnTo>
                      <a:pt x="537" y="85"/>
                    </a:lnTo>
                    <a:lnTo>
                      <a:pt x="537" y="84"/>
                    </a:lnTo>
                    <a:close/>
                    <a:moveTo>
                      <a:pt x="126" y="87"/>
                    </a:moveTo>
                    <a:lnTo>
                      <a:pt x="126" y="89"/>
                    </a:lnTo>
                    <a:lnTo>
                      <a:pt x="126" y="87"/>
                    </a:lnTo>
                    <a:close/>
                    <a:moveTo>
                      <a:pt x="623" y="181"/>
                    </a:moveTo>
                    <a:lnTo>
                      <a:pt x="623" y="183"/>
                    </a:lnTo>
                    <a:lnTo>
                      <a:pt x="623" y="181"/>
                    </a:lnTo>
                    <a:close/>
                    <a:moveTo>
                      <a:pt x="299" y="208"/>
                    </a:moveTo>
                    <a:lnTo>
                      <a:pt x="301" y="208"/>
                    </a:lnTo>
                    <a:lnTo>
                      <a:pt x="301" y="209"/>
                    </a:lnTo>
                    <a:lnTo>
                      <a:pt x="299" y="209"/>
                    </a:lnTo>
                    <a:lnTo>
                      <a:pt x="299" y="208"/>
                    </a:lnTo>
                    <a:close/>
                    <a:moveTo>
                      <a:pt x="400" y="234"/>
                    </a:moveTo>
                    <a:lnTo>
                      <a:pt x="402" y="234"/>
                    </a:lnTo>
                    <a:lnTo>
                      <a:pt x="402" y="236"/>
                    </a:lnTo>
                    <a:lnTo>
                      <a:pt x="400" y="236"/>
                    </a:lnTo>
                    <a:lnTo>
                      <a:pt x="400" y="234"/>
                    </a:lnTo>
                    <a:close/>
                    <a:moveTo>
                      <a:pt x="410" y="202"/>
                    </a:moveTo>
                    <a:lnTo>
                      <a:pt x="410" y="204"/>
                    </a:lnTo>
                    <a:lnTo>
                      <a:pt x="410" y="202"/>
                    </a:lnTo>
                    <a:close/>
                    <a:moveTo>
                      <a:pt x="614" y="129"/>
                    </a:moveTo>
                    <a:lnTo>
                      <a:pt x="616" y="129"/>
                    </a:lnTo>
                    <a:lnTo>
                      <a:pt x="614" y="129"/>
                    </a:lnTo>
                    <a:close/>
                    <a:moveTo>
                      <a:pt x="452" y="179"/>
                    </a:moveTo>
                    <a:lnTo>
                      <a:pt x="454" y="179"/>
                    </a:lnTo>
                    <a:lnTo>
                      <a:pt x="452" y="179"/>
                    </a:lnTo>
                    <a:close/>
                    <a:moveTo>
                      <a:pt x="476" y="63"/>
                    </a:moveTo>
                    <a:lnTo>
                      <a:pt x="478" y="63"/>
                    </a:lnTo>
                    <a:lnTo>
                      <a:pt x="478" y="64"/>
                    </a:lnTo>
                    <a:lnTo>
                      <a:pt x="476" y="64"/>
                    </a:lnTo>
                    <a:lnTo>
                      <a:pt x="476" y="63"/>
                    </a:lnTo>
                    <a:close/>
                    <a:moveTo>
                      <a:pt x="627" y="200"/>
                    </a:moveTo>
                    <a:lnTo>
                      <a:pt x="627" y="202"/>
                    </a:lnTo>
                    <a:lnTo>
                      <a:pt x="627" y="200"/>
                    </a:lnTo>
                    <a:close/>
                    <a:moveTo>
                      <a:pt x="631" y="194"/>
                    </a:moveTo>
                    <a:lnTo>
                      <a:pt x="631" y="196"/>
                    </a:lnTo>
                    <a:lnTo>
                      <a:pt x="631" y="194"/>
                    </a:lnTo>
                    <a:close/>
                    <a:moveTo>
                      <a:pt x="166" y="187"/>
                    </a:moveTo>
                    <a:lnTo>
                      <a:pt x="168" y="187"/>
                    </a:lnTo>
                    <a:lnTo>
                      <a:pt x="166" y="187"/>
                    </a:lnTo>
                    <a:close/>
                    <a:moveTo>
                      <a:pt x="347" y="229"/>
                    </a:moveTo>
                    <a:lnTo>
                      <a:pt x="349" y="229"/>
                    </a:lnTo>
                    <a:lnTo>
                      <a:pt x="347" y="229"/>
                    </a:lnTo>
                    <a:close/>
                    <a:moveTo>
                      <a:pt x="196" y="137"/>
                    </a:moveTo>
                    <a:lnTo>
                      <a:pt x="196" y="139"/>
                    </a:lnTo>
                    <a:lnTo>
                      <a:pt x="196" y="137"/>
                    </a:lnTo>
                    <a:close/>
                    <a:moveTo>
                      <a:pt x="66" y="122"/>
                    </a:moveTo>
                    <a:lnTo>
                      <a:pt x="68" y="122"/>
                    </a:lnTo>
                    <a:lnTo>
                      <a:pt x="68" y="124"/>
                    </a:lnTo>
                    <a:lnTo>
                      <a:pt x="66" y="124"/>
                    </a:lnTo>
                    <a:lnTo>
                      <a:pt x="66" y="122"/>
                    </a:lnTo>
                    <a:close/>
                    <a:moveTo>
                      <a:pt x="589" y="124"/>
                    </a:moveTo>
                    <a:lnTo>
                      <a:pt x="589" y="126"/>
                    </a:lnTo>
                    <a:lnTo>
                      <a:pt x="589" y="124"/>
                    </a:lnTo>
                    <a:close/>
                    <a:moveTo>
                      <a:pt x="457" y="183"/>
                    </a:moveTo>
                    <a:lnTo>
                      <a:pt x="459" y="183"/>
                    </a:lnTo>
                    <a:lnTo>
                      <a:pt x="457" y="183"/>
                    </a:lnTo>
                    <a:close/>
                    <a:moveTo>
                      <a:pt x="558" y="127"/>
                    </a:moveTo>
                    <a:lnTo>
                      <a:pt x="560" y="127"/>
                    </a:lnTo>
                    <a:lnTo>
                      <a:pt x="560" y="129"/>
                    </a:lnTo>
                    <a:lnTo>
                      <a:pt x="558" y="129"/>
                    </a:lnTo>
                    <a:lnTo>
                      <a:pt x="558" y="127"/>
                    </a:lnTo>
                    <a:close/>
                    <a:moveTo>
                      <a:pt x="551" y="213"/>
                    </a:moveTo>
                    <a:lnTo>
                      <a:pt x="551" y="215"/>
                    </a:lnTo>
                    <a:lnTo>
                      <a:pt x="551" y="213"/>
                    </a:lnTo>
                    <a:close/>
                    <a:moveTo>
                      <a:pt x="515" y="93"/>
                    </a:moveTo>
                    <a:lnTo>
                      <a:pt x="515" y="95"/>
                    </a:lnTo>
                    <a:lnTo>
                      <a:pt x="515" y="93"/>
                    </a:lnTo>
                    <a:close/>
                    <a:moveTo>
                      <a:pt x="148" y="87"/>
                    </a:moveTo>
                    <a:lnTo>
                      <a:pt x="148" y="89"/>
                    </a:lnTo>
                    <a:lnTo>
                      <a:pt x="148" y="87"/>
                    </a:lnTo>
                    <a:close/>
                    <a:moveTo>
                      <a:pt x="51" y="26"/>
                    </a:moveTo>
                    <a:lnTo>
                      <a:pt x="51" y="28"/>
                    </a:lnTo>
                    <a:lnTo>
                      <a:pt x="51" y="26"/>
                    </a:lnTo>
                    <a:close/>
                    <a:moveTo>
                      <a:pt x="629" y="202"/>
                    </a:moveTo>
                    <a:lnTo>
                      <a:pt x="631" y="202"/>
                    </a:lnTo>
                    <a:lnTo>
                      <a:pt x="631" y="204"/>
                    </a:lnTo>
                    <a:lnTo>
                      <a:pt x="629" y="204"/>
                    </a:lnTo>
                    <a:lnTo>
                      <a:pt x="629" y="202"/>
                    </a:lnTo>
                    <a:close/>
                    <a:moveTo>
                      <a:pt x="291" y="145"/>
                    </a:moveTo>
                    <a:lnTo>
                      <a:pt x="291" y="147"/>
                    </a:lnTo>
                    <a:lnTo>
                      <a:pt x="291" y="145"/>
                    </a:lnTo>
                    <a:close/>
                    <a:moveTo>
                      <a:pt x="139" y="76"/>
                    </a:moveTo>
                    <a:lnTo>
                      <a:pt x="141" y="76"/>
                    </a:lnTo>
                    <a:lnTo>
                      <a:pt x="141" y="78"/>
                    </a:lnTo>
                    <a:lnTo>
                      <a:pt x="139" y="78"/>
                    </a:lnTo>
                    <a:lnTo>
                      <a:pt x="139" y="76"/>
                    </a:lnTo>
                    <a:close/>
                    <a:moveTo>
                      <a:pt x="356" y="103"/>
                    </a:moveTo>
                    <a:lnTo>
                      <a:pt x="358" y="103"/>
                    </a:lnTo>
                    <a:lnTo>
                      <a:pt x="358" y="105"/>
                    </a:lnTo>
                    <a:lnTo>
                      <a:pt x="356" y="105"/>
                    </a:lnTo>
                    <a:lnTo>
                      <a:pt x="356" y="103"/>
                    </a:lnTo>
                    <a:close/>
                    <a:moveTo>
                      <a:pt x="627" y="206"/>
                    </a:moveTo>
                    <a:lnTo>
                      <a:pt x="627" y="208"/>
                    </a:lnTo>
                    <a:lnTo>
                      <a:pt x="627" y="206"/>
                    </a:lnTo>
                    <a:close/>
                    <a:moveTo>
                      <a:pt x="25" y="59"/>
                    </a:moveTo>
                    <a:lnTo>
                      <a:pt x="26" y="59"/>
                    </a:lnTo>
                    <a:lnTo>
                      <a:pt x="25" y="59"/>
                    </a:lnTo>
                    <a:close/>
                    <a:moveTo>
                      <a:pt x="143" y="78"/>
                    </a:moveTo>
                    <a:lnTo>
                      <a:pt x="145" y="78"/>
                    </a:lnTo>
                    <a:lnTo>
                      <a:pt x="145" y="80"/>
                    </a:lnTo>
                    <a:lnTo>
                      <a:pt x="143" y="80"/>
                    </a:lnTo>
                    <a:lnTo>
                      <a:pt x="143" y="78"/>
                    </a:lnTo>
                    <a:close/>
                    <a:moveTo>
                      <a:pt x="442" y="269"/>
                    </a:moveTo>
                    <a:lnTo>
                      <a:pt x="442" y="271"/>
                    </a:lnTo>
                    <a:lnTo>
                      <a:pt x="442" y="269"/>
                    </a:lnTo>
                    <a:close/>
                    <a:moveTo>
                      <a:pt x="511" y="17"/>
                    </a:moveTo>
                    <a:lnTo>
                      <a:pt x="511" y="19"/>
                    </a:lnTo>
                    <a:lnTo>
                      <a:pt x="511" y="17"/>
                    </a:lnTo>
                    <a:close/>
                    <a:moveTo>
                      <a:pt x="389" y="230"/>
                    </a:moveTo>
                    <a:lnTo>
                      <a:pt x="391" y="230"/>
                    </a:lnTo>
                    <a:lnTo>
                      <a:pt x="391" y="232"/>
                    </a:lnTo>
                    <a:lnTo>
                      <a:pt x="389" y="232"/>
                    </a:lnTo>
                    <a:lnTo>
                      <a:pt x="389" y="230"/>
                    </a:lnTo>
                    <a:close/>
                    <a:moveTo>
                      <a:pt x="51" y="95"/>
                    </a:moveTo>
                    <a:lnTo>
                      <a:pt x="53" y="95"/>
                    </a:lnTo>
                    <a:lnTo>
                      <a:pt x="51" y="95"/>
                    </a:lnTo>
                    <a:close/>
                    <a:moveTo>
                      <a:pt x="698" y="208"/>
                    </a:moveTo>
                    <a:lnTo>
                      <a:pt x="700" y="208"/>
                    </a:lnTo>
                    <a:lnTo>
                      <a:pt x="700" y="209"/>
                    </a:lnTo>
                    <a:lnTo>
                      <a:pt x="698" y="209"/>
                    </a:lnTo>
                    <a:lnTo>
                      <a:pt x="698" y="208"/>
                    </a:lnTo>
                    <a:close/>
                    <a:moveTo>
                      <a:pt x="434" y="168"/>
                    </a:moveTo>
                    <a:lnTo>
                      <a:pt x="434" y="169"/>
                    </a:lnTo>
                    <a:lnTo>
                      <a:pt x="434" y="168"/>
                    </a:lnTo>
                    <a:close/>
                    <a:moveTo>
                      <a:pt x="564" y="103"/>
                    </a:moveTo>
                    <a:lnTo>
                      <a:pt x="566" y="103"/>
                    </a:lnTo>
                    <a:lnTo>
                      <a:pt x="564" y="103"/>
                    </a:lnTo>
                    <a:close/>
                    <a:moveTo>
                      <a:pt x="145" y="84"/>
                    </a:moveTo>
                    <a:lnTo>
                      <a:pt x="147" y="84"/>
                    </a:lnTo>
                    <a:lnTo>
                      <a:pt x="147" y="85"/>
                    </a:lnTo>
                    <a:lnTo>
                      <a:pt x="145" y="85"/>
                    </a:lnTo>
                    <a:lnTo>
                      <a:pt x="145" y="84"/>
                    </a:lnTo>
                    <a:close/>
                    <a:moveTo>
                      <a:pt x="133" y="78"/>
                    </a:moveTo>
                    <a:lnTo>
                      <a:pt x="133" y="80"/>
                    </a:lnTo>
                    <a:lnTo>
                      <a:pt x="133" y="78"/>
                    </a:lnTo>
                    <a:close/>
                    <a:moveTo>
                      <a:pt x="349" y="227"/>
                    </a:moveTo>
                    <a:lnTo>
                      <a:pt x="351" y="227"/>
                    </a:lnTo>
                    <a:lnTo>
                      <a:pt x="351" y="229"/>
                    </a:lnTo>
                    <a:lnTo>
                      <a:pt x="349" y="229"/>
                    </a:lnTo>
                    <a:lnTo>
                      <a:pt x="349" y="227"/>
                    </a:lnTo>
                    <a:close/>
                    <a:moveTo>
                      <a:pt x="152" y="80"/>
                    </a:moveTo>
                    <a:lnTo>
                      <a:pt x="154" y="80"/>
                    </a:lnTo>
                    <a:lnTo>
                      <a:pt x="152" y="80"/>
                    </a:lnTo>
                    <a:close/>
                    <a:moveTo>
                      <a:pt x="457" y="227"/>
                    </a:moveTo>
                    <a:lnTo>
                      <a:pt x="457" y="229"/>
                    </a:lnTo>
                    <a:lnTo>
                      <a:pt x="457" y="227"/>
                    </a:lnTo>
                    <a:close/>
                    <a:moveTo>
                      <a:pt x="147" y="91"/>
                    </a:moveTo>
                    <a:lnTo>
                      <a:pt x="148" y="91"/>
                    </a:lnTo>
                    <a:lnTo>
                      <a:pt x="147" y="91"/>
                    </a:lnTo>
                    <a:close/>
                    <a:moveTo>
                      <a:pt x="87" y="143"/>
                    </a:moveTo>
                    <a:lnTo>
                      <a:pt x="87" y="145"/>
                    </a:lnTo>
                    <a:lnTo>
                      <a:pt x="87" y="143"/>
                    </a:lnTo>
                    <a:close/>
                    <a:moveTo>
                      <a:pt x="145" y="78"/>
                    </a:moveTo>
                    <a:lnTo>
                      <a:pt x="147" y="78"/>
                    </a:lnTo>
                    <a:lnTo>
                      <a:pt x="145" y="78"/>
                    </a:lnTo>
                    <a:close/>
                    <a:moveTo>
                      <a:pt x="541" y="204"/>
                    </a:moveTo>
                    <a:lnTo>
                      <a:pt x="543" y="204"/>
                    </a:lnTo>
                    <a:lnTo>
                      <a:pt x="543" y="206"/>
                    </a:lnTo>
                    <a:lnTo>
                      <a:pt x="541" y="206"/>
                    </a:lnTo>
                    <a:lnTo>
                      <a:pt x="541" y="204"/>
                    </a:lnTo>
                    <a:close/>
                    <a:moveTo>
                      <a:pt x="656" y="124"/>
                    </a:moveTo>
                    <a:lnTo>
                      <a:pt x="658" y="124"/>
                    </a:lnTo>
                    <a:lnTo>
                      <a:pt x="658" y="126"/>
                    </a:lnTo>
                    <a:lnTo>
                      <a:pt x="656" y="126"/>
                    </a:lnTo>
                    <a:lnTo>
                      <a:pt x="656" y="124"/>
                    </a:lnTo>
                    <a:close/>
                    <a:moveTo>
                      <a:pt x="558" y="97"/>
                    </a:moveTo>
                    <a:lnTo>
                      <a:pt x="560" y="97"/>
                    </a:lnTo>
                    <a:lnTo>
                      <a:pt x="560" y="99"/>
                    </a:lnTo>
                    <a:lnTo>
                      <a:pt x="558" y="99"/>
                    </a:lnTo>
                    <a:lnTo>
                      <a:pt x="558" y="97"/>
                    </a:lnTo>
                    <a:close/>
                    <a:moveTo>
                      <a:pt x="591" y="141"/>
                    </a:moveTo>
                    <a:lnTo>
                      <a:pt x="593" y="141"/>
                    </a:lnTo>
                    <a:lnTo>
                      <a:pt x="591" y="141"/>
                    </a:lnTo>
                    <a:close/>
                    <a:moveTo>
                      <a:pt x="145" y="99"/>
                    </a:moveTo>
                    <a:lnTo>
                      <a:pt x="147" y="99"/>
                    </a:lnTo>
                    <a:lnTo>
                      <a:pt x="145" y="99"/>
                    </a:lnTo>
                    <a:close/>
                    <a:moveTo>
                      <a:pt x="356" y="105"/>
                    </a:moveTo>
                    <a:lnTo>
                      <a:pt x="356" y="106"/>
                    </a:lnTo>
                    <a:lnTo>
                      <a:pt x="356" y="105"/>
                    </a:lnTo>
                    <a:close/>
                    <a:moveTo>
                      <a:pt x="598" y="181"/>
                    </a:moveTo>
                    <a:lnTo>
                      <a:pt x="600" y="181"/>
                    </a:lnTo>
                    <a:lnTo>
                      <a:pt x="600" y="183"/>
                    </a:lnTo>
                    <a:lnTo>
                      <a:pt x="598" y="183"/>
                    </a:lnTo>
                    <a:lnTo>
                      <a:pt x="598" y="181"/>
                    </a:lnTo>
                    <a:close/>
                    <a:moveTo>
                      <a:pt x="694" y="118"/>
                    </a:moveTo>
                    <a:lnTo>
                      <a:pt x="696" y="118"/>
                    </a:lnTo>
                    <a:lnTo>
                      <a:pt x="696" y="120"/>
                    </a:lnTo>
                    <a:lnTo>
                      <a:pt x="694" y="120"/>
                    </a:lnTo>
                    <a:lnTo>
                      <a:pt x="694" y="118"/>
                    </a:lnTo>
                    <a:close/>
                    <a:moveTo>
                      <a:pt x="429" y="97"/>
                    </a:moveTo>
                    <a:lnTo>
                      <a:pt x="431" y="97"/>
                    </a:lnTo>
                    <a:lnTo>
                      <a:pt x="429" y="97"/>
                    </a:lnTo>
                    <a:close/>
                    <a:moveTo>
                      <a:pt x="454" y="179"/>
                    </a:moveTo>
                    <a:lnTo>
                      <a:pt x="455" y="179"/>
                    </a:lnTo>
                    <a:lnTo>
                      <a:pt x="455" y="181"/>
                    </a:lnTo>
                    <a:lnTo>
                      <a:pt x="454" y="181"/>
                    </a:lnTo>
                    <a:lnTo>
                      <a:pt x="454" y="179"/>
                    </a:lnTo>
                    <a:close/>
                    <a:moveTo>
                      <a:pt x="173" y="43"/>
                    </a:moveTo>
                    <a:lnTo>
                      <a:pt x="173" y="45"/>
                    </a:lnTo>
                    <a:lnTo>
                      <a:pt x="173" y="43"/>
                    </a:lnTo>
                    <a:close/>
                    <a:moveTo>
                      <a:pt x="166" y="190"/>
                    </a:moveTo>
                    <a:lnTo>
                      <a:pt x="166" y="192"/>
                    </a:lnTo>
                    <a:lnTo>
                      <a:pt x="166" y="190"/>
                    </a:lnTo>
                    <a:close/>
                    <a:moveTo>
                      <a:pt x="145" y="99"/>
                    </a:moveTo>
                    <a:lnTo>
                      <a:pt x="147" y="99"/>
                    </a:lnTo>
                    <a:lnTo>
                      <a:pt x="147" y="101"/>
                    </a:lnTo>
                    <a:lnTo>
                      <a:pt x="145" y="101"/>
                    </a:lnTo>
                    <a:lnTo>
                      <a:pt x="145" y="99"/>
                    </a:lnTo>
                    <a:close/>
                    <a:moveTo>
                      <a:pt x="135" y="85"/>
                    </a:moveTo>
                    <a:lnTo>
                      <a:pt x="137" y="85"/>
                    </a:lnTo>
                    <a:lnTo>
                      <a:pt x="135" y="85"/>
                    </a:lnTo>
                    <a:close/>
                    <a:moveTo>
                      <a:pt x="560" y="95"/>
                    </a:moveTo>
                    <a:lnTo>
                      <a:pt x="560" y="97"/>
                    </a:lnTo>
                    <a:lnTo>
                      <a:pt x="560" y="95"/>
                    </a:lnTo>
                    <a:close/>
                    <a:moveTo>
                      <a:pt x="362" y="59"/>
                    </a:moveTo>
                    <a:lnTo>
                      <a:pt x="364" y="59"/>
                    </a:lnTo>
                    <a:lnTo>
                      <a:pt x="362" y="59"/>
                    </a:lnTo>
                    <a:close/>
                    <a:moveTo>
                      <a:pt x="223" y="95"/>
                    </a:moveTo>
                    <a:lnTo>
                      <a:pt x="225" y="95"/>
                    </a:lnTo>
                    <a:lnTo>
                      <a:pt x="225" y="97"/>
                    </a:lnTo>
                    <a:lnTo>
                      <a:pt x="223" y="97"/>
                    </a:lnTo>
                    <a:lnTo>
                      <a:pt x="223" y="95"/>
                    </a:lnTo>
                    <a:close/>
                    <a:moveTo>
                      <a:pt x="352" y="106"/>
                    </a:moveTo>
                    <a:lnTo>
                      <a:pt x="354" y="106"/>
                    </a:lnTo>
                    <a:lnTo>
                      <a:pt x="354" y="108"/>
                    </a:lnTo>
                    <a:lnTo>
                      <a:pt x="352" y="108"/>
                    </a:lnTo>
                    <a:lnTo>
                      <a:pt x="352" y="106"/>
                    </a:lnTo>
                    <a:close/>
                    <a:moveTo>
                      <a:pt x="373" y="59"/>
                    </a:moveTo>
                    <a:lnTo>
                      <a:pt x="373" y="61"/>
                    </a:lnTo>
                    <a:lnTo>
                      <a:pt x="373" y="59"/>
                    </a:lnTo>
                    <a:close/>
                    <a:moveTo>
                      <a:pt x="440" y="80"/>
                    </a:moveTo>
                    <a:lnTo>
                      <a:pt x="442" y="80"/>
                    </a:lnTo>
                    <a:lnTo>
                      <a:pt x="440" y="80"/>
                    </a:lnTo>
                    <a:close/>
                    <a:moveTo>
                      <a:pt x="631" y="198"/>
                    </a:moveTo>
                    <a:lnTo>
                      <a:pt x="633" y="198"/>
                    </a:lnTo>
                    <a:lnTo>
                      <a:pt x="633" y="200"/>
                    </a:lnTo>
                    <a:lnTo>
                      <a:pt x="631" y="200"/>
                    </a:lnTo>
                    <a:lnTo>
                      <a:pt x="631" y="198"/>
                    </a:lnTo>
                    <a:close/>
                    <a:moveTo>
                      <a:pt x="324" y="206"/>
                    </a:moveTo>
                    <a:lnTo>
                      <a:pt x="326" y="206"/>
                    </a:lnTo>
                    <a:lnTo>
                      <a:pt x="324" y="206"/>
                    </a:lnTo>
                    <a:close/>
                    <a:moveTo>
                      <a:pt x="150" y="87"/>
                    </a:moveTo>
                    <a:lnTo>
                      <a:pt x="152" y="87"/>
                    </a:lnTo>
                    <a:lnTo>
                      <a:pt x="150" y="87"/>
                    </a:lnTo>
                    <a:close/>
                    <a:moveTo>
                      <a:pt x="356" y="36"/>
                    </a:moveTo>
                    <a:lnTo>
                      <a:pt x="358" y="36"/>
                    </a:lnTo>
                    <a:lnTo>
                      <a:pt x="356" y="36"/>
                    </a:lnTo>
                    <a:close/>
                    <a:moveTo>
                      <a:pt x="354" y="106"/>
                    </a:moveTo>
                    <a:lnTo>
                      <a:pt x="356" y="106"/>
                    </a:lnTo>
                    <a:lnTo>
                      <a:pt x="356" y="108"/>
                    </a:lnTo>
                    <a:lnTo>
                      <a:pt x="354" y="108"/>
                    </a:lnTo>
                    <a:lnTo>
                      <a:pt x="354" y="106"/>
                    </a:lnTo>
                    <a:close/>
                    <a:moveTo>
                      <a:pt x="297" y="208"/>
                    </a:moveTo>
                    <a:lnTo>
                      <a:pt x="299" y="208"/>
                    </a:lnTo>
                    <a:lnTo>
                      <a:pt x="299" y="209"/>
                    </a:lnTo>
                    <a:lnTo>
                      <a:pt x="297" y="209"/>
                    </a:lnTo>
                    <a:lnTo>
                      <a:pt x="297" y="208"/>
                    </a:lnTo>
                    <a:close/>
                    <a:moveTo>
                      <a:pt x="135" y="85"/>
                    </a:moveTo>
                    <a:lnTo>
                      <a:pt x="135" y="87"/>
                    </a:lnTo>
                    <a:lnTo>
                      <a:pt x="135" y="85"/>
                    </a:lnTo>
                    <a:close/>
                    <a:moveTo>
                      <a:pt x="518" y="213"/>
                    </a:moveTo>
                    <a:lnTo>
                      <a:pt x="518" y="215"/>
                    </a:lnTo>
                    <a:lnTo>
                      <a:pt x="518" y="213"/>
                    </a:lnTo>
                    <a:close/>
                    <a:moveTo>
                      <a:pt x="51" y="93"/>
                    </a:moveTo>
                    <a:lnTo>
                      <a:pt x="51" y="95"/>
                    </a:lnTo>
                    <a:lnTo>
                      <a:pt x="51" y="93"/>
                    </a:lnTo>
                    <a:close/>
                    <a:moveTo>
                      <a:pt x="148" y="80"/>
                    </a:moveTo>
                    <a:lnTo>
                      <a:pt x="150" y="80"/>
                    </a:lnTo>
                    <a:lnTo>
                      <a:pt x="148" y="80"/>
                    </a:lnTo>
                    <a:close/>
                    <a:moveTo>
                      <a:pt x="101" y="64"/>
                    </a:moveTo>
                    <a:lnTo>
                      <a:pt x="101" y="66"/>
                    </a:lnTo>
                    <a:lnTo>
                      <a:pt x="101" y="64"/>
                    </a:lnTo>
                    <a:close/>
                    <a:moveTo>
                      <a:pt x="225" y="93"/>
                    </a:moveTo>
                    <a:lnTo>
                      <a:pt x="227" y="93"/>
                    </a:lnTo>
                    <a:lnTo>
                      <a:pt x="225" y="93"/>
                    </a:lnTo>
                    <a:close/>
                    <a:moveTo>
                      <a:pt x="354" y="223"/>
                    </a:moveTo>
                    <a:lnTo>
                      <a:pt x="356" y="223"/>
                    </a:lnTo>
                    <a:lnTo>
                      <a:pt x="354" y="223"/>
                    </a:lnTo>
                    <a:close/>
                    <a:moveTo>
                      <a:pt x="38" y="55"/>
                    </a:moveTo>
                    <a:lnTo>
                      <a:pt x="38" y="57"/>
                    </a:lnTo>
                    <a:lnTo>
                      <a:pt x="38" y="55"/>
                    </a:lnTo>
                    <a:close/>
                    <a:moveTo>
                      <a:pt x="558" y="116"/>
                    </a:moveTo>
                    <a:lnTo>
                      <a:pt x="560" y="116"/>
                    </a:lnTo>
                    <a:lnTo>
                      <a:pt x="560" y="118"/>
                    </a:lnTo>
                    <a:lnTo>
                      <a:pt x="558" y="118"/>
                    </a:lnTo>
                    <a:lnTo>
                      <a:pt x="558" y="116"/>
                    </a:lnTo>
                    <a:close/>
                    <a:moveTo>
                      <a:pt x="280" y="229"/>
                    </a:moveTo>
                    <a:lnTo>
                      <a:pt x="282" y="229"/>
                    </a:lnTo>
                    <a:lnTo>
                      <a:pt x="280" y="229"/>
                    </a:lnTo>
                    <a:close/>
                    <a:moveTo>
                      <a:pt x="595" y="188"/>
                    </a:moveTo>
                    <a:lnTo>
                      <a:pt x="595" y="190"/>
                    </a:lnTo>
                    <a:lnTo>
                      <a:pt x="595" y="188"/>
                    </a:lnTo>
                    <a:close/>
                    <a:moveTo>
                      <a:pt x="206" y="32"/>
                    </a:moveTo>
                    <a:lnTo>
                      <a:pt x="208" y="32"/>
                    </a:lnTo>
                    <a:lnTo>
                      <a:pt x="208" y="34"/>
                    </a:lnTo>
                    <a:lnTo>
                      <a:pt x="206" y="34"/>
                    </a:lnTo>
                    <a:lnTo>
                      <a:pt x="206" y="32"/>
                    </a:lnTo>
                    <a:close/>
                    <a:moveTo>
                      <a:pt x="646" y="139"/>
                    </a:moveTo>
                    <a:lnTo>
                      <a:pt x="646" y="141"/>
                    </a:lnTo>
                    <a:lnTo>
                      <a:pt x="646" y="139"/>
                    </a:lnTo>
                    <a:close/>
                    <a:moveTo>
                      <a:pt x="625" y="133"/>
                    </a:moveTo>
                    <a:lnTo>
                      <a:pt x="625" y="135"/>
                    </a:lnTo>
                    <a:lnTo>
                      <a:pt x="625" y="133"/>
                    </a:lnTo>
                    <a:close/>
                    <a:moveTo>
                      <a:pt x="471" y="66"/>
                    </a:moveTo>
                    <a:lnTo>
                      <a:pt x="473" y="66"/>
                    </a:lnTo>
                    <a:lnTo>
                      <a:pt x="473" y="68"/>
                    </a:lnTo>
                    <a:lnTo>
                      <a:pt x="471" y="68"/>
                    </a:lnTo>
                    <a:lnTo>
                      <a:pt x="471" y="66"/>
                    </a:lnTo>
                    <a:close/>
                    <a:moveTo>
                      <a:pt x="311" y="173"/>
                    </a:moveTo>
                    <a:lnTo>
                      <a:pt x="311" y="175"/>
                    </a:lnTo>
                    <a:lnTo>
                      <a:pt x="311" y="173"/>
                    </a:lnTo>
                    <a:close/>
                    <a:moveTo>
                      <a:pt x="360" y="59"/>
                    </a:moveTo>
                    <a:lnTo>
                      <a:pt x="362" y="59"/>
                    </a:lnTo>
                    <a:lnTo>
                      <a:pt x="360" y="59"/>
                    </a:lnTo>
                    <a:close/>
                    <a:moveTo>
                      <a:pt x="434" y="141"/>
                    </a:moveTo>
                    <a:lnTo>
                      <a:pt x="436" y="141"/>
                    </a:lnTo>
                    <a:lnTo>
                      <a:pt x="436" y="143"/>
                    </a:lnTo>
                    <a:lnTo>
                      <a:pt x="434" y="143"/>
                    </a:lnTo>
                    <a:lnTo>
                      <a:pt x="434" y="141"/>
                    </a:lnTo>
                    <a:close/>
                    <a:moveTo>
                      <a:pt x="421" y="234"/>
                    </a:moveTo>
                    <a:lnTo>
                      <a:pt x="421" y="236"/>
                    </a:lnTo>
                    <a:lnTo>
                      <a:pt x="421" y="234"/>
                    </a:lnTo>
                    <a:close/>
                    <a:moveTo>
                      <a:pt x="227" y="105"/>
                    </a:moveTo>
                    <a:lnTo>
                      <a:pt x="229" y="105"/>
                    </a:lnTo>
                    <a:lnTo>
                      <a:pt x="227" y="105"/>
                    </a:lnTo>
                    <a:close/>
                    <a:moveTo>
                      <a:pt x="570" y="156"/>
                    </a:moveTo>
                    <a:lnTo>
                      <a:pt x="572" y="156"/>
                    </a:lnTo>
                    <a:lnTo>
                      <a:pt x="570" y="156"/>
                    </a:lnTo>
                    <a:close/>
                    <a:moveTo>
                      <a:pt x="667" y="171"/>
                    </a:moveTo>
                    <a:lnTo>
                      <a:pt x="669" y="171"/>
                    </a:lnTo>
                    <a:lnTo>
                      <a:pt x="667" y="171"/>
                    </a:lnTo>
                    <a:close/>
                    <a:moveTo>
                      <a:pt x="324" y="232"/>
                    </a:moveTo>
                    <a:lnTo>
                      <a:pt x="326" y="232"/>
                    </a:lnTo>
                    <a:lnTo>
                      <a:pt x="324" y="232"/>
                    </a:lnTo>
                    <a:close/>
                    <a:moveTo>
                      <a:pt x="393" y="234"/>
                    </a:moveTo>
                    <a:lnTo>
                      <a:pt x="394" y="234"/>
                    </a:lnTo>
                    <a:lnTo>
                      <a:pt x="393" y="234"/>
                    </a:lnTo>
                    <a:close/>
                    <a:moveTo>
                      <a:pt x="625" y="192"/>
                    </a:moveTo>
                    <a:lnTo>
                      <a:pt x="627" y="192"/>
                    </a:lnTo>
                    <a:lnTo>
                      <a:pt x="627" y="194"/>
                    </a:lnTo>
                    <a:lnTo>
                      <a:pt x="625" y="194"/>
                    </a:lnTo>
                    <a:lnTo>
                      <a:pt x="625" y="192"/>
                    </a:lnTo>
                    <a:close/>
                    <a:moveTo>
                      <a:pt x="627" y="202"/>
                    </a:moveTo>
                    <a:lnTo>
                      <a:pt x="629" y="202"/>
                    </a:lnTo>
                    <a:lnTo>
                      <a:pt x="627" y="202"/>
                    </a:lnTo>
                    <a:close/>
                    <a:moveTo>
                      <a:pt x="438" y="267"/>
                    </a:moveTo>
                    <a:lnTo>
                      <a:pt x="440" y="267"/>
                    </a:lnTo>
                    <a:lnTo>
                      <a:pt x="438" y="267"/>
                    </a:lnTo>
                    <a:close/>
                    <a:moveTo>
                      <a:pt x="406" y="206"/>
                    </a:moveTo>
                    <a:lnTo>
                      <a:pt x="406" y="208"/>
                    </a:lnTo>
                    <a:lnTo>
                      <a:pt x="406" y="206"/>
                    </a:lnTo>
                    <a:close/>
                    <a:moveTo>
                      <a:pt x="455" y="124"/>
                    </a:moveTo>
                    <a:lnTo>
                      <a:pt x="455" y="126"/>
                    </a:lnTo>
                    <a:lnTo>
                      <a:pt x="455" y="124"/>
                    </a:lnTo>
                    <a:close/>
                    <a:moveTo>
                      <a:pt x="145" y="76"/>
                    </a:moveTo>
                    <a:lnTo>
                      <a:pt x="145" y="78"/>
                    </a:lnTo>
                    <a:lnTo>
                      <a:pt x="145" y="76"/>
                    </a:lnTo>
                    <a:close/>
                    <a:moveTo>
                      <a:pt x="404" y="198"/>
                    </a:moveTo>
                    <a:lnTo>
                      <a:pt x="404" y="200"/>
                    </a:lnTo>
                    <a:lnTo>
                      <a:pt x="404" y="198"/>
                    </a:lnTo>
                    <a:close/>
                    <a:moveTo>
                      <a:pt x="406" y="76"/>
                    </a:moveTo>
                    <a:lnTo>
                      <a:pt x="408" y="76"/>
                    </a:lnTo>
                    <a:lnTo>
                      <a:pt x="408" y="78"/>
                    </a:lnTo>
                    <a:lnTo>
                      <a:pt x="406" y="78"/>
                    </a:lnTo>
                    <a:lnTo>
                      <a:pt x="406" y="76"/>
                    </a:lnTo>
                    <a:close/>
                    <a:moveTo>
                      <a:pt x="305" y="204"/>
                    </a:moveTo>
                    <a:lnTo>
                      <a:pt x="305" y="206"/>
                    </a:lnTo>
                    <a:lnTo>
                      <a:pt x="305" y="204"/>
                    </a:lnTo>
                    <a:close/>
                    <a:moveTo>
                      <a:pt x="661" y="169"/>
                    </a:moveTo>
                    <a:lnTo>
                      <a:pt x="661" y="171"/>
                    </a:lnTo>
                    <a:lnTo>
                      <a:pt x="661" y="169"/>
                    </a:lnTo>
                    <a:close/>
                    <a:moveTo>
                      <a:pt x="419" y="122"/>
                    </a:moveTo>
                    <a:lnTo>
                      <a:pt x="419" y="124"/>
                    </a:lnTo>
                    <a:lnTo>
                      <a:pt x="419" y="122"/>
                    </a:lnTo>
                    <a:close/>
                    <a:moveTo>
                      <a:pt x="568" y="105"/>
                    </a:moveTo>
                    <a:lnTo>
                      <a:pt x="568" y="106"/>
                    </a:lnTo>
                    <a:lnTo>
                      <a:pt x="568" y="105"/>
                    </a:lnTo>
                    <a:close/>
                    <a:moveTo>
                      <a:pt x="654" y="112"/>
                    </a:moveTo>
                    <a:lnTo>
                      <a:pt x="656" y="112"/>
                    </a:lnTo>
                    <a:lnTo>
                      <a:pt x="656" y="114"/>
                    </a:lnTo>
                    <a:lnTo>
                      <a:pt x="654" y="114"/>
                    </a:lnTo>
                    <a:lnTo>
                      <a:pt x="654" y="112"/>
                    </a:lnTo>
                    <a:close/>
                    <a:moveTo>
                      <a:pt x="597" y="187"/>
                    </a:moveTo>
                    <a:lnTo>
                      <a:pt x="597" y="188"/>
                    </a:lnTo>
                    <a:lnTo>
                      <a:pt x="597" y="187"/>
                    </a:lnTo>
                    <a:close/>
                    <a:moveTo>
                      <a:pt x="360" y="175"/>
                    </a:moveTo>
                    <a:lnTo>
                      <a:pt x="360" y="177"/>
                    </a:lnTo>
                    <a:lnTo>
                      <a:pt x="360" y="175"/>
                    </a:lnTo>
                    <a:close/>
                    <a:moveTo>
                      <a:pt x="80" y="51"/>
                    </a:moveTo>
                    <a:lnTo>
                      <a:pt x="82" y="51"/>
                    </a:lnTo>
                    <a:lnTo>
                      <a:pt x="82" y="53"/>
                    </a:lnTo>
                    <a:lnTo>
                      <a:pt x="80" y="53"/>
                    </a:lnTo>
                    <a:lnTo>
                      <a:pt x="80" y="51"/>
                    </a:lnTo>
                    <a:close/>
                    <a:moveTo>
                      <a:pt x="520" y="143"/>
                    </a:moveTo>
                    <a:lnTo>
                      <a:pt x="522" y="143"/>
                    </a:lnTo>
                    <a:lnTo>
                      <a:pt x="522" y="145"/>
                    </a:lnTo>
                    <a:lnTo>
                      <a:pt x="520" y="145"/>
                    </a:lnTo>
                    <a:lnTo>
                      <a:pt x="520" y="143"/>
                    </a:lnTo>
                    <a:close/>
                    <a:moveTo>
                      <a:pt x="663" y="169"/>
                    </a:moveTo>
                    <a:lnTo>
                      <a:pt x="663" y="171"/>
                    </a:lnTo>
                    <a:lnTo>
                      <a:pt x="663" y="169"/>
                    </a:lnTo>
                    <a:close/>
                    <a:moveTo>
                      <a:pt x="51" y="95"/>
                    </a:moveTo>
                    <a:lnTo>
                      <a:pt x="53" y="95"/>
                    </a:lnTo>
                    <a:lnTo>
                      <a:pt x="51" y="95"/>
                    </a:lnTo>
                    <a:close/>
                    <a:moveTo>
                      <a:pt x="133" y="74"/>
                    </a:moveTo>
                    <a:lnTo>
                      <a:pt x="133" y="76"/>
                    </a:lnTo>
                    <a:lnTo>
                      <a:pt x="133" y="74"/>
                    </a:lnTo>
                    <a:close/>
                    <a:moveTo>
                      <a:pt x="164" y="190"/>
                    </a:moveTo>
                    <a:lnTo>
                      <a:pt x="166" y="190"/>
                    </a:lnTo>
                    <a:lnTo>
                      <a:pt x="164" y="190"/>
                    </a:lnTo>
                    <a:close/>
                    <a:moveTo>
                      <a:pt x="574" y="221"/>
                    </a:moveTo>
                    <a:lnTo>
                      <a:pt x="574" y="223"/>
                    </a:lnTo>
                    <a:lnTo>
                      <a:pt x="574" y="221"/>
                    </a:lnTo>
                    <a:close/>
                    <a:moveTo>
                      <a:pt x="133" y="78"/>
                    </a:moveTo>
                    <a:lnTo>
                      <a:pt x="133" y="80"/>
                    </a:lnTo>
                    <a:lnTo>
                      <a:pt x="133" y="78"/>
                    </a:lnTo>
                    <a:close/>
                    <a:moveTo>
                      <a:pt x="656" y="112"/>
                    </a:moveTo>
                    <a:lnTo>
                      <a:pt x="658" y="112"/>
                    </a:lnTo>
                    <a:lnTo>
                      <a:pt x="658" y="114"/>
                    </a:lnTo>
                    <a:lnTo>
                      <a:pt x="656" y="114"/>
                    </a:lnTo>
                    <a:lnTo>
                      <a:pt x="656" y="112"/>
                    </a:lnTo>
                    <a:close/>
                    <a:moveTo>
                      <a:pt x="618" y="127"/>
                    </a:moveTo>
                    <a:lnTo>
                      <a:pt x="619" y="127"/>
                    </a:lnTo>
                    <a:lnTo>
                      <a:pt x="618" y="127"/>
                    </a:lnTo>
                    <a:close/>
                    <a:moveTo>
                      <a:pt x="616" y="131"/>
                    </a:moveTo>
                    <a:lnTo>
                      <a:pt x="618" y="131"/>
                    </a:lnTo>
                    <a:lnTo>
                      <a:pt x="616" y="131"/>
                    </a:lnTo>
                    <a:close/>
                    <a:moveTo>
                      <a:pt x="162" y="183"/>
                    </a:moveTo>
                    <a:lnTo>
                      <a:pt x="162" y="185"/>
                    </a:lnTo>
                    <a:lnTo>
                      <a:pt x="162" y="183"/>
                    </a:lnTo>
                    <a:close/>
                    <a:moveTo>
                      <a:pt x="558" y="99"/>
                    </a:moveTo>
                    <a:lnTo>
                      <a:pt x="560" y="99"/>
                    </a:lnTo>
                    <a:lnTo>
                      <a:pt x="558" y="99"/>
                    </a:lnTo>
                    <a:close/>
                    <a:moveTo>
                      <a:pt x="49" y="95"/>
                    </a:moveTo>
                    <a:lnTo>
                      <a:pt x="51" y="95"/>
                    </a:lnTo>
                    <a:lnTo>
                      <a:pt x="49" y="95"/>
                    </a:lnTo>
                    <a:close/>
                    <a:moveTo>
                      <a:pt x="204" y="26"/>
                    </a:moveTo>
                    <a:lnTo>
                      <a:pt x="204" y="28"/>
                    </a:lnTo>
                    <a:lnTo>
                      <a:pt x="204" y="26"/>
                    </a:lnTo>
                    <a:close/>
                    <a:moveTo>
                      <a:pt x="578" y="208"/>
                    </a:moveTo>
                    <a:lnTo>
                      <a:pt x="578" y="209"/>
                    </a:lnTo>
                    <a:lnTo>
                      <a:pt x="578" y="208"/>
                    </a:lnTo>
                    <a:close/>
                    <a:moveTo>
                      <a:pt x="169" y="43"/>
                    </a:moveTo>
                    <a:lnTo>
                      <a:pt x="169" y="45"/>
                    </a:lnTo>
                    <a:lnTo>
                      <a:pt x="169" y="43"/>
                    </a:lnTo>
                    <a:close/>
                    <a:moveTo>
                      <a:pt x="391" y="234"/>
                    </a:moveTo>
                    <a:lnTo>
                      <a:pt x="393" y="234"/>
                    </a:lnTo>
                    <a:lnTo>
                      <a:pt x="391" y="234"/>
                    </a:lnTo>
                    <a:close/>
                    <a:moveTo>
                      <a:pt x="13" y="53"/>
                    </a:moveTo>
                    <a:lnTo>
                      <a:pt x="15" y="53"/>
                    </a:lnTo>
                    <a:lnTo>
                      <a:pt x="13" y="53"/>
                    </a:lnTo>
                    <a:close/>
                    <a:moveTo>
                      <a:pt x="581" y="135"/>
                    </a:moveTo>
                    <a:lnTo>
                      <a:pt x="583" y="135"/>
                    </a:lnTo>
                    <a:lnTo>
                      <a:pt x="581" y="135"/>
                    </a:lnTo>
                    <a:close/>
                    <a:moveTo>
                      <a:pt x="513" y="101"/>
                    </a:moveTo>
                    <a:lnTo>
                      <a:pt x="513" y="103"/>
                    </a:lnTo>
                    <a:lnTo>
                      <a:pt x="513" y="101"/>
                    </a:lnTo>
                    <a:close/>
                    <a:moveTo>
                      <a:pt x="484" y="122"/>
                    </a:moveTo>
                    <a:lnTo>
                      <a:pt x="486" y="122"/>
                    </a:lnTo>
                    <a:lnTo>
                      <a:pt x="484" y="122"/>
                    </a:lnTo>
                    <a:close/>
                    <a:moveTo>
                      <a:pt x="394" y="227"/>
                    </a:moveTo>
                    <a:lnTo>
                      <a:pt x="394" y="229"/>
                    </a:lnTo>
                    <a:lnTo>
                      <a:pt x="394" y="227"/>
                    </a:lnTo>
                    <a:close/>
                    <a:moveTo>
                      <a:pt x="562" y="129"/>
                    </a:moveTo>
                    <a:lnTo>
                      <a:pt x="564" y="129"/>
                    </a:lnTo>
                    <a:lnTo>
                      <a:pt x="562" y="129"/>
                    </a:lnTo>
                    <a:close/>
                    <a:moveTo>
                      <a:pt x="696" y="225"/>
                    </a:moveTo>
                    <a:lnTo>
                      <a:pt x="698" y="225"/>
                    </a:lnTo>
                    <a:lnTo>
                      <a:pt x="698" y="227"/>
                    </a:lnTo>
                    <a:lnTo>
                      <a:pt x="696" y="227"/>
                    </a:lnTo>
                    <a:lnTo>
                      <a:pt x="696" y="225"/>
                    </a:lnTo>
                    <a:close/>
                    <a:moveTo>
                      <a:pt x="145" y="78"/>
                    </a:moveTo>
                    <a:lnTo>
                      <a:pt x="145" y="80"/>
                    </a:lnTo>
                    <a:lnTo>
                      <a:pt x="145" y="78"/>
                    </a:lnTo>
                    <a:close/>
                    <a:moveTo>
                      <a:pt x="204" y="32"/>
                    </a:moveTo>
                    <a:lnTo>
                      <a:pt x="206" y="32"/>
                    </a:lnTo>
                    <a:lnTo>
                      <a:pt x="204" y="32"/>
                    </a:lnTo>
                    <a:close/>
                    <a:moveTo>
                      <a:pt x="530" y="80"/>
                    </a:moveTo>
                    <a:lnTo>
                      <a:pt x="530" y="82"/>
                    </a:lnTo>
                    <a:lnTo>
                      <a:pt x="530" y="80"/>
                    </a:lnTo>
                    <a:close/>
                    <a:moveTo>
                      <a:pt x="631" y="202"/>
                    </a:moveTo>
                    <a:lnTo>
                      <a:pt x="631" y="204"/>
                    </a:lnTo>
                    <a:lnTo>
                      <a:pt x="631" y="202"/>
                    </a:lnTo>
                    <a:close/>
                    <a:moveTo>
                      <a:pt x="225" y="95"/>
                    </a:moveTo>
                    <a:lnTo>
                      <a:pt x="225" y="97"/>
                    </a:lnTo>
                    <a:lnTo>
                      <a:pt x="225" y="95"/>
                    </a:lnTo>
                    <a:close/>
                    <a:moveTo>
                      <a:pt x="631" y="194"/>
                    </a:moveTo>
                    <a:lnTo>
                      <a:pt x="633" y="194"/>
                    </a:lnTo>
                    <a:lnTo>
                      <a:pt x="633" y="196"/>
                    </a:lnTo>
                    <a:lnTo>
                      <a:pt x="631" y="196"/>
                    </a:lnTo>
                    <a:lnTo>
                      <a:pt x="631" y="194"/>
                    </a:lnTo>
                    <a:close/>
                    <a:moveTo>
                      <a:pt x="19" y="55"/>
                    </a:moveTo>
                    <a:lnTo>
                      <a:pt x="19" y="57"/>
                    </a:lnTo>
                    <a:lnTo>
                      <a:pt x="19" y="55"/>
                    </a:lnTo>
                    <a:close/>
                    <a:moveTo>
                      <a:pt x="433" y="227"/>
                    </a:moveTo>
                    <a:lnTo>
                      <a:pt x="434" y="227"/>
                    </a:lnTo>
                    <a:lnTo>
                      <a:pt x="433" y="227"/>
                    </a:lnTo>
                    <a:close/>
                    <a:moveTo>
                      <a:pt x="383" y="202"/>
                    </a:moveTo>
                    <a:lnTo>
                      <a:pt x="383" y="204"/>
                    </a:lnTo>
                    <a:lnTo>
                      <a:pt x="383" y="202"/>
                    </a:lnTo>
                    <a:close/>
                    <a:moveTo>
                      <a:pt x="631" y="187"/>
                    </a:moveTo>
                    <a:lnTo>
                      <a:pt x="633" y="187"/>
                    </a:lnTo>
                    <a:lnTo>
                      <a:pt x="631" y="187"/>
                    </a:lnTo>
                    <a:close/>
                    <a:moveTo>
                      <a:pt x="354" y="36"/>
                    </a:moveTo>
                    <a:lnTo>
                      <a:pt x="356" y="36"/>
                    </a:lnTo>
                    <a:lnTo>
                      <a:pt x="354" y="36"/>
                    </a:lnTo>
                    <a:close/>
                    <a:moveTo>
                      <a:pt x="562" y="126"/>
                    </a:moveTo>
                    <a:lnTo>
                      <a:pt x="564" y="126"/>
                    </a:lnTo>
                    <a:lnTo>
                      <a:pt x="564" y="127"/>
                    </a:lnTo>
                    <a:lnTo>
                      <a:pt x="562" y="127"/>
                    </a:lnTo>
                    <a:lnTo>
                      <a:pt x="562" y="126"/>
                    </a:lnTo>
                    <a:close/>
                    <a:moveTo>
                      <a:pt x="147" y="87"/>
                    </a:moveTo>
                    <a:lnTo>
                      <a:pt x="148" y="87"/>
                    </a:lnTo>
                    <a:lnTo>
                      <a:pt x="148" y="89"/>
                    </a:lnTo>
                    <a:lnTo>
                      <a:pt x="147" y="89"/>
                    </a:lnTo>
                    <a:lnTo>
                      <a:pt x="147" y="87"/>
                    </a:lnTo>
                    <a:close/>
                    <a:moveTo>
                      <a:pt x="127" y="80"/>
                    </a:moveTo>
                    <a:lnTo>
                      <a:pt x="127" y="82"/>
                    </a:lnTo>
                    <a:lnTo>
                      <a:pt x="127" y="80"/>
                    </a:lnTo>
                    <a:close/>
                    <a:moveTo>
                      <a:pt x="330" y="168"/>
                    </a:moveTo>
                    <a:lnTo>
                      <a:pt x="330" y="169"/>
                    </a:lnTo>
                    <a:lnTo>
                      <a:pt x="330" y="168"/>
                    </a:lnTo>
                    <a:close/>
                    <a:moveTo>
                      <a:pt x="423" y="85"/>
                    </a:moveTo>
                    <a:lnTo>
                      <a:pt x="425" y="85"/>
                    </a:lnTo>
                    <a:lnTo>
                      <a:pt x="423" y="85"/>
                    </a:lnTo>
                    <a:close/>
                    <a:moveTo>
                      <a:pt x="633" y="187"/>
                    </a:moveTo>
                    <a:lnTo>
                      <a:pt x="633" y="188"/>
                    </a:lnTo>
                    <a:lnTo>
                      <a:pt x="633" y="187"/>
                    </a:lnTo>
                    <a:close/>
                    <a:moveTo>
                      <a:pt x="55" y="93"/>
                    </a:moveTo>
                    <a:lnTo>
                      <a:pt x="55" y="95"/>
                    </a:lnTo>
                    <a:lnTo>
                      <a:pt x="55" y="93"/>
                    </a:lnTo>
                    <a:close/>
                    <a:moveTo>
                      <a:pt x="536" y="223"/>
                    </a:moveTo>
                    <a:lnTo>
                      <a:pt x="537" y="223"/>
                    </a:lnTo>
                    <a:lnTo>
                      <a:pt x="537" y="225"/>
                    </a:lnTo>
                    <a:lnTo>
                      <a:pt x="536" y="225"/>
                    </a:lnTo>
                    <a:lnTo>
                      <a:pt x="536" y="223"/>
                    </a:lnTo>
                    <a:close/>
                    <a:moveTo>
                      <a:pt x="618" y="127"/>
                    </a:moveTo>
                    <a:lnTo>
                      <a:pt x="618" y="129"/>
                    </a:lnTo>
                    <a:lnTo>
                      <a:pt x="618" y="127"/>
                    </a:lnTo>
                    <a:close/>
                    <a:moveTo>
                      <a:pt x="433" y="168"/>
                    </a:moveTo>
                    <a:lnTo>
                      <a:pt x="434" y="168"/>
                    </a:lnTo>
                    <a:lnTo>
                      <a:pt x="434" y="169"/>
                    </a:lnTo>
                    <a:lnTo>
                      <a:pt x="433" y="169"/>
                    </a:lnTo>
                    <a:lnTo>
                      <a:pt x="433" y="168"/>
                    </a:lnTo>
                    <a:close/>
                    <a:moveTo>
                      <a:pt x="515" y="84"/>
                    </a:moveTo>
                    <a:lnTo>
                      <a:pt x="515" y="85"/>
                    </a:lnTo>
                    <a:lnTo>
                      <a:pt x="515" y="84"/>
                    </a:lnTo>
                    <a:close/>
                    <a:moveTo>
                      <a:pt x="558" y="97"/>
                    </a:moveTo>
                    <a:lnTo>
                      <a:pt x="560" y="97"/>
                    </a:lnTo>
                    <a:lnTo>
                      <a:pt x="558" y="97"/>
                    </a:lnTo>
                    <a:close/>
                    <a:moveTo>
                      <a:pt x="333" y="147"/>
                    </a:moveTo>
                    <a:lnTo>
                      <a:pt x="335" y="147"/>
                    </a:lnTo>
                    <a:lnTo>
                      <a:pt x="333" y="147"/>
                    </a:lnTo>
                    <a:close/>
                    <a:moveTo>
                      <a:pt x="629" y="196"/>
                    </a:moveTo>
                    <a:lnTo>
                      <a:pt x="629" y="198"/>
                    </a:lnTo>
                    <a:lnTo>
                      <a:pt x="629" y="196"/>
                    </a:lnTo>
                    <a:close/>
                    <a:moveTo>
                      <a:pt x="574" y="112"/>
                    </a:moveTo>
                    <a:lnTo>
                      <a:pt x="576" y="112"/>
                    </a:lnTo>
                    <a:lnTo>
                      <a:pt x="574" y="112"/>
                    </a:lnTo>
                    <a:close/>
                    <a:moveTo>
                      <a:pt x="465" y="179"/>
                    </a:moveTo>
                    <a:lnTo>
                      <a:pt x="467" y="179"/>
                    </a:lnTo>
                    <a:lnTo>
                      <a:pt x="465" y="179"/>
                    </a:lnTo>
                    <a:close/>
                    <a:moveTo>
                      <a:pt x="440" y="267"/>
                    </a:moveTo>
                    <a:lnTo>
                      <a:pt x="442" y="267"/>
                    </a:lnTo>
                    <a:lnTo>
                      <a:pt x="440" y="267"/>
                    </a:lnTo>
                    <a:close/>
                    <a:moveTo>
                      <a:pt x="572" y="87"/>
                    </a:moveTo>
                    <a:lnTo>
                      <a:pt x="574" y="87"/>
                    </a:lnTo>
                    <a:lnTo>
                      <a:pt x="572" y="87"/>
                    </a:lnTo>
                    <a:close/>
                    <a:moveTo>
                      <a:pt x="551" y="122"/>
                    </a:moveTo>
                    <a:lnTo>
                      <a:pt x="551" y="124"/>
                    </a:lnTo>
                    <a:lnTo>
                      <a:pt x="551" y="122"/>
                    </a:lnTo>
                    <a:close/>
                    <a:moveTo>
                      <a:pt x="661" y="112"/>
                    </a:moveTo>
                    <a:lnTo>
                      <a:pt x="661" y="114"/>
                    </a:lnTo>
                    <a:lnTo>
                      <a:pt x="661" y="112"/>
                    </a:lnTo>
                    <a:close/>
                    <a:moveTo>
                      <a:pt x="513" y="103"/>
                    </a:moveTo>
                    <a:lnTo>
                      <a:pt x="513" y="105"/>
                    </a:lnTo>
                    <a:lnTo>
                      <a:pt x="513" y="103"/>
                    </a:lnTo>
                    <a:close/>
                    <a:moveTo>
                      <a:pt x="564" y="126"/>
                    </a:moveTo>
                    <a:lnTo>
                      <a:pt x="566" y="126"/>
                    </a:lnTo>
                    <a:lnTo>
                      <a:pt x="564" y="126"/>
                    </a:lnTo>
                    <a:close/>
                    <a:moveTo>
                      <a:pt x="629" y="198"/>
                    </a:moveTo>
                    <a:lnTo>
                      <a:pt x="629" y="200"/>
                    </a:lnTo>
                    <a:lnTo>
                      <a:pt x="629" y="198"/>
                    </a:lnTo>
                    <a:close/>
                    <a:moveTo>
                      <a:pt x="698" y="227"/>
                    </a:moveTo>
                    <a:lnTo>
                      <a:pt x="700" y="227"/>
                    </a:lnTo>
                    <a:lnTo>
                      <a:pt x="698" y="227"/>
                    </a:lnTo>
                    <a:close/>
                    <a:moveTo>
                      <a:pt x="147" y="82"/>
                    </a:moveTo>
                    <a:lnTo>
                      <a:pt x="148" y="82"/>
                    </a:lnTo>
                    <a:lnTo>
                      <a:pt x="147" y="82"/>
                    </a:lnTo>
                    <a:close/>
                    <a:moveTo>
                      <a:pt x="398" y="227"/>
                    </a:moveTo>
                    <a:lnTo>
                      <a:pt x="400" y="227"/>
                    </a:lnTo>
                    <a:lnTo>
                      <a:pt x="398" y="227"/>
                    </a:lnTo>
                    <a:close/>
                    <a:moveTo>
                      <a:pt x="660" y="112"/>
                    </a:moveTo>
                    <a:lnTo>
                      <a:pt x="660" y="114"/>
                    </a:lnTo>
                    <a:lnTo>
                      <a:pt x="660" y="112"/>
                    </a:lnTo>
                    <a:close/>
                    <a:moveTo>
                      <a:pt x="333" y="147"/>
                    </a:moveTo>
                    <a:lnTo>
                      <a:pt x="333" y="148"/>
                    </a:lnTo>
                    <a:lnTo>
                      <a:pt x="333" y="147"/>
                    </a:lnTo>
                    <a:close/>
                    <a:moveTo>
                      <a:pt x="179" y="43"/>
                    </a:moveTo>
                    <a:lnTo>
                      <a:pt x="179" y="45"/>
                    </a:lnTo>
                    <a:lnTo>
                      <a:pt x="179" y="43"/>
                    </a:lnTo>
                    <a:close/>
                    <a:moveTo>
                      <a:pt x="356" y="99"/>
                    </a:moveTo>
                    <a:lnTo>
                      <a:pt x="358" y="99"/>
                    </a:lnTo>
                    <a:lnTo>
                      <a:pt x="356" y="99"/>
                    </a:lnTo>
                    <a:close/>
                    <a:moveTo>
                      <a:pt x="175" y="47"/>
                    </a:moveTo>
                    <a:lnTo>
                      <a:pt x="177" y="47"/>
                    </a:lnTo>
                    <a:lnTo>
                      <a:pt x="175" y="47"/>
                    </a:lnTo>
                    <a:close/>
                    <a:moveTo>
                      <a:pt x="360" y="223"/>
                    </a:moveTo>
                    <a:lnTo>
                      <a:pt x="362" y="223"/>
                    </a:lnTo>
                    <a:lnTo>
                      <a:pt x="360" y="223"/>
                    </a:lnTo>
                    <a:close/>
                    <a:moveTo>
                      <a:pt x="562" y="124"/>
                    </a:moveTo>
                    <a:lnTo>
                      <a:pt x="564" y="124"/>
                    </a:lnTo>
                    <a:lnTo>
                      <a:pt x="564" y="126"/>
                    </a:lnTo>
                    <a:lnTo>
                      <a:pt x="562" y="126"/>
                    </a:lnTo>
                    <a:lnTo>
                      <a:pt x="562" y="124"/>
                    </a:lnTo>
                    <a:close/>
                    <a:moveTo>
                      <a:pt x="368" y="55"/>
                    </a:moveTo>
                    <a:lnTo>
                      <a:pt x="368" y="57"/>
                    </a:lnTo>
                    <a:lnTo>
                      <a:pt x="368" y="55"/>
                    </a:lnTo>
                    <a:close/>
                    <a:moveTo>
                      <a:pt x="425" y="175"/>
                    </a:moveTo>
                    <a:lnTo>
                      <a:pt x="427" y="175"/>
                    </a:lnTo>
                    <a:lnTo>
                      <a:pt x="425" y="175"/>
                    </a:lnTo>
                    <a:close/>
                    <a:moveTo>
                      <a:pt x="147" y="82"/>
                    </a:moveTo>
                    <a:lnTo>
                      <a:pt x="147" y="84"/>
                    </a:lnTo>
                    <a:lnTo>
                      <a:pt x="147" y="82"/>
                    </a:lnTo>
                    <a:close/>
                    <a:moveTo>
                      <a:pt x="156" y="131"/>
                    </a:moveTo>
                    <a:lnTo>
                      <a:pt x="158" y="131"/>
                    </a:lnTo>
                    <a:lnTo>
                      <a:pt x="156" y="131"/>
                    </a:lnTo>
                    <a:close/>
                    <a:moveTo>
                      <a:pt x="143" y="84"/>
                    </a:moveTo>
                    <a:lnTo>
                      <a:pt x="145" y="84"/>
                    </a:lnTo>
                    <a:lnTo>
                      <a:pt x="143" y="84"/>
                    </a:lnTo>
                    <a:close/>
                    <a:moveTo>
                      <a:pt x="366" y="78"/>
                    </a:moveTo>
                    <a:lnTo>
                      <a:pt x="366" y="80"/>
                    </a:lnTo>
                    <a:lnTo>
                      <a:pt x="366" y="78"/>
                    </a:lnTo>
                    <a:close/>
                    <a:moveTo>
                      <a:pt x="162" y="200"/>
                    </a:moveTo>
                    <a:lnTo>
                      <a:pt x="162" y="202"/>
                    </a:lnTo>
                    <a:lnTo>
                      <a:pt x="162" y="200"/>
                    </a:lnTo>
                    <a:close/>
                    <a:moveTo>
                      <a:pt x="658" y="112"/>
                    </a:moveTo>
                    <a:lnTo>
                      <a:pt x="658" y="114"/>
                    </a:lnTo>
                    <a:lnTo>
                      <a:pt x="658" y="112"/>
                    </a:lnTo>
                    <a:close/>
                    <a:moveTo>
                      <a:pt x="345" y="230"/>
                    </a:moveTo>
                    <a:lnTo>
                      <a:pt x="347" y="230"/>
                    </a:lnTo>
                    <a:lnTo>
                      <a:pt x="345" y="230"/>
                    </a:lnTo>
                    <a:close/>
                    <a:moveTo>
                      <a:pt x="494" y="78"/>
                    </a:moveTo>
                    <a:lnTo>
                      <a:pt x="496" y="78"/>
                    </a:lnTo>
                    <a:lnTo>
                      <a:pt x="494" y="78"/>
                    </a:lnTo>
                    <a:close/>
                    <a:moveTo>
                      <a:pt x="564" y="129"/>
                    </a:moveTo>
                    <a:lnTo>
                      <a:pt x="566" y="129"/>
                    </a:lnTo>
                    <a:lnTo>
                      <a:pt x="564" y="129"/>
                    </a:lnTo>
                    <a:close/>
                    <a:moveTo>
                      <a:pt x="434" y="229"/>
                    </a:moveTo>
                    <a:lnTo>
                      <a:pt x="436" y="229"/>
                    </a:lnTo>
                    <a:lnTo>
                      <a:pt x="434" y="229"/>
                    </a:lnTo>
                    <a:close/>
                    <a:moveTo>
                      <a:pt x="446" y="148"/>
                    </a:moveTo>
                    <a:lnTo>
                      <a:pt x="446" y="150"/>
                    </a:lnTo>
                    <a:lnTo>
                      <a:pt x="446" y="148"/>
                    </a:lnTo>
                    <a:close/>
                    <a:moveTo>
                      <a:pt x="534" y="84"/>
                    </a:moveTo>
                    <a:lnTo>
                      <a:pt x="536" y="84"/>
                    </a:lnTo>
                    <a:lnTo>
                      <a:pt x="534" y="84"/>
                    </a:lnTo>
                    <a:close/>
                    <a:moveTo>
                      <a:pt x="337" y="154"/>
                    </a:moveTo>
                    <a:lnTo>
                      <a:pt x="339" y="154"/>
                    </a:lnTo>
                    <a:lnTo>
                      <a:pt x="337" y="154"/>
                    </a:lnTo>
                    <a:close/>
                    <a:moveTo>
                      <a:pt x="328" y="206"/>
                    </a:moveTo>
                    <a:lnTo>
                      <a:pt x="330" y="206"/>
                    </a:lnTo>
                    <a:lnTo>
                      <a:pt x="328" y="206"/>
                    </a:lnTo>
                    <a:close/>
                    <a:moveTo>
                      <a:pt x="623" y="190"/>
                    </a:moveTo>
                    <a:lnTo>
                      <a:pt x="623" y="192"/>
                    </a:lnTo>
                    <a:lnTo>
                      <a:pt x="623" y="190"/>
                    </a:lnTo>
                    <a:close/>
                    <a:moveTo>
                      <a:pt x="600" y="147"/>
                    </a:moveTo>
                    <a:lnTo>
                      <a:pt x="600" y="148"/>
                    </a:lnTo>
                    <a:lnTo>
                      <a:pt x="600" y="147"/>
                    </a:lnTo>
                    <a:close/>
                    <a:moveTo>
                      <a:pt x="557" y="166"/>
                    </a:moveTo>
                    <a:lnTo>
                      <a:pt x="557" y="168"/>
                    </a:lnTo>
                    <a:lnTo>
                      <a:pt x="557" y="166"/>
                    </a:lnTo>
                    <a:close/>
                    <a:moveTo>
                      <a:pt x="457" y="181"/>
                    </a:moveTo>
                    <a:lnTo>
                      <a:pt x="459" y="181"/>
                    </a:lnTo>
                    <a:lnTo>
                      <a:pt x="459" y="183"/>
                    </a:lnTo>
                    <a:lnTo>
                      <a:pt x="457" y="183"/>
                    </a:lnTo>
                    <a:lnTo>
                      <a:pt x="457" y="181"/>
                    </a:lnTo>
                    <a:close/>
                    <a:moveTo>
                      <a:pt x="579" y="202"/>
                    </a:moveTo>
                    <a:lnTo>
                      <a:pt x="581" y="202"/>
                    </a:lnTo>
                    <a:lnTo>
                      <a:pt x="579" y="202"/>
                    </a:lnTo>
                    <a:close/>
                    <a:moveTo>
                      <a:pt x="534" y="103"/>
                    </a:moveTo>
                    <a:lnTo>
                      <a:pt x="534" y="105"/>
                    </a:lnTo>
                    <a:lnTo>
                      <a:pt x="534" y="103"/>
                    </a:lnTo>
                    <a:close/>
                    <a:moveTo>
                      <a:pt x="141" y="78"/>
                    </a:moveTo>
                    <a:lnTo>
                      <a:pt x="143" y="78"/>
                    </a:lnTo>
                    <a:lnTo>
                      <a:pt x="141" y="78"/>
                    </a:lnTo>
                    <a:close/>
                    <a:moveTo>
                      <a:pt x="206" y="36"/>
                    </a:moveTo>
                    <a:lnTo>
                      <a:pt x="208" y="36"/>
                    </a:lnTo>
                    <a:lnTo>
                      <a:pt x="206" y="36"/>
                    </a:lnTo>
                    <a:close/>
                    <a:moveTo>
                      <a:pt x="183" y="42"/>
                    </a:moveTo>
                    <a:lnTo>
                      <a:pt x="183" y="43"/>
                    </a:lnTo>
                    <a:lnTo>
                      <a:pt x="183" y="42"/>
                    </a:lnTo>
                    <a:close/>
                    <a:moveTo>
                      <a:pt x="147" y="82"/>
                    </a:moveTo>
                    <a:lnTo>
                      <a:pt x="148" y="82"/>
                    </a:lnTo>
                    <a:lnTo>
                      <a:pt x="148" y="84"/>
                    </a:lnTo>
                    <a:lnTo>
                      <a:pt x="147" y="84"/>
                    </a:lnTo>
                    <a:lnTo>
                      <a:pt x="147" y="82"/>
                    </a:lnTo>
                    <a:close/>
                    <a:moveTo>
                      <a:pt x="568" y="213"/>
                    </a:moveTo>
                    <a:lnTo>
                      <a:pt x="570" y="213"/>
                    </a:lnTo>
                    <a:lnTo>
                      <a:pt x="568" y="213"/>
                    </a:lnTo>
                    <a:close/>
                    <a:moveTo>
                      <a:pt x="612" y="133"/>
                    </a:moveTo>
                    <a:lnTo>
                      <a:pt x="614" y="133"/>
                    </a:lnTo>
                    <a:lnTo>
                      <a:pt x="614" y="135"/>
                    </a:lnTo>
                    <a:lnTo>
                      <a:pt x="612" y="135"/>
                    </a:lnTo>
                    <a:lnTo>
                      <a:pt x="612" y="133"/>
                    </a:lnTo>
                    <a:close/>
                    <a:moveTo>
                      <a:pt x="187" y="139"/>
                    </a:moveTo>
                    <a:lnTo>
                      <a:pt x="189" y="139"/>
                    </a:lnTo>
                    <a:lnTo>
                      <a:pt x="187" y="139"/>
                    </a:lnTo>
                    <a:close/>
                    <a:moveTo>
                      <a:pt x="576" y="221"/>
                    </a:moveTo>
                    <a:lnTo>
                      <a:pt x="576" y="223"/>
                    </a:lnTo>
                    <a:lnTo>
                      <a:pt x="576" y="221"/>
                    </a:lnTo>
                    <a:close/>
                    <a:moveTo>
                      <a:pt x="5" y="15"/>
                    </a:moveTo>
                    <a:lnTo>
                      <a:pt x="5" y="17"/>
                    </a:lnTo>
                    <a:lnTo>
                      <a:pt x="5" y="15"/>
                    </a:lnTo>
                    <a:close/>
                    <a:moveTo>
                      <a:pt x="198" y="141"/>
                    </a:moveTo>
                    <a:lnTo>
                      <a:pt x="198" y="143"/>
                    </a:lnTo>
                    <a:lnTo>
                      <a:pt x="198" y="141"/>
                    </a:lnTo>
                    <a:close/>
                    <a:moveTo>
                      <a:pt x="629" y="181"/>
                    </a:moveTo>
                    <a:lnTo>
                      <a:pt x="631" y="181"/>
                    </a:lnTo>
                    <a:lnTo>
                      <a:pt x="629" y="181"/>
                    </a:lnTo>
                    <a:close/>
                    <a:moveTo>
                      <a:pt x="562" y="127"/>
                    </a:moveTo>
                    <a:lnTo>
                      <a:pt x="564" y="127"/>
                    </a:lnTo>
                    <a:lnTo>
                      <a:pt x="562" y="127"/>
                    </a:lnTo>
                    <a:close/>
                    <a:moveTo>
                      <a:pt x="434" y="141"/>
                    </a:moveTo>
                    <a:lnTo>
                      <a:pt x="434" y="143"/>
                    </a:lnTo>
                    <a:lnTo>
                      <a:pt x="434" y="141"/>
                    </a:lnTo>
                    <a:close/>
                    <a:moveTo>
                      <a:pt x="513" y="103"/>
                    </a:moveTo>
                    <a:lnTo>
                      <a:pt x="513" y="105"/>
                    </a:lnTo>
                    <a:lnTo>
                      <a:pt x="513" y="103"/>
                    </a:lnTo>
                    <a:close/>
                    <a:moveTo>
                      <a:pt x="572" y="112"/>
                    </a:moveTo>
                    <a:lnTo>
                      <a:pt x="574" y="112"/>
                    </a:lnTo>
                    <a:lnTo>
                      <a:pt x="572" y="112"/>
                    </a:lnTo>
                    <a:close/>
                    <a:moveTo>
                      <a:pt x="148" y="89"/>
                    </a:moveTo>
                    <a:lnTo>
                      <a:pt x="150" y="89"/>
                    </a:lnTo>
                    <a:lnTo>
                      <a:pt x="148" y="89"/>
                    </a:lnTo>
                    <a:close/>
                    <a:moveTo>
                      <a:pt x="524" y="68"/>
                    </a:moveTo>
                    <a:lnTo>
                      <a:pt x="526" y="68"/>
                    </a:lnTo>
                    <a:lnTo>
                      <a:pt x="524" y="68"/>
                    </a:lnTo>
                    <a:close/>
                    <a:moveTo>
                      <a:pt x="154" y="78"/>
                    </a:moveTo>
                    <a:lnTo>
                      <a:pt x="154" y="80"/>
                    </a:lnTo>
                    <a:lnTo>
                      <a:pt x="154" y="78"/>
                    </a:lnTo>
                    <a:close/>
                    <a:moveTo>
                      <a:pt x="332" y="232"/>
                    </a:moveTo>
                    <a:lnTo>
                      <a:pt x="332" y="234"/>
                    </a:lnTo>
                    <a:lnTo>
                      <a:pt x="332" y="232"/>
                    </a:lnTo>
                    <a:close/>
                    <a:moveTo>
                      <a:pt x="484" y="43"/>
                    </a:moveTo>
                    <a:lnTo>
                      <a:pt x="484" y="45"/>
                    </a:lnTo>
                    <a:lnTo>
                      <a:pt x="484" y="43"/>
                    </a:lnTo>
                    <a:close/>
                    <a:moveTo>
                      <a:pt x="448" y="127"/>
                    </a:moveTo>
                    <a:lnTo>
                      <a:pt x="448" y="129"/>
                    </a:lnTo>
                    <a:lnTo>
                      <a:pt x="448" y="127"/>
                    </a:lnTo>
                    <a:close/>
                    <a:moveTo>
                      <a:pt x="625" y="194"/>
                    </a:moveTo>
                    <a:lnTo>
                      <a:pt x="627" y="194"/>
                    </a:lnTo>
                    <a:lnTo>
                      <a:pt x="625" y="194"/>
                    </a:lnTo>
                    <a:close/>
                    <a:moveTo>
                      <a:pt x="642" y="108"/>
                    </a:moveTo>
                    <a:lnTo>
                      <a:pt x="644" y="108"/>
                    </a:lnTo>
                    <a:lnTo>
                      <a:pt x="642" y="108"/>
                    </a:lnTo>
                    <a:close/>
                    <a:moveTo>
                      <a:pt x="629" y="179"/>
                    </a:moveTo>
                    <a:lnTo>
                      <a:pt x="631" y="179"/>
                    </a:lnTo>
                    <a:lnTo>
                      <a:pt x="629" y="179"/>
                    </a:lnTo>
                    <a:close/>
                    <a:moveTo>
                      <a:pt x="55" y="93"/>
                    </a:moveTo>
                    <a:lnTo>
                      <a:pt x="55" y="95"/>
                    </a:lnTo>
                    <a:lnTo>
                      <a:pt x="55" y="93"/>
                    </a:lnTo>
                    <a:close/>
                    <a:moveTo>
                      <a:pt x="549" y="122"/>
                    </a:moveTo>
                    <a:lnTo>
                      <a:pt x="551" y="122"/>
                    </a:lnTo>
                    <a:lnTo>
                      <a:pt x="549" y="122"/>
                    </a:lnTo>
                    <a:close/>
                    <a:moveTo>
                      <a:pt x="145" y="78"/>
                    </a:moveTo>
                    <a:lnTo>
                      <a:pt x="147" y="78"/>
                    </a:lnTo>
                    <a:lnTo>
                      <a:pt x="147" y="80"/>
                    </a:lnTo>
                    <a:lnTo>
                      <a:pt x="145" y="80"/>
                    </a:lnTo>
                    <a:lnTo>
                      <a:pt x="145" y="78"/>
                    </a:lnTo>
                    <a:close/>
                    <a:moveTo>
                      <a:pt x="627" y="194"/>
                    </a:moveTo>
                    <a:lnTo>
                      <a:pt x="629" y="194"/>
                    </a:lnTo>
                    <a:lnTo>
                      <a:pt x="627" y="194"/>
                    </a:lnTo>
                    <a:close/>
                    <a:moveTo>
                      <a:pt x="558" y="105"/>
                    </a:moveTo>
                    <a:lnTo>
                      <a:pt x="560" y="105"/>
                    </a:lnTo>
                    <a:lnTo>
                      <a:pt x="558" y="105"/>
                    </a:lnTo>
                    <a:close/>
                    <a:moveTo>
                      <a:pt x="513" y="101"/>
                    </a:moveTo>
                    <a:lnTo>
                      <a:pt x="513" y="103"/>
                    </a:lnTo>
                    <a:lnTo>
                      <a:pt x="513" y="101"/>
                    </a:lnTo>
                    <a:close/>
                    <a:moveTo>
                      <a:pt x="141" y="78"/>
                    </a:moveTo>
                    <a:lnTo>
                      <a:pt x="143" y="78"/>
                    </a:lnTo>
                    <a:lnTo>
                      <a:pt x="143" y="80"/>
                    </a:lnTo>
                    <a:lnTo>
                      <a:pt x="141" y="80"/>
                    </a:lnTo>
                    <a:lnTo>
                      <a:pt x="141" y="78"/>
                    </a:lnTo>
                    <a:close/>
                    <a:moveTo>
                      <a:pt x="352" y="106"/>
                    </a:moveTo>
                    <a:lnTo>
                      <a:pt x="352" y="108"/>
                    </a:lnTo>
                    <a:lnTo>
                      <a:pt x="352" y="106"/>
                    </a:lnTo>
                    <a:close/>
                    <a:moveTo>
                      <a:pt x="150" y="89"/>
                    </a:moveTo>
                    <a:lnTo>
                      <a:pt x="150" y="91"/>
                    </a:lnTo>
                    <a:lnTo>
                      <a:pt x="150" y="89"/>
                    </a:lnTo>
                    <a:close/>
                    <a:moveTo>
                      <a:pt x="345" y="110"/>
                    </a:moveTo>
                    <a:lnTo>
                      <a:pt x="345" y="112"/>
                    </a:lnTo>
                    <a:lnTo>
                      <a:pt x="345" y="110"/>
                    </a:lnTo>
                    <a:close/>
                    <a:moveTo>
                      <a:pt x="175" y="43"/>
                    </a:moveTo>
                    <a:lnTo>
                      <a:pt x="177" y="43"/>
                    </a:lnTo>
                    <a:lnTo>
                      <a:pt x="175" y="43"/>
                    </a:lnTo>
                    <a:close/>
                    <a:moveTo>
                      <a:pt x="145" y="110"/>
                    </a:moveTo>
                    <a:lnTo>
                      <a:pt x="147" y="110"/>
                    </a:lnTo>
                    <a:lnTo>
                      <a:pt x="145" y="110"/>
                    </a:lnTo>
                    <a:close/>
                    <a:moveTo>
                      <a:pt x="633" y="190"/>
                    </a:moveTo>
                    <a:lnTo>
                      <a:pt x="633" y="192"/>
                    </a:lnTo>
                    <a:lnTo>
                      <a:pt x="633" y="190"/>
                    </a:lnTo>
                    <a:close/>
                    <a:moveTo>
                      <a:pt x="223" y="114"/>
                    </a:moveTo>
                    <a:lnTo>
                      <a:pt x="225" y="114"/>
                    </a:lnTo>
                    <a:lnTo>
                      <a:pt x="223" y="114"/>
                    </a:lnTo>
                    <a:close/>
                    <a:moveTo>
                      <a:pt x="49" y="28"/>
                    </a:moveTo>
                    <a:lnTo>
                      <a:pt x="51" y="28"/>
                    </a:lnTo>
                    <a:lnTo>
                      <a:pt x="49" y="28"/>
                    </a:lnTo>
                    <a:close/>
                    <a:moveTo>
                      <a:pt x="631" y="185"/>
                    </a:moveTo>
                    <a:lnTo>
                      <a:pt x="631" y="187"/>
                    </a:lnTo>
                    <a:lnTo>
                      <a:pt x="631" y="185"/>
                    </a:lnTo>
                    <a:close/>
                    <a:moveTo>
                      <a:pt x="675" y="175"/>
                    </a:moveTo>
                    <a:lnTo>
                      <a:pt x="675" y="177"/>
                    </a:lnTo>
                    <a:lnTo>
                      <a:pt x="675" y="175"/>
                    </a:lnTo>
                    <a:close/>
                    <a:moveTo>
                      <a:pt x="627" y="192"/>
                    </a:moveTo>
                    <a:lnTo>
                      <a:pt x="627" y="194"/>
                    </a:lnTo>
                    <a:lnTo>
                      <a:pt x="627" y="192"/>
                    </a:lnTo>
                    <a:close/>
                    <a:moveTo>
                      <a:pt x="644" y="143"/>
                    </a:moveTo>
                    <a:lnTo>
                      <a:pt x="646" y="143"/>
                    </a:lnTo>
                    <a:lnTo>
                      <a:pt x="644" y="143"/>
                    </a:lnTo>
                    <a:close/>
                    <a:moveTo>
                      <a:pt x="429" y="177"/>
                    </a:moveTo>
                    <a:lnTo>
                      <a:pt x="431" y="177"/>
                    </a:lnTo>
                    <a:lnTo>
                      <a:pt x="431" y="179"/>
                    </a:lnTo>
                    <a:lnTo>
                      <a:pt x="429" y="179"/>
                    </a:lnTo>
                    <a:lnTo>
                      <a:pt x="429" y="177"/>
                    </a:lnTo>
                    <a:close/>
                    <a:moveTo>
                      <a:pt x="675" y="173"/>
                    </a:moveTo>
                    <a:lnTo>
                      <a:pt x="677" y="173"/>
                    </a:lnTo>
                    <a:lnTo>
                      <a:pt x="675" y="173"/>
                    </a:lnTo>
                    <a:close/>
                    <a:moveTo>
                      <a:pt x="150" y="91"/>
                    </a:moveTo>
                    <a:lnTo>
                      <a:pt x="152" y="91"/>
                    </a:lnTo>
                    <a:lnTo>
                      <a:pt x="152" y="93"/>
                    </a:lnTo>
                    <a:lnTo>
                      <a:pt x="150" y="93"/>
                    </a:lnTo>
                    <a:lnTo>
                      <a:pt x="150" y="91"/>
                    </a:lnTo>
                    <a:close/>
                    <a:moveTo>
                      <a:pt x="383" y="202"/>
                    </a:moveTo>
                    <a:lnTo>
                      <a:pt x="385" y="202"/>
                    </a:lnTo>
                    <a:lnTo>
                      <a:pt x="383" y="202"/>
                    </a:lnTo>
                    <a:close/>
                    <a:moveTo>
                      <a:pt x="454" y="116"/>
                    </a:moveTo>
                    <a:lnTo>
                      <a:pt x="454" y="118"/>
                    </a:lnTo>
                    <a:lnTo>
                      <a:pt x="454" y="116"/>
                    </a:lnTo>
                    <a:close/>
                    <a:moveTo>
                      <a:pt x="396" y="227"/>
                    </a:moveTo>
                    <a:lnTo>
                      <a:pt x="398" y="227"/>
                    </a:lnTo>
                    <a:lnTo>
                      <a:pt x="396" y="227"/>
                    </a:lnTo>
                    <a:close/>
                    <a:moveTo>
                      <a:pt x="147" y="82"/>
                    </a:moveTo>
                    <a:lnTo>
                      <a:pt x="148" y="82"/>
                    </a:lnTo>
                    <a:lnTo>
                      <a:pt x="147" y="82"/>
                    </a:lnTo>
                    <a:close/>
                    <a:moveTo>
                      <a:pt x="545" y="112"/>
                    </a:moveTo>
                    <a:lnTo>
                      <a:pt x="547" y="112"/>
                    </a:lnTo>
                    <a:lnTo>
                      <a:pt x="545" y="112"/>
                    </a:lnTo>
                    <a:close/>
                    <a:moveTo>
                      <a:pt x="572" y="112"/>
                    </a:moveTo>
                    <a:lnTo>
                      <a:pt x="574" y="112"/>
                    </a:lnTo>
                    <a:lnTo>
                      <a:pt x="572" y="112"/>
                    </a:lnTo>
                    <a:close/>
                    <a:moveTo>
                      <a:pt x="148" y="85"/>
                    </a:moveTo>
                    <a:lnTo>
                      <a:pt x="148" y="87"/>
                    </a:lnTo>
                    <a:lnTo>
                      <a:pt x="148" y="85"/>
                    </a:lnTo>
                    <a:close/>
                    <a:moveTo>
                      <a:pt x="633" y="185"/>
                    </a:moveTo>
                    <a:lnTo>
                      <a:pt x="633" y="187"/>
                    </a:lnTo>
                    <a:lnTo>
                      <a:pt x="633" y="185"/>
                    </a:lnTo>
                    <a:close/>
                    <a:moveTo>
                      <a:pt x="66" y="89"/>
                    </a:moveTo>
                    <a:lnTo>
                      <a:pt x="68" y="89"/>
                    </a:lnTo>
                    <a:lnTo>
                      <a:pt x="66" y="89"/>
                    </a:lnTo>
                    <a:close/>
                    <a:moveTo>
                      <a:pt x="560" y="97"/>
                    </a:moveTo>
                    <a:lnTo>
                      <a:pt x="562" y="97"/>
                    </a:lnTo>
                    <a:lnTo>
                      <a:pt x="560" y="97"/>
                    </a:lnTo>
                    <a:close/>
                    <a:moveTo>
                      <a:pt x="528" y="80"/>
                    </a:moveTo>
                    <a:lnTo>
                      <a:pt x="528" y="82"/>
                    </a:lnTo>
                    <a:lnTo>
                      <a:pt x="528" y="80"/>
                    </a:lnTo>
                    <a:close/>
                    <a:moveTo>
                      <a:pt x="135" y="82"/>
                    </a:moveTo>
                    <a:lnTo>
                      <a:pt x="135" y="84"/>
                    </a:lnTo>
                    <a:lnTo>
                      <a:pt x="135" y="82"/>
                    </a:lnTo>
                    <a:close/>
                    <a:moveTo>
                      <a:pt x="640" y="99"/>
                    </a:moveTo>
                    <a:lnTo>
                      <a:pt x="640" y="101"/>
                    </a:lnTo>
                    <a:lnTo>
                      <a:pt x="640" y="99"/>
                    </a:lnTo>
                    <a:close/>
                    <a:moveTo>
                      <a:pt x="425" y="99"/>
                    </a:moveTo>
                    <a:lnTo>
                      <a:pt x="427" y="99"/>
                    </a:lnTo>
                    <a:lnTo>
                      <a:pt x="427" y="101"/>
                    </a:lnTo>
                    <a:lnTo>
                      <a:pt x="425" y="101"/>
                    </a:lnTo>
                    <a:lnTo>
                      <a:pt x="425" y="99"/>
                    </a:lnTo>
                    <a:close/>
                    <a:moveTo>
                      <a:pt x="148" y="85"/>
                    </a:moveTo>
                    <a:lnTo>
                      <a:pt x="148" y="87"/>
                    </a:lnTo>
                    <a:lnTo>
                      <a:pt x="148" y="85"/>
                    </a:lnTo>
                    <a:close/>
                    <a:moveTo>
                      <a:pt x="530" y="112"/>
                    </a:moveTo>
                    <a:lnTo>
                      <a:pt x="532" y="112"/>
                    </a:lnTo>
                    <a:lnTo>
                      <a:pt x="530" y="112"/>
                    </a:lnTo>
                    <a:close/>
                    <a:moveTo>
                      <a:pt x="209" y="145"/>
                    </a:moveTo>
                    <a:lnTo>
                      <a:pt x="211" y="145"/>
                    </a:lnTo>
                    <a:lnTo>
                      <a:pt x="209" y="145"/>
                    </a:lnTo>
                    <a:close/>
                    <a:moveTo>
                      <a:pt x="576" y="110"/>
                    </a:moveTo>
                    <a:lnTo>
                      <a:pt x="576" y="112"/>
                    </a:lnTo>
                    <a:lnTo>
                      <a:pt x="576" y="110"/>
                    </a:lnTo>
                    <a:close/>
                    <a:moveTo>
                      <a:pt x="598" y="183"/>
                    </a:moveTo>
                    <a:lnTo>
                      <a:pt x="600" y="183"/>
                    </a:lnTo>
                    <a:lnTo>
                      <a:pt x="598" y="183"/>
                    </a:lnTo>
                    <a:close/>
                    <a:moveTo>
                      <a:pt x="150" y="91"/>
                    </a:moveTo>
                    <a:lnTo>
                      <a:pt x="150" y="93"/>
                    </a:lnTo>
                    <a:lnTo>
                      <a:pt x="150" y="91"/>
                    </a:lnTo>
                    <a:close/>
                    <a:moveTo>
                      <a:pt x="509" y="97"/>
                    </a:moveTo>
                    <a:lnTo>
                      <a:pt x="509" y="99"/>
                    </a:lnTo>
                    <a:lnTo>
                      <a:pt x="509" y="97"/>
                    </a:lnTo>
                    <a:close/>
                    <a:moveTo>
                      <a:pt x="148" y="85"/>
                    </a:moveTo>
                    <a:lnTo>
                      <a:pt x="150" y="85"/>
                    </a:lnTo>
                    <a:lnTo>
                      <a:pt x="148" y="85"/>
                    </a:lnTo>
                    <a:close/>
                    <a:moveTo>
                      <a:pt x="627" y="204"/>
                    </a:moveTo>
                    <a:lnTo>
                      <a:pt x="629" y="204"/>
                    </a:lnTo>
                    <a:lnTo>
                      <a:pt x="627" y="204"/>
                    </a:lnTo>
                    <a:close/>
                    <a:moveTo>
                      <a:pt x="534" y="150"/>
                    </a:moveTo>
                    <a:lnTo>
                      <a:pt x="534" y="152"/>
                    </a:lnTo>
                    <a:lnTo>
                      <a:pt x="534" y="150"/>
                    </a:lnTo>
                    <a:close/>
                    <a:moveTo>
                      <a:pt x="440" y="166"/>
                    </a:moveTo>
                    <a:lnTo>
                      <a:pt x="440" y="168"/>
                    </a:lnTo>
                    <a:lnTo>
                      <a:pt x="440" y="166"/>
                    </a:lnTo>
                    <a:close/>
                    <a:moveTo>
                      <a:pt x="173" y="43"/>
                    </a:moveTo>
                    <a:lnTo>
                      <a:pt x="173" y="45"/>
                    </a:lnTo>
                    <a:lnTo>
                      <a:pt x="173" y="43"/>
                    </a:lnTo>
                    <a:close/>
                    <a:moveTo>
                      <a:pt x="562" y="127"/>
                    </a:moveTo>
                    <a:lnTo>
                      <a:pt x="564" y="127"/>
                    </a:lnTo>
                    <a:lnTo>
                      <a:pt x="562" y="127"/>
                    </a:lnTo>
                    <a:close/>
                    <a:moveTo>
                      <a:pt x="356" y="105"/>
                    </a:moveTo>
                    <a:lnTo>
                      <a:pt x="358" y="105"/>
                    </a:lnTo>
                    <a:lnTo>
                      <a:pt x="356" y="105"/>
                    </a:lnTo>
                    <a:close/>
                    <a:moveTo>
                      <a:pt x="137" y="84"/>
                    </a:moveTo>
                    <a:lnTo>
                      <a:pt x="137" y="85"/>
                    </a:lnTo>
                    <a:lnTo>
                      <a:pt x="137" y="84"/>
                    </a:lnTo>
                    <a:close/>
                    <a:moveTo>
                      <a:pt x="101" y="63"/>
                    </a:moveTo>
                    <a:lnTo>
                      <a:pt x="101" y="64"/>
                    </a:lnTo>
                    <a:lnTo>
                      <a:pt x="101" y="63"/>
                    </a:lnTo>
                    <a:close/>
                    <a:moveTo>
                      <a:pt x="476" y="64"/>
                    </a:moveTo>
                    <a:lnTo>
                      <a:pt x="476" y="66"/>
                    </a:lnTo>
                    <a:lnTo>
                      <a:pt x="476" y="64"/>
                    </a:lnTo>
                    <a:close/>
                    <a:moveTo>
                      <a:pt x="169" y="187"/>
                    </a:moveTo>
                    <a:lnTo>
                      <a:pt x="171" y="187"/>
                    </a:lnTo>
                    <a:lnTo>
                      <a:pt x="169" y="187"/>
                    </a:lnTo>
                    <a:close/>
                    <a:moveTo>
                      <a:pt x="141" y="76"/>
                    </a:moveTo>
                    <a:lnTo>
                      <a:pt x="141" y="78"/>
                    </a:lnTo>
                    <a:lnTo>
                      <a:pt x="141" y="76"/>
                    </a:lnTo>
                    <a:close/>
                    <a:moveTo>
                      <a:pt x="532" y="84"/>
                    </a:moveTo>
                    <a:lnTo>
                      <a:pt x="534" y="84"/>
                    </a:lnTo>
                    <a:lnTo>
                      <a:pt x="532" y="84"/>
                    </a:lnTo>
                    <a:close/>
                    <a:moveTo>
                      <a:pt x="431" y="169"/>
                    </a:moveTo>
                    <a:lnTo>
                      <a:pt x="431" y="171"/>
                    </a:lnTo>
                    <a:lnTo>
                      <a:pt x="431" y="169"/>
                    </a:lnTo>
                    <a:close/>
                    <a:moveTo>
                      <a:pt x="564" y="93"/>
                    </a:moveTo>
                    <a:lnTo>
                      <a:pt x="564" y="95"/>
                    </a:lnTo>
                    <a:lnTo>
                      <a:pt x="564" y="93"/>
                    </a:lnTo>
                    <a:close/>
                    <a:moveTo>
                      <a:pt x="358" y="43"/>
                    </a:moveTo>
                    <a:lnTo>
                      <a:pt x="360" y="43"/>
                    </a:lnTo>
                    <a:lnTo>
                      <a:pt x="360" y="45"/>
                    </a:lnTo>
                    <a:lnTo>
                      <a:pt x="358" y="45"/>
                    </a:lnTo>
                    <a:lnTo>
                      <a:pt x="358" y="43"/>
                    </a:lnTo>
                    <a:close/>
                    <a:moveTo>
                      <a:pt x="469" y="118"/>
                    </a:moveTo>
                    <a:lnTo>
                      <a:pt x="469" y="120"/>
                    </a:lnTo>
                    <a:lnTo>
                      <a:pt x="469" y="118"/>
                    </a:lnTo>
                    <a:close/>
                    <a:moveTo>
                      <a:pt x="633" y="141"/>
                    </a:moveTo>
                    <a:lnTo>
                      <a:pt x="633" y="143"/>
                    </a:lnTo>
                    <a:lnTo>
                      <a:pt x="633" y="141"/>
                    </a:lnTo>
                    <a:close/>
                    <a:moveTo>
                      <a:pt x="625" y="78"/>
                    </a:moveTo>
                    <a:lnTo>
                      <a:pt x="625" y="80"/>
                    </a:lnTo>
                    <a:lnTo>
                      <a:pt x="625" y="78"/>
                    </a:lnTo>
                    <a:close/>
                    <a:moveTo>
                      <a:pt x="438" y="179"/>
                    </a:moveTo>
                    <a:lnTo>
                      <a:pt x="438" y="181"/>
                    </a:lnTo>
                    <a:lnTo>
                      <a:pt x="438" y="179"/>
                    </a:lnTo>
                    <a:close/>
                    <a:moveTo>
                      <a:pt x="616" y="131"/>
                    </a:moveTo>
                    <a:lnTo>
                      <a:pt x="618" y="131"/>
                    </a:lnTo>
                    <a:lnTo>
                      <a:pt x="616" y="131"/>
                    </a:lnTo>
                    <a:close/>
                    <a:moveTo>
                      <a:pt x="465" y="122"/>
                    </a:moveTo>
                    <a:lnTo>
                      <a:pt x="467" y="122"/>
                    </a:lnTo>
                    <a:lnTo>
                      <a:pt x="465" y="122"/>
                    </a:lnTo>
                    <a:close/>
                    <a:moveTo>
                      <a:pt x="589" y="141"/>
                    </a:moveTo>
                    <a:lnTo>
                      <a:pt x="591" y="141"/>
                    </a:lnTo>
                    <a:lnTo>
                      <a:pt x="589" y="141"/>
                    </a:lnTo>
                    <a:close/>
                    <a:moveTo>
                      <a:pt x="511" y="105"/>
                    </a:moveTo>
                    <a:lnTo>
                      <a:pt x="511" y="106"/>
                    </a:lnTo>
                    <a:lnTo>
                      <a:pt x="511" y="105"/>
                    </a:lnTo>
                    <a:close/>
                    <a:moveTo>
                      <a:pt x="86" y="145"/>
                    </a:moveTo>
                    <a:lnTo>
                      <a:pt x="87" y="145"/>
                    </a:lnTo>
                    <a:lnTo>
                      <a:pt x="86" y="145"/>
                    </a:lnTo>
                    <a:close/>
                    <a:moveTo>
                      <a:pt x="387" y="232"/>
                    </a:moveTo>
                    <a:lnTo>
                      <a:pt x="389" y="232"/>
                    </a:lnTo>
                    <a:lnTo>
                      <a:pt x="389" y="234"/>
                    </a:lnTo>
                    <a:lnTo>
                      <a:pt x="387" y="234"/>
                    </a:lnTo>
                    <a:lnTo>
                      <a:pt x="387" y="232"/>
                    </a:lnTo>
                    <a:close/>
                    <a:moveTo>
                      <a:pt x="324" y="204"/>
                    </a:moveTo>
                    <a:lnTo>
                      <a:pt x="324" y="206"/>
                    </a:lnTo>
                    <a:lnTo>
                      <a:pt x="324" y="204"/>
                    </a:lnTo>
                    <a:close/>
                    <a:moveTo>
                      <a:pt x="148" y="89"/>
                    </a:moveTo>
                    <a:lnTo>
                      <a:pt x="148" y="91"/>
                    </a:lnTo>
                    <a:lnTo>
                      <a:pt x="148" y="89"/>
                    </a:lnTo>
                    <a:close/>
                    <a:moveTo>
                      <a:pt x="179" y="42"/>
                    </a:moveTo>
                    <a:lnTo>
                      <a:pt x="179" y="43"/>
                    </a:lnTo>
                    <a:lnTo>
                      <a:pt x="179" y="42"/>
                    </a:lnTo>
                    <a:close/>
                    <a:moveTo>
                      <a:pt x="440" y="118"/>
                    </a:moveTo>
                    <a:lnTo>
                      <a:pt x="442" y="118"/>
                    </a:lnTo>
                    <a:lnTo>
                      <a:pt x="440" y="118"/>
                    </a:lnTo>
                    <a:close/>
                    <a:moveTo>
                      <a:pt x="145" y="80"/>
                    </a:moveTo>
                    <a:lnTo>
                      <a:pt x="145" y="82"/>
                    </a:lnTo>
                    <a:lnTo>
                      <a:pt x="145" y="80"/>
                    </a:lnTo>
                    <a:close/>
                    <a:moveTo>
                      <a:pt x="597" y="187"/>
                    </a:moveTo>
                    <a:lnTo>
                      <a:pt x="598" y="187"/>
                    </a:lnTo>
                    <a:lnTo>
                      <a:pt x="597" y="187"/>
                    </a:lnTo>
                    <a:close/>
                    <a:moveTo>
                      <a:pt x="553" y="120"/>
                    </a:moveTo>
                    <a:lnTo>
                      <a:pt x="553" y="122"/>
                    </a:lnTo>
                    <a:lnTo>
                      <a:pt x="553" y="120"/>
                    </a:lnTo>
                    <a:close/>
                    <a:moveTo>
                      <a:pt x="211" y="147"/>
                    </a:moveTo>
                    <a:lnTo>
                      <a:pt x="213" y="147"/>
                    </a:lnTo>
                    <a:lnTo>
                      <a:pt x="211" y="147"/>
                    </a:lnTo>
                    <a:close/>
                    <a:moveTo>
                      <a:pt x="2" y="5"/>
                    </a:moveTo>
                    <a:lnTo>
                      <a:pt x="4" y="5"/>
                    </a:lnTo>
                    <a:lnTo>
                      <a:pt x="2" y="5"/>
                    </a:lnTo>
                    <a:close/>
                    <a:moveTo>
                      <a:pt x="358" y="49"/>
                    </a:moveTo>
                    <a:lnTo>
                      <a:pt x="360" y="49"/>
                    </a:lnTo>
                    <a:lnTo>
                      <a:pt x="358" y="49"/>
                    </a:lnTo>
                    <a:close/>
                    <a:moveTo>
                      <a:pt x="148" y="91"/>
                    </a:moveTo>
                    <a:lnTo>
                      <a:pt x="150" y="91"/>
                    </a:lnTo>
                    <a:lnTo>
                      <a:pt x="148" y="91"/>
                    </a:lnTo>
                    <a:close/>
                    <a:moveTo>
                      <a:pt x="141" y="82"/>
                    </a:moveTo>
                    <a:lnTo>
                      <a:pt x="143" y="82"/>
                    </a:lnTo>
                    <a:lnTo>
                      <a:pt x="141" y="82"/>
                    </a:lnTo>
                    <a:close/>
                    <a:moveTo>
                      <a:pt x="528" y="82"/>
                    </a:moveTo>
                    <a:lnTo>
                      <a:pt x="530" y="82"/>
                    </a:lnTo>
                    <a:lnTo>
                      <a:pt x="528" y="82"/>
                    </a:lnTo>
                    <a:close/>
                    <a:moveTo>
                      <a:pt x="465" y="120"/>
                    </a:moveTo>
                    <a:lnTo>
                      <a:pt x="467" y="120"/>
                    </a:lnTo>
                    <a:lnTo>
                      <a:pt x="465" y="120"/>
                    </a:lnTo>
                    <a:close/>
                    <a:moveTo>
                      <a:pt x="412" y="196"/>
                    </a:moveTo>
                    <a:lnTo>
                      <a:pt x="414" y="196"/>
                    </a:lnTo>
                    <a:lnTo>
                      <a:pt x="414" y="198"/>
                    </a:lnTo>
                    <a:lnTo>
                      <a:pt x="412" y="198"/>
                    </a:lnTo>
                    <a:lnTo>
                      <a:pt x="412" y="196"/>
                    </a:lnTo>
                    <a:close/>
                    <a:moveTo>
                      <a:pt x="87" y="145"/>
                    </a:moveTo>
                    <a:lnTo>
                      <a:pt x="87" y="147"/>
                    </a:lnTo>
                    <a:lnTo>
                      <a:pt x="87" y="145"/>
                    </a:lnTo>
                    <a:close/>
                    <a:moveTo>
                      <a:pt x="34" y="70"/>
                    </a:moveTo>
                    <a:lnTo>
                      <a:pt x="36" y="70"/>
                    </a:lnTo>
                    <a:lnTo>
                      <a:pt x="34" y="70"/>
                    </a:lnTo>
                    <a:close/>
                    <a:moveTo>
                      <a:pt x="553" y="120"/>
                    </a:moveTo>
                    <a:lnTo>
                      <a:pt x="553" y="122"/>
                    </a:lnTo>
                    <a:lnTo>
                      <a:pt x="553" y="120"/>
                    </a:lnTo>
                    <a:close/>
                    <a:moveTo>
                      <a:pt x="663" y="171"/>
                    </a:moveTo>
                    <a:lnTo>
                      <a:pt x="665" y="171"/>
                    </a:lnTo>
                    <a:lnTo>
                      <a:pt x="663" y="171"/>
                    </a:lnTo>
                    <a:close/>
                    <a:moveTo>
                      <a:pt x="362" y="211"/>
                    </a:moveTo>
                    <a:lnTo>
                      <a:pt x="364" y="211"/>
                    </a:lnTo>
                    <a:lnTo>
                      <a:pt x="364" y="213"/>
                    </a:lnTo>
                    <a:lnTo>
                      <a:pt x="362" y="213"/>
                    </a:lnTo>
                    <a:lnTo>
                      <a:pt x="362" y="211"/>
                    </a:lnTo>
                    <a:close/>
                    <a:moveTo>
                      <a:pt x="391" y="162"/>
                    </a:moveTo>
                    <a:lnTo>
                      <a:pt x="391" y="164"/>
                    </a:lnTo>
                    <a:lnTo>
                      <a:pt x="391" y="162"/>
                    </a:lnTo>
                    <a:close/>
                    <a:moveTo>
                      <a:pt x="558" y="127"/>
                    </a:moveTo>
                    <a:lnTo>
                      <a:pt x="560" y="127"/>
                    </a:lnTo>
                    <a:lnTo>
                      <a:pt x="558" y="127"/>
                    </a:lnTo>
                    <a:close/>
                    <a:moveTo>
                      <a:pt x="562" y="127"/>
                    </a:moveTo>
                    <a:lnTo>
                      <a:pt x="564" y="127"/>
                    </a:lnTo>
                    <a:lnTo>
                      <a:pt x="562" y="127"/>
                    </a:lnTo>
                    <a:close/>
                    <a:moveTo>
                      <a:pt x="667" y="171"/>
                    </a:moveTo>
                    <a:lnTo>
                      <a:pt x="669" y="171"/>
                    </a:lnTo>
                    <a:lnTo>
                      <a:pt x="667" y="171"/>
                    </a:lnTo>
                    <a:close/>
                    <a:moveTo>
                      <a:pt x="101" y="64"/>
                    </a:moveTo>
                    <a:lnTo>
                      <a:pt x="101" y="66"/>
                    </a:lnTo>
                    <a:lnTo>
                      <a:pt x="101" y="64"/>
                    </a:lnTo>
                    <a:close/>
                    <a:moveTo>
                      <a:pt x="356" y="101"/>
                    </a:moveTo>
                    <a:lnTo>
                      <a:pt x="358" y="101"/>
                    </a:lnTo>
                    <a:lnTo>
                      <a:pt x="358" y="103"/>
                    </a:lnTo>
                    <a:lnTo>
                      <a:pt x="356" y="103"/>
                    </a:lnTo>
                    <a:lnTo>
                      <a:pt x="356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8" name="Freeform 251">
                <a:extLst>
                  <a:ext uri="{FF2B5EF4-FFF2-40B4-BE49-F238E27FC236}">
                    <a16:creationId xmlns:a16="http://schemas.microsoft.com/office/drawing/2014/main" id="{ADC663E1-DAA5-8059-E1B6-43A79E8717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01174" y="-2490658"/>
                <a:ext cx="189071" cy="228890"/>
              </a:xfrm>
              <a:custGeom>
                <a:avLst/>
                <a:gdLst>
                  <a:gd name="T0" fmla="*/ 38 w 120"/>
                  <a:gd name="T1" fmla="*/ 7 h 145"/>
                  <a:gd name="T2" fmla="*/ 44 w 120"/>
                  <a:gd name="T3" fmla="*/ 13 h 145"/>
                  <a:gd name="T4" fmla="*/ 46 w 120"/>
                  <a:gd name="T5" fmla="*/ 19 h 145"/>
                  <a:gd name="T6" fmla="*/ 46 w 120"/>
                  <a:gd name="T7" fmla="*/ 23 h 145"/>
                  <a:gd name="T8" fmla="*/ 51 w 120"/>
                  <a:gd name="T9" fmla="*/ 28 h 145"/>
                  <a:gd name="T10" fmla="*/ 59 w 120"/>
                  <a:gd name="T11" fmla="*/ 32 h 145"/>
                  <a:gd name="T12" fmla="*/ 65 w 120"/>
                  <a:gd name="T13" fmla="*/ 27 h 145"/>
                  <a:gd name="T14" fmla="*/ 70 w 120"/>
                  <a:gd name="T15" fmla="*/ 30 h 145"/>
                  <a:gd name="T16" fmla="*/ 70 w 120"/>
                  <a:gd name="T17" fmla="*/ 36 h 145"/>
                  <a:gd name="T18" fmla="*/ 76 w 120"/>
                  <a:gd name="T19" fmla="*/ 42 h 145"/>
                  <a:gd name="T20" fmla="*/ 76 w 120"/>
                  <a:gd name="T21" fmla="*/ 48 h 145"/>
                  <a:gd name="T22" fmla="*/ 67 w 120"/>
                  <a:gd name="T23" fmla="*/ 49 h 145"/>
                  <a:gd name="T24" fmla="*/ 61 w 120"/>
                  <a:gd name="T25" fmla="*/ 55 h 145"/>
                  <a:gd name="T26" fmla="*/ 68 w 120"/>
                  <a:gd name="T27" fmla="*/ 59 h 145"/>
                  <a:gd name="T28" fmla="*/ 78 w 120"/>
                  <a:gd name="T29" fmla="*/ 65 h 145"/>
                  <a:gd name="T30" fmla="*/ 80 w 120"/>
                  <a:gd name="T31" fmla="*/ 70 h 145"/>
                  <a:gd name="T32" fmla="*/ 88 w 120"/>
                  <a:gd name="T33" fmla="*/ 76 h 145"/>
                  <a:gd name="T34" fmla="*/ 91 w 120"/>
                  <a:gd name="T35" fmla="*/ 84 h 145"/>
                  <a:gd name="T36" fmla="*/ 99 w 120"/>
                  <a:gd name="T37" fmla="*/ 91 h 145"/>
                  <a:gd name="T38" fmla="*/ 103 w 120"/>
                  <a:gd name="T39" fmla="*/ 99 h 145"/>
                  <a:gd name="T40" fmla="*/ 109 w 120"/>
                  <a:gd name="T41" fmla="*/ 101 h 145"/>
                  <a:gd name="T42" fmla="*/ 112 w 120"/>
                  <a:gd name="T43" fmla="*/ 109 h 145"/>
                  <a:gd name="T44" fmla="*/ 114 w 120"/>
                  <a:gd name="T45" fmla="*/ 112 h 145"/>
                  <a:gd name="T46" fmla="*/ 118 w 120"/>
                  <a:gd name="T47" fmla="*/ 120 h 145"/>
                  <a:gd name="T48" fmla="*/ 118 w 120"/>
                  <a:gd name="T49" fmla="*/ 128 h 145"/>
                  <a:gd name="T50" fmla="*/ 118 w 120"/>
                  <a:gd name="T51" fmla="*/ 133 h 145"/>
                  <a:gd name="T52" fmla="*/ 112 w 120"/>
                  <a:gd name="T53" fmla="*/ 135 h 145"/>
                  <a:gd name="T54" fmla="*/ 109 w 120"/>
                  <a:gd name="T55" fmla="*/ 139 h 145"/>
                  <a:gd name="T56" fmla="*/ 103 w 120"/>
                  <a:gd name="T57" fmla="*/ 133 h 145"/>
                  <a:gd name="T58" fmla="*/ 97 w 120"/>
                  <a:gd name="T59" fmla="*/ 137 h 145"/>
                  <a:gd name="T60" fmla="*/ 95 w 120"/>
                  <a:gd name="T61" fmla="*/ 143 h 145"/>
                  <a:gd name="T62" fmla="*/ 86 w 120"/>
                  <a:gd name="T63" fmla="*/ 141 h 145"/>
                  <a:gd name="T64" fmla="*/ 86 w 120"/>
                  <a:gd name="T65" fmla="*/ 137 h 145"/>
                  <a:gd name="T66" fmla="*/ 88 w 120"/>
                  <a:gd name="T67" fmla="*/ 130 h 145"/>
                  <a:gd name="T68" fmla="*/ 86 w 120"/>
                  <a:gd name="T69" fmla="*/ 122 h 145"/>
                  <a:gd name="T70" fmla="*/ 86 w 120"/>
                  <a:gd name="T71" fmla="*/ 114 h 145"/>
                  <a:gd name="T72" fmla="*/ 80 w 120"/>
                  <a:gd name="T73" fmla="*/ 109 h 145"/>
                  <a:gd name="T74" fmla="*/ 74 w 120"/>
                  <a:gd name="T75" fmla="*/ 99 h 145"/>
                  <a:gd name="T76" fmla="*/ 76 w 120"/>
                  <a:gd name="T77" fmla="*/ 88 h 145"/>
                  <a:gd name="T78" fmla="*/ 65 w 120"/>
                  <a:gd name="T79" fmla="*/ 76 h 145"/>
                  <a:gd name="T80" fmla="*/ 57 w 120"/>
                  <a:gd name="T81" fmla="*/ 70 h 145"/>
                  <a:gd name="T82" fmla="*/ 47 w 120"/>
                  <a:gd name="T83" fmla="*/ 74 h 145"/>
                  <a:gd name="T84" fmla="*/ 42 w 120"/>
                  <a:gd name="T85" fmla="*/ 80 h 145"/>
                  <a:gd name="T86" fmla="*/ 32 w 120"/>
                  <a:gd name="T87" fmla="*/ 74 h 145"/>
                  <a:gd name="T88" fmla="*/ 25 w 120"/>
                  <a:gd name="T89" fmla="*/ 78 h 145"/>
                  <a:gd name="T90" fmla="*/ 21 w 120"/>
                  <a:gd name="T91" fmla="*/ 82 h 145"/>
                  <a:gd name="T92" fmla="*/ 15 w 120"/>
                  <a:gd name="T93" fmla="*/ 84 h 145"/>
                  <a:gd name="T94" fmla="*/ 17 w 120"/>
                  <a:gd name="T95" fmla="*/ 74 h 145"/>
                  <a:gd name="T96" fmla="*/ 19 w 120"/>
                  <a:gd name="T97" fmla="*/ 67 h 145"/>
                  <a:gd name="T98" fmla="*/ 19 w 120"/>
                  <a:gd name="T99" fmla="*/ 59 h 145"/>
                  <a:gd name="T100" fmla="*/ 19 w 120"/>
                  <a:gd name="T101" fmla="*/ 49 h 145"/>
                  <a:gd name="T102" fmla="*/ 9 w 120"/>
                  <a:gd name="T103" fmla="*/ 51 h 145"/>
                  <a:gd name="T104" fmla="*/ 7 w 120"/>
                  <a:gd name="T105" fmla="*/ 40 h 145"/>
                  <a:gd name="T106" fmla="*/ 2 w 120"/>
                  <a:gd name="T107" fmla="*/ 40 h 145"/>
                  <a:gd name="T108" fmla="*/ 4 w 120"/>
                  <a:gd name="T109" fmla="*/ 30 h 145"/>
                  <a:gd name="T110" fmla="*/ 7 w 120"/>
                  <a:gd name="T111" fmla="*/ 27 h 145"/>
                  <a:gd name="T112" fmla="*/ 15 w 120"/>
                  <a:gd name="T113" fmla="*/ 19 h 145"/>
                  <a:gd name="T114" fmla="*/ 19 w 120"/>
                  <a:gd name="T115" fmla="*/ 21 h 145"/>
                  <a:gd name="T116" fmla="*/ 27 w 120"/>
                  <a:gd name="T117" fmla="*/ 25 h 145"/>
                  <a:gd name="T118" fmla="*/ 28 w 120"/>
                  <a:gd name="T119" fmla="*/ 17 h 145"/>
                  <a:gd name="T120" fmla="*/ 25 w 120"/>
                  <a:gd name="T121" fmla="*/ 9 h 145"/>
                  <a:gd name="T122" fmla="*/ 27 w 120"/>
                  <a:gd name="T123" fmla="*/ 2 h 145"/>
                  <a:gd name="T124" fmla="*/ 32 w 120"/>
                  <a:gd name="T125" fmla="*/ 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0" h="145">
                    <a:moveTo>
                      <a:pt x="32" y="2"/>
                    </a:moveTo>
                    <a:lnTo>
                      <a:pt x="34" y="4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38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2" y="13"/>
                    </a:lnTo>
                    <a:lnTo>
                      <a:pt x="42" y="15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15"/>
                    </a:lnTo>
                    <a:lnTo>
                      <a:pt x="46" y="13"/>
                    </a:lnTo>
                    <a:lnTo>
                      <a:pt x="46" y="15"/>
                    </a:lnTo>
                    <a:lnTo>
                      <a:pt x="46" y="17"/>
                    </a:lnTo>
                    <a:lnTo>
                      <a:pt x="46" y="19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21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7" y="25"/>
                    </a:lnTo>
                    <a:lnTo>
                      <a:pt x="47" y="28"/>
                    </a:lnTo>
                    <a:lnTo>
                      <a:pt x="49" y="28"/>
                    </a:lnTo>
                    <a:lnTo>
                      <a:pt x="51" y="30"/>
                    </a:lnTo>
                    <a:lnTo>
                      <a:pt x="51" y="28"/>
                    </a:lnTo>
                    <a:lnTo>
                      <a:pt x="51" y="30"/>
                    </a:lnTo>
                    <a:lnTo>
                      <a:pt x="53" y="30"/>
                    </a:lnTo>
                    <a:lnTo>
                      <a:pt x="55" y="30"/>
                    </a:lnTo>
                    <a:lnTo>
                      <a:pt x="57" y="30"/>
                    </a:lnTo>
                    <a:lnTo>
                      <a:pt x="57" y="32"/>
                    </a:lnTo>
                    <a:lnTo>
                      <a:pt x="59" y="32"/>
                    </a:lnTo>
                    <a:lnTo>
                      <a:pt x="59" y="30"/>
                    </a:lnTo>
                    <a:lnTo>
                      <a:pt x="59" y="28"/>
                    </a:lnTo>
                    <a:lnTo>
                      <a:pt x="61" y="28"/>
                    </a:lnTo>
                    <a:lnTo>
                      <a:pt x="63" y="28"/>
                    </a:lnTo>
                    <a:lnTo>
                      <a:pt x="63" y="27"/>
                    </a:lnTo>
                    <a:lnTo>
                      <a:pt x="65" y="27"/>
                    </a:lnTo>
                    <a:lnTo>
                      <a:pt x="67" y="28"/>
                    </a:lnTo>
                    <a:lnTo>
                      <a:pt x="68" y="28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2"/>
                    </a:lnTo>
                    <a:lnTo>
                      <a:pt x="70" y="30"/>
                    </a:lnTo>
                    <a:lnTo>
                      <a:pt x="72" y="32"/>
                    </a:lnTo>
                    <a:lnTo>
                      <a:pt x="70" y="34"/>
                    </a:lnTo>
                    <a:lnTo>
                      <a:pt x="68" y="36"/>
                    </a:lnTo>
                    <a:lnTo>
                      <a:pt x="68" y="38"/>
                    </a:lnTo>
                    <a:lnTo>
                      <a:pt x="70" y="38"/>
                    </a:lnTo>
                    <a:lnTo>
                      <a:pt x="70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2" y="40"/>
                    </a:lnTo>
                    <a:lnTo>
                      <a:pt x="74" y="40"/>
                    </a:lnTo>
                    <a:lnTo>
                      <a:pt x="76" y="42"/>
                    </a:lnTo>
                    <a:lnTo>
                      <a:pt x="78" y="40"/>
                    </a:lnTo>
                    <a:lnTo>
                      <a:pt x="78" y="42"/>
                    </a:lnTo>
                    <a:lnTo>
                      <a:pt x="78" y="44"/>
                    </a:lnTo>
                    <a:lnTo>
                      <a:pt x="76" y="44"/>
                    </a:lnTo>
                    <a:lnTo>
                      <a:pt x="76" y="46"/>
                    </a:lnTo>
                    <a:lnTo>
                      <a:pt x="76" y="48"/>
                    </a:lnTo>
                    <a:lnTo>
                      <a:pt x="74" y="48"/>
                    </a:lnTo>
                    <a:lnTo>
                      <a:pt x="72" y="49"/>
                    </a:lnTo>
                    <a:lnTo>
                      <a:pt x="70" y="49"/>
                    </a:lnTo>
                    <a:lnTo>
                      <a:pt x="68" y="48"/>
                    </a:lnTo>
                    <a:lnTo>
                      <a:pt x="68" y="49"/>
                    </a:lnTo>
                    <a:lnTo>
                      <a:pt x="67" y="49"/>
                    </a:lnTo>
                    <a:lnTo>
                      <a:pt x="67" y="48"/>
                    </a:lnTo>
                    <a:lnTo>
                      <a:pt x="65" y="49"/>
                    </a:lnTo>
                    <a:lnTo>
                      <a:pt x="63" y="49"/>
                    </a:lnTo>
                    <a:lnTo>
                      <a:pt x="65" y="51"/>
                    </a:lnTo>
                    <a:lnTo>
                      <a:pt x="63" y="53"/>
                    </a:lnTo>
                    <a:lnTo>
                      <a:pt x="61" y="55"/>
                    </a:lnTo>
                    <a:lnTo>
                      <a:pt x="63" y="55"/>
                    </a:lnTo>
                    <a:lnTo>
                      <a:pt x="63" y="57"/>
                    </a:lnTo>
                    <a:lnTo>
                      <a:pt x="65" y="57"/>
                    </a:lnTo>
                    <a:lnTo>
                      <a:pt x="67" y="57"/>
                    </a:lnTo>
                    <a:lnTo>
                      <a:pt x="67" y="59"/>
                    </a:lnTo>
                    <a:lnTo>
                      <a:pt x="68" y="59"/>
                    </a:lnTo>
                    <a:lnTo>
                      <a:pt x="70" y="61"/>
                    </a:lnTo>
                    <a:lnTo>
                      <a:pt x="72" y="63"/>
                    </a:lnTo>
                    <a:lnTo>
                      <a:pt x="74" y="63"/>
                    </a:lnTo>
                    <a:lnTo>
                      <a:pt x="74" y="65"/>
                    </a:lnTo>
                    <a:lnTo>
                      <a:pt x="76" y="65"/>
                    </a:lnTo>
                    <a:lnTo>
                      <a:pt x="78" y="65"/>
                    </a:lnTo>
                    <a:lnTo>
                      <a:pt x="80" y="65"/>
                    </a:lnTo>
                    <a:lnTo>
                      <a:pt x="80" y="67"/>
                    </a:lnTo>
                    <a:lnTo>
                      <a:pt x="82" y="67"/>
                    </a:lnTo>
                    <a:lnTo>
                      <a:pt x="80" y="67"/>
                    </a:lnTo>
                    <a:lnTo>
                      <a:pt x="80" y="69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2" y="72"/>
                    </a:lnTo>
                    <a:lnTo>
                      <a:pt x="84" y="72"/>
                    </a:lnTo>
                    <a:lnTo>
                      <a:pt x="84" y="74"/>
                    </a:lnTo>
                    <a:lnTo>
                      <a:pt x="86" y="74"/>
                    </a:lnTo>
                    <a:lnTo>
                      <a:pt x="88" y="76"/>
                    </a:lnTo>
                    <a:lnTo>
                      <a:pt x="89" y="78"/>
                    </a:lnTo>
                    <a:lnTo>
                      <a:pt x="88" y="78"/>
                    </a:lnTo>
                    <a:lnTo>
                      <a:pt x="89" y="80"/>
                    </a:lnTo>
                    <a:lnTo>
                      <a:pt x="89" y="82"/>
                    </a:lnTo>
                    <a:lnTo>
                      <a:pt x="91" y="82"/>
                    </a:lnTo>
                    <a:lnTo>
                      <a:pt x="91" y="84"/>
                    </a:lnTo>
                    <a:lnTo>
                      <a:pt x="95" y="88"/>
                    </a:lnTo>
                    <a:lnTo>
                      <a:pt x="97" y="90"/>
                    </a:lnTo>
                    <a:lnTo>
                      <a:pt x="99" y="90"/>
                    </a:lnTo>
                    <a:lnTo>
                      <a:pt x="99" y="91"/>
                    </a:lnTo>
                    <a:lnTo>
                      <a:pt x="101" y="91"/>
                    </a:lnTo>
                    <a:lnTo>
                      <a:pt x="99" y="91"/>
                    </a:lnTo>
                    <a:lnTo>
                      <a:pt x="101" y="91"/>
                    </a:lnTo>
                    <a:lnTo>
                      <a:pt x="101" y="93"/>
                    </a:lnTo>
                    <a:lnTo>
                      <a:pt x="103" y="95"/>
                    </a:lnTo>
                    <a:lnTo>
                      <a:pt x="103" y="93"/>
                    </a:lnTo>
                    <a:lnTo>
                      <a:pt x="103" y="95"/>
                    </a:lnTo>
                    <a:lnTo>
                      <a:pt x="103" y="99"/>
                    </a:lnTo>
                    <a:lnTo>
                      <a:pt x="103" y="101"/>
                    </a:lnTo>
                    <a:lnTo>
                      <a:pt x="105" y="101"/>
                    </a:lnTo>
                    <a:lnTo>
                      <a:pt x="105" y="103"/>
                    </a:lnTo>
                    <a:lnTo>
                      <a:pt x="107" y="103"/>
                    </a:lnTo>
                    <a:lnTo>
                      <a:pt x="107" y="101"/>
                    </a:lnTo>
                    <a:lnTo>
                      <a:pt x="109" y="101"/>
                    </a:lnTo>
                    <a:lnTo>
                      <a:pt x="109" y="103"/>
                    </a:lnTo>
                    <a:lnTo>
                      <a:pt x="109" y="105"/>
                    </a:lnTo>
                    <a:lnTo>
                      <a:pt x="110" y="105"/>
                    </a:lnTo>
                    <a:lnTo>
                      <a:pt x="112" y="105"/>
                    </a:lnTo>
                    <a:lnTo>
                      <a:pt x="112" y="107"/>
                    </a:lnTo>
                    <a:lnTo>
                      <a:pt x="112" y="109"/>
                    </a:lnTo>
                    <a:lnTo>
                      <a:pt x="114" y="109"/>
                    </a:lnTo>
                    <a:lnTo>
                      <a:pt x="116" y="109"/>
                    </a:lnTo>
                    <a:lnTo>
                      <a:pt x="118" y="109"/>
                    </a:lnTo>
                    <a:lnTo>
                      <a:pt x="118" y="111"/>
                    </a:lnTo>
                    <a:lnTo>
                      <a:pt x="116" y="112"/>
                    </a:lnTo>
                    <a:lnTo>
                      <a:pt x="114" y="112"/>
                    </a:lnTo>
                    <a:lnTo>
                      <a:pt x="114" y="114"/>
                    </a:lnTo>
                    <a:lnTo>
                      <a:pt x="114" y="116"/>
                    </a:lnTo>
                    <a:lnTo>
                      <a:pt x="116" y="116"/>
                    </a:lnTo>
                    <a:lnTo>
                      <a:pt x="116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20" y="120"/>
                    </a:lnTo>
                    <a:lnTo>
                      <a:pt x="120" y="122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18" y="126"/>
                    </a:lnTo>
                    <a:lnTo>
                      <a:pt x="118" y="128"/>
                    </a:lnTo>
                    <a:lnTo>
                      <a:pt x="120" y="130"/>
                    </a:lnTo>
                    <a:lnTo>
                      <a:pt x="118" y="130"/>
                    </a:lnTo>
                    <a:lnTo>
                      <a:pt x="118" y="131"/>
                    </a:lnTo>
                    <a:lnTo>
                      <a:pt x="120" y="131"/>
                    </a:lnTo>
                    <a:lnTo>
                      <a:pt x="118" y="131"/>
                    </a:lnTo>
                    <a:lnTo>
                      <a:pt x="118" y="133"/>
                    </a:lnTo>
                    <a:lnTo>
                      <a:pt x="118" y="135"/>
                    </a:lnTo>
                    <a:lnTo>
                      <a:pt x="116" y="135"/>
                    </a:lnTo>
                    <a:lnTo>
                      <a:pt x="116" y="133"/>
                    </a:lnTo>
                    <a:lnTo>
                      <a:pt x="114" y="133"/>
                    </a:lnTo>
                    <a:lnTo>
                      <a:pt x="114" y="135"/>
                    </a:lnTo>
                    <a:lnTo>
                      <a:pt x="112" y="135"/>
                    </a:lnTo>
                    <a:lnTo>
                      <a:pt x="112" y="137"/>
                    </a:lnTo>
                    <a:lnTo>
                      <a:pt x="110" y="135"/>
                    </a:lnTo>
                    <a:lnTo>
                      <a:pt x="110" y="137"/>
                    </a:lnTo>
                    <a:lnTo>
                      <a:pt x="110" y="139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5" y="135"/>
                    </a:lnTo>
                    <a:lnTo>
                      <a:pt x="103" y="135"/>
                    </a:lnTo>
                    <a:lnTo>
                      <a:pt x="103" y="133"/>
                    </a:lnTo>
                    <a:lnTo>
                      <a:pt x="101" y="133"/>
                    </a:lnTo>
                    <a:lnTo>
                      <a:pt x="101" y="135"/>
                    </a:lnTo>
                    <a:lnTo>
                      <a:pt x="103" y="135"/>
                    </a:lnTo>
                    <a:lnTo>
                      <a:pt x="101" y="135"/>
                    </a:lnTo>
                    <a:lnTo>
                      <a:pt x="99" y="135"/>
                    </a:lnTo>
                    <a:lnTo>
                      <a:pt x="97" y="137"/>
                    </a:lnTo>
                    <a:lnTo>
                      <a:pt x="95" y="137"/>
                    </a:lnTo>
                    <a:lnTo>
                      <a:pt x="95" y="139"/>
                    </a:lnTo>
                    <a:lnTo>
                      <a:pt x="95" y="141"/>
                    </a:lnTo>
                    <a:lnTo>
                      <a:pt x="97" y="141"/>
                    </a:lnTo>
                    <a:lnTo>
                      <a:pt x="97" y="143"/>
                    </a:lnTo>
                    <a:lnTo>
                      <a:pt x="95" y="143"/>
                    </a:lnTo>
                    <a:lnTo>
                      <a:pt x="95" y="145"/>
                    </a:lnTo>
                    <a:lnTo>
                      <a:pt x="93" y="145"/>
                    </a:lnTo>
                    <a:lnTo>
                      <a:pt x="91" y="143"/>
                    </a:lnTo>
                    <a:lnTo>
                      <a:pt x="89" y="141"/>
                    </a:lnTo>
                    <a:lnTo>
                      <a:pt x="88" y="141"/>
                    </a:lnTo>
                    <a:lnTo>
                      <a:pt x="86" y="141"/>
                    </a:lnTo>
                    <a:lnTo>
                      <a:pt x="84" y="141"/>
                    </a:lnTo>
                    <a:lnTo>
                      <a:pt x="82" y="141"/>
                    </a:lnTo>
                    <a:lnTo>
                      <a:pt x="82" y="139"/>
                    </a:lnTo>
                    <a:lnTo>
                      <a:pt x="82" y="137"/>
                    </a:lnTo>
                    <a:lnTo>
                      <a:pt x="84" y="137"/>
                    </a:lnTo>
                    <a:lnTo>
                      <a:pt x="86" y="137"/>
                    </a:lnTo>
                    <a:lnTo>
                      <a:pt x="86" y="135"/>
                    </a:lnTo>
                    <a:lnTo>
                      <a:pt x="88" y="133"/>
                    </a:lnTo>
                    <a:lnTo>
                      <a:pt x="88" y="131"/>
                    </a:lnTo>
                    <a:lnTo>
                      <a:pt x="86" y="131"/>
                    </a:lnTo>
                    <a:lnTo>
                      <a:pt x="86" y="130"/>
                    </a:lnTo>
                    <a:lnTo>
                      <a:pt x="88" y="130"/>
                    </a:lnTo>
                    <a:lnTo>
                      <a:pt x="88" y="128"/>
                    </a:lnTo>
                    <a:lnTo>
                      <a:pt x="88" y="126"/>
                    </a:lnTo>
                    <a:lnTo>
                      <a:pt x="86" y="126"/>
                    </a:lnTo>
                    <a:lnTo>
                      <a:pt x="86" y="124"/>
                    </a:lnTo>
                    <a:lnTo>
                      <a:pt x="88" y="122"/>
                    </a:lnTo>
                    <a:lnTo>
                      <a:pt x="86" y="122"/>
                    </a:lnTo>
                    <a:lnTo>
                      <a:pt x="86" y="120"/>
                    </a:lnTo>
                    <a:lnTo>
                      <a:pt x="88" y="120"/>
                    </a:lnTo>
                    <a:lnTo>
                      <a:pt x="88" y="118"/>
                    </a:lnTo>
                    <a:lnTo>
                      <a:pt x="88" y="116"/>
                    </a:lnTo>
                    <a:lnTo>
                      <a:pt x="88" y="114"/>
                    </a:lnTo>
                    <a:lnTo>
                      <a:pt x="86" y="114"/>
                    </a:lnTo>
                    <a:lnTo>
                      <a:pt x="84" y="114"/>
                    </a:lnTo>
                    <a:lnTo>
                      <a:pt x="84" y="112"/>
                    </a:lnTo>
                    <a:lnTo>
                      <a:pt x="84" y="111"/>
                    </a:lnTo>
                    <a:lnTo>
                      <a:pt x="86" y="111"/>
                    </a:lnTo>
                    <a:lnTo>
                      <a:pt x="82" y="111"/>
                    </a:lnTo>
                    <a:lnTo>
                      <a:pt x="80" y="109"/>
                    </a:lnTo>
                    <a:lnTo>
                      <a:pt x="78" y="107"/>
                    </a:lnTo>
                    <a:lnTo>
                      <a:pt x="78" y="105"/>
                    </a:lnTo>
                    <a:lnTo>
                      <a:pt x="76" y="105"/>
                    </a:lnTo>
                    <a:lnTo>
                      <a:pt x="76" y="103"/>
                    </a:lnTo>
                    <a:lnTo>
                      <a:pt x="74" y="101"/>
                    </a:lnTo>
                    <a:lnTo>
                      <a:pt x="74" y="99"/>
                    </a:lnTo>
                    <a:lnTo>
                      <a:pt x="74" y="97"/>
                    </a:lnTo>
                    <a:lnTo>
                      <a:pt x="74" y="95"/>
                    </a:lnTo>
                    <a:lnTo>
                      <a:pt x="74" y="93"/>
                    </a:lnTo>
                    <a:lnTo>
                      <a:pt x="76" y="91"/>
                    </a:lnTo>
                    <a:lnTo>
                      <a:pt x="76" y="90"/>
                    </a:lnTo>
                    <a:lnTo>
                      <a:pt x="76" y="88"/>
                    </a:lnTo>
                    <a:lnTo>
                      <a:pt x="74" y="86"/>
                    </a:lnTo>
                    <a:lnTo>
                      <a:pt x="70" y="84"/>
                    </a:lnTo>
                    <a:lnTo>
                      <a:pt x="68" y="80"/>
                    </a:lnTo>
                    <a:lnTo>
                      <a:pt x="67" y="80"/>
                    </a:lnTo>
                    <a:lnTo>
                      <a:pt x="67" y="78"/>
                    </a:lnTo>
                    <a:lnTo>
                      <a:pt x="65" y="76"/>
                    </a:lnTo>
                    <a:lnTo>
                      <a:pt x="63" y="74"/>
                    </a:lnTo>
                    <a:lnTo>
                      <a:pt x="63" y="72"/>
                    </a:lnTo>
                    <a:lnTo>
                      <a:pt x="61" y="72"/>
                    </a:lnTo>
                    <a:lnTo>
                      <a:pt x="59" y="72"/>
                    </a:lnTo>
                    <a:lnTo>
                      <a:pt x="57" y="72"/>
                    </a:lnTo>
                    <a:lnTo>
                      <a:pt x="57" y="70"/>
                    </a:lnTo>
                    <a:lnTo>
                      <a:pt x="53" y="70"/>
                    </a:lnTo>
                    <a:lnTo>
                      <a:pt x="51" y="70"/>
                    </a:lnTo>
                    <a:lnTo>
                      <a:pt x="51" y="72"/>
                    </a:lnTo>
                    <a:lnTo>
                      <a:pt x="49" y="72"/>
                    </a:lnTo>
                    <a:lnTo>
                      <a:pt x="49" y="74"/>
                    </a:lnTo>
                    <a:lnTo>
                      <a:pt x="47" y="74"/>
                    </a:lnTo>
                    <a:lnTo>
                      <a:pt x="47" y="76"/>
                    </a:lnTo>
                    <a:lnTo>
                      <a:pt x="47" y="78"/>
                    </a:lnTo>
                    <a:lnTo>
                      <a:pt x="46" y="76"/>
                    </a:lnTo>
                    <a:lnTo>
                      <a:pt x="44" y="78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0" y="80"/>
                    </a:lnTo>
                    <a:lnTo>
                      <a:pt x="40" y="78"/>
                    </a:lnTo>
                    <a:lnTo>
                      <a:pt x="38" y="78"/>
                    </a:lnTo>
                    <a:lnTo>
                      <a:pt x="36" y="76"/>
                    </a:lnTo>
                    <a:lnTo>
                      <a:pt x="34" y="74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6"/>
                    </a:lnTo>
                    <a:lnTo>
                      <a:pt x="28" y="76"/>
                    </a:lnTo>
                    <a:lnTo>
                      <a:pt x="27" y="76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5" y="80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80"/>
                    </a:lnTo>
                    <a:lnTo>
                      <a:pt x="23" y="82"/>
                    </a:lnTo>
                    <a:lnTo>
                      <a:pt x="21" y="82"/>
                    </a:lnTo>
                    <a:lnTo>
                      <a:pt x="21" y="84"/>
                    </a:lnTo>
                    <a:lnTo>
                      <a:pt x="19" y="84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7" y="76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7" y="70"/>
                    </a:lnTo>
                    <a:lnTo>
                      <a:pt x="15" y="70"/>
                    </a:lnTo>
                    <a:lnTo>
                      <a:pt x="17" y="69"/>
                    </a:lnTo>
                    <a:lnTo>
                      <a:pt x="17" y="67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21" y="61"/>
                    </a:lnTo>
                    <a:lnTo>
                      <a:pt x="21" y="59"/>
                    </a:lnTo>
                    <a:lnTo>
                      <a:pt x="19" y="59"/>
                    </a:lnTo>
                    <a:lnTo>
                      <a:pt x="19" y="57"/>
                    </a:lnTo>
                    <a:lnTo>
                      <a:pt x="19" y="55"/>
                    </a:lnTo>
                    <a:lnTo>
                      <a:pt x="17" y="53"/>
                    </a:lnTo>
                    <a:lnTo>
                      <a:pt x="19" y="53"/>
                    </a:lnTo>
                    <a:lnTo>
                      <a:pt x="19" y="51"/>
                    </a:lnTo>
                    <a:lnTo>
                      <a:pt x="19" y="49"/>
                    </a:lnTo>
                    <a:lnTo>
                      <a:pt x="17" y="51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51"/>
                    </a:lnTo>
                    <a:lnTo>
                      <a:pt x="11" y="51"/>
                    </a:lnTo>
                    <a:lnTo>
                      <a:pt x="9" y="51"/>
                    </a:lnTo>
                    <a:lnTo>
                      <a:pt x="7" y="51"/>
                    </a:lnTo>
                    <a:lnTo>
                      <a:pt x="6" y="49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7" y="46"/>
                    </a:lnTo>
                    <a:lnTo>
                      <a:pt x="7" y="40"/>
                    </a:lnTo>
                    <a:lnTo>
                      <a:pt x="7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2" y="32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7" y="30"/>
                    </a:lnTo>
                    <a:lnTo>
                      <a:pt x="9" y="28"/>
                    </a:lnTo>
                    <a:lnTo>
                      <a:pt x="7" y="28"/>
                    </a:lnTo>
                    <a:lnTo>
                      <a:pt x="7" y="27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9" y="17"/>
                    </a:lnTo>
                    <a:lnTo>
                      <a:pt x="17" y="19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8" y="23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7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27" y="15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5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7" y="0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9" name="Freeform 253">
                <a:extLst>
                  <a:ext uri="{FF2B5EF4-FFF2-40B4-BE49-F238E27FC236}">
                    <a16:creationId xmlns:a16="http://schemas.microsoft.com/office/drawing/2014/main" id="{29A03F56-7C9D-1CB2-CF81-0EDE02A52F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7775" y="-1373051"/>
                <a:ext cx="14180" cy="14208"/>
              </a:xfrm>
              <a:custGeom>
                <a:avLst/>
                <a:gdLst>
                  <a:gd name="T0" fmla="*/ 3 w 9"/>
                  <a:gd name="T1" fmla="*/ 0 h 9"/>
                  <a:gd name="T2" fmla="*/ 5 w 9"/>
                  <a:gd name="T3" fmla="*/ 0 h 9"/>
                  <a:gd name="T4" fmla="*/ 7 w 9"/>
                  <a:gd name="T5" fmla="*/ 2 h 9"/>
                  <a:gd name="T6" fmla="*/ 7 w 9"/>
                  <a:gd name="T7" fmla="*/ 4 h 9"/>
                  <a:gd name="T8" fmla="*/ 9 w 9"/>
                  <a:gd name="T9" fmla="*/ 4 h 9"/>
                  <a:gd name="T10" fmla="*/ 9 w 9"/>
                  <a:gd name="T11" fmla="*/ 5 h 9"/>
                  <a:gd name="T12" fmla="*/ 9 w 9"/>
                  <a:gd name="T13" fmla="*/ 7 h 9"/>
                  <a:gd name="T14" fmla="*/ 9 w 9"/>
                  <a:gd name="T15" fmla="*/ 9 h 9"/>
                  <a:gd name="T16" fmla="*/ 7 w 9"/>
                  <a:gd name="T17" fmla="*/ 9 h 9"/>
                  <a:gd name="T18" fmla="*/ 5 w 9"/>
                  <a:gd name="T19" fmla="*/ 9 h 9"/>
                  <a:gd name="T20" fmla="*/ 3 w 9"/>
                  <a:gd name="T21" fmla="*/ 7 h 9"/>
                  <a:gd name="T22" fmla="*/ 2 w 9"/>
                  <a:gd name="T23" fmla="*/ 7 h 9"/>
                  <a:gd name="T24" fmla="*/ 2 w 9"/>
                  <a:gd name="T25" fmla="*/ 5 h 9"/>
                  <a:gd name="T26" fmla="*/ 0 w 9"/>
                  <a:gd name="T27" fmla="*/ 4 h 9"/>
                  <a:gd name="T28" fmla="*/ 2 w 9"/>
                  <a:gd name="T29" fmla="*/ 2 h 9"/>
                  <a:gd name="T30" fmla="*/ 2 w 9"/>
                  <a:gd name="T31" fmla="*/ 0 h 9"/>
                  <a:gd name="T32" fmla="*/ 3 w 9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9">
                    <a:moveTo>
                      <a:pt x="3" y="0"/>
                    </a:moveTo>
                    <a:lnTo>
                      <a:pt x="5" y="0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9" y="5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0" name="Freeform 254">
                <a:extLst>
                  <a:ext uri="{FF2B5EF4-FFF2-40B4-BE49-F238E27FC236}">
                    <a16:creationId xmlns:a16="http://schemas.microsoft.com/office/drawing/2014/main" id="{9FBA7B75-4015-CA49-60E3-B7927F4FE4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182" y="-1852928"/>
                <a:ext cx="48843" cy="55250"/>
              </a:xfrm>
              <a:custGeom>
                <a:avLst/>
                <a:gdLst>
                  <a:gd name="T0" fmla="*/ 25 w 31"/>
                  <a:gd name="T1" fmla="*/ 4 h 35"/>
                  <a:gd name="T2" fmla="*/ 23 w 31"/>
                  <a:gd name="T3" fmla="*/ 6 h 35"/>
                  <a:gd name="T4" fmla="*/ 25 w 31"/>
                  <a:gd name="T5" fmla="*/ 6 h 35"/>
                  <a:gd name="T6" fmla="*/ 23 w 31"/>
                  <a:gd name="T7" fmla="*/ 8 h 35"/>
                  <a:gd name="T8" fmla="*/ 25 w 31"/>
                  <a:gd name="T9" fmla="*/ 12 h 35"/>
                  <a:gd name="T10" fmla="*/ 27 w 31"/>
                  <a:gd name="T11" fmla="*/ 12 h 35"/>
                  <a:gd name="T12" fmla="*/ 31 w 31"/>
                  <a:gd name="T13" fmla="*/ 12 h 35"/>
                  <a:gd name="T14" fmla="*/ 31 w 31"/>
                  <a:gd name="T15" fmla="*/ 14 h 35"/>
                  <a:gd name="T16" fmla="*/ 29 w 31"/>
                  <a:gd name="T17" fmla="*/ 16 h 35"/>
                  <a:gd name="T18" fmla="*/ 29 w 31"/>
                  <a:gd name="T19" fmla="*/ 18 h 35"/>
                  <a:gd name="T20" fmla="*/ 29 w 31"/>
                  <a:gd name="T21" fmla="*/ 18 h 35"/>
                  <a:gd name="T22" fmla="*/ 27 w 31"/>
                  <a:gd name="T23" fmla="*/ 19 h 35"/>
                  <a:gd name="T24" fmla="*/ 23 w 31"/>
                  <a:gd name="T25" fmla="*/ 21 h 35"/>
                  <a:gd name="T26" fmla="*/ 23 w 31"/>
                  <a:gd name="T27" fmla="*/ 25 h 35"/>
                  <a:gd name="T28" fmla="*/ 21 w 31"/>
                  <a:gd name="T29" fmla="*/ 27 h 35"/>
                  <a:gd name="T30" fmla="*/ 21 w 31"/>
                  <a:gd name="T31" fmla="*/ 29 h 35"/>
                  <a:gd name="T32" fmla="*/ 19 w 31"/>
                  <a:gd name="T33" fmla="*/ 31 h 35"/>
                  <a:gd name="T34" fmla="*/ 17 w 31"/>
                  <a:gd name="T35" fmla="*/ 33 h 35"/>
                  <a:gd name="T36" fmla="*/ 15 w 31"/>
                  <a:gd name="T37" fmla="*/ 35 h 35"/>
                  <a:gd name="T38" fmla="*/ 11 w 31"/>
                  <a:gd name="T39" fmla="*/ 35 h 35"/>
                  <a:gd name="T40" fmla="*/ 8 w 31"/>
                  <a:gd name="T41" fmla="*/ 31 h 35"/>
                  <a:gd name="T42" fmla="*/ 6 w 31"/>
                  <a:gd name="T43" fmla="*/ 27 h 35"/>
                  <a:gd name="T44" fmla="*/ 4 w 31"/>
                  <a:gd name="T45" fmla="*/ 23 h 35"/>
                  <a:gd name="T46" fmla="*/ 6 w 31"/>
                  <a:gd name="T47" fmla="*/ 18 h 35"/>
                  <a:gd name="T48" fmla="*/ 6 w 31"/>
                  <a:gd name="T49" fmla="*/ 14 h 35"/>
                  <a:gd name="T50" fmla="*/ 6 w 31"/>
                  <a:gd name="T51" fmla="*/ 14 h 35"/>
                  <a:gd name="T52" fmla="*/ 2 w 31"/>
                  <a:gd name="T53" fmla="*/ 12 h 35"/>
                  <a:gd name="T54" fmla="*/ 0 w 31"/>
                  <a:gd name="T55" fmla="*/ 10 h 35"/>
                  <a:gd name="T56" fmla="*/ 2 w 31"/>
                  <a:gd name="T57" fmla="*/ 8 h 35"/>
                  <a:gd name="T58" fmla="*/ 4 w 31"/>
                  <a:gd name="T59" fmla="*/ 6 h 35"/>
                  <a:gd name="T60" fmla="*/ 6 w 31"/>
                  <a:gd name="T61" fmla="*/ 8 h 35"/>
                  <a:gd name="T62" fmla="*/ 8 w 31"/>
                  <a:gd name="T63" fmla="*/ 10 h 35"/>
                  <a:gd name="T64" fmla="*/ 11 w 31"/>
                  <a:gd name="T65" fmla="*/ 8 h 35"/>
                  <a:gd name="T66" fmla="*/ 13 w 31"/>
                  <a:gd name="T67" fmla="*/ 10 h 35"/>
                  <a:gd name="T68" fmla="*/ 15 w 31"/>
                  <a:gd name="T69" fmla="*/ 8 h 35"/>
                  <a:gd name="T70" fmla="*/ 15 w 31"/>
                  <a:gd name="T71" fmla="*/ 4 h 35"/>
                  <a:gd name="T72" fmla="*/ 17 w 31"/>
                  <a:gd name="T73" fmla="*/ 2 h 35"/>
                  <a:gd name="T74" fmla="*/ 19 w 31"/>
                  <a:gd name="T75" fmla="*/ 2 h 35"/>
                  <a:gd name="T76" fmla="*/ 23 w 31"/>
                  <a:gd name="T77" fmla="*/ 2 h 35"/>
                  <a:gd name="T78" fmla="*/ 23 w 31"/>
                  <a:gd name="T79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1" h="35">
                    <a:moveTo>
                      <a:pt x="25" y="2"/>
                    </a:moveTo>
                    <a:lnTo>
                      <a:pt x="25" y="4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29" y="18"/>
                    </a:lnTo>
                    <a:lnTo>
                      <a:pt x="27" y="18"/>
                    </a:lnTo>
                    <a:lnTo>
                      <a:pt x="27" y="19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19" y="27"/>
                    </a:lnTo>
                    <a:lnTo>
                      <a:pt x="21" y="29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1"/>
                    </a:lnTo>
                    <a:lnTo>
                      <a:pt x="17" y="33"/>
                    </a:lnTo>
                    <a:lnTo>
                      <a:pt x="15" y="33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8" y="35"/>
                    </a:lnTo>
                    <a:lnTo>
                      <a:pt x="8" y="31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19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4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5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1" name="Freeform 255">
                <a:extLst>
                  <a:ext uri="{FF2B5EF4-FFF2-40B4-BE49-F238E27FC236}">
                    <a16:creationId xmlns:a16="http://schemas.microsoft.com/office/drawing/2014/main" id="{4EA36E8A-D051-B57C-893C-F515AFFA79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033" y="-1882919"/>
                <a:ext cx="51995" cy="45779"/>
              </a:xfrm>
              <a:custGeom>
                <a:avLst/>
                <a:gdLst>
                  <a:gd name="T0" fmla="*/ 25 w 33"/>
                  <a:gd name="T1" fmla="*/ 21 h 29"/>
                  <a:gd name="T2" fmla="*/ 25 w 33"/>
                  <a:gd name="T3" fmla="*/ 21 h 29"/>
                  <a:gd name="T4" fmla="*/ 21 w 33"/>
                  <a:gd name="T5" fmla="*/ 21 h 29"/>
                  <a:gd name="T6" fmla="*/ 19 w 33"/>
                  <a:gd name="T7" fmla="*/ 21 h 29"/>
                  <a:gd name="T8" fmla="*/ 17 w 33"/>
                  <a:gd name="T9" fmla="*/ 23 h 29"/>
                  <a:gd name="T10" fmla="*/ 17 w 33"/>
                  <a:gd name="T11" fmla="*/ 27 h 29"/>
                  <a:gd name="T12" fmla="*/ 15 w 33"/>
                  <a:gd name="T13" fmla="*/ 29 h 29"/>
                  <a:gd name="T14" fmla="*/ 13 w 33"/>
                  <a:gd name="T15" fmla="*/ 27 h 29"/>
                  <a:gd name="T16" fmla="*/ 10 w 33"/>
                  <a:gd name="T17" fmla="*/ 29 h 29"/>
                  <a:gd name="T18" fmla="*/ 8 w 33"/>
                  <a:gd name="T19" fmla="*/ 27 h 29"/>
                  <a:gd name="T20" fmla="*/ 6 w 33"/>
                  <a:gd name="T21" fmla="*/ 25 h 29"/>
                  <a:gd name="T22" fmla="*/ 4 w 33"/>
                  <a:gd name="T23" fmla="*/ 27 h 29"/>
                  <a:gd name="T24" fmla="*/ 2 w 33"/>
                  <a:gd name="T25" fmla="*/ 25 h 29"/>
                  <a:gd name="T26" fmla="*/ 0 w 33"/>
                  <a:gd name="T27" fmla="*/ 21 h 29"/>
                  <a:gd name="T28" fmla="*/ 2 w 33"/>
                  <a:gd name="T29" fmla="*/ 19 h 29"/>
                  <a:gd name="T30" fmla="*/ 6 w 33"/>
                  <a:gd name="T31" fmla="*/ 17 h 29"/>
                  <a:gd name="T32" fmla="*/ 6 w 33"/>
                  <a:gd name="T33" fmla="*/ 10 h 29"/>
                  <a:gd name="T34" fmla="*/ 10 w 33"/>
                  <a:gd name="T35" fmla="*/ 8 h 29"/>
                  <a:gd name="T36" fmla="*/ 12 w 33"/>
                  <a:gd name="T37" fmla="*/ 6 h 29"/>
                  <a:gd name="T38" fmla="*/ 13 w 33"/>
                  <a:gd name="T39" fmla="*/ 4 h 29"/>
                  <a:gd name="T40" fmla="*/ 15 w 33"/>
                  <a:gd name="T41" fmla="*/ 4 h 29"/>
                  <a:gd name="T42" fmla="*/ 17 w 33"/>
                  <a:gd name="T43" fmla="*/ 8 h 29"/>
                  <a:gd name="T44" fmla="*/ 21 w 33"/>
                  <a:gd name="T45" fmla="*/ 6 h 29"/>
                  <a:gd name="T46" fmla="*/ 23 w 33"/>
                  <a:gd name="T47" fmla="*/ 2 h 29"/>
                  <a:gd name="T48" fmla="*/ 25 w 33"/>
                  <a:gd name="T49" fmla="*/ 0 h 29"/>
                  <a:gd name="T50" fmla="*/ 25 w 33"/>
                  <a:gd name="T51" fmla="*/ 0 h 29"/>
                  <a:gd name="T52" fmla="*/ 27 w 33"/>
                  <a:gd name="T53" fmla="*/ 4 h 29"/>
                  <a:gd name="T54" fmla="*/ 29 w 33"/>
                  <a:gd name="T55" fmla="*/ 6 h 29"/>
                  <a:gd name="T56" fmla="*/ 31 w 33"/>
                  <a:gd name="T57" fmla="*/ 8 h 29"/>
                  <a:gd name="T58" fmla="*/ 33 w 33"/>
                  <a:gd name="T59" fmla="*/ 12 h 29"/>
                  <a:gd name="T60" fmla="*/ 33 w 33"/>
                  <a:gd name="T61" fmla="*/ 12 h 29"/>
                  <a:gd name="T62" fmla="*/ 31 w 33"/>
                  <a:gd name="T63" fmla="*/ 14 h 29"/>
                  <a:gd name="T64" fmla="*/ 33 w 33"/>
                  <a:gd name="T65" fmla="*/ 16 h 29"/>
                  <a:gd name="T66" fmla="*/ 33 w 33"/>
                  <a:gd name="T67" fmla="*/ 19 h 29"/>
                  <a:gd name="T68" fmla="*/ 31 w 33"/>
                  <a:gd name="T69" fmla="*/ 21 h 29"/>
                  <a:gd name="T70" fmla="*/ 27 w 33"/>
                  <a:gd name="T71" fmla="*/ 2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3" h="29">
                    <a:moveTo>
                      <a:pt x="27" y="21"/>
                    </a:moveTo>
                    <a:lnTo>
                      <a:pt x="25" y="21"/>
                    </a:lnTo>
                    <a:lnTo>
                      <a:pt x="25" y="19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9" y="21"/>
                    </a:lnTo>
                    <a:lnTo>
                      <a:pt x="17" y="21"/>
                    </a:lnTo>
                    <a:lnTo>
                      <a:pt x="17" y="23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5" y="29"/>
                    </a:lnTo>
                    <a:lnTo>
                      <a:pt x="13" y="29"/>
                    </a:lnTo>
                    <a:lnTo>
                      <a:pt x="13" y="27"/>
                    </a:lnTo>
                    <a:lnTo>
                      <a:pt x="12" y="29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4" y="19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1" y="8"/>
                    </a:lnTo>
                    <a:lnTo>
                      <a:pt x="33" y="10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33" y="12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3" y="17"/>
                    </a:lnTo>
                    <a:lnTo>
                      <a:pt x="33" y="19"/>
                    </a:lnTo>
                    <a:lnTo>
                      <a:pt x="33" y="21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7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2" name="Freeform 256">
                <a:extLst>
                  <a:ext uri="{FF2B5EF4-FFF2-40B4-BE49-F238E27FC236}">
                    <a16:creationId xmlns:a16="http://schemas.microsoft.com/office/drawing/2014/main" id="{99774ECC-DEE1-2129-ACA2-609C2539D1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71716" y="-2002892"/>
                <a:ext cx="189071" cy="219420"/>
              </a:xfrm>
              <a:custGeom>
                <a:avLst/>
                <a:gdLst>
                  <a:gd name="T0" fmla="*/ 116 w 120"/>
                  <a:gd name="T1" fmla="*/ 15 h 139"/>
                  <a:gd name="T2" fmla="*/ 110 w 120"/>
                  <a:gd name="T3" fmla="*/ 25 h 139"/>
                  <a:gd name="T4" fmla="*/ 110 w 120"/>
                  <a:gd name="T5" fmla="*/ 38 h 139"/>
                  <a:gd name="T6" fmla="*/ 109 w 120"/>
                  <a:gd name="T7" fmla="*/ 51 h 139"/>
                  <a:gd name="T8" fmla="*/ 105 w 120"/>
                  <a:gd name="T9" fmla="*/ 65 h 139"/>
                  <a:gd name="T10" fmla="*/ 97 w 120"/>
                  <a:gd name="T11" fmla="*/ 76 h 139"/>
                  <a:gd name="T12" fmla="*/ 88 w 120"/>
                  <a:gd name="T13" fmla="*/ 88 h 139"/>
                  <a:gd name="T14" fmla="*/ 80 w 120"/>
                  <a:gd name="T15" fmla="*/ 97 h 139"/>
                  <a:gd name="T16" fmla="*/ 80 w 120"/>
                  <a:gd name="T17" fmla="*/ 109 h 139"/>
                  <a:gd name="T18" fmla="*/ 76 w 120"/>
                  <a:gd name="T19" fmla="*/ 122 h 139"/>
                  <a:gd name="T20" fmla="*/ 69 w 120"/>
                  <a:gd name="T21" fmla="*/ 128 h 139"/>
                  <a:gd name="T22" fmla="*/ 61 w 120"/>
                  <a:gd name="T23" fmla="*/ 134 h 139"/>
                  <a:gd name="T24" fmla="*/ 53 w 120"/>
                  <a:gd name="T25" fmla="*/ 134 h 139"/>
                  <a:gd name="T26" fmla="*/ 53 w 120"/>
                  <a:gd name="T27" fmla="*/ 128 h 139"/>
                  <a:gd name="T28" fmla="*/ 46 w 120"/>
                  <a:gd name="T29" fmla="*/ 130 h 139"/>
                  <a:gd name="T30" fmla="*/ 42 w 120"/>
                  <a:gd name="T31" fmla="*/ 134 h 139"/>
                  <a:gd name="T32" fmla="*/ 38 w 120"/>
                  <a:gd name="T33" fmla="*/ 137 h 139"/>
                  <a:gd name="T34" fmla="*/ 32 w 120"/>
                  <a:gd name="T35" fmla="*/ 132 h 139"/>
                  <a:gd name="T36" fmla="*/ 27 w 120"/>
                  <a:gd name="T37" fmla="*/ 132 h 139"/>
                  <a:gd name="T38" fmla="*/ 15 w 120"/>
                  <a:gd name="T39" fmla="*/ 139 h 139"/>
                  <a:gd name="T40" fmla="*/ 9 w 120"/>
                  <a:gd name="T41" fmla="*/ 130 h 139"/>
                  <a:gd name="T42" fmla="*/ 2 w 120"/>
                  <a:gd name="T43" fmla="*/ 118 h 139"/>
                  <a:gd name="T44" fmla="*/ 9 w 120"/>
                  <a:gd name="T45" fmla="*/ 118 h 139"/>
                  <a:gd name="T46" fmla="*/ 13 w 120"/>
                  <a:gd name="T47" fmla="*/ 111 h 139"/>
                  <a:gd name="T48" fmla="*/ 8 w 120"/>
                  <a:gd name="T49" fmla="*/ 105 h 139"/>
                  <a:gd name="T50" fmla="*/ 9 w 120"/>
                  <a:gd name="T51" fmla="*/ 99 h 139"/>
                  <a:gd name="T52" fmla="*/ 23 w 120"/>
                  <a:gd name="T53" fmla="*/ 97 h 139"/>
                  <a:gd name="T54" fmla="*/ 23 w 120"/>
                  <a:gd name="T55" fmla="*/ 90 h 139"/>
                  <a:gd name="T56" fmla="*/ 28 w 120"/>
                  <a:gd name="T57" fmla="*/ 90 h 139"/>
                  <a:gd name="T58" fmla="*/ 30 w 120"/>
                  <a:gd name="T59" fmla="*/ 93 h 139"/>
                  <a:gd name="T60" fmla="*/ 38 w 120"/>
                  <a:gd name="T61" fmla="*/ 97 h 139"/>
                  <a:gd name="T62" fmla="*/ 44 w 120"/>
                  <a:gd name="T63" fmla="*/ 97 h 139"/>
                  <a:gd name="T64" fmla="*/ 48 w 120"/>
                  <a:gd name="T65" fmla="*/ 97 h 139"/>
                  <a:gd name="T66" fmla="*/ 51 w 120"/>
                  <a:gd name="T67" fmla="*/ 92 h 139"/>
                  <a:gd name="T68" fmla="*/ 53 w 120"/>
                  <a:gd name="T69" fmla="*/ 86 h 139"/>
                  <a:gd name="T70" fmla="*/ 53 w 120"/>
                  <a:gd name="T71" fmla="*/ 78 h 139"/>
                  <a:gd name="T72" fmla="*/ 55 w 120"/>
                  <a:gd name="T73" fmla="*/ 69 h 139"/>
                  <a:gd name="T74" fmla="*/ 48 w 120"/>
                  <a:gd name="T75" fmla="*/ 65 h 139"/>
                  <a:gd name="T76" fmla="*/ 44 w 120"/>
                  <a:gd name="T77" fmla="*/ 55 h 139"/>
                  <a:gd name="T78" fmla="*/ 49 w 120"/>
                  <a:gd name="T79" fmla="*/ 51 h 139"/>
                  <a:gd name="T80" fmla="*/ 53 w 120"/>
                  <a:gd name="T81" fmla="*/ 42 h 139"/>
                  <a:gd name="T82" fmla="*/ 46 w 120"/>
                  <a:gd name="T83" fmla="*/ 36 h 139"/>
                  <a:gd name="T84" fmla="*/ 38 w 120"/>
                  <a:gd name="T85" fmla="*/ 40 h 139"/>
                  <a:gd name="T86" fmla="*/ 34 w 120"/>
                  <a:gd name="T87" fmla="*/ 40 h 139"/>
                  <a:gd name="T88" fmla="*/ 32 w 120"/>
                  <a:gd name="T89" fmla="*/ 34 h 139"/>
                  <a:gd name="T90" fmla="*/ 32 w 120"/>
                  <a:gd name="T91" fmla="*/ 30 h 139"/>
                  <a:gd name="T92" fmla="*/ 51 w 120"/>
                  <a:gd name="T93" fmla="*/ 25 h 139"/>
                  <a:gd name="T94" fmla="*/ 59 w 120"/>
                  <a:gd name="T95" fmla="*/ 27 h 139"/>
                  <a:gd name="T96" fmla="*/ 63 w 120"/>
                  <a:gd name="T97" fmla="*/ 29 h 139"/>
                  <a:gd name="T98" fmla="*/ 74 w 120"/>
                  <a:gd name="T99" fmla="*/ 29 h 139"/>
                  <a:gd name="T100" fmla="*/ 80 w 120"/>
                  <a:gd name="T101" fmla="*/ 30 h 139"/>
                  <a:gd name="T102" fmla="*/ 80 w 120"/>
                  <a:gd name="T103" fmla="*/ 27 h 139"/>
                  <a:gd name="T104" fmla="*/ 88 w 120"/>
                  <a:gd name="T105" fmla="*/ 6 h 139"/>
                  <a:gd name="T106" fmla="*/ 97 w 120"/>
                  <a:gd name="T107" fmla="*/ 2 h 139"/>
                  <a:gd name="T108" fmla="*/ 105 w 120"/>
                  <a:gd name="T109" fmla="*/ 2 h 139"/>
                  <a:gd name="T110" fmla="*/ 112 w 120"/>
                  <a:gd name="T111" fmla="*/ 2 h 139"/>
                  <a:gd name="T112" fmla="*/ 120 w 120"/>
                  <a:gd name="T113" fmla="*/ 4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39">
                    <a:moveTo>
                      <a:pt x="120" y="4"/>
                    </a:moveTo>
                    <a:lnTo>
                      <a:pt x="120" y="6"/>
                    </a:lnTo>
                    <a:lnTo>
                      <a:pt x="120" y="9"/>
                    </a:lnTo>
                    <a:lnTo>
                      <a:pt x="118" y="11"/>
                    </a:lnTo>
                    <a:lnTo>
                      <a:pt x="116" y="13"/>
                    </a:lnTo>
                    <a:lnTo>
                      <a:pt x="116" y="15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2" y="21"/>
                    </a:lnTo>
                    <a:lnTo>
                      <a:pt x="112" y="23"/>
                    </a:lnTo>
                    <a:lnTo>
                      <a:pt x="110" y="23"/>
                    </a:lnTo>
                    <a:lnTo>
                      <a:pt x="110" y="25"/>
                    </a:lnTo>
                    <a:lnTo>
                      <a:pt x="110" y="27"/>
                    </a:lnTo>
                    <a:lnTo>
                      <a:pt x="110" y="29"/>
                    </a:lnTo>
                    <a:lnTo>
                      <a:pt x="110" y="30"/>
                    </a:lnTo>
                    <a:lnTo>
                      <a:pt x="110" y="32"/>
                    </a:lnTo>
                    <a:lnTo>
                      <a:pt x="110" y="34"/>
                    </a:lnTo>
                    <a:lnTo>
                      <a:pt x="110" y="38"/>
                    </a:lnTo>
                    <a:lnTo>
                      <a:pt x="109" y="40"/>
                    </a:lnTo>
                    <a:lnTo>
                      <a:pt x="107" y="42"/>
                    </a:lnTo>
                    <a:lnTo>
                      <a:pt x="107" y="44"/>
                    </a:lnTo>
                    <a:lnTo>
                      <a:pt x="109" y="48"/>
                    </a:lnTo>
                    <a:lnTo>
                      <a:pt x="109" y="50"/>
                    </a:lnTo>
                    <a:lnTo>
                      <a:pt x="109" y="51"/>
                    </a:lnTo>
                    <a:lnTo>
                      <a:pt x="109" y="53"/>
                    </a:lnTo>
                    <a:lnTo>
                      <a:pt x="107" y="55"/>
                    </a:lnTo>
                    <a:lnTo>
                      <a:pt x="107" y="57"/>
                    </a:lnTo>
                    <a:lnTo>
                      <a:pt x="105" y="61"/>
                    </a:lnTo>
                    <a:lnTo>
                      <a:pt x="105" y="63"/>
                    </a:lnTo>
                    <a:lnTo>
                      <a:pt x="105" y="65"/>
                    </a:lnTo>
                    <a:lnTo>
                      <a:pt x="105" y="69"/>
                    </a:lnTo>
                    <a:lnTo>
                      <a:pt x="103" y="69"/>
                    </a:lnTo>
                    <a:lnTo>
                      <a:pt x="103" y="71"/>
                    </a:lnTo>
                    <a:lnTo>
                      <a:pt x="101" y="72"/>
                    </a:lnTo>
                    <a:lnTo>
                      <a:pt x="99" y="74"/>
                    </a:lnTo>
                    <a:lnTo>
                      <a:pt x="97" y="76"/>
                    </a:lnTo>
                    <a:lnTo>
                      <a:pt x="95" y="76"/>
                    </a:lnTo>
                    <a:lnTo>
                      <a:pt x="93" y="78"/>
                    </a:lnTo>
                    <a:lnTo>
                      <a:pt x="91" y="80"/>
                    </a:lnTo>
                    <a:lnTo>
                      <a:pt x="90" y="82"/>
                    </a:lnTo>
                    <a:lnTo>
                      <a:pt x="90" y="84"/>
                    </a:lnTo>
                    <a:lnTo>
                      <a:pt x="88" y="88"/>
                    </a:lnTo>
                    <a:lnTo>
                      <a:pt x="88" y="90"/>
                    </a:lnTo>
                    <a:lnTo>
                      <a:pt x="86" y="90"/>
                    </a:lnTo>
                    <a:lnTo>
                      <a:pt x="84" y="92"/>
                    </a:lnTo>
                    <a:lnTo>
                      <a:pt x="82" y="93"/>
                    </a:lnTo>
                    <a:lnTo>
                      <a:pt x="82" y="95"/>
                    </a:lnTo>
                    <a:lnTo>
                      <a:pt x="80" y="97"/>
                    </a:lnTo>
                    <a:lnTo>
                      <a:pt x="82" y="99"/>
                    </a:lnTo>
                    <a:lnTo>
                      <a:pt x="82" y="101"/>
                    </a:lnTo>
                    <a:lnTo>
                      <a:pt x="82" y="103"/>
                    </a:lnTo>
                    <a:lnTo>
                      <a:pt x="80" y="105"/>
                    </a:lnTo>
                    <a:lnTo>
                      <a:pt x="82" y="107"/>
                    </a:lnTo>
                    <a:lnTo>
                      <a:pt x="80" y="109"/>
                    </a:lnTo>
                    <a:lnTo>
                      <a:pt x="80" y="111"/>
                    </a:lnTo>
                    <a:lnTo>
                      <a:pt x="82" y="113"/>
                    </a:lnTo>
                    <a:lnTo>
                      <a:pt x="80" y="114"/>
                    </a:lnTo>
                    <a:lnTo>
                      <a:pt x="80" y="116"/>
                    </a:lnTo>
                    <a:lnTo>
                      <a:pt x="78" y="116"/>
                    </a:lnTo>
                    <a:lnTo>
                      <a:pt x="76" y="122"/>
                    </a:lnTo>
                    <a:lnTo>
                      <a:pt x="74" y="122"/>
                    </a:lnTo>
                    <a:lnTo>
                      <a:pt x="72" y="124"/>
                    </a:lnTo>
                    <a:lnTo>
                      <a:pt x="70" y="124"/>
                    </a:lnTo>
                    <a:lnTo>
                      <a:pt x="70" y="126"/>
                    </a:lnTo>
                    <a:lnTo>
                      <a:pt x="70" y="128"/>
                    </a:lnTo>
                    <a:lnTo>
                      <a:pt x="69" y="128"/>
                    </a:lnTo>
                    <a:lnTo>
                      <a:pt x="67" y="128"/>
                    </a:lnTo>
                    <a:lnTo>
                      <a:pt x="65" y="128"/>
                    </a:lnTo>
                    <a:lnTo>
                      <a:pt x="65" y="130"/>
                    </a:lnTo>
                    <a:lnTo>
                      <a:pt x="65" y="132"/>
                    </a:lnTo>
                    <a:lnTo>
                      <a:pt x="63" y="132"/>
                    </a:lnTo>
                    <a:lnTo>
                      <a:pt x="61" y="134"/>
                    </a:lnTo>
                    <a:lnTo>
                      <a:pt x="59" y="135"/>
                    </a:lnTo>
                    <a:lnTo>
                      <a:pt x="57" y="137"/>
                    </a:lnTo>
                    <a:lnTo>
                      <a:pt x="55" y="137"/>
                    </a:lnTo>
                    <a:lnTo>
                      <a:pt x="53" y="137"/>
                    </a:lnTo>
                    <a:lnTo>
                      <a:pt x="53" y="135"/>
                    </a:lnTo>
                    <a:lnTo>
                      <a:pt x="53" y="134"/>
                    </a:lnTo>
                    <a:lnTo>
                      <a:pt x="51" y="134"/>
                    </a:lnTo>
                    <a:lnTo>
                      <a:pt x="51" y="132"/>
                    </a:lnTo>
                    <a:lnTo>
                      <a:pt x="53" y="132"/>
                    </a:lnTo>
                    <a:lnTo>
                      <a:pt x="53" y="130"/>
                    </a:lnTo>
                    <a:lnTo>
                      <a:pt x="51" y="128"/>
                    </a:lnTo>
                    <a:lnTo>
                      <a:pt x="53" y="128"/>
                    </a:lnTo>
                    <a:lnTo>
                      <a:pt x="51" y="128"/>
                    </a:lnTo>
                    <a:lnTo>
                      <a:pt x="49" y="130"/>
                    </a:lnTo>
                    <a:lnTo>
                      <a:pt x="48" y="130"/>
                    </a:lnTo>
                    <a:lnTo>
                      <a:pt x="46" y="130"/>
                    </a:lnTo>
                    <a:lnTo>
                      <a:pt x="46" y="132"/>
                    </a:lnTo>
                    <a:lnTo>
                      <a:pt x="46" y="130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4" y="130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2" y="134"/>
                    </a:lnTo>
                    <a:lnTo>
                      <a:pt x="42" y="135"/>
                    </a:lnTo>
                    <a:lnTo>
                      <a:pt x="40" y="135"/>
                    </a:lnTo>
                    <a:lnTo>
                      <a:pt x="38" y="135"/>
                    </a:lnTo>
                    <a:lnTo>
                      <a:pt x="38" y="137"/>
                    </a:lnTo>
                    <a:lnTo>
                      <a:pt x="36" y="137"/>
                    </a:lnTo>
                    <a:lnTo>
                      <a:pt x="38" y="137"/>
                    </a:lnTo>
                    <a:lnTo>
                      <a:pt x="36" y="137"/>
                    </a:lnTo>
                    <a:lnTo>
                      <a:pt x="36" y="135"/>
                    </a:lnTo>
                    <a:lnTo>
                      <a:pt x="34" y="135"/>
                    </a:lnTo>
                    <a:lnTo>
                      <a:pt x="34" y="134"/>
                    </a:lnTo>
                    <a:lnTo>
                      <a:pt x="32" y="134"/>
                    </a:lnTo>
                    <a:lnTo>
                      <a:pt x="32" y="132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2"/>
                    </a:lnTo>
                    <a:lnTo>
                      <a:pt x="28" y="130"/>
                    </a:lnTo>
                    <a:lnTo>
                      <a:pt x="27" y="130"/>
                    </a:lnTo>
                    <a:lnTo>
                      <a:pt x="27" y="132"/>
                    </a:lnTo>
                    <a:lnTo>
                      <a:pt x="25" y="132"/>
                    </a:lnTo>
                    <a:lnTo>
                      <a:pt x="21" y="134"/>
                    </a:lnTo>
                    <a:lnTo>
                      <a:pt x="19" y="135"/>
                    </a:lnTo>
                    <a:lnTo>
                      <a:pt x="17" y="135"/>
                    </a:lnTo>
                    <a:lnTo>
                      <a:pt x="17" y="137"/>
                    </a:lnTo>
                    <a:lnTo>
                      <a:pt x="15" y="139"/>
                    </a:lnTo>
                    <a:lnTo>
                      <a:pt x="11" y="135"/>
                    </a:lnTo>
                    <a:lnTo>
                      <a:pt x="11" y="134"/>
                    </a:lnTo>
                    <a:lnTo>
                      <a:pt x="11" y="132"/>
                    </a:lnTo>
                    <a:lnTo>
                      <a:pt x="9" y="130"/>
                    </a:lnTo>
                    <a:lnTo>
                      <a:pt x="9" y="132"/>
                    </a:lnTo>
                    <a:lnTo>
                      <a:pt x="9" y="130"/>
                    </a:lnTo>
                    <a:lnTo>
                      <a:pt x="6" y="126"/>
                    </a:lnTo>
                    <a:lnTo>
                      <a:pt x="4" y="126"/>
                    </a:lnTo>
                    <a:lnTo>
                      <a:pt x="4" y="124"/>
                    </a:lnTo>
                    <a:lnTo>
                      <a:pt x="0" y="122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4" y="116"/>
                    </a:lnTo>
                    <a:lnTo>
                      <a:pt x="6" y="116"/>
                    </a:lnTo>
                    <a:lnTo>
                      <a:pt x="6" y="114"/>
                    </a:lnTo>
                    <a:lnTo>
                      <a:pt x="8" y="114"/>
                    </a:lnTo>
                    <a:lnTo>
                      <a:pt x="9" y="116"/>
                    </a:lnTo>
                    <a:lnTo>
                      <a:pt x="9" y="118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1" y="116"/>
                    </a:lnTo>
                    <a:lnTo>
                      <a:pt x="11" y="114"/>
                    </a:lnTo>
                    <a:lnTo>
                      <a:pt x="13" y="114"/>
                    </a:lnTo>
                    <a:lnTo>
                      <a:pt x="13" y="111"/>
                    </a:lnTo>
                    <a:lnTo>
                      <a:pt x="11" y="111"/>
                    </a:lnTo>
                    <a:lnTo>
                      <a:pt x="9" y="109"/>
                    </a:lnTo>
                    <a:lnTo>
                      <a:pt x="11" y="107"/>
                    </a:lnTo>
                    <a:lnTo>
                      <a:pt x="9" y="107"/>
                    </a:lnTo>
                    <a:lnTo>
                      <a:pt x="9" y="105"/>
                    </a:lnTo>
                    <a:lnTo>
                      <a:pt x="8" y="105"/>
                    </a:lnTo>
                    <a:lnTo>
                      <a:pt x="8" y="103"/>
                    </a:lnTo>
                    <a:lnTo>
                      <a:pt x="9" y="101"/>
                    </a:lnTo>
                    <a:lnTo>
                      <a:pt x="8" y="99"/>
                    </a:lnTo>
                    <a:lnTo>
                      <a:pt x="8" y="97"/>
                    </a:lnTo>
                    <a:lnTo>
                      <a:pt x="9" y="97"/>
                    </a:lnTo>
                    <a:lnTo>
                      <a:pt x="9" y="99"/>
                    </a:lnTo>
                    <a:lnTo>
                      <a:pt x="11" y="97"/>
                    </a:lnTo>
                    <a:lnTo>
                      <a:pt x="13" y="97"/>
                    </a:lnTo>
                    <a:lnTo>
                      <a:pt x="15" y="97"/>
                    </a:lnTo>
                    <a:lnTo>
                      <a:pt x="23" y="97"/>
                    </a:lnTo>
                    <a:lnTo>
                      <a:pt x="21" y="97"/>
                    </a:lnTo>
                    <a:lnTo>
                      <a:pt x="23" y="97"/>
                    </a:lnTo>
                    <a:lnTo>
                      <a:pt x="21" y="95"/>
                    </a:lnTo>
                    <a:lnTo>
                      <a:pt x="23" y="95"/>
                    </a:lnTo>
                    <a:lnTo>
                      <a:pt x="23" y="93"/>
                    </a:lnTo>
                    <a:lnTo>
                      <a:pt x="21" y="92"/>
                    </a:lnTo>
                    <a:lnTo>
                      <a:pt x="21" y="90"/>
                    </a:lnTo>
                    <a:lnTo>
                      <a:pt x="23" y="90"/>
                    </a:lnTo>
                    <a:lnTo>
                      <a:pt x="25" y="90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25" y="90"/>
                    </a:lnTo>
                    <a:lnTo>
                      <a:pt x="27" y="90"/>
                    </a:lnTo>
                    <a:lnTo>
                      <a:pt x="28" y="90"/>
                    </a:lnTo>
                    <a:lnTo>
                      <a:pt x="27" y="90"/>
                    </a:lnTo>
                    <a:lnTo>
                      <a:pt x="28" y="90"/>
                    </a:lnTo>
                    <a:lnTo>
                      <a:pt x="28" y="92"/>
                    </a:lnTo>
                    <a:lnTo>
                      <a:pt x="28" y="93"/>
                    </a:lnTo>
                    <a:lnTo>
                      <a:pt x="28" y="95"/>
                    </a:lnTo>
                    <a:lnTo>
                      <a:pt x="30" y="93"/>
                    </a:lnTo>
                    <a:lnTo>
                      <a:pt x="30" y="95"/>
                    </a:lnTo>
                    <a:lnTo>
                      <a:pt x="30" y="97"/>
                    </a:lnTo>
                    <a:lnTo>
                      <a:pt x="32" y="97"/>
                    </a:lnTo>
                    <a:lnTo>
                      <a:pt x="34" y="97"/>
                    </a:lnTo>
                    <a:lnTo>
                      <a:pt x="36" y="97"/>
                    </a:lnTo>
                    <a:lnTo>
                      <a:pt x="38" y="97"/>
                    </a:lnTo>
                    <a:lnTo>
                      <a:pt x="40" y="97"/>
                    </a:lnTo>
                    <a:lnTo>
                      <a:pt x="42" y="95"/>
                    </a:lnTo>
                    <a:lnTo>
                      <a:pt x="42" y="93"/>
                    </a:lnTo>
                    <a:lnTo>
                      <a:pt x="44" y="93"/>
                    </a:lnTo>
                    <a:lnTo>
                      <a:pt x="44" y="95"/>
                    </a:lnTo>
                    <a:lnTo>
                      <a:pt x="44" y="97"/>
                    </a:lnTo>
                    <a:lnTo>
                      <a:pt x="46" y="97"/>
                    </a:lnTo>
                    <a:lnTo>
                      <a:pt x="44" y="97"/>
                    </a:lnTo>
                    <a:lnTo>
                      <a:pt x="44" y="99"/>
                    </a:lnTo>
                    <a:lnTo>
                      <a:pt x="46" y="99"/>
                    </a:lnTo>
                    <a:lnTo>
                      <a:pt x="48" y="99"/>
                    </a:lnTo>
                    <a:lnTo>
                      <a:pt x="48" y="97"/>
                    </a:lnTo>
                    <a:lnTo>
                      <a:pt x="49" y="97"/>
                    </a:lnTo>
                    <a:lnTo>
                      <a:pt x="49" y="95"/>
                    </a:lnTo>
                    <a:lnTo>
                      <a:pt x="49" y="93"/>
                    </a:lnTo>
                    <a:lnTo>
                      <a:pt x="51" y="93"/>
                    </a:lnTo>
                    <a:lnTo>
                      <a:pt x="49" y="93"/>
                    </a:lnTo>
                    <a:lnTo>
                      <a:pt x="51" y="92"/>
                    </a:lnTo>
                    <a:lnTo>
                      <a:pt x="49" y="92"/>
                    </a:lnTo>
                    <a:lnTo>
                      <a:pt x="51" y="92"/>
                    </a:lnTo>
                    <a:lnTo>
                      <a:pt x="51" y="90"/>
                    </a:lnTo>
                    <a:lnTo>
                      <a:pt x="53" y="90"/>
                    </a:lnTo>
                    <a:lnTo>
                      <a:pt x="53" y="88"/>
                    </a:lnTo>
                    <a:lnTo>
                      <a:pt x="53" y="86"/>
                    </a:lnTo>
                    <a:lnTo>
                      <a:pt x="51" y="86"/>
                    </a:lnTo>
                    <a:lnTo>
                      <a:pt x="53" y="84"/>
                    </a:lnTo>
                    <a:lnTo>
                      <a:pt x="53" y="82"/>
                    </a:lnTo>
                    <a:lnTo>
                      <a:pt x="55" y="82"/>
                    </a:lnTo>
                    <a:lnTo>
                      <a:pt x="53" y="80"/>
                    </a:lnTo>
                    <a:lnTo>
                      <a:pt x="53" y="78"/>
                    </a:lnTo>
                    <a:lnTo>
                      <a:pt x="53" y="76"/>
                    </a:lnTo>
                    <a:lnTo>
                      <a:pt x="53" y="74"/>
                    </a:lnTo>
                    <a:lnTo>
                      <a:pt x="53" y="72"/>
                    </a:lnTo>
                    <a:lnTo>
                      <a:pt x="53" y="71"/>
                    </a:lnTo>
                    <a:lnTo>
                      <a:pt x="55" y="71"/>
                    </a:lnTo>
                    <a:lnTo>
                      <a:pt x="55" y="69"/>
                    </a:lnTo>
                    <a:lnTo>
                      <a:pt x="53" y="69"/>
                    </a:lnTo>
                    <a:lnTo>
                      <a:pt x="53" y="67"/>
                    </a:lnTo>
                    <a:lnTo>
                      <a:pt x="51" y="67"/>
                    </a:lnTo>
                    <a:lnTo>
                      <a:pt x="49" y="67"/>
                    </a:lnTo>
                    <a:lnTo>
                      <a:pt x="49" y="65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46" y="63"/>
                    </a:lnTo>
                    <a:lnTo>
                      <a:pt x="46" y="61"/>
                    </a:lnTo>
                    <a:lnTo>
                      <a:pt x="46" y="59"/>
                    </a:lnTo>
                    <a:lnTo>
                      <a:pt x="46" y="57"/>
                    </a:lnTo>
                    <a:lnTo>
                      <a:pt x="44" y="55"/>
                    </a:lnTo>
                    <a:lnTo>
                      <a:pt x="46" y="55"/>
                    </a:lnTo>
                    <a:lnTo>
                      <a:pt x="46" y="53"/>
                    </a:lnTo>
                    <a:lnTo>
                      <a:pt x="48" y="53"/>
                    </a:lnTo>
                    <a:lnTo>
                      <a:pt x="48" y="51"/>
                    </a:lnTo>
                    <a:lnTo>
                      <a:pt x="48" y="50"/>
                    </a:lnTo>
                    <a:lnTo>
                      <a:pt x="49" y="51"/>
                    </a:lnTo>
                    <a:lnTo>
                      <a:pt x="51" y="51"/>
                    </a:lnTo>
                    <a:lnTo>
                      <a:pt x="51" y="50"/>
                    </a:lnTo>
                    <a:lnTo>
                      <a:pt x="51" y="48"/>
                    </a:lnTo>
                    <a:lnTo>
                      <a:pt x="53" y="46"/>
                    </a:lnTo>
                    <a:lnTo>
                      <a:pt x="53" y="44"/>
                    </a:lnTo>
                    <a:lnTo>
                      <a:pt x="53" y="42"/>
                    </a:lnTo>
                    <a:lnTo>
                      <a:pt x="51" y="42"/>
                    </a:lnTo>
                    <a:lnTo>
                      <a:pt x="51" y="40"/>
                    </a:lnTo>
                    <a:lnTo>
                      <a:pt x="51" y="38"/>
                    </a:lnTo>
                    <a:lnTo>
                      <a:pt x="49" y="38"/>
                    </a:lnTo>
                    <a:lnTo>
                      <a:pt x="48" y="38"/>
                    </a:lnTo>
                    <a:lnTo>
                      <a:pt x="46" y="36"/>
                    </a:lnTo>
                    <a:lnTo>
                      <a:pt x="44" y="36"/>
                    </a:lnTo>
                    <a:lnTo>
                      <a:pt x="42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2" y="30"/>
                    </a:lnTo>
                    <a:lnTo>
                      <a:pt x="32" y="29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5" y="25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7" y="25"/>
                    </a:lnTo>
                    <a:lnTo>
                      <a:pt x="59" y="27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3" y="29"/>
                    </a:lnTo>
                    <a:lnTo>
                      <a:pt x="63" y="27"/>
                    </a:lnTo>
                    <a:lnTo>
                      <a:pt x="63" y="29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67" y="29"/>
                    </a:lnTo>
                    <a:lnTo>
                      <a:pt x="70" y="29"/>
                    </a:lnTo>
                    <a:lnTo>
                      <a:pt x="72" y="29"/>
                    </a:lnTo>
                    <a:lnTo>
                      <a:pt x="74" y="29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78" y="30"/>
                    </a:lnTo>
                    <a:lnTo>
                      <a:pt x="78" y="32"/>
                    </a:lnTo>
                    <a:lnTo>
                      <a:pt x="80" y="32"/>
                    </a:lnTo>
                    <a:lnTo>
                      <a:pt x="80" y="30"/>
                    </a:lnTo>
                    <a:lnTo>
                      <a:pt x="80" y="29"/>
                    </a:lnTo>
                    <a:lnTo>
                      <a:pt x="78" y="29"/>
                    </a:lnTo>
                    <a:lnTo>
                      <a:pt x="78" y="27"/>
                    </a:lnTo>
                    <a:lnTo>
                      <a:pt x="80" y="27"/>
                    </a:lnTo>
                    <a:lnTo>
                      <a:pt x="78" y="27"/>
                    </a:lnTo>
                    <a:lnTo>
                      <a:pt x="80" y="27"/>
                    </a:lnTo>
                    <a:lnTo>
                      <a:pt x="80" y="25"/>
                    </a:lnTo>
                    <a:lnTo>
                      <a:pt x="82" y="25"/>
                    </a:lnTo>
                    <a:lnTo>
                      <a:pt x="86" y="13"/>
                    </a:lnTo>
                    <a:lnTo>
                      <a:pt x="86" y="11"/>
                    </a:lnTo>
                    <a:lnTo>
                      <a:pt x="86" y="9"/>
                    </a:lnTo>
                    <a:lnTo>
                      <a:pt x="88" y="6"/>
                    </a:lnTo>
                    <a:lnTo>
                      <a:pt x="88" y="4"/>
                    </a:lnTo>
                    <a:lnTo>
                      <a:pt x="90" y="4"/>
                    </a:lnTo>
                    <a:lnTo>
                      <a:pt x="91" y="4"/>
                    </a:lnTo>
                    <a:lnTo>
                      <a:pt x="91" y="2"/>
                    </a:lnTo>
                    <a:lnTo>
                      <a:pt x="93" y="4"/>
                    </a:lnTo>
                    <a:lnTo>
                      <a:pt x="97" y="2"/>
                    </a:lnTo>
                    <a:lnTo>
                      <a:pt x="99" y="2"/>
                    </a:lnTo>
                    <a:lnTo>
                      <a:pt x="101" y="2"/>
                    </a:lnTo>
                    <a:lnTo>
                      <a:pt x="101" y="0"/>
                    </a:lnTo>
                    <a:lnTo>
                      <a:pt x="103" y="0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7" y="2"/>
                    </a:lnTo>
                    <a:lnTo>
                      <a:pt x="107" y="4"/>
                    </a:lnTo>
                    <a:lnTo>
                      <a:pt x="109" y="2"/>
                    </a:lnTo>
                    <a:lnTo>
                      <a:pt x="110" y="4"/>
                    </a:lnTo>
                    <a:lnTo>
                      <a:pt x="110" y="2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4" y="4"/>
                    </a:lnTo>
                    <a:lnTo>
                      <a:pt x="114" y="2"/>
                    </a:lnTo>
                    <a:lnTo>
                      <a:pt x="116" y="2"/>
                    </a:lnTo>
                    <a:lnTo>
                      <a:pt x="118" y="2"/>
                    </a:lnTo>
                    <a:lnTo>
                      <a:pt x="12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3" name="Freeform 257">
                <a:extLst>
                  <a:ext uri="{FF2B5EF4-FFF2-40B4-BE49-F238E27FC236}">
                    <a16:creationId xmlns:a16="http://schemas.microsoft.com/office/drawing/2014/main" id="{A105B36E-E882-C764-725C-12B0CF863C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93867" y="-1455134"/>
                <a:ext cx="234763" cy="247832"/>
              </a:xfrm>
              <a:custGeom>
                <a:avLst/>
                <a:gdLst>
                  <a:gd name="T0" fmla="*/ 88 w 149"/>
                  <a:gd name="T1" fmla="*/ 10 h 157"/>
                  <a:gd name="T2" fmla="*/ 93 w 149"/>
                  <a:gd name="T3" fmla="*/ 17 h 157"/>
                  <a:gd name="T4" fmla="*/ 97 w 149"/>
                  <a:gd name="T5" fmla="*/ 27 h 157"/>
                  <a:gd name="T6" fmla="*/ 105 w 149"/>
                  <a:gd name="T7" fmla="*/ 35 h 157"/>
                  <a:gd name="T8" fmla="*/ 113 w 149"/>
                  <a:gd name="T9" fmla="*/ 38 h 157"/>
                  <a:gd name="T10" fmla="*/ 118 w 149"/>
                  <a:gd name="T11" fmla="*/ 46 h 157"/>
                  <a:gd name="T12" fmla="*/ 124 w 149"/>
                  <a:gd name="T13" fmla="*/ 50 h 157"/>
                  <a:gd name="T14" fmla="*/ 124 w 149"/>
                  <a:gd name="T15" fmla="*/ 54 h 157"/>
                  <a:gd name="T16" fmla="*/ 126 w 149"/>
                  <a:gd name="T17" fmla="*/ 59 h 157"/>
                  <a:gd name="T18" fmla="*/ 132 w 149"/>
                  <a:gd name="T19" fmla="*/ 65 h 157"/>
                  <a:gd name="T20" fmla="*/ 143 w 149"/>
                  <a:gd name="T21" fmla="*/ 67 h 157"/>
                  <a:gd name="T22" fmla="*/ 149 w 149"/>
                  <a:gd name="T23" fmla="*/ 73 h 157"/>
                  <a:gd name="T24" fmla="*/ 143 w 149"/>
                  <a:gd name="T25" fmla="*/ 78 h 157"/>
                  <a:gd name="T26" fmla="*/ 135 w 149"/>
                  <a:gd name="T27" fmla="*/ 82 h 157"/>
                  <a:gd name="T28" fmla="*/ 130 w 149"/>
                  <a:gd name="T29" fmla="*/ 84 h 157"/>
                  <a:gd name="T30" fmla="*/ 126 w 149"/>
                  <a:gd name="T31" fmla="*/ 90 h 157"/>
                  <a:gd name="T32" fmla="*/ 120 w 149"/>
                  <a:gd name="T33" fmla="*/ 94 h 157"/>
                  <a:gd name="T34" fmla="*/ 114 w 149"/>
                  <a:gd name="T35" fmla="*/ 98 h 157"/>
                  <a:gd name="T36" fmla="*/ 113 w 149"/>
                  <a:gd name="T37" fmla="*/ 101 h 157"/>
                  <a:gd name="T38" fmla="*/ 111 w 149"/>
                  <a:gd name="T39" fmla="*/ 105 h 157"/>
                  <a:gd name="T40" fmla="*/ 107 w 149"/>
                  <a:gd name="T41" fmla="*/ 111 h 157"/>
                  <a:gd name="T42" fmla="*/ 95 w 149"/>
                  <a:gd name="T43" fmla="*/ 119 h 157"/>
                  <a:gd name="T44" fmla="*/ 92 w 149"/>
                  <a:gd name="T45" fmla="*/ 130 h 157"/>
                  <a:gd name="T46" fmla="*/ 82 w 149"/>
                  <a:gd name="T47" fmla="*/ 138 h 157"/>
                  <a:gd name="T48" fmla="*/ 76 w 149"/>
                  <a:gd name="T49" fmla="*/ 138 h 157"/>
                  <a:gd name="T50" fmla="*/ 69 w 149"/>
                  <a:gd name="T51" fmla="*/ 136 h 157"/>
                  <a:gd name="T52" fmla="*/ 65 w 149"/>
                  <a:gd name="T53" fmla="*/ 134 h 157"/>
                  <a:gd name="T54" fmla="*/ 63 w 149"/>
                  <a:gd name="T55" fmla="*/ 134 h 157"/>
                  <a:gd name="T56" fmla="*/ 59 w 149"/>
                  <a:gd name="T57" fmla="*/ 132 h 157"/>
                  <a:gd name="T58" fmla="*/ 55 w 149"/>
                  <a:gd name="T59" fmla="*/ 130 h 157"/>
                  <a:gd name="T60" fmla="*/ 50 w 149"/>
                  <a:gd name="T61" fmla="*/ 130 h 157"/>
                  <a:gd name="T62" fmla="*/ 48 w 149"/>
                  <a:gd name="T63" fmla="*/ 132 h 157"/>
                  <a:gd name="T64" fmla="*/ 44 w 149"/>
                  <a:gd name="T65" fmla="*/ 138 h 157"/>
                  <a:gd name="T66" fmla="*/ 42 w 149"/>
                  <a:gd name="T67" fmla="*/ 145 h 157"/>
                  <a:gd name="T68" fmla="*/ 36 w 149"/>
                  <a:gd name="T69" fmla="*/ 149 h 157"/>
                  <a:gd name="T70" fmla="*/ 29 w 149"/>
                  <a:gd name="T71" fmla="*/ 153 h 157"/>
                  <a:gd name="T72" fmla="*/ 21 w 149"/>
                  <a:gd name="T73" fmla="*/ 157 h 157"/>
                  <a:gd name="T74" fmla="*/ 13 w 149"/>
                  <a:gd name="T75" fmla="*/ 157 h 157"/>
                  <a:gd name="T76" fmla="*/ 10 w 149"/>
                  <a:gd name="T77" fmla="*/ 153 h 157"/>
                  <a:gd name="T78" fmla="*/ 11 w 149"/>
                  <a:gd name="T79" fmla="*/ 149 h 157"/>
                  <a:gd name="T80" fmla="*/ 13 w 149"/>
                  <a:gd name="T81" fmla="*/ 139 h 157"/>
                  <a:gd name="T82" fmla="*/ 11 w 149"/>
                  <a:gd name="T83" fmla="*/ 136 h 157"/>
                  <a:gd name="T84" fmla="*/ 10 w 149"/>
                  <a:gd name="T85" fmla="*/ 132 h 157"/>
                  <a:gd name="T86" fmla="*/ 8 w 149"/>
                  <a:gd name="T87" fmla="*/ 128 h 157"/>
                  <a:gd name="T88" fmla="*/ 6 w 149"/>
                  <a:gd name="T89" fmla="*/ 122 h 157"/>
                  <a:gd name="T90" fmla="*/ 0 w 149"/>
                  <a:gd name="T91" fmla="*/ 117 h 157"/>
                  <a:gd name="T92" fmla="*/ 17 w 149"/>
                  <a:gd name="T93" fmla="*/ 23 h 157"/>
                  <a:gd name="T94" fmla="*/ 53 w 149"/>
                  <a:gd name="T95" fmla="*/ 4 h 157"/>
                  <a:gd name="T96" fmla="*/ 57 w 149"/>
                  <a:gd name="T97" fmla="*/ 10 h 157"/>
                  <a:gd name="T98" fmla="*/ 63 w 149"/>
                  <a:gd name="T99" fmla="*/ 6 h 157"/>
                  <a:gd name="T100" fmla="*/ 69 w 149"/>
                  <a:gd name="T101" fmla="*/ 4 h 157"/>
                  <a:gd name="T102" fmla="*/ 72 w 149"/>
                  <a:gd name="T103" fmla="*/ 4 h 157"/>
                  <a:gd name="T104" fmla="*/ 80 w 149"/>
                  <a:gd name="T105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9" h="157">
                    <a:moveTo>
                      <a:pt x="84" y="0"/>
                    </a:moveTo>
                    <a:lnTo>
                      <a:pt x="84" y="2"/>
                    </a:lnTo>
                    <a:lnTo>
                      <a:pt x="84" y="4"/>
                    </a:lnTo>
                    <a:lnTo>
                      <a:pt x="86" y="6"/>
                    </a:lnTo>
                    <a:lnTo>
                      <a:pt x="88" y="10"/>
                    </a:lnTo>
                    <a:lnTo>
                      <a:pt x="90" y="12"/>
                    </a:lnTo>
                    <a:lnTo>
                      <a:pt x="92" y="14"/>
                    </a:lnTo>
                    <a:lnTo>
                      <a:pt x="93" y="14"/>
                    </a:lnTo>
                    <a:lnTo>
                      <a:pt x="93" y="15"/>
                    </a:lnTo>
                    <a:lnTo>
                      <a:pt x="93" y="17"/>
                    </a:lnTo>
                    <a:lnTo>
                      <a:pt x="95" y="19"/>
                    </a:lnTo>
                    <a:lnTo>
                      <a:pt x="95" y="21"/>
                    </a:lnTo>
                    <a:lnTo>
                      <a:pt x="95" y="23"/>
                    </a:lnTo>
                    <a:lnTo>
                      <a:pt x="97" y="25"/>
                    </a:lnTo>
                    <a:lnTo>
                      <a:pt x="97" y="27"/>
                    </a:lnTo>
                    <a:lnTo>
                      <a:pt x="99" y="29"/>
                    </a:lnTo>
                    <a:lnTo>
                      <a:pt x="99" y="31"/>
                    </a:lnTo>
                    <a:lnTo>
                      <a:pt x="101" y="31"/>
                    </a:lnTo>
                    <a:lnTo>
                      <a:pt x="103" y="33"/>
                    </a:lnTo>
                    <a:lnTo>
                      <a:pt x="105" y="35"/>
                    </a:lnTo>
                    <a:lnTo>
                      <a:pt x="107" y="36"/>
                    </a:lnTo>
                    <a:lnTo>
                      <a:pt x="109" y="36"/>
                    </a:lnTo>
                    <a:lnTo>
                      <a:pt x="111" y="36"/>
                    </a:lnTo>
                    <a:lnTo>
                      <a:pt x="111" y="38"/>
                    </a:lnTo>
                    <a:lnTo>
                      <a:pt x="113" y="38"/>
                    </a:lnTo>
                    <a:lnTo>
                      <a:pt x="114" y="38"/>
                    </a:lnTo>
                    <a:lnTo>
                      <a:pt x="116" y="40"/>
                    </a:lnTo>
                    <a:lnTo>
                      <a:pt x="116" y="42"/>
                    </a:lnTo>
                    <a:lnTo>
                      <a:pt x="116" y="46"/>
                    </a:lnTo>
                    <a:lnTo>
                      <a:pt x="118" y="46"/>
                    </a:lnTo>
                    <a:lnTo>
                      <a:pt x="120" y="46"/>
                    </a:lnTo>
                    <a:lnTo>
                      <a:pt x="122" y="46"/>
                    </a:lnTo>
                    <a:lnTo>
                      <a:pt x="124" y="46"/>
                    </a:lnTo>
                    <a:lnTo>
                      <a:pt x="124" y="48"/>
                    </a:lnTo>
                    <a:lnTo>
                      <a:pt x="124" y="50"/>
                    </a:lnTo>
                    <a:lnTo>
                      <a:pt x="124" y="52"/>
                    </a:lnTo>
                    <a:lnTo>
                      <a:pt x="122" y="52"/>
                    </a:lnTo>
                    <a:lnTo>
                      <a:pt x="124" y="54"/>
                    </a:lnTo>
                    <a:lnTo>
                      <a:pt x="122" y="54"/>
                    </a:lnTo>
                    <a:lnTo>
                      <a:pt x="124" y="54"/>
                    </a:lnTo>
                    <a:lnTo>
                      <a:pt x="122" y="54"/>
                    </a:lnTo>
                    <a:lnTo>
                      <a:pt x="124" y="56"/>
                    </a:lnTo>
                    <a:lnTo>
                      <a:pt x="122" y="56"/>
                    </a:lnTo>
                    <a:lnTo>
                      <a:pt x="124" y="57"/>
                    </a:lnTo>
                    <a:lnTo>
                      <a:pt x="126" y="59"/>
                    </a:lnTo>
                    <a:lnTo>
                      <a:pt x="126" y="61"/>
                    </a:lnTo>
                    <a:lnTo>
                      <a:pt x="128" y="61"/>
                    </a:lnTo>
                    <a:lnTo>
                      <a:pt x="128" y="63"/>
                    </a:lnTo>
                    <a:lnTo>
                      <a:pt x="128" y="65"/>
                    </a:lnTo>
                    <a:lnTo>
                      <a:pt x="132" y="65"/>
                    </a:lnTo>
                    <a:lnTo>
                      <a:pt x="133" y="65"/>
                    </a:lnTo>
                    <a:lnTo>
                      <a:pt x="135" y="65"/>
                    </a:lnTo>
                    <a:lnTo>
                      <a:pt x="137" y="65"/>
                    </a:lnTo>
                    <a:lnTo>
                      <a:pt x="141" y="67"/>
                    </a:lnTo>
                    <a:lnTo>
                      <a:pt x="143" y="67"/>
                    </a:lnTo>
                    <a:lnTo>
                      <a:pt x="145" y="69"/>
                    </a:lnTo>
                    <a:lnTo>
                      <a:pt x="145" y="71"/>
                    </a:lnTo>
                    <a:lnTo>
                      <a:pt x="145" y="73"/>
                    </a:lnTo>
                    <a:lnTo>
                      <a:pt x="147" y="73"/>
                    </a:lnTo>
                    <a:lnTo>
                      <a:pt x="149" y="73"/>
                    </a:lnTo>
                    <a:lnTo>
                      <a:pt x="149" y="75"/>
                    </a:lnTo>
                    <a:lnTo>
                      <a:pt x="147" y="75"/>
                    </a:lnTo>
                    <a:lnTo>
                      <a:pt x="145" y="75"/>
                    </a:lnTo>
                    <a:lnTo>
                      <a:pt x="143" y="77"/>
                    </a:lnTo>
                    <a:lnTo>
                      <a:pt x="143" y="78"/>
                    </a:lnTo>
                    <a:lnTo>
                      <a:pt x="141" y="78"/>
                    </a:lnTo>
                    <a:lnTo>
                      <a:pt x="141" y="80"/>
                    </a:lnTo>
                    <a:lnTo>
                      <a:pt x="139" y="80"/>
                    </a:lnTo>
                    <a:lnTo>
                      <a:pt x="137" y="80"/>
                    </a:lnTo>
                    <a:lnTo>
                      <a:pt x="135" y="82"/>
                    </a:lnTo>
                    <a:lnTo>
                      <a:pt x="135" y="80"/>
                    </a:lnTo>
                    <a:lnTo>
                      <a:pt x="133" y="82"/>
                    </a:lnTo>
                    <a:lnTo>
                      <a:pt x="132" y="82"/>
                    </a:lnTo>
                    <a:lnTo>
                      <a:pt x="132" y="84"/>
                    </a:lnTo>
                    <a:lnTo>
                      <a:pt x="130" y="84"/>
                    </a:lnTo>
                    <a:lnTo>
                      <a:pt x="130" y="86"/>
                    </a:lnTo>
                    <a:lnTo>
                      <a:pt x="128" y="86"/>
                    </a:lnTo>
                    <a:lnTo>
                      <a:pt x="128" y="88"/>
                    </a:lnTo>
                    <a:lnTo>
                      <a:pt x="126" y="88"/>
                    </a:lnTo>
                    <a:lnTo>
                      <a:pt x="126" y="90"/>
                    </a:lnTo>
                    <a:lnTo>
                      <a:pt x="124" y="90"/>
                    </a:lnTo>
                    <a:lnTo>
                      <a:pt x="124" y="92"/>
                    </a:lnTo>
                    <a:lnTo>
                      <a:pt x="122" y="92"/>
                    </a:lnTo>
                    <a:lnTo>
                      <a:pt x="122" y="94"/>
                    </a:lnTo>
                    <a:lnTo>
                      <a:pt x="120" y="94"/>
                    </a:lnTo>
                    <a:lnTo>
                      <a:pt x="120" y="96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6" y="98"/>
                    </a:lnTo>
                    <a:lnTo>
                      <a:pt x="114" y="98"/>
                    </a:lnTo>
                    <a:lnTo>
                      <a:pt x="114" y="99"/>
                    </a:lnTo>
                    <a:lnTo>
                      <a:pt x="114" y="98"/>
                    </a:lnTo>
                    <a:lnTo>
                      <a:pt x="114" y="99"/>
                    </a:lnTo>
                    <a:lnTo>
                      <a:pt x="113" y="99"/>
                    </a:lnTo>
                    <a:lnTo>
                      <a:pt x="113" y="101"/>
                    </a:lnTo>
                    <a:lnTo>
                      <a:pt x="113" y="99"/>
                    </a:lnTo>
                    <a:lnTo>
                      <a:pt x="113" y="101"/>
                    </a:lnTo>
                    <a:lnTo>
                      <a:pt x="111" y="101"/>
                    </a:lnTo>
                    <a:lnTo>
                      <a:pt x="111" y="103"/>
                    </a:lnTo>
                    <a:lnTo>
                      <a:pt x="111" y="105"/>
                    </a:lnTo>
                    <a:lnTo>
                      <a:pt x="111" y="107"/>
                    </a:lnTo>
                    <a:lnTo>
                      <a:pt x="111" y="109"/>
                    </a:lnTo>
                    <a:lnTo>
                      <a:pt x="111" y="111"/>
                    </a:lnTo>
                    <a:lnTo>
                      <a:pt x="109" y="111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5" y="113"/>
                    </a:lnTo>
                    <a:lnTo>
                      <a:pt x="105" y="115"/>
                    </a:lnTo>
                    <a:lnTo>
                      <a:pt x="103" y="117"/>
                    </a:lnTo>
                    <a:lnTo>
                      <a:pt x="95" y="119"/>
                    </a:lnTo>
                    <a:lnTo>
                      <a:pt x="93" y="119"/>
                    </a:lnTo>
                    <a:lnTo>
                      <a:pt x="93" y="120"/>
                    </a:lnTo>
                    <a:lnTo>
                      <a:pt x="93" y="122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4"/>
                    </a:lnTo>
                    <a:lnTo>
                      <a:pt x="90" y="136"/>
                    </a:lnTo>
                    <a:lnTo>
                      <a:pt x="88" y="136"/>
                    </a:ln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36"/>
                    </a:lnTo>
                    <a:lnTo>
                      <a:pt x="80" y="136"/>
                    </a:lnTo>
                    <a:lnTo>
                      <a:pt x="80" y="138"/>
                    </a:lnTo>
                    <a:lnTo>
                      <a:pt x="78" y="138"/>
                    </a:lnTo>
                    <a:lnTo>
                      <a:pt x="76" y="138"/>
                    </a:lnTo>
                    <a:lnTo>
                      <a:pt x="74" y="138"/>
                    </a:lnTo>
                    <a:lnTo>
                      <a:pt x="72" y="136"/>
                    </a:lnTo>
                    <a:lnTo>
                      <a:pt x="71" y="136"/>
                    </a:lnTo>
                    <a:lnTo>
                      <a:pt x="71" y="138"/>
                    </a:lnTo>
                    <a:lnTo>
                      <a:pt x="69" y="136"/>
                    </a:lnTo>
                    <a:lnTo>
                      <a:pt x="67" y="134"/>
                    </a:lnTo>
                    <a:lnTo>
                      <a:pt x="65" y="136"/>
                    </a:lnTo>
                    <a:lnTo>
                      <a:pt x="65" y="134"/>
                    </a:lnTo>
                    <a:lnTo>
                      <a:pt x="65" y="136"/>
                    </a:lnTo>
                    <a:lnTo>
                      <a:pt x="65" y="134"/>
                    </a:lnTo>
                    <a:lnTo>
                      <a:pt x="65" y="136"/>
                    </a:lnTo>
                    <a:lnTo>
                      <a:pt x="65" y="134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3" y="134"/>
                    </a:lnTo>
                    <a:lnTo>
                      <a:pt x="61" y="134"/>
                    </a:lnTo>
                    <a:lnTo>
                      <a:pt x="61" y="132"/>
                    </a:lnTo>
                    <a:lnTo>
                      <a:pt x="59" y="132"/>
                    </a:lnTo>
                    <a:lnTo>
                      <a:pt x="59" y="130"/>
                    </a:lnTo>
                    <a:lnTo>
                      <a:pt x="59" y="132"/>
                    </a:lnTo>
                    <a:lnTo>
                      <a:pt x="59" y="130"/>
                    </a:lnTo>
                    <a:lnTo>
                      <a:pt x="57" y="130"/>
                    </a:lnTo>
                    <a:lnTo>
                      <a:pt x="55" y="130"/>
                    </a:lnTo>
                    <a:lnTo>
                      <a:pt x="55" y="128"/>
                    </a:lnTo>
                    <a:lnTo>
                      <a:pt x="55" y="130"/>
                    </a:lnTo>
                    <a:lnTo>
                      <a:pt x="53" y="128"/>
                    </a:lnTo>
                    <a:lnTo>
                      <a:pt x="51" y="128"/>
                    </a:lnTo>
                    <a:lnTo>
                      <a:pt x="50" y="130"/>
                    </a:lnTo>
                    <a:lnTo>
                      <a:pt x="50" y="128"/>
                    </a:lnTo>
                    <a:lnTo>
                      <a:pt x="50" y="130"/>
                    </a:lnTo>
                    <a:lnTo>
                      <a:pt x="50" y="128"/>
                    </a:lnTo>
                    <a:lnTo>
                      <a:pt x="50" y="130"/>
                    </a:lnTo>
                    <a:lnTo>
                      <a:pt x="48" y="128"/>
                    </a:lnTo>
                    <a:lnTo>
                      <a:pt x="48" y="130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4" y="139"/>
                    </a:lnTo>
                    <a:lnTo>
                      <a:pt x="44" y="141"/>
                    </a:lnTo>
                    <a:lnTo>
                      <a:pt x="44" y="143"/>
                    </a:lnTo>
                    <a:lnTo>
                      <a:pt x="42" y="143"/>
                    </a:lnTo>
                    <a:lnTo>
                      <a:pt x="42" y="145"/>
                    </a:lnTo>
                    <a:lnTo>
                      <a:pt x="40" y="145"/>
                    </a:lnTo>
                    <a:lnTo>
                      <a:pt x="38" y="145"/>
                    </a:lnTo>
                    <a:lnTo>
                      <a:pt x="38" y="147"/>
                    </a:lnTo>
                    <a:lnTo>
                      <a:pt x="36" y="147"/>
                    </a:lnTo>
                    <a:lnTo>
                      <a:pt x="36" y="149"/>
                    </a:lnTo>
                    <a:lnTo>
                      <a:pt x="34" y="149"/>
                    </a:lnTo>
                    <a:lnTo>
                      <a:pt x="34" y="151"/>
                    </a:lnTo>
                    <a:lnTo>
                      <a:pt x="32" y="153"/>
                    </a:lnTo>
                    <a:lnTo>
                      <a:pt x="31" y="153"/>
                    </a:lnTo>
                    <a:lnTo>
                      <a:pt x="29" y="153"/>
                    </a:lnTo>
                    <a:lnTo>
                      <a:pt x="29" y="155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3" y="157"/>
                    </a:lnTo>
                    <a:lnTo>
                      <a:pt x="21" y="157"/>
                    </a:lnTo>
                    <a:lnTo>
                      <a:pt x="19" y="157"/>
                    </a:lnTo>
                    <a:lnTo>
                      <a:pt x="17" y="157"/>
                    </a:lnTo>
                    <a:lnTo>
                      <a:pt x="15" y="155"/>
                    </a:lnTo>
                    <a:lnTo>
                      <a:pt x="13" y="155"/>
                    </a:lnTo>
                    <a:lnTo>
                      <a:pt x="13" y="157"/>
                    </a:lnTo>
                    <a:lnTo>
                      <a:pt x="11" y="157"/>
                    </a:lnTo>
                    <a:lnTo>
                      <a:pt x="11" y="155"/>
                    </a:lnTo>
                    <a:lnTo>
                      <a:pt x="10" y="155"/>
                    </a:lnTo>
                    <a:lnTo>
                      <a:pt x="11" y="155"/>
                    </a:lnTo>
                    <a:lnTo>
                      <a:pt x="10" y="153"/>
                    </a:lnTo>
                    <a:lnTo>
                      <a:pt x="11" y="153"/>
                    </a:lnTo>
                    <a:lnTo>
                      <a:pt x="11" y="151"/>
                    </a:lnTo>
                    <a:lnTo>
                      <a:pt x="10" y="151"/>
                    </a:lnTo>
                    <a:lnTo>
                      <a:pt x="10" y="149"/>
                    </a:lnTo>
                    <a:lnTo>
                      <a:pt x="11" y="149"/>
                    </a:lnTo>
                    <a:lnTo>
                      <a:pt x="11" y="147"/>
                    </a:lnTo>
                    <a:lnTo>
                      <a:pt x="13" y="145"/>
                    </a:lnTo>
                    <a:lnTo>
                      <a:pt x="13" y="143"/>
                    </a:lnTo>
                    <a:lnTo>
                      <a:pt x="13" y="141"/>
                    </a:lnTo>
                    <a:lnTo>
                      <a:pt x="13" y="139"/>
                    </a:lnTo>
                    <a:lnTo>
                      <a:pt x="13" y="138"/>
                    </a:lnTo>
                    <a:lnTo>
                      <a:pt x="11" y="138"/>
                    </a:lnTo>
                    <a:lnTo>
                      <a:pt x="13" y="138"/>
                    </a:lnTo>
                    <a:lnTo>
                      <a:pt x="11" y="138"/>
                    </a:lnTo>
                    <a:lnTo>
                      <a:pt x="11" y="136"/>
                    </a:lnTo>
                    <a:lnTo>
                      <a:pt x="11" y="134"/>
                    </a:lnTo>
                    <a:lnTo>
                      <a:pt x="11" y="136"/>
                    </a:lnTo>
                    <a:lnTo>
                      <a:pt x="11" y="134"/>
                    </a:lnTo>
                    <a:lnTo>
                      <a:pt x="11" y="132"/>
                    </a:lnTo>
                    <a:lnTo>
                      <a:pt x="10" y="132"/>
                    </a:lnTo>
                    <a:lnTo>
                      <a:pt x="11" y="132"/>
                    </a:lnTo>
                    <a:lnTo>
                      <a:pt x="10" y="132"/>
                    </a:lnTo>
                    <a:lnTo>
                      <a:pt x="10" y="130"/>
                    </a:lnTo>
                    <a:lnTo>
                      <a:pt x="10" y="128"/>
                    </a:lnTo>
                    <a:lnTo>
                      <a:pt x="8" y="128"/>
                    </a:lnTo>
                    <a:lnTo>
                      <a:pt x="8" y="126"/>
                    </a:lnTo>
                    <a:lnTo>
                      <a:pt x="8" y="124"/>
                    </a:lnTo>
                    <a:lnTo>
                      <a:pt x="6" y="124"/>
                    </a:lnTo>
                    <a:lnTo>
                      <a:pt x="8" y="124"/>
                    </a:lnTo>
                    <a:lnTo>
                      <a:pt x="6" y="122"/>
                    </a:lnTo>
                    <a:lnTo>
                      <a:pt x="4" y="122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0" y="119"/>
                    </a:lnTo>
                    <a:lnTo>
                      <a:pt x="0" y="117"/>
                    </a:lnTo>
                    <a:lnTo>
                      <a:pt x="0" y="94"/>
                    </a:lnTo>
                    <a:lnTo>
                      <a:pt x="0" y="71"/>
                    </a:lnTo>
                    <a:lnTo>
                      <a:pt x="17" y="71"/>
                    </a:lnTo>
                    <a:lnTo>
                      <a:pt x="17" y="54"/>
                    </a:lnTo>
                    <a:lnTo>
                      <a:pt x="17" y="23"/>
                    </a:lnTo>
                    <a:lnTo>
                      <a:pt x="17" y="17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50" y="4"/>
                    </a:lnTo>
                    <a:lnTo>
                      <a:pt x="53" y="4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55" y="8"/>
                    </a:lnTo>
                    <a:lnTo>
                      <a:pt x="57" y="8"/>
                    </a:lnTo>
                    <a:lnTo>
                      <a:pt x="57" y="10"/>
                    </a:lnTo>
                    <a:lnTo>
                      <a:pt x="57" y="12"/>
                    </a:lnTo>
                    <a:lnTo>
                      <a:pt x="59" y="12"/>
                    </a:lnTo>
                    <a:lnTo>
                      <a:pt x="61" y="10"/>
                    </a:lnTo>
                    <a:lnTo>
                      <a:pt x="63" y="8"/>
                    </a:lnTo>
                    <a:lnTo>
                      <a:pt x="63" y="6"/>
                    </a:lnTo>
                    <a:lnTo>
                      <a:pt x="63" y="8"/>
                    </a:lnTo>
                    <a:lnTo>
                      <a:pt x="65" y="6"/>
                    </a:lnTo>
                    <a:lnTo>
                      <a:pt x="67" y="6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2" y="4"/>
                    </a:lnTo>
                    <a:lnTo>
                      <a:pt x="71" y="4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2"/>
                    </a:lnTo>
                    <a:lnTo>
                      <a:pt x="76" y="2"/>
                    </a:lnTo>
                    <a:lnTo>
                      <a:pt x="78" y="0"/>
                    </a:lnTo>
                    <a:lnTo>
                      <a:pt x="80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82" y="0"/>
                    </a:lnTo>
                    <a:lnTo>
                      <a:pt x="8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4" name="Freeform 258">
                <a:extLst>
                  <a:ext uri="{FF2B5EF4-FFF2-40B4-BE49-F238E27FC236}">
                    <a16:creationId xmlns:a16="http://schemas.microsoft.com/office/drawing/2014/main" id="{3EA75B52-8155-D9D4-8EC0-0CA7A02639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26214" y="-1511963"/>
                <a:ext cx="195370" cy="179954"/>
              </a:xfrm>
              <a:custGeom>
                <a:avLst/>
                <a:gdLst>
                  <a:gd name="T0" fmla="*/ 91 w 124"/>
                  <a:gd name="T1" fmla="*/ 8 h 114"/>
                  <a:gd name="T2" fmla="*/ 97 w 124"/>
                  <a:gd name="T3" fmla="*/ 9 h 114"/>
                  <a:gd name="T4" fmla="*/ 105 w 124"/>
                  <a:gd name="T5" fmla="*/ 11 h 114"/>
                  <a:gd name="T6" fmla="*/ 112 w 124"/>
                  <a:gd name="T7" fmla="*/ 13 h 114"/>
                  <a:gd name="T8" fmla="*/ 120 w 124"/>
                  <a:gd name="T9" fmla="*/ 17 h 114"/>
                  <a:gd name="T10" fmla="*/ 122 w 124"/>
                  <a:gd name="T11" fmla="*/ 21 h 114"/>
                  <a:gd name="T12" fmla="*/ 124 w 124"/>
                  <a:gd name="T13" fmla="*/ 29 h 114"/>
                  <a:gd name="T14" fmla="*/ 124 w 124"/>
                  <a:gd name="T15" fmla="*/ 34 h 114"/>
                  <a:gd name="T16" fmla="*/ 124 w 124"/>
                  <a:gd name="T17" fmla="*/ 38 h 114"/>
                  <a:gd name="T18" fmla="*/ 124 w 124"/>
                  <a:gd name="T19" fmla="*/ 44 h 114"/>
                  <a:gd name="T20" fmla="*/ 122 w 124"/>
                  <a:gd name="T21" fmla="*/ 50 h 114"/>
                  <a:gd name="T22" fmla="*/ 118 w 124"/>
                  <a:gd name="T23" fmla="*/ 53 h 114"/>
                  <a:gd name="T24" fmla="*/ 122 w 124"/>
                  <a:gd name="T25" fmla="*/ 57 h 114"/>
                  <a:gd name="T26" fmla="*/ 122 w 124"/>
                  <a:gd name="T27" fmla="*/ 65 h 114"/>
                  <a:gd name="T28" fmla="*/ 122 w 124"/>
                  <a:gd name="T29" fmla="*/ 69 h 114"/>
                  <a:gd name="T30" fmla="*/ 124 w 124"/>
                  <a:gd name="T31" fmla="*/ 69 h 114"/>
                  <a:gd name="T32" fmla="*/ 122 w 124"/>
                  <a:gd name="T33" fmla="*/ 74 h 114"/>
                  <a:gd name="T34" fmla="*/ 120 w 124"/>
                  <a:gd name="T35" fmla="*/ 76 h 114"/>
                  <a:gd name="T36" fmla="*/ 116 w 124"/>
                  <a:gd name="T37" fmla="*/ 82 h 114"/>
                  <a:gd name="T38" fmla="*/ 114 w 124"/>
                  <a:gd name="T39" fmla="*/ 92 h 114"/>
                  <a:gd name="T40" fmla="*/ 99 w 124"/>
                  <a:gd name="T41" fmla="*/ 113 h 114"/>
                  <a:gd name="T42" fmla="*/ 91 w 124"/>
                  <a:gd name="T43" fmla="*/ 113 h 114"/>
                  <a:gd name="T44" fmla="*/ 84 w 124"/>
                  <a:gd name="T45" fmla="*/ 113 h 114"/>
                  <a:gd name="T46" fmla="*/ 78 w 124"/>
                  <a:gd name="T47" fmla="*/ 113 h 114"/>
                  <a:gd name="T48" fmla="*/ 72 w 124"/>
                  <a:gd name="T49" fmla="*/ 111 h 114"/>
                  <a:gd name="T50" fmla="*/ 67 w 124"/>
                  <a:gd name="T51" fmla="*/ 111 h 114"/>
                  <a:gd name="T52" fmla="*/ 61 w 124"/>
                  <a:gd name="T53" fmla="*/ 109 h 114"/>
                  <a:gd name="T54" fmla="*/ 57 w 124"/>
                  <a:gd name="T55" fmla="*/ 103 h 114"/>
                  <a:gd name="T56" fmla="*/ 48 w 124"/>
                  <a:gd name="T57" fmla="*/ 101 h 114"/>
                  <a:gd name="T58" fmla="*/ 42 w 124"/>
                  <a:gd name="T59" fmla="*/ 97 h 114"/>
                  <a:gd name="T60" fmla="*/ 40 w 124"/>
                  <a:gd name="T61" fmla="*/ 92 h 114"/>
                  <a:gd name="T62" fmla="*/ 40 w 124"/>
                  <a:gd name="T63" fmla="*/ 90 h 114"/>
                  <a:gd name="T64" fmla="*/ 40 w 124"/>
                  <a:gd name="T65" fmla="*/ 84 h 114"/>
                  <a:gd name="T66" fmla="*/ 34 w 124"/>
                  <a:gd name="T67" fmla="*/ 82 h 114"/>
                  <a:gd name="T68" fmla="*/ 30 w 124"/>
                  <a:gd name="T69" fmla="*/ 74 h 114"/>
                  <a:gd name="T70" fmla="*/ 25 w 124"/>
                  <a:gd name="T71" fmla="*/ 72 h 114"/>
                  <a:gd name="T72" fmla="*/ 17 w 124"/>
                  <a:gd name="T73" fmla="*/ 67 h 114"/>
                  <a:gd name="T74" fmla="*/ 13 w 124"/>
                  <a:gd name="T75" fmla="*/ 61 h 114"/>
                  <a:gd name="T76" fmla="*/ 9 w 124"/>
                  <a:gd name="T77" fmla="*/ 53 h 114"/>
                  <a:gd name="T78" fmla="*/ 6 w 124"/>
                  <a:gd name="T79" fmla="*/ 48 h 114"/>
                  <a:gd name="T80" fmla="*/ 0 w 124"/>
                  <a:gd name="T81" fmla="*/ 38 h 114"/>
                  <a:gd name="T82" fmla="*/ 4 w 124"/>
                  <a:gd name="T83" fmla="*/ 36 h 114"/>
                  <a:gd name="T84" fmla="*/ 8 w 124"/>
                  <a:gd name="T85" fmla="*/ 38 h 114"/>
                  <a:gd name="T86" fmla="*/ 13 w 124"/>
                  <a:gd name="T87" fmla="*/ 40 h 114"/>
                  <a:gd name="T88" fmla="*/ 19 w 124"/>
                  <a:gd name="T89" fmla="*/ 38 h 114"/>
                  <a:gd name="T90" fmla="*/ 27 w 124"/>
                  <a:gd name="T91" fmla="*/ 40 h 114"/>
                  <a:gd name="T92" fmla="*/ 32 w 124"/>
                  <a:gd name="T93" fmla="*/ 34 h 114"/>
                  <a:gd name="T94" fmla="*/ 38 w 124"/>
                  <a:gd name="T95" fmla="*/ 27 h 114"/>
                  <a:gd name="T96" fmla="*/ 55 w 124"/>
                  <a:gd name="T97" fmla="*/ 15 h 114"/>
                  <a:gd name="T98" fmla="*/ 57 w 124"/>
                  <a:gd name="T99" fmla="*/ 9 h 114"/>
                  <a:gd name="T100" fmla="*/ 63 w 124"/>
                  <a:gd name="T101" fmla="*/ 2 h 114"/>
                  <a:gd name="T102" fmla="*/ 69 w 124"/>
                  <a:gd name="T103" fmla="*/ 0 h 114"/>
                  <a:gd name="T104" fmla="*/ 78 w 124"/>
                  <a:gd name="T10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114">
                    <a:moveTo>
                      <a:pt x="82" y="0"/>
                    </a:moveTo>
                    <a:lnTo>
                      <a:pt x="82" y="6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6"/>
                    </a:lnTo>
                    <a:lnTo>
                      <a:pt x="95" y="6"/>
                    </a:lnTo>
                    <a:lnTo>
                      <a:pt x="97" y="8"/>
                    </a:lnTo>
                    <a:lnTo>
                      <a:pt x="97" y="9"/>
                    </a:lnTo>
                    <a:lnTo>
                      <a:pt x="99" y="9"/>
                    </a:lnTo>
                    <a:lnTo>
                      <a:pt x="101" y="9"/>
                    </a:lnTo>
                    <a:lnTo>
                      <a:pt x="103" y="9"/>
                    </a:lnTo>
                    <a:lnTo>
                      <a:pt x="105" y="11"/>
                    </a:lnTo>
                    <a:lnTo>
                      <a:pt x="107" y="11"/>
                    </a:lnTo>
                    <a:lnTo>
                      <a:pt x="107" y="13"/>
                    </a:lnTo>
                    <a:lnTo>
                      <a:pt x="109" y="13"/>
                    </a:lnTo>
                    <a:lnTo>
                      <a:pt x="112" y="13"/>
                    </a:lnTo>
                    <a:lnTo>
                      <a:pt x="116" y="15"/>
                    </a:lnTo>
                    <a:lnTo>
                      <a:pt x="118" y="17"/>
                    </a:lnTo>
                    <a:lnTo>
                      <a:pt x="120" y="19"/>
                    </a:lnTo>
                    <a:lnTo>
                      <a:pt x="120" y="17"/>
                    </a:lnTo>
                    <a:lnTo>
                      <a:pt x="122" y="19"/>
                    </a:lnTo>
                    <a:lnTo>
                      <a:pt x="122" y="17"/>
                    </a:lnTo>
                    <a:lnTo>
                      <a:pt x="124" y="19"/>
                    </a:lnTo>
                    <a:lnTo>
                      <a:pt x="122" y="21"/>
                    </a:lnTo>
                    <a:lnTo>
                      <a:pt x="120" y="21"/>
                    </a:lnTo>
                    <a:lnTo>
                      <a:pt x="122" y="25"/>
                    </a:lnTo>
                    <a:lnTo>
                      <a:pt x="124" y="27"/>
                    </a:lnTo>
                    <a:lnTo>
                      <a:pt x="124" y="29"/>
                    </a:lnTo>
                    <a:lnTo>
                      <a:pt x="124" y="30"/>
                    </a:lnTo>
                    <a:lnTo>
                      <a:pt x="122" y="30"/>
                    </a:lnTo>
                    <a:lnTo>
                      <a:pt x="124" y="32"/>
                    </a:lnTo>
                    <a:lnTo>
                      <a:pt x="124" y="34"/>
                    </a:lnTo>
                    <a:lnTo>
                      <a:pt x="124" y="36"/>
                    </a:lnTo>
                    <a:lnTo>
                      <a:pt x="122" y="36"/>
                    </a:lnTo>
                    <a:lnTo>
                      <a:pt x="122" y="38"/>
                    </a:lnTo>
                    <a:lnTo>
                      <a:pt x="124" y="38"/>
                    </a:lnTo>
                    <a:lnTo>
                      <a:pt x="122" y="38"/>
                    </a:lnTo>
                    <a:lnTo>
                      <a:pt x="122" y="40"/>
                    </a:lnTo>
                    <a:lnTo>
                      <a:pt x="124" y="42"/>
                    </a:lnTo>
                    <a:lnTo>
                      <a:pt x="124" y="44"/>
                    </a:lnTo>
                    <a:lnTo>
                      <a:pt x="124" y="46"/>
                    </a:lnTo>
                    <a:lnTo>
                      <a:pt x="124" y="48"/>
                    </a:lnTo>
                    <a:lnTo>
                      <a:pt x="122" y="48"/>
                    </a:lnTo>
                    <a:lnTo>
                      <a:pt x="122" y="50"/>
                    </a:lnTo>
                    <a:lnTo>
                      <a:pt x="122" y="51"/>
                    </a:lnTo>
                    <a:lnTo>
                      <a:pt x="122" y="53"/>
                    </a:lnTo>
                    <a:lnTo>
                      <a:pt x="120" y="53"/>
                    </a:lnTo>
                    <a:lnTo>
                      <a:pt x="118" y="53"/>
                    </a:lnTo>
                    <a:lnTo>
                      <a:pt x="118" y="55"/>
                    </a:lnTo>
                    <a:lnTo>
                      <a:pt x="118" y="57"/>
                    </a:lnTo>
                    <a:lnTo>
                      <a:pt x="120" y="57"/>
                    </a:lnTo>
                    <a:lnTo>
                      <a:pt x="122" y="57"/>
                    </a:lnTo>
                    <a:lnTo>
                      <a:pt x="120" y="61"/>
                    </a:lnTo>
                    <a:lnTo>
                      <a:pt x="120" y="63"/>
                    </a:lnTo>
                    <a:lnTo>
                      <a:pt x="120" y="65"/>
                    </a:lnTo>
                    <a:lnTo>
                      <a:pt x="122" y="65"/>
                    </a:lnTo>
                    <a:lnTo>
                      <a:pt x="120" y="67"/>
                    </a:lnTo>
                    <a:lnTo>
                      <a:pt x="122" y="67"/>
                    </a:lnTo>
                    <a:lnTo>
                      <a:pt x="120" y="69"/>
                    </a:lnTo>
                    <a:lnTo>
                      <a:pt x="122" y="69"/>
                    </a:lnTo>
                    <a:lnTo>
                      <a:pt x="122" y="67"/>
                    </a:lnTo>
                    <a:lnTo>
                      <a:pt x="124" y="69"/>
                    </a:lnTo>
                    <a:lnTo>
                      <a:pt x="122" y="69"/>
                    </a:lnTo>
                    <a:lnTo>
                      <a:pt x="124" y="69"/>
                    </a:lnTo>
                    <a:lnTo>
                      <a:pt x="124" y="71"/>
                    </a:lnTo>
                    <a:lnTo>
                      <a:pt x="124" y="72"/>
                    </a:lnTo>
                    <a:lnTo>
                      <a:pt x="124" y="74"/>
                    </a:lnTo>
                    <a:lnTo>
                      <a:pt x="122" y="74"/>
                    </a:lnTo>
                    <a:lnTo>
                      <a:pt x="122" y="76"/>
                    </a:lnTo>
                    <a:lnTo>
                      <a:pt x="122" y="74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2" y="78"/>
                    </a:lnTo>
                    <a:lnTo>
                      <a:pt x="120" y="80"/>
                    </a:lnTo>
                    <a:lnTo>
                      <a:pt x="118" y="82"/>
                    </a:lnTo>
                    <a:lnTo>
                      <a:pt x="116" y="82"/>
                    </a:lnTo>
                    <a:lnTo>
                      <a:pt x="114" y="84"/>
                    </a:lnTo>
                    <a:lnTo>
                      <a:pt x="116" y="88"/>
                    </a:lnTo>
                    <a:lnTo>
                      <a:pt x="116" y="90"/>
                    </a:lnTo>
                    <a:lnTo>
                      <a:pt x="114" y="92"/>
                    </a:lnTo>
                    <a:lnTo>
                      <a:pt x="112" y="93"/>
                    </a:lnTo>
                    <a:lnTo>
                      <a:pt x="114" y="93"/>
                    </a:lnTo>
                    <a:lnTo>
                      <a:pt x="114" y="95"/>
                    </a:lnTo>
                    <a:lnTo>
                      <a:pt x="99" y="113"/>
                    </a:lnTo>
                    <a:lnTo>
                      <a:pt x="97" y="114"/>
                    </a:lnTo>
                    <a:lnTo>
                      <a:pt x="95" y="114"/>
                    </a:lnTo>
                    <a:lnTo>
                      <a:pt x="93" y="113"/>
                    </a:lnTo>
                    <a:lnTo>
                      <a:pt x="91" y="113"/>
                    </a:lnTo>
                    <a:lnTo>
                      <a:pt x="90" y="113"/>
                    </a:lnTo>
                    <a:lnTo>
                      <a:pt x="88" y="113"/>
                    </a:lnTo>
                    <a:lnTo>
                      <a:pt x="86" y="113"/>
                    </a:lnTo>
                    <a:lnTo>
                      <a:pt x="84" y="113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80" y="113"/>
                    </a:lnTo>
                    <a:lnTo>
                      <a:pt x="78" y="113"/>
                    </a:lnTo>
                    <a:lnTo>
                      <a:pt x="76" y="113"/>
                    </a:lnTo>
                    <a:lnTo>
                      <a:pt x="76" y="111"/>
                    </a:lnTo>
                    <a:lnTo>
                      <a:pt x="74" y="111"/>
                    </a:lnTo>
                    <a:lnTo>
                      <a:pt x="72" y="111"/>
                    </a:lnTo>
                    <a:lnTo>
                      <a:pt x="70" y="111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5" y="111"/>
                    </a:lnTo>
                    <a:lnTo>
                      <a:pt x="65" y="109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7"/>
                    </a:lnTo>
                    <a:lnTo>
                      <a:pt x="61" y="105"/>
                    </a:lnTo>
                    <a:lnTo>
                      <a:pt x="59" y="103"/>
                    </a:lnTo>
                    <a:lnTo>
                      <a:pt x="57" y="103"/>
                    </a:lnTo>
                    <a:lnTo>
                      <a:pt x="53" y="101"/>
                    </a:lnTo>
                    <a:lnTo>
                      <a:pt x="51" y="101"/>
                    </a:lnTo>
                    <a:lnTo>
                      <a:pt x="49" y="101"/>
                    </a:lnTo>
                    <a:lnTo>
                      <a:pt x="48" y="101"/>
                    </a:lnTo>
                    <a:lnTo>
                      <a:pt x="44" y="101"/>
                    </a:lnTo>
                    <a:lnTo>
                      <a:pt x="44" y="99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2" y="95"/>
                    </a:lnTo>
                    <a:lnTo>
                      <a:pt x="40" y="93"/>
                    </a:lnTo>
                    <a:lnTo>
                      <a:pt x="38" y="92"/>
                    </a:lnTo>
                    <a:lnTo>
                      <a:pt x="40" y="92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4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2" y="82"/>
                    </a:lnTo>
                    <a:lnTo>
                      <a:pt x="32" y="78"/>
                    </a:lnTo>
                    <a:lnTo>
                      <a:pt x="32" y="76"/>
                    </a:lnTo>
                    <a:lnTo>
                      <a:pt x="30" y="74"/>
                    </a:lnTo>
                    <a:lnTo>
                      <a:pt x="29" y="74"/>
                    </a:lnTo>
                    <a:lnTo>
                      <a:pt x="27" y="74"/>
                    </a:lnTo>
                    <a:lnTo>
                      <a:pt x="27" y="72"/>
                    </a:lnTo>
                    <a:lnTo>
                      <a:pt x="25" y="72"/>
                    </a:lnTo>
                    <a:lnTo>
                      <a:pt x="23" y="72"/>
                    </a:lnTo>
                    <a:lnTo>
                      <a:pt x="21" y="71"/>
                    </a:lnTo>
                    <a:lnTo>
                      <a:pt x="19" y="69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3" y="63"/>
                    </a:lnTo>
                    <a:lnTo>
                      <a:pt x="13" y="61"/>
                    </a:lnTo>
                    <a:lnTo>
                      <a:pt x="11" y="59"/>
                    </a:lnTo>
                    <a:lnTo>
                      <a:pt x="11" y="57"/>
                    </a:lnTo>
                    <a:lnTo>
                      <a:pt x="11" y="55"/>
                    </a:lnTo>
                    <a:lnTo>
                      <a:pt x="9" y="53"/>
                    </a:lnTo>
                    <a:lnTo>
                      <a:pt x="9" y="51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6" y="48"/>
                    </a:lnTo>
                    <a:lnTo>
                      <a:pt x="4" y="46"/>
                    </a:lnTo>
                    <a:lnTo>
                      <a:pt x="2" y="42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9" y="38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5" y="38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21" y="40"/>
                    </a:lnTo>
                    <a:lnTo>
                      <a:pt x="23" y="40"/>
                    </a:lnTo>
                    <a:lnTo>
                      <a:pt x="25" y="40"/>
                    </a:lnTo>
                    <a:lnTo>
                      <a:pt x="27" y="40"/>
                    </a:lnTo>
                    <a:lnTo>
                      <a:pt x="29" y="38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4" y="30"/>
                    </a:lnTo>
                    <a:lnTo>
                      <a:pt x="36" y="30"/>
                    </a:lnTo>
                    <a:lnTo>
                      <a:pt x="38" y="29"/>
                    </a:lnTo>
                    <a:lnTo>
                      <a:pt x="38" y="27"/>
                    </a:lnTo>
                    <a:lnTo>
                      <a:pt x="40" y="23"/>
                    </a:lnTo>
                    <a:lnTo>
                      <a:pt x="46" y="21"/>
                    </a:lnTo>
                    <a:lnTo>
                      <a:pt x="48" y="19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7" y="8"/>
                    </a:lnTo>
                    <a:lnTo>
                      <a:pt x="59" y="6"/>
                    </a:lnTo>
                    <a:lnTo>
                      <a:pt x="61" y="6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69" y="0"/>
                    </a:lnTo>
                    <a:lnTo>
                      <a:pt x="70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2"/>
                    </a:lnTo>
                    <a:lnTo>
                      <a:pt x="80" y="0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5" name="Freeform 259">
                <a:extLst>
                  <a:ext uri="{FF2B5EF4-FFF2-40B4-BE49-F238E27FC236}">
                    <a16:creationId xmlns:a16="http://schemas.microsoft.com/office/drawing/2014/main" id="{8121AA3C-1998-4B05-40C3-30E25CDB84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4298" y="-1701387"/>
                <a:ext cx="294635" cy="252566"/>
              </a:xfrm>
              <a:custGeom>
                <a:avLst/>
                <a:gdLst>
                  <a:gd name="T0" fmla="*/ 180 w 187"/>
                  <a:gd name="T1" fmla="*/ 23 h 160"/>
                  <a:gd name="T2" fmla="*/ 183 w 187"/>
                  <a:gd name="T3" fmla="*/ 32 h 160"/>
                  <a:gd name="T4" fmla="*/ 183 w 187"/>
                  <a:gd name="T5" fmla="*/ 40 h 160"/>
                  <a:gd name="T6" fmla="*/ 182 w 187"/>
                  <a:gd name="T7" fmla="*/ 47 h 160"/>
                  <a:gd name="T8" fmla="*/ 180 w 187"/>
                  <a:gd name="T9" fmla="*/ 53 h 160"/>
                  <a:gd name="T10" fmla="*/ 180 w 187"/>
                  <a:gd name="T11" fmla="*/ 63 h 160"/>
                  <a:gd name="T12" fmla="*/ 182 w 187"/>
                  <a:gd name="T13" fmla="*/ 68 h 160"/>
                  <a:gd name="T14" fmla="*/ 174 w 187"/>
                  <a:gd name="T15" fmla="*/ 74 h 160"/>
                  <a:gd name="T16" fmla="*/ 172 w 187"/>
                  <a:gd name="T17" fmla="*/ 88 h 160"/>
                  <a:gd name="T18" fmla="*/ 174 w 187"/>
                  <a:gd name="T19" fmla="*/ 93 h 160"/>
                  <a:gd name="T20" fmla="*/ 178 w 187"/>
                  <a:gd name="T21" fmla="*/ 93 h 160"/>
                  <a:gd name="T22" fmla="*/ 157 w 187"/>
                  <a:gd name="T23" fmla="*/ 101 h 160"/>
                  <a:gd name="T24" fmla="*/ 132 w 187"/>
                  <a:gd name="T25" fmla="*/ 112 h 160"/>
                  <a:gd name="T26" fmla="*/ 130 w 187"/>
                  <a:gd name="T27" fmla="*/ 122 h 160"/>
                  <a:gd name="T28" fmla="*/ 121 w 187"/>
                  <a:gd name="T29" fmla="*/ 122 h 160"/>
                  <a:gd name="T30" fmla="*/ 109 w 187"/>
                  <a:gd name="T31" fmla="*/ 128 h 160"/>
                  <a:gd name="T32" fmla="*/ 100 w 187"/>
                  <a:gd name="T33" fmla="*/ 139 h 160"/>
                  <a:gd name="T34" fmla="*/ 86 w 187"/>
                  <a:gd name="T35" fmla="*/ 150 h 160"/>
                  <a:gd name="T36" fmla="*/ 77 w 187"/>
                  <a:gd name="T37" fmla="*/ 160 h 160"/>
                  <a:gd name="T38" fmla="*/ 65 w 187"/>
                  <a:gd name="T39" fmla="*/ 158 h 160"/>
                  <a:gd name="T40" fmla="*/ 60 w 187"/>
                  <a:gd name="T41" fmla="*/ 156 h 160"/>
                  <a:gd name="T42" fmla="*/ 52 w 187"/>
                  <a:gd name="T43" fmla="*/ 156 h 160"/>
                  <a:gd name="T44" fmla="*/ 46 w 187"/>
                  <a:gd name="T45" fmla="*/ 152 h 160"/>
                  <a:gd name="T46" fmla="*/ 23 w 187"/>
                  <a:gd name="T47" fmla="*/ 154 h 160"/>
                  <a:gd name="T48" fmla="*/ 18 w 187"/>
                  <a:gd name="T49" fmla="*/ 149 h 160"/>
                  <a:gd name="T50" fmla="*/ 10 w 187"/>
                  <a:gd name="T51" fmla="*/ 141 h 160"/>
                  <a:gd name="T52" fmla="*/ 2 w 187"/>
                  <a:gd name="T53" fmla="*/ 135 h 160"/>
                  <a:gd name="T54" fmla="*/ 25 w 187"/>
                  <a:gd name="T55" fmla="*/ 78 h 160"/>
                  <a:gd name="T56" fmla="*/ 31 w 187"/>
                  <a:gd name="T57" fmla="*/ 70 h 160"/>
                  <a:gd name="T58" fmla="*/ 33 w 187"/>
                  <a:gd name="T59" fmla="*/ 55 h 160"/>
                  <a:gd name="T60" fmla="*/ 33 w 187"/>
                  <a:gd name="T61" fmla="*/ 46 h 160"/>
                  <a:gd name="T62" fmla="*/ 37 w 187"/>
                  <a:gd name="T63" fmla="*/ 46 h 160"/>
                  <a:gd name="T64" fmla="*/ 42 w 187"/>
                  <a:gd name="T65" fmla="*/ 49 h 160"/>
                  <a:gd name="T66" fmla="*/ 54 w 187"/>
                  <a:gd name="T67" fmla="*/ 49 h 160"/>
                  <a:gd name="T68" fmla="*/ 54 w 187"/>
                  <a:gd name="T69" fmla="*/ 53 h 160"/>
                  <a:gd name="T70" fmla="*/ 61 w 187"/>
                  <a:gd name="T71" fmla="*/ 59 h 160"/>
                  <a:gd name="T72" fmla="*/ 71 w 187"/>
                  <a:gd name="T73" fmla="*/ 59 h 160"/>
                  <a:gd name="T74" fmla="*/ 81 w 187"/>
                  <a:gd name="T75" fmla="*/ 59 h 160"/>
                  <a:gd name="T76" fmla="*/ 84 w 187"/>
                  <a:gd name="T77" fmla="*/ 57 h 160"/>
                  <a:gd name="T78" fmla="*/ 92 w 187"/>
                  <a:gd name="T79" fmla="*/ 65 h 160"/>
                  <a:gd name="T80" fmla="*/ 100 w 187"/>
                  <a:gd name="T81" fmla="*/ 68 h 160"/>
                  <a:gd name="T82" fmla="*/ 105 w 187"/>
                  <a:gd name="T83" fmla="*/ 76 h 160"/>
                  <a:gd name="T84" fmla="*/ 109 w 187"/>
                  <a:gd name="T85" fmla="*/ 80 h 160"/>
                  <a:gd name="T86" fmla="*/ 117 w 187"/>
                  <a:gd name="T87" fmla="*/ 82 h 160"/>
                  <a:gd name="T88" fmla="*/ 122 w 187"/>
                  <a:gd name="T89" fmla="*/ 80 h 160"/>
                  <a:gd name="T90" fmla="*/ 124 w 187"/>
                  <a:gd name="T91" fmla="*/ 84 h 160"/>
                  <a:gd name="T92" fmla="*/ 119 w 187"/>
                  <a:gd name="T93" fmla="*/ 65 h 160"/>
                  <a:gd name="T94" fmla="*/ 117 w 187"/>
                  <a:gd name="T95" fmla="*/ 67 h 160"/>
                  <a:gd name="T96" fmla="*/ 105 w 187"/>
                  <a:gd name="T97" fmla="*/ 59 h 160"/>
                  <a:gd name="T98" fmla="*/ 103 w 187"/>
                  <a:gd name="T99" fmla="*/ 51 h 160"/>
                  <a:gd name="T100" fmla="*/ 105 w 187"/>
                  <a:gd name="T101" fmla="*/ 42 h 160"/>
                  <a:gd name="T102" fmla="*/ 105 w 187"/>
                  <a:gd name="T103" fmla="*/ 34 h 160"/>
                  <a:gd name="T104" fmla="*/ 107 w 187"/>
                  <a:gd name="T105" fmla="*/ 23 h 160"/>
                  <a:gd name="T106" fmla="*/ 111 w 187"/>
                  <a:gd name="T107" fmla="*/ 4 h 160"/>
                  <a:gd name="T108" fmla="*/ 149 w 187"/>
                  <a:gd name="T109" fmla="*/ 5 h 160"/>
                  <a:gd name="T110" fmla="*/ 155 w 187"/>
                  <a:gd name="T111" fmla="*/ 11 h 160"/>
                  <a:gd name="T112" fmla="*/ 164 w 187"/>
                  <a:gd name="T113" fmla="*/ 1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7" h="160">
                    <a:moveTo>
                      <a:pt x="174" y="19"/>
                    </a:moveTo>
                    <a:lnTo>
                      <a:pt x="174" y="21"/>
                    </a:lnTo>
                    <a:lnTo>
                      <a:pt x="176" y="21"/>
                    </a:lnTo>
                    <a:lnTo>
                      <a:pt x="176" y="23"/>
                    </a:lnTo>
                    <a:lnTo>
                      <a:pt x="178" y="23"/>
                    </a:lnTo>
                    <a:lnTo>
                      <a:pt x="180" y="23"/>
                    </a:lnTo>
                    <a:lnTo>
                      <a:pt x="180" y="25"/>
                    </a:lnTo>
                    <a:lnTo>
                      <a:pt x="182" y="26"/>
                    </a:lnTo>
                    <a:lnTo>
                      <a:pt x="180" y="30"/>
                    </a:lnTo>
                    <a:lnTo>
                      <a:pt x="182" y="30"/>
                    </a:lnTo>
                    <a:lnTo>
                      <a:pt x="183" y="30"/>
                    </a:lnTo>
                    <a:lnTo>
                      <a:pt x="183" y="32"/>
                    </a:lnTo>
                    <a:lnTo>
                      <a:pt x="183" y="34"/>
                    </a:lnTo>
                    <a:lnTo>
                      <a:pt x="185" y="36"/>
                    </a:lnTo>
                    <a:lnTo>
                      <a:pt x="185" y="38"/>
                    </a:lnTo>
                    <a:lnTo>
                      <a:pt x="187" y="38"/>
                    </a:lnTo>
                    <a:lnTo>
                      <a:pt x="185" y="40"/>
                    </a:lnTo>
                    <a:lnTo>
                      <a:pt x="183" y="40"/>
                    </a:lnTo>
                    <a:lnTo>
                      <a:pt x="183" y="42"/>
                    </a:lnTo>
                    <a:lnTo>
                      <a:pt x="182" y="42"/>
                    </a:lnTo>
                    <a:lnTo>
                      <a:pt x="180" y="42"/>
                    </a:lnTo>
                    <a:lnTo>
                      <a:pt x="180" y="44"/>
                    </a:lnTo>
                    <a:lnTo>
                      <a:pt x="180" y="46"/>
                    </a:lnTo>
                    <a:lnTo>
                      <a:pt x="182" y="47"/>
                    </a:lnTo>
                    <a:lnTo>
                      <a:pt x="182" y="49"/>
                    </a:lnTo>
                    <a:lnTo>
                      <a:pt x="180" y="49"/>
                    </a:lnTo>
                    <a:lnTo>
                      <a:pt x="180" y="51"/>
                    </a:lnTo>
                    <a:lnTo>
                      <a:pt x="180" y="53"/>
                    </a:lnTo>
                    <a:lnTo>
                      <a:pt x="180" y="55"/>
                    </a:lnTo>
                    <a:lnTo>
                      <a:pt x="180" y="53"/>
                    </a:lnTo>
                    <a:lnTo>
                      <a:pt x="180" y="55"/>
                    </a:lnTo>
                    <a:lnTo>
                      <a:pt x="180" y="57"/>
                    </a:lnTo>
                    <a:lnTo>
                      <a:pt x="182" y="57"/>
                    </a:lnTo>
                    <a:lnTo>
                      <a:pt x="180" y="59"/>
                    </a:lnTo>
                    <a:lnTo>
                      <a:pt x="180" y="61"/>
                    </a:lnTo>
                    <a:lnTo>
                      <a:pt x="180" y="63"/>
                    </a:lnTo>
                    <a:lnTo>
                      <a:pt x="180" y="65"/>
                    </a:lnTo>
                    <a:lnTo>
                      <a:pt x="182" y="65"/>
                    </a:lnTo>
                    <a:lnTo>
                      <a:pt x="182" y="67"/>
                    </a:lnTo>
                    <a:lnTo>
                      <a:pt x="183" y="67"/>
                    </a:lnTo>
                    <a:lnTo>
                      <a:pt x="183" y="68"/>
                    </a:lnTo>
                    <a:lnTo>
                      <a:pt x="182" y="68"/>
                    </a:lnTo>
                    <a:lnTo>
                      <a:pt x="182" y="70"/>
                    </a:lnTo>
                    <a:lnTo>
                      <a:pt x="180" y="70"/>
                    </a:lnTo>
                    <a:lnTo>
                      <a:pt x="178" y="70"/>
                    </a:lnTo>
                    <a:lnTo>
                      <a:pt x="176" y="70"/>
                    </a:lnTo>
                    <a:lnTo>
                      <a:pt x="176" y="72"/>
                    </a:lnTo>
                    <a:lnTo>
                      <a:pt x="174" y="74"/>
                    </a:lnTo>
                    <a:lnTo>
                      <a:pt x="176" y="76"/>
                    </a:lnTo>
                    <a:lnTo>
                      <a:pt x="176" y="80"/>
                    </a:lnTo>
                    <a:lnTo>
                      <a:pt x="174" y="82"/>
                    </a:lnTo>
                    <a:lnTo>
                      <a:pt x="174" y="84"/>
                    </a:lnTo>
                    <a:lnTo>
                      <a:pt x="172" y="86"/>
                    </a:lnTo>
                    <a:lnTo>
                      <a:pt x="172" y="88"/>
                    </a:lnTo>
                    <a:lnTo>
                      <a:pt x="170" y="86"/>
                    </a:lnTo>
                    <a:lnTo>
                      <a:pt x="170" y="88"/>
                    </a:lnTo>
                    <a:lnTo>
                      <a:pt x="172" y="88"/>
                    </a:lnTo>
                    <a:lnTo>
                      <a:pt x="172" y="89"/>
                    </a:lnTo>
                    <a:lnTo>
                      <a:pt x="174" y="91"/>
                    </a:lnTo>
                    <a:lnTo>
                      <a:pt x="174" y="93"/>
                    </a:lnTo>
                    <a:lnTo>
                      <a:pt x="176" y="93"/>
                    </a:lnTo>
                    <a:lnTo>
                      <a:pt x="176" y="95"/>
                    </a:lnTo>
                    <a:lnTo>
                      <a:pt x="176" y="93"/>
                    </a:lnTo>
                    <a:lnTo>
                      <a:pt x="178" y="93"/>
                    </a:lnTo>
                    <a:lnTo>
                      <a:pt x="178" y="91"/>
                    </a:lnTo>
                    <a:lnTo>
                      <a:pt x="178" y="93"/>
                    </a:lnTo>
                    <a:lnTo>
                      <a:pt x="180" y="93"/>
                    </a:lnTo>
                    <a:lnTo>
                      <a:pt x="170" y="97"/>
                    </a:lnTo>
                    <a:lnTo>
                      <a:pt x="166" y="99"/>
                    </a:lnTo>
                    <a:lnTo>
                      <a:pt x="164" y="99"/>
                    </a:lnTo>
                    <a:lnTo>
                      <a:pt x="159" y="101"/>
                    </a:lnTo>
                    <a:lnTo>
                      <a:pt x="157" y="101"/>
                    </a:lnTo>
                    <a:lnTo>
                      <a:pt x="155" y="101"/>
                    </a:lnTo>
                    <a:lnTo>
                      <a:pt x="151" y="103"/>
                    </a:lnTo>
                    <a:lnTo>
                      <a:pt x="140" y="107"/>
                    </a:lnTo>
                    <a:lnTo>
                      <a:pt x="134" y="109"/>
                    </a:lnTo>
                    <a:lnTo>
                      <a:pt x="132" y="110"/>
                    </a:lnTo>
                    <a:lnTo>
                      <a:pt x="132" y="112"/>
                    </a:lnTo>
                    <a:lnTo>
                      <a:pt x="132" y="114"/>
                    </a:lnTo>
                    <a:lnTo>
                      <a:pt x="134" y="116"/>
                    </a:lnTo>
                    <a:lnTo>
                      <a:pt x="134" y="118"/>
                    </a:lnTo>
                    <a:lnTo>
                      <a:pt x="134" y="120"/>
                    </a:lnTo>
                    <a:lnTo>
                      <a:pt x="132" y="120"/>
                    </a:lnTo>
                    <a:lnTo>
                      <a:pt x="130" y="122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0"/>
                    </a:lnTo>
                    <a:lnTo>
                      <a:pt x="122" y="120"/>
                    </a:lnTo>
                    <a:lnTo>
                      <a:pt x="121" y="120"/>
                    </a:lnTo>
                    <a:lnTo>
                      <a:pt x="121" y="122"/>
                    </a:lnTo>
                    <a:lnTo>
                      <a:pt x="119" y="122"/>
                    </a:lnTo>
                    <a:lnTo>
                      <a:pt x="117" y="122"/>
                    </a:lnTo>
                    <a:lnTo>
                      <a:pt x="115" y="122"/>
                    </a:lnTo>
                    <a:lnTo>
                      <a:pt x="113" y="126"/>
                    </a:lnTo>
                    <a:lnTo>
                      <a:pt x="111" y="126"/>
                    </a:lnTo>
                    <a:lnTo>
                      <a:pt x="109" y="128"/>
                    </a:lnTo>
                    <a:lnTo>
                      <a:pt x="109" y="129"/>
                    </a:lnTo>
                    <a:lnTo>
                      <a:pt x="109" y="131"/>
                    </a:lnTo>
                    <a:lnTo>
                      <a:pt x="109" y="133"/>
                    </a:lnTo>
                    <a:lnTo>
                      <a:pt x="109" y="135"/>
                    </a:lnTo>
                    <a:lnTo>
                      <a:pt x="107" y="135"/>
                    </a:lnTo>
                    <a:lnTo>
                      <a:pt x="100" y="139"/>
                    </a:lnTo>
                    <a:lnTo>
                      <a:pt x="98" y="141"/>
                    </a:lnTo>
                    <a:lnTo>
                      <a:pt x="92" y="143"/>
                    </a:lnTo>
                    <a:lnTo>
                      <a:pt x="90" y="147"/>
                    </a:lnTo>
                    <a:lnTo>
                      <a:pt x="90" y="149"/>
                    </a:lnTo>
                    <a:lnTo>
                      <a:pt x="88" y="150"/>
                    </a:lnTo>
                    <a:lnTo>
                      <a:pt x="86" y="150"/>
                    </a:lnTo>
                    <a:lnTo>
                      <a:pt x="84" y="154"/>
                    </a:lnTo>
                    <a:lnTo>
                      <a:pt x="82" y="156"/>
                    </a:lnTo>
                    <a:lnTo>
                      <a:pt x="82" y="158"/>
                    </a:lnTo>
                    <a:lnTo>
                      <a:pt x="81" y="158"/>
                    </a:lnTo>
                    <a:lnTo>
                      <a:pt x="79" y="160"/>
                    </a:lnTo>
                    <a:lnTo>
                      <a:pt x="77" y="160"/>
                    </a:lnTo>
                    <a:lnTo>
                      <a:pt x="75" y="160"/>
                    </a:lnTo>
                    <a:lnTo>
                      <a:pt x="73" y="160"/>
                    </a:lnTo>
                    <a:lnTo>
                      <a:pt x="71" y="158"/>
                    </a:lnTo>
                    <a:lnTo>
                      <a:pt x="69" y="158"/>
                    </a:lnTo>
                    <a:lnTo>
                      <a:pt x="67" y="158"/>
                    </a:lnTo>
                    <a:lnTo>
                      <a:pt x="65" y="158"/>
                    </a:lnTo>
                    <a:lnTo>
                      <a:pt x="65" y="160"/>
                    </a:lnTo>
                    <a:lnTo>
                      <a:pt x="63" y="160"/>
                    </a:lnTo>
                    <a:lnTo>
                      <a:pt x="61" y="160"/>
                    </a:lnTo>
                    <a:lnTo>
                      <a:pt x="61" y="158"/>
                    </a:lnTo>
                    <a:lnTo>
                      <a:pt x="60" y="158"/>
                    </a:lnTo>
                    <a:lnTo>
                      <a:pt x="60" y="156"/>
                    </a:lnTo>
                    <a:lnTo>
                      <a:pt x="58" y="156"/>
                    </a:lnTo>
                    <a:lnTo>
                      <a:pt x="56" y="158"/>
                    </a:lnTo>
                    <a:lnTo>
                      <a:pt x="56" y="156"/>
                    </a:lnTo>
                    <a:lnTo>
                      <a:pt x="54" y="158"/>
                    </a:lnTo>
                    <a:lnTo>
                      <a:pt x="54" y="156"/>
                    </a:lnTo>
                    <a:lnTo>
                      <a:pt x="52" y="156"/>
                    </a:lnTo>
                    <a:lnTo>
                      <a:pt x="50" y="156"/>
                    </a:lnTo>
                    <a:lnTo>
                      <a:pt x="50" y="154"/>
                    </a:lnTo>
                    <a:lnTo>
                      <a:pt x="50" y="152"/>
                    </a:lnTo>
                    <a:lnTo>
                      <a:pt x="48" y="154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4" y="152"/>
                    </a:lnTo>
                    <a:lnTo>
                      <a:pt x="44" y="150"/>
                    </a:lnTo>
                    <a:lnTo>
                      <a:pt x="40" y="152"/>
                    </a:lnTo>
                    <a:lnTo>
                      <a:pt x="39" y="150"/>
                    </a:lnTo>
                    <a:lnTo>
                      <a:pt x="37" y="150"/>
                    </a:lnTo>
                    <a:lnTo>
                      <a:pt x="23" y="154"/>
                    </a:lnTo>
                    <a:lnTo>
                      <a:pt x="23" y="152"/>
                    </a:lnTo>
                    <a:lnTo>
                      <a:pt x="21" y="152"/>
                    </a:lnTo>
                    <a:lnTo>
                      <a:pt x="19" y="152"/>
                    </a:lnTo>
                    <a:lnTo>
                      <a:pt x="19" y="150"/>
                    </a:lnTo>
                    <a:lnTo>
                      <a:pt x="18" y="150"/>
                    </a:lnTo>
                    <a:lnTo>
                      <a:pt x="18" y="149"/>
                    </a:lnTo>
                    <a:lnTo>
                      <a:pt x="16" y="147"/>
                    </a:lnTo>
                    <a:lnTo>
                      <a:pt x="14" y="147"/>
                    </a:lnTo>
                    <a:lnTo>
                      <a:pt x="14" y="145"/>
                    </a:lnTo>
                    <a:lnTo>
                      <a:pt x="12" y="145"/>
                    </a:lnTo>
                    <a:lnTo>
                      <a:pt x="12" y="143"/>
                    </a:lnTo>
                    <a:lnTo>
                      <a:pt x="10" y="141"/>
                    </a:lnTo>
                    <a:lnTo>
                      <a:pt x="8" y="141"/>
                    </a:lnTo>
                    <a:lnTo>
                      <a:pt x="8" y="139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4" y="135"/>
                    </a:lnTo>
                    <a:lnTo>
                      <a:pt x="2" y="135"/>
                    </a:lnTo>
                    <a:lnTo>
                      <a:pt x="2" y="133"/>
                    </a:lnTo>
                    <a:lnTo>
                      <a:pt x="2" y="131"/>
                    </a:lnTo>
                    <a:lnTo>
                      <a:pt x="0" y="129"/>
                    </a:lnTo>
                    <a:lnTo>
                      <a:pt x="0" y="101"/>
                    </a:lnTo>
                    <a:lnTo>
                      <a:pt x="0" y="78"/>
                    </a:lnTo>
                    <a:lnTo>
                      <a:pt x="25" y="78"/>
                    </a:lnTo>
                    <a:lnTo>
                      <a:pt x="33" y="78"/>
                    </a:lnTo>
                    <a:lnTo>
                      <a:pt x="33" y="76"/>
                    </a:lnTo>
                    <a:lnTo>
                      <a:pt x="31" y="76"/>
                    </a:lnTo>
                    <a:lnTo>
                      <a:pt x="31" y="74"/>
                    </a:lnTo>
                    <a:lnTo>
                      <a:pt x="31" y="72"/>
                    </a:lnTo>
                    <a:lnTo>
                      <a:pt x="31" y="70"/>
                    </a:lnTo>
                    <a:lnTo>
                      <a:pt x="33" y="68"/>
                    </a:lnTo>
                    <a:lnTo>
                      <a:pt x="33" y="67"/>
                    </a:lnTo>
                    <a:lnTo>
                      <a:pt x="33" y="65"/>
                    </a:lnTo>
                    <a:lnTo>
                      <a:pt x="33" y="63"/>
                    </a:lnTo>
                    <a:lnTo>
                      <a:pt x="33" y="59"/>
                    </a:lnTo>
                    <a:lnTo>
                      <a:pt x="33" y="55"/>
                    </a:lnTo>
                    <a:lnTo>
                      <a:pt x="31" y="55"/>
                    </a:lnTo>
                    <a:lnTo>
                      <a:pt x="33" y="53"/>
                    </a:lnTo>
                    <a:lnTo>
                      <a:pt x="33" y="51"/>
                    </a:lnTo>
                    <a:lnTo>
                      <a:pt x="33" y="49"/>
                    </a:lnTo>
                    <a:lnTo>
                      <a:pt x="33" y="47"/>
                    </a:lnTo>
                    <a:lnTo>
                      <a:pt x="33" y="46"/>
                    </a:lnTo>
                    <a:lnTo>
                      <a:pt x="33" y="44"/>
                    </a:lnTo>
                    <a:lnTo>
                      <a:pt x="33" y="42"/>
                    </a:lnTo>
                    <a:lnTo>
                      <a:pt x="33" y="44"/>
                    </a:lnTo>
                    <a:lnTo>
                      <a:pt x="35" y="44"/>
                    </a:lnTo>
                    <a:lnTo>
                      <a:pt x="35" y="46"/>
                    </a:lnTo>
                    <a:lnTo>
                      <a:pt x="37" y="46"/>
                    </a:lnTo>
                    <a:lnTo>
                      <a:pt x="39" y="46"/>
                    </a:lnTo>
                    <a:lnTo>
                      <a:pt x="39" y="49"/>
                    </a:lnTo>
                    <a:lnTo>
                      <a:pt x="37" y="51"/>
                    </a:lnTo>
                    <a:lnTo>
                      <a:pt x="39" y="51"/>
                    </a:lnTo>
                    <a:lnTo>
                      <a:pt x="42" y="51"/>
                    </a:lnTo>
                    <a:lnTo>
                      <a:pt x="42" y="49"/>
                    </a:lnTo>
                    <a:lnTo>
                      <a:pt x="44" y="49"/>
                    </a:lnTo>
                    <a:lnTo>
                      <a:pt x="46" y="49"/>
                    </a:lnTo>
                    <a:lnTo>
                      <a:pt x="50" y="49"/>
                    </a:lnTo>
                    <a:lnTo>
                      <a:pt x="52" y="47"/>
                    </a:lnTo>
                    <a:lnTo>
                      <a:pt x="54" y="47"/>
                    </a:lnTo>
                    <a:lnTo>
                      <a:pt x="54" y="49"/>
                    </a:lnTo>
                    <a:lnTo>
                      <a:pt x="52" y="49"/>
                    </a:lnTo>
                    <a:lnTo>
                      <a:pt x="54" y="49"/>
                    </a:lnTo>
                    <a:lnTo>
                      <a:pt x="52" y="51"/>
                    </a:lnTo>
                    <a:lnTo>
                      <a:pt x="54" y="53"/>
                    </a:lnTo>
                    <a:lnTo>
                      <a:pt x="52" y="53"/>
                    </a:lnTo>
                    <a:lnTo>
                      <a:pt x="54" y="53"/>
                    </a:lnTo>
                    <a:lnTo>
                      <a:pt x="54" y="55"/>
                    </a:lnTo>
                    <a:lnTo>
                      <a:pt x="56" y="55"/>
                    </a:lnTo>
                    <a:lnTo>
                      <a:pt x="56" y="57"/>
                    </a:lnTo>
                    <a:lnTo>
                      <a:pt x="58" y="57"/>
                    </a:lnTo>
                    <a:lnTo>
                      <a:pt x="60" y="57"/>
                    </a:lnTo>
                    <a:lnTo>
                      <a:pt x="61" y="59"/>
                    </a:lnTo>
                    <a:lnTo>
                      <a:pt x="61" y="57"/>
                    </a:lnTo>
                    <a:lnTo>
                      <a:pt x="63" y="59"/>
                    </a:lnTo>
                    <a:lnTo>
                      <a:pt x="63" y="61"/>
                    </a:lnTo>
                    <a:lnTo>
                      <a:pt x="67" y="59"/>
                    </a:lnTo>
                    <a:lnTo>
                      <a:pt x="69" y="61"/>
                    </a:lnTo>
                    <a:lnTo>
                      <a:pt x="71" y="59"/>
                    </a:lnTo>
                    <a:lnTo>
                      <a:pt x="73" y="61"/>
                    </a:lnTo>
                    <a:lnTo>
                      <a:pt x="75" y="61"/>
                    </a:lnTo>
                    <a:lnTo>
                      <a:pt x="77" y="61"/>
                    </a:lnTo>
                    <a:lnTo>
                      <a:pt x="79" y="61"/>
                    </a:lnTo>
                    <a:lnTo>
                      <a:pt x="79" y="59"/>
                    </a:lnTo>
                    <a:lnTo>
                      <a:pt x="81" y="59"/>
                    </a:lnTo>
                    <a:lnTo>
                      <a:pt x="81" y="57"/>
                    </a:lnTo>
                    <a:lnTo>
                      <a:pt x="81" y="55"/>
                    </a:lnTo>
                    <a:lnTo>
                      <a:pt x="82" y="55"/>
                    </a:lnTo>
                    <a:lnTo>
                      <a:pt x="82" y="53"/>
                    </a:lnTo>
                    <a:lnTo>
                      <a:pt x="84" y="55"/>
                    </a:lnTo>
                    <a:lnTo>
                      <a:pt x="84" y="57"/>
                    </a:lnTo>
                    <a:lnTo>
                      <a:pt x="84" y="59"/>
                    </a:lnTo>
                    <a:lnTo>
                      <a:pt x="88" y="61"/>
                    </a:lnTo>
                    <a:lnTo>
                      <a:pt x="88" y="63"/>
                    </a:lnTo>
                    <a:lnTo>
                      <a:pt x="88" y="65"/>
                    </a:lnTo>
                    <a:lnTo>
                      <a:pt x="90" y="65"/>
                    </a:lnTo>
                    <a:lnTo>
                      <a:pt x="92" y="65"/>
                    </a:lnTo>
                    <a:lnTo>
                      <a:pt x="94" y="65"/>
                    </a:lnTo>
                    <a:lnTo>
                      <a:pt x="96" y="67"/>
                    </a:lnTo>
                    <a:lnTo>
                      <a:pt x="98" y="67"/>
                    </a:lnTo>
                    <a:lnTo>
                      <a:pt x="98" y="68"/>
                    </a:lnTo>
                    <a:lnTo>
                      <a:pt x="98" y="67"/>
                    </a:lnTo>
                    <a:lnTo>
                      <a:pt x="100" y="68"/>
                    </a:lnTo>
                    <a:lnTo>
                      <a:pt x="101" y="68"/>
                    </a:lnTo>
                    <a:lnTo>
                      <a:pt x="103" y="68"/>
                    </a:lnTo>
                    <a:lnTo>
                      <a:pt x="103" y="70"/>
                    </a:lnTo>
                    <a:lnTo>
                      <a:pt x="103" y="72"/>
                    </a:lnTo>
                    <a:lnTo>
                      <a:pt x="105" y="74"/>
                    </a:lnTo>
                    <a:lnTo>
                      <a:pt x="105" y="76"/>
                    </a:lnTo>
                    <a:lnTo>
                      <a:pt x="105" y="74"/>
                    </a:lnTo>
                    <a:lnTo>
                      <a:pt x="107" y="74"/>
                    </a:lnTo>
                    <a:lnTo>
                      <a:pt x="107" y="76"/>
                    </a:lnTo>
                    <a:lnTo>
                      <a:pt x="109" y="76"/>
                    </a:lnTo>
                    <a:lnTo>
                      <a:pt x="109" y="78"/>
                    </a:lnTo>
                    <a:lnTo>
                      <a:pt x="109" y="80"/>
                    </a:lnTo>
                    <a:lnTo>
                      <a:pt x="111" y="80"/>
                    </a:lnTo>
                    <a:lnTo>
                      <a:pt x="111" y="84"/>
                    </a:lnTo>
                    <a:lnTo>
                      <a:pt x="113" y="84"/>
                    </a:lnTo>
                    <a:lnTo>
                      <a:pt x="115" y="84"/>
                    </a:lnTo>
                    <a:lnTo>
                      <a:pt x="117" y="84"/>
                    </a:lnTo>
                    <a:lnTo>
                      <a:pt x="117" y="82"/>
                    </a:lnTo>
                    <a:lnTo>
                      <a:pt x="117" y="84"/>
                    </a:lnTo>
                    <a:lnTo>
                      <a:pt x="117" y="82"/>
                    </a:lnTo>
                    <a:lnTo>
                      <a:pt x="119" y="82"/>
                    </a:lnTo>
                    <a:lnTo>
                      <a:pt x="121" y="80"/>
                    </a:lnTo>
                    <a:lnTo>
                      <a:pt x="122" y="82"/>
                    </a:lnTo>
                    <a:lnTo>
                      <a:pt x="122" y="80"/>
                    </a:lnTo>
                    <a:lnTo>
                      <a:pt x="122" y="82"/>
                    </a:lnTo>
                    <a:lnTo>
                      <a:pt x="121" y="84"/>
                    </a:lnTo>
                    <a:lnTo>
                      <a:pt x="122" y="84"/>
                    </a:lnTo>
                    <a:lnTo>
                      <a:pt x="121" y="84"/>
                    </a:lnTo>
                    <a:lnTo>
                      <a:pt x="122" y="84"/>
                    </a:lnTo>
                    <a:lnTo>
                      <a:pt x="124" y="84"/>
                    </a:lnTo>
                    <a:lnTo>
                      <a:pt x="124" y="63"/>
                    </a:lnTo>
                    <a:lnTo>
                      <a:pt x="122" y="65"/>
                    </a:lnTo>
                    <a:lnTo>
                      <a:pt x="124" y="65"/>
                    </a:lnTo>
                    <a:lnTo>
                      <a:pt x="122" y="65"/>
                    </a:lnTo>
                    <a:lnTo>
                      <a:pt x="121" y="65"/>
                    </a:lnTo>
                    <a:lnTo>
                      <a:pt x="119" y="65"/>
                    </a:lnTo>
                    <a:lnTo>
                      <a:pt x="119" y="67"/>
                    </a:lnTo>
                    <a:lnTo>
                      <a:pt x="121" y="67"/>
                    </a:lnTo>
                    <a:lnTo>
                      <a:pt x="121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7" y="67"/>
                    </a:lnTo>
                    <a:lnTo>
                      <a:pt x="115" y="67"/>
                    </a:lnTo>
                    <a:lnTo>
                      <a:pt x="113" y="67"/>
                    </a:lnTo>
                    <a:lnTo>
                      <a:pt x="111" y="65"/>
                    </a:lnTo>
                    <a:lnTo>
                      <a:pt x="109" y="63"/>
                    </a:lnTo>
                    <a:lnTo>
                      <a:pt x="107" y="61"/>
                    </a:lnTo>
                    <a:lnTo>
                      <a:pt x="105" y="59"/>
                    </a:lnTo>
                    <a:lnTo>
                      <a:pt x="103" y="59"/>
                    </a:lnTo>
                    <a:lnTo>
                      <a:pt x="103" y="57"/>
                    </a:lnTo>
                    <a:lnTo>
                      <a:pt x="103" y="55"/>
                    </a:lnTo>
                    <a:lnTo>
                      <a:pt x="101" y="55"/>
                    </a:lnTo>
                    <a:lnTo>
                      <a:pt x="101" y="53"/>
                    </a:lnTo>
                    <a:lnTo>
                      <a:pt x="103" y="51"/>
                    </a:lnTo>
                    <a:lnTo>
                      <a:pt x="103" y="49"/>
                    </a:lnTo>
                    <a:lnTo>
                      <a:pt x="103" y="47"/>
                    </a:lnTo>
                    <a:lnTo>
                      <a:pt x="103" y="46"/>
                    </a:lnTo>
                    <a:lnTo>
                      <a:pt x="103" y="44"/>
                    </a:lnTo>
                    <a:lnTo>
                      <a:pt x="105" y="44"/>
                    </a:lnTo>
                    <a:lnTo>
                      <a:pt x="105" y="42"/>
                    </a:lnTo>
                    <a:lnTo>
                      <a:pt x="105" y="40"/>
                    </a:lnTo>
                    <a:lnTo>
                      <a:pt x="107" y="40"/>
                    </a:lnTo>
                    <a:lnTo>
                      <a:pt x="107" y="38"/>
                    </a:lnTo>
                    <a:lnTo>
                      <a:pt x="105" y="38"/>
                    </a:lnTo>
                    <a:lnTo>
                      <a:pt x="105" y="36"/>
                    </a:lnTo>
                    <a:lnTo>
                      <a:pt x="105" y="34"/>
                    </a:lnTo>
                    <a:lnTo>
                      <a:pt x="105" y="32"/>
                    </a:lnTo>
                    <a:lnTo>
                      <a:pt x="105" y="30"/>
                    </a:lnTo>
                    <a:lnTo>
                      <a:pt x="105" y="28"/>
                    </a:lnTo>
                    <a:lnTo>
                      <a:pt x="107" y="26"/>
                    </a:lnTo>
                    <a:lnTo>
                      <a:pt x="107" y="25"/>
                    </a:lnTo>
                    <a:lnTo>
                      <a:pt x="107" y="23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3" y="17"/>
                    </a:lnTo>
                    <a:lnTo>
                      <a:pt x="109" y="7"/>
                    </a:lnTo>
                    <a:lnTo>
                      <a:pt x="111" y="4"/>
                    </a:lnTo>
                    <a:lnTo>
                      <a:pt x="136" y="0"/>
                    </a:lnTo>
                    <a:lnTo>
                      <a:pt x="140" y="0"/>
                    </a:lnTo>
                    <a:lnTo>
                      <a:pt x="143" y="4"/>
                    </a:lnTo>
                    <a:lnTo>
                      <a:pt x="145" y="5"/>
                    </a:lnTo>
                    <a:lnTo>
                      <a:pt x="147" y="5"/>
                    </a:lnTo>
                    <a:lnTo>
                      <a:pt x="149" y="5"/>
                    </a:lnTo>
                    <a:lnTo>
                      <a:pt x="149" y="7"/>
                    </a:lnTo>
                    <a:lnTo>
                      <a:pt x="151" y="7"/>
                    </a:lnTo>
                    <a:lnTo>
                      <a:pt x="153" y="7"/>
                    </a:lnTo>
                    <a:lnTo>
                      <a:pt x="153" y="9"/>
                    </a:lnTo>
                    <a:lnTo>
                      <a:pt x="153" y="11"/>
                    </a:lnTo>
                    <a:lnTo>
                      <a:pt x="155" y="11"/>
                    </a:lnTo>
                    <a:lnTo>
                      <a:pt x="157" y="11"/>
                    </a:lnTo>
                    <a:lnTo>
                      <a:pt x="159" y="11"/>
                    </a:lnTo>
                    <a:lnTo>
                      <a:pt x="159" y="13"/>
                    </a:lnTo>
                    <a:lnTo>
                      <a:pt x="161" y="13"/>
                    </a:lnTo>
                    <a:lnTo>
                      <a:pt x="162" y="13"/>
                    </a:lnTo>
                    <a:lnTo>
                      <a:pt x="164" y="15"/>
                    </a:lnTo>
                    <a:lnTo>
                      <a:pt x="166" y="15"/>
                    </a:lnTo>
                    <a:lnTo>
                      <a:pt x="168" y="17"/>
                    </a:lnTo>
                    <a:lnTo>
                      <a:pt x="170" y="17"/>
                    </a:lnTo>
                    <a:lnTo>
                      <a:pt x="172" y="17"/>
                    </a:lnTo>
                    <a:lnTo>
                      <a:pt x="174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6" name="Freeform 260">
                <a:extLst>
                  <a:ext uri="{FF2B5EF4-FFF2-40B4-BE49-F238E27FC236}">
                    <a16:creationId xmlns:a16="http://schemas.microsoft.com/office/drawing/2014/main" id="{535A29F3-95E2-7ABB-3FDE-5006F5AC23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12138" y="-1671396"/>
                <a:ext cx="81930" cy="198895"/>
              </a:xfrm>
              <a:custGeom>
                <a:avLst/>
                <a:gdLst>
                  <a:gd name="T0" fmla="*/ 29 w 52"/>
                  <a:gd name="T1" fmla="*/ 44 h 126"/>
                  <a:gd name="T2" fmla="*/ 31 w 52"/>
                  <a:gd name="T3" fmla="*/ 59 h 126"/>
                  <a:gd name="T4" fmla="*/ 31 w 52"/>
                  <a:gd name="T5" fmla="*/ 67 h 126"/>
                  <a:gd name="T6" fmla="*/ 44 w 52"/>
                  <a:gd name="T7" fmla="*/ 78 h 126"/>
                  <a:gd name="T8" fmla="*/ 50 w 52"/>
                  <a:gd name="T9" fmla="*/ 93 h 126"/>
                  <a:gd name="T10" fmla="*/ 48 w 52"/>
                  <a:gd name="T11" fmla="*/ 109 h 126"/>
                  <a:gd name="T12" fmla="*/ 44 w 52"/>
                  <a:gd name="T13" fmla="*/ 109 h 126"/>
                  <a:gd name="T14" fmla="*/ 42 w 52"/>
                  <a:gd name="T15" fmla="*/ 116 h 126"/>
                  <a:gd name="T16" fmla="*/ 42 w 52"/>
                  <a:gd name="T17" fmla="*/ 122 h 126"/>
                  <a:gd name="T18" fmla="*/ 38 w 52"/>
                  <a:gd name="T19" fmla="*/ 124 h 126"/>
                  <a:gd name="T20" fmla="*/ 38 w 52"/>
                  <a:gd name="T21" fmla="*/ 122 h 126"/>
                  <a:gd name="T22" fmla="*/ 34 w 52"/>
                  <a:gd name="T23" fmla="*/ 116 h 126"/>
                  <a:gd name="T24" fmla="*/ 31 w 52"/>
                  <a:gd name="T25" fmla="*/ 112 h 126"/>
                  <a:gd name="T26" fmla="*/ 27 w 52"/>
                  <a:gd name="T27" fmla="*/ 109 h 126"/>
                  <a:gd name="T28" fmla="*/ 27 w 52"/>
                  <a:gd name="T29" fmla="*/ 103 h 126"/>
                  <a:gd name="T30" fmla="*/ 31 w 52"/>
                  <a:gd name="T31" fmla="*/ 97 h 126"/>
                  <a:gd name="T32" fmla="*/ 31 w 52"/>
                  <a:gd name="T33" fmla="*/ 90 h 126"/>
                  <a:gd name="T34" fmla="*/ 29 w 52"/>
                  <a:gd name="T35" fmla="*/ 84 h 126"/>
                  <a:gd name="T36" fmla="*/ 25 w 52"/>
                  <a:gd name="T37" fmla="*/ 82 h 126"/>
                  <a:gd name="T38" fmla="*/ 19 w 52"/>
                  <a:gd name="T39" fmla="*/ 82 h 126"/>
                  <a:gd name="T40" fmla="*/ 15 w 52"/>
                  <a:gd name="T41" fmla="*/ 84 h 126"/>
                  <a:gd name="T42" fmla="*/ 10 w 52"/>
                  <a:gd name="T43" fmla="*/ 76 h 126"/>
                  <a:gd name="T44" fmla="*/ 8 w 52"/>
                  <a:gd name="T45" fmla="*/ 74 h 126"/>
                  <a:gd name="T46" fmla="*/ 4 w 52"/>
                  <a:gd name="T47" fmla="*/ 74 h 126"/>
                  <a:gd name="T48" fmla="*/ 0 w 52"/>
                  <a:gd name="T49" fmla="*/ 69 h 126"/>
                  <a:gd name="T50" fmla="*/ 4 w 52"/>
                  <a:gd name="T51" fmla="*/ 65 h 126"/>
                  <a:gd name="T52" fmla="*/ 4 w 52"/>
                  <a:gd name="T53" fmla="*/ 55 h 126"/>
                  <a:gd name="T54" fmla="*/ 10 w 52"/>
                  <a:gd name="T55" fmla="*/ 51 h 126"/>
                  <a:gd name="T56" fmla="*/ 13 w 52"/>
                  <a:gd name="T57" fmla="*/ 48 h 126"/>
                  <a:gd name="T58" fmla="*/ 10 w 52"/>
                  <a:gd name="T59" fmla="*/ 44 h 126"/>
                  <a:gd name="T60" fmla="*/ 10 w 52"/>
                  <a:gd name="T61" fmla="*/ 38 h 126"/>
                  <a:gd name="T62" fmla="*/ 10 w 52"/>
                  <a:gd name="T63" fmla="*/ 34 h 126"/>
                  <a:gd name="T64" fmla="*/ 12 w 52"/>
                  <a:gd name="T65" fmla="*/ 28 h 126"/>
                  <a:gd name="T66" fmla="*/ 12 w 52"/>
                  <a:gd name="T67" fmla="*/ 23 h 126"/>
                  <a:gd name="T68" fmla="*/ 17 w 52"/>
                  <a:gd name="T69" fmla="*/ 19 h 126"/>
                  <a:gd name="T70" fmla="*/ 13 w 52"/>
                  <a:gd name="T71" fmla="*/ 13 h 126"/>
                  <a:gd name="T72" fmla="*/ 12 w 52"/>
                  <a:gd name="T73" fmla="*/ 7 h 126"/>
                  <a:gd name="T74" fmla="*/ 6 w 52"/>
                  <a:gd name="T75" fmla="*/ 4 h 126"/>
                  <a:gd name="T76" fmla="*/ 6 w 52"/>
                  <a:gd name="T77" fmla="*/ 0 h 126"/>
                  <a:gd name="T78" fmla="*/ 12 w 52"/>
                  <a:gd name="T79" fmla="*/ 4 h 126"/>
                  <a:gd name="T80" fmla="*/ 17 w 52"/>
                  <a:gd name="T81" fmla="*/ 4 h 126"/>
                  <a:gd name="T82" fmla="*/ 19 w 52"/>
                  <a:gd name="T83" fmla="*/ 6 h 126"/>
                  <a:gd name="T84" fmla="*/ 27 w 52"/>
                  <a:gd name="T85" fmla="*/ 6 h 126"/>
                  <a:gd name="T86" fmla="*/ 31 w 52"/>
                  <a:gd name="T87" fmla="*/ 13 h 126"/>
                  <a:gd name="T88" fmla="*/ 33 w 52"/>
                  <a:gd name="T89" fmla="*/ 21 h 126"/>
                  <a:gd name="T90" fmla="*/ 31 w 52"/>
                  <a:gd name="T91" fmla="*/ 27 h 126"/>
                  <a:gd name="T92" fmla="*/ 36 w 52"/>
                  <a:gd name="T93" fmla="*/ 32 h 126"/>
                  <a:gd name="T94" fmla="*/ 33 w 52"/>
                  <a:gd name="T95" fmla="*/ 42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2" h="126">
                    <a:moveTo>
                      <a:pt x="36" y="34"/>
                    </a:moveTo>
                    <a:lnTo>
                      <a:pt x="31" y="34"/>
                    </a:lnTo>
                    <a:lnTo>
                      <a:pt x="31" y="38"/>
                    </a:lnTo>
                    <a:lnTo>
                      <a:pt x="29" y="44"/>
                    </a:lnTo>
                    <a:lnTo>
                      <a:pt x="29" y="48"/>
                    </a:lnTo>
                    <a:lnTo>
                      <a:pt x="29" y="53"/>
                    </a:lnTo>
                    <a:lnTo>
                      <a:pt x="29" y="55"/>
                    </a:lnTo>
                    <a:lnTo>
                      <a:pt x="31" y="59"/>
                    </a:lnTo>
                    <a:lnTo>
                      <a:pt x="31" y="61"/>
                    </a:lnTo>
                    <a:lnTo>
                      <a:pt x="31" y="63"/>
                    </a:lnTo>
                    <a:lnTo>
                      <a:pt x="29" y="65"/>
                    </a:lnTo>
                    <a:lnTo>
                      <a:pt x="31" y="67"/>
                    </a:lnTo>
                    <a:lnTo>
                      <a:pt x="34" y="67"/>
                    </a:lnTo>
                    <a:lnTo>
                      <a:pt x="38" y="69"/>
                    </a:lnTo>
                    <a:lnTo>
                      <a:pt x="40" y="72"/>
                    </a:lnTo>
                    <a:lnTo>
                      <a:pt x="44" y="78"/>
                    </a:lnTo>
                    <a:lnTo>
                      <a:pt x="46" y="78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0" y="93"/>
                    </a:lnTo>
                    <a:lnTo>
                      <a:pt x="52" y="97"/>
                    </a:lnTo>
                    <a:lnTo>
                      <a:pt x="50" y="107"/>
                    </a:lnTo>
                    <a:lnTo>
                      <a:pt x="50" y="109"/>
                    </a:lnTo>
                    <a:lnTo>
                      <a:pt x="48" y="109"/>
                    </a:lnTo>
                    <a:lnTo>
                      <a:pt x="46" y="110"/>
                    </a:lnTo>
                    <a:lnTo>
                      <a:pt x="46" y="109"/>
                    </a:lnTo>
                    <a:lnTo>
                      <a:pt x="46" y="110"/>
                    </a:lnTo>
                    <a:lnTo>
                      <a:pt x="44" y="109"/>
                    </a:lnTo>
                    <a:lnTo>
                      <a:pt x="42" y="110"/>
                    </a:lnTo>
                    <a:lnTo>
                      <a:pt x="42" y="112"/>
                    </a:lnTo>
                    <a:lnTo>
                      <a:pt x="42" y="114"/>
                    </a:lnTo>
                    <a:lnTo>
                      <a:pt x="42" y="116"/>
                    </a:lnTo>
                    <a:lnTo>
                      <a:pt x="40" y="116"/>
                    </a:lnTo>
                    <a:lnTo>
                      <a:pt x="40" y="118"/>
                    </a:lnTo>
                    <a:lnTo>
                      <a:pt x="42" y="120"/>
                    </a:lnTo>
                    <a:lnTo>
                      <a:pt x="42" y="122"/>
                    </a:lnTo>
                    <a:lnTo>
                      <a:pt x="42" y="124"/>
                    </a:lnTo>
                    <a:lnTo>
                      <a:pt x="42" y="126"/>
                    </a:lnTo>
                    <a:lnTo>
                      <a:pt x="38" y="126"/>
                    </a:lnTo>
                    <a:lnTo>
                      <a:pt x="38" y="124"/>
                    </a:lnTo>
                    <a:lnTo>
                      <a:pt x="40" y="124"/>
                    </a:lnTo>
                    <a:lnTo>
                      <a:pt x="40" y="122"/>
                    </a:lnTo>
                    <a:lnTo>
                      <a:pt x="38" y="120"/>
                    </a:lnTo>
                    <a:lnTo>
                      <a:pt x="38" y="122"/>
                    </a:lnTo>
                    <a:lnTo>
                      <a:pt x="36" y="120"/>
                    </a:lnTo>
                    <a:lnTo>
                      <a:pt x="36" y="118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3" y="116"/>
                    </a:lnTo>
                    <a:lnTo>
                      <a:pt x="33" y="114"/>
                    </a:lnTo>
                    <a:lnTo>
                      <a:pt x="31" y="114"/>
                    </a:lnTo>
                    <a:lnTo>
                      <a:pt x="31" y="112"/>
                    </a:lnTo>
                    <a:lnTo>
                      <a:pt x="29" y="112"/>
                    </a:lnTo>
                    <a:lnTo>
                      <a:pt x="27" y="109"/>
                    </a:lnTo>
                    <a:lnTo>
                      <a:pt x="29" y="109"/>
                    </a:lnTo>
                    <a:lnTo>
                      <a:pt x="27" y="109"/>
                    </a:lnTo>
                    <a:lnTo>
                      <a:pt x="27" y="107"/>
                    </a:lnTo>
                    <a:lnTo>
                      <a:pt x="25" y="107"/>
                    </a:lnTo>
                    <a:lnTo>
                      <a:pt x="25" y="105"/>
                    </a:lnTo>
                    <a:lnTo>
                      <a:pt x="27" y="103"/>
                    </a:lnTo>
                    <a:lnTo>
                      <a:pt x="29" y="101"/>
                    </a:lnTo>
                    <a:lnTo>
                      <a:pt x="29" y="99"/>
                    </a:lnTo>
                    <a:lnTo>
                      <a:pt x="29" y="97"/>
                    </a:lnTo>
                    <a:lnTo>
                      <a:pt x="31" y="97"/>
                    </a:lnTo>
                    <a:lnTo>
                      <a:pt x="31" y="95"/>
                    </a:lnTo>
                    <a:lnTo>
                      <a:pt x="31" y="93"/>
                    </a:lnTo>
                    <a:lnTo>
                      <a:pt x="31" y="91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29" y="86"/>
                    </a:lnTo>
                    <a:lnTo>
                      <a:pt x="31" y="86"/>
                    </a:lnTo>
                    <a:lnTo>
                      <a:pt x="29" y="84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3" y="82"/>
                    </a:lnTo>
                    <a:lnTo>
                      <a:pt x="19" y="82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9" y="84"/>
                    </a:lnTo>
                    <a:lnTo>
                      <a:pt x="17" y="82"/>
                    </a:lnTo>
                    <a:lnTo>
                      <a:pt x="17" y="84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2" y="78"/>
                    </a:lnTo>
                    <a:lnTo>
                      <a:pt x="10" y="76"/>
                    </a:lnTo>
                    <a:lnTo>
                      <a:pt x="10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74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4" y="65"/>
                    </a:lnTo>
                    <a:lnTo>
                      <a:pt x="4" y="63"/>
                    </a:lnTo>
                    <a:lnTo>
                      <a:pt x="6" y="61"/>
                    </a:lnTo>
                    <a:lnTo>
                      <a:pt x="6" y="57"/>
                    </a:lnTo>
                    <a:lnTo>
                      <a:pt x="4" y="55"/>
                    </a:lnTo>
                    <a:lnTo>
                      <a:pt x="6" y="53"/>
                    </a:lnTo>
                    <a:lnTo>
                      <a:pt x="6" y="51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2" y="51"/>
                    </a:lnTo>
                    <a:lnTo>
                      <a:pt x="12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0" y="46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40"/>
                    </a:lnTo>
                    <a:lnTo>
                      <a:pt x="12" y="38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7" y="19"/>
                    </a:lnTo>
                    <a:lnTo>
                      <a:pt x="15" y="19"/>
                    </a:lnTo>
                    <a:lnTo>
                      <a:pt x="15" y="17"/>
                    </a:lnTo>
                    <a:lnTo>
                      <a:pt x="13" y="15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12" y="7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7" y="6"/>
                    </a:lnTo>
                    <a:lnTo>
                      <a:pt x="29" y="9"/>
                    </a:lnTo>
                    <a:lnTo>
                      <a:pt x="31" y="11"/>
                    </a:lnTo>
                    <a:lnTo>
                      <a:pt x="29" y="11"/>
                    </a:lnTo>
                    <a:lnTo>
                      <a:pt x="31" y="13"/>
                    </a:lnTo>
                    <a:lnTo>
                      <a:pt x="31" y="15"/>
                    </a:lnTo>
                    <a:lnTo>
                      <a:pt x="31" y="17"/>
                    </a:lnTo>
                    <a:lnTo>
                      <a:pt x="31" y="19"/>
                    </a:lnTo>
                    <a:lnTo>
                      <a:pt x="33" y="21"/>
                    </a:lnTo>
                    <a:lnTo>
                      <a:pt x="31" y="21"/>
                    </a:lnTo>
                    <a:lnTo>
                      <a:pt x="33" y="21"/>
                    </a:lnTo>
                    <a:lnTo>
                      <a:pt x="33" y="25"/>
                    </a:lnTo>
                    <a:lnTo>
                      <a:pt x="31" y="27"/>
                    </a:lnTo>
                    <a:lnTo>
                      <a:pt x="33" y="28"/>
                    </a:lnTo>
                    <a:lnTo>
                      <a:pt x="33" y="30"/>
                    </a:lnTo>
                    <a:lnTo>
                      <a:pt x="34" y="30"/>
                    </a:lnTo>
                    <a:lnTo>
                      <a:pt x="36" y="32"/>
                    </a:lnTo>
                    <a:lnTo>
                      <a:pt x="36" y="34"/>
                    </a:lnTo>
                    <a:close/>
                    <a:moveTo>
                      <a:pt x="33" y="42"/>
                    </a:moveTo>
                    <a:lnTo>
                      <a:pt x="33" y="44"/>
                    </a:lnTo>
                    <a:lnTo>
                      <a:pt x="33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7" name="Freeform 261">
                <a:extLst>
                  <a:ext uri="{FF2B5EF4-FFF2-40B4-BE49-F238E27FC236}">
                    <a16:creationId xmlns:a16="http://schemas.microsoft.com/office/drawing/2014/main" id="{A6910A8D-D178-4002-7C3F-B2482B6611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71904" y="-1159966"/>
                <a:ext cx="59873" cy="59984"/>
              </a:xfrm>
              <a:custGeom>
                <a:avLst/>
                <a:gdLst>
                  <a:gd name="T0" fmla="*/ 26 w 38"/>
                  <a:gd name="T1" fmla="*/ 0 h 38"/>
                  <a:gd name="T2" fmla="*/ 28 w 38"/>
                  <a:gd name="T3" fmla="*/ 2 h 38"/>
                  <a:gd name="T4" fmla="*/ 30 w 38"/>
                  <a:gd name="T5" fmla="*/ 4 h 38"/>
                  <a:gd name="T6" fmla="*/ 32 w 38"/>
                  <a:gd name="T7" fmla="*/ 6 h 38"/>
                  <a:gd name="T8" fmla="*/ 34 w 38"/>
                  <a:gd name="T9" fmla="*/ 8 h 38"/>
                  <a:gd name="T10" fmla="*/ 36 w 38"/>
                  <a:gd name="T11" fmla="*/ 10 h 38"/>
                  <a:gd name="T12" fmla="*/ 38 w 38"/>
                  <a:gd name="T13" fmla="*/ 12 h 38"/>
                  <a:gd name="T14" fmla="*/ 38 w 38"/>
                  <a:gd name="T15" fmla="*/ 15 h 38"/>
                  <a:gd name="T16" fmla="*/ 36 w 38"/>
                  <a:gd name="T17" fmla="*/ 19 h 38"/>
                  <a:gd name="T18" fmla="*/ 34 w 38"/>
                  <a:gd name="T19" fmla="*/ 21 h 38"/>
                  <a:gd name="T20" fmla="*/ 32 w 38"/>
                  <a:gd name="T21" fmla="*/ 23 h 38"/>
                  <a:gd name="T22" fmla="*/ 32 w 38"/>
                  <a:gd name="T23" fmla="*/ 25 h 38"/>
                  <a:gd name="T24" fmla="*/ 28 w 38"/>
                  <a:gd name="T25" fmla="*/ 29 h 38"/>
                  <a:gd name="T26" fmla="*/ 24 w 38"/>
                  <a:gd name="T27" fmla="*/ 29 h 38"/>
                  <a:gd name="T28" fmla="*/ 20 w 38"/>
                  <a:gd name="T29" fmla="*/ 29 h 38"/>
                  <a:gd name="T30" fmla="*/ 19 w 38"/>
                  <a:gd name="T31" fmla="*/ 31 h 38"/>
                  <a:gd name="T32" fmla="*/ 19 w 38"/>
                  <a:gd name="T33" fmla="*/ 35 h 38"/>
                  <a:gd name="T34" fmla="*/ 19 w 38"/>
                  <a:gd name="T35" fmla="*/ 35 h 38"/>
                  <a:gd name="T36" fmla="*/ 17 w 38"/>
                  <a:gd name="T37" fmla="*/ 38 h 38"/>
                  <a:gd name="T38" fmla="*/ 13 w 38"/>
                  <a:gd name="T39" fmla="*/ 36 h 38"/>
                  <a:gd name="T40" fmla="*/ 9 w 38"/>
                  <a:gd name="T41" fmla="*/ 36 h 38"/>
                  <a:gd name="T42" fmla="*/ 7 w 38"/>
                  <a:gd name="T43" fmla="*/ 35 h 38"/>
                  <a:gd name="T44" fmla="*/ 5 w 38"/>
                  <a:gd name="T45" fmla="*/ 33 h 38"/>
                  <a:gd name="T46" fmla="*/ 5 w 38"/>
                  <a:gd name="T47" fmla="*/ 29 h 38"/>
                  <a:gd name="T48" fmla="*/ 3 w 38"/>
                  <a:gd name="T49" fmla="*/ 27 h 38"/>
                  <a:gd name="T50" fmla="*/ 0 w 38"/>
                  <a:gd name="T51" fmla="*/ 19 h 38"/>
                  <a:gd name="T52" fmla="*/ 1 w 38"/>
                  <a:gd name="T53" fmla="*/ 19 h 38"/>
                  <a:gd name="T54" fmla="*/ 5 w 38"/>
                  <a:gd name="T55" fmla="*/ 17 h 38"/>
                  <a:gd name="T56" fmla="*/ 5 w 38"/>
                  <a:gd name="T57" fmla="*/ 14 h 38"/>
                  <a:gd name="T58" fmla="*/ 5 w 38"/>
                  <a:gd name="T59" fmla="*/ 14 h 38"/>
                  <a:gd name="T60" fmla="*/ 7 w 38"/>
                  <a:gd name="T61" fmla="*/ 12 h 38"/>
                  <a:gd name="T62" fmla="*/ 9 w 38"/>
                  <a:gd name="T63" fmla="*/ 10 h 38"/>
                  <a:gd name="T64" fmla="*/ 11 w 38"/>
                  <a:gd name="T65" fmla="*/ 8 h 38"/>
                  <a:gd name="T66" fmla="*/ 13 w 38"/>
                  <a:gd name="T67" fmla="*/ 6 h 38"/>
                  <a:gd name="T68" fmla="*/ 15 w 38"/>
                  <a:gd name="T69" fmla="*/ 4 h 38"/>
                  <a:gd name="T70" fmla="*/ 17 w 38"/>
                  <a:gd name="T71" fmla="*/ 2 h 38"/>
                  <a:gd name="T72" fmla="*/ 19 w 38"/>
                  <a:gd name="T73" fmla="*/ 2 h 38"/>
                  <a:gd name="T74" fmla="*/ 22 w 38"/>
                  <a:gd name="T7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" h="38">
                    <a:moveTo>
                      <a:pt x="24" y="0"/>
                    </a:moveTo>
                    <a:lnTo>
                      <a:pt x="26" y="0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38" y="14"/>
                    </a:lnTo>
                    <a:lnTo>
                      <a:pt x="38" y="15"/>
                    </a:lnTo>
                    <a:lnTo>
                      <a:pt x="36" y="17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2" y="23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30" y="27"/>
                    </a:lnTo>
                    <a:lnTo>
                      <a:pt x="28" y="29"/>
                    </a:lnTo>
                    <a:lnTo>
                      <a:pt x="26" y="29"/>
                    </a:lnTo>
                    <a:lnTo>
                      <a:pt x="24" y="29"/>
                    </a:lnTo>
                    <a:lnTo>
                      <a:pt x="22" y="29"/>
                    </a:lnTo>
                    <a:lnTo>
                      <a:pt x="20" y="29"/>
                    </a:lnTo>
                    <a:lnTo>
                      <a:pt x="20" y="31"/>
                    </a:lnTo>
                    <a:lnTo>
                      <a:pt x="19" y="31"/>
                    </a:lnTo>
                    <a:lnTo>
                      <a:pt x="19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5" y="38"/>
                    </a:lnTo>
                    <a:lnTo>
                      <a:pt x="13" y="36"/>
                    </a:lnTo>
                    <a:lnTo>
                      <a:pt x="11" y="38"/>
                    </a:lnTo>
                    <a:lnTo>
                      <a:pt x="9" y="36"/>
                    </a:lnTo>
                    <a:lnTo>
                      <a:pt x="9" y="35"/>
                    </a:lnTo>
                    <a:lnTo>
                      <a:pt x="7" y="35"/>
                    </a:lnTo>
                    <a:lnTo>
                      <a:pt x="7" y="33"/>
                    </a:lnTo>
                    <a:lnTo>
                      <a:pt x="5" y="33"/>
                    </a:lnTo>
                    <a:lnTo>
                      <a:pt x="5" y="31"/>
                    </a:lnTo>
                    <a:lnTo>
                      <a:pt x="5" y="29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1" y="19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5" y="15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2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8" name="Freeform 262">
                <a:extLst>
                  <a:ext uri="{FF2B5EF4-FFF2-40B4-BE49-F238E27FC236}">
                    <a16:creationId xmlns:a16="http://schemas.microsoft.com/office/drawing/2014/main" id="{067FBB6C-D2C2-3700-204F-261CADCDFA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4811" y="-1240512"/>
                <a:ext cx="33086" cy="44198"/>
              </a:xfrm>
              <a:custGeom>
                <a:avLst/>
                <a:gdLst>
                  <a:gd name="T0" fmla="*/ 19 w 21"/>
                  <a:gd name="T1" fmla="*/ 3 h 28"/>
                  <a:gd name="T2" fmla="*/ 19 w 21"/>
                  <a:gd name="T3" fmla="*/ 5 h 28"/>
                  <a:gd name="T4" fmla="*/ 21 w 21"/>
                  <a:gd name="T5" fmla="*/ 5 h 28"/>
                  <a:gd name="T6" fmla="*/ 21 w 21"/>
                  <a:gd name="T7" fmla="*/ 7 h 28"/>
                  <a:gd name="T8" fmla="*/ 21 w 21"/>
                  <a:gd name="T9" fmla="*/ 11 h 28"/>
                  <a:gd name="T10" fmla="*/ 21 w 21"/>
                  <a:gd name="T11" fmla="*/ 15 h 28"/>
                  <a:gd name="T12" fmla="*/ 21 w 21"/>
                  <a:gd name="T13" fmla="*/ 21 h 28"/>
                  <a:gd name="T14" fmla="*/ 21 w 21"/>
                  <a:gd name="T15" fmla="*/ 19 h 28"/>
                  <a:gd name="T16" fmla="*/ 19 w 21"/>
                  <a:gd name="T17" fmla="*/ 19 h 28"/>
                  <a:gd name="T18" fmla="*/ 19 w 21"/>
                  <a:gd name="T19" fmla="*/ 24 h 28"/>
                  <a:gd name="T20" fmla="*/ 19 w 21"/>
                  <a:gd name="T21" fmla="*/ 28 h 28"/>
                  <a:gd name="T22" fmla="*/ 11 w 21"/>
                  <a:gd name="T23" fmla="*/ 28 h 28"/>
                  <a:gd name="T24" fmla="*/ 5 w 21"/>
                  <a:gd name="T25" fmla="*/ 26 h 28"/>
                  <a:gd name="T26" fmla="*/ 5 w 21"/>
                  <a:gd name="T27" fmla="*/ 24 h 28"/>
                  <a:gd name="T28" fmla="*/ 3 w 21"/>
                  <a:gd name="T29" fmla="*/ 24 h 28"/>
                  <a:gd name="T30" fmla="*/ 3 w 21"/>
                  <a:gd name="T31" fmla="*/ 23 h 28"/>
                  <a:gd name="T32" fmla="*/ 3 w 21"/>
                  <a:gd name="T33" fmla="*/ 21 h 28"/>
                  <a:gd name="T34" fmla="*/ 2 w 21"/>
                  <a:gd name="T35" fmla="*/ 21 h 28"/>
                  <a:gd name="T36" fmla="*/ 2 w 21"/>
                  <a:gd name="T37" fmla="*/ 19 h 28"/>
                  <a:gd name="T38" fmla="*/ 2 w 21"/>
                  <a:gd name="T39" fmla="*/ 21 h 28"/>
                  <a:gd name="T40" fmla="*/ 0 w 21"/>
                  <a:gd name="T41" fmla="*/ 21 h 28"/>
                  <a:gd name="T42" fmla="*/ 0 w 21"/>
                  <a:gd name="T43" fmla="*/ 15 h 28"/>
                  <a:gd name="T44" fmla="*/ 0 w 21"/>
                  <a:gd name="T45" fmla="*/ 13 h 28"/>
                  <a:gd name="T46" fmla="*/ 2 w 21"/>
                  <a:gd name="T47" fmla="*/ 13 h 28"/>
                  <a:gd name="T48" fmla="*/ 2 w 21"/>
                  <a:gd name="T49" fmla="*/ 11 h 28"/>
                  <a:gd name="T50" fmla="*/ 3 w 21"/>
                  <a:gd name="T51" fmla="*/ 9 h 28"/>
                  <a:gd name="T52" fmla="*/ 5 w 21"/>
                  <a:gd name="T53" fmla="*/ 5 h 28"/>
                  <a:gd name="T54" fmla="*/ 5 w 21"/>
                  <a:gd name="T55" fmla="*/ 3 h 28"/>
                  <a:gd name="T56" fmla="*/ 7 w 21"/>
                  <a:gd name="T57" fmla="*/ 2 h 28"/>
                  <a:gd name="T58" fmla="*/ 9 w 21"/>
                  <a:gd name="T59" fmla="*/ 0 h 28"/>
                  <a:gd name="T60" fmla="*/ 11 w 21"/>
                  <a:gd name="T61" fmla="*/ 0 h 28"/>
                  <a:gd name="T62" fmla="*/ 17 w 21"/>
                  <a:gd name="T63" fmla="*/ 5 h 28"/>
                  <a:gd name="T64" fmla="*/ 19 w 21"/>
                  <a:gd name="T65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28">
                    <a:moveTo>
                      <a:pt x="19" y="3"/>
                    </a:moveTo>
                    <a:lnTo>
                      <a:pt x="19" y="5"/>
                    </a:lnTo>
                    <a:lnTo>
                      <a:pt x="21" y="5"/>
                    </a:lnTo>
                    <a:lnTo>
                      <a:pt x="21" y="7"/>
                    </a:lnTo>
                    <a:lnTo>
                      <a:pt x="21" y="11"/>
                    </a:lnTo>
                    <a:lnTo>
                      <a:pt x="21" y="15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19" y="19"/>
                    </a:lnTo>
                    <a:lnTo>
                      <a:pt x="19" y="24"/>
                    </a:lnTo>
                    <a:lnTo>
                      <a:pt x="19" y="28"/>
                    </a:lnTo>
                    <a:lnTo>
                      <a:pt x="11" y="28"/>
                    </a:lnTo>
                    <a:lnTo>
                      <a:pt x="5" y="26"/>
                    </a:lnTo>
                    <a:lnTo>
                      <a:pt x="5" y="24"/>
                    </a:lnTo>
                    <a:lnTo>
                      <a:pt x="3" y="24"/>
                    </a:lnTo>
                    <a:lnTo>
                      <a:pt x="3" y="23"/>
                    </a:lnTo>
                    <a:lnTo>
                      <a:pt x="3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3" y="9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7" y="5"/>
                    </a:lnTo>
                    <a:lnTo>
                      <a:pt x="19" y="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9" name="Freeform 38">
                <a:extLst>
                  <a:ext uri="{FF2B5EF4-FFF2-40B4-BE49-F238E27FC236}">
                    <a16:creationId xmlns:a16="http://schemas.microsoft.com/office/drawing/2014/main" id="{339210B3-C192-12FE-8770-4397175017F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902197" y="-3930286"/>
                <a:ext cx="33088" cy="53670"/>
              </a:xfrm>
              <a:custGeom>
                <a:avLst/>
                <a:gdLst>
                  <a:gd name="T0" fmla="*/ 10 w 21"/>
                  <a:gd name="T1" fmla="*/ 7 h 34"/>
                  <a:gd name="T2" fmla="*/ 14 w 21"/>
                  <a:gd name="T3" fmla="*/ 11 h 34"/>
                  <a:gd name="T4" fmla="*/ 14 w 21"/>
                  <a:gd name="T5" fmla="*/ 15 h 34"/>
                  <a:gd name="T6" fmla="*/ 10 w 21"/>
                  <a:gd name="T7" fmla="*/ 13 h 34"/>
                  <a:gd name="T8" fmla="*/ 6 w 21"/>
                  <a:gd name="T9" fmla="*/ 9 h 34"/>
                  <a:gd name="T10" fmla="*/ 8 w 21"/>
                  <a:gd name="T11" fmla="*/ 6 h 34"/>
                  <a:gd name="T12" fmla="*/ 8 w 21"/>
                  <a:gd name="T13" fmla="*/ 4 h 34"/>
                  <a:gd name="T14" fmla="*/ 10 w 21"/>
                  <a:gd name="T15" fmla="*/ 4 h 34"/>
                  <a:gd name="T16" fmla="*/ 14 w 21"/>
                  <a:gd name="T17" fmla="*/ 4 h 34"/>
                  <a:gd name="T18" fmla="*/ 16 w 21"/>
                  <a:gd name="T19" fmla="*/ 7 h 34"/>
                  <a:gd name="T20" fmla="*/ 16 w 21"/>
                  <a:gd name="T21" fmla="*/ 9 h 34"/>
                  <a:gd name="T22" fmla="*/ 14 w 21"/>
                  <a:gd name="T23" fmla="*/ 9 h 34"/>
                  <a:gd name="T24" fmla="*/ 14 w 21"/>
                  <a:gd name="T25" fmla="*/ 9 h 34"/>
                  <a:gd name="T26" fmla="*/ 10 w 21"/>
                  <a:gd name="T27" fmla="*/ 7 h 34"/>
                  <a:gd name="T28" fmla="*/ 10 w 21"/>
                  <a:gd name="T29" fmla="*/ 2 h 34"/>
                  <a:gd name="T30" fmla="*/ 8 w 21"/>
                  <a:gd name="T31" fmla="*/ 13 h 34"/>
                  <a:gd name="T32" fmla="*/ 2 w 21"/>
                  <a:gd name="T33" fmla="*/ 9 h 34"/>
                  <a:gd name="T34" fmla="*/ 12 w 21"/>
                  <a:gd name="T35" fmla="*/ 27 h 34"/>
                  <a:gd name="T36" fmla="*/ 14 w 21"/>
                  <a:gd name="T37" fmla="*/ 30 h 34"/>
                  <a:gd name="T38" fmla="*/ 16 w 21"/>
                  <a:gd name="T39" fmla="*/ 30 h 34"/>
                  <a:gd name="T40" fmla="*/ 16 w 21"/>
                  <a:gd name="T41" fmla="*/ 34 h 34"/>
                  <a:gd name="T42" fmla="*/ 12 w 21"/>
                  <a:gd name="T43" fmla="*/ 30 h 34"/>
                  <a:gd name="T44" fmla="*/ 12 w 21"/>
                  <a:gd name="T45" fmla="*/ 27 h 34"/>
                  <a:gd name="T46" fmla="*/ 16 w 21"/>
                  <a:gd name="T47" fmla="*/ 19 h 34"/>
                  <a:gd name="T48" fmla="*/ 14 w 21"/>
                  <a:gd name="T49" fmla="*/ 23 h 34"/>
                  <a:gd name="T50" fmla="*/ 12 w 21"/>
                  <a:gd name="T51" fmla="*/ 17 h 34"/>
                  <a:gd name="T52" fmla="*/ 18 w 21"/>
                  <a:gd name="T53" fmla="*/ 7 h 34"/>
                  <a:gd name="T54" fmla="*/ 18 w 21"/>
                  <a:gd name="T55" fmla="*/ 6 h 34"/>
                  <a:gd name="T56" fmla="*/ 18 w 21"/>
                  <a:gd name="T57" fmla="*/ 6 h 34"/>
                  <a:gd name="T58" fmla="*/ 19 w 21"/>
                  <a:gd name="T59" fmla="*/ 6 h 34"/>
                  <a:gd name="T60" fmla="*/ 18 w 21"/>
                  <a:gd name="T61" fmla="*/ 2 h 34"/>
                  <a:gd name="T62" fmla="*/ 18 w 21"/>
                  <a:gd name="T63" fmla="*/ 2 h 34"/>
                  <a:gd name="T64" fmla="*/ 16 w 21"/>
                  <a:gd name="T65" fmla="*/ 6 h 34"/>
                  <a:gd name="T66" fmla="*/ 16 w 21"/>
                  <a:gd name="T67" fmla="*/ 2 h 34"/>
                  <a:gd name="T68" fmla="*/ 14 w 21"/>
                  <a:gd name="T69" fmla="*/ 2 h 34"/>
                  <a:gd name="T70" fmla="*/ 21 w 21"/>
                  <a:gd name="T71" fmla="*/ 6 h 34"/>
                  <a:gd name="T72" fmla="*/ 21 w 21"/>
                  <a:gd name="T73" fmla="*/ 2 h 34"/>
                  <a:gd name="T74" fmla="*/ 16 w 21"/>
                  <a:gd name="T75" fmla="*/ 13 h 34"/>
                  <a:gd name="T76" fmla="*/ 12 w 21"/>
                  <a:gd name="T77" fmla="*/ 21 h 34"/>
                  <a:gd name="T78" fmla="*/ 12 w 21"/>
                  <a:gd name="T79" fmla="*/ 23 h 34"/>
                  <a:gd name="T80" fmla="*/ 2 w 21"/>
                  <a:gd name="T81" fmla="*/ 9 h 34"/>
                  <a:gd name="T82" fmla="*/ 0 w 21"/>
                  <a:gd name="T83" fmla="*/ 9 h 34"/>
                  <a:gd name="T84" fmla="*/ 12 w 21"/>
                  <a:gd name="T85" fmla="*/ 15 h 34"/>
                  <a:gd name="T86" fmla="*/ 10 w 21"/>
                  <a:gd name="T8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" h="34">
                    <a:moveTo>
                      <a:pt x="8" y="4"/>
                    </a:moveTo>
                    <a:lnTo>
                      <a:pt x="10" y="6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2" y="11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4" y="17"/>
                    </a:lnTo>
                    <a:lnTo>
                      <a:pt x="12" y="13"/>
                    </a:lnTo>
                    <a:lnTo>
                      <a:pt x="10" y="13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close/>
                    <a:moveTo>
                      <a:pt x="10" y="2"/>
                    </a:moveTo>
                    <a:lnTo>
                      <a:pt x="12" y="4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8" y="9"/>
                    </a:lnTo>
                    <a:lnTo>
                      <a:pt x="16" y="9"/>
                    </a:lnTo>
                    <a:lnTo>
                      <a:pt x="16" y="11"/>
                    </a:lnTo>
                    <a:lnTo>
                      <a:pt x="14" y="11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2" y="7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12" y="9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10" y="2"/>
                    </a:lnTo>
                    <a:close/>
                    <a:moveTo>
                      <a:pt x="6" y="9"/>
                    </a:moveTo>
                    <a:lnTo>
                      <a:pt x="10" y="11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6" y="9"/>
                    </a:lnTo>
                    <a:close/>
                    <a:moveTo>
                      <a:pt x="12" y="27"/>
                    </a:moveTo>
                    <a:lnTo>
                      <a:pt x="12" y="28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6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0" y="28"/>
                    </a:lnTo>
                    <a:lnTo>
                      <a:pt x="10" y="27"/>
                    </a:lnTo>
                    <a:lnTo>
                      <a:pt x="12" y="27"/>
                    </a:lnTo>
                    <a:close/>
                    <a:moveTo>
                      <a:pt x="12" y="17"/>
                    </a:moveTo>
                    <a:lnTo>
                      <a:pt x="14" y="17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4" y="23"/>
                    </a:lnTo>
                    <a:lnTo>
                      <a:pt x="14" y="19"/>
                    </a:lnTo>
                    <a:lnTo>
                      <a:pt x="12" y="21"/>
                    </a:lnTo>
                    <a:lnTo>
                      <a:pt x="12" y="17"/>
                    </a:lnTo>
                    <a:close/>
                    <a:moveTo>
                      <a:pt x="19" y="6"/>
                    </a:moveTo>
                    <a:lnTo>
                      <a:pt x="18" y="6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8" y="4"/>
                    </a:lnTo>
                    <a:lnTo>
                      <a:pt x="19" y="6"/>
                    </a:lnTo>
                    <a:close/>
                    <a:moveTo>
                      <a:pt x="19" y="4"/>
                    </a:moveTo>
                    <a:lnTo>
                      <a:pt x="18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9" y="4"/>
                    </a:lnTo>
                    <a:close/>
                    <a:moveTo>
                      <a:pt x="16" y="2"/>
                    </a:moveTo>
                    <a:lnTo>
                      <a:pt x="16" y="6"/>
                    </a:lnTo>
                    <a:lnTo>
                      <a:pt x="16" y="2"/>
                    </a:lnTo>
                    <a:close/>
                    <a:moveTo>
                      <a:pt x="14" y="2"/>
                    </a:moveTo>
                    <a:lnTo>
                      <a:pt x="16" y="2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2"/>
                    </a:lnTo>
                    <a:close/>
                    <a:moveTo>
                      <a:pt x="19" y="4"/>
                    </a:moveTo>
                    <a:lnTo>
                      <a:pt x="21" y="4"/>
                    </a:lnTo>
                    <a:lnTo>
                      <a:pt x="21" y="6"/>
                    </a:lnTo>
                    <a:lnTo>
                      <a:pt x="19" y="6"/>
                    </a:lnTo>
                    <a:lnTo>
                      <a:pt x="19" y="4"/>
                    </a:lnTo>
                    <a:close/>
                    <a:moveTo>
                      <a:pt x="21" y="2"/>
                    </a:moveTo>
                    <a:lnTo>
                      <a:pt x="21" y="4"/>
                    </a:lnTo>
                    <a:lnTo>
                      <a:pt x="21" y="2"/>
                    </a:lnTo>
                    <a:close/>
                    <a:moveTo>
                      <a:pt x="16" y="13"/>
                    </a:moveTo>
                    <a:lnTo>
                      <a:pt x="16" y="15"/>
                    </a:lnTo>
                    <a:lnTo>
                      <a:pt x="16" y="13"/>
                    </a:lnTo>
                    <a:close/>
                    <a:moveTo>
                      <a:pt x="12" y="21"/>
                    </a:moveTo>
                    <a:lnTo>
                      <a:pt x="14" y="21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12" y="21"/>
                    </a:lnTo>
                    <a:close/>
                    <a:moveTo>
                      <a:pt x="0" y="9"/>
                    </a:moveTo>
                    <a:lnTo>
                      <a:pt x="2" y="9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9"/>
                    </a:lnTo>
                    <a:close/>
                    <a:moveTo>
                      <a:pt x="12" y="15"/>
                    </a:moveTo>
                    <a:lnTo>
                      <a:pt x="12" y="17"/>
                    </a:lnTo>
                    <a:lnTo>
                      <a:pt x="12" y="15"/>
                    </a:lnTo>
                    <a:close/>
                    <a:moveTo>
                      <a:pt x="10" y="13"/>
                    </a:moveTo>
                    <a:lnTo>
                      <a:pt x="10" y="15"/>
                    </a:lnTo>
                    <a:lnTo>
                      <a:pt x="1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0" name="Freeform 39">
                <a:extLst>
                  <a:ext uri="{FF2B5EF4-FFF2-40B4-BE49-F238E27FC236}">
                    <a16:creationId xmlns:a16="http://schemas.microsoft.com/office/drawing/2014/main" id="{2F96AA0B-B0D3-E064-98D3-9834F4D6F2A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479941" y="-4171805"/>
                <a:ext cx="275728" cy="186268"/>
              </a:xfrm>
              <a:custGeom>
                <a:avLst/>
                <a:gdLst>
                  <a:gd name="T0" fmla="*/ 139 w 175"/>
                  <a:gd name="T1" fmla="*/ 12 h 118"/>
                  <a:gd name="T2" fmla="*/ 156 w 175"/>
                  <a:gd name="T3" fmla="*/ 8 h 118"/>
                  <a:gd name="T4" fmla="*/ 158 w 175"/>
                  <a:gd name="T5" fmla="*/ 21 h 118"/>
                  <a:gd name="T6" fmla="*/ 162 w 175"/>
                  <a:gd name="T7" fmla="*/ 31 h 118"/>
                  <a:gd name="T8" fmla="*/ 173 w 175"/>
                  <a:gd name="T9" fmla="*/ 44 h 118"/>
                  <a:gd name="T10" fmla="*/ 173 w 175"/>
                  <a:gd name="T11" fmla="*/ 52 h 118"/>
                  <a:gd name="T12" fmla="*/ 173 w 175"/>
                  <a:gd name="T13" fmla="*/ 59 h 118"/>
                  <a:gd name="T14" fmla="*/ 167 w 175"/>
                  <a:gd name="T15" fmla="*/ 63 h 118"/>
                  <a:gd name="T16" fmla="*/ 164 w 175"/>
                  <a:gd name="T17" fmla="*/ 71 h 118"/>
                  <a:gd name="T18" fmla="*/ 162 w 175"/>
                  <a:gd name="T19" fmla="*/ 75 h 118"/>
                  <a:gd name="T20" fmla="*/ 150 w 175"/>
                  <a:gd name="T21" fmla="*/ 88 h 118"/>
                  <a:gd name="T22" fmla="*/ 141 w 175"/>
                  <a:gd name="T23" fmla="*/ 90 h 118"/>
                  <a:gd name="T24" fmla="*/ 101 w 175"/>
                  <a:gd name="T25" fmla="*/ 117 h 118"/>
                  <a:gd name="T26" fmla="*/ 45 w 175"/>
                  <a:gd name="T27" fmla="*/ 103 h 118"/>
                  <a:gd name="T28" fmla="*/ 30 w 175"/>
                  <a:gd name="T29" fmla="*/ 99 h 118"/>
                  <a:gd name="T30" fmla="*/ 40 w 175"/>
                  <a:gd name="T31" fmla="*/ 96 h 118"/>
                  <a:gd name="T32" fmla="*/ 43 w 175"/>
                  <a:gd name="T33" fmla="*/ 90 h 118"/>
                  <a:gd name="T34" fmla="*/ 49 w 175"/>
                  <a:gd name="T35" fmla="*/ 82 h 118"/>
                  <a:gd name="T36" fmla="*/ 41 w 175"/>
                  <a:gd name="T37" fmla="*/ 78 h 118"/>
                  <a:gd name="T38" fmla="*/ 36 w 175"/>
                  <a:gd name="T39" fmla="*/ 76 h 118"/>
                  <a:gd name="T40" fmla="*/ 34 w 175"/>
                  <a:gd name="T41" fmla="*/ 67 h 118"/>
                  <a:gd name="T42" fmla="*/ 17 w 175"/>
                  <a:gd name="T43" fmla="*/ 67 h 118"/>
                  <a:gd name="T44" fmla="*/ 19 w 175"/>
                  <a:gd name="T45" fmla="*/ 63 h 118"/>
                  <a:gd name="T46" fmla="*/ 24 w 175"/>
                  <a:gd name="T47" fmla="*/ 61 h 118"/>
                  <a:gd name="T48" fmla="*/ 34 w 175"/>
                  <a:gd name="T49" fmla="*/ 57 h 118"/>
                  <a:gd name="T50" fmla="*/ 36 w 175"/>
                  <a:gd name="T51" fmla="*/ 55 h 118"/>
                  <a:gd name="T52" fmla="*/ 40 w 175"/>
                  <a:gd name="T53" fmla="*/ 44 h 118"/>
                  <a:gd name="T54" fmla="*/ 40 w 175"/>
                  <a:gd name="T55" fmla="*/ 40 h 118"/>
                  <a:gd name="T56" fmla="*/ 36 w 175"/>
                  <a:gd name="T57" fmla="*/ 40 h 118"/>
                  <a:gd name="T58" fmla="*/ 30 w 175"/>
                  <a:gd name="T59" fmla="*/ 36 h 118"/>
                  <a:gd name="T60" fmla="*/ 24 w 175"/>
                  <a:gd name="T61" fmla="*/ 36 h 118"/>
                  <a:gd name="T62" fmla="*/ 7 w 175"/>
                  <a:gd name="T63" fmla="*/ 42 h 118"/>
                  <a:gd name="T64" fmla="*/ 5 w 175"/>
                  <a:gd name="T65" fmla="*/ 38 h 118"/>
                  <a:gd name="T66" fmla="*/ 7 w 175"/>
                  <a:gd name="T67" fmla="*/ 29 h 118"/>
                  <a:gd name="T68" fmla="*/ 19 w 175"/>
                  <a:gd name="T69" fmla="*/ 31 h 118"/>
                  <a:gd name="T70" fmla="*/ 21 w 175"/>
                  <a:gd name="T71" fmla="*/ 29 h 118"/>
                  <a:gd name="T72" fmla="*/ 15 w 175"/>
                  <a:gd name="T73" fmla="*/ 15 h 118"/>
                  <a:gd name="T74" fmla="*/ 24 w 175"/>
                  <a:gd name="T75" fmla="*/ 21 h 118"/>
                  <a:gd name="T76" fmla="*/ 26 w 175"/>
                  <a:gd name="T77" fmla="*/ 25 h 118"/>
                  <a:gd name="T78" fmla="*/ 32 w 175"/>
                  <a:gd name="T79" fmla="*/ 27 h 118"/>
                  <a:gd name="T80" fmla="*/ 24 w 175"/>
                  <a:gd name="T81" fmla="*/ 14 h 118"/>
                  <a:gd name="T82" fmla="*/ 28 w 175"/>
                  <a:gd name="T83" fmla="*/ 10 h 118"/>
                  <a:gd name="T84" fmla="*/ 22 w 175"/>
                  <a:gd name="T85" fmla="*/ 4 h 118"/>
                  <a:gd name="T86" fmla="*/ 36 w 175"/>
                  <a:gd name="T87" fmla="*/ 10 h 118"/>
                  <a:gd name="T88" fmla="*/ 43 w 175"/>
                  <a:gd name="T89" fmla="*/ 15 h 118"/>
                  <a:gd name="T90" fmla="*/ 45 w 175"/>
                  <a:gd name="T91" fmla="*/ 23 h 118"/>
                  <a:gd name="T92" fmla="*/ 47 w 175"/>
                  <a:gd name="T93" fmla="*/ 33 h 118"/>
                  <a:gd name="T94" fmla="*/ 47 w 175"/>
                  <a:gd name="T95" fmla="*/ 42 h 118"/>
                  <a:gd name="T96" fmla="*/ 57 w 175"/>
                  <a:gd name="T97" fmla="*/ 38 h 118"/>
                  <a:gd name="T98" fmla="*/ 68 w 175"/>
                  <a:gd name="T99" fmla="*/ 17 h 118"/>
                  <a:gd name="T100" fmla="*/ 82 w 175"/>
                  <a:gd name="T101" fmla="*/ 23 h 118"/>
                  <a:gd name="T102" fmla="*/ 91 w 175"/>
                  <a:gd name="T103" fmla="*/ 17 h 118"/>
                  <a:gd name="T104" fmla="*/ 101 w 175"/>
                  <a:gd name="T105" fmla="*/ 31 h 118"/>
                  <a:gd name="T106" fmla="*/ 104 w 175"/>
                  <a:gd name="T107" fmla="*/ 17 h 118"/>
                  <a:gd name="T108" fmla="*/ 122 w 175"/>
                  <a:gd name="T109" fmla="*/ 17 h 118"/>
                  <a:gd name="T110" fmla="*/ 66 w 175"/>
                  <a:gd name="T111" fmla="*/ 117 h 118"/>
                  <a:gd name="T112" fmla="*/ 106 w 175"/>
                  <a:gd name="T113" fmla="*/ 15 h 118"/>
                  <a:gd name="T114" fmla="*/ 28 w 175"/>
                  <a:gd name="T115" fmla="*/ 54 h 118"/>
                  <a:gd name="T116" fmla="*/ 38 w 175"/>
                  <a:gd name="T117" fmla="*/ 8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5" h="118">
                    <a:moveTo>
                      <a:pt x="133" y="0"/>
                    </a:moveTo>
                    <a:lnTo>
                      <a:pt x="135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37" y="2"/>
                    </a:lnTo>
                    <a:lnTo>
                      <a:pt x="137" y="6"/>
                    </a:lnTo>
                    <a:lnTo>
                      <a:pt x="137" y="4"/>
                    </a:lnTo>
                    <a:lnTo>
                      <a:pt x="137" y="6"/>
                    </a:lnTo>
                    <a:lnTo>
                      <a:pt x="141" y="6"/>
                    </a:lnTo>
                    <a:lnTo>
                      <a:pt x="141" y="8"/>
                    </a:lnTo>
                    <a:lnTo>
                      <a:pt x="139" y="10"/>
                    </a:lnTo>
                    <a:lnTo>
                      <a:pt x="139" y="12"/>
                    </a:lnTo>
                    <a:lnTo>
                      <a:pt x="141" y="12"/>
                    </a:lnTo>
                    <a:lnTo>
                      <a:pt x="141" y="14"/>
                    </a:lnTo>
                    <a:lnTo>
                      <a:pt x="143" y="12"/>
                    </a:lnTo>
                    <a:lnTo>
                      <a:pt x="144" y="15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48" y="12"/>
                    </a:lnTo>
                    <a:lnTo>
                      <a:pt x="150" y="10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4" y="6"/>
                    </a:lnTo>
                    <a:lnTo>
                      <a:pt x="156" y="8"/>
                    </a:lnTo>
                    <a:lnTo>
                      <a:pt x="158" y="6"/>
                    </a:lnTo>
                    <a:lnTo>
                      <a:pt x="152" y="10"/>
                    </a:lnTo>
                    <a:lnTo>
                      <a:pt x="150" y="12"/>
                    </a:lnTo>
                    <a:lnTo>
                      <a:pt x="152" y="14"/>
                    </a:lnTo>
                    <a:lnTo>
                      <a:pt x="150" y="15"/>
                    </a:lnTo>
                    <a:lnTo>
                      <a:pt x="148" y="17"/>
                    </a:lnTo>
                    <a:lnTo>
                      <a:pt x="150" y="17"/>
                    </a:lnTo>
                    <a:lnTo>
                      <a:pt x="150" y="19"/>
                    </a:lnTo>
                    <a:lnTo>
                      <a:pt x="152" y="19"/>
                    </a:lnTo>
                    <a:lnTo>
                      <a:pt x="154" y="21"/>
                    </a:lnTo>
                    <a:lnTo>
                      <a:pt x="156" y="19"/>
                    </a:lnTo>
                    <a:lnTo>
                      <a:pt x="158" y="21"/>
                    </a:lnTo>
                    <a:lnTo>
                      <a:pt x="156" y="25"/>
                    </a:lnTo>
                    <a:lnTo>
                      <a:pt x="156" y="27"/>
                    </a:lnTo>
                    <a:lnTo>
                      <a:pt x="154" y="29"/>
                    </a:lnTo>
                    <a:lnTo>
                      <a:pt x="154" y="31"/>
                    </a:lnTo>
                    <a:lnTo>
                      <a:pt x="154" y="29"/>
                    </a:lnTo>
                    <a:lnTo>
                      <a:pt x="154" y="31"/>
                    </a:lnTo>
                    <a:lnTo>
                      <a:pt x="152" y="31"/>
                    </a:lnTo>
                    <a:lnTo>
                      <a:pt x="154" y="29"/>
                    </a:lnTo>
                    <a:lnTo>
                      <a:pt x="154" y="33"/>
                    </a:lnTo>
                    <a:lnTo>
                      <a:pt x="156" y="31"/>
                    </a:lnTo>
                    <a:lnTo>
                      <a:pt x="158" y="31"/>
                    </a:lnTo>
                    <a:lnTo>
                      <a:pt x="162" y="31"/>
                    </a:lnTo>
                    <a:lnTo>
                      <a:pt x="162" y="33"/>
                    </a:lnTo>
                    <a:lnTo>
                      <a:pt x="162" y="34"/>
                    </a:lnTo>
                    <a:lnTo>
                      <a:pt x="165" y="36"/>
                    </a:lnTo>
                    <a:lnTo>
                      <a:pt x="167" y="36"/>
                    </a:lnTo>
                    <a:lnTo>
                      <a:pt x="169" y="36"/>
                    </a:lnTo>
                    <a:lnTo>
                      <a:pt x="169" y="38"/>
                    </a:lnTo>
                    <a:lnTo>
                      <a:pt x="169" y="40"/>
                    </a:lnTo>
                    <a:lnTo>
                      <a:pt x="171" y="38"/>
                    </a:lnTo>
                    <a:lnTo>
                      <a:pt x="171" y="40"/>
                    </a:lnTo>
                    <a:lnTo>
                      <a:pt x="173" y="40"/>
                    </a:lnTo>
                    <a:lnTo>
                      <a:pt x="173" y="42"/>
                    </a:lnTo>
                    <a:lnTo>
                      <a:pt x="173" y="44"/>
                    </a:lnTo>
                    <a:lnTo>
                      <a:pt x="171" y="44"/>
                    </a:lnTo>
                    <a:lnTo>
                      <a:pt x="173" y="46"/>
                    </a:lnTo>
                    <a:lnTo>
                      <a:pt x="171" y="46"/>
                    </a:lnTo>
                    <a:lnTo>
                      <a:pt x="169" y="46"/>
                    </a:lnTo>
                    <a:lnTo>
                      <a:pt x="171" y="48"/>
                    </a:lnTo>
                    <a:lnTo>
                      <a:pt x="169" y="48"/>
                    </a:lnTo>
                    <a:lnTo>
                      <a:pt x="167" y="50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71" y="48"/>
                    </a:lnTo>
                    <a:lnTo>
                      <a:pt x="173" y="50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67" y="54"/>
                    </a:lnTo>
                    <a:lnTo>
                      <a:pt x="173" y="54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3" y="57"/>
                    </a:lnTo>
                    <a:lnTo>
                      <a:pt x="175" y="54"/>
                    </a:lnTo>
                    <a:lnTo>
                      <a:pt x="175" y="55"/>
                    </a:lnTo>
                    <a:lnTo>
                      <a:pt x="175" y="57"/>
                    </a:lnTo>
                    <a:lnTo>
                      <a:pt x="173" y="59"/>
                    </a:lnTo>
                    <a:lnTo>
                      <a:pt x="173" y="61"/>
                    </a:lnTo>
                    <a:lnTo>
                      <a:pt x="171" y="61"/>
                    </a:lnTo>
                    <a:lnTo>
                      <a:pt x="169" y="59"/>
                    </a:lnTo>
                    <a:lnTo>
                      <a:pt x="165" y="57"/>
                    </a:lnTo>
                    <a:lnTo>
                      <a:pt x="167" y="59"/>
                    </a:lnTo>
                    <a:lnTo>
                      <a:pt x="164" y="59"/>
                    </a:lnTo>
                    <a:lnTo>
                      <a:pt x="167" y="59"/>
                    </a:lnTo>
                    <a:lnTo>
                      <a:pt x="171" y="61"/>
                    </a:lnTo>
                    <a:lnTo>
                      <a:pt x="171" y="63"/>
                    </a:lnTo>
                    <a:lnTo>
                      <a:pt x="167" y="63"/>
                    </a:lnTo>
                    <a:lnTo>
                      <a:pt x="165" y="63"/>
                    </a:lnTo>
                    <a:lnTo>
                      <a:pt x="167" y="63"/>
                    </a:lnTo>
                    <a:lnTo>
                      <a:pt x="169" y="63"/>
                    </a:lnTo>
                    <a:lnTo>
                      <a:pt x="171" y="65"/>
                    </a:lnTo>
                    <a:lnTo>
                      <a:pt x="169" y="67"/>
                    </a:lnTo>
                    <a:lnTo>
                      <a:pt x="167" y="67"/>
                    </a:lnTo>
                    <a:lnTo>
                      <a:pt x="169" y="67"/>
                    </a:lnTo>
                    <a:lnTo>
                      <a:pt x="167" y="67"/>
                    </a:lnTo>
                    <a:lnTo>
                      <a:pt x="165" y="69"/>
                    </a:lnTo>
                    <a:lnTo>
                      <a:pt x="165" y="67"/>
                    </a:lnTo>
                    <a:lnTo>
                      <a:pt x="165" y="69"/>
                    </a:lnTo>
                    <a:lnTo>
                      <a:pt x="167" y="71"/>
                    </a:lnTo>
                    <a:lnTo>
                      <a:pt x="165" y="71"/>
                    </a:lnTo>
                    <a:lnTo>
                      <a:pt x="164" y="71"/>
                    </a:lnTo>
                    <a:lnTo>
                      <a:pt x="162" y="71"/>
                    </a:lnTo>
                    <a:lnTo>
                      <a:pt x="160" y="67"/>
                    </a:lnTo>
                    <a:lnTo>
                      <a:pt x="162" y="73"/>
                    </a:lnTo>
                    <a:lnTo>
                      <a:pt x="164" y="73"/>
                    </a:lnTo>
                    <a:lnTo>
                      <a:pt x="164" y="75"/>
                    </a:lnTo>
                    <a:lnTo>
                      <a:pt x="160" y="73"/>
                    </a:lnTo>
                    <a:lnTo>
                      <a:pt x="160" y="75"/>
                    </a:lnTo>
                    <a:lnTo>
                      <a:pt x="158" y="75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2" y="75"/>
                    </a:lnTo>
                    <a:lnTo>
                      <a:pt x="160" y="78"/>
                    </a:lnTo>
                    <a:lnTo>
                      <a:pt x="160" y="80"/>
                    </a:lnTo>
                    <a:lnTo>
                      <a:pt x="158" y="82"/>
                    </a:lnTo>
                    <a:lnTo>
                      <a:pt x="156" y="82"/>
                    </a:lnTo>
                    <a:lnTo>
                      <a:pt x="154" y="84"/>
                    </a:lnTo>
                    <a:lnTo>
                      <a:pt x="156" y="82"/>
                    </a:lnTo>
                    <a:lnTo>
                      <a:pt x="158" y="82"/>
                    </a:lnTo>
                    <a:lnTo>
                      <a:pt x="156" y="82"/>
                    </a:lnTo>
                    <a:lnTo>
                      <a:pt x="152" y="86"/>
                    </a:lnTo>
                    <a:lnTo>
                      <a:pt x="152" y="88"/>
                    </a:lnTo>
                    <a:lnTo>
                      <a:pt x="148" y="88"/>
                    </a:lnTo>
                    <a:lnTo>
                      <a:pt x="150" y="88"/>
                    </a:lnTo>
                    <a:lnTo>
                      <a:pt x="150" y="86"/>
                    </a:lnTo>
                    <a:lnTo>
                      <a:pt x="148" y="86"/>
                    </a:lnTo>
                    <a:lnTo>
                      <a:pt x="148" y="88"/>
                    </a:lnTo>
                    <a:lnTo>
                      <a:pt x="148" y="86"/>
                    </a:lnTo>
                    <a:lnTo>
                      <a:pt x="148" y="88"/>
                    </a:lnTo>
                    <a:lnTo>
                      <a:pt x="148" y="86"/>
                    </a:lnTo>
                    <a:lnTo>
                      <a:pt x="146" y="86"/>
                    </a:lnTo>
                    <a:lnTo>
                      <a:pt x="144" y="86"/>
                    </a:lnTo>
                    <a:lnTo>
                      <a:pt x="144" y="88"/>
                    </a:lnTo>
                    <a:lnTo>
                      <a:pt x="148" y="88"/>
                    </a:lnTo>
                    <a:lnTo>
                      <a:pt x="144" y="88"/>
                    </a:lnTo>
                    <a:lnTo>
                      <a:pt x="141" y="90"/>
                    </a:lnTo>
                    <a:lnTo>
                      <a:pt x="139" y="90"/>
                    </a:lnTo>
                    <a:lnTo>
                      <a:pt x="137" y="92"/>
                    </a:lnTo>
                    <a:lnTo>
                      <a:pt x="131" y="97"/>
                    </a:lnTo>
                    <a:lnTo>
                      <a:pt x="127" y="101"/>
                    </a:lnTo>
                    <a:lnTo>
                      <a:pt x="125" y="105"/>
                    </a:lnTo>
                    <a:lnTo>
                      <a:pt x="118" y="105"/>
                    </a:lnTo>
                    <a:lnTo>
                      <a:pt x="114" y="105"/>
                    </a:lnTo>
                    <a:lnTo>
                      <a:pt x="110" y="107"/>
                    </a:lnTo>
                    <a:lnTo>
                      <a:pt x="106" y="109"/>
                    </a:lnTo>
                    <a:lnTo>
                      <a:pt x="104" y="113"/>
                    </a:lnTo>
                    <a:lnTo>
                      <a:pt x="103" y="115"/>
                    </a:lnTo>
                    <a:lnTo>
                      <a:pt x="101" y="117"/>
                    </a:lnTo>
                    <a:lnTo>
                      <a:pt x="93" y="118"/>
                    </a:lnTo>
                    <a:lnTo>
                      <a:pt x="87" y="118"/>
                    </a:lnTo>
                    <a:lnTo>
                      <a:pt x="85" y="118"/>
                    </a:lnTo>
                    <a:lnTo>
                      <a:pt x="82" y="117"/>
                    </a:lnTo>
                    <a:lnTo>
                      <a:pt x="76" y="115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3" y="101"/>
                    </a:lnTo>
                    <a:lnTo>
                      <a:pt x="51" y="101"/>
                    </a:lnTo>
                    <a:lnTo>
                      <a:pt x="49" y="101"/>
                    </a:lnTo>
                    <a:lnTo>
                      <a:pt x="49" y="103"/>
                    </a:lnTo>
                    <a:lnTo>
                      <a:pt x="45" y="103"/>
                    </a:lnTo>
                    <a:lnTo>
                      <a:pt x="43" y="101"/>
                    </a:lnTo>
                    <a:lnTo>
                      <a:pt x="41" y="103"/>
                    </a:lnTo>
                    <a:lnTo>
                      <a:pt x="38" y="103"/>
                    </a:lnTo>
                    <a:lnTo>
                      <a:pt x="36" y="103"/>
                    </a:lnTo>
                    <a:lnTo>
                      <a:pt x="34" y="101"/>
                    </a:lnTo>
                    <a:lnTo>
                      <a:pt x="34" y="103"/>
                    </a:lnTo>
                    <a:lnTo>
                      <a:pt x="32" y="103"/>
                    </a:lnTo>
                    <a:lnTo>
                      <a:pt x="30" y="103"/>
                    </a:lnTo>
                    <a:lnTo>
                      <a:pt x="28" y="103"/>
                    </a:lnTo>
                    <a:lnTo>
                      <a:pt x="28" y="101"/>
                    </a:lnTo>
                    <a:lnTo>
                      <a:pt x="28" y="99"/>
                    </a:lnTo>
                    <a:lnTo>
                      <a:pt x="30" y="99"/>
                    </a:lnTo>
                    <a:lnTo>
                      <a:pt x="28" y="99"/>
                    </a:lnTo>
                    <a:lnTo>
                      <a:pt x="28" y="97"/>
                    </a:lnTo>
                    <a:lnTo>
                      <a:pt x="28" y="96"/>
                    </a:lnTo>
                    <a:lnTo>
                      <a:pt x="28" y="94"/>
                    </a:lnTo>
                    <a:lnTo>
                      <a:pt x="30" y="96"/>
                    </a:lnTo>
                    <a:lnTo>
                      <a:pt x="32" y="97"/>
                    </a:lnTo>
                    <a:lnTo>
                      <a:pt x="34" y="97"/>
                    </a:lnTo>
                    <a:lnTo>
                      <a:pt x="34" y="96"/>
                    </a:lnTo>
                    <a:lnTo>
                      <a:pt x="34" y="97"/>
                    </a:lnTo>
                    <a:lnTo>
                      <a:pt x="36" y="96"/>
                    </a:lnTo>
                    <a:lnTo>
                      <a:pt x="38" y="96"/>
                    </a:lnTo>
                    <a:lnTo>
                      <a:pt x="40" y="96"/>
                    </a:lnTo>
                    <a:lnTo>
                      <a:pt x="40" y="94"/>
                    </a:lnTo>
                    <a:lnTo>
                      <a:pt x="41" y="94"/>
                    </a:lnTo>
                    <a:lnTo>
                      <a:pt x="40" y="92"/>
                    </a:lnTo>
                    <a:lnTo>
                      <a:pt x="41" y="92"/>
                    </a:lnTo>
                    <a:lnTo>
                      <a:pt x="40" y="92"/>
                    </a:lnTo>
                    <a:lnTo>
                      <a:pt x="41" y="92"/>
                    </a:lnTo>
                    <a:lnTo>
                      <a:pt x="40" y="92"/>
                    </a:lnTo>
                    <a:lnTo>
                      <a:pt x="41" y="92"/>
                    </a:lnTo>
                    <a:lnTo>
                      <a:pt x="43" y="92"/>
                    </a:lnTo>
                    <a:lnTo>
                      <a:pt x="41" y="92"/>
                    </a:lnTo>
                    <a:lnTo>
                      <a:pt x="43" y="92"/>
                    </a:lnTo>
                    <a:lnTo>
                      <a:pt x="43" y="90"/>
                    </a:lnTo>
                    <a:lnTo>
                      <a:pt x="43" y="92"/>
                    </a:lnTo>
                    <a:lnTo>
                      <a:pt x="43" y="90"/>
                    </a:lnTo>
                    <a:lnTo>
                      <a:pt x="41" y="90"/>
                    </a:lnTo>
                    <a:lnTo>
                      <a:pt x="41" y="88"/>
                    </a:lnTo>
                    <a:lnTo>
                      <a:pt x="43" y="84"/>
                    </a:lnTo>
                    <a:lnTo>
                      <a:pt x="45" y="84"/>
                    </a:lnTo>
                    <a:lnTo>
                      <a:pt x="47" y="82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9" y="82"/>
                    </a:lnTo>
                    <a:lnTo>
                      <a:pt x="49" y="84"/>
                    </a:lnTo>
                    <a:lnTo>
                      <a:pt x="49" y="82"/>
                    </a:lnTo>
                    <a:lnTo>
                      <a:pt x="47" y="82"/>
                    </a:lnTo>
                    <a:lnTo>
                      <a:pt x="45" y="82"/>
                    </a:lnTo>
                    <a:lnTo>
                      <a:pt x="41" y="86"/>
                    </a:lnTo>
                    <a:lnTo>
                      <a:pt x="40" y="86"/>
                    </a:lnTo>
                    <a:lnTo>
                      <a:pt x="38" y="86"/>
                    </a:lnTo>
                    <a:lnTo>
                      <a:pt x="40" y="84"/>
                    </a:lnTo>
                    <a:lnTo>
                      <a:pt x="41" y="84"/>
                    </a:lnTo>
                    <a:lnTo>
                      <a:pt x="41" y="82"/>
                    </a:lnTo>
                    <a:lnTo>
                      <a:pt x="40" y="82"/>
                    </a:lnTo>
                    <a:lnTo>
                      <a:pt x="40" y="80"/>
                    </a:lnTo>
                    <a:lnTo>
                      <a:pt x="40" y="78"/>
                    </a:lnTo>
                    <a:lnTo>
                      <a:pt x="41" y="78"/>
                    </a:lnTo>
                    <a:lnTo>
                      <a:pt x="41" y="76"/>
                    </a:lnTo>
                    <a:lnTo>
                      <a:pt x="43" y="76"/>
                    </a:lnTo>
                    <a:lnTo>
                      <a:pt x="41" y="76"/>
                    </a:lnTo>
                    <a:lnTo>
                      <a:pt x="43" y="76"/>
                    </a:lnTo>
                    <a:lnTo>
                      <a:pt x="41" y="76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38" y="80"/>
                    </a:lnTo>
                    <a:lnTo>
                      <a:pt x="36" y="80"/>
                    </a:lnTo>
                    <a:lnTo>
                      <a:pt x="36" y="78"/>
                    </a:lnTo>
                    <a:lnTo>
                      <a:pt x="36" y="80"/>
                    </a:lnTo>
                    <a:lnTo>
                      <a:pt x="36" y="76"/>
                    </a:lnTo>
                    <a:lnTo>
                      <a:pt x="34" y="76"/>
                    </a:lnTo>
                    <a:lnTo>
                      <a:pt x="34" y="75"/>
                    </a:lnTo>
                    <a:lnTo>
                      <a:pt x="34" y="73"/>
                    </a:lnTo>
                    <a:lnTo>
                      <a:pt x="32" y="73"/>
                    </a:lnTo>
                    <a:lnTo>
                      <a:pt x="34" y="73"/>
                    </a:lnTo>
                    <a:lnTo>
                      <a:pt x="34" y="71"/>
                    </a:lnTo>
                    <a:lnTo>
                      <a:pt x="34" y="73"/>
                    </a:lnTo>
                    <a:lnTo>
                      <a:pt x="34" y="69"/>
                    </a:lnTo>
                    <a:lnTo>
                      <a:pt x="32" y="69"/>
                    </a:lnTo>
                    <a:lnTo>
                      <a:pt x="34" y="67"/>
                    </a:lnTo>
                    <a:lnTo>
                      <a:pt x="32" y="69"/>
                    </a:lnTo>
                    <a:lnTo>
                      <a:pt x="34" y="67"/>
                    </a:lnTo>
                    <a:lnTo>
                      <a:pt x="32" y="67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8" y="67"/>
                    </a:lnTo>
                    <a:lnTo>
                      <a:pt x="28" y="69"/>
                    </a:lnTo>
                    <a:lnTo>
                      <a:pt x="26" y="67"/>
                    </a:lnTo>
                    <a:lnTo>
                      <a:pt x="24" y="67"/>
                    </a:lnTo>
                    <a:lnTo>
                      <a:pt x="22" y="67"/>
                    </a:lnTo>
                    <a:lnTo>
                      <a:pt x="19" y="67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3" y="69"/>
                    </a:lnTo>
                    <a:lnTo>
                      <a:pt x="11" y="71"/>
                    </a:lnTo>
                    <a:lnTo>
                      <a:pt x="9" y="69"/>
                    </a:lnTo>
                    <a:lnTo>
                      <a:pt x="7" y="65"/>
                    </a:lnTo>
                    <a:lnTo>
                      <a:pt x="9" y="63"/>
                    </a:lnTo>
                    <a:lnTo>
                      <a:pt x="11" y="63"/>
                    </a:lnTo>
                    <a:lnTo>
                      <a:pt x="13" y="65"/>
                    </a:lnTo>
                    <a:lnTo>
                      <a:pt x="15" y="63"/>
                    </a:lnTo>
                    <a:lnTo>
                      <a:pt x="17" y="61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21" y="63"/>
                    </a:lnTo>
                    <a:lnTo>
                      <a:pt x="21" y="61"/>
                    </a:lnTo>
                    <a:lnTo>
                      <a:pt x="21" y="59"/>
                    </a:lnTo>
                    <a:lnTo>
                      <a:pt x="22" y="59"/>
                    </a:lnTo>
                    <a:lnTo>
                      <a:pt x="21" y="61"/>
                    </a:lnTo>
                    <a:lnTo>
                      <a:pt x="22" y="63"/>
                    </a:lnTo>
                    <a:lnTo>
                      <a:pt x="22" y="61"/>
                    </a:lnTo>
                    <a:lnTo>
                      <a:pt x="24" y="61"/>
                    </a:lnTo>
                    <a:lnTo>
                      <a:pt x="24" y="63"/>
                    </a:lnTo>
                    <a:lnTo>
                      <a:pt x="24" y="61"/>
                    </a:lnTo>
                    <a:lnTo>
                      <a:pt x="22" y="61"/>
                    </a:lnTo>
                    <a:lnTo>
                      <a:pt x="24" y="59"/>
                    </a:lnTo>
                    <a:lnTo>
                      <a:pt x="24" y="61"/>
                    </a:lnTo>
                    <a:lnTo>
                      <a:pt x="24" y="59"/>
                    </a:lnTo>
                    <a:lnTo>
                      <a:pt x="28" y="59"/>
                    </a:lnTo>
                    <a:lnTo>
                      <a:pt x="26" y="59"/>
                    </a:lnTo>
                    <a:lnTo>
                      <a:pt x="28" y="57"/>
                    </a:lnTo>
                    <a:lnTo>
                      <a:pt x="28" y="59"/>
                    </a:lnTo>
                    <a:lnTo>
                      <a:pt x="30" y="61"/>
                    </a:lnTo>
                    <a:lnTo>
                      <a:pt x="30" y="59"/>
                    </a:lnTo>
                    <a:lnTo>
                      <a:pt x="32" y="57"/>
                    </a:lnTo>
                    <a:lnTo>
                      <a:pt x="34" y="57"/>
                    </a:lnTo>
                    <a:lnTo>
                      <a:pt x="36" y="57"/>
                    </a:lnTo>
                    <a:lnTo>
                      <a:pt x="36" y="59"/>
                    </a:lnTo>
                    <a:lnTo>
                      <a:pt x="38" y="59"/>
                    </a:lnTo>
                    <a:lnTo>
                      <a:pt x="43" y="59"/>
                    </a:lnTo>
                    <a:lnTo>
                      <a:pt x="43" y="57"/>
                    </a:lnTo>
                    <a:lnTo>
                      <a:pt x="41" y="57"/>
                    </a:lnTo>
                    <a:lnTo>
                      <a:pt x="43" y="54"/>
                    </a:lnTo>
                    <a:lnTo>
                      <a:pt x="43" y="52"/>
                    </a:lnTo>
                    <a:lnTo>
                      <a:pt x="41" y="54"/>
                    </a:lnTo>
                    <a:lnTo>
                      <a:pt x="40" y="55"/>
                    </a:lnTo>
                    <a:lnTo>
                      <a:pt x="38" y="55"/>
                    </a:lnTo>
                    <a:lnTo>
                      <a:pt x="36" y="55"/>
                    </a:lnTo>
                    <a:lnTo>
                      <a:pt x="34" y="54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2"/>
                    </a:lnTo>
                    <a:lnTo>
                      <a:pt x="30" y="54"/>
                    </a:lnTo>
                    <a:lnTo>
                      <a:pt x="32" y="52"/>
                    </a:lnTo>
                    <a:lnTo>
                      <a:pt x="34" y="50"/>
                    </a:lnTo>
                    <a:lnTo>
                      <a:pt x="38" y="48"/>
                    </a:lnTo>
                    <a:lnTo>
                      <a:pt x="38" y="46"/>
                    </a:lnTo>
                    <a:lnTo>
                      <a:pt x="40" y="46"/>
                    </a:lnTo>
                    <a:lnTo>
                      <a:pt x="40" y="44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44"/>
                    </a:lnTo>
                    <a:lnTo>
                      <a:pt x="43" y="44"/>
                    </a:lnTo>
                    <a:lnTo>
                      <a:pt x="45" y="42"/>
                    </a:lnTo>
                    <a:lnTo>
                      <a:pt x="43" y="42"/>
                    </a:lnTo>
                    <a:lnTo>
                      <a:pt x="43" y="44"/>
                    </a:lnTo>
                    <a:lnTo>
                      <a:pt x="41" y="42"/>
                    </a:lnTo>
                    <a:lnTo>
                      <a:pt x="40" y="44"/>
                    </a:lnTo>
                    <a:lnTo>
                      <a:pt x="41" y="42"/>
                    </a:lnTo>
                    <a:lnTo>
                      <a:pt x="40" y="40"/>
                    </a:lnTo>
                    <a:lnTo>
                      <a:pt x="40" y="42"/>
                    </a:lnTo>
                    <a:lnTo>
                      <a:pt x="38" y="40"/>
                    </a:lnTo>
                    <a:lnTo>
                      <a:pt x="38" y="42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36" y="38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2" y="38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8" y="40"/>
                    </a:lnTo>
                    <a:lnTo>
                      <a:pt x="28" y="38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4" y="38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21" y="42"/>
                    </a:lnTo>
                    <a:lnTo>
                      <a:pt x="19" y="42"/>
                    </a:lnTo>
                    <a:lnTo>
                      <a:pt x="17" y="40"/>
                    </a:lnTo>
                    <a:lnTo>
                      <a:pt x="13" y="42"/>
                    </a:lnTo>
                    <a:lnTo>
                      <a:pt x="13" y="44"/>
                    </a:lnTo>
                    <a:lnTo>
                      <a:pt x="9" y="44"/>
                    </a:lnTo>
                    <a:lnTo>
                      <a:pt x="7" y="42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1" y="40"/>
                    </a:lnTo>
                    <a:lnTo>
                      <a:pt x="1" y="38"/>
                    </a:lnTo>
                    <a:lnTo>
                      <a:pt x="1" y="36"/>
                    </a:lnTo>
                    <a:lnTo>
                      <a:pt x="3" y="36"/>
                    </a:lnTo>
                    <a:lnTo>
                      <a:pt x="5" y="36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7" y="34"/>
                    </a:lnTo>
                    <a:lnTo>
                      <a:pt x="9" y="36"/>
                    </a:lnTo>
                    <a:lnTo>
                      <a:pt x="11" y="36"/>
                    </a:lnTo>
                    <a:lnTo>
                      <a:pt x="9" y="34"/>
                    </a:lnTo>
                    <a:lnTo>
                      <a:pt x="7" y="33"/>
                    </a:lnTo>
                    <a:lnTo>
                      <a:pt x="5" y="31"/>
                    </a:lnTo>
                    <a:lnTo>
                      <a:pt x="7" y="29"/>
                    </a:lnTo>
                    <a:lnTo>
                      <a:pt x="15" y="33"/>
                    </a:lnTo>
                    <a:lnTo>
                      <a:pt x="15" y="34"/>
                    </a:lnTo>
                    <a:lnTo>
                      <a:pt x="15" y="36"/>
                    </a:lnTo>
                    <a:lnTo>
                      <a:pt x="17" y="36"/>
                    </a:lnTo>
                    <a:lnTo>
                      <a:pt x="17" y="34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17" y="34"/>
                    </a:lnTo>
                    <a:lnTo>
                      <a:pt x="21" y="34"/>
                    </a:lnTo>
                    <a:lnTo>
                      <a:pt x="17" y="34"/>
                    </a:lnTo>
                    <a:lnTo>
                      <a:pt x="15" y="33"/>
                    </a:lnTo>
                    <a:lnTo>
                      <a:pt x="19" y="31"/>
                    </a:lnTo>
                    <a:lnTo>
                      <a:pt x="21" y="33"/>
                    </a:lnTo>
                    <a:lnTo>
                      <a:pt x="21" y="31"/>
                    </a:lnTo>
                    <a:lnTo>
                      <a:pt x="19" y="31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1" y="29"/>
                    </a:lnTo>
                    <a:lnTo>
                      <a:pt x="9" y="27"/>
                    </a:lnTo>
                    <a:lnTo>
                      <a:pt x="11" y="25"/>
                    </a:lnTo>
                    <a:lnTo>
                      <a:pt x="13" y="25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21" y="29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7" y="21"/>
                    </a:lnTo>
                    <a:lnTo>
                      <a:pt x="19" y="23"/>
                    </a:lnTo>
                    <a:lnTo>
                      <a:pt x="17" y="21"/>
                    </a:lnTo>
                    <a:lnTo>
                      <a:pt x="15" y="19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9" y="19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22" y="17"/>
                    </a:lnTo>
                    <a:lnTo>
                      <a:pt x="22" y="19"/>
                    </a:lnTo>
                    <a:lnTo>
                      <a:pt x="21" y="19"/>
                    </a:lnTo>
                    <a:lnTo>
                      <a:pt x="22" y="17"/>
                    </a:lnTo>
                    <a:lnTo>
                      <a:pt x="24" y="17"/>
                    </a:lnTo>
                    <a:lnTo>
                      <a:pt x="24" y="21"/>
                    </a:lnTo>
                    <a:lnTo>
                      <a:pt x="22" y="23"/>
                    </a:lnTo>
                    <a:lnTo>
                      <a:pt x="24" y="21"/>
                    </a:lnTo>
                    <a:lnTo>
                      <a:pt x="24" y="19"/>
                    </a:lnTo>
                    <a:lnTo>
                      <a:pt x="24" y="21"/>
                    </a:lnTo>
                    <a:lnTo>
                      <a:pt x="24" y="23"/>
                    </a:lnTo>
                    <a:lnTo>
                      <a:pt x="24" y="21"/>
                    </a:lnTo>
                    <a:lnTo>
                      <a:pt x="26" y="19"/>
                    </a:lnTo>
                    <a:lnTo>
                      <a:pt x="26" y="23"/>
                    </a:lnTo>
                    <a:lnTo>
                      <a:pt x="24" y="25"/>
                    </a:lnTo>
                    <a:lnTo>
                      <a:pt x="26" y="23"/>
                    </a:lnTo>
                    <a:lnTo>
                      <a:pt x="26" y="21"/>
                    </a:lnTo>
                    <a:lnTo>
                      <a:pt x="26" y="25"/>
                    </a:lnTo>
                    <a:lnTo>
                      <a:pt x="26" y="23"/>
                    </a:lnTo>
                    <a:lnTo>
                      <a:pt x="28" y="19"/>
                    </a:lnTo>
                    <a:lnTo>
                      <a:pt x="28" y="21"/>
                    </a:lnTo>
                    <a:lnTo>
                      <a:pt x="30" y="21"/>
                    </a:lnTo>
                    <a:lnTo>
                      <a:pt x="30" y="23"/>
                    </a:lnTo>
                    <a:lnTo>
                      <a:pt x="30" y="25"/>
                    </a:lnTo>
                    <a:lnTo>
                      <a:pt x="28" y="29"/>
                    </a:lnTo>
                    <a:lnTo>
                      <a:pt x="30" y="27"/>
                    </a:lnTo>
                    <a:lnTo>
                      <a:pt x="32" y="23"/>
                    </a:lnTo>
                    <a:lnTo>
                      <a:pt x="32" y="25"/>
                    </a:lnTo>
                    <a:lnTo>
                      <a:pt x="34" y="25"/>
                    </a:lnTo>
                    <a:lnTo>
                      <a:pt x="32" y="27"/>
                    </a:lnTo>
                    <a:lnTo>
                      <a:pt x="32" y="29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4" y="25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2" y="19"/>
                    </a:lnTo>
                    <a:lnTo>
                      <a:pt x="34" y="17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26" y="15"/>
                    </a:lnTo>
                    <a:lnTo>
                      <a:pt x="24" y="14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30" y="8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1" y="8"/>
                    </a:lnTo>
                    <a:lnTo>
                      <a:pt x="22" y="8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8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1" y="14"/>
                    </a:lnTo>
                    <a:lnTo>
                      <a:pt x="43" y="14"/>
                    </a:lnTo>
                    <a:lnTo>
                      <a:pt x="43" y="15"/>
                    </a:lnTo>
                    <a:lnTo>
                      <a:pt x="43" y="17"/>
                    </a:lnTo>
                    <a:lnTo>
                      <a:pt x="43" y="19"/>
                    </a:lnTo>
                    <a:lnTo>
                      <a:pt x="45" y="19"/>
                    </a:lnTo>
                    <a:lnTo>
                      <a:pt x="45" y="21"/>
                    </a:lnTo>
                    <a:lnTo>
                      <a:pt x="45" y="19"/>
                    </a:lnTo>
                    <a:lnTo>
                      <a:pt x="45" y="17"/>
                    </a:lnTo>
                    <a:lnTo>
                      <a:pt x="47" y="17"/>
                    </a:lnTo>
                    <a:lnTo>
                      <a:pt x="47" y="19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51" y="21"/>
                    </a:lnTo>
                    <a:lnTo>
                      <a:pt x="45" y="23"/>
                    </a:lnTo>
                    <a:lnTo>
                      <a:pt x="49" y="23"/>
                    </a:lnTo>
                    <a:lnTo>
                      <a:pt x="49" y="25"/>
                    </a:lnTo>
                    <a:lnTo>
                      <a:pt x="51" y="23"/>
                    </a:lnTo>
                    <a:lnTo>
                      <a:pt x="51" y="25"/>
                    </a:lnTo>
                    <a:lnTo>
                      <a:pt x="51" y="27"/>
                    </a:lnTo>
                    <a:lnTo>
                      <a:pt x="51" y="29"/>
                    </a:lnTo>
                    <a:lnTo>
                      <a:pt x="49" y="31"/>
                    </a:lnTo>
                    <a:lnTo>
                      <a:pt x="47" y="31"/>
                    </a:lnTo>
                    <a:lnTo>
                      <a:pt x="49" y="31"/>
                    </a:lnTo>
                    <a:lnTo>
                      <a:pt x="51" y="33"/>
                    </a:lnTo>
                    <a:lnTo>
                      <a:pt x="49" y="34"/>
                    </a:lnTo>
                    <a:lnTo>
                      <a:pt x="47" y="33"/>
                    </a:lnTo>
                    <a:lnTo>
                      <a:pt x="45" y="31"/>
                    </a:lnTo>
                    <a:lnTo>
                      <a:pt x="43" y="31"/>
                    </a:lnTo>
                    <a:lnTo>
                      <a:pt x="45" y="33"/>
                    </a:lnTo>
                    <a:lnTo>
                      <a:pt x="45" y="34"/>
                    </a:lnTo>
                    <a:lnTo>
                      <a:pt x="47" y="34"/>
                    </a:lnTo>
                    <a:lnTo>
                      <a:pt x="49" y="36"/>
                    </a:lnTo>
                    <a:lnTo>
                      <a:pt x="47" y="38"/>
                    </a:lnTo>
                    <a:lnTo>
                      <a:pt x="49" y="38"/>
                    </a:lnTo>
                    <a:lnTo>
                      <a:pt x="49" y="36"/>
                    </a:lnTo>
                    <a:lnTo>
                      <a:pt x="51" y="36"/>
                    </a:lnTo>
                    <a:lnTo>
                      <a:pt x="51" y="40"/>
                    </a:lnTo>
                    <a:lnTo>
                      <a:pt x="47" y="42"/>
                    </a:lnTo>
                    <a:lnTo>
                      <a:pt x="51" y="42"/>
                    </a:lnTo>
                    <a:lnTo>
                      <a:pt x="53" y="44"/>
                    </a:lnTo>
                    <a:lnTo>
                      <a:pt x="53" y="48"/>
                    </a:lnTo>
                    <a:lnTo>
                      <a:pt x="55" y="52"/>
                    </a:lnTo>
                    <a:lnTo>
                      <a:pt x="55" y="54"/>
                    </a:lnTo>
                    <a:lnTo>
                      <a:pt x="55" y="52"/>
                    </a:lnTo>
                    <a:lnTo>
                      <a:pt x="53" y="50"/>
                    </a:lnTo>
                    <a:lnTo>
                      <a:pt x="55" y="48"/>
                    </a:lnTo>
                    <a:lnTo>
                      <a:pt x="55" y="42"/>
                    </a:lnTo>
                    <a:lnTo>
                      <a:pt x="57" y="46"/>
                    </a:lnTo>
                    <a:lnTo>
                      <a:pt x="55" y="42"/>
                    </a:lnTo>
                    <a:lnTo>
                      <a:pt x="57" y="38"/>
                    </a:lnTo>
                    <a:lnTo>
                      <a:pt x="61" y="34"/>
                    </a:lnTo>
                    <a:lnTo>
                      <a:pt x="61" y="36"/>
                    </a:lnTo>
                    <a:lnTo>
                      <a:pt x="62" y="36"/>
                    </a:lnTo>
                    <a:lnTo>
                      <a:pt x="66" y="36"/>
                    </a:lnTo>
                    <a:lnTo>
                      <a:pt x="66" y="34"/>
                    </a:lnTo>
                    <a:lnTo>
                      <a:pt x="66" y="31"/>
                    </a:lnTo>
                    <a:lnTo>
                      <a:pt x="66" y="29"/>
                    </a:lnTo>
                    <a:lnTo>
                      <a:pt x="66" y="27"/>
                    </a:lnTo>
                    <a:lnTo>
                      <a:pt x="64" y="21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2" y="23"/>
                    </a:lnTo>
                    <a:lnTo>
                      <a:pt x="74" y="25"/>
                    </a:lnTo>
                    <a:lnTo>
                      <a:pt x="76" y="27"/>
                    </a:lnTo>
                    <a:lnTo>
                      <a:pt x="78" y="31"/>
                    </a:lnTo>
                    <a:lnTo>
                      <a:pt x="80" y="31"/>
                    </a:lnTo>
                    <a:lnTo>
                      <a:pt x="80" y="33"/>
                    </a:lnTo>
                    <a:lnTo>
                      <a:pt x="82" y="31"/>
                    </a:lnTo>
                    <a:lnTo>
                      <a:pt x="82" y="29"/>
                    </a:lnTo>
                    <a:lnTo>
                      <a:pt x="82" y="25"/>
                    </a:lnTo>
                    <a:lnTo>
                      <a:pt x="80" y="23"/>
                    </a:lnTo>
                    <a:lnTo>
                      <a:pt x="82" y="23"/>
                    </a:lnTo>
                    <a:lnTo>
                      <a:pt x="80" y="19"/>
                    </a:lnTo>
                    <a:lnTo>
                      <a:pt x="82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5" y="17"/>
                    </a:lnTo>
                    <a:lnTo>
                      <a:pt x="87" y="15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89" y="14"/>
                    </a:lnTo>
                    <a:lnTo>
                      <a:pt x="91" y="14"/>
                    </a:lnTo>
                    <a:lnTo>
                      <a:pt x="91" y="15"/>
                    </a:lnTo>
                    <a:lnTo>
                      <a:pt x="91" y="17"/>
                    </a:lnTo>
                    <a:lnTo>
                      <a:pt x="93" y="15"/>
                    </a:lnTo>
                    <a:lnTo>
                      <a:pt x="93" y="17"/>
                    </a:lnTo>
                    <a:lnTo>
                      <a:pt x="93" y="19"/>
                    </a:lnTo>
                    <a:lnTo>
                      <a:pt x="95" y="17"/>
                    </a:lnTo>
                    <a:lnTo>
                      <a:pt x="95" y="21"/>
                    </a:lnTo>
                    <a:lnTo>
                      <a:pt x="95" y="23"/>
                    </a:lnTo>
                    <a:lnTo>
                      <a:pt x="97" y="23"/>
                    </a:lnTo>
                    <a:lnTo>
                      <a:pt x="99" y="23"/>
                    </a:lnTo>
                    <a:lnTo>
                      <a:pt x="99" y="27"/>
                    </a:lnTo>
                    <a:lnTo>
                      <a:pt x="101" y="27"/>
                    </a:lnTo>
                    <a:lnTo>
                      <a:pt x="101" y="29"/>
                    </a:lnTo>
                    <a:lnTo>
                      <a:pt x="101" y="31"/>
                    </a:lnTo>
                    <a:lnTo>
                      <a:pt x="101" y="33"/>
                    </a:lnTo>
                    <a:lnTo>
                      <a:pt x="103" y="34"/>
                    </a:lnTo>
                    <a:lnTo>
                      <a:pt x="103" y="31"/>
                    </a:lnTo>
                    <a:lnTo>
                      <a:pt x="103" y="27"/>
                    </a:lnTo>
                    <a:lnTo>
                      <a:pt x="101" y="25"/>
                    </a:lnTo>
                    <a:lnTo>
                      <a:pt x="101" y="23"/>
                    </a:lnTo>
                    <a:lnTo>
                      <a:pt x="99" y="21"/>
                    </a:lnTo>
                    <a:lnTo>
                      <a:pt x="99" y="15"/>
                    </a:lnTo>
                    <a:lnTo>
                      <a:pt x="101" y="15"/>
                    </a:lnTo>
                    <a:lnTo>
                      <a:pt x="103" y="15"/>
                    </a:lnTo>
                    <a:lnTo>
                      <a:pt x="104" y="15"/>
                    </a:lnTo>
                    <a:lnTo>
                      <a:pt x="104" y="17"/>
                    </a:lnTo>
                    <a:lnTo>
                      <a:pt x="106" y="17"/>
                    </a:lnTo>
                    <a:lnTo>
                      <a:pt x="108" y="19"/>
                    </a:lnTo>
                    <a:lnTo>
                      <a:pt x="108" y="21"/>
                    </a:lnTo>
                    <a:lnTo>
                      <a:pt x="112" y="21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6" y="17"/>
                    </a:lnTo>
                    <a:lnTo>
                      <a:pt x="114" y="15"/>
                    </a:lnTo>
                    <a:lnTo>
                      <a:pt x="116" y="14"/>
                    </a:lnTo>
                    <a:lnTo>
                      <a:pt x="118" y="14"/>
                    </a:lnTo>
                    <a:lnTo>
                      <a:pt x="120" y="17"/>
                    </a:lnTo>
                    <a:lnTo>
                      <a:pt x="122" y="17"/>
                    </a:lnTo>
                    <a:lnTo>
                      <a:pt x="127" y="14"/>
                    </a:lnTo>
                    <a:lnTo>
                      <a:pt x="127" y="12"/>
                    </a:lnTo>
                    <a:lnTo>
                      <a:pt x="129" y="10"/>
                    </a:lnTo>
                    <a:lnTo>
                      <a:pt x="127" y="8"/>
                    </a:lnTo>
                    <a:lnTo>
                      <a:pt x="127" y="6"/>
                    </a:lnTo>
                    <a:lnTo>
                      <a:pt x="125" y="2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0"/>
                    </a:lnTo>
                    <a:close/>
                    <a:moveTo>
                      <a:pt x="66" y="117"/>
                    </a:moveTo>
                    <a:lnTo>
                      <a:pt x="68" y="117"/>
                    </a:lnTo>
                    <a:lnTo>
                      <a:pt x="68" y="118"/>
                    </a:lnTo>
                    <a:lnTo>
                      <a:pt x="66" y="118"/>
                    </a:lnTo>
                    <a:lnTo>
                      <a:pt x="66" y="117"/>
                    </a:lnTo>
                    <a:close/>
                    <a:moveTo>
                      <a:pt x="97" y="21"/>
                    </a:moveTo>
                    <a:lnTo>
                      <a:pt x="97" y="23"/>
                    </a:lnTo>
                    <a:lnTo>
                      <a:pt x="97" y="21"/>
                    </a:lnTo>
                    <a:close/>
                    <a:moveTo>
                      <a:pt x="103" y="0"/>
                    </a:moveTo>
                    <a:lnTo>
                      <a:pt x="104" y="0"/>
                    </a:lnTo>
                    <a:lnTo>
                      <a:pt x="103" y="0"/>
                    </a:lnTo>
                    <a:close/>
                    <a:moveTo>
                      <a:pt x="104" y="15"/>
                    </a:moveTo>
                    <a:lnTo>
                      <a:pt x="106" y="15"/>
                    </a:lnTo>
                    <a:lnTo>
                      <a:pt x="104" y="15"/>
                    </a:lnTo>
                    <a:close/>
                    <a:moveTo>
                      <a:pt x="34" y="76"/>
                    </a:moveTo>
                    <a:lnTo>
                      <a:pt x="34" y="78"/>
                    </a:lnTo>
                    <a:lnTo>
                      <a:pt x="34" y="76"/>
                    </a:lnTo>
                    <a:close/>
                    <a:moveTo>
                      <a:pt x="32" y="69"/>
                    </a:moveTo>
                    <a:lnTo>
                      <a:pt x="34" y="69"/>
                    </a:lnTo>
                    <a:lnTo>
                      <a:pt x="34" y="71"/>
                    </a:lnTo>
                    <a:lnTo>
                      <a:pt x="32" y="71"/>
                    </a:lnTo>
                    <a:lnTo>
                      <a:pt x="32" y="69"/>
                    </a:lnTo>
                    <a:close/>
                    <a:moveTo>
                      <a:pt x="28" y="54"/>
                    </a:moveTo>
                    <a:lnTo>
                      <a:pt x="30" y="54"/>
                    </a:lnTo>
                    <a:lnTo>
                      <a:pt x="28" y="54"/>
                    </a:lnTo>
                    <a:close/>
                    <a:moveTo>
                      <a:pt x="78" y="21"/>
                    </a:moveTo>
                    <a:lnTo>
                      <a:pt x="80" y="21"/>
                    </a:lnTo>
                    <a:lnTo>
                      <a:pt x="78" y="21"/>
                    </a:lnTo>
                    <a:close/>
                    <a:moveTo>
                      <a:pt x="41" y="90"/>
                    </a:moveTo>
                    <a:lnTo>
                      <a:pt x="41" y="92"/>
                    </a:lnTo>
                    <a:lnTo>
                      <a:pt x="41" y="90"/>
                    </a:lnTo>
                    <a:close/>
                    <a:moveTo>
                      <a:pt x="30" y="52"/>
                    </a:moveTo>
                    <a:lnTo>
                      <a:pt x="30" y="54"/>
                    </a:lnTo>
                    <a:lnTo>
                      <a:pt x="30" y="52"/>
                    </a:lnTo>
                    <a:close/>
                    <a:moveTo>
                      <a:pt x="36" y="78"/>
                    </a:moveTo>
                    <a:lnTo>
                      <a:pt x="38" y="78"/>
                    </a:lnTo>
                    <a:lnTo>
                      <a:pt x="38" y="80"/>
                    </a:lnTo>
                    <a:lnTo>
                      <a:pt x="36" y="80"/>
                    </a:lnTo>
                    <a:lnTo>
                      <a:pt x="36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1" name="Freeform 40">
                <a:extLst>
                  <a:ext uri="{FF2B5EF4-FFF2-40B4-BE49-F238E27FC236}">
                    <a16:creationId xmlns:a16="http://schemas.microsoft.com/office/drawing/2014/main" id="{4096249C-9CA9-C58C-1B73-D033967E59E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828143" y="-3587743"/>
                <a:ext cx="113442" cy="165748"/>
              </a:xfrm>
              <a:custGeom>
                <a:avLst/>
                <a:gdLst>
                  <a:gd name="T0" fmla="*/ 42 w 72"/>
                  <a:gd name="T1" fmla="*/ 19 h 105"/>
                  <a:gd name="T2" fmla="*/ 42 w 72"/>
                  <a:gd name="T3" fmla="*/ 29 h 105"/>
                  <a:gd name="T4" fmla="*/ 53 w 72"/>
                  <a:gd name="T5" fmla="*/ 35 h 105"/>
                  <a:gd name="T6" fmla="*/ 61 w 72"/>
                  <a:gd name="T7" fmla="*/ 33 h 105"/>
                  <a:gd name="T8" fmla="*/ 68 w 72"/>
                  <a:gd name="T9" fmla="*/ 37 h 105"/>
                  <a:gd name="T10" fmla="*/ 70 w 72"/>
                  <a:gd name="T11" fmla="*/ 44 h 105"/>
                  <a:gd name="T12" fmla="*/ 70 w 72"/>
                  <a:gd name="T13" fmla="*/ 52 h 105"/>
                  <a:gd name="T14" fmla="*/ 70 w 72"/>
                  <a:gd name="T15" fmla="*/ 58 h 105"/>
                  <a:gd name="T16" fmla="*/ 66 w 72"/>
                  <a:gd name="T17" fmla="*/ 82 h 105"/>
                  <a:gd name="T18" fmla="*/ 61 w 72"/>
                  <a:gd name="T19" fmla="*/ 86 h 105"/>
                  <a:gd name="T20" fmla="*/ 55 w 72"/>
                  <a:gd name="T21" fmla="*/ 86 h 105"/>
                  <a:gd name="T22" fmla="*/ 45 w 72"/>
                  <a:gd name="T23" fmla="*/ 94 h 105"/>
                  <a:gd name="T24" fmla="*/ 38 w 72"/>
                  <a:gd name="T25" fmla="*/ 94 h 105"/>
                  <a:gd name="T26" fmla="*/ 30 w 72"/>
                  <a:gd name="T27" fmla="*/ 101 h 105"/>
                  <a:gd name="T28" fmla="*/ 23 w 72"/>
                  <a:gd name="T29" fmla="*/ 103 h 105"/>
                  <a:gd name="T30" fmla="*/ 17 w 72"/>
                  <a:gd name="T31" fmla="*/ 103 h 105"/>
                  <a:gd name="T32" fmla="*/ 15 w 72"/>
                  <a:gd name="T33" fmla="*/ 101 h 105"/>
                  <a:gd name="T34" fmla="*/ 11 w 72"/>
                  <a:gd name="T35" fmla="*/ 100 h 105"/>
                  <a:gd name="T36" fmla="*/ 11 w 72"/>
                  <a:gd name="T37" fmla="*/ 98 h 105"/>
                  <a:gd name="T38" fmla="*/ 7 w 72"/>
                  <a:gd name="T39" fmla="*/ 96 h 105"/>
                  <a:gd name="T40" fmla="*/ 4 w 72"/>
                  <a:gd name="T41" fmla="*/ 92 h 105"/>
                  <a:gd name="T42" fmla="*/ 9 w 72"/>
                  <a:gd name="T43" fmla="*/ 88 h 105"/>
                  <a:gd name="T44" fmla="*/ 7 w 72"/>
                  <a:gd name="T45" fmla="*/ 86 h 105"/>
                  <a:gd name="T46" fmla="*/ 11 w 72"/>
                  <a:gd name="T47" fmla="*/ 84 h 105"/>
                  <a:gd name="T48" fmla="*/ 21 w 72"/>
                  <a:gd name="T49" fmla="*/ 77 h 105"/>
                  <a:gd name="T50" fmla="*/ 30 w 72"/>
                  <a:gd name="T51" fmla="*/ 75 h 105"/>
                  <a:gd name="T52" fmla="*/ 21 w 72"/>
                  <a:gd name="T53" fmla="*/ 75 h 105"/>
                  <a:gd name="T54" fmla="*/ 17 w 72"/>
                  <a:gd name="T55" fmla="*/ 71 h 105"/>
                  <a:gd name="T56" fmla="*/ 23 w 72"/>
                  <a:gd name="T57" fmla="*/ 61 h 105"/>
                  <a:gd name="T58" fmla="*/ 25 w 72"/>
                  <a:gd name="T59" fmla="*/ 58 h 105"/>
                  <a:gd name="T60" fmla="*/ 17 w 72"/>
                  <a:gd name="T61" fmla="*/ 56 h 105"/>
                  <a:gd name="T62" fmla="*/ 11 w 72"/>
                  <a:gd name="T63" fmla="*/ 56 h 105"/>
                  <a:gd name="T64" fmla="*/ 9 w 72"/>
                  <a:gd name="T65" fmla="*/ 54 h 105"/>
                  <a:gd name="T66" fmla="*/ 5 w 72"/>
                  <a:gd name="T67" fmla="*/ 50 h 105"/>
                  <a:gd name="T68" fmla="*/ 13 w 72"/>
                  <a:gd name="T69" fmla="*/ 50 h 105"/>
                  <a:gd name="T70" fmla="*/ 15 w 72"/>
                  <a:gd name="T71" fmla="*/ 42 h 105"/>
                  <a:gd name="T72" fmla="*/ 15 w 72"/>
                  <a:gd name="T73" fmla="*/ 40 h 105"/>
                  <a:gd name="T74" fmla="*/ 11 w 72"/>
                  <a:gd name="T75" fmla="*/ 38 h 105"/>
                  <a:gd name="T76" fmla="*/ 11 w 72"/>
                  <a:gd name="T77" fmla="*/ 35 h 105"/>
                  <a:gd name="T78" fmla="*/ 9 w 72"/>
                  <a:gd name="T79" fmla="*/ 37 h 105"/>
                  <a:gd name="T80" fmla="*/ 9 w 72"/>
                  <a:gd name="T81" fmla="*/ 31 h 105"/>
                  <a:gd name="T82" fmla="*/ 17 w 72"/>
                  <a:gd name="T83" fmla="*/ 31 h 105"/>
                  <a:gd name="T84" fmla="*/ 25 w 72"/>
                  <a:gd name="T85" fmla="*/ 33 h 105"/>
                  <a:gd name="T86" fmla="*/ 34 w 72"/>
                  <a:gd name="T87" fmla="*/ 31 h 105"/>
                  <a:gd name="T88" fmla="*/ 34 w 72"/>
                  <a:gd name="T89" fmla="*/ 25 h 105"/>
                  <a:gd name="T90" fmla="*/ 38 w 72"/>
                  <a:gd name="T91" fmla="*/ 21 h 105"/>
                  <a:gd name="T92" fmla="*/ 30 w 72"/>
                  <a:gd name="T93" fmla="*/ 19 h 105"/>
                  <a:gd name="T94" fmla="*/ 34 w 72"/>
                  <a:gd name="T95" fmla="*/ 12 h 105"/>
                  <a:gd name="T96" fmla="*/ 40 w 72"/>
                  <a:gd name="T97" fmla="*/ 6 h 105"/>
                  <a:gd name="T98" fmla="*/ 44 w 72"/>
                  <a:gd name="T99" fmla="*/ 6 h 105"/>
                  <a:gd name="T100" fmla="*/ 45 w 72"/>
                  <a:gd name="T101" fmla="*/ 4 h 105"/>
                  <a:gd name="T102" fmla="*/ 47 w 72"/>
                  <a:gd name="T103" fmla="*/ 6 h 105"/>
                  <a:gd name="T104" fmla="*/ 51 w 72"/>
                  <a:gd name="T105" fmla="*/ 0 h 105"/>
                  <a:gd name="T106" fmla="*/ 9 w 72"/>
                  <a:gd name="T107" fmla="*/ 40 h 105"/>
                  <a:gd name="T108" fmla="*/ 9 w 72"/>
                  <a:gd name="T109" fmla="*/ 38 h 105"/>
                  <a:gd name="T110" fmla="*/ 15 w 72"/>
                  <a:gd name="T111" fmla="*/ 58 h 105"/>
                  <a:gd name="T112" fmla="*/ 13 w 72"/>
                  <a:gd name="T113" fmla="*/ 101 h 105"/>
                  <a:gd name="T114" fmla="*/ 5 w 72"/>
                  <a:gd name="T115" fmla="*/ 50 h 105"/>
                  <a:gd name="T116" fmla="*/ 0 w 72"/>
                  <a:gd name="T117" fmla="*/ 88 h 105"/>
                  <a:gd name="T118" fmla="*/ 5 w 72"/>
                  <a:gd name="T119" fmla="*/ 35 h 105"/>
                  <a:gd name="T120" fmla="*/ 9 w 72"/>
                  <a:gd name="T121" fmla="*/ 42 h 105"/>
                  <a:gd name="T122" fmla="*/ 26 w 72"/>
                  <a:gd name="T123" fmla="*/ 59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2" h="105">
                    <a:moveTo>
                      <a:pt x="53" y="10"/>
                    </a:moveTo>
                    <a:lnTo>
                      <a:pt x="51" y="10"/>
                    </a:lnTo>
                    <a:lnTo>
                      <a:pt x="51" y="12"/>
                    </a:lnTo>
                    <a:lnTo>
                      <a:pt x="49" y="14"/>
                    </a:lnTo>
                    <a:lnTo>
                      <a:pt x="49" y="16"/>
                    </a:lnTo>
                    <a:lnTo>
                      <a:pt x="49" y="17"/>
                    </a:lnTo>
                    <a:lnTo>
                      <a:pt x="47" y="17"/>
                    </a:lnTo>
                    <a:lnTo>
                      <a:pt x="45" y="19"/>
                    </a:lnTo>
                    <a:lnTo>
                      <a:pt x="44" y="17"/>
                    </a:lnTo>
                    <a:lnTo>
                      <a:pt x="44" y="19"/>
                    </a:lnTo>
                    <a:lnTo>
                      <a:pt x="42" y="19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5" y="21"/>
                    </a:lnTo>
                    <a:lnTo>
                      <a:pt x="44" y="23"/>
                    </a:lnTo>
                    <a:lnTo>
                      <a:pt x="42" y="23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40" y="27"/>
                    </a:lnTo>
                    <a:lnTo>
                      <a:pt x="38" y="27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5" y="33"/>
                    </a:lnTo>
                    <a:lnTo>
                      <a:pt x="47" y="33"/>
                    </a:lnTo>
                    <a:lnTo>
                      <a:pt x="47" y="35"/>
                    </a:lnTo>
                    <a:lnTo>
                      <a:pt x="49" y="35"/>
                    </a:lnTo>
                    <a:lnTo>
                      <a:pt x="51" y="35"/>
                    </a:lnTo>
                    <a:lnTo>
                      <a:pt x="53" y="35"/>
                    </a:lnTo>
                    <a:lnTo>
                      <a:pt x="51" y="35"/>
                    </a:lnTo>
                    <a:lnTo>
                      <a:pt x="53" y="35"/>
                    </a:lnTo>
                    <a:lnTo>
                      <a:pt x="53" y="33"/>
                    </a:lnTo>
                    <a:lnTo>
                      <a:pt x="55" y="33"/>
                    </a:lnTo>
                    <a:lnTo>
                      <a:pt x="55" y="31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5" y="29"/>
                    </a:lnTo>
                    <a:lnTo>
                      <a:pt x="57" y="27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1" y="31"/>
                    </a:lnTo>
                    <a:lnTo>
                      <a:pt x="61" y="33"/>
                    </a:lnTo>
                    <a:lnTo>
                      <a:pt x="63" y="33"/>
                    </a:lnTo>
                    <a:lnTo>
                      <a:pt x="63" y="35"/>
                    </a:lnTo>
                    <a:lnTo>
                      <a:pt x="63" y="37"/>
                    </a:lnTo>
                    <a:lnTo>
                      <a:pt x="65" y="37"/>
                    </a:lnTo>
                    <a:lnTo>
                      <a:pt x="66" y="37"/>
                    </a:lnTo>
                    <a:lnTo>
                      <a:pt x="65" y="37"/>
                    </a:lnTo>
                    <a:lnTo>
                      <a:pt x="66" y="37"/>
                    </a:lnTo>
                    <a:lnTo>
                      <a:pt x="66" y="35"/>
                    </a:lnTo>
                    <a:lnTo>
                      <a:pt x="68" y="37"/>
                    </a:lnTo>
                    <a:lnTo>
                      <a:pt x="68" y="35"/>
                    </a:lnTo>
                    <a:lnTo>
                      <a:pt x="68" y="37"/>
                    </a:lnTo>
                    <a:lnTo>
                      <a:pt x="70" y="37"/>
                    </a:lnTo>
                    <a:lnTo>
                      <a:pt x="70" y="38"/>
                    </a:lnTo>
                    <a:lnTo>
                      <a:pt x="72" y="38"/>
                    </a:lnTo>
                    <a:lnTo>
                      <a:pt x="70" y="38"/>
                    </a:lnTo>
                    <a:lnTo>
                      <a:pt x="68" y="38"/>
                    </a:lnTo>
                    <a:lnTo>
                      <a:pt x="66" y="38"/>
                    </a:lnTo>
                    <a:lnTo>
                      <a:pt x="68" y="38"/>
                    </a:lnTo>
                    <a:lnTo>
                      <a:pt x="66" y="40"/>
                    </a:lnTo>
                    <a:lnTo>
                      <a:pt x="68" y="42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68" y="46"/>
                    </a:lnTo>
                    <a:lnTo>
                      <a:pt x="70" y="48"/>
                    </a:lnTo>
                    <a:lnTo>
                      <a:pt x="70" y="50"/>
                    </a:lnTo>
                    <a:lnTo>
                      <a:pt x="72" y="50"/>
                    </a:lnTo>
                    <a:lnTo>
                      <a:pt x="72" y="52"/>
                    </a:lnTo>
                    <a:lnTo>
                      <a:pt x="70" y="52"/>
                    </a:lnTo>
                    <a:lnTo>
                      <a:pt x="72" y="52"/>
                    </a:lnTo>
                    <a:lnTo>
                      <a:pt x="70" y="54"/>
                    </a:lnTo>
                    <a:lnTo>
                      <a:pt x="70" y="52"/>
                    </a:lnTo>
                    <a:lnTo>
                      <a:pt x="70" y="54"/>
                    </a:lnTo>
                    <a:lnTo>
                      <a:pt x="70" y="52"/>
                    </a:lnTo>
                    <a:lnTo>
                      <a:pt x="70" y="54"/>
                    </a:lnTo>
                    <a:lnTo>
                      <a:pt x="72" y="54"/>
                    </a:lnTo>
                    <a:lnTo>
                      <a:pt x="70" y="54"/>
                    </a:lnTo>
                    <a:lnTo>
                      <a:pt x="70" y="56"/>
                    </a:lnTo>
                    <a:lnTo>
                      <a:pt x="72" y="56"/>
                    </a:lnTo>
                    <a:lnTo>
                      <a:pt x="70" y="56"/>
                    </a:lnTo>
                    <a:lnTo>
                      <a:pt x="72" y="56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70" y="56"/>
                    </a:lnTo>
                    <a:lnTo>
                      <a:pt x="70" y="58"/>
                    </a:lnTo>
                    <a:lnTo>
                      <a:pt x="72" y="58"/>
                    </a:lnTo>
                    <a:lnTo>
                      <a:pt x="72" y="59"/>
                    </a:lnTo>
                    <a:lnTo>
                      <a:pt x="72" y="61"/>
                    </a:lnTo>
                    <a:lnTo>
                      <a:pt x="72" y="65"/>
                    </a:lnTo>
                    <a:lnTo>
                      <a:pt x="72" y="69"/>
                    </a:lnTo>
                    <a:lnTo>
                      <a:pt x="70" y="71"/>
                    </a:lnTo>
                    <a:lnTo>
                      <a:pt x="70" y="73"/>
                    </a:lnTo>
                    <a:lnTo>
                      <a:pt x="70" y="75"/>
                    </a:lnTo>
                    <a:lnTo>
                      <a:pt x="70" y="77"/>
                    </a:lnTo>
                    <a:lnTo>
                      <a:pt x="68" y="80"/>
                    </a:lnTo>
                    <a:lnTo>
                      <a:pt x="66" y="82"/>
                    </a:lnTo>
                    <a:lnTo>
                      <a:pt x="66" y="80"/>
                    </a:lnTo>
                    <a:lnTo>
                      <a:pt x="65" y="82"/>
                    </a:lnTo>
                    <a:lnTo>
                      <a:pt x="66" y="84"/>
                    </a:lnTo>
                    <a:lnTo>
                      <a:pt x="68" y="84"/>
                    </a:lnTo>
                    <a:lnTo>
                      <a:pt x="66" y="86"/>
                    </a:lnTo>
                    <a:lnTo>
                      <a:pt x="65" y="86"/>
                    </a:lnTo>
                    <a:lnTo>
                      <a:pt x="63" y="86"/>
                    </a:lnTo>
                    <a:lnTo>
                      <a:pt x="61" y="86"/>
                    </a:lnTo>
                    <a:lnTo>
                      <a:pt x="61" y="84"/>
                    </a:lnTo>
                    <a:lnTo>
                      <a:pt x="59" y="86"/>
                    </a:lnTo>
                    <a:lnTo>
                      <a:pt x="61" y="86"/>
                    </a:lnTo>
                    <a:lnTo>
                      <a:pt x="59" y="86"/>
                    </a:lnTo>
                    <a:lnTo>
                      <a:pt x="61" y="86"/>
                    </a:lnTo>
                    <a:lnTo>
                      <a:pt x="59" y="88"/>
                    </a:lnTo>
                    <a:lnTo>
                      <a:pt x="59" y="86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9" y="86"/>
                    </a:lnTo>
                    <a:lnTo>
                      <a:pt x="57" y="88"/>
                    </a:lnTo>
                    <a:lnTo>
                      <a:pt x="55" y="88"/>
                    </a:lnTo>
                    <a:lnTo>
                      <a:pt x="57" y="88"/>
                    </a:lnTo>
                    <a:lnTo>
                      <a:pt x="55" y="86"/>
                    </a:lnTo>
                    <a:lnTo>
                      <a:pt x="55" y="88"/>
                    </a:lnTo>
                    <a:lnTo>
                      <a:pt x="51" y="88"/>
                    </a:lnTo>
                    <a:lnTo>
                      <a:pt x="49" y="88"/>
                    </a:lnTo>
                    <a:lnTo>
                      <a:pt x="49" y="90"/>
                    </a:lnTo>
                    <a:lnTo>
                      <a:pt x="47" y="88"/>
                    </a:lnTo>
                    <a:lnTo>
                      <a:pt x="47" y="90"/>
                    </a:lnTo>
                    <a:lnTo>
                      <a:pt x="49" y="90"/>
                    </a:lnTo>
                    <a:lnTo>
                      <a:pt x="47" y="90"/>
                    </a:lnTo>
                    <a:lnTo>
                      <a:pt x="47" y="92"/>
                    </a:lnTo>
                    <a:lnTo>
                      <a:pt x="45" y="92"/>
                    </a:lnTo>
                    <a:lnTo>
                      <a:pt x="45" y="94"/>
                    </a:lnTo>
                    <a:lnTo>
                      <a:pt x="45" y="92"/>
                    </a:lnTo>
                    <a:lnTo>
                      <a:pt x="44" y="94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2" y="96"/>
                    </a:lnTo>
                    <a:lnTo>
                      <a:pt x="40" y="96"/>
                    </a:lnTo>
                    <a:lnTo>
                      <a:pt x="38" y="98"/>
                    </a:lnTo>
                    <a:lnTo>
                      <a:pt x="38" y="96"/>
                    </a:lnTo>
                    <a:lnTo>
                      <a:pt x="38" y="98"/>
                    </a:lnTo>
                    <a:lnTo>
                      <a:pt x="38" y="96"/>
                    </a:lnTo>
                    <a:lnTo>
                      <a:pt x="38" y="94"/>
                    </a:lnTo>
                    <a:lnTo>
                      <a:pt x="38" y="96"/>
                    </a:lnTo>
                    <a:lnTo>
                      <a:pt x="36" y="96"/>
                    </a:lnTo>
                    <a:lnTo>
                      <a:pt x="36" y="98"/>
                    </a:lnTo>
                    <a:lnTo>
                      <a:pt x="34" y="100"/>
                    </a:lnTo>
                    <a:lnTo>
                      <a:pt x="32" y="100"/>
                    </a:lnTo>
                    <a:lnTo>
                      <a:pt x="34" y="100"/>
                    </a:lnTo>
                    <a:lnTo>
                      <a:pt x="32" y="100"/>
                    </a:lnTo>
                    <a:lnTo>
                      <a:pt x="32" y="101"/>
                    </a:lnTo>
                    <a:lnTo>
                      <a:pt x="30" y="101"/>
                    </a:lnTo>
                    <a:lnTo>
                      <a:pt x="30" y="100"/>
                    </a:lnTo>
                    <a:lnTo>
                      <a:pt x="30" y="101"/>
                    </a:lnTo>
                    <a:lnTo>
                      <a:pt x="30" y="103"/>
                    </a:lnTo>
                    <a:lnTo>
                      <a:pt x="28" y="101"/>
                    </a:lnTo>
                    <a:lnTo>
                      <a:pt x="26" y="101"/>
                    </a:lnTo>
                    <a:lnTo>
                      <a:pt x="28" y="101"/>
                    </a:lnTo>
                    <a:lnTo>
                      <a:pt x="26" y="103"/>
                    </a:lnTo>
                    <a:lnTo>
                      <a:pt x="25" y="103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3" y="101"/>
                    </a:lnTo>
                    <a:lnTo>
                      <a:pt x="25" y="103"/>
                    </a:lnTo>
                    <a:lnTo>
                      <a:pt x="23" y="103"/>
                    </a:lnTo>
                    <a:lnTo>
                      <a:pt x="23" y="105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5"/>
                    </a:lnTo>
                    <a:lnTo>
                      <a:pt x="19" y="105"/>
                    </a:lnTo>
                    <a:lnTo>
                      <a:pt x="19" y="103"/>
                    </a:lnTo>
                    <a:lnTo>
                      <a:pt x="17" y="103"/>
                    </a:lnTo>
                    <a:lnTo>
                      <a:pt x="15" y="103"/>
                    </a:lnTo>
                    <a:lnTo>
                      <a:pt x="17" y="103"/>
                    </a:lnTo>
                    <a:lnTo>
                      <a:pt x="15" y="105"/>
                    </a:lnTo>
                    <a:lnTo>
                      <a:pt x="15" y="103"/>
                    </a:lnTo>
                    <a:lnTo>
                      <a:pt x="15" y="105"/>
                    </a:lnTo>
                    <a:lnTo>
                      <a:pt x="13" y="105"/>
                    </a:lnTo>
                    <a:lnTo>
                      <a:pt x="15" y="105"/>
                    </a:lnTo>
                    <a:lnTo>
                      <a:pt x="13" y="105"/>
                    </a:lnTo>
                    <a:lnTo>
                      <a:pt x="11" y="105"/>
                    </a:lnTo>
                    <a:lnTo>
                      <a:pt x="13" y="103"/>
                    </a:lnTo>
                    <a:lnTo>
                      <a:pt x="15" y="103"/>
                    </a:lnTo>
                    <a:lnTo>
                      <a:pt x="17" y="101"/>
                    </a:lnTo>
                    <a:lnTo>
                      <a:pt x="15" y="101"/>
                    </a:lnTo>
                    <a:lnTo>
                      <a:pt x="13" y="103"/>
                    </a:lnTo>
                    <a:lnTo>
                      <a:pt x="11" y="103"/>
                    </a:lnTo>
                    <a:lnTo>
                      <a:pt x="15" y="101"/>
                    </a:lnTo>
                    <a:lnTo>
                      <a:pt x="19" y="100"/>
                    </a:lnTo>
                    <a:lnTo>
                      <a:pt x="19" y="98"/>
                    </a:lnTo>
                    <a:lnTo>
                      <a:pt x="17" y="100"/>
                    </a:lnTo>
                    <a:lnTo>
                      <a:pt x="17" y="98"/>
                    </a:lnTo>
                    <a:lnTo>
                      <a:pt x="17" y="100"/>
                    </a:lnTo>
                    <a:lnTo>
                      <a:pt x="15" y="100"/>
                    </a:lnTo>
                    <a:lnTo>
                      <a:pt x="13" y="100"/>
                    </a:lnTo>
                    <a:lnTo>
                      <a:pt x="11" y="100"/>
                    </a:lnTo>
                    <a:lnTo>
                      <a:pt x="11" y="101"/>
                    </a:lnTo>
                    <a:lnTo>
                      <a:pt x="9" y="101"/>
                    </a:lnTo>
                    <a:lnTo>
                      <a:pt x="7" y="101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7" y="100"/>
                    </a:lnTo>
                    <a:lnTo>
                      <a:pt x="9" y="100"/>
                    </a:lnTo>
                    <a:lnTo>
                      <a:pt x="11" y="100"/>
                    </a:lnTo>
                    <a:lnTo>
                      <a:pt x="9" y="100"/>
                    </a:lnTo>
                    <a:lnTo>
                      <a:pt x="9" y="98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5" y="96"/>
                    </a:lnTo>
                    <a:lnTo>
                      <a:pt x="17" y="94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5" y="98"/>
                    </a:lnTo>
                    <a:lnTo>
                      <a:pt x="7" y="98"/>
                    </a:lnTo>
                    <a:lnTo>
                      <a:pt x="7" y="96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5" y="96"/>
                    </a:lnTo>
                    <a:lnTo>
                      <a:pt x="4" y="98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5" y="94"/>
                    </a:lnTo>
                    <a:lnTo>
                      <a:pt x="7" y="92"/>
                    </a:lnTo>
                    <a:lnTo>
                      <a:pt x="5" y="94"/>
                    </a:lnTo>
                    <a:lnTo>
                      <a:pt x="5" y="92"/>
                    </a:lnTo>
                    <a:lnTo>
                      <a:pt x="4" y="92"/>
                    </a:lnTo>
                    <a:lnTo>
                      <a:pt x="5" y="92"/>
                    </a:lnTo>
                    <a:lnTo>
                      <a:pt x="7" y="90"/>
                    </a:lnTo>
                    <a:lnTo>
                      <a:pt x="9" y="90"/>
                    </a:lnTo>
                    <a:lnTo>
                      <a:pt x="9" y="88"/>
                    </a:lnTo>
                    <a:lnTo>
                      <a:pt x="9" y="90"/>
                    </a:lnTo>
                    <a:lnTo>
                      <a:pt x="11" y="90"/>
                    </a:lnTo>
                    <a:lnTo>
                      <a:pt x="11" y="88"/>
                    </a:lnTo>
                    <a:lnTo>
                      <a:pt x="13" y="88"/>
                    </a:lnTo>
                    <a:lnTo>
                      <a:pt x="9" y="88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5" y="88"/>
                    </a:lnTo>
                    <a:lnTo>
                      <a:pt x="4" y="88"/>
                    </a:lnTo>
                    <a:lnTo>
                      <a:pt x="5" y="88"/>
                    </a:lnTo>
                    <a:lnTo>
                      <a:pt x="4" y="88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4" y="86"/>
                    </a:lnTo>
                    <a:lnTo>
                      <a:pt x="5" y="86"/>
                    </a:lnTo>
                    <a:lnTo>
                      <a:pt x="5" y="84"/>
                    </a:lnTo>
                    <a:lnTo>
                      <a:pt x="7" y="84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9" y="84"/>
                    </a:lnTo>
                    <a:lnTo>
                      <a:pt x="9" y="86"/>
                    </a:lnTo>
                    <a:lnTo>
                      <a:pt x="11" y="86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1" y="84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11" y="80"/>
                    </a:lnTo>
                    <a:lnTo>
                      <a:pt x="13" y="80"/>
                    </a:lnTo>
                    <a:lnTo>
                      <a:pt x="15" y="79"/>
                    </a:lnTo>
                    <a:lnTo>
                      <a:pt x="15" y="77"/>
                    </a:lnTo>
                    <a:lnTo>
                      <a:pt x="17" y="77"/>
                    </a:lnTo>
                    <a:lnTo>
                      <a:pt x="19" y="77"/>
                    </a:lnTo>
                    <a:lnTo>
                      <a:pt x="21" y="77"/>
                    </a:lnTo>
                    <a:lnTo>
                      <a:pt x="23" y="75"/>
                    </a:lnTo>
                    <a:lnTo>
                      <a:pt x="25" y="77"/>
                    </a:lnTo>
                    <a:lnTo>
                      <a:pt x="25" y="75"/>
                    </a:lnTo>
                    <a:lnTo>
                      <a:pt x="26" y="75"/>
                    </a:lnTo>
                    <a:lnTo>
                      <a:pt x="25" y="75"/>
                    </a:lnTo>
                    <a:lnTo>
                      <a:pt x="26" y="75"/>
                    </a:lnTo>
                    <a:lnTo>
                      <a:pt x="28" y="75"/>
                    </a:lnTo>
                    <a:lnTo>
                      <a:pt x="30" y="75"/>
                    </a:lnTo>
                    <a:lnTo>
                      <a:pt x="32" y="75"/>
                    </a:lnTo>
                    <a:lnTo>
                      <a:pt x="32" y="73"/>
                    </a:lnTo>
                    <a:lnTo>
                      <a:pt x="30" y="75"/>
                    </a:lnTo>
                    <a:lnTo>
                      <a:pt x="30" y="73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5" y="71"/>
                    </a:lnTo>
                    <a:lnTo>
                      <a:pt x="25" y="73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1" y="75"/>
                    </a:lnTo>
                    <a:lnTo>
                      <a:pt x="21" y="77"/>
                    </a:lnTo>
                    <a:lnTo>
                      <a:pt x="21" y="75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5" y="75"/>
                    </a:lnTo>
                    <a:lnTo>
                      <a:pt x="15" y="77"/>
                    </a:lnTo>
                    <a:lnTo>
                      <a:pt x="13" y="77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5" y="73"/>
                    </a:lnTo>
                    <a:lnTo>
                      <a:pt x="17" y="71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9" y="69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7" y="67"/>
                    </a:lnTo>
                    <a:lnTo>
                      <a:pt x="19" y="65"/>
                    </a:lnTo>
                    <a:lnTo>
                      <a:pt x="19" y="63"/>
                    </a:lnTo>
                    <a:lnTo>
                      <a:pt x="21" y="63"/>
                    </a:lnTo>
                    <a:lnTo>
                      <a:pt x="21" y="61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6" y="61"/>
                    </a:lnTo>
                    <a:lnTo>
                      <a:pt x="26" y="59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58"/>
                    </a:lnTo>
                    <a:lnTo>
                      <a:pt x="25" y="58"/>
                    </a:lnTo>
                    <a:lnTo>
                      <a:pt x="23" y="59"/>
                    </a:lnTo>
                    <a:lnTo>
                      <a:pt x="25" y="58"/>
                    </a:lnTo>
                    <a:lnTo>
                      <a:pt x="23" y="59"/>
                    </a:lnTo>
                    <a:lnTo>
                      <a:pt x="19" y="59"/>
                    </a:lnTo>
                    <a:lnTo>
                      <a:pt x="17" y="59"/>
                    </a:lnTo>
                    <a:lnTo>
                      <a:pt x="17" y="58"/>
                    </a:lnTo>
                    <a:lnTo>
                      <a:pt x="17" y="59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6"/>
                    </a:lnTo>
                    <a:lnTo>
                      <a:pt x="17" y="56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7" y="56"/>
                    </a:lnTo>
                    <a:lnTo>
                      <a:pt x="17" y="54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3" y="56"/>
                    </a:lnTo>
                    <a:lnTo>
                      <a:pt x="15" y="56"/>
                    </a:lnTo>
                    <a:lnTo>
                      <a:pt x="13" y="58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13" y="54"/>
                    </a:lnTo>
                    <a:lnTo>
                      <a:pt x="11" y="54"/>
                    </a:lnTo>
                    <a:lnTo>
                      <a:pt x="11" y="56"/>
                    </a:lnTo>
                    <a:lnTo>
                      <a:pt x="9" y="56"/>
                    </a:lnTo>
                    <a:lnTo>
                      <a:pt x="9" y="54"/>
                    </a:lnTo>
                    <a:lnTo>
                      <a:pt x="7" y="54"/>
                    </a:lnTo>
                    <a:lnTo>
                      <a:pt x="9" y="54"/>
                    </a:lnTo>
                    <a:lnTo>
                      <a:pt x="7" y="54"/>
                    </a:lnTo>
                    <a:lnTo>
                      <a:pt x="7" y="52"/>
                    </a:lnTo>
                    <a:lnTo>
                      <a:pt x="9" y="54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3" y="50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5" y="50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1" y="44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7" y="42"/>
                    </a:lnTo>
                    <a:lnTo>
                      <a:pt x="17" y="40"/>
                    </a:lnTo>
                    <a:lnTo>
                      <a:pt x="17" y="42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3" y="40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1" y="38"/>
                    </a:lnTo>
                    <a:lnTo>
                      <a:pt x="11" y="37"/>
                    </a:lnTo>
                    <a:lnTo>
                      <a:pt x="11" y="35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11" y="37"/>
                    </a:lnTo>
                    <a:lnTo>
                      <a:pt x="9" y="37"/>
                    </a:lnTo>
                    <a:lnTo>
                      <a:pt x="11" y="35"/>
                    </a:lnTo>
                    <a:lnTo>
                      <a:pt x="9" y="35"/>
                    </a:lnTo>
                    <a:lnTo>
                      <a:pt x="11" y="35"/>
                    </a:lnTo>
                    <a:lnTo>
                      <a:pt x="9" y="33"/>
                    </a:lnTo>
                    <a:lnTo>
                      <a:pt x="9" y="35"/>
                    </a:lnTo>
                    <a:lnTo>
                      <a:pt x="11" y="33"/>
                    </a:lnTo>
                    <a:lnTo>
                      <a:pt x="9" y="33"/>
                    </a:lnTo>
                    <a:lnTo>
                      <a:pt x="9" y="35"/>
                    </a:lnTo>
                    <a:lnTo>
                      <a:pt x="7" y="35"/>
                    </a:lnTo>
                    <a:lnTo>
                      <a:pt x="9" y="35"/>
                    </a:lnTo>
                    <a:lnTo>
                      <a:pt x="7" y="35"/>
                    </a:lnTo>
                    <a:lnTo>
                      <a:pt x="9" y="37"/>
                    </a:lnTo>
                    <a:lnTo>
                      <a:pt x="7" y="37"/>
                    </a:lnTo>
                    <a:lnTo>
                      <a:pt x="7" y="35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7" y="31"/>
                    </a:lnTo>
                    <a:lnTo>
                      <a:pt x="9" y="31"/>
                    </a:lnTo>
                    <a:lnTo>
                      <a:pt x="11" y="31"/>
                    </a:lnTo>
                    <a:lnTo>
                      <a:pt x="11" y="33"/>
                    </a:lnTo>
                    <a:lnTo>
                      <a:pt x="9" y="31"/>
                    </a:lnTo>
                    <a:lnTo>
                      <a:pt x="9" y="33"/>
                    </a:lnTo>
                    <a:lnTo>
                      <a:pt x="11" y="33"/>
                    </a:lnTo>
                    <a:lnTo>
                      <a:pt x="11" y="31"/>
                    </a:lnTo>
                    <a:lnTo>
                      <a:pt x="13" y="31"/>
                    </a:lnTo>
                    <a:lnTo>
                      <a:pt x="13" y="33"/>
                    </a:lnTo>
                    <a:lnTo>
                      <a:pt x="13" y="31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13" y="29"/>
                    </a:lnTo>
                    <a:lnTo>
                      <a:pt x="15" y="29"/>
                    </a:lnTo>
                    <a:lnTo>
                      <a:pt x="17" y="31"/>
                    </a:lnTo>
                    <a:lnTo>
                      <a:pt x="17" y="29"/>
                    </a:lnTo>
                    <a:lnTo>
                      <a:pt x="19" y="31"/>
                    </a:lnTo>
                    <a:lnTo>
                      <a:pt x="21" y="29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3" y="35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5" y="33"/>
                    </a:lnTo>
                    <a:lnTo>
                      <a:pt x="25" y="31"/>
                    </a:lnTo>
                    <a:lnTo>
                      <a:pt x="26" y="31"/>
                    </a:lnTo>
                    <a:lnTo>
                      <a:pt x="28" y="31"/>
                    </a:lnTo>
                    <a:lnTo>
                      <a:pt x="30" y="31"/>
                    </a:lnTo>
                    <a:lnTo>
                      <a:pt x="32" y="33"/>
                    </a:lnTo>
                    <a:lnTo>
                      <a:pt x="34" y="33"/>
                    </a:lnTo>
                    <a:lnTo>
                      <a:pt x="32" y="33"/>
                    </a:lnTo>
                    <a:lnTo>
                      <a:pt x="32" y="31"/>
                    </a:lnTo>
                    <a:lnTo>
                      <a:pt x="34" y="31"/>
                    </a:lnTo>
                    <a:lnTo>
                      <a:pt x="32" y="31"/>
                    </a:lnTo>
                    <a:lnTo>
                      <a:pt x="32" y="29"/>
                    </a:lnTo>
                    <a:lnTo>
                      <a:pt x="32" y="31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0" y="29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7"/>
                    </a:lnTo>
                    <a:lnTo>
                      <a:pt x="36" y="25"/>
                    </a:lnTo>
                    <a:lnTo>
                      <a:pt x="38" y="25"/>
                    </a:lnTo>
                    <a:lnTo>
                      <a:pt x="38" y="23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4" y="23"/>
                    </a:lnTo>
                    <a:lnTo>
                      <a:pt x="36" y="21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0" y="21"/>
                    </a:lnTo>
                    <a:lnTo>
                      <a:pt x="32" y="21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2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40" y="6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4" y="6"/>
                    </a:lnTo>
                    <a:lnTo>
                      <a:pt x="45" y="6"/>
                    </a:lnTo>
                    <a:lnTo>
                      <a:pt x="45" y="8"/>
                    </a:lnTo>
                    <a:lnTo>
                      <a:pt x="47" y="6"/>
                    </a:lnTo>
                    <a:lnTo>
                      <a:pt x="45" y="6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7" y="4"/>
                    </a:lnTo>
                    <a:lnTo>
                      <a:pt x="47" y="6"/>
                    </a:lnTo>
                    <a:lnTo>
                      <a:pt x="49" y="8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47" y="12"/>
                    </a:lnTo>
                    <a:lnTo>
                      <a:pt x="49" y="10"/>
                    </a:lnTo>
                    <a:lnTo>
                      <a:pt x="49" y="8"/>
                    </a:lnTo>
                    <a:lnTo>
                      <a:pt x="49" y="10"/>
                    </a:lnTo>
                    <a:lnTo>
                      <a:pt x="49" y="8"/>
                    </a:lnTo>
                    <a:lnTo>
                      <a:pt x="47" y="6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51" y="4"/>
                    </a:lnTo>
                    <a:lnTo>
                      <a:pt x="51" y="2"/>
                    </a:lnTo>
                    <a:lnTo>
                      <a:pt x="53" y="2"/>
                    </a:lnTo>
                    <a:lnTo>
                      <a:pt x="51" y="2"/>
                    </a:lnTo>
                    <a:lnTo>
                      <a:pt x="53" y="4"/>
                    </a:lnTo>
                    <a:lnTo>
                      <a:pt x="51" y="2"/>
                    </a:lnTo>
                    <a:lnTo>
                      <a:pt x="51" y="0"/>
                    </a:lnTo>
                    <a:lnTo>
                      <a:pt x="55" y="2"/>
                    </a:lnTo>
                    <a:lnTo>
                      <a:pt x="59" y="4"/>
                    </a:lnTo>
                    <a:lnTo>
                      <a:pt x="59" y="6"/>
                    </a:lnTo>
                    <a:lnTo>
                      <a:pt x="55" y="6"/>
                    </a:lnTo>
                    <a:lnTo>
                      <a:pt x="53" y="10"/>
                    </a:lnTo>
                    <a:close/>
                    <a:moveTo>
                      <a:pt x="9" y="38"/>
                    </a:moveTo>
                    <a:lnTo>
                      <a:pt x="11" y="38"/>
                    </a:lnTo>
                    <a:lnTo>
                      <a:pt x="9" y="38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7" y="40"/>
                    </a:lnTo>
                    <a:lnTo>
                      <a:pt x="5" y="38"/>
                    </a:lnTo>
                    <a:lnTo>
                      <a:pt x="7" y="38"/>
                    </a:lnTo>
                    <a:lnTo>
                      <a:pt x="9" y="38"/>
                    </a:lnTo>
                    <a:close/>
                    <a:moveTo>
                      <a:pt x="13" y="61"/>
                    </a:moveTo>
                    <a:lnTo>
                      <a:pt x="15" y="61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3" y="61"/>
                    </a:lnTo>
                    <a:close/>
                    <a:moveTo>
                      <a:pt x="4" y="94"/>
                    </a:moveTo>
                    <a:lnTo>
                      <a:pt x="5" y="94"/>
                    </a:lnTo>
                    <a:lnTo>
                      <a:pt x="4" y="94"/>
                    </a:lnTo>
                    <a:close/>
                    <a:moveTo>
                      <a:pt x="13" y="58"/>
                    </a:moveTo>
                    <a:lnTo>
                      <a:pt x="15" y="58"/>
                    </a:lnTo>
                    <a:lnTo>
                      <a:pt x="15" y="59"/>
                    </a:lnTo>
                    <a:lnTo>
                      <a:pt x="13" y="59"/>
                    </a:lnTo>
                    <a:lnTo>
                      <a:pt x="13" y="58"/>
                    </a:lnTo>
                    <a:close/>
                    <a:moveTo>
                      <a:pt x="32" y="10"/>
                    </a:moveTo>
                    <a:lnTo>
                      <a:pt x="34" y="10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2" y="10"/>
                    </a:lnTo>
                    <a:close/>
                    <a:moveTo>
                      <a:pt x="11" y="100"/>
                    </a:moveTo>
                    <a:lnTo>
                      <a:pt x="13" y="100"/>
                    </a:lnTo>
                    <a:lnTo>
                      <a:pt x="13" y="101"/>
                    </a:lnTo>
                    <a:lnTo>
                      <a:pt x="11" y="101"/>
                    </a:lnTo>
                    <a:lnTo>
                      <a:pt x="11" y="100"/>
                    </a:lnTo>
                    <a:close/>
                    <a:moveTo>
                      <a:pt x="9" y="42"/>
                    </a:moveTo>
                    <a:lnTo>
                      <a:pt x="11" y="42"/>
                    </a:lnTo>
                    <a:lnTo>
                      <a:pt x="11" y="44"/>
                    </a:lnTo>
                    <a:lnTo>
                      <a:pt x="9" y="44"/>
                    </a:lnTo>
                    <a:lnTo>
                      <a:pt x="9" y="42"/>
                    </a:lnTo>
                    <a:close/>
                    <a:moveTo>
                      <a:pt x="5" y="48"/>
                    </a:moveTo>
                    <a:lnTo>
                      <a:pt x="7" y="48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5" y="48"/>
                    </a:lnTo>
                    <a:close/>
                    <a:moveTo>
                      <a:pt x="15" y="63"/>
                    </a:moveTo>
                    <a:lnTo>
                      <a:pt x="17" y="63"/>
                    </a:lnTo>
                    <a:lnTo>
                      <a:pt x="15" y="63"/>
                    </a:lnTo>
                    <a:close/>
                    <a:moveTo>
                      <a:pt x="17" y="105"/>
                    </a:moveTo>
                    <a:lnTo>
                      <a:pt x="19" y="105"/>
                    </a:lnTo>
                    <a:lnTo>
                      <a:pt x="17" y="105"/>
                    </a:lnTo>
                    <a:close/>
                    <a:moveTo>
                      <a:pt x="5" y="101"/>
                    </a:moveTo>
                    <a:lnTo>
                      <a:pt x="7" y="101"/>
                    </a:lnTo>
                    <a:lnTo>
                      <a:pt x="5" y="101"/>
                    </a:lnTo>
                    <a:close/>
                    <a:moveTo>
                      <a:pt x="0" y="88"/>
                    </a:moveTo>
                    <a:lnTo>
                      <a:pt x="2" y="88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8"/>
                    </a:lnTo>
                    <a:close/>
                    <a:moveTo>
                      <a:pt x="11" y="54"/>
                    </a:moveTo>
                    <a:lnTo>
                      <a:pt x="11" y="56"/>
                    </a:lnTo>
                    <a:lnTo>
                      <a:pt x="11" y="54"/>
                    </a:lnTo>
                    <a:close/>
                    <a:moveTo>
                      <a:pt x="5" y="48"/>
                    </a:moveTo>
                    <a:lnTo>
                      <a:pt x="5" y="50"/>
                    </a:lnTo>
                    <a:lnTo>
                      <a:pt x="5" y="48"/>
                    </a:lnTo>
                    <a:close/>
                    <a:moveTo>
                      <a:pt x="5" y="35"/>
                    </a:moveTo>
                    <a:lnTo>
                      <a:pt x="7" y="35"/>
                    </a:lnTo>
                    <a:lnTo>
                      <a:pt x="5" y="35"/>
                    </a:lnTo>
                    <a:close/>
                    <a:moveTo>
                      <a:pt x="5" y="35"/>
                    </a:moveTo>
                    <a:lnTo>
                      <a:pt x="5" y="37"/>
                    </a:lnTo>
                    <a:lnTo>
                      <a:pt x="5" y="35"/>
                    </a:lnTo>
                    <a:close/>
                    <a:moveTo>
                      <a:pt x="19" y="103"/>
                    </a:moveTo>
                    <a:lnTo>
                      <a:pt x="19" y="105"/>
                    </a:lnTo>
                    <a:lnTo>
                      <a:pt x="19" y="103"/>
                    </a:lnTo>
                    <a:close/>
                    <a:moveTo>
                      <a:pt x="9" y="42"/>
                    </a:moveTo>
                    <a:lnTo>
                      <a:pt x="11" y="42"/>
                    </a:lnTo>
                    <a:lnTo>
                      <a:pt x="9" y="42"/>
                    </a:lnTo>
                    <a:close/>
                    <a:moveTo>
                      <a:pt x="17" y="103"/>
                    </a:moveTo>
                    <a:lnTo>
                      <a:pt x="17" y="105"/>
                    </a:lnTo>
                    <a:lnTo>
                      <a:pt x="17" y="103"/>
                    </a:lnTo>
                    <a:close/>
                    <a:moveTo>
                      <a:pt x="25" y="73"/>
                    </a:moveTo>
                    <a:lnTo>
                      <a:pt x="26" y="73"/>
                    </a:lnTo>
                    <a:lnTo>
                      <a:pt x="25" y="73"/>
                    </a:lnTo>
                    <a:close/>
                    <a:moveTo>
                      <a:pt x="25" y="73"/>
                    </a:moveTo>
                    <a:lnTo>
                      <a:pt x="25" y="75"/>
                    </a:lnTo>
                    <a:lnTo>
                      <a:pt x="25" y="73"/>
                    </a:lnTo>
                    <a:close/>
                    <a:moveTo>
                      <a:pt x="25" y="59"/>
                    </a:moveTo>
                    <a:lnTo>
                      <a:pt x="26" y="59"/>
                    </a:lnTo>
                    <a:lnTo>
                      <a:pt x="25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2" name="Freeform 41">
                <a:extLst>
                  <a:ext uri="{FF2B5EF4-FFF2-40B4-BE49-F238E27FC236}">
                    <a16:creationId xmlns:a16="http://schemas.microsoft.com/office/drawing/2014/main" id="{98376226-447B-C69E-0C91-163C8F3B11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4675" y="-3545126"/>
                <a:ext cx="12604" cy="15786"/>
              </a:xfrm>
              <a:custGeom>
                <a:avLst/>
                <a:gdLst>
                  <a:gd name="T0" fmla="*/ 6 w 8"/>
                  <a:gd name="T1" fmla="*/ 0 h 10"/>
                  <a:gd name="T2" fmla="*/ 6 w 8"/>
                  <a:gd name="T3" fmla="*/ 2 h 10"/>
                  <a:gd name="T4" fmla="*/ 8 w 8"/>
                  <a:gd name="T5" fmla="*/ 4 h 10"/>
                  <a:gd name="T6" fmla="*/ 6 w 8"/>
                  <a:gd name="T7" fmla="*/ 6 h 10"/>
                  <a:gd name="T8" fmla="*/ 4 w 8"/>
                  <a:gd name="T9" fmla="*/ 8 h 10"/>
                  <a:gd name="T10" fmla="*/ 4 w 8"/>
                  <a:gd name="T11" fmla="*/ 10 h 10"/>
                  <a:gd name="T12" fmla="*/ 2 w 8"/>
                  <a:gd name="T13" fmla="*/ 10 h 10"/>
                  <a:gd name="T14" fmla="*/ 0 w 8"/>
                  <a:gd name="T15" fmla="*/ 10 h 10"/>
                  <a:gd name="T16" fmla="*/ 0 w 8"/>
                  <a:gd name="T17" fmla="*/ 8 h 10"/>
                  <a:gd name="T18" fmla="*/ 0 w 8"/>
                  <a:gd name="T19" fmla="*/ 6 h 10"/>
                  <a:gd name="T20" fmla="*/ 2 w 8"/>
                  <a:gd name="T21" fmla="*/ 4 h 10"/>
                  <a:gd name="T22" fmla="*/ 4 w 8"/>
                  <a:gd name="T23" fmla="*/ 2 h 10"/>
                  <a:gd name="T24" fmla="*/ 4 w 8"/>
                  <a:gd name="T25" fmla="*/ 0 h 10"/>
                  <a:gd name="T26" fmla="*/ 6 w 8"/>
                  <a:gd name="T2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0">
                    <a:moveTo>
                      <a:pt x="6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3" name="Freeform 42">
                <a:extLst>
                  <a:ext uri="{FF2B5EF4-FFF2-40B4-BE49-F238E27FC236}">
                    <a16:creationId xmlns:a16="http://schemas.microsoft.com/office/drawing/2014/main" id="{391FC914-2E3F-96AA-7A25-1EC2114A505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878563" y="-3846625"/>
                <a:ext cx="258396" cy="484612"/>
              </a:xfrm>
              <a:custGeom>
                <a:avLst/>
                <a:gdLst>
                  <a:gd name="T0" fmla="*/ 71 w 164"/>
                  <a:gd name="T1" fmla="*/ 98 h 307"/>
                  <a:gd name="T2" fmla="*/ 95 w 164"/>
                  <a:gd name="T3" fmla="*/ 98 h 307"/>
                  <a:gd name="T4" fmla="*/ 90 w 164"/>
                  <a:gd name="T5" fmla="*/ 136 h 307"/>
                  <a:gd name="T6" fmla="*/ 94 w 164"/>
                  <a:gd name="T7" fmla="*/ 145 h 307"/>
                  <a:gd name="T8" fmla="*/ 126 w 164"/>
                  <a:gd name="T9" fmla="*/ 187 h 307"/>
                  <a:gd name="T10" fmla="*/ 139 w 164"/>
                  <a:gd name="T11" fmla="*/ 218 h 307"/>
                  <a:gd name="T12" fmla="*/ 160 w 164"/>
                  <a:gd name="T13" fmla="*/ 254 h 307"/>
                  <a:gd name="T14" fmla="*/ 149 w 164"/>
                  <a:gd name="T15" fmla="*/ 269 h 307"/>
                  <a:gd name="T16" fmla="*/ 120 w 164"/>
                  <a:gd name="T17" fmla="*/ 285 h 307"/>
                  <a:gd name="T18" fmla="*/ 105 w 164"/>
                  <a:gd name="T19" fmla="*/ 288 h 307"/>
                  <a:gd name="T20" fmla="*/ 71 w 164"/>
                  <a:gd name="T21" fmla="*/ 296 h 307"/>
                  <a:gd name="T22" fmla="*/ 50 w 164"/>
                  <a:gd name="T23" fmla="*/ 304 h 307"/>
                  <a:gd name="T24" fmla="*/ 67 w 164"/>
                  <a:gd name="T25" fmla="*/ 281 h 307"/>
                  <a:gd name="T26" fmla="*/ 97 w 164"/>
                  <a:gd name="T27" fmla="*/ 264 h 307"/>
                  <a:gd name="T28" fmla="*/ 55 w 164"/>
                  <a:gd name="T29" fmla="*/ 264 h 307"/>
                  <a:gd name="T30" fmla="*/ 71 w 164"/>
                  <a:gd name="T31" fmla="*/ 235 h 307"/>
                  <a:gd name="T32" fmla="*/ 84 w 164"/>
                  <a:gd name="T33" fmla="*/ 220 h 307"/>
                  <a:gd name="T34" fmla="*/ 88 w 164"/>
                  <a:gd name="T35" fmla="*/ 199 h 307"/>
                  <a:gd name="T36" fmla="*/ 76 w 164"/>
                  <a:gd name="T37" fmla="*/ 180 h 307"/>
                  <a:gd name="T38" fmla="*/ 59 w 164"/>
                  <a:gd name="T39" fmla="*/ 168 h 307"/>
                  <a:gd name="T40" fmla="*/ 55 w 164"/>
                  <a:gd name="T41" fmla="*/ 151 h 307"/>
                  <a:gd name="T42" fmla="*/ 50 w 164"/>
                  <a:gd name="T43" fmla="*/ 160 h 307"/>
                  <a:gd name="T44" fmla="*/ 48 w 164"/>
                  <a:gd name="T45" fmla="*/ 145 h 307"/>
                  <a:gd name="T46" fmla="*/ 52 w 164"/>
                  <a:gd name="T47" fmla="*/ 122 h 307"/>
                  <a:gd name="T48" fmla="*/ 38 w 164"/>
                  <a:gd name="T49" fmla="*/ 126 h 307"/>
                  <a:gd name="T50" fmla="*/ 46 w 164"/>
                  <a:gd name="T51" fmla="*/ 115 h 307"/>
                  <a:gd name="T52" fmla="*/ 44 w 164"/>
                  <a:gd name="T53" fmla="*/ 103 h 307"/>
                  <a:gd name="T54" fmla="*/ 52 w 164"/>
                  <a:gd name="T55" fmla="*/ 92 h 307"/>
                  <a:gd name="T56" fmla="*/ 54 w 164"/>
                  <a:gd name="T57" fmla="*/ 78 h 307"/>
                  <a:gd name="T58" fmla="*/ 67 w 164"/>
                  <a:gd name="T59" fmla="*/ 73 h 307"/>
                  <a:gd name="T60" fmla="*/ 29 w 164"/>
                  <a:gd name="T61" fmla="*/ 197 h 307"/>
                  <a:gd name="T62" fmla="*/ 12 w 164"/>
                  <a:gd name="T63" fmla="*/ 185 h 307"/>
                  <a:gd name="T64" fmla="*/ 44 w 164"/>
                  <a:gd name="T65" fmla="*/ 180 h 307"/>
                  <a:gd name="T66" fmla="*/ 48 w 164"/>
                  <a:gd name="T67" fmla="*/ 195 h 307"/>
                  <a:gd name="T68" fmla="*/ 34 w 164"/>
                  <a:gd name="T69" fmla="*/ 88 h 307"/>
                  <a:gd name="T70" fmla="*/ 25 w 164"/>
                  <a:gd name="T71" fmla="*/ 98 h 307"/>
                  <a:gd name="T72" fmla="*/ 27 w 164"/>
                  <a:gd name="T73" fmla="*/ 84 h 307"/>
                  <a:gd name="T74" fmla="*/ 40 w 164"/>
                  <a:gd name="T75" fmla="*/ 119 h 307"/>
                  <a:gd name="T76" fmla="*/ 33 w 164"/>
                  <a:gd name="T77" fmla="*/ 103 h 307"/>
                  <a:gd name="T78" fmla="*/ 118 w 164"/>
                  <a:gd name="T79" fmla="*/ 14 h 307"/>
                  <a:gd name="T80" fmla="*/ 115 w 164"/>
                  <a:gd name="T81" fmla="*/ 31 h 307"/>
                  <a:gd name="T82" fmla="*/ 113 w 164"/>
                  <a:gd name="T83" fmla="*/ 12 h 307"/>
                  <a:gd name="T84" fmla="*/ 40 w 164"/>
                  <a:gd name="T85" fmla="*/ 138 h 307"/>
                  <a:gd name="T86" fmla="*/ 69 w 164"/>
                  <a:gd name="T87" fmla="*/ 223 h 307"/>
                  <a:gd name="T88" fmla="*/ 92 w 164"/>
                  <a:gd name="T89" fmla="*/ 59 h 307"/>
                  <a:gd name="T90" fmla="*/ 38 w 164"/>
                  <a:gd name="T91" fmla="*/ 157 h 307"/>
                  <a:gd name="T92" fmla="*/ 42 w 164"/>
                  <a:gd name="T93" fmla="*/ 151 h 307"/>
                  <a:gd name="T94" fmla="*/ 21 w 164"/>
                  <a:gd name="T95" fmla="*/ 103 h 307"/>
                  <a:gd name="T96" fmla="*/ 19 w 164"/>
                  <a:gd name="T97" fmla="*/ 115 h 307"/>
                  <a:gd name="T98" fmla="*/ 122 w 164"/>
                  <a:gd name="T99" fmla="*/ 0 h 307"/>
                  <a:gd name="T100" fmla="*/ 21 w 164"/>
                  <a:gd name="T101" fmla="*/ 105 h 307"/>
                  <a:gd name="T102" fmla="*/ 15 w 164"/>
                  <a:gd name="T103" fmla="*/ 117 h 307"/>
                  <a:gd name="T104" fmla="*/ 90 w 164"/>
                  <a:gd name="T105" fmla="*/ 52 h 307"/>
                  <a:gd name="T106" fmla="*/ 92 w 164"/>
                  <a:gd name="T107" fmla="*/ 50 h 307"/>
                  <a:gd name="T108" fmla="*/ 36 w 164"/>
                  <a:gd name="T109" fmla="*/ 132 h 307"/>
                  <a:gd name="T110" fmla="*/ 46 w 164"/>
                  <a:gd name="T111" fmla="*/ 157 h 307"/>
                  <a:gd name="T112" fmla="*/ 42 w 164"/>
                  <a:gd name="T113" fmla="*/ 103 h 307"/>
                  <a:gd name="T114" fmla="*/ 115 w 164"/>
                  <a:gd name="T115" fmla="*/ 23 h 307"/>
                  <a:gd name="T116" fmla="*/ 38 w 164"/>
                  <a:gd name="T117" fmla="*/ 124 h 307"/>
                  <a:gd name="T118" fmla="*/ 86 w 164"/>
                  <a:gd name="T119" fmla="*/ 69 h 307"/>
                  <a:gd name="T120" fmla="*/ 120 w 164"/>
                  <a:gd name="T121" fmla="*/ 8 h 307"/>
                  <a:gd name="T122" fmla="*/ 44 w 164"/>
                  <a:gd name="T123" fmla="*/ 109 h 307"/>
                  <a:gd name="T124" fmla="*/ 59 w 164"/>
                  <a:gd name="T125" fmla="*/ 235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4" h="307">
                    <a:moveTo>
                      <a:pt x="82" y="69"/>
                    </a:moveTo>
                    <a:lnTo>
                      <a:pt x="84" y="69"/>
                    </a:lnTo>
                    <a:lnTo>
                      <a:pt x="86" y="69"/>
                    </a:lnTo>
                    <a:lnTo>
                      <a:pt x="88" y="69"/>
                    </a:lnTo>
                    <a:lnTo>
                      <a:pt x="88" y="71"/>
                    </a:lnTo>
                    <a:lnTo>
                      <a:pt x="86" y="73"/>
                    </a:lnTo>
                    <a:lnTo>
                      <a:pt x="86" y="75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86" y="78"/>
                    </a:lnTo>
                    <a:lnTo>
                      <a:pt x="82" y="80"/>
                    </a:lnTo>
                    <a:lnTo>
                      <a:pt x="80" y="84"/>
                    </a:lnTo>
                    <a:lnTo>
                      <a:pt x="76" y="86"/>
                    </a:lnTo>
                    <a:lnTo>
                      <a:pt x="75" y="88"/>
                    </a:lnTo>
                    <a:lnTo>
                      <a:pt x="73" y="90"/>
                    </a:lnTo>
                    <a:lnTo>
                      <a:pt x="71" y="90"/>
                    </a:lnTo>
                    <a:lnTo>
                      <a:pt x="73" y="90"/>
                    </a:lnTo>
                    <a:lnTo>
                      <a:pt x="73" y="92"/>
                    </a:lnTo>
                    <a:lnTo>
                      <a:pt x="71" y="94"/>
                    </a:lnTo>
                    <a:lnTo>
                      <a:pt x="71" y="92"/>
                    </a:lnTo>
                    <a:lnTo>
                      <a:pt x="69" y="92"/>
                    </a:lnTo>
                    <a:lnTo>
                      <a:pt x="67" y="92"/>
                    </a:lnTo>
                    <a:lnTo>
                      <a:pt x="69" y="94"/>
                    </a:lnTo>
                    <a:lnTo>
                      <a:pt x="71" y="92"/>
                    </a:lnTo>
                    <a:lnTo>
                      <a:pt x="71" y="94"/>
                    </a:lnTo>
                    <a:lnTo>
                      <a:pt x="73" y="94"/>
                    </a:lnTo>
                    <a:lnTo>
                      <a:pt x="75" y="94"/>
                    </a:lnTo>
                    <a:lnTo>
                      <a:pt x="76" y="92"/>
                    </a:lnTo>
                    <a:lnTo>
                      <a:pt x="73" y="98"/>
                    </a:lnTo>
                    <a:lnTo>
                      <a:pt x="73" y="96"/>
                    </a:lnTo>
                    <a:lnTo>
                      <a:pt x="71" y="98"/>
                    </a:lnTo>
                    <a:lnTo>
                      <a:pt x="69" y="98"/>
                    </a:lnTo>
                    <a:lnTo>
                      <a:pt x="69" y="99"/>
                    </a:lnTo>
                    <a:lnTo>
                      <a:pt x="67" y="99"/>
                    </a:lnTo>
                    <a:lnTo>
                      <a:pt x="67" y="101"/>
                    </a:lnTo>
                    <a:lnTo>
                      <a:pt x="69" y="98"/>
                    </a:lnTo>
                    <a:lnTo>
                      <a:pt x="71" y="98"/>
                    </a:lnTo>
                    <a:lnTo>
                      <a:pt x="71" y="99"/>
                    </a:lnTo>
                    <a:lnTo>
                      <a:pt x="73" y="98"/>
                    </a:lnTo>
                    <a:lnTo>
                      <a:pt x="71" y="99"/>
                    </a:lnTo>
                    <a:lnTo>
                      <a:pt x="71" y="101"/>
                    </a:lnTo>
                    <a:lnTo>
                      <a:pt x="69" y="101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9" y="103"/>
                    </a:lnTo>
                    <a:lnTo>
                      <a:pt x="71" y="103"/>
                    </a:lnTo>
                    <a:lnTo>
                      <a:pt x="73" y="101"/>
                    </a:lnTo>
                    <a:lnTo>
                      <a:pt x="73" y="99"/>
                    </a:lnTo>
                    <a:lnTo>
                      <a:pt x="75" y="101"/>
                    </a:lnTo>
                    <a:lnTo>
                      <a:pt x="78" y="99"/>
                    </a:lnTo>
                    <a:lnTo>
                      <a:pt x="76" y="99"/>
                    </a:lnTo>
                    <a:lnTo>
                      <a:pt x="78" y="99"/>
                    </a:lnTo>
                    <a:lnTo>
                      <a:pt x="80" y="99"/>
                    </a:lnTo>
                    <a:lnTo>
                      <a:pt x="78" y="99"/>
                    </a:lnTo>
                    <a:lnTo>
                      <a:pt x="80" y="98"/>
                    </a:lnTo>
                    <a:lnTo>
                      <a:pt x="84" y="98"/>
                    </a:lnTo>
                    <a:lnTo>
                      <a:pt x="88" y="98"/>
                    </a:lnTo>
                    <a:lnTo>
                      <a:pt x="88" y="99"/>
                    </a:lnTo>
                    <a:lnTo>
                      <a:pt x="92" y="98"/>
                    </a:lnTo>
                    <a:lnTo>
                      <a:pt x="94" y="98"/>
                    </a:lnTo>
                    <a:lnTo>
                      <a:pt x="95" y="98"/>
                    </a:lnTo>
                    <a:lnTo>
                      <a:pt x="97" y="99"/>
                    </a:lnTo>
                    <a:lnTo>
                      <a:pt x="99" y="98"/>
                    </a:lnTo>
                    <a:lnTo>
                      <a:pt x="101" y="98"/>
                    </a:lnTo>
                    <a:lnTo>
                      <a:pt x="103" y="98"/>
                    </a:lnTo>
                    <a:lnTo>
                      <a:pt x="105" y="98"/>
                    </a:lnTo>
                    <a:lnTo>
                      <a:pt x="107" y="99"/>
                    </a:lnTo>
                    <a:lnTo>
                      <a:pt x="107" y="103"/>
                    </a:lnTo>
                    <a:lnTo>
                      <a:pt x="109" y="103"/>
                    </a:lnTo>
                    <a:lnTo>
                      <a:pt x="109" y="105"/>
                    </a:lnTo>
                    <a:lnTo>
                      <a:pt x="107" y="107"/>
                    </a:lnTo>
                    <a:lnTo>
                      <a:pt x="105" y="109"/>
                    </a:lnTo>
                    <a:lnTo>
                      <a:pt x="103" y="113"/>
                    </a:lnTo>
                    <a:lnTo>
                      <a:pt x="103" y="115"/>
                    </a:lnTo>
                    <a:lnTo>
                      <a:pt x="101" y="119"/>
                    </a:lnTo>
                    <a:lnTo>
                      <a:pt x="101" y="120"/>
                    </a:lnTo>
                    <a:lnTo>
                      <a:pt x="101" y="122"/>
                    </a:lnTo>
                    <a:lnTo>
                      <a:pt x="99" y="124"/>
                    </a:lnTo>
                    <a:lnTo>
                      <a:pt x="97" y="126"/>
                    </a:lnTo>
                    <a:lnTo>
                      <a:pt x="97" y="128"/>
                    </a:lnTo>
                    <a:lnTo>
                      <a:pt x="97" y="130"/>
                    </a:lnTo>
                    <a:lnTo>
                      <a:pt x="95" y="130"/>
                    </a:lnTo>
                    <a:lnTo>
                      <a:pt x="94" y="132"/>
                    </a:lnTo>
                    <a:lnTo>
                      <a:pt x="94" y="134"/>
                    </a:lnTo>
                    <a:lnTo>
                      <a:pt x="92" y="134"/>
                    </a:lnTo>
                    <a:lnTo>
                      <a:pt x="90" y="134"/>
                    </a:lnTo>
                    <a:lnTo>
                      <a:pt x="88" y="134"/>
                    </a:lnTo>
                    <a:lnTo>
                      <a:pt x="86" y="136"/>
                    </a:lnTo>
                    <a:lnTo>
                      <a:pt x="84" y="138"/>
                    </a:lnTo>
                    <a:lnTo>
                      <a:pt x="82" y="136"/>
                    </a:lnTo>
                    <a:lnTo>
                      <a:pt x="84" y="138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92" y="134"/>
                    </a:lnTo>
                    <a:lnTo>
                      <a:pt x="92" y="136"/>
                    </a:lnTo>
                    <a:lnTo>
                      <a:pt x="90" y="136"/>
                    </a:lnTo>
                    <a:lnTo>
                      <a:pt x="92" y="138"/>
                    </a:lnTo>
                    <a:lnTo>
                      <a:pt x="92" y="136"/>
                    </a:lnTo>
                    <a:lnTo>
                      <a:pt x="92" y="138"/>
                    </a:lnTo>
                    <a:lnTo>
                      <a:pt x="94" y="138"/>
                    </a:lnTo>
                    <a:lnTo>
                      <a:pt x="95" y="140"/>
                    </a:lnTo>
                    <a:lnTo>
                      <a:pt x="92" y="141"/>
                    </a:lnTo>
                    <a:lnTo>
                      <a:pt x="90" y="141"/>
                    </a:lnTo>
                    <a:lnTo>
                      <a:pt x="86" y="143"/>
                    </a:lnTo>
                    <a:lnTo>
                      <a:pt x="86" y="145"/>
                    </a:lnTo>
                    <a:lnTo>
                      <a:pt x="84" y="145"/>
                    </a:lnTo>
                    <a:lnTo>
                      <a:pt x="82" y="145"/>
                    </a:lnTo>
                    <a:lnTo>
                      <a:pt x="82" y="147"/>
                    </a:lnTo>
                    <a:lnTo>
                      <a:pt x="80" y="145"/>
                    </a:lnTo>
                    <a:lnTo>
                      <a:pt x="78" y="145"/>
                    </a:lnTo>
                    <a:lnTo>
                      <a:pt x="76" y="143"/>
                    </a:lnTo>
                    <a:lnTo>
                      <a:pt x="76" y="145"/>
                    </a:lnTo>
                    <a:lnTo>
                      <a:pt x="78" y="145"/>
                    </a:lnTo>
                    <a:lnTo>
                      <a:pt x="78" y="147"/>
                    </a:lnTo>
                    <a:lnTo>
                      <a:pt x="80" y="147"/>
                    </a:lnTo>
                    <a:lnTo>
                      <a:pt x="82" y="147"/>
                    </a:lnTo>
                    <a:lnTo>
                      <a:pt x="84" y="147"/>
                    </a:lnTo>
                    <a:lnTo>
                      <a:pt x="86" y="147"/>
                    </a:lnTo>
                    <a:lnTo>
                      <a:pt x="88" y="149"/>
                    </a:lnTo>
                    <a:lnTo>
                      <a:pt x="90" y="147"/>
                    </a:lnTo>
                    <a:lnTo>
                      <a:pt x="92" y="147"/>
                    </a:lnTo>
                    <a:lnTo>
                      <a:pt x="92" y="145"/>
                    </a:lnTo>
                    <a:lnTo>
                      <a:pt x="94" y="145"/>
                    </a:lnTo>
                    <a:lnTo>
                      <a:pt x="95" y="147"/>
                    </a:lnTo>
                    <a:lnTo>
                      <a:pt x="97" y="147"/>
                    </a:lnTo>
                    <a:lnTo>
                      <a:pt x="99" y="149"/>
                    </a:lnTo>
                    <a:lnTo>
                      <a:pt x="101" y="149"/>
                    </a:lnTo>
                    <a:lnTo>
                      <a:pt x="103" y="149"/>
                    </a:lnTo>
                    <a:lnTo>
                      <a:pt x="103" y="151"/>
                    </a:lnTo>
                    <a:lnTo>
                      <a:pt x="105" y="153"/>
                    </a:lnTo>
                    <a:lnTo>
                      <a:pt x="107" y="155"/>
                    </a:lnTo>
                    <a:lnTo>
                      <a:pt x="107" y="157"/>
                    </a:lnTo>
                    <a:lnTo>
                      <a:pt x="109" y="157"/>
                    </a:lnTo>
                    <a:lnTo>
                      <a:pt x="109" y="159"/>
                    </a:lnTo>
                    <a:lnTo>
                      <a:pt x="111" y="159"/>
                    </a:lnTo>
                    <a:lnTo>
                      <a:pt x="111" y="162"/>
                    </a:lnTo>
                    <a:lnTo>
                      <a:pt x="111" y="164"/>
                    </a:lnTo>
                    <a:lnTo>
                      <a:pt x="111" y="166"/>
                    </a:lnTo>
                    <a:lnTo>
                      <a:pt x="113" y="166"/>
                    </a:lnTo>
                    <a:lnTo>
                      <a:pt x="111" y="168"/>
                    </a:lnTo>
                    <a:lnTo>
                      <a:pt x="113" y="170"/>
                    </a:lnTo>
                    <a:lnTo>
                      <a:pt x="115" y="174"/>
                    </a:lnTo>
                    <a:lnTo>
                      <a:pt x="115" y="176"/>
                    </a:lnTo>
                    <a:lnTo>
                      <a:pt x="115" y="174"/>
                    </a:lnTo>
                    <a:lnTo>
                      <a:pt x="115" y="176"/>
                    </a:lnTo>
                    <a:lnTo>
                      <a:pt x="115" y="178"/>
                    </a:lnTo>
                    <a:lnTo>
                      <a:pt x="116" y="181"/>
                    </a:lnTo>
                    <a:lnTo>
                      <a:pt x="116" y="183"/>
                    </a:lnTo>
                    <a:lnTo>
                      <a:pt x="118" y="183"/>
                    </a:lnTo>
                    <a:lnTo>
                      <a:pt x="116" y="183"/>
                    </a:lnTo>
                    <a:lnTo>
                      <a:pt x="118" y="185"/>
                    </a:lnTo>
                    <a:lnTo>
                      <a:pt x="120" y="187"/>
                    </a:lnTo>
                    <a:lnTo>
                      <a:pt x="124" y="187"/>
                    </a:lnTo>
                    <a:lnTo>
                      <a:pt x="126" y="187"/>
                    </a:lnTo>
                    <a:lnTo>
                      <a:pt x="126" y="189"/>
                    </a:lnTo>
                    <a:lnTo>
                      <a:pt x="128" y="189"/>
                    </a:lnTo>
                    <a:lnTo>
                      <a:pt x="128" y="191"/>
                    </a:lnTo>
                    <a:lnTo>
                      <a:pt x="130" y="191"/>
                    </a:lnTo>
                    <a:lnTo>
                      <a:pt x="130" y="195"/>
                    </a:lnTo>
                    <a:lnTo>
                      <a:pt x="132" y="197"/>
                    </a:lnTo>
                    <a:lnTo>
                      <a:pt x="132" y="199"/>
                    </a:lnTo>
                    <a:lnTo>
                      <a:pt x="136" y="199"/>
                    </a:lnTo>
                    <a:lnTo>
                      <a:pt x="134" y="201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7" y="212"/>
                    </a:lnTo>
                    <a:lnTo>
                      <a:pt x="139" y="214"/>
                    </a:lnTo>
                    <a:lnTo>
                      <a:pt x="137" y="214"/>
                    </a:lnTo>
                    <a:lnTo>
                      <a:pt x="139" y="214"/>
                    </a:lnTo>
                    <a:lnTo>
                      <a:pt x="137" y="212"/>
                    </a:lnTo>
                    <a:lnTo>
                      <a:pt x="136" y="212"/>
                    </a:lnTo>
                    <a:lnTo>
                      <a:pt x="134" y="210"/>
                    </a:lnTo>
                    <a:lnTo>
                      <a:pt x="132" y="210"/>
                    </a:lnTo>
                    <a:lnTo>
                      <a:pt x="130" y="210"/>
                    </a:lnTo>
                    <a:lnTo>
                      <a:pt x="128" y="210"/>
                    </a:lnTo>
                    <a:lnTo>
                      <a:pt x="126" y="210"/>
                    </a:lnTo>
                    <a:lnTo>
                      <a:pt x="128" y="210"/>
                    </a:lnTo>
                    <a:lnTo>
                      <a:pt x="128" y="212"/>
                    </a:lnTo>
                    <a:lnTo>
                      <a:pt x="130" y="210"/>
                    </a:lnTo>
                    <a:lnTo>
                      <a:pt x="132" y="210"/>
                    </a:lnTo>
                    <a:lnTo>
                      <a:pt x="134" y="212"/>
                    </a:lnTo>
                    <a:lnTo>
                      <a:pt x="136" y="214"/>
                    </a:lnTo>
                    <a:lnTo>
                      <a:pt x="137" y="216"/>
                    </a:lnTo>
                    <a:lnTo>
                      <a:pt x="139" y="216"/>
                    </a:lnTo>
                    <a:lnTo>
                      <a:pt x="139" y="218"/>
                    </a:lnTo>
                    <a:lnTo>
                      <a:pt x="141" y="223"/>
                    </a:lnTo>
                    <a:lnTo>
                      <a:pt x="141" y="227"/>
                    </a:lnTo>
                    <a:lnTo>
                      <a:pt x="139" y="229"/>
                    </a:lnTo>
                    <a:lnTo>
                      <a:pt x="137" y="231"/>
                    </a:lnTo>
                    <a:lnTo>
                      <a:pt x="139" y="233"/>
                    </a:lnTo>
                    <a:lnTo>
                      <a:pt x="139" y="235"/>
                    </a:lnTo>
                    <a:lnTo>
                      <a:pt x="141" y="235"/>
                    </a:lnTo>
                    <a:lnTo>
                      <a:pt x="143" y="235"/>
                    </a:lnTo>
                    <a:lnTo>
                      <a:pt x="143" y="233"/>
                    </a:lnTo>
                    <a:lnTo>
                      <a:pt x="145" y="231"/>
                    </a:lnTo>
                    <a:lnTo>
                      <a:pt x="145" y="229"/>
                    </a:lnTo>
                    <a:lnTo>
                      <a:pt x="147" y="229"/>
                    </a:lnTo>
                    <a:lnTo>
                      <a:pt x="149" y="229"/>
                    </a:lnTo>
                    <a:lnTo>
                      <a:pt x="151" y="229"/>
                    </a:lnTo>
                    <a:lnTo>
                      <a:pt x="151" y="231"/>
                    </a:lnTo>
                    <a:lnTo>
                      <a:pt x="151" y="229"/>
                    </a:lnTo>
                    <a:lnTo>
                      <a:pt x="151" y="231"/>
                    </a:lnTo>
                    <a:lnTo>
                      <a:pt x="153" y="231"/>
                    </a:lnTo>
                    <a:lnTo>
                      <a:pt x="153" y="229"/>
                    </a:lnTo>
                    <a:lnTo>
                      <a:pt x="151" y="229"/>
                    </a:lnTo>
                    <a:lnTo>
                      <a:pt x="153" y="229"/>
                    </a:lnTo>
                    <a:lnTo>
                      <a:pt x="158" y="231"/>
                    </a:lnTo>
                    <a:lnTo>
                      <a:pt x="162" y="235"/>
                    </a:lnTo>
                    <a:lnTo>
                      <a:pt x="164" y="237"/>
                    </a:lnTo>
                    <a:lnTo>
                      <a:pt x="164" y="239"/>
                    </a:lnTo>
                    <a:lnTo>
                      <a:pt x="164" y="241"/>
                    </a:lnTo>
                    <a:lnTo>
                      <a:pt x="164" y="243"/>
                    </a:lnTo>
                    <a:lnTo>
                      <a:pt x="162" y="246"/>
                    </a:lnTo>
                    <a:lnTo>
                      <a:pt x="162" y="248"/>
                    </a:lnTo>
                    <a:lnTo>
                      <a:pt x="162" y="254"/>
                    </a:lnTo>
                    <a:lnTo>
                      <a:pt x="160" y="254"/>
                    </a:lnTo>
                    <a:lnTo>
                      <a:pt x="158" y="258"/>
                    </a:lnTo>
                    <a:lnTo>
                      <a:pt x="157" y="256"/>
                    </a:lnTo>
                    <a:lnTo>
                      <a:pt x="155" y="256"/>
                    </a:lnTo>
                    <a:lnTo>
                      <a:pt x="153" y="256"/>
                    </a:lnTo>
                    <a:lnTo>
                      <a:pt x="155" y="258"/>
                    </a:lnTo>
                    <a:lnTo>
                      <a:pt x="157" y="258"/>
                    </a:lnTo>
                    <a:lnTo>
                      <a:pt x="157" y="256"/>
                    </a:lnTo>
                    <a:lnTo>
                      <a:pt x="157" y="258"/>
                    </a:lnTo>
                    <a:lnTo>
                      <a:pt x="157" y="260"/>
                    </a:lnTo>
                    <a:lnTo>
                      <a:pt x="155" y="262"/>
                    </a:lnTo>
                    <a:lnTo>
                      <a:pt x="153" y="262"/>
                    </a:lnTo>
                    <a:lnTo>
                      <a:pt x="153" y="260"/>
                    </a:lnTo>
                    <a:lnTo>
                      <a:pt x="151" y="262"/>
                    </a:lnTo>
                    <a:lnTo>
                      <a:pt x="149" y="262"/>
                    </a:lnTo>
                    <a:lnTo>
                      <a:pt x="149" y="264"/>
                    </a:lnTo>
                    <a:lnTo>
                      <a:pt x="151" y="264"/>
                    </a:lnTo>
                    <a:lnTo>
                      <a:pt x="151" y="262"/>
                    </a:lnTo>
                    <a:lnTo>
                      <a:pt x="151" y="265"/>
                    </a:lnTo>
                    <a:lnTo>
                      <a:pt x="149" y="267"/>
                    </a:lnTo>
                    <a:lnTo>
                      <a:pt x="147" y="267"/>
                    </a:lnTo>
                    <a:lnTo>
                      <a:pt x="145" y="267"/>
                    </a:lnTo>
                    <a:lnTo>
                      <a:pt x="143" y="267"/>
                    </a:lnTo>
                    <a:lnTo>
                      <a:pt x="143" y="269"/>
                    </a:lnTo>
                    <a:lnTo>
                      <a:pt x="145" y="269"/>
                    </a:lnTo>
                    <a:lnTo>
                      <a:pt x="147" y="269"/>
                    </a:lnTo>
                    <a:lnTo>
                      <a:pt x="149" y="269"/>
                    </a:lnTo>
                    <a:lnTo>
                      <a:pt x="147" y="269"/>
                    </a:lnTo>
                    <a:lnTo>
                      <a:pt x="147" y="271"/>
                    </a:lnTo>
                    <a:lnTo>
                      <a:pt x="145" y="271"/>
                    </a:lnTo>
                    <a:lnTo>
                      <a:pt x="147" y="271"/>
                    </a:lnTo>
                    <a:lnTo>
                      <a:pt x="149" y="269"/>
                    </a:lnTo>
                    <a:lnTo>
                      <a:pt x="147" y="271"/>
                    </a:lnTo>
                    <a:lnTo>
                      <a:pt x="149" y="271"/>
                    </a:lnTo>
                    <a:lnTo>
                      <a:pt x="151" y="271"/>
                    </a:lnTo>
                    <a:lnTo>
                      <a:pt x="151" y="273"/>
                    </a:lnTo>
                    <a:lnTo>
                      <a:pt x="155" y="271"/>
                    </a:lnTo>
                    <a:lnTo>
                      <a:pt x="158" y="271"/>
                    </a:lnTo>
                    <a:lnTo>
                      <a:pt x="160" y="271"/>
                    </a:lnTo>
                    <a:lnTo>
                      <a:pt x="158" y="273"/>
                    </a:lnTo>
                    <a:lnTo>
                      <a:pt x="158" y="275"/>
                    </a:lnTo>
                    <a:lnTo>
                      <a:pt x="158" y="277"/>
                    </a:lnTo>
                    <a:lnTo>
                      <a:pt x="157" y="279"/>
                    </a:lnTo>
                    <a:lnTo>
                      <a:pt x="158" y="279"/>
                    </a:lnTo>
                    <a:lnTo>
                      <a:pt x="157" y="279"/>
                    </a:lnTo>
                    <a:lnTo>
                      <a:pt x="155" y="279"/>
                    </a:lnTo>
                    <a:lnTo>
                      <a:pt x="153" y="279"/>
                    </a:lnTo>
                    <a:lnTo>
                      <a:pt x="153" y="281"/>
                    </a:lnTo>
                    <a:lnTo>
                      <a:pt x="153" y="283"/>
                    </a:lnTo>
                    <a:lnTo>
                      <a:pt x="149" y="283"/>
                    </a:lnTo>
                    <a:lnTo>
                      <a:pt x="147" y="285"/>
                    </a:lnTo>
                    <a:lnTo>
                      <a:pt x="143" y="286"/>
                    </a:lnTo>
                    <a:lnTo>
                      <a:pt x="141" y="288"/>
                    </a:lnTo>
                    <a:lnTo>
                      <a:pt x="137" y="286"/>
                    </a:lnTo>
                    <a:lnTo>
                      <a:pt x="132" y="285"/>
                    </a:lnTo>
                    <a:lnTo>
                      <a:pt x="128" y="286"/>
                    </a:lnTo>
                    <a:lnTo>
                      <a:pt x="124" y="286"/>
                    </a:lnTo>
                    <a:lnTo>
                      <a:pt x="124" y="288"/>
                    </a:lnTo>
                    <a:lnTo>
                      <a:pt x="122" y="286"/>
                    </a:lnTo>
                    <a:lnTo>
                      <a:pt x="122" y="285"/>
                    </a:lnTo>
                    <a:lnTo>
                      <a:pt x="122" y="286"/>
                    </a:lnTo>
                    <a:lnTo>
                      <a:pt x="122" y="285"/>
                    </a:lnTo>
                    <a:lnTo>
                      <a:pt x="120" y="285"/>
                    </a:lnTo>
                    <a:lnTo>
                      <a:pt x="122" y="285"/>
                    </a:lnTo>
                    <a:lnTo>
                      <a:pt x="122" y="286"/>
                    </a:lnTo>
                    <a:lnTo>
                      <a:pt x="120" y="286"/>
                    </a:lnTo>
                    <a:lnTo>
                      <a:pt x="122" y="286"/>
                    </a:lnTo>
                    <a:lnTo>
                      <a:pt x="120" y="286"/>
                    </a:lnTo>
                    <a:lnTo>
                      <a:pt x="120" y="285"/>
                    </a:lnTo>
                    <a:lnTo>
                      <a:pt x="120" y="286"/>
                    </a:lnTo>
                    <a:lnTo>
                      <a:pt x="118" y="286"/>
                    </a:lnTo>
                    <a:lnTo>
                      <a:pt x="118" y="285"/>
                    </a:lnTo>
                    <a:lnTo>
                      <a:pt x="118" y="286"/>
                    </a:lnTo>
                    <a:lnTo>
                      <a:pt x="116" y="285"/>
                    </a:lnTo>
                    <a:lnTo>
                      <a:pt x="115" y="285"/>
                    </a:lnTo>
                    <a:lnTo>
                      <a:pt x="115" y="283"/>
                    </a:lnTo>
                    <a:lnTo>
                      <a:pt x="115" y="285"/>
                    </a:lnTo>
                    <a:lnTo>
                      <a:pt x="113" y="283"/>
                    </a:lnTo>
                    <a:lnTo>
                      <a:pt x="115" y="285"/>
                    </a:lnTo>
                    <a:lnTo>
                      <a:pt x="116" y="286"/>
                    </a:lnTo>
                    <a:lnTo>
                      <a:pt x="115" y="286"/>
                    </a:lnTo>
                    <a:lnTo>
                      <a:pt x="113" y="286"/>
                    </a:lnTo>
                    <a:lnTo>
                      <a:pt x="113" y="288"/>
                    </a:lnTo>
                    <a:lnTo>
                      <a:pt x="111" y="288"/>
                    </a:lnTo>
                    <a:lnTo>
                      <a:pt x="113" y="288"/>
                    </a:lnTo>
                    <a:lnTo>
                      <a:pt x="109" y="288"/>
                    </a:lnTo>
                    <a:lnTo>
                      <a:pt x="107" y="288"/>
                    </a:lnTo>
                    <a:lnTo>
                      <a:pt x="105" y="288"/>
                    </a:lnTo>
                    <a:lnTo>
                      <a:pt x="103" y="288"/>
                    </a:lnTo>
                    <a:lnTo>
                      <a:pt x="105" y="288"/>
                    </a:lnTo>
                    <a:lnTo>
                      <a:pt x="103" y="288"/>
                    </a:lnTo>
                    <a:lnTo>
                      <a:pt x="105" y="288"/>
                    </a:lnTo>
                    <a:lnTo>
                      <a:pt x="105" y="290"/>
                    </a:lnTo>
                    <a:lnTo>
                      <a:pt x="105" y="288"/>
                    </a:lnTo>
                    <a:lnTo>
                      <a:pt x="105" y="290"/>
                    </a:lnTo>
                    <a:lnTo>
                      <a:pt x="103" y="292"/>
                    </a:lnTo>
                    <a:lnTo>
                      <a:pt x="103" y="290"/>
                    </a:lnTo>
                    <a:lnTo>
                      <a:pt x="97" y="290"/>
                    </a:lnTo>
                    <a:lnTo>
                      <a:pt x="97" y="292"/>
                    </a:lnTo>
                    <a:lnTo>
                      <a:pt x="97" y="294"/>
                    </a:lnTo>
                    <a:lnTo>
                      <a:pt x="97" y="292"/>
                    </a:lnTo>
                    <a:lnTo>
                      <a:pt x="97" y="290"/>
                    </a:lnTo>
                    <a:lnTo>
                      <a:pt x="95" y="290"/>
                    </a:lnTo>
                    <a:lnTo>
                      <a:pt x="92" y="288"/>
                    </a:lnTo>
                    <a:lnTo>
                      <a:pt x="90" y="288"/>
                    </a:lnTo>
                    <a:lnTo>
                      <a:pt x="88" y="288"/>
                    </a:lnTo>
                    <a:lnTo>
                      <a:pt x="86" y="288"/>
                    </a:lnTo>
                    <a:lnTo>
                      <a:pt x="82" y="290"/>
                    </a:lnTo>
                    <a:lnTo>
                      <a:pt x="82" y="288"/>
                    </a:lnTo>
                    <a:lnTo>
                      <a:pt x="82" y="290"/>
                    </a:lnTo>
                    <a:lnTo>
                      <a:pt x="80" y="292"/>
                    </a:lnTo>
                    <a:lnTo>
                      <a:pt x="80" y="294"/>
                    </a:lnTo>
                    <a:lnTo>
                      <a:pt x="80" y="296"/>
                    </a:lnTo>
                    <a:lnTo>
                      <a:pt x="80" y="298"/>
                    </a:lnTo>
                    <a:lnTo>
                      <a:pt x="78" y="298"/>
                    </a:lnTo>
                    <a:lnTo>
                      <a:pt x="78" y="300"/>
                    </a:lnTo>
                    <a:lnTo>
                      <a:pt x="76" y="302"/>
                    </a:lnTo>
                    <a:lnTo>
                      <a:pt x="76" y="300"/>
                    </a:lnTo>
                    <a:lnTo>
                      <a:pt x="75" y="300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1" y="298"/>
                    </a:lnTo>
                    <a:lnTo>
                      <a:pt x="71" y="296"/>
                    </a:lnTo>
                    <a:lnTo>
                      <a:pt x="71" y="298"/>
                    </a:lnTo>
                    <a:lnTo>
                      <a:pt x="71" y="296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69" y="294"/>
                    </a:lnTo>
                    <a:lnTo>
                      <a:pt x="69" y="296"/>
                    </a:lnTo>
                    <a:lnTo>
                      <a:pt x="71" y="296"/>
                    </a:lnTo>
                    <a:lnTo>
                      <a:pt x="69" y="298"/>
                    </a:lnTo>
                    <a:lnTo>
                      <a:pt x="71" y="298"/>
                    </a:lnTo>
                    <a:lnTo>
                      <a:pt x="69" y="298"/>
                    </a:lnTo>
                    <a:lnTo>
                      <a:pt x="71" y="298"/>
                    </a:lnTo>
                    <a:lnTo>
                      <a:pt x="69" y="298"/>
                    </a:lnTo>
                    <a:lnTo>
                      <a:pt x="67" y="296"/>
                    </a:lnTo>
                    <a:lnTo>
                      <a:pt x="65" y="298"/>
                    </a:lnTo>
                    <a:lnTo>
                      <a:pt x="63" y="298"/>
                    </a:lnTo>
                    <a:lnTo>
                      <a:pt x="63" y="296"/>
                    </a:lnTo>
                    <a:lnTo>
                      <a:pt x="63" y="298"/>
                    </a:lnTo>
                    <a:lnTo>
                      <a:pt x="61" y="298"/>
                    </a:lnTo>
                    <a:lnTo>
                      <a:pt x="61" y="300"/>
                    </a:lnTo>
                    <a:lnTo>
                      <a:pt x="59" y="300"/>
                    </a:lnTo>
                    <a:lnTo>
                      <a:pt x="57" y="302"/>
                    </a:lnTo>
                    <a:lnTo>
                      <a:pt x="57" y="300"/>
                    </a:lnTo>
                    <a:lnTo>
                      <a:pt x="57" y="302"/>
                    </a:lnTo>
                    <a:lnTo>
                      <a:pt x="55" y="302"/>
                    </a:lnTo>
                    <a:lnTo>
                      <a:pt x="55" y="304"/>
                    </a:lnTo>
                    <a:lnTo>
                      <a:pt x="54" y="304"/>
                    </a:lnTo>
                    <a:lnTo>
                      <a:pt x="55" y="304"/>
                    </a:lnTo>
                    <a:lnTo>
                      <a:pt x="55" y="306"/>
                    </a:lnTo>
                    <a:lnTo>
                      <a:pt x="54" y="306"/>
                    </a:lnTo>
                    <a:lnTo>
                      <a:pt x="54" y="307"/>
                    </a:lnTo>
                    <a:lnTo>
                      <a:pt x="54" y="306"/>
                    </a:lnTo>
                    <a:lnTo>
                      <a:pt x="52" y="304"/>
                    </a:lnTo>
                    <a:lnTo>
                      <a:pt x="50" y="304"/>
                    </a:lnTo>
                    <a:lnTo>
                      <a:pt x="48" y="304"/>
                    </a:lnTo>
                    <a:lnTo>
                      <a:pt x="46" y="306"/>
                    </a:lnTo>
                    <a:lnTo>
                      <a:pt x="46" y="304"/>
                    </a:lnTo>
                    <a:lnTo>
                      <a:pt x="46" y="302"/>
                    </a:lnTo>
                    <a:lnTo>
                      <a:pt x="48" y="302"/>
                    </a:lnTo>
                    <a:lnTo>
                      <a:pt x="48" y="300"/>
                    </a:lnTo>
                    <a:lnTo>
                      <a:pt x="50" y="300"/>
                    </a:lnTo>
                    <a:lnTo>
                      <a:pt x="50" y="302"/>
                    </a:lnTo>
                    <a:lnTo>
                      <a:pt x="52" y="300"/>
                    </a:lnTo>
                    <a:lnTo>
                      <a:pt x="54" y="300"/>
                    </a:lnTo>
                    <a:lnTo>
                      <a:pt x="54" y="298"/>
                    </a:lnTo>
                    <a:lnTo>
                      <a:pt x="55" y="298"/>
                    </a:lnTo>
                    <a:lnTo>
                      <a:pt x="55" y="296"/>
                    </a:lnTo>
                    <a:lnTo>
                      <a:pt x="57" y="294"/>
                    </a:lnTo>
                    <a:lnTo>
                      <a:pt x="55" y="294"/>
                    </a:lnTo>
                    <a:lnTo>
                      <a:pt x="57" y="294"/>
                    </a:lnTo>
                    <a:lnTo>
                      <a:pt x="55" y="292"/>
                    </a:lnTo>
                    <a:lnTo>
                      <a:pt x="57" y="292"/>
                    </a:lnTo>
                    <a:lnTo>
                      <a:pt x="59" y="292"/>
                    </a:lnTo>
                    <a:lnTo>
                      <a:pt x="57" y="292"/>
                    </a:lnTo>
                    <a:lnTo>
                      <a:pt x="59" y="292"/>
                    </a:lnTo>
                    <a:lnTo>
                      <a:pt x="57" y="292"/>
                    </a:lnTo>
                    <a:lnTo>
                      <a:pt x="59" y="292"/>
                    </a:lnTo>
                    <a:lnTo>
                      <a:pt x="59" y="290"/>
                    </a:lnTo>
                    <a:lnTo>
                      <a:pt x="61" y="288"/>
                    </a:lnTo>
                    <a:lnTo>
                      <a:pt x="63" y="288"/>
                    </a:lnTo>
                    <a:lnTo>
                      <a:pt x="63" y="286"/>
                    </a:lnTo>
                    <a:lnTo>
                      <a:pt x="63" y="283"/>
                    </a:lnTo>
                    <a:lnTo>
                      <a:pt x="65" y="283"/>
                    </a:lnTo>
                    <a:lnTo>
                      <a:pt x="65" y="281"/>
                    </a:lnTo>
                    <a:lnTo>
                      <a:pt x="67" y="281"/>
                    </a:lnTo>
                    <a:lnTo>
                      <a:pt x="69" y="281"/>
                    </a:lnTo>
                    <a:lnTo>
                      <a:pt x="69" y="279"/>
                    </a:lnTo>
                    <a:lnTo>
                      <a:pt x="71" y="279"/>
                    </a:lnTo>
                    <a:lnTo>
                      <a:pt x="69" y="281"/>
                    </a:lnTo>
                    <a:lnTo>
                      <a:pt x="71" y="279"/>
                    </a:lnTo>
                    <a:lnTo>
                      <a:pt x="73" y="279"/>
                    </a:lnTo>
                    <a:lnTo>
                      <a:pt x="71" y="279"/>
                    </a:lnTo>
                    <a:lnTo>
                      <a:pt x="69" y="277"/>
                    </a:lnTo>
                    <a:lnTo>
                      <a:pt x="69" y="275"/>
                    </a:lnTo>
                    <a:lnTo>
                      <a:pt x="71" y="275"/>
                    </a:lnTo>
                    <a:lnTo>
                      <a:pt x="73" y="275"/>
                    </a:lnTo>
                    <a:lnTo>
                      <a:pt x="75" y="275"/>
                    </a:lnTo>
                    <a:lnTo>
                      <a:pt x="76" y="275"/>
                    </a:lnTo>
                    <a:lnTo>
                      <a:pt x="78" y="275"/>
                    </a:lnTo>
                    <a:lnTo>
                      <a:pt x="80" y="275"/>
                    </a:lnTo>
                    <a:lnTo>
                      <a:pt x="82" y="275"/>
                    </a:lnTo>
                    <a:lnTo>
                      <a:pt x="82" y="277"/>
                    </a:lnTo>
                    <a:lnTo>
                      <a:pt x="84" y="277"/>
                    </a:lnTo>
                    <a:lnTo>
                      <a:pt x="86" y="275"/>
                    </a:lnTo>
                    <a:lnTo>
                      <a:pt x="88" y="275"/>
                    </a:lnTo>
                    <a:lnTo>
                      <a:pt x="88" y="277"/>
                    </a:lnTo>
                    <a:lnTo>
                      <a:pt x="88" y="275"/>
                    </a:lnTo>
                    <a:lnTo>
                      <a:pt x="88" y="273"/>
                    </a:lnTo>
                    <a:lnTo>
                      <a:pt x="90" y="273"/>
                    </a:lnTo>
                    <a:lnTo>
                      <a:pt x="90" y="271"/>
                    </a:lnTo>
                    <a:lnTo>
                      <a:pt x="92" y="269"/>
                    </a:lnTo>
                    <a:lnTo>
                      <a:pt x="94" y="269"/>
                    </a:lnTo>
                    <a:lnTo>
                      <a:pt x="94" y="267"/>
                    </a:lnTo>
                    <a:lnTo>
                      <a:pt x="94" y="265"/>
                    </a:lnTo>
                    <a:lnTo>
                      <a:pt x="95" y="264"/>
                    </a:lnTo>
                    <a:lnTo>
                      <a:pt x="97" y="264"/>
                    </a:lnTo>
                    <a:lnTo>
                      <a:pt x="95" y="264"/>
                    </a:lnTo>
                    <a:lnTo>
                      <a:pt x="94" y="265"/>
                    </a:lnTo>
                    <a:lnTo>
                      <a:pt x="90" y="267"/>
                    </a:lnTo>
                    <a:lnTo>
                      <a:pt x="88" y="267"/>
                    </a:lnTo>
                    <a:lnTo>
                      <a:pt x="88" y="269"/>
                    </a:lnTo>
                    <a:lnTo>
                      <a:pt x="86" y="269"/>
                    </a:lnTo>
                    <a:lnTo>
                      <a:pt x="86" y="271"/>
                    </a:lnTo>
                    <a:lnTo>
                      <a:pt x="82" y="271"/>
                    </a:lnTo>
                    <a:lnTo>
                      <a:pt x="80" y="271"/>
                    </a:lnTo>
                    <a:lnTo>
                      <a:pt x="78" y="269"/>
                    </a:lnTo>
                    <a:lnTo>
                      <a:pt x="76" y="269"/>
                    </a:lnTo>
                    <a:lnTo>
                      <a:pt x="76" y="267"/>
                    </a:lnTo>
                    <a:lnTo>
                      <a:pt x="75" y="265"/>
                    </a:lnTo>
                    <a:lnTo>
                      <a:pt x="73" y="265"/>
                    </a:lnTo>
                    <a:lnTo>
                      <a:pt x="73" y="267"/>
                    </a:lnTo>
                    <a:lnTo>
                      <a:pt x="71" y="267"/>
                    </a:lnTo>
                    <a:lnTo>
                      <a:pt x="69" y="267"/>
                    </a:lnTo>
                    <a:lnTo>
                      <a:pt x="67" y="267"/>
                    </a:lnTo>
                    <a:lnTo>
                      <a:pt x="69" y="265"/>
                    </a:lnTo>
                    <a:lnTo>
                      <a:pt x="69" y="264"/>
                    </a:lnTo>
                    <a:lnTo>
                      <a:pt x="67" y="264"/>
                    </a:lnTo>
                    <a:lnTo>
                      <a:pt x="65" y="264"/>
                    </a:lnTo>
                    <a:lnTo>
                      <a:pt x="67" y="262"/>
                    </a:lnTo>
                    <a:lnTo>
                      <a:pt x="65" y="262"/>
                    </a:lnTo>
                    <a:lnTo>
                      <a:pt x="63" y="262"/>
                    </a:lnTo>
                    <a:lnTo>
                      <a:pt x="61" y="264"/>
                    </a:lnTo>
                    <a:lnTo>
                      <a:pt x="61" y="265"/>
                    </a:lnTo>
                    <a:lnTo>
                      <a:pt x="59" y="265"/>
                    </a:lnTo>
                    <a:lnTo>
                      <a:pt x="57" y="265"/>
                    </a:lnTo>
                    <a:lnTo>
                      <a:pt x="55" y="265"/>
                    </a:lnTo>
                    <a:lnTo>
                      <a:pt x="55" y="264"/>
                    </a:lnTo>
                    <a:lnTo>
                      <a:pt x="57" y="264"/>
                    </a:lnTo>
                    <a:lnTo>
                      <a:pt x="54" y="264"/>
                    </a:lnTo>
                    <a:lnTo>
                      <a:pt x="55" y="264"/>
                    </a:lnTo>
                    <a:lnTo>
                      <a:pt x="54" y="264"/>
                    </a:lnTo>
                    <a:lnTo>
                      <a:pt x="54" y="262"/>
                    </a:lnTo>
                    <a:lnTo>
                      <a:pt x="55" y="262"/>
                    </a:lnTo>
                    <a:lnTo>
                      <a:pt x="55" y="260"/>
                    </a:lnTo>
                    <a:lnTo>
                      <a:pt x="54" y="258"/>
                    </a:lnTo>
                    <a:lnTo>
                      <a:pt x="52" y="260"/>
                    </a:lnTo>
                    <a:lnTo>
                      <a:pt x="52" y="258"/>
                    </a:lnTo>
                    <a:lnTo>
                      <a:pt x="54" y="258"/>
                    </a:lnTo>
                    <a:lnTo>
                      <a:pt x="54" y="256"/>
                    </a:lnTo>
                    <a:lnTo>
                      <a:pt x="55" y="256"/>
                    </a:lnTo>
                    <a:lnTo>
                      <a:pt x="55" y="254"/>
                    </a:lnTo>
                    <a:lnTo>
                      <a:pt x="57" y="254"/>
                    </a:lnTo>
                    <a:lnTo>
                      <a:pt x="57" y="256"/>
                    </a:lnTo>
                    <a:lnTo>
                      <a:pt x="59" y="254"/>
                    </a:lnTo>
                    <a:lnTo>
                      <a:pt x="61" y="254"/>
                    </a:lnTo>
                    <a:lnTo>
                      <a:pt x="61" y="252"/>
                    </a:lnTo>
                    <a:lnTo>
                      <a:pt x="63" y="252"/>
                    </a:lnTo>
                    <a:lnTo>
                      <a:pt x="65" y="252"/>
                    </a:lnTo>
                    <a:lnTo>
                      <a:pt x="67" y="250"/>
                    </a:lnTo>
                    <a:lnTo>
                      <a:pt x="69" y="248"/>
                    </a:lnTo>
                    <a:lnTo>
                      <a:pt x="71" y="246"/>
                    </a:lnTo>
                    <a:lnTo>
                      <a:pt x="73" y="243"/>
                    </a:lnTo>
                    <a:lnTo>
                      <a:pt x="73" y="241"/>
                    </a:lnTo>
                    <a:lnTo>
                      <a:pt x="73" y="243"/>
                    </a:lnTo>
                    <a:lnTo>
                      <a:pt x="73" y="241"/>
                    </a:lnTo>
                    <a:lnTo>
                      <a:pt x="71" y="239"/>
                    </a:lnTo>
                    <a:lnTo>
                      <a:pt x="73" y="237"/>
                    </a:lnTo>
                    <a:lnTo>
                      <a:pt x="71" y="235"/>
                    </a:lnTo>
                    <a:lnTo>
                      <a:pt x="71" y="233"/>
                    </a:lnTo>
                    <a:lnTo>
                      <a:pt x="71" y="231"/>
                    </a:lnTo>
                    <a:lnTo>
                      <a:pt x="73" y="231"/>
                    </a:lnTo>
                    <a:lnTo>
                      <a:pt x="71" y="231"/>
                    </a:lnTo>
                    <a:lnTo>
                      <a:pt x="69" y="231"/>
                    </a:lnTo>
                    <a:lnTo>
                      <a:pt x="67" y="233"/>
                    </a:lnTo>
                    <a:lnTo>
                      <a:pt x="67" y="231"/>
                    </a:lnTo>
                    <a:lnTo>
                      <a:pt x="67" y="233"/>
                    </a:lnTo>
                    <a:lnTo>
                      <a:pt x="65" y="233"/>
                    </a:lnTo>
                    <a:lnTo>
                      <a:pt x="65" y="235"/>
                    </a:lnTo>
                    <a:lnTo>
                      <a:pt x="63" y="233"/>
                    </a:lnTo>
                    <a:lnTo>
                      <a:pt x="63" y="235"/>
                    </a:lnTo>
                    <a:lnTo>
                      <a:pt x="61" y="235"/>
                    </a:lnTo>
                    <a:lnTo>
                      <a:pt x="61" y="233"/>
                    </a:lnTo>
                    <a:lnTo>
                      <a:pt x="63" y="231"/>
                    </a:lnTo>
                    <a:lnTo>
                      <a:pt x="65" y="231"/>
                    </a:lnTo>
                    <a:lnTo>
                      <a:pt x="67" y="229"/>
                    </a:lnTo>
                    <a:lnTo>
                      <a:pt x="67" y="225"/>
                    </a:lnTo>
                    <a:lnTo>
                      <a:pt x="69" y="227"/>
                    </a:lnTo>
                    <a:lnTo>
                      <a:pt x="69" y="225"/>
                    </a:lnTo>
                    <a:lnTo>
                      <a:pt x="71" y="223"/>
                    </a:lnTo>
                    <a:lnTo>
                      <a:pt x="73" y="223"/>
                    </a:lnTo>
                    <a:lnTo>
                      <a:pt x="75" y="222"/>
                    </a:lnTo>
                    <a:lnTo>
                      <a:pt x="76" y="222"/>
                    </a:lnTo>
                    <a:lnTo>
                      <a:pt x="75" y="220"/>
                    </a:lnTo>
                    <a:lnTo>
                      <a:pt x="76" y="222"/>
                    </a:lnTo>
                    <a:lnTo>
                      <a:pt x="76" y="220"/>
                    </a:lnTo>
                    <a:lnTo>
                      <a:pt x="78" y="222"/>
                    </a:lnTo>
                    <a:lnTo>
                      <a:pt x="84" y="220"/>
                    </a:lnTo>
                    <a:lnTo>
                      <a:pt x="84" y="222"/>
                    </a:lnTo>
                    <a:lnTo>
                      <a:pt x="84" y="220"/>
                    </a:lnTo>
                    <a:lnTo>
                      <a:pt x="88" y="223"/>
                    </a:lnTo>
                    <a:lnTo>
                      <a:pt x="88" y="222"/>
                    </a:lnTo>
                    <a:lnTo>
                      <a:pt x="86" y="222"/>
                    </a:lnTo>
                    <a:lnTo>
                      <a:pt x="86" y="220"/>
                    </a:lnTo>
                    <a:lnTo>
                      <a:pt x="88" y="218"/>
                    </a:lnTo>
                    <a:lnTo>
                      <a:pt x="90" y="222"/>
                    </a:lnTo>
                    <a:lnTo>
                      <a:pt x="92" y="222"/>
                    </a:lnTo>
                    <a:lnTo>
                      <a:pt x="94" y="222"/>
                    </a:lnTo>
                    <a:lnTo>
                      <a:pt x="94" y="220"/>
                    </a:lnTo>
                    <a:lnTo>
                      <a:pt x="92" y="220"/>
                    </a:lnTo>
                    <a:lnTo>
                      <a:pt x="92" y="222"/>
                    </a:lnTo>
                    <a:lnTo>
                      <a:pt x="90" y="220"/>
                    </a:lnTo>
                    <a:lnTo>
                      <a:pt x="88" y="216"/>
                    </a:lnTo>
                    <a:lnTo>
                      <a:pt x="88" y="214"/>
                    </a:lnTo>
                    <a:lnTo>
                      <a:pt x="88" y="212"/>
                    </a:lnTo>
                    <a:lnTo>
                      <a:pt x="90" y="210"/>
                    </a:lnTo>
                    <a:lnTo>
                      <a:pt x="88" y="210"/>
                    </a:lnTo>
                    <a:lnTo>
                      <a:pt x="88" y="208"/>
                    </a:lnTo>
                    <a:lnTo>
                      <a:pt x="88" y="204"/>
                    </a:lnTo>
                    <a:lnTo>
                      <a:pt x="90" y="206"/>
                    </a:lnTo>
                    <a:lnTo>
                      <a:pt x="90" y="204"/>
                    </a:lnTo>
                    <a:lnTo>
                      <a:pt x="92" y="202"/>
                    </a:lnTo>
                    <a:lnTo>
                      <a:pt x="90" y="202"/>
                    </a:lnTo>
                    <a:lnTo>
                      <a:pt x="92" y="199"/>
                    </a:lnTo>
                    <a:lnTo>
                      <a:pt x="92" y="197"/>
                    </a:lnTo>
                    <a:lnTo>
                      <a:pt x="90" y="197"/>
                    </a:lnTo>
                    <a:lnTo>
                      <a:pt x="90" y="199"/>
                    </a:lnTo>
                    <a:lnTo>
                      <a:pt x="88" y="199"/>
                    </a:lnTo>
                    <a:lnTo>
                      <a:pt x="90" y="199"/>
                    </a:lnTo>
                    <a:lnTo>
                      <a:pt x="88" y="197"/>
                    </a:lnTo>
                    <a:lnTo>
                      <a:pt x="88" y="199"/>
                    </a:lnTo>
                    <a:lnTo>
                      <a:pt x="86" y="201"/>
                    </a:lnTo>
                    <a:lnTo>
                      <a:pt x="84" y="199"/>
                    </a:lnTo>
                    <a:lnTo>
                      <a:pt x="86" y="199"/>
                    </a:lnTo>
                    <a:lnTo>
                      <a:pt x="84" y="199"/>
                    </a:lnTo>
                    <a:lnTo>
                      <a:pt x="86" y="197"/>
                    </a:lnTo>
                    <a:lnTo>
                      <a:pt x="86" y="195"/>
                    </a:lnTo>
                    <a:lnTo>
                      <a:pt x="86" y="197"/>
                    </a:lnTo>
                    <a:lnTo>
                      <a:pt x="84" y="197"/>
                    </a:lnTo>
                    <a:lnTo>
                      <a:pt x="82" y="195"/>
                    </a:lnTo>
                    <a:lnTo>
                      <a:pt x="82" y="193"/>
                    </a:lnTo>
                    <a:lnTo>
                      <a:pt x="78" y="189"/>
                    </a:lnTo>
                    <a:lnTo>
                      <a:pt x="80" y="187"/>
                    </a:lnTo>
                    <a:lnTo>
                      <a:pt x="80" y="185"/>
                    </a:lnTo>
                    <a:lnTo>
                      <a:pt x="80" y="183"/>
                    </a:lnTo>
                    <a:lnTo>
                      <a:pt x="82" y="181"/>
                    </a:lnTo>
                    <a:lnTo>
                      <a:pt x="82" y="180"/>
                    </a:lnTo>
                    <a:lnTo>
                      <a:pt x="84" y="178"/>
                    </a:lnTo>
                    <a:lnTo>
                      <a:pt x="86" y="176"/>
                    </a:lnTo>
                    <a:lnTo>
                      <a:pt x="86" y="178"/>
                    </a:lnTo>
                    <a:lnTo>
                      <a:pt x="88" y="176"/>
                    </a:lnTo>
                    <a:lnTo>
                      <a:pt x="86" y="176"/>
                    </a:lnTo>
                    <a:lnTo>
                      <a:pt x="84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80" y="178"/>
                    </a:lnTo>
                    <a:lnTo>
                      <a:pt x="78" y="178"/>
                    </a:lnTo>
                    <a:lnTo>
                      <a:pt x="76" y="180"/>
                    </a:lnTo>
                    <a:lnTo>
                      <a:pt x="76" y="178"/>
                    </a:lnTo>
                    <a:lnTo>
                      <a:pt x="76" y="180"/>
                    </a:lnTo>
                    <a:lnTo>
                      <a:pt x="75" y="180"/>
                    </a:lnTo>
                    <a:lnTo>
                      <a:pt x="76" y="180"/>
                    </a:lnTo>
                    <a:lnTo>
                      <a:pt x="75" y="180"/>
                    </a:lnTo>
                    <a:lnTo>
                      <a:pt x="76" y="180"/>
                    </a:lnTo>
                    <a:lnTo>
                      <a:pt x="73" y="181"/>
                    </a:lnTo>
                    <a:lnTo>
                      <a:pt x="73" y="180"/>
                    </a:lnTo>
                    <a:lnTo>
                      <a:pt x="71" y="180"/>
                    </a:lnTo>
                    <a:lnTo>
                      <a:pt x="71" y="181"/>
                    </a:lnTo>
                    <a:lnTo>
                      <a:pt x="69" y="180"/>
                    </a:lnTo>
                    <a:lnTo>
                      <a:pt x="67" y="180"/>
                    </a:lnTo>
                    <a:lnTo>
                      <a:pt x="67" y="178"/>
                    </a:lnTo>
                    <a:lnTo>
                      <a:pt x="67" y="180"/>
                    </a:lnTo>
                    <a:lnTo>
                      <a:pt x="67" y="181"/>
                    </a:lnTo>
                    <a:lnTo>
                      <a:pt x="67" y="183"/>
                    </a:lnTo>
                    <a:lnTo>
                      <a:pt x="65" y="183"/>
                    </a:lnTo>
                    <a:lnTo>
                      <a:pt x="63" y="181"/>
                    </a:lnTo>
                    <a:lnTo>
                      <a:pt x="59" y="180"/>
                    </a:lnTo>
                    <a:lnTo>
                      <a:pt x="57" y="180"/>
                    </a:lnTo>
                    <a:lnTo>
                      <a:pt x="59" y="183"/>
                    </a:lnTo>
                    <a:lnTo>
                      <a:pt x="59" y="185"/>
                    </a:lnTo>
                    <a:lnTo>
                      <a:pt x="57" y="185"/>
                    </a:lnTo>
                    <a:lnTo>
                      <a:pt x="57" y="183"/>
                    </a:lnTo>
                    <a:lnTo>
                      <a:pt x="57" y="181"/>
                    </a:lnTo>
                    <a:lnTo>
                      <a:pt x="55" y="180"/>
                    </a:lnTo>
                    <a:lnTo>
                      <a:pt x="54" y="178"/>
                    </a:lnTo>
                    <a:lnTo>
                      <a:pt x="54" y="176"/>
                    </a:lnTo>
                    <a:lnTo>
                      <a:pt x="55" y="174"/>
                    </a:lnTo>
                    <a:lnTo>
                      <a:pt x="55" y="176"/>
                    </a:lnTo>
                    <a:lnTo>
                      <a:pt x="55" y="178"/>
                    </a:lnTo>
                    <a:lnTo>
                      <a:pt x="57" y="178"/>
                    </a:lnTo>
                    <a:lnTo>
                      <a:pt x="55" y="174"/>
                    </a:lnTo>
                    <a:lnTo>
                      <a:pt x="57" y="172"/>
                    </a:lnTo>
                    <a:lnTo>
                      <a:pt x="59" y="168"/>
                    </a:lnTo>
                    <a:lnTo>
                      <a:pt x="59" y="166"/>
                    </a:lnTo>
                    <a:lnTo>
                      <a:pt x="61" y="164"/>
                    </a:lnTo>
                    <a:lnTo>
                      <a:pt x="63" y="162"/>
                    </a:lnTo>
                    <a:lnTo>
                      <a:pt x="63" y="160"/>
                    </a:lnTo>
                    <a:lnTo>
                      <a:pt x="61" y="160"/>
                    </a:lnTo>
                    <a:lnTo>
                      <a:pt x="63" y="160"/>
                    </a:lnTo>
                    <a:lnTo>
                      <a:pt x="61" y="159"/>
                    </a:lnTo>
                    <a:lnTo>
                      <a:pt x="59" y="157"/>
                    </a:lnTo>
                    <a:lnTo>
                      <a:pt x="59" y="155"/>
                    </a:lnTo>
                    <a:lnTo>
                      <a:pt x="59" y="153"/>
                    </a:lnTo>
                    <a:lnTo>
                      <a:pt x="59" y="151"/>
                    </a:lnTo>
                    <a:lnTo>
                      <a:pt x="59" y="149"/>
                    </a:lnTo>
                    <a:lnTo>
                      <a:pt x="61" y="147"/>
                    </a:lnTo>
                    <a:lnTo>
                      <a:pt x="63" y="149"/>
                    </a:lnTo>
                    <a:lnTo>
                      <a:pt x="65" y="149"/>
                    </a:lnTo>
                    <a:lnTo>
                      <a:pt x="61" y="147"/>
                    </a:lnTo>
                    <a:lnTo>
                      <a:pt x="59" y="145"/>
                    </a:lnTo>
                    <a:lnTo>
                      <a:pt x="61" y="147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61" y="141"/>
                    </a:lnTo>
                    <a:lnTo>
                      <a:pt x="59" y="143"/>
                    </a:lnTo>
                    <a:lnTo>
                      <a:pt x="59" y="141"/>
                    </a:lnTo>
                    <a:lnTo>
                      <a:pt x="57" y="141"/>
                    </a:lnTo>
                    <a:lnTo>
                      <a:pt x="59" y="143"/>
                    </a:lnTo>
                    <a:lnTo>
                      <a:pt x="59" y="145"/>
                    </a:lnTo>
                    <a:lnTo>
                      <a:pt x="59" y="147"/>
                    </a:lnTo>
                    <a:lnTo>
                      <a:pt x="57" y="147"/>
                    </a:lnTo>
                    <a:lnTo>
                      <a:pt x="59" y="147"/>
                    </a:lnTo>
                    <a:lnTo>
                      <a:pt x="57" y="151"/>
                    </a:lnTo>
                    <a:lnTo>
                      <a:pt x="55" y="151"/>
                    </a:lnTo>
                    <a:lnTo>
                      <a:pt x="55" y="149"/>
                    </a:lnTo>
                    <a:lnTo>
                      <a:pt x="55" y="147"/>
                    </a:lnTo>
                    <a:lnTo>
                      <a:pt x="55" y="149"/>
                    </a:lnTo>
                    <a:lnTo>
                      <a:pt x="54" y="149"/>
                    </a:lnTo>
                    <a:lnTo>
                      <a:pt x="54" y="147"/>
                    </a:lnTo>
                    <a:lnTo>
                      <a:pt x="54" y="149"/>
                    </a:lnTo>
                    <a:lnTo>
                      <a:pt x="54" y="151"/>
                    </a:lnTo>
                    <a:lnTo>
                      <a:pt x="52" y="151"/>
                    </a:lnTo>
                    <a:lnTo>
                      <a:pt x="52" y="149"/>
                    </a:lnTo>
                    <a:lnTo>
                      <a:pt x="52" y="147"/>
                    </a:lnTo>
                    <a:lnTo>
                      <a:pt x="54" y="143"/>
                    </a:lnTo>
                    <a:lnTo>
                      <a:pt x="55" y="143"/>
                    </a:lnTo>
                    <a:lnTo>
                      <a:pt x="55" y="141"/>
                    </a:lnTo>
                    <a:lnTo>
                      <a:pt x="57" y="140"/>
                    </a:lnTo>
                    <a:lnTo>
                      <a:pt x="55" y="140"/>
                    </a:lnTo>
                    <a:lnTo>
                      <a:pt x="55" y="141"/>
                    </a:lnTo>
                    <a:lnTo>
                      <a:pt x="54" y="143"/>
                    </a:lnTo>
                    <a:lnTo>
                      <a:pt x="52" y="145"/>
                    </a:lnTo>
                    <a:lnTo>
                      <a:pt x="52" y="147"/>
                    </a:lnTo>
                    <a:lnTo>
                      <a:pt x="50" y="147"/>
                    </a:lnTo>
                    <a:lnTo>
                      <a:pt x="50" y="145"/>
                    </a:lnTo>
                    <a:lnTo>
                      <a:pt x="50" y="147"/>
                    </a:lnTo>
                    <a:lnTo>
                      <a:pt x="52" y="151"/>
                    </a:lnTo>
                    <a:lnTo>
                      <a:pt x="50" y="151"/>
                    </a:lnTo>
                    <a:lnTo>
                      <a:pt x="52" y="151"/>
                    </a:lnTo>
                    <a:lnTo>
                      <a:pt x="52" y="153"/>
                    </a:lnTo>
                    <a:lnTo>
                      <a:pt x="52" y="155"/>
                    </a:lnTo>
                    <a:lnTo>
                      <a:pt x="50" y="155"/>
                    </a:lnTo>
                    <a:lnTo>
                      <a:pt x="50" y="157"/>
                    </a:lnTo>
                    <a:lnTo>
                      <a:pt x="50" y="159"/>
                    </a:lnTo>
                    <a:lnTo>
                      <a:pt x="50" y="160"/>
                    </a:lnTo>
                    <a:lnTo>
                      <a:pt x="48" y="162"/>
                    </a:lnTo>
                    <a:lnTo>
                      <a:pt x="48" y="164"/>
                    </a:lnTo>
                    <a:lnTo>
                      <a:pt x="48" y="166"/>
                    </a:lnTo>
                    <a:lnTo>
                      <a:pt x="46" y="166"/>
                    </a:lnTo>
                    <a:lnTo>
                      <a:pt x="44" y="166"/>
                    </a:lnTo>
                    <a:lnTo>
                      <a:pt x="44" y="164"/>
                    </a:lnTo>
                    <a:lnTo>
                      <a:pt x="46" y="162"/>
                    </a:lnTo>
                    <a:lnTo>
                      <a:pt x="46" y="159"/>
                    </a:lnTo>
                    <a:lnTo>
                      <a:pt x="46" y="157"/>
                    </a:lnTo>
                    <a:lnTo>
                      <a:pt x="48" y="155"/>
                    </a:lnTo>
                    <a:lnTo>
                      <a:pt x="48" y="153"/>
                    </a:lnTo>
                    <a:lnTo>
                      <a:pt x="50" y="153"/>
                    </a:lnTo>
                    <a:lnTo>
                      <a:pt x="50" y="151"/>
                    </a:lnTo>
                    <a:lnTo>
                      <a:pt x="48" y="153"/>
                    </a:lnTo>
                    <a:lnTo>
                      <a:pt x="46" y="153"/>
                    </a:lnTo>
                    <a:lnTo>
                      <a:pt x="46" y="151"/>
                    </a:lnTo>
                    <a:lnTo>
                      <a:pt x="48" y="149"/>
                    </a:lnTo>
                    <a:lnTo>
                      <a:pt x="46" y="151"/>
                    </a:lnTo>
                    <a:lnTo>
                      <a:pt x="46" y="149"/>
                    </a:lnTo>
                    <a:lnTo>
                      <a:pt x="48" y="147"/>
                    </a:lnTo>
                    <a:lnTo>
                      <a:pt x="48" y="145"/>
                    </a:lnTo>
                    <a:lnTo>
                      <a:pt x="48" y="147"/>
                    </a:lnTo>
                    <a:lnTo>
                      <a:pt x="48" y="145"/>
                    </a:lnTo>
                    <a:lnTo>
                      <a:pt x="48" y="147"/>
                    </a:lnTo>
                    <a:lnTo>
                      <a:pt x="48" y="145"/>
                    </a:lnTo>
                    <a:lnTo>
                      <a:pt x="48" y="147"/>
                    </a:lnTo>
                    <a:lnTo>
                      <a:pt x="46" y="147"/>
                    </a:lnTo>
                    <a:lnTo>
                      <a:pt x="46" y="149"/>
                    </a:lnTo>
                    <a:lnTo>
                      <a:pt x="46" y="147"/>
                    </a:lnTo>
                    <a:lnTo>
                      <a:pt x="46" y="149"/>
                    </a:lnTo>
                    <a:lnTo>
                      <a:pt x="48" y="145"/>
                    </a:lnTo>
                    <a:lnTo>
                      <a:pt x="50" y="145"/>
                    </a:lnTo>
                    <a:lnTo>
                      <a:pt x="48" y="145"/>
                    </a:lnTo>
                    <a:lnTo>
                      <a:pt x="48" y="143"/>
                    </a:lnTo>
                    <a:lnTo>
                      <a:pt x="50" y="141"/>
                    </a:lnTo>
                    <a:lnTo>
                      <a:pt x="48" y="141"/>
                    </a:lnTo>
                    <a:lnTo>
                      <a:pt x="48" y="143"/>
                    </a:lnTo>
                    <a:lnTo>
                      <a:pt x="48" y="141"/>
                    </a:lnTo>
                    <a:lnTo>
                      <a:pt x="48" y="140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8" y="138"/>
                    </a:lnTo>
                    <a:lnTo>
                      <a:pt x="50" y="136"/>
                    </a:lnTo>
                    <a:lnTo>
                      <a:pt x="48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52" y="134"/>
                    </a:lnTo>
                    <a:lnTo>
                      <a:pt x="50" y="132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2" y="132"/>
                    </a:lnTo>
                    <a:lnTo>
                      <a:pt x="50" y="132"/>
                    </a:lnTo>
                    <a:lnTo>
                      <a:pt x="52" y="130"/>
                    </a:lnTo>
                    <a:lnTo>
                      <a:pt x="52" y="128"/>
                    </a:lnTo>
                    <a:lnTo>
                      <a:pt x="54" y="128"/>
                    </a:lnTo>
                    <a:lnTo>
                      <a:pt x="55" y="128"/>
                    </a:lnTo>
                    <a:lnTo>
                      <a:pt x="57" y="126"/>
                    </a:lnTo>
                    <a:lnTo>
                      <a:pt x="54" y="128"/>
                    </a:lnTo>
                    <a:lnTo>
                      <a:pt x="54" y="126"/>
                    </a:lnTo>
                    <a:lnTo>
                      <a:pt x="55" y="122"/>
                    </a:lnTo>
                    <a:lnTo>
                      <a:pt x="54" y="122"/>
                    </a:lnTo>
                    <a:lnTo>
                      <a:pt x="52" y="122"/>
                    </a:lnTo>
                    <a:lnTo>
                      <a:pt x="54" y="122"/>
                    </a:lnTo>
                    <a:lnTo>
                      <a:pt x="55" y="122"/>
                    </a:lnTo>
                    <a:lnTo>
                      <a:pt x="55" y="124"/>
                    </a:lnTo>
                    <a:lnTo>
                      <a:pt x="54" y="124"/>
                    </a:lnTo>
                    <a:lnTo>
                      <a:pt x="54" y="126"/>
                    </a:lnTo>
                    <a:lnTo>
                      <a:pt x="52" y="126"/>
                    </a:lnTo>
                    <a:lnTo>
                      <a:pt x="50" y="130"/>
                    </a:lnTo>
                    <a:lnTo>
                      <a:pt x="48" y="130"/>
                    </a:lnTo>
                    <a:lnTo>
                      <a:pt x="50" y="130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6" y="130"/>
                    </a:lnTo>
                    <a:lnTo>
                      <a:pt x="44" y="132"/>
                    </a:lnTo>
                    <a:lnTo>
                      <a:pt x="42" y="132"/>
                    </a:lnTo>
                    <a:lnTo>
                      <a:pt x="40" y="130"/>
                    </a:lnTo>
                    <a:lnTo>
                      <a:pt x="40" y="128"/>
                    </a:lnTo>
                    <a:lnTo>
                      <a:pt x="42" y="128"/>
                    </a:lnTo>
                    <a:lnTo>
                      <a:pt x="44" y="130"/>
                    </a:lnTo>
                    <a:lnTo>
                      <a:pt x="42" y="128"/>
                    </a:lnTo>
                    <a:lnTo>
                      <a:pt x="46" y="126"/>
                    </a:lnTo>
                    <a:lnTo>
                      <a:pt x="46" y="128"/>
                    </a:lnTo>
                    <a:lnTo>
                      <a:pt x="48" y="128"/>
                    </a:lnTo>
                    <a:lnTo>
                      <a:pt x="46" y="128"/>
                    </a:lnTo>
                    <a:lnTo>
                      <a:pt x="46" y="126"/>
                    </a:lnTo>
                    <a:lnTo>
                      <a:pt x="44" y="126"/>
                    </a:lnTo>
                    <a:lnTo>
                      <a:pt x="44" y="128"/>
                    </a:lnTo>
                    <a:lnTo>
                      <a:pt x="42" y="128"/>
                    </a:lnTo>
                    <a:lnTo>
                      <a:pt x="40" y="126"/>
                    </a:lnTo>
                    <a:lnTo>
                      <a:pt x="38" y="128"/>
                    </a:lnTo>
                    <a:lnTo>
                      <a:pt x="38" y="126"/>
                    </a:lnTo>
                    <a:lnTo>
                      <a:pt x="38" y="124"/>
                    </a:lnTo>
                    <a:lnTo>
                      <a:pt x="40" y="124"/>
                    </a:lnTo>
                    <a:lnTo>
                      <a:pt x="42" y="124"/>
                    </a:lnTo>
                    <a:lnTo>
                      <a:pt x="42" y="126"/>
                    </a:lnTo>
                    <a:lnTo>
                      <a:pt x="42" y="124"/>
                    </a:lnTo>
                    <a:lnTo>
                      <a:pt x="44" y="126"/>
                    </a:lnTo>
                    <a:lnTo>
                      <a:pt x="44" y="124"/>
                    </a:lnTo>
                    <a:lnTo>
                      <a:pt x="42" y="124"/>
                    </a:lnTo>
                    <a:lnTo>
                      <a:pt x="44" y="124"/>
                    </a:lnTo>
                    <a:lnTo>
                      <a:pt x="46" y="124"/>
                    </a:lnTo>
                    <a:lnTo>
                      <a:pt x="44" y="124"/>
                    </a:lnTo>
                    <a:lnTo>
                      <a:pt x="44" y="122"/>
                    </a:lnTo>
                    <a:lnTo>
                      <a:pt x="46" y="122"/>
                    </a:lnTo>
                    <a:lnTo>
                      <a:pt x="44" y="122"/>
                    </a:lnTo>
                    <a:lnTo>
                      <a:pt x="46" y="122"/>
                    </a:lnTo>
                    <a:lnTo>
                      <a:pt x="46" y="120"/>
                    </a:lnTo>
                    <a:lnTo>
                      <a:pt x="44" y="122"/>
                    </a:lnTo>
                    <a:lnTo>
                      <a:pt x="42" y="122"/>
                    </a:lnTo>
                    <a:lnTo>
                      <a:pt x="42" y="120"/>
                    </a:lnTo>
                    <a:lnTo>
                      <a:pt x="44" y="120"/>
                    </a:lnTo>
                    <a:lnTo>
                      <a:pt x="42" y="120"/>
                    </a:lnTo>
                    <a:lnTo>
                      <a:pt x="44" y="120"/>
                    </a:lnTo>
                    <a:lnTo>
                      <a:pt x="44" y="119"/>
                    </a:lnTo>
                    <a:lnTo>
                      <a:pt x="46" y="119"/>
                    </a:lnTo>
                    <a:lnTo>
                      <a:pt x="48" y="119"/>
                    </a:lnTo>
                    <a:lnTo>
                      <a:pt x="50" y="119"/>
                    </a:lnTo>
                    <a:lnTo>
                      <a:pt x="48" y="119"/>
                    </a:lnTo>
                    <a:lnTo>
                      <a:pt x="46" y="119"/>
                    </a:lnTo>
                    <a:lnTo>
                      <a:pt x="46" y="117"/>
                    </a:lnTo>
                    <a:lnTo>
                      <a:pt x="44" y="117"/>
                    </a:lnTo>
                    <a:lnTo>
                      <a:pt x="46" y="115"/>
                    </a:lnTo>
                    <a:lnTo>
                      <a:pt x="48" y="115"/>
                    </a:lnTo>
                    <a:lnTo>
                      <a:pt x="48" y="117"/>
                    </a:lnTo>
                    <a:lnTo>
                      <a:pt x="50" y="115"/>
                    </a:lnTo>
                    <a:lnTo>
                      <a:pt x="52" y="115"/>
                    </a:lnTo>
                    <a:lnTo>
                      <a:pt x="50" y="115"/>
                    </a:lnTo>
                    <a:lnTo>
                      <a:pt x="48" y="115"/>
                    </a:lnTo>
                    <a:lnTo>
                      <a:pt x="46" y="115"/>
                    </a:lnTo>
                    <a:lnTo>
                      <a:pt x="46" y="113"/>
                    </a:lnTo>
                    <a:lnTo>
                      <a:pt x="48" y="113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50" y="113"/>
                    </a:lnTo>
                    <a:lnTo>
                      <a:pt x="52" y="111"/>
                    </a:lnTo>
                    <a:lnTo>
                      <a:pt x="50" y="111"/>
                    </a:lnTo>
                    <a:lnTo>
                      <a:pt x="48" y="111"/>
                    </a:lnTo>
                    <a:lnTo>
                      <a:pt x="50" y="109"/>
                    </a:lnTo>
                    <a:lnTo>
                      <a:pt x="48" y="111"/>
                    </a:lnTo>
                    <a:lnTo>
                      <a:pt x="46" y="109"/>
                    </a:lnTo>
                    <a:lnTo>
                      <a:pt x="46" y="107"/>
                    </a:lnTo>
                    <a:lnTo>
                      <a:pt x="46" y="109"/>
                    </a:lnTo>
                    <a:lnTo>
                      <a:pt x="48" y="107"/>
                    </a:lnTo>
                    <a:lnTo>
                      <a:pt x="50" y="107"/>
                    </a:lnTo>
                    <a:lnTo>
                      <a:pt x="50" y="105"/>
                    </a:lnTo>
                    <a:lnTo>
                      <a:pt x="48" y="107"/>
                    </a:lnTo>
                    <a:lnTo>
                      <a:pt x="46" y="107"/>
                    </a:lnTo>
                    <a:lnTo>
                      <a:pt x="48" y="107"/>
                    </a:lnTo>
                    <a:lnTo>
                      <a:pt x="48" y="105"/>
                    </a:lnTo>
                    <a:lnTo>
                      <a:pt x="46" y="107"/>
                    </a:lnTo>
                    <a:lnTo>
                      <a:pt x="44" y="107"/>
                    </a:lnTo>
                    <a:lnTo>
                      <a:pt x="44" y="105"/>
                    </a:lnTo>
                    <a:lnTo>
                      <a:pt x="44" y="103"/>
                    </a:lnTo>
                    <a:lnTo>
                      <a:pt x="44" y="101"/>
                    </a:lnTo>
                    <a:lnTo>
                      <a:pt x="46" y="101"/>
                    </a:lnTo>
                    <a:lnTo>
                      <a:pt x="46" y="103"/>
                    </a:lnTo>
                    <a:lnTo>
                      <a:pt x="46" y="101"/>
                    </a:lnTo>
                    <a:lnTo>
                      <a:pt x="48" y="103"/>
                    </a:lnTo>
                    <a:lnTo>
                      <a:pt x="50" y="101"/>
                    </a:lnTo>
                    <a:lnTo>
                      <a:pt x="48" y="101"/>
                    </a:lnTo>
                    <a:lnTo>
                      <a:pt x="46" y="101"/>
                    </a:lnTo>
                    <a:lnTo>
                      <a:pt x="44" y="99"/>
                    </a:lnTo>
                    <a:lnTo>
                      <a:pt x="44" y="98"/>
                    </a:lnTo>
                    <a:lnTo>
                      <a:pt x="46" y="98"/>
                    </a:lnTo>
                    <a:lnTo>
                      <a:pt x="44" y="96"/>
                    </a:lnTo>
                    <a:lnTo>
                      <a:pt x="44" y="94"/>
                    </a:lnTo>
                    <a:lnTo>
                      <a:pt x="44" y="92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8" y="96"/>
                    </a:lnTo>
                    <a:lnTo>
                      <a:pt x="48" y="94"/>
                    </a:lnTo>
                    <a:lnTo>
                      <a:pt x="46" y="94"/>
                    </a:lnTo>
                    <a:lnTo>
                      <a:pt x="46" y="92"/>
                    </a:lnTo>
                    <a:lnTo>
                      <a:pt x="48" y="90"/>
                    </a:lnTo>
                    <a:lnTo>
                      <a:pt x="48" y="92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4" y="94"/>
                    </a:lnTo>
                    <a:lnTo>
                      <a:pt x="54" y="92"/>
                    </a:lnTo>
                    <a:lnTo>
                      <a:pt x="52" y="92"/>
                    </a:lnTo>
                    <a:lnTo>
                      <a:pt x="50" y="90"/>
                    </a:lnTo>
                    <a:lnTo>
                      <a:pt x="52" y="90"/>
                    </a:lnTo>
                    <a:lnTo>
                      <a:pt x="52" y="92"/>
                    </a:lnTo>
                    <a:lnTo>
                      <a:pt x="54" y="92"/>
                    </a:lnTo>
                    <a:lnTo>
                      <a:pt x="55" y="92"/>
                    </a:lnTo>
                    <a:lnTo>
                      <a:pt x="55" y="94"/>
                    </a:lnTo>
                    <a:lnTo>
                      <a:pt x="55" y="92"/>
                    </a:lnTo>
                    <a:lnTo>
                      <a:pt x="54" y="90"/>
                    </a:lnTo>
                    <a:lnTo>
                      <a:pt x="52" y="90"/>
                    </a:lnTo>
                    <a:lnTo>
                      <a:pt x="52" y="88"/>
                    </a:lnTo>
                    <a:lnTo>
                      <a:pt x="50" y="88"/>
                    </a:lnTo>
                    <a:lnTo>
                      <a:pt x="50" y="86"/>
                    </a:lnTo>
                    <a:lnTo>
                      <a:pt x="52" y="86"/>
                    </a:lnTo>
                    <a:lnTo>
                      <a:pt x="54" y="86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2" y="84"/>
                    </a:lnTo>
                    <a:lnTo>
                      <a:pt x="50" y="82"/>
                    </a:lnTo>
                    <a:lnTo>
                      <a:pt x="52" y="80"/>
                    </a:lnTo>
                    <a:lnTo>
                      <a:pt x="52" y="82"/>
                    </a:lnTo>
                    <a:lnTo>
                      <a:pt x="54" y="80"/>
                    </a:lnTo>
                    <a:lnTo>
                      <a:pt x="54" y="82"/>
                    </a:lnTo>
                    <a:lnTo>
                      <a:pt x="54" y="80"/>
                    </a:lnTo>
                    <a:lnTo>
                      <a:pt x="55" y="80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7" y="80"/>
                    </a:lnTo>
                    <a:lnTo>
                      <a:pt x="55" y="80"/>
                    </a:lnTo>
                    <a:lnTo>
                      <a:pt x="57" y="80"/>
                    </a:lnTo>
                    <a:lnTo>
                      <a:pt x="55" y="80"/>
                    </a:lnTo>
                    <a:lnTo>
                      <a:pt x="55" y="78"/>
                    </a:lnTo>
                    <a:lnTo>
                      <a:pt x="54" y="78"/>
                    </a:lnTo>
                    <a:lnTo>
                      <a:pt x="55" y="78"/>
                    </a:lnTo>
                    <a:lnTo>
                      <a:pt x="54" y="78"/>
                    </a:lnTo>
                    <a:lnTo>
                      <a:pt x="55" y="77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7" y="77"/>
                    </a:lnTo>
                    <a:lnTo>
                      <a:pt x="55" y="77"/>
                    </a:lnTo>
                    <a:lnTo>
                      <a:pt x="55" y="75"/>
                    </a:lnTo>
                    <a:lnTo>
                      <a:pt x="57" y="75"/>
                    </a:lnTo>
                    <a:lnTo>
                      <a:pt x="57" y="77"/>
                    </a:lnTo>
                    <a:lnTo>
                      <a:pt x="57" y="75"/>
                    </a:lnTo>
                    <a:lnTo>
                      <a:pt x="55" y="75"/>
                    </a:lnTo>
                    <a:lnTo>
                      <a:pt x="55" y="73"/>
                    </a:lnTo>
                    <a:lnTo>
                      <a:pt x="57" y="71"/>
                    </a:lnTo>
                    <a:lnTo>
                      <a:pt x="57" y="69"/>
                    </a:lnTo>
                    <a:lnTo>
                      <a:pt x="57" y="71"/>
                    </a:lnTo>
                    <a:lnTo>
                      <a:pt x="59" y="71"/>
                    </a:lnTo>
                    <a:lnTo>
                      <a:pt x="61" y="73"/>
                    </a:lnTo>
                    <a:lnTo>
                      <a:pt x="59" y="73"/>
                    </a:lnTo>
                    <a:lnTo>
                      <a:pt x="61" y="73"/>
                    </a:lnTo>
                    <a:lnTo>
                      <a:pt x="59" y="71"/>
                    </a:lnTo>
                    <a:lnTo>
                      <a:pt x="61" y="71"/>
                    </a:lnTo>
                    <a:lnTo>
                      <a:pt x="63" y="73"/>
                    </a:lnTo>
                    <a:lnTo>
                      <a:pt x="61" y="75"/>
                    </a:lnTo>
                    <a:lnTo>
                      <a:pt x="63" y="75"/>
                    </a:lnTo>
                    <a:lnTo>
                      <a:pt x="63" y="73"/>
                    </a:lnTo>
                    <a:lnTo>
                      <a:pt x="63" y="71"/>
                    </a:lnTo>
                    <a:lnTo>
                      <a:pt x="65" y="71"/>
                    </a:lnTo>
                    <a:lnTo>
                      <a:pt x="65" y="73"/>
                    </a:lnTo>
                    <a:lnTo>
                      <a:pt x="65" y="71"/>
                    </a:lnTo>
                    <a:lnTo>
                      <a:pt x="67" y="73"/>
                    </a:lnTo>
                    <a:lnTo>
                      <a:pt x="65" y="73"/>
                    </a:lnTo>
                    <a:lnTo>
                      <a:pt x="65" y="75"/>
                    </a:lnTo>
                    <a:lnTo>
                      <a:pt x="67" y="75"/>
                    </a:lnTo>
                    <a:lnTo>
                      <a:pt x="67" y="73"/>
                    </a:lnTo>
                    <a:lnTo>
                      <a:pt x="69" y="73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3" y="73"/>
                    </a:lnTo>
                    <a:lnTo>
                      <a:pt x="73" y="71"/>
                    </a:lnTo>
                    <a:lnTo>
                      <a:pt x="75" y="71"/>
                    </a:lnTo>
                    <a:lnTo>
                      <a:pt x="75" y="73"/>
                    </a:lnTo>
                    <a:lnTo>
                      <a:pt x="75" y="71"/>
                    </a:lnTo>
                    <a:lnTo>
                      <a:pt x="76" y="71"/>
                    </a:lnTo>
                    <a:lnTo>
                      <a:pt x="78" y="69"/>
                    </a:lnTo>
                    <a:lnTo>
                      <a:pt x="80" y="69"/>
                    </a:lnTo>
                    <a:lnTo>
                      <a:pt x="80" y="71"/>
                    </a:lnTo>
                    <a:lnTo>
                      <a:pt x="82" y="71"/>
                    </a:lnTo>
                    <a:lnTo>
                      <a:pt x="84" y="69"/>
                    </a:lnTo>
                    <a:lnTo>
                      <a:pt x="82" y="69"/>
                    </a:lnTo>
                    <a:close/>
                    <a:moveTo>
                      <a:pt x="36" y="201"/>
                    </a:moveTo>
                    <a:lnTo>
                      <a:pt x="36" y="199"/>
                    </a:lnTo>
                    <a:lnTo>
                      <a:pt x="36" y="201"/>
                    </a:lnTo>
                    <a:lnTo>
                      <a:pt x="34" y="199"/>
                    </a:lnTo>
                    <a:lnTo>
                      <a:pt x="34" y="201"/>
                    </a:lnTo>
                    <a:lnTo>
                      <a:pt x="33" y="201"/>
                    </a:lnTo>
                    <a:lnTo>
                      <a:pt x="34" y="201"/>
                    </a:lnTo>
                    <a:lnTo>
                      <a:pt x="33" y="201"/>
                    </a:lnTo>
                    <a:lnTo>
                      <a:pt x="31" y="201"/>
                    </a:lnTo>
                    <a:lnTo>
                      <a:pt x="31" y="199"/>
                    </a:lnTo>
                    <a:lnTo>
                      <a:pt x="31" y="197"/>
                    </a:lnTo>
                    <a:lnTo>
                      <a:pt x="29" y="197"/>
                    </a:lnTo>
                    <a:lnTo>
                      <a:pt x="29" y="195"/>
                    </a:lnTo>
                    <a:lnTo>
                      <a:pt x="27" y="195"/>
                    </a:lnTo>
                    <a:lnTo>
                      <a:pt x="27" y="193"/>
                    </a:lnTo>
                    <a:lnTo>
                      <a:pt x="25" y="191"/>
                    </a:lnTo>
                    <a:lnTo>
                      <a:pt x="23" y="193"/>
                    </a:lnTo>
                    <a:lnTo>
                      <a:pt x="23" y="195"/>
                    </a:lnTo>
                    <a:lnTo>
                      <a:pt x="21" y="195"/>
                    </a:lnTo>
                    <a:lnTo>
                      <a:pt x="23" y="195"/>
                    </a:lnTo>
                    <a:lnTo>
                      <a:pt x="23" y="197"/>
                    </a:lnTo>
                    <a:lnTo>
                      <a:pt x="21" y="197"/>
                    </a:lnTo>
                    <a:lnTo>
                      <a:pt x="21" y="199"/>
                    </a:lnTo>
                    <a:lnTo>
                      <a:pt x="19" y="199"/>
                    </a:lnTo>
                    <a:lnTo>
                      <a:pt x="21" y="199"/>
                    </a:lnTo>
                    <a:lnTo>
                      <a:pt x="19" y="199"/>
                    </a:lnTo>
                    <a:lnTo>
                      <a:pt x="17" y="199"/>
                    </a:lnTo>
                    <a:lnTo>
                      <a:pt x="15" y="199"/>
                    </a:lnTo>
                    <a:lnTo>
                      <a:pt x="15" y="197"/>
                    </a:lnTo>
                    <a:lnTo>
                      <a:pt x="13" y="197"/>
                    </a:lnTo>
                    <a:lnTo>
                      <a:pt x="12" y="197"/>
                    </a:lnTo>
                    <a:lnTo>
                      <a:pt x="12" y="195"/>
                    </a:lnTo>
                    <a:lnTo>
                      <a:pt x="10" y="195"/>
                    </a:lnTo>
                    <a:lnTo>
                      <a:pt x="10" y="193"/>
                    </a:lnTo>
                    <a:lnTo>
                      <a:pt x="8" y="193"/>
                    </a:lnTo>
                    <a:lnTo>
                      <a:pt x="6" y="191"/>
                    </a:lnTo>
                    <a:lnTo>
                      <a:pt x="8" y="191"/>
                    </a:lnTo>
                    <a:lnTo>
                      <a:pt x="6" y="189"/>
                    </a:lnTo>
                    <a:lnTo>
                      <a:pt x="8" y="189"/>
                    </a:lnTo>
                    <a:lnTo>
                      <a:pt x="10" y="187"/>
                    </a:lnTo>
                    <a:lnTo>
                      <a:pt x="12" y="187"/>
                    </a:lnTo>
                    <a:lnTo>
                      <a:pt x="13" y="185"/>
                    </a:lnTo>
                    <a:lnTo>
                      <a:pt x="12" y="185"/>
                    </a:lnTo>
                    <a:lnTo>
                      <a:pt x="12" y="183"/>
                    </a:lnTo>
                    <a:lnTo>
                      <a:pt x="10" y="183"/>
                    </a:lnTo>
                    <a:lnTo>
                      <a:pt x="12" y="183"/>
                    </a:lnTo>
                    <a:lnTo>
                      <a:pt x="12" y="181"/>
                    </a:lnTo>
                    <a:lnTo>
                      <a:pt x="13" y="183"/>
                    </a:lnTo>
                    <a:lnTo>
                      <a:pt x="15" y="181"/>
                    </a:lnTo>
                    <a:lnTo>
                      <a:pt x="17" y="181"/>
                    </a:lnTo>
                    <a:lnTo>
                      <a:pt x="17" y="180"/>
                    </a:lnTo>
                    <a:lnTo>
                      <a:pt x="17" y="178"/>
                    </a:lnTo>
                    <a:lnTo>
                      <a:pt x="19" y="176"/>
                    </a:lnTo>
                    <a:lnTo>
                      <a:pt x="19" y="174"/>
                    </a:lnTo>
                    <a:lnTo>
                      <a:pt x="21" y="174"/>
                    </a:lnTo>
                    <a:lnTo>
                      <a:pt x="23" y="174"/>
                    </a:lnTo>
                    <a:lnTo>
                      <a:pt x="25" y="174"/>
                    </a:lnTo>
                    <a:lnTo>
                      <a:pt x="25" y="172"/>
                    </a:lnTo>
                    <a:lnTo>
                      <a:pt x="25" y="170"/>
                    </a:lnTo>
                    <a:lnTo>
                      <a:pt x="27" y="170"/>
                    </a:lnTo>
                    <a:lnTo>
                      <a:pt x="29" y="170"/>
                    </a:lnTo>
                    <a:lnTo>
                      <a:pt x="31" y="170"/>
                    </a:lnTo>
                    <a:lnTo>
                      <a:pt x="33" y="168"/>
                    </a:lnTo>
                    <a:lnTo>
                      <a:pt x="34" y="168"/>
                    </a:lnTo>
                    <a:lnTo>
                      <a:pt x="36" y="168"/>
                    </a:lnTo>
                    <a:lnTo>
                      <a:pt x="36" y="170"/>
                    </a:lnTo>
                    <a:lnTo>
                      <a:pt x="38" y="168"/>
                    </a:lnTo>
                    <a:lnTo>
                      <a:pt x="40" y="170"/>
                    </a:lnTo>
                    <a:lnTo>
                      <a:pt x="40" y="174"/>
                    </a:lnTo>
                    <a:lnTo>
                      <a:pt x="42" y="174"/>
                    </a:lnTo>
                    <a:lnTo>
                      <a:pt x="42" y="176"/>
                    </a:lnTo>
                    <a:lnTo>
                      <a:pt x="42" y="178"/>
                    </a:lnTo>
                    <a:lnTo>
                      <a:pt x="44" y="178"/>
                    </a:lnTo>
                    <a:lnTo>
                      <a:pt x="44" y="180"/>
                    </a:lnTo>
                    <a:lnTo>
                      <a:pt x="46" y="180"/>
                    </a:lnTo>
                    <a:lnTo>
                      <a:pt x="46" y="181"/>
                    </a:lnTo>
                    <a:lnTo>
                      <a:pt x="46" y="180"/>
                    </a:lnTo>
                    <a:lnTo>
                      <a:pt x="44" y="180"/>
                    </a:lnTo>
                    <a:lnTo>
                      <a:pt x="46" y="180"/>
                    </a:lnTo>
                    <a:lnTo>
                      <a:pt x="46" y="181"/>
                    </a:lnTo>
                    <a:lnTo>
                      <a:pt x="42" y="183"/>
                    </a:lnTo>
                    <a:lnTo>
                      <a:pt x="42" y="185"/>
                    </a:lnTo>
                    <a:lnTo>
                      <a:pt x="44" y="185"/>
                    </a:lnTo>
                    <a:lnTo>
                      <a:pt x="46" y="183"/>
                    </a:lnTo>
                    <a:lnTo>
                      <a:pt x="46" y="185"/>
                    </a:lnTo>
                    <a:lnTo>
                      <a:pt x="48" y="183"/>
                    </a:lnTo>
                    <a:lnTo>
                      <a:pt x="48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0" y="191"/>
                    </a:lnTo>
                    <a:lnTo>
                      <a:pt x="50" y="193"/>
                    </a:lnTo>
                    <a:lnTo>
                      <a:pt x="48" y="191"/>
                    </a:lnTo>
                    <a:lnTo>
                      <a:pt x="48" y="189"/>
                    </a:lnTo>
                    <a:lnTo>
                      <a:pt x="48" y="187"/>
                    </a:lnTo>
                    <a:lnTo>
                      <a:pt x="46" y="187"/>
                    </a:lnTo>
                    <a:lnTo>
                      <a:pt x="48" y="189"/>
                    </a:lnTo>
                    <a:lnTo>
                      <a:pt x="46" y="189"/>
                    </a:lnTo>
                    <a:lnTo>
                      <a:pt x="48" y="189"/>
                    </a:lnTo>
                    <a:lnTo>
                      <a:pt x="46" y="189"/>
                    </a:lnTo>
                    <a:lnTo>
                      <a:pt x="46" y="191"/>
                    </a:lnTo>
                    <a:lnTo>
                      <a:pt x="48" y="189"/>
                    </a:lnTo>
                    <a:lnTo>
                      <a:pt x="46" y="191"/>
                    </a:lnTo>
                    <a:lnTo>
                      <a:pt x="46" y="193"/>
                    </a:lnTo>
                    <a:lnTo>
                      <a:pt x="48" y="193"/>
                    </a:lnTo>
                    <a:lnTo>
                      <a:pt x="48" y="195"/>
                    </a:lnTo>
                    <a:lnTo>
                      <a:pt x="46" y="195"/>
                    </a:lnTo>
                    <a:lnTo>
                      <a:pt x="46" y="197"/>
                    </a:lnTo>
                    <a:lnTo>
                      <a:pt x="46" y="195"/>
                    </a:lnTo>
                    <a:lnTo>
                      <a:pt x="44" y="197"/>
                    </a:lnTo>
                    <a:lnTo>
                      <a:pt x="44" y="195"/>
                    </a:lnTo>
                    <a:lnTo>
                      <a:pt x="44" y="197"/>
                    </a:lnTo>
                    <a:lnTo>
                      <a:pt x="42" y="197"/>
                    </a:lnTo>
                    <a:lnTo>
                      <a:pt x="44" y="199"/>
                    </a:lnTo>
                    <a:lnTo>
                      <a:pt x="42" y="201"/>
                    </a:lnTo>
                    <a:lnTo>
                      <a:pt x="40" y="202"/>
                    </a:lnTo>
                    <a:lnTo>
                      <a:pt x="40" y="201"/>
                    </a:lnTo>
                    <a:lnTo>
                      <a:pt x="38" y="201"/>
                    </a:lnTo>
                    <a:lnTo>
                      <a:pt x="36" y="201"/>
                    </a:lnTo>
                    <a:close/>
                    <a:moveTo>
                      <a:pt x="36" y="73"/>
                    </a:moveTo>
                    <a:lnTo>
                      <a:pt x="38" y="75"/>
                    </a:lnTo>
                    <a:lnTo>
                      <a:pt x="38" y="77"/>
                    </a:lnTo>
                    <a:lnTo>
                      <a:pt x="38" y="78"/>
                    </a:lnTo>
                    <a:lnTo>
                      <a:pt x="36" y="80"/>
                    </a:lnTo>
                    <a:lnTo>
                      <a:pt x="34" y="82"/>
                    </a:lnTo>
                    <a:lnTo>
                      <a:pt x="36" y="82"/>
                    </a:lnTo>
                    <a:lnTo>
                      <a:pt x="38" y="80"/>
                    </a:lnTo>
                    <a:lnTo>
                      <a:pt x="38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3" y="84"/>
                    </a:lnTo>
                    <a:lnTo>
                      <a:pt x="34" y="84"/>
                    </a:lnTo>
                    <a:lnTo>
                      <a:pt x="34" y="86"/>
                    </a:lnTo>
                    <a:lnTo>
                      <a:pt x="31" y="86"/>
                    </a:lnTo>
                    <a:lnTo>
                      <a:pt x="34" y="86"/>
                    </a:lnTo>
                    <a:lnTo>
                      <a:pt x="34" y="88"/>
                    </a:lnTo>
                    <a:lnTo>
                      <a:pt x="33" y="88"/>
                    </a:lnTo>
                    <a:lnTo>
                      <a:pt x="34" y="88"/>
                    </a:lnTo>
                    <a:lnTo>
                      <a:pt x="34" y="90"/>
                    </a:lnTo>
                    <a:lnTo>
                      <a:pt x="33" y="90"/>
                    </a:lnTo>
                    <a:lnTo>
                      <a:pt x="33" y="92"/>
                    </a:lnTo>
                    <a:lnTo>
                      <a:pt x="33" y="90"/>
                    </a:lnTo>
                    <a:lnTo>
                      <a:pt x="33" y="92"/>
                    </a:lnTo>
                    <a:lnTo>
                      <a:pt x="31" y="90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1" y="86"/>
                    </a:lnTo>
                    <a:lnTo>
                      <a:pt x="33" y="86"/>
                    </a:lnTo>
                    <a:lnTo>
                      <a:pt x="31" y="86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9" y="90"/>
                    </a:lnTo>
                    <a:lnTo>
                      <a:pt x="31" y="90"/>
                    </a:lnTo>
                    <a:lnTo>
                      <a:pt x="31" y="92"/>
                    </a:lnTo>
                    <a:lnTo>
                      <a:pt x="29" y="92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27" y="96"/>
                    </a:lnTo>
                    <a:lnTo>
                      <a:pt x="25" y="96"/>
                    </a:lnTo>
                    <a:lnTo>
                      <a:pt x="25" y="98"/>
                    </a:lnTo>
                    <a:lnTo>
                      <a:pt x="25" y="96"/>
                    </a:lnTo>
                    <a:lnTo>
                      <a:pt x="23" y="94"/>
                    </a:lnTo>
                    <a:lnTo>
                      <a:pt x="25" y="94"/>
                    </a:lnTo>
                    <a:lnTo>
                      <a:pt x="23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7" y="92"/>
                    </a:lnTo>
                    <a:lnTo>
                      <a:pt x="25" y="92"/>
                    </a:lnTo>
                    <a:lnTo>
                      <a:pt x="27" y="92"/>
                    </a:lnTo>
                    <a:lnTo>
                      <a:pt x="29" y="92"/>
                    </a:lnTo>
                    <a:lnTo>
                      <a:pt x="27" y="92"/>
                    </a:lnTo>
                    <a:lnTo>
                      <a:pt x="27" y="90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5" y="88"/>
                    </a:lnTo>
                    <a:lnTo>
                      <a:pt x="25" y="86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5" y="84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31" y="82"/>
                    </a:lnTo>
                    <a:lnTo>
                      <a:pt x="29" y="82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31" y="78"/>
                    </a:lnTo>
                    <a:lnTo>
                      <a:pt x="33" y="78"/>
                    </a:lnTo>
                    <a:lnTo>
                      <a:pt x="33" y="77"/>
                    </a:lnTo>
                    <a:lnTo>
                      <a:pt x="36" y="75"/>
                    </a:lnTo>
                    <a:lnTo>
                      <a:pt x="36" y="73"/>
                    </a:lnTo>
                    <a:close/>
                    <a:moveTo>
                      <a:pt x="36" y="98"/>
                    </a:moveTo>
                    <a:lnTo>
                      <a:pt x="36" y="99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8" y="105"/>
                    </a:lnTo>
                    <a:lnTo>
                      <a:pt x="38" y="107"/>
                    </a:lnTo>
                    <a:lnTo>
                      <a:pt x="40" y="109"/>
                    </a:lnTo>
                    <a:lnTo>
                      <a:pt x="38" y="109"/>
                    </a:lnTo>
                    <a:lnTo>
                      <a:pt x="40" y="109"/>
                    </a:lnTo>
                    <a:lnTo>
                      <a:pt x="40" y="111"/>
                    </a:lnTo>
                    <a:lnTo>
                      <a:pt x="40" y="109"/>
                    </a:lnTo>
                    <a:lnTo>
                      <a:pt x="42" y="111"/>
                    </a:lnTo>
                    <a:lnTo>
                      <a:pt x="46" y="111"/>
                    </a:lnTo>
                    <a:lnTo>
                      <a:pt x="46" y="113"/>
                    </a:lnTo>
                    <a:lnTo>
                      <a:pt x="44" y="113"/>
                    </a:lnTo>
                    <a:lnTo>
                      <a:pt x="44" y="115"/>
                    </a:lnTo>
                    <a:lnTo>
                      <a:pt x="42" y="117"/>
                    </a:lnTo>
                    <a:lnTo>
                      <a:pt x="40" y="119"/>
                    </a:lnTo>
                    <a:lnTo>
                      <a:pt x="40" y="117"/>
                    </a:lnTo>
                    <a:lnTo>
                      <a:pt x="40" y="115"/>
                    </a:lnTo>
                    <a:lnTo>
                      <a:pt x="44" y="113"/>
                    </a:lnTo>
                    <a:lnTo>
                      <a:pt x="42" y="113"/>
                    </a:lnTo>
                    <a:lnTo>
                      <a:pt x="40" y="111"/>
                    </a:lnTo>
                    <a:lnTo>
                      <a:pt x="40" y="113"/>
                    </a:lnTo>
                    <a:lnTo>
                      <a:pt x="40" y="115"/>
                    </a:lnTo>
                    <a:lnTo>
                      <a:pt x="40" y="113"/>
                    </a:lnTo>
                    <a:lnTo>
                      <a:pt x="38" y="113"/>
                    </a:lnTo>
                    <a:lnTo>
                      <a:pt x="36" y="113"/>
                    </a:lnTo>
                    <a:lnTo>
                      <a:pt x="34" y="111"/>
                    </a:lnTo>
                    <a:lnTo>
                      <a:pt x="36" y="111"/>
                    </a:lnTo>
                    <a:lnTo>
                      <a:pt x="34" y="111"/>
                    </a:lnTo>
                    <a:lnTo>
                      <a:pt x="33" y="109"/>
                    </a:lnTo>
                    <a:lnTo>
                      <a:pt x="34" y="109"/>
                    </a:lnTo>
                    <a:lnTo>
                      <a:pt x="36" y="109"/>
                    </a:lnTo>
                    <a:lnTo>
                      <a:pt x="34" y="109"/>
                    </a:lnTo>
                    <a:lnTo>
                      <a:pt x="34" y="107"/>
                    </a:lnTo>
                    <a:lnTo>
                      <a:pt x="34" y="109"/>
                    </a:lnTo>
                    <a:lnTo>
                      <a:pt x="33" y="107"/>
                    </a:lnTo>
                    <a:lnTo>
                      <a:pt x="33" y="105"/>
                    </a:lnTo>
                    <a:lnTo>
                      <a:pt x="33" y="107"/>
                    </a:lnTo>
                    <a:lnTo>
                      <a:pt x="33" y="109"/>
                    </a:lnTo>
                    <a:lnTo>
                      <a:pt x="29" y="107"/>
                    </a:lnTo>
                    <a:lnTo>
                      <a:pt x="29" y="105"/>
                    </a:lnTo>
                    <a:lnTo>
                      <a:pt x="29" y="103"/>
                    </a:lnTo>
                    <a:lnTo>
                      <a:pt x="31" y="105"/>
                    </a:lnTo>
                    <a:lnTo>
                      <a:pt x="33" y="105"/>
                    </a:lnTo>
                    <a:lnTo>
                      <a:pt x="31" y="105"/>
                    </a:lnTo>
                    <a:lnTo>
                      <a:pt x="31" y="103"/>
                    </a:lnTo>
                    <a:lnTo>
                      <a:pt x="33" y="103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3" y="101"/>
                    </a:lnTo>
                    <a:lnTo>
                      <a:pt x="33" y="103"/>
                    </a:lnTo>
                    <a:lnTo>
                      <a:pt x="34" y="103"/>
                    </a:lnTo>
                    <a:lnTo>
                      <a:pt x="34" y="105"/>
                    </a:lnTo>
                    <a:lnTo>
                      <a:pt x="34" y="103"/>
                    </a:lnTo>
                    <a:lnTo>
                      <a:pt x="36" y="105"/>
                    </a:lnTo>
                    <a:lnTo>
                      <a:pt x="36" y="103"/>
                    </a:lnTo>
                    <a:lnTo>
                      <a:pt x="34" y="103"/>
                    </a:lnTo>
                    <a:lnTo>
                      <a:pt x="34" y="101"/>
                    </a:lnTo>
                    <a:lnTo>
                      <a:pt x="34" y="99"/>
                    </a:lnTo>
                    <a:lnTo>
                      <a:pt x="36" y="98"/>
                    </a:lnTo>
                    <a:close/>
                    <a:moveTo>
                      <a:pt x="116" y="6"/>
                    </a:moveTo>
                    <a:lnTo>
                      <a:pt x="116" y="8"/>
                    </a:lnTo>
                    <a:lnTo>
                      <a:pt x="115" y="8"/>
                    </a:lnTo>
                    <a:lnTo>
                      <a:pt x="116" y="10"/>
                    </a:lnTo>
                    <a:lnTo>
                      <a:pt x="115" y="10"/>
                    </a:lnTo>
                    <a:lnTo>
                      <a:pt x="115" y="12"/>
                    </a:lnTo>
                    <a:lnTo>
                      <a:pt x="116" y="12"/>
                    </a:lnTo>
                    <a:lnTo>
                      <a:pt x="115" y="12"/>
                    </a:lnTo>
                    <a:lnTo>
                      <a:pt x="115" y="14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18" y="14"/>
                    </a:lnTo>
                    <a:lnTo>
                      <a:pt x="116" y="14"/>
                    </a:lnTo>
                    <a:lnTo>
                      <a:pt x="118" y="14"/>
                    </a:lnTo>
                    <a:lnTo>
                      <a:pt x="116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8" y="14"/>
                    </a:lnTo>
                    <a:lnTo>
                      <a:pt x="120" y="12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8" y="14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18" y="15"/>
                    </a:lnTo>
                    <a:lnTo>
                      <a:pt x="118" y="17"/>
                    </a:lnTo>
                    <a:lnTo>
                      <a:pt x="118" y="15"/>
                    </a:lnTo>
                    <a:lnTo>
                      <a:pt x="118" y="17"/>
                    </a:lnTo>
                    <a:lnTo>
                      <a:pt x="118" y="19"/>
                    </a:lnTo>
                    <a:lnTo>
                      <a:pt x="116" y="17"/>
                    </a:lnTo>
                    <a:lnTo>
                      <a:pt x="118" y="19"/>
                    </a:lnTo>
                    <a:lnTo>
                      <a:pt x="116" y="19"/>
                    </a:lnTo>
                    <a:lnTo>
                      <a:pt x="118" y="19"/>
                    </a:lnTo>
                    <a:lnTo>
                      <a:pt x="116" y="21"/>
                    </a:lnTo>
                    <a:lnTo>
                      <a:pt x="118" y="19"/>
                    </a:lnTo>
                    <a:lnTo>
                      <a:pt x="116" y="21"/>
                    </a:lnTo>
                    <a:lnTo>
                      <a:pt x="118" y="19"/>
                    </a:lnTo>
                    <a:lnTo>
                      <a:pt x="118" y="21"/>
                    </a:lnTo>
                    <a:lnTo>
                      <a:pt x="118" y="23"/>
                    </a:lnTo>
                    <a:lnTo>
                      <a:pt x="116" y="23"/>
                    </a:lnTo>
                    <a:lnTo>
                      <a:pt x="116" y="25"/>
                    </a:lnTo>
                    <a:lnTo>
                      <a:pt x="118" y="25"/>
                    </a:lnTo>
                    <a:lnTo>
                      <a:pt x="116" y="25"/>
                    </a:lnTo>
                    <a:lnTo>
                      <a:pt x="116" y="27"/>
                    </a:lnTo>
                    <a:lnTo>
                      <a:pt x="116" y="29"/>
                    </a:lnTo>
                    <a:lnTo>
                      <a:pt x="116" y="31"/>
                    </a:lnTo>
                    <a:lnTo>
                      <a:pt x="115" y="31"/>
                    </a:lnTo>
                    <a:lnTo>
                      <a:pt x="115" y="29"/>
                    </a:lnTo>
                    <a:lnTo>
                      <a:pt x="115" y="27"/>
                    </a:lnTo>
                    <a:lnTo>
                      <a:pt x="116" y="23"/>
                    </a:lnTo>
                    <a:lnTo>
                      <a:pt x="116" y="21"/>
                    </a:lnTo>
                    <a:lnTo>
                      <a:pt x="115" y="21"/>
                    </a:lnTo>
                    <a:lnTo>
                      <a:pt x="116" y="19"/>
                    </a:lnTo>
                    <a:lnTo>
                      <a:pt x="115" y="21"/>
                    </a:lnTo>
                    <a:lnTo>
                      <a:pt x="115" y="19"/>
                    </a:lnTo>
                    <a:lnTo>
                      <a:pt x="115" y="21"/>
                    </a:lnTo>
                    <a:lnTo>
                      <a:pt x="115" y="19"/>
                    </a:lnTo>
                    <a:lnTo>
                      <a:pt x="115" y="21"/>
                    </a:lnTo>
                    <a:lnTo>
                      <a:pt x="115" y="19"/>
                    </a:lnTo>
                    <a:lnTo>
                      <a:pt x="115" y="21"/>
                    </a:lnTo>
                    <a:lnTo>
                      <a:pt x="113" y="21"/>
                    </a:lnTo>
                    <a:lnTo>
                      <a:pt x="113" y="19"/>
                    </a:lnTo>
                    <a:lnTo>
                      <a:pt x="113" y="21"/>
                    </a:lnTo>
                    <a:lnTo>
                      <a:pt x="111" y="19"/>
                    </a:lnTo>
                    <a:lnTo>
                      <a:pt x="109" y="19"/>
                    </a:lnTo>
                    <a:lnTo>
                      <a:pt x="109" y="17"/>
                    </a:lnTo>
                    <a:lnTo>
                      <a:pt x="111" y="17"/>
                    </a:lnTo>
                    <a:lnTo>
                      <a:pt x="113" y="17"/>
                    </a:lnTo>
                    <a:lnTo>
                      <a:pt x="115" y="15"/>
                    </a:lnTo>
                    <a:lnTo>
                      <a:pt x="115" y="17"/>
                    </a:lnTo>
                    <a:lnTo>
                      <a:pt x="115" y="15"/>
                    </a:lnTo>
                    <a:lnTo>
                      <a:pt x="116" y="15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3" y="14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3" y="12"/>
                    </a:lnTo>
                    <a:lnTo>
                      <a:pt x="111" y="12"/>
                    </a:lnTo>
                    <a:lnTo>
                      <a:pt x="111" y="10"/>
                    </a:lnTo>
                    <a:lnTo>
                      <a:pt x="113" y="10"/>
                    </a:lnTo>
                    <a:lnTo>
                      <a:pt x="115" y="10"/>
                    </a:lnTo>
                    <a:lnTo>
                      <a:pt x="113" y="10"/>
                    </a:lnTo>
                    <a:lnTo>
                      <a:pt x="115" y="8"/>
                    </a:lnTo>
                    <a:lnTo>
                      <a:pt x="115" y="6"/>
                    </a:lnTo>
                    <a:lnTo>
                      <a:pt x="116" y="6"/>
                    </a:lnTo>
                    <a:close/>
                    <a:moveTo>
                      <a:pt x="38" y="128"/>
                    </a:moveTo>
                    <a:lnTo>
                      <a:pt x="40" y="128"/>
                    </a:lnTo>
                    <a:lnTo>
                      <a:pt x="40" y="130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4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4" y="138"/>
                    </a:lnTo>
                    <a:lnTo>
                      <a:pt x="42" y="138"/>
                    </a:lnTo>
                    <a:lnTo>
                      <a:pt x="44" y="138"/>
                    </a:lnTo>
                    <a:lnTo>
                      <a:pt x="42" y="138"/>
                    </a:lnTo>
                    <a:lnTo>
                      <a:pt x="40" y="140"/>
                    </a:lnTo>
                    <a:lnTo>
                      <a:pt x="40" y="138"/>
                    </a:lnTo>
                    <a:lnTo>
                      <a:pt x="38" y="140"/>
                    </a:lnTo>
                    <a:lnTo>
                      <a:pt x="36" y="140"/>
                    </a:lnTo>
                    <a:lnTo>
                      <a:pt x="36" y="138"/>
                    </a:lnTo>
                    <a:lnTo>
                      <a:pt x="34" y="138"/>
                    </a:lnTo>
                    <a:lnTo>
                      <a:pt x="36" y="138"/>
                    </a:lnTo>
                    <a:lnTo>
                      <a:pt x="38" y="138"/>
                    </a:lnTo>
                    <a:lnTo>
                      <a:pt x="40" y="138"/>
                    </a:lnTo>
                    <a:lnTo>
                      <a:pt x="40" y="136"/>
                    </a:lnTo>
                    <a:lnTo>
                      <a:pt x="42" y="136"/>
                    </a:lnTo>
                    <a:lnTo>
                      <a:pt x="40" y="136"/>
                    </a:lnTo>
                    <a:lnTo>
                      <a:pt x="38" y="138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40" y="134"/>
                    </a:lnTo>
                    <a:lnTo>
                      <a:pt x="40" y="132"/>
                    </a:lnTo>
                    <a:lnTo>
                      <a:pt x="38" y="134"/>
                    </a:lnTo>
                    <a:lnTo>
                      <a:pt x="38" y="132"/>
                    </a:lnTo>
                    <a:lnTo>
                      <a:pt x="36" y="132"/>
                    </a:lnTo>
                    <a:lnTo>
                      <a:pt x="36" y="130"/>
                    </a:lnTo>
                    <a:lnTo>
                      <a:pt x="38" y="130"/>
                    </a:lnTo>
                    <a:lnTo>
                      <a:pt x="38" y="128"/>
                    </a:lnTo>
                    <a:lnTo>
                      <a:pt x="38" y="130"/>
                    </a:lnTo>
                    <a:lnTo>
                      <a:pt x="38" y="128"/>
                    </a:lnTo>
                    <a:close/>
                    <a:moveTo>
                      <a:pt x="67" y="218"/>
                    </a:moveTo>
                    <a:lnTo>
                      <a:pt x="69" y="218"/>
                    </a:lnTo>
                    <a:lnTo>
                      <a:pt x="69" y="220"/>
                    </a:lnTo>
                    <a:lnTo>
                      <a:pt x="69" y="222"/>
                    </a:lnTo>
                    <a:lnTo>
                      <a:pt x="71" y="222"/>
                    </a:lnTo>
                    <a:lnTo>
                      <a:pt x="73" y="222"/>
                    </a:lnTo>
                    <a:lnTo>
                      <a:pt x="71" y="222"/>
                    </a:lnTo>
                    <a:lnTo>
                      <a:pt x="69" y="223"/>
                    </a:lnTo>
                    <a:lnTo>
                      <a:pt x="69" y="225"/>
                    </a:lnTo>
                    <a:lnTo>
                      <a:pt x="67" y="225"/>
                    </a:lnTo>
                    <a:lnTo>
                      <a:pt x="67" y="223"/>
                    </a:lnTo>
                    <a:lnTo>
                      <a:pt x="65" y="225"/>
                    </a:lnTo>
                    <a:lnTo>
                      <a:pt x="65" y="223"/>
                    </a:lnTo>
                    <a:lnTo>
                      <a:pt x="65" y="222"/>
                    </a:lnTo>
                    <a:lnTo>
                      <a:pt x="63" y="222"/>
                    </a:lnTo>
                    <a:lnTo>
                      <a:pt x="65" y="223"/>
                    </a:lnTo>
                    <a:lnTo>
                      <a:pt x="63" y="223"/>
                    </a:lnTo>
                    <a:lnTo>
                      <a:pt x="63" y="222"/>
                    </a:lnTo>
                    <a:lnTo>
                      <a:pt x="61" y="222"/>
                    </a:lnTo>
                    <a:lnTo>
                      <a:pt x="63" y="222"/>
                    </a:lnTo>
                    <a:lnTo>
                      <a:pt x="63" y="220"/>
                    </a:lnTo>
                    <a:lnTo>
                      <a:pt x="65" y="220"/>
                    </a:lnTo>
                    <a:lnTo>
                      <a:pt x="63" y="218"/>
                    </a:lnTo>
                    <a:lnTo>
                      <a:pt x="65" y="218"/>
                    </a:lnTo>
                    <a:lnTo>
                      <a:pt x="67" y="218"/>
                    </a:lnTo>
                    <a:close/>
                    <a:moveTo>
                      <a:pt x="86" y="54"/>
                    </a:moveTo>
                    <a:lnTo>
                      <a:pt x="88" y="54"/>
                    </a:lnTo>
                    <a:lnTo>
                      <a:pt x="88" y="56"/>
                    </a:lnTo>
                    <a:lnTo>
                      <a:pt x="88" y="57"/>
                    </a:lnTo>
                    <a:lnTo>
                      <a:pt x="90" y="59"/>
                    </a:lnTo>
                    <a:lnTo>
                      <a:pt x="90" y="57"/>
                    </a:lnTo>
                    <a:lnTo>
                      <a:pt x="90" y="59"/>
                    </a:lnTo>
                    <a:lnTo>
                      <a:pt x="92" y="59"/>
                    </a:lnTo>
                    <a:lnTo>
                      <a:pt x="92" y="57"/>
                    </a:lnTo>
                    <a:lnTo>
                      <a:pt x="92" y="59"/>
                    </a:lnTo>
                    <a:lnTo>
                      <a:pt x="92" y="61"/>
                    </a:lnTo>
                    <a:lnTo>
                      <a:pt x="92" y="59"/>
                    </a:lnTo>
                    <a:lnTo>
                      <a:pt x="92" y="61"/>
                    </a:lnTo>
                    <a:lnTo>
                      <a:pt x="92" y="59"/>
                    </a:lnTo>
                    <a:lnTo>
                      <a:pt x="94" y="59"/>
                    </a:lnTo>
                    <a:lnTo>
                      <a:pt x="94" y="61"/>
                    </a:lnTo>
                    <a:lnTo>
                      <a:pt x="92" y="61"/>
                    </a:lnTo>
                    <a:lnTo>
                      <a:pt x="90" y="61"/>
                    </a:lnTo>
                    <a:lnTo>
                      <a:pt x="90" y="63"/>
                    </a:lnTo>
                    <a:lnTo>
                      <a:pt x="92" y="63"/>
                    </a:lnTo>
                    <a:lnTo>
                      <a:pt x="90" y="63"/>
                    </a:lnTo>
                    <a:lnTo>
                      <a:pt x="90" y="65"/>
                    </a:lnTo>
                    <a:lnTo>
                      <a:pt x="90" y="67"/>
                    </a:lnTo>
                    <a:lnTo>
                      <a:pt x="90" y="65"/>
                    </a:lnTo>
                    <a:lnTo>
                      <a:pt x="88" y="63"/>
                    </a:lnTo>
                    <a:lnTo>
                      <a:pt x="88" y="65"/>
                    </a:lnTo>
                    <a:lnTo>
                      <a:pt x="90" y="63"/>
                    </a:lnTo>
                    <a:lnTo>
                      <a:pt x="88" y="63"/>
                    </a:lnTo>
                    <a:lnTo>
                      <a:pt x="90" y="63"/>
                    </a:lnTo>
                    <a:lnTo>
                      <a:pt x="90" y="61"/>
                    </a:lnTo>
                    <a:lnTo>
                      <a:pt x="90" y="59"/>
                    </a:lnTo>
                    <a:lnTo>
                      <a:pt x="88" y="59"/>
                    </a:lnTo>
                    <a:lnTo>
                      <a:pt x="86" y="61"/>
                    </a:lnTo>
                    <a:lnTo>
                      <a:pt x="84" y="59"/>
                    </a:lnTo>
                    <a:lnTo>
                      <a:pt x="82" y="57"/>
                    </a:lnTo>
                    <a:lnTo>
                      <a:pt x="84" y="56"/>
                    </a:lnTo>
                    <a:lnTo>
                      <a:pt x="82" y="56"/>
                    </a:lnTo>
                    <a:lnTo>
                      <a:pt x="84" y="54"/>
                    </a:lnTo>
                    <a:lnTo>
                      <a:pt x="86" y="54"/>
                    </a:lnTo>
                    <a:close/>
                    <a:moveTo>
                      <a:pt x="38" y="149"/>
                    </a:moveTo>
                    <a:lnTo>
                      <a:pt x="40" y="153"/>
                    </a:lnTo>
                    <a:lnTo>
                      <a:pt x="40" y="157"/>
                    </a:lnTo>
                    <a:lnTo>
                      <a:pt x="38" y="157"/>
                    </a:lnTo>
                    <a:lnTo>
                      <a:pt x="38" y="159"/>
                    </a:lnTo>
                    <a:lnTo>
                      <a:pt x="38" y="157"/>
                    </a:lnTo>
                    <a:lnTo>
                      <a:pt x="36" y="159"/>
                    </a:lnTo>
                    <a:lnTo>
                      <a:pt x="36" y="157"/>
                    </a:lnTo>
                    <a:lnTo>
                      <a:pt x="36" y="155"/>
                    </a:lnTo>
                    <a:lnTo>
                      <a:pt x="36" y="153"/>
                    </a:lnTo>
                    <a:lnTo>
                      <a:pt x="34" y="155"/>
                    </a:lnTo>
                    <a:lnTo>
                      <a:pt x="33" y="157"/>
                    </a:lnTo>
                    <a:lnTo>
                      <a:pt x="33" y="155"/>
                    </a:lnTo>
                    <a:lnTo>
                      <a:pt x="34" y="155"/>
                    </a:lnTo>
                    <a:lnTo>
                      <a:pt x="34" y="153"/>
                    </a:lnTo>
                    <a:lnTo>
                      <a:pt x="33" y="153"/>
                    </a:lnTo>
                    <a:lnTo>
                      <a:pt x="34" y="153"/>
                    </a:lnTo>
                    <a:lnTo>
                      <a:pt x="34" y="151"/>
                    </a:lnTo>
                    <a:lnTo>
                      <a:pt x="36" y="151"/>
                    </a:lnTo>
                    <a:lnTo>
                      <a:pt x="36" y="153"/>
                    </a:lnTo>
                    <a:lnTo>
                      <a:pt x="36" y="151"/>
                    </a:lnTo>
                    <a:lnTo>
                      <a:pt x="38" y="149"/>
                    </a:lnTo>
                    <a:close/>
                    <a:moveTo>
                      <a:pt x="54" y="155"/>
                    </a:moveTo>
                    <a:lnTo>
                      <a:pt x="54" y="157"/>
                    </a:lnTo>
                    <a:lnTo>
                      <a:pt x="55" y="159"/>
                    </a:lnTo>
                    <a:lnTo>
                      <a:pt x="55" y="160"/>
                    </a:lnTo>
                    <a:lnTo>
                      <a:pt x="55" y="162"/>
                    </a:lnTo>
                    <a:lnTo>
                      <a:pt x="54" y="162"/>
                    </a:lnTo>
                    <a:lnTo>
                      <a:pt x="52" y="162"/>
                    </a:lnTo>
                    <a:lnTo>
                      <a:pt x="52" y="160"/>
                    </a:lnTo>
                    <a:lnTo>
                      <a:pt x="50" y="157"/>
                    </a:lnTo>
                    <a:lnTo>
                      <a:pt x="52" y="157"/>
                    </a:lnTo>
                    <a:lnTo>
                      <a:pt x="54" y="155"/>
                    </a:lnTo>
                    <a:close/>
                    <a:moveTo>
                      <a:pt x="46" y="143"/>
                    </a:moveTo>
                    <a:lnTo>
                      <a:pt x="44" y="147"/>
                    </a:lnTo>
                    <a:lnTo>
                      <a:pt x="44" y="151"/>
                    </a:lnTo>
                    <a:lnTo>
                      <a:pt x="42" y="151"/>
                    </a:lnTo>
                    <a:lnTo>
                      <a:pt x="42" y="153"/>
                    </a:lnTo>
                    <a:lnTo>
                      <a:pt x="40" y="153"/>
                    </a:lnTo>
                    <a:lnTo>
                      <a:pt x="40" y="151"/>
                    </a:lnTo>
                    <a:lnTo>
                      <a:pt x="40" y="149"/>
                    </a:lnTo>
                    <a:lnTo>
                      <a:pt x="42" y="149"/>
                    </a:lnTo>
                    <a:lnTo>
                      <a:pt x="40" y="147"/>
                    </a:lnTo>
                    <a:lnTo>
                      <a:pt x="42" y="145"/>
                    </a:lnTo>
                    <a:lnTo>
                      <a:pt x="44" y="145"/>
                    </a:lnTo>
                    <a:lnTo>
                      <a:pt x="46" y="143"/>
                    </a:lnTo>
                    <a:close/>
                    <a:moveTo>
                      <a:pt x="116" y="286"/>
                    </a:moveTo>
                    <a:lnTo>
                      <a:pt x="116" y="288"/>
                    </a:lnTo>
                    <a:lnTo>
                      <a:pt x="118" y="288"/>
                    </a:lnTo>
                    <a:lnTo>
                      <a:pt x="120" y="288"/>
                    </a:lnTo>
                    <a:lnTo>
                      <a:pt x="118" y="290"/>
                    </a:lnTo>
                    <a:lnTo>
                      <a:pt x="116" y="292"/>
                    </a:lnTo>
                    <a:lnTo>
                      <a:pt x="113" y="290"/>
                    </a:lnTo>
                    <a:lnTo>
                      <a:pt x="111" y="290"/>
                    </a:lnTo>
                    <a:lnTo>
                      <a:pt x="113" y="288"/>
                    </a:lnTo>
                    <a:lnTo>
                      <a:pt x="115" y="288"/>
                    </a:lnTo>
                    <a:lnTo>
                      <a:pt x="116" y="286"/>
                    </a:lnTo>
                    <a:close/>
                    <a:moveTo>
                      <a:pt x="23" y="98"/>
                    </a:moveTo>
                    <a:lnTo>
                      <a:pt x="23" y="99"/>
                    </a:lnTo>
                    <a:lnTo>
                      <a:pt x="25" y="99"/>
                    </a:lnTo>
                    <a:lnTo>
                      <a:pt x="23" y="99"/>
                    </a:lnTo>
                    <a:lnTo>
                      <a:pt x="21" y="99"/>
                    </a:lnTo>
                    <a:lnTo>
                      <a:pt x="23" y="99"/>
                    </a:lnTo>
                    <a:lnTo>
                      <a:pt x="21" y="99"/>
                    </a:lnTo>
                    <a:lnTo>
                      <a:pt x="23" y="99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1" y="103"/>
                    </a:lnTo>
                    <a:lnTo>
                      <a:pt x="19" y="101"/>
                    </a:lnTo>
                    <a:lnTo>
                      <a:pt x="19" y="103"/>
                    </a:lnTo>
                    <a:lnTo>
                      <a:pt x="19" y="101"/>
                    </a:lnTo>
                    <a:lnTo>
                      <a:pt x="19" y="103"/>
                    </a:lnTo>
                    <a:lnTo>
                      <a:pt x="21" y="101"/>
                    </a:lnTo>
                    <a:lnTo>
                      <a:pt x="19" y="101"/>
                    </a:lnTo>
                    <a:lnTo>
                      <a:pt x="17" y="101"/>
                    </a:lnTo>
                    <a:lnTo>
                      <a:pt x="17" y="99"/>
                    </a:lnTo>
                    <a:lnTo>
                      <a:pt x="19" y="99"/>
                    </a:lnTo>
                    <a:lnTo>
                      <a:pt x="21" y="98"/>
                    </a:lnTo>
                    <a:lnTo>
                      <a:pt x="21" y="99"/>
                    </a:lnTo>
                    <a:lnTo>
                      <a:pt x="19" y="99"/>
                    </a:lnTo>
                    <a:lnTo>
                      <a:pt x="21" y="99"/>
                    </a:lnTo>
                    <a:lnTo>
                      <a:pt x="23" y="98"/>
                    </a:lnTo>
                    <a:close/>
                    <a:moveTo>
                      <a:pt x="19" y="107"/>
                    </a:moveTo>
                    <a:lnTo>
                      <a:pt x="21" y="107"/>
                    </a:lnTo>
                    <a:lnTo>
                      <a:pt x="21" y="109"/>
                    </a:lnTo>
                    <a:lnTo>
                      <a:pt x="21" y="107"/>
                    </a:lnTo>
                    <a:lnTo>
                      <a:pt x="21" y="109"/>
                    </a:lnTo>
                    <a:lnTo>
                      <a:pt x="23" y="109"/>
                    </a:lnTo>
                    <a:lnTo>
                      <a:pt x="21" y="111"/>
                    </a:lnTo>
                    <a:lnTo>
                      <a:pt x="19" y="111"/>
                    </a:lnTo>
                    <a:lnTo>
                      <a:pt x="21" y="111"/>
                    </a:lnTo>
                    <a:lnTo>
                      <a:pt x="21" y="113"/>
                    </a:lnTo>
                    <a:lnTo>
                      <a:pt x="21" y="115"/>
                    </a:lnTo>
                    <a:lnTo>
                      <a:pt x="19" y="113"/>
                    </a:lnTo>
                    <a:lnTo>
                      <a:pt x="21" y="115"/>
                    </a:lnTo>
                    <a:lnTo>
                      <a:pt x="19" y="113"/>
                    </a:lnTo>
                    <a:lnTo>
                      <a:pt x="19" y="115"/>
                    </a:lnTo>
                    <a:lnTo>
                      <a:pt x="21" y="115"/>
                    </a:lnTo>
                    <a:lnTo>
                      <a:pt x="19" y="115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9" y="109"/>
                    </a:lnTo>
                    <a:lnTo>
                      <a:pt x="19" y="107"/>
                    </a:lnTo>
                    <a:close/>
                    <a:moveTo>
                      <a:pt x="120" y="4"/>
                    </a:moveTo>
                    <a:lnTo>
                      <a:pt x="120" y="6"/>
                    </a:lnTo>
                    <a:lnTo>
                      <a:pt x="120" y="8"/>
                    </a:lnTo>
                    <a:lnTo>
                      <a:pt x="118" y="8"/>
                    </a:lnTo>
                    <a:lnTo>
                      <a:pt x="120" y="8"/>
                    </a:lnTo>
                    <a:lnTo>
                      <a:pt x="120" y="10"/>
                    </a:lnTo>
                    <a:lnTo>
                      <a:pt x="120" y="12"/>
                    </a:lnTo>
                    <a:lnTo>
                      <a:pt x="118" y="10"/>
                    </a:lnTo>
                    <a:lnTo>
                      <a:pt x="118" y="12"/>
                    </a:lnTo>
                    <a:lnTo>
                      <a:pt x="118" y="10"/>
                    </a:lnTo>
                    <a:lnTo>
                      <a:pt x="116" y="8"/>
                    </a:lnTo>
                    <a:lnTo>
                      <a:pt x="118" y="6"/>
                    </a:lnTo>
                    <a:lnTo>
                      <a:pt x="118" y="8"/>
                    </a:lnTo>
                    <a:lnTo>
                      <a:pt x="118" y="6"/>
                    </a:lnTo>
                    <a:lnTo>
                      <a:pt x="118" y="4"/>
                    </a:lnTo>
                    <a:lnTo>
                      <a:pt x="120" y="4"/>
                    </a:lnTo>
                    <a:close/>
                    <a:moveTo>
                      <a:pt x="84" y="59"/>
                    </a:moveTo>
                    <a:lnTo>
                      <a:pt x="86" y="61"/>
                    </a:lnTo>
                    <a:lnTo>
                      <a:pt x="86" y="63"/>
                    </a:lnTo>
                    <a:lnTo>
                      <a:pt x="84" y="65"/>
                    </a:lnTo>
                    <a:lnTo>
                      <a:pt x="86" y="63"/>
                    </a:lnTo>
                    <a:lnTo>
                      <a:pt x="86" y="65"/>
                    </a:lnTo>
                    <a:lnTo>
                      <a:pt x="84" y="65"/>
                    </a:lnTo>
                    <a:lnTo>
                      <a:pt x="82" y="61"/>
                    </a:lnTo>
                    <a:lnTo>
                      <a:pt x="84" y="59"/>
                    </a:lnTo>
                    <a:close/>
                    <a:moveTo>
                      <a:pt x="122" y="0"/>
                    </a:moveTo>
                    <a:lnTo>
                      <a:pt x="124" y="0"/>
                    </a:lnTo>
                    <a:lnTo>
                      <a:pt x="124" y="2"/>
                    </a:lnTo>
                    <a:lnTo>
                      <a:pt x="122" y="2"/>
                    </a:lnTo>
                    <a:lnTo>
                      <a:pt x="124" y="2"/>
                    </a:lnTo>
                    <a:lnTo>
                      <a:pt x="122" y="4"/>
                    </a:lnTo>
                    <a:lnTo>
                      <a:pt x="124" y="4"/>
                    </a:lnTo>
                    <a:lnTo>
                      <a:pt x="122" y="6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0"/>
                    </a:lnTo>
                    <a:close/>
                    <a:moveTo>
                      <a:pt x="54" y="149"/>
                    </a:moveTo>
                    <a:lnTo>
                      <a:pt x="55" y="151"/>
                    </a:lnTo>
                    <a:lnTo>
                      <a:pt x="57" y="151"/>
                    </a:lnTo>
                    <a:lnTo>
                      <a:pt x="57" y="153"/>
                    </a:lnTo>
                    <a:lnTo>
                      <a:pt x="57" y="155"/>
                    </a:lnTo>
                    <a:lnTo>
                      <a:pt x="55" y="153"/>
                    </a:lnTo>
                    <a:lnTo>
                      <a:pt x="55" y="151"/>
                    </a:lnTo>
                    <a:lnTo>
                      <a:pt x="54" y="151"/>
                    </a:lnTo>
                    <a:lnTo>
                      <a:pt x="54" y="149"/>
                    </a:lnTo>
                    <a:close/>
                    <a:moveTo>
                      <a:pt x="36" y="117"/>
                    </a:moveTo>
                    <a:lnTo>
                      <a:pt x="36" y="119"/>
                    </a:lnTo>
                    <a:lnTo>
                      <a:pt x="36" y="120"/>
                    </a:lnTo>
                    <a:lnTo>
                      <a:pt x="34" y="119"/>
                    </a:lnTo>
                    <a:lnTo>
                      <a:pt x="36" y="117"/>
                    </a:lnTo>
                    <a:close/>
                    <a:moveTo>
                      <a:pt x="19" y="103"/>
                    </a:moveTo>
                    <a:lnTo>
                      <a:pt x="21" y="103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5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7"/>
                    </a:lnTo>
                    <a:lnTo>
                      <a:pt x="19" y="105"/>
                    </a:lnTo>
                    <a:lnTo>
                      <a:pt x="19" y="103"/>
                    </a:lnTo>
                    <a:close/>
                    <a:moveTo>
                      <a:pt x="149" y="269"/>
                    </a:moveTo>
                    <a:lnTo>
                      <a:pt x="151" y="271"/>
                    </a:lnTo>
                    <a:lnTo>
                      <a:pt x="149" y="271"/>
                    </a:lnTo>
                    <a:lnTo>
                      <a:pt x="149" y="269"/>
                    </a:lnTo>
                    <a:close/>
                    <a:moveTo>
                      <a:pt x="29" y="132"/>
                    </a:moveTo>
                    <a:lnTo>
                      <a:pt x="29" y="134"/>
                    </a:lnTo>
                    <a:lnTo>
                      <a:pt x="27" y="134"/>
                    </a:lnTo>
                    <a:lnTo>
                      <a:pt x="25" y="134"/>
                    </a:lnTo>
                    <a:lnTo>
                      <a:pt x="25" y="132"/>
                    </a:lnTo>
                    <a:lnTo>
                      <a:pt x="27" y="132"/>
                    </a:lnTo>
                    <a:lnTo>
                      <a:pt x="29" y="132"/>
                    </a:lnTo>
                    <a:close/>
                    <a:moveTo>
                      <a:pt x="34" y="128"/>
                    </a:moveTo>
                    <a:lnTo>
                      <a:pt x="33" y="130"/>
                    </a:lnTo>
                    <a:lnTo>
                      <a:pt x="33" y="128"/>
                    </a:lnTo>
                    <a:lnTo>
                      <a:pt x="33" y="130"/>
                    </a:lnTo>
                    <a:lnTo>
                      <a:pt x="31" y="130"/>
                    </a:lnTo>
                    <a:lnTo>
                      <a:pt x="31" y="128"/>
                    </a:lnTo>
                    <a:lnTo>
                      <a:pt x="34" y="128"/>
                    </a:lnTo>
                    <a:close/>
                    <a:moveTo>
                      <a:pt x="40" y="103"/>
                    </a:moveTo>
                    <a:lnTo>
                      <a:pt x="42" y="103"/>
                    </a:lnTo>
                    <a:lnTo>
                      <a:pt x="42" y="109"/>
                    </a:lnTo>
                    <a:lnTo>
                      <a:pt x="40" y="109"/>
                    </a:lnTo>
                    <a:lnTo>
                      <a:pt x="40" y="103"/>
                    </a:lnTo>
                    <a:close/>
                    <a:moveTo>
                      <a:pt x="15" y="117"/>
                    </a:moveTo>
                    <a:lnTo>
                      <a:pt x="19" y="117"/>
                    </a:lnTo>
                    <a:lnTo>
                      <a:pt x="19" y="120"/>
                    </a:lnTo>
                    <a:lnTo>
                      <a:pt x="15" y="120"/>
                    </a:lnTo>
                    <a:lnTo>
                      <a:pt x="15" y="117"/>
                    </a:lnTo>
                    <a:close/>
                    <a:moveTo>
                      <a:pt x="97" y="48"/>
                    </a:moveTo>
                    <a:lnTo>
                      <a:pt x="99" y="50"/>
                    </a:lnTo>
                    <a:lnTo>
                      <a:pt x="97" y="50"/>
                    </a:lnTo>
                    <a:lnTo>
                      <a:pt x="95" y="50"/>
                    </a:lnTo>
                    <a:lnTo>
                      <a:pt x="97" y="52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4" y="52"/>
                    </a:lnTo>
                    <a:lnTo>
                      <a:pt x="95" y="50"/>
                    </a:lnTo>
                    <a:lnTo>
                      <a:pt x="95" y="48"/>
                    </a:lnTo>
                    <a:lnTo>
                      <a:pt x="95" y="50"/>
                    </a:lnTo>
                    <a:lnTo>
                      <a:pt x="97" y="48"/>
                    </a:lnTo>
                    <a:close/>
                    <a:moveTo>
                      <a:pt x="90" y="46"/>
                    </a:moveTo>
                    <a:lnTo>
                      <a:pt x="90" y="48"/>
                    </a:lnTo>
                    <a:lnTo>
                      <a:pt x="90" y="50"/>
                    </a:lnTo>
                    <a:lnTo>
                      <a:pt x="92" y="50"/>
                    </a:lnTo>
                    <a:lnTo>
                      <a:pt x="90" y="52"/>
                    </a:lnTo>
                    <a:lnTo>
                      <a:pt x="92" y="50"/>
                    </a:lnTo>
                    <a:lnTo>
                      <a:pt x="90" y="50"/>
                    </a:lnTo>
                    <a:lnTo>
                      <a:pt x="88" y="48"/>
                    </a:lnTo>
                    <a:lnTo>
                      <a:pt x="90" y="46"/>
                    </a:lnTo>
                    <a:close/>
                    <a:moveTo>
                      <a:pt x="86" y="52"/>
                    </a:moveTo>
                    <a:lnTo>
                      <a:pt x="90" y="52"/>
                    </a:lnTo>
                    <a:lnTo>
                      <a:pt x="90" y="54"/>
                    </a:lnTo>
                    <a:lnTo>
                      <a:pt x="86" y="54"/>
                    </a:lnTo>
                    <a:lnTo>
                      <a:pt x="86" y="52"/>
                    </a:lnTo>
                    <a:close/>
                    <a:moveTo>
                      <a:pt x="122" y="6"/>
                    </a:moveTo>
                    <a:lnTo>
                      <a:pt x="124" y="6"/>
                    </a:lnTo>
                    <a:lnTo>
                      <a:pt x="124" y="8"/>
                    </a:lnTo>
                    <a:lnTo>
                      <a:pt x="122" y="8"/>
                    </a:lnTo>
                    <a:lnTo>
                      <a:pt x="122" y="6"/>
                    </a:lnTo>
                    <a:close/>
                    <a:moveTo>
                      <a:pt x="36" y="143"/>
                    </a:moveTo>
                    <a:lnTo>
                      <a:pt x="38" y="143"/>
                    </a:lnTo>
                    <a:lnTo>
                      <a:pt x="38" y="145"/>
                    </a:lnTo>
                    <a:lnTo>
                      <a:pt x="36" y="145"/>
                    </a:lnTo>
                    <a:lnTo>
                      <a:pt x="36" y="143"/>
                    </a:lnTo>
                    <a:close/>
                    <a:moveTo>
                      <a:pt x="94" y="54"/>
                    </a:moveTo>
                    <a:lnTo>
                      <a:pt x="95" y="54"/>
                    </a:lnTo>
                    <a:lnTo>
                      <a:pt x="95" y="56"/>
                    </a:lnTo>
                    <a:lnTo>
                      <a:pt x="94" y="56"/>
                    </a:lnTo>
                    <a:lnTo>
                      <a:pt x="94" y="54"/>
                    </a:lnTo>
                    <a:close/>
                    <a:moveTo>
                      <a:pt x="118" y="21"/>
                    </a:moveTo>
                    <a:lnTo>
                      <a:pt x="120" y="21"/>
                    </a:lnTo>
                    <a:lnTo>
                      <a:pt x="120" y="23"/>
                    </a:lnTo>
                    <a:lnTo>
                      <a:pt x="118" y="23"/>
                    </a:lnTo>
                    <a:lnTo>
                      <a:pt x="118" y="21"/>
                    </a:lnTo>
                    <a:close/>
                    <a:moveTo>
                      <a:pt x="38" y="120"/>
                    </a:moveTo>
                    <a:lnTo>
                      <a:pt x="38" y="122"/>
                    </a:lnTo>
                    <a:lnTo>
                      <a:pt x="38" y="120"/>
                    </a:lnTo>
                    <a:close/>
                    <a:moveTo>
                      <a:pt x="92" y="50"/>
                    </a:moveTo>
                    <a:lnTo>
                      <a:pt x="94" y="50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2" y="50"/>
                    </a:lnTo>
                    <a:close/>
                    <a:moveTo>
                      <a:pt x="90" y="56"/>
                    </a:moveTo>
                    <a:lnTo>
                      <a:pt x="92" y="56"/>
                    </a:lnTo>
                    <a:lnTo>
                      <a:pt x="92" y="57"/>
                    </a:lnTo>
                    <a:lnTo>
                      <a:pt x="90" y="57"/>
                    </a:lnTo>
                    <a:lnTo>
                      <a:pt x="90" y="56"/>
                    </a:lnTo>
                    <a:close/>
                    <a:moveTo>
                      <a:pt x="40" y="109"/>
                    </a:moveTo>
                    <a:lnTo>
                      <a:pt x="42" y="109"/>
                    </a:lnTo>
                    <a:lnTo>
                      <a:pt x="42" y="111"/>
                    </a:lnTo>
                    <a:lnTo>
                      <a:pt x="40" y="111"/>
                    </a:lnTo>
                    <a:lnTo>
                      <a:pt x="40" y="109"/>
                    </a:lnTo>
                    <a:close/>
                    <a:moveTo>
                      <a:pt x="27" y="80"/>
                    </a:moveTo>
                    <a:lnTo>
                      <a:pt x="29" y="80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close/>
                    <a:moveTo>
                      <a:pt x="48" y="130"/>
                    </a:moveTo>
                    <a:lnTo>
                      <a:pt x="50" y="130"/>
                    </a:lnTo>
                    <a:lnTo>
                      <a:pt x="50" y="134"/>
                    </a:lnTo>
                    <a:lnTo>
                      <a:pt x="48" y="134"/>
                    </a:lnTo>
                    <a:lnTo>
                      <a:pt x="48" y="130"/>
                    </a:lnTo>
                    <a:close/>
                    <a:moveTo>
                      <a:pt x="120" y="14"/>
                    </a:moveTo>
                    <a:lnTo>
                      <a:pt x="122" y="14"/>
                    </a:lnTo>
                    <a:lnTo>
                      <a:pt x="122" y="15"/>
                    </a:lnTo>
                    <a:lnTo>
                      <a:pt x="120" y="15"/>
                    </a:lnTo>
                    <a:lnTo>
                      <a:pt x="120" y="14"/>
                    </a:lnTo>
                    <a:close/>
                    <a:moveTo>
                      <a:pt x="113" y="14"/>
                    </a:moveTo>
                    <a:lnTo>
                      <a:pt x="115" y="14"/>
                    </a:lnTo>
                    <a:lnTo>
                      <a:pt x="115" y="15"/>
                    </a:lnTo>
                    <a:lnTo>
                      <a:pt x="113" y="15"/>
                    </a:lnTo>
                    <a:lnTo>
                      <a:pt x="113" y="14"/>
                    </a:lnTo>
                    <a:close/>
                    <a:moveTo>
                      <a:pt x="36" y="132"/>
                    </a:moveTo>
                    <a:lnTo>
                      <a:pt x="38" y="132"/>
                    </a:lnTo>
                    <a:lnTo>
                      <a:pt x="38" y="134"/>
                    </a:lnTo>
                    <a:lnTo>
                      <a:pt x="36" y="134"/>
                    </a:lnTo>
                    <a:lnTo>
                      <a:pt x="36" y="132"/>
                    </a:lnTo>
                    <a:close/>
                    <a:moveTo>
                      <a:pt x="23" y="92"/>
                    </a:moveTo>
                    <a:lnTo>
                      <a:pt x="25" y="92"/>
                    </a:lnTo>
                    <a:lnTo>
                      <a:pt x="23" y="92"/>
                    </a:lnTo>
                    <a:close/>
                    <a:moveTo>
                      <a:pt x="46" y="141"/>
                    </a:moveTo>
                    <a:lnTo>
                      <a:pt x="46" y="143"/>
                    </a:lnTo>
                    <a:lnTo>
                      <a:pt x="46" y="141"/>
                    </a:lnTo>
                    <a:close/>
                    <a:moveTo>
                      <a:pt x="103" y="21"/>
                    </a:moveTo>
                    <a:lnTo>
                      <a:pt x="103" y="23"/>
                    </a:lnTo>
                    <a:lnTo>
                      <a:pt x="103" y="21"/>
                    </a:lnTo>
                    <a:close/>
                    <a:moveTo>
                      <a:pt x="46" y="140"/>
                    </a:moveTo>
                    <a:lnTo>
                      <a:pt x="48" y="140"/>
                    </a:lnTo>
                    <a:lnTo>
                      <a:pt x="48" y="141"/>
                    </a:lnTo>
                    <a:lnTo>
                      <a:pt x="46" y="141"/>
                    </a:lnTo>
                    <a:lnTo>
                      <a:pt x="46" y="140"/>
                    </a:lnTo>
                    <a:close/>
                    <a:moveTo>
                      <a:pt x="36" y="166"/>
                    </a:moveTo>
                    <a:lnTo>
                      <a:pt x="38" y="166"/>
                    </a:lnTo>
                    <a:lnTo>
                      <a:pt x="38" y="168"/>
                    </a:lnTo>
                    <a:lnTo>
                      <a:pt x="36" y="168"/>
                    </a:lnTo>
                    <a:lnTo>
                      <a:pt x="36" y="166"/>
                    </a:lnTo>
                    <a:close/>
                    <a:moveTo>
                      <a:pt x="46" y="138"/>
                    </a:moveTo>
                    <a:lnTo>
                      <a:pt x="48" y="138"/>
                    </a:lnTo>
                    <a:lnTo>
                      <a:pt x="48" y="140"/>
                    </a:lnTo>
                    <a:lnTo>
                      <a:pt x="46" y="140"/>
                    </a:lnTo>
                    <a:lnTo>
                      <a:pt x="46" y="138"/>
                    </a:lnTo>
                    <a:close/>
                    <a:moveTo>
                      <a:pt x="44" y="155"/>
                    </a:moveTo>
                    <a:lnTo>
                      <a:pt x="46" y="155"/>
                    </a:lnTo>
                    <a:lnTo>
                      <a:pt x="46" y="157"/>
                    </a:lnTo>
                    <a:lnTo>
                      <a:pt x="44" y="157"/>
                    </a:lnTo>
                    <a:lnTo>
                      <a:pt x="44" y="155"/>
                    </a:lnTo>
                    <a:close/>
                    <a:moveTo>
                      <a:pt x="84" y="199"/>
                    </a:moveTo>
                    <a:lnTo>
                      <a:pt x="86" y="199"/>
                    </a:lnTo>
                    <a:lnTo>
                      <a:pt x="86" y="201"/>
                    </a:lnTo>
                    <a:lnTo>
                      <a:pt x="84" y="201"/>
                    </a:lnTo>
                    <a:lnTo>
                      <a:pt x="84" y="199"/>
                    </a:lnTo>
                    <a:close/>
                    <a:moveTo>
                      <a:pt x="48" y="136"/>
                    </a:moveTo>
                    <a:lnTo>
                      <a:pt x="50" y="136"/>
                    </a:lnTo>
                    <a:lnTo>
                      <a:pt x="48" y="136"/>
                    </a:lnTo>
                    <a:close/>
                    <a:moveTo>
                      <a:pt x="57" y="153"/>
                    </a:moveTo>
                    <a:lnTo>
                      <a:pt x="59" y="153"/>
                    </a:lnTo>
                    <a:lnTo>
                      <a:pt x="59" y="155"/>
                    </a:lnTo>
                    <a:lnTo>
                      <a:pt x="57" y="155"/>
                    </a:lnTo>
                    <a:lnTo>
                      <a:pt x="57" y="153"/>
                    </a:lnTo>
                    <a:close/>
                    <a:moveTo>
                      <a:pt x="31" y="117"/>
                    </a:moveTo>
                    <a:lnTo>
                      <a:pt x="33" y="117"/>
                    </a:lnTo>
                    <a:lnTo>
                      <a:pt x="31" y="117"/>
                    </a:lnTo>
                    <a:close/>
                    <a:moveTo>
                      <a:pt x="21" y="96"/>
                    </a:moveTo>
                    <a:lnTo>
                      <a:pt x="23" y="96"/>
                    </a:lnTo>
                    <a:lnTo>
                      <a:pt x="23" y="98"/>
                    </a:lnTo>
                    <a:lnTo>
                      <a:pt x="21" y="98"/>
                    </a:lnTo>
                    <a:lnTo>
                      <a:pt x="21" y="96"/>
                    </a:lnTo>
                    <a:close/>
                    <a:moveTo>
                      <a:pt x="36" y="113"/>
                    </a:moveTo>
                    <a:lnTo>
                      <a:pt x="38" y="113"/>
                    </a:lnTo>
                    <a:lnTo>
                      <a:pt x="38" y="115"/>
                    </a:lnTo>
                    <a:lnTo>
                      <a:pt x="36" y="115"/>
                    </a:lnTo>
                    <a:lnTo>
                      <a:pt x="36" y="113"/>
                    </a:lnTo>
                    <a:close/>
                    <a:moveTo>
                      <a:pt x="40" y="101"/>
                    </a:moveTo>
                    <a:lnTo>
                      <a:pt x="42" y="101"/>
                    </a:lnTo>
                    <a:lnTo>
                      <a:pt x="42" y="103"/>
                    </a:lnTo>
                    <a:lnTo>
                      <a:pt x="40" y="103"/>
                    </a:lnTo>
                    <a:lnTo>
                      <a:pt x="40" y="101"/>
                    </a:lnTo>
                    <a:close/>
                    <a:moveTo>
                      <a:pt x="86" y="63"/>
                    </a:moveTo>
                    <a:lnTo>
                      <a:pt x="88" y="63"/>
                    </a:lnTo>
                    <a:lnTo>
                      <a:pt x="86" y="63"/>
                    </a:lnTo>
                    <a:close/>
                    <a:moveTo>
                      <a:pt x="15" y="120"/>
                    </a:moveTo>
                    <a:lnTo>
                      <a:pt x="17" y="120"/>
                    </a:lnTo>
                    <a:lnTo>
                      <a:pt x="15" y="120"/>
                    </a:lnTo>
                    <a:close/>
                    <a:moveTo>
                      <a:pt x="90" y="46"/>
                    </a:moveTo>
                    <a:lnTo>
                      <a:pt x="92" y="46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6"/>
                    </a:lnTo>
                    <a:close/>
                    <a:moveTo>
                      <a:pt x="109" y="15"/>
                    </a:moveTo>
                    <a:lnTo>
                      <a:pt x="111" y="15"/>
                    </a:lnTo>
                    <a:lnTo>
                      <a:pt x="111" y="17"/>
                    </a:lnTo>
                    <a:lnTo>
                      <a:pt x="109" y="17"/>
                    </a:lnTo>
                    <a:lnTo>
                      <a:pt x="109" y="15"/>
                    </a:lnTo>
                    <a:close/>
                    <a:moveTo>
                      <a:pt x="111" y="40"/>
                    </a:moveTo>
                    <a:lnTo>
                      <a:pt x="111" y="42"/>
                    </a:lnTo>
                    <a:lnTo>
                      <a:pt x="111" y="40"/>
                    </a:lnTo>
                    <a:close/>
                    <a:moveTo>
                      <a:pt x="97" y="46"/>
                    </a:moveTo>
                    <a:lnTo>
                      <a:pt x="99" y="46"/>
                    </a:lnTo>
                    <a:lnTo>
                      <a:pt x="99" y="48"/>
                    </a:lnTo>
                    <a:lnTo>
                      <a:pt x="97" y="48"/>
                    </a:lnTo>
                    <a:lnTo>
                      <a:pt x="97" y="46"/>
                    </a:lnTo>
                    <a:close/>
                    <a:moveTo>
                      <a:pt x="115" y="23"/>
                    </a:moveTo>
                    <a:lnTo>
                      <a:pt x="116" y="23"/>
                    </a:lnTo>
                    <a:lnTo>
                      <a:pt x="116" y="25"/>
                    </a:lnTo>
                    <a:lnTo>
                      <a:pt x="115" y="25"/>
                    </a:lnTo>
                    <a:lnTo>
                      <a:pt x="115" y="23"/>
                    </a:lnTo>
                    <a:close/>
                    <a:moveTo>
                      <a:pt x="21" y="115"/>
                    </a:moveTo>
                    <a:lnTo>
                      <a:pt x="21" y="117"/>
                    </a:lnTo>
                    <a:lnTo>
                      <a:pt x="21" y="115"/>
                    </a:lnTo>
                    <a:close/>
                    <a:moveTo>
                      <a:pt x="31" y="92"/>
                    </a:moveTo>
                    <a:lnTo>
                      <a:pt x="31" y="94"/>
                    </a:lnTo>
                    <a:lnTo>
                      <a:pt x="31" y="92"/>
                    </a:lnTo>
                    <a:close/>
                    <a:moveTo>
                      <a:pt x="0" y="94"/>
                    </a:moveTo>
                    <a:lnTo>
                      <a:pt x="0" y="96"/>
                    </a:lnTo>
                    <a:lnTo>
                      <a:pt x="0" y="94"/>
                    </a:lnTo>
                    <a:close/>
                    <a:moveTo>
                      <a:pt x="42" y="124"/>
                    </a:moveTo>
                    <a:lnTo>
                      <a:pt x="44" y="124"/>
                    </a:lnTo>
                    <a:lnTo>
                      <a:pt x="42" y="124"/>
                    </a:lnTo>
                    <a:close/>
                    <a:moveTo>
                      <a:pt x="15" y="122"/>
                    </a:moveTo>
                    <a:lnTo>
                      <a:pt x="15" y="124"/>
                    </a:lnTo>
                    <a:lnTo>
                      <a:pt x="15" y="122"/>
                    </a:lnTo>
                    <a:close/>
                    <a:moveTo>
                      <a:pt x="21" y="103"/>
                    </a:moveTo>
                    <a:lnTo>
                      <a:pt x="23" y="103"/>
                    </a:lnTo>
                    <a:lnTo>
                      <a:pt x="23" y="105"/>
                    </a:lnTo>
                    <a:lnTo>
                      <a:pt x="21" y="105"/>
                    </a:lnTo>
                    <a:lnTo>
                      <a:pt x="21" y="103"/>
                    </a:lnTo>
                    <a:close/>
                    <a:moveTo>
                      <a:pt x="115" y="23"/>
                    </a:moveTo>
                    <a:lnTo>
                      <a:pt x="116" y="23"/>
                    </a:lnTo>
                    <a:lnTo>
                      <a:pt x="116" y="25"/>
                    </a:lnTo>
                    <a:lnTo>
                      <a:pt x="115" y="25"/>
                    </a:lnTo>
                    <a:lnTo>
                      <a:pt x="115" y="23"/>
                    </a:lnTo>
                    <a:close/>
                    <a:moveTo>
                      <a:pt x="13" y="103"/>
                    </a:moveTo>
                    <a:lnTo>
                      <a:pt x="15" y="103"/>
                    </a:lnTo>
                    <a:lnTo>
                      <a:pt x="13" y="103"/>
                    </a:lnTo>
                    <a:close/>
                    <a:moveTo>
                      <a:pt x="36" y="122"/>
                    </a:moveTo>
                    <a:lnTo>
                      <a:pt x="38" y="122"/>
                    </a:lnTo>
                    <a:lnTo>
                      <a:pt x="38" y="124"/>
                    </a:lnTo>
                    <a:lnTo>
                      <a:pt x="36" y="124"/>
                    </a:lnTo>
                    <a:lnTo>
                      <a:pt x="36" y="122"/>
                    </a:lnTo>
                    <a:close/>
                    <a:moveTo>
                      <a:pt x="36" y="145"/>
                    </a:moveTo>
                    <a:lnTo>
                      <a:pt x="38" y="145"/>
                    </a:lnTo>
                    <a:lnTo>
                      <a:pt x="38" y="147"/>
                    </a:lnTo>
                    <a:lnTo>
                      <a:pt x="36" y="147"/>
                    </a:lnTo>
                    <a:lnTo>
                      <a:pt x="36" y="145"/>
                    </a:lnTo>
                    <a:close/>
                    <a:moveTo>
                      <a:pt x="107" y="157"/>
                    </a:moveTo>
                    <a:lnTo>
                      <a:pt x="109" y="157"/>
                    </a:lnTo>
                    <a:lnTo>
                      <a:pt x="107" y="157"/>
                    </a:lnTo>
                    <a:close/>
                    <a:moveTo>
                      <a:pt x="36" y="132"/>
                    </a:moveTo>
                    <a:lnTo>
                      <a:pt x="36" y="134"/>
                    </a:lnTo>
                    <a:lnTo>
                      <a:pt x="36" y="132"/>
                    </a:lnTo>
                    <a:close/>
                    <a:moveTo>
                      <a:pt x="48" y="140"/>
                    </a:moveTo>
                    <a:lnTo>
                      <a:pt x="48" y="141"/>
                    </a:lnTo>
                    <a:lnTo>
                      <a:pt x="48" y="140"/>
                    </a:lnTo>
                    <a:close/>
                    <a:moveTo>
                      <a:pt x="17" y="120"/>
                    </a:moveTo>
                    <a:lnTo>
                      <a:pt x="17" y="122"/>
                    </a:lnTo>
                    <a:lnTo>
                      <a:pt x="17" y="120"/>
                    </a:lnTo>
                    <a:close/>
                    <a:moveTo>
                      <a:pt x="84" y="59"/>
                    </a:moveTo>
                    <a:lnTo>
                      <a:pt x="84" y="61"/>
                    </a:lnTo>
                    <a:lnTo>
                      <a:pt x="84" y="59"/>
                    </a:lnTo>
                    <a:close/>
                    <a:moveTo>
                      <a:pt x="113" y="15"/>
                    </a:moveTo>
                    <a:lnTo>
                      <a:pt x="115" y="15"/>
                    </a:lnTo>
                    <a:lnTo>
                      <a:pt x="115" y="17"/>
                    </a:lnTo>
                    <a:lnTo>
                      <a:pt x="113" y="17"/>
                    </a:lnTo>
                    <a:lnTo>
                      <a:pt x="113" y="15"/>
                    </a:lnTo>
                    <a:close/>
                    <a:moveTo>
                      <a:pt x="86" y="67"/>
                    </a:moveTo>
                    <a:lnTo>
                      <a:pt x="88" y="67"/>
                    </a:lnTo>
                    <a:lnTo>
                      <a:pt x="88" y="69"/>
                    </a:lnTo>
                    <a:lnTo>
                      <a:pt x="86" y="69"/>
                    </a:lnTo>
                    <a:lnTo>
                      <a:pt x="86" y="67"/>
                    </a:lnTo>
                    <a:close/>
                    <a:moveTo>
                      <a:pt x="21" y="105"/>
                    </a:moveTo>
                    <a:lnTo>
                      <a:pt x="23" y="105"/>
                    </a:lnTo>
                    <a:lnTo>
                      <a:pt x="23" y="107"/>
                    </a:lnTo>
                    <a:lnTo>
                      <a:pt x="21" y="107"/>
                    </a:lnTo>
                    <a:lnTo>
                      <a:pt x="21" y="105"/>
                    </a:lnTo>
                    <a:close/>
                    <a:moveTo>
                      <a:pt x="63" y="275"/>
                    </a:moveTo>
                    <a:lnTo>
                      <a:pt x="63" y="277"/>
                    </a:lnTo>
                    <a:lnTo>
                      <a:pt x="63" y="275"/>
                    </a:lnTo>
                    <a:close/>
                    <a:moveTo>
                      <a:pt x="46" y="94"/>
                    </a:moveTo>
                    <a:lnTo>
                      <a:pt x="48" y="94"/>
                    </a:lnTo>
                    <a:lnTo>
                      <a:pt x="46" y="94"/>
                    </a:lnTo>
                    <a:close/>
                    <a:moveTo>
                      <a:pt x="120" y="21"/>
                    </a:moveTo>
                    <a:lnTo>
                      <a:pt x="120" y="23"/>
                    </a:lnTo>
                    <a:lnTo>
                      <a:pt x="120" y="21"/>
                    </a:lnTo>
                    <a:close/>
                    <a:moveTo>
                      <a:pt x="88" y="199"/>
                    </a:moveTo>
                    <a:lnTo>
                      <a:pt x="90" y="199"/>
                    </a:lnTo>
                    <a:lnTo>
                      <a:pt x="88" y="199"/>
                    </a:lnTo>
                    <a:close/>
                    <a:moveTo>
                      <a:pt x="111" y="19"/>
                    </a:moveTo>
                    <a:lnTo>
                      <a:pt x="111" y="21"/>
                    </a:lnTo>
                    <a:lnTo>
                      <a:pt x="111" y="19"/>
                    </a:lnTo>
                    <a:close/>
                    <a:moveTo>
                      <a:pt x="44" y="107"/>
                    </a:moveTo>
                    <a:lnTo>
                      <a:pt x="44" y="109"/>
                    </a:lnTo>
                    <a:lnTo>
                      <a:pt x="44" y="107"/>
                    </a:lnTo>
                    <a:close/>
                    <a:moveTo>
                      <a:pt x="88" y="54"/>
                    </a:moveTo>
                    <a:lnTo>
                      <a:pt x="90" y="54"/>
                    </a:lnTo>
                    <a:lnTo>
                      <a:pt x="90" y="56"/>
                    </a:lnTo>
                    <a:lnTo>
                      <a:pt x="88" y="56"/>
                    </a:lnTo>
                    <a:lnTo>
                      <a:pt x="88" y="54"/>
                    </a:lnTo>
                    <a:close/>
                    <a:moveTo>
                      <a:pt x="120" y="6"/>
                    </a:moveTo>
                    <a:lnTo>
                      <a:pt x="120" y="8"/>
                    </a:lnTo>
                    <a:lnTo>
                      <a:pt x="120" y="6"/>
                    </a:lnTo>
                    <a:close/>
                    <a:moveTo>
                      <a:pt x="46" y="147"/>
                    </a:moveTo>
                    <a:lnTo>
                      <a:pt x="46" y="149"/>
                    </a:lnTo>
                    <a:lnTo>
                      <a:pt x="46" y="147"/>
                    </a:lnTo>
                    <a:close/>
                    <a:moveTo>
                      <a:pt x="50" y="88"/>
                    </a:moveTo>
                    <a:lnTo>
                      <a:pt x="52" y="88"/>
                    </a:lnTo>
                    <a:lnTo>
                      <a:pt x="50" y="88"/>
                    </a:lnTo>
                    <a:close/>
                    <a:moveTo>
                      <a:pt x="52" y="262"/>
                    </a:moveTo>
                    <a:lnTo>
                      <a:pt x="54" y="262"/>
                    </a:lnTo>
                    <a:lnTo>
                      <a:pt x="52" y="262"/>
                    </a:lnTo>
                    <a:close/>
                    <a:moveTo>
                      <a:pt x="29" y="88"/>
                    </a:moveTo>
                    <a:lnTo>
                      <a:pt x="29" y="90"/>
                    </a:lnTo>
                    <a:lnTo>
                      <a:pt x="29" y="88"/>
                    </a:lnTo>
                    <a:close/>
                    <a:moveTo>
                      <a:pt x="17" y="98"/>
                    </a:moveTo>
                    <a:lnTo>
                      <a:pt x="19" y="98"/>
                    </a:lnTo>
                    <a:lnTo>
                      <a:pt x="19" y="99"/>
                    </a:lnTo>
                    <a:lnTo>
                      <a:pt x="17" y="99"/>
                    </a:lnTo>
                    <a:lnTo>
                      <a:pt x="17" y="98"/>
                    </a:lnTo>
                    <a:close/>
                    <a:moveTo>
                      <a:pt x="122" y="4"/>
                    </a:moveTo>
                    <a:lnTo>
                      <a:pt x="122" y="6"/>
                    </a:lnTo>
                    <a:lnTo>
                      <a:pt x="122" y="4"/>
                    </a:lnTo>
                    <a:close/>
                    <a:moveTo>
                      <a:pt x="46" y="140"/>
                    </a:moveTo>
                    <a:lnTo>
                      <a:pt x="46" y="141"/>
                    </a:lnTo>
                    <a:lnTo>
                      <a:pt x="46" y="140"/>
                    </a:lnTo>
                    <a:close/>
                    <a:moveTo>
                      <a:pt x="52" y="80"/>
                    </a:moveTo>
                    <a:lnTo>
                      <a:pt x="54" y="80"/>
                    </a:lnTo>
                    <a:lnTo>
                      <a:pt x="52" y="80"/>
                    </a:lnTo>
                    <a:close/>
                    <a:moveTo>
                      <a:pt x="54" y="153"/>
                    </a:moveTo>
                    <a:lnTo>
                      <a:pt x="55" y="153"/>
                    </a:lnTo>
                    <a:lnTo>
                      <a:pt x="54" y="153"/>
                    </a:lnTo>
                    <a:close/>
                    <a:moveTo>
                      <a:pt x="44" y="109"/>
                    </a:moveTo>
                    <a:lnTo>
                      <a:pt x="44" y="111"/>
                    </a:lnTo>
                    <a:lnTo>
                      <a:pt x="44" y="109"/>
                    </a:lnTo>
                    <a:close/>
                    <a:moveTo>
                      <a:pt x="52" y="258"/>
                    </a:moveTo>
                    <a:lnTo>
                      <a:pt x="52" y="260"/>
                    </a:lnTo>
                    <a:lnTo>
                      <a:pt x="52" y="258"/>
                    </a:lnTo>
                    <a:close/>
                    <a:moveTo>
                      <a:pt x="94" y="50"/>
                    </a:moveTo>
                    <a:lnTo>
                      <a:pt x="94" y="52"/>
                    </a:lnTo>
                    <a:lnTo>
                      <a:pt x="94" y="50"/>
                    </a:lnTo>
                    <a:close/>
                    <a:moveTo>
                      <a:pt x="34" y="138"/>
                    </a:moveTo>
                    <a:lnTo>
                      <a:pt x="34" y="140"/>
                    </a:lnTo>
                    <a:lnTo>
                      <a:pt x="34" y="138"/>
                    </a:lnTo>
                    <a:close/>
                    <a:moveTo>
                      <a:pt x="36" y="306"/>
                    </a:moveTo>
                    <a:lnTo>
                      <a:pt x="36" y="307"/>
                    </a:lnTo>
                    <a:lnTo>
                      <a:pt x="36" y="306"/>
                    </a:lnTo>
                    <a:close/>
                    <a:moveTo>
                      <a:pt x="61" y="265"/>
                    </a:moveTo>
                    <a:lnTo>
                      <a:pt x="63" y="265"/>
                    </a:lnTo>
                    <a:lnTo>
                      <a:pt x="61" y="265"/>
                    </a:lnTo>
                    <a:close/>
                    <a:moveTo>
                      <a:pt x="33" y="117"/>
                    </a:moveTo>
                    <a:lnTo>
                      <a:pt x="34" y="117"/>
                    </a:lnTo>
                    <a:lnTo>
                      <a:pt x="33" y="117"/>
                    </a:lnTo>
                    <a:close/>
                    <a:moveTo>
                      <a:pt x="42" y="128"/>
                    </a:moveTo>
                    <a:lnTo>
                      <a:pt x="44" y="128"/>
                    </a:lnTo>
                    <a:lnTo>
                      <a:pt x="42" y="128"/>
                    </a:lnTo>
                    <a:close/>
                    <a:moveTo>
                      <a:pt x="23" y="96"/>
                    </a:moveTo>
                    <a:lnTo>
                      <a:pt x="25" y="96"/>
                    </a:lnTo>
                    <a:lnTo>
                      <a:pt x="23" y="96"/>
                    </a:lnTo>
                    <a:close/>
                    <a:moveTo>
                      <a:pt x="59" y="235"/>
                    </a:moveTo>
                    <a:lnTo>
                      <a:pt x="61" y="235"/>
                    </a:lnTo>
                    <a:lnTo>
                      <a:pt x="61" y="237"/>
                    </a:lnTo>
                    <a:lnTo>
                      <a:pt x="59" y="237"/>
                    </a:lnTo>
                    <a:lnTo>
                      <a:pt x="59" y="235"/>
                    </a:lnTo>
                    <a:close/>
                    <a:moveTo>
                      <a:pt x="34" y="92"/>
                    </a:moveTo>
                    <a:lnTo>
                      <a:pt x="36" y="92"/>
                    </a:lnTo>
                    <a:lnTo>
                      <a:pt x="34" y="92"/>
                    </a:lnTo>
                    <a:close/>
                    <a:moveTo>
                      <a:pt x="50" y="130"/>
                    </a:moveTo>
                    <a:lnTo>
                      <a:pt x="52" y="130"/>
                    </a:lnTo>
                    <a:lnTo>
                      <a:pt x="50" y="130"/>
                    </a:lnTo>
                    <a:close/>
                    <a:moveTo>
                      <a:pt x="44" y="96"/>
                    </a:moveTo>
                    <a:lnTo>
                      <a:pt x="44" y="98"/>
                    </a:lnTo>
                    <a:lnTo>
                      <a:pt x="44" y="96"/>
                    </a:lnTo>
                    <a:close/>
                    <a:moveTo>
                      <a:pt x="44" y="140"/>
                    </a:moveTo>
                    <a:lnTo>
                      <a:pt x="46" y="140"/>
                    </a:lnTo>
                    <a:lnTo>
                      <a:pt x="44" y="140"/>
                    </a:lnTo>
                    <a:close/>
                    <a:moveTo>
                      <a:pt x="128" y="210"/>
                    </a:moveTo>
                    <a:lnTo>
                      <a:pt x="128" y="212"/>
                    </a:lnTo>
                    <a:lnTo>
                      <a:pt x="128" y="210"/>
                    </a:lnTo>
                    <a:close/>
                    <a:moveTo>
                      <a:pt x="34" y="307"/>
                    </a:moveTo>
                    <a:lnTo>
                      <a:pt x="36" y="307"/>
                    </a:lnTo>
                    <a:lnTo>
                      <a:pt x="34" y="307"/>
                    </a:lnTo>
                    <a:close/>
                    <a:moveTo>
                      <a:pt x="48" y="141"/>
                    </a:moveTo>
                    <a:lnTo>
                      <a:pt x="48" y="143"/>
                    </a:lnTo>
                    <a:lnTo>
                      <a:pt x="48" y="141"/>
                    </a:lnTo>
                    <a:close/>
                    <a:moveTo>
                      <a:pt x="88" y="65"/>
                    </a:moveTo>
                    <a:lnTo>
                      <a:pt x="88" y="67"/>
                    </a:lnTo>
                    <a:lnTo>
                      <a:pt x="88" y="65"/>
                    </a:lnTo>
                    <a:close/>
                    <a:moveTo>
                      <a:pt x="21" y="103"/>
                    </a:moveTo>
                    <a:lnTo>
                      <a:pt x="21" y="105"/>
                    </a:lnTo>
                    <a:lnTo>
                      <a:pt x="21" y="103"/>
                    </a:lnTo>
                    <a:close/>
                    <a:moveTo>
                      <a:pt x="19" y="105"/>
                    </a:moveTo>
                    <a:lnTo>
                      <a:pt x="19" y="107"/>
                    </a:lnTo>
                    <a:lnTo>
                      <a:pt x="19" y="10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4" name="Freeform 43">
                <a:extLst>
                  <a:ext uri="{FF2B5EF4-FFF2-40B4-BE49-F238E27FC236}">
                    <a16:creationId xmlns:a16="http://schemas.microsoft.com/office/drawing/2014/main" id="{B1468735-C992-4482-F960-DC5BB35618D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026666" y="-3343071"/>
                <a:ext cx="7877" cy="3158"/>
              </a:xfrm>
              <a:custGeom>
                <a:avLst/>
                <a:gdLst>
                  <a:gd name="T0" fmla="*/ 0 w 5"/>
                  <a:gd name="T1" fmla="*/ 0 h 2"/>
                  <a:gd name="T2" fmla="*/ 3 w 5"/>
                  <a:gd name="T3" fmla="*/ 0 h 2"/>
                  <a:gd name="T4" fmla="*/ 3 w 5"/>
                  <a:gd name="T5" fmla="*/ 2 h 2"/>
                  <a:gd name="T6" fmla="*/ 0 w 5"/>
                  <a:gd name="T7" fmla="*/ 2 h 2"/>
                  <a:gd name="T8" fmla="*/ 0 w 5"/>
                  <a:gd name="T9" fmla="*/ 0 h 2"/>
                  <a:gd name="T10" fmla="*/ 5 w 5"/>
                  <a:gd name="T11" fmla="*/ 0 h 2"/>
                  <a:gd name="T12" fmla="*/ 5 w 5"/>
                  <a:gd name="T13" fmla="*/ 2 h 2"/>
                  <a:gd name="T14" fmla="*/ 5 w 5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5" y="0"/>
                    </a:move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5" name="Freeform 44">
                <a:extLst>
                  <a:ext uri="{FF2B5EF4-FFF2-40B4-BE49-F238E27FC236}">
                    <a16:creationId xmlns:a16="http://schemas.microsoft.com/office/drawing/2014/main" id="{5CF7431C-1F7F-D1E1-EFDB-B232AD7526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37698" y="-3333601"/>
                <a:ext cx="6302" cy="1579"/>
              </a:xfrm>
              <a:custGeom>
                <a:avLst/>
                <a:gdLst>
                  <a:gd name="T0" fmla="*/ 2 w 4"/>
                  <a:gd name="T1" fmla="*/ 0 h 1"/>
                  <a:gd name="T2" fmla="*/ 4 w 4"/>
                  <a:gd name="T3" fmla="*/ 0 h 1"/>
                  <a:gd name="T4" fmla="*/ 4 w 4"/>
                  <a:gd name="T5" fmla="*/ 1 h 1"/>
                  <a:gd name="T6" fmla="*/ 2 w 4"/>
                  <a:gd name="T7" fmla="*/ 1 h 1"/>
                  <a:gd name="T8" fmla="*/ 0 w 4"/>
                  <a:gd name="T9" fmla="*/ 1 h 1"/>
                  <a:gd name="T10" fmla="*/ 0 w 4"/>
                  <a:gd name="T11" fmla="*/ 0 h 1"/>
                  <a:gd name="T12" fmla="*/ 2 w 4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2" y="0"/>
                    </a:moveTo>
                    <a:lnTo>
                      <a:pt x="4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6" name="Freeform 46">
                <a:extLst>
                  <a:ext uri="{FF2B5EF4-FFF2-40B4-BE49-F238E27FC236}">
                    <a16:creationId xmlns:a16="http://schemas.microsoft.com/office/drawing/2014/main" id="{8FDF81FA-0A28-49DA-2A21-CBE2211EB32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39075" y="-3134705"/>
                <a:ext cx="564059" cy="501976"/>
              </a:xfrm>
              <a:custGeom>
                <a:avLst/>
                <a:gdLst>
                  <a:gd name="T0" fmla="*/ 268 w 358"/>
                  <a:gd name="T1" fmla="*/ 15 h 318"/>
                  <a:gd name="T2" fmla="*/ 282 w 358"/>
                  <a:gd name="T3" fmla="*/ 22 h 318"/>
                  <a:gd name="T4" fmla="*/ 297 w 358"/>
                  <a:gd name="T5" fmla="*/ 24 h 318"/>
                  <a:gd name="T6" fmla="*/ 312 w 358"/>
                  <a:gd name="T7" fmla="*/ 26 h 318"/>
                  <a:gd name="T8" fmla="*/ 320 w 358"/>
                  <a:gd name="T9" fmla="*/ 28 h 318"/>
                  <a:gd name="T10" fmla="*/ 333 w 358"/>
                  <a:gd name="T11" fmla="*/ 28 h 318"/>
                  <a:gd name="T12" fmla="*/ 339 w 358"/>
                  <a:gd name="T13" fmla="*/ 40 h 318"/>
                  <a:gd name="T14" fmla="*/ 324 w 358"/>
                  <a:gd name="T15" fmla="*/ 53 h 318"/>
                  <a:gd name="T16" fmla="*/ 309 w 358"/>
                  <a:gd name="T17" fmla="*/ 57 h 318"/>
                  <a:gd name="T18" fmla="*/ 299 w 358"/>
                  <a:gd name="T19" fmla="*/ 70 h 318"/>
                  <a:gd name="T20" fmla="*/ 291 w 358"/>
                  <a:gd name="T21" fmla="*/ 80 h 318"/>
                  <a:gd name="T22" fmla="*/ 286 w 358"/>
                  <a:gd name="T23" fmla="*/ 97 h 318"/>
                  <a:gd name="T24" fmla="*/ 288 w 358"/>
                  <a:gd name="T25" fmla="*/ 110 h 318"/>
                  <a:gd name="T26" fmla="*/ 274 w 358"/>
                  <a:gd name="T27" fmla="*/ 127 h 318"/>
                  <a:gd name="T28" fmla="*/ 267 w 358"/>
                  <a:gd name="T29" fmla="*/ 131 h 318"/>
                  <a:gd name="T30" fmla="*/ 249 w 358"/>
                  <a:gd name="T31" fmla="*/ 146 h 318"/>
                  <a:gd name="T32" fmla="*/ 228 w 358"/>
                  <a:gd name="T33" fmla="*/ 146 h 318"/>
                  <a:gd name="T34" fmla="*/ 209 w 358"/>
                  <a:gd name="T35" fmla="*/ 152 h 318"/>
                  <a:gd name="T36" fmla="*/ 194 w 358"/>
                  <a:gd name="T37" fmla="*/ 158 h 318"/>
                  <a:gd name="T38" fmla="*/ 188 w 358"/>
                  <a:gd name="T39" fmla="*/ 150 h 318"/>
                  <a:gd name="T40" fmla="*/ 179 w 358"/>
                  <a:gd name="T41" fmla="*/ 137 h 318"/>
                  <a:gd name="T42" fmla="*/ 171 w 358"/>
                  <a:gd name="T43" fmla="*/ 137 h 318"/>
                  <a:gd name="T44" fmla="*/ 177 w 358"/>
                  <a:gd name="T45" fmla="*/ 120 h 318"/>
                  <a:gd name="T46" fmla="*/ 173 w 358"/>
                  <a:gd name="T47" fmla="*/ 106 h 318"/>
                  <a:gd name="T48" fmla="*/ 169 w 358"/>
                  <a:gd name="T49" fmla="*/ 89 h 318"/>
                  <a:gd name="T50" fmla="*/ 179 w 358"/>
                  <a:gd name="T51" fmla="*/ 76 h 318"/>
                  <a:gd name="T52" fmla="*/ 179 w 358"/>
                  <a:gd name="T53" fmla="*/ 59 h 318"/>
                  <a:gd name="T54" fmla="*/ 188 w 358"/>
                  <a:gd name="T55" fmla="*/ 45 h 318"/>
                  <a:gd name="T56" fmla="*/ 171 w 358"/>
                  <a:gd name="T57" fmla="*/ 41 h 318"/>
                  <a:gd name="T58" fmla="*/ 160 w 358"/>
                  <a:gd name="T59" fmla="*/ 38 h 318"/>
                  <a:gd name="T60" fmla="*/ 146 w 358"/>
                  <a:gd name="T61" fmla="*/ 40 h 318"/>
                  <a:gd name="T62" fmla="*/ 146 w 358"/>
                  <a:gd name="T63" fmla="*/ 30 h 318"/>
                  <a:gd name="T64" fmla="*/ 145 w 358"/>
                  <a:gd name="T65" fmla="*/ 24 h 318"/>
                  <a:gd name="T66" fmla="*/ 141 w 358"/>
                  <a:gd name="T67" fmla="*/ 21 h 318"/>
                  <a:gd name="T68" fmla="*/ 146 w 358"/>
                  <a:gd name="T69" fmla="*/ 11 h 318"/>
                  <a:gd name="T70" fmla="*/ 156 w 358"/>
                  <a:gd name="T71" fmla="*/ 11 h 318"/>
                  <a:gd name="T72" fmla="*/ 156 w 358"/>
                  <a:gd name="T73" fmla="*/ 7 h 318"/>
                  <a:gd name="T74" fmla="*/ 165 w 358"/>
                  <a:gd name="T75" fmla="*/ 0 h 318"/>
                  <a:gd name="T76" fmla="*/ 177 w 358"/>
                  <a:gd name="T77" fmla="*/ 7 h 318"/>
                  <a:gd name="T78" fmla="*/ 192 w 358"/>
                  <a:gd name="T79" fmla="*/ 5 h 318"/>
                  <a:gd name="T80" fmla="*/ 207 w 358"/>
                  <a:gd name="T81" fmla="*/ 7 h 318"/>
                  <a:gd name="T82" fmla="*/ 228 w 358"/>
                  <a:gd name="T83" fmla="*/ 7 h 318"/>
                  <a:gd name="T84" fmla="*/ 240 w 358"/>
                  <a:gd name="T85" fmla="*/ 9 h 318"/>
                  <a:gd name="T86" fmla="*/ 255 w 358"/>
                  <a:gd name="T87" fmla="*/ 11 h 318"/>
                  <a:gd name="T88" fmla="*/ 343 w 358"/>
                  <a:gd name="T89" fmla="*/ 85 h 318"/>
                  <a:gd name="T90" fmla="*/ 335 w 358"/>
                  <a:gd name="T91" fmla="*/ 95 h 318"/>
                  <a:gd name="T92" fmla="*/ 326 w 358"/>
                  <a:gd name="T93" fmla="*/ 89 h 318"/>
                  <a:gd name="T94" fmla="*/ 30 w 358"/>
                  <a:gd name="T95" fmla="*/ 303 h 318"/>
                  <a:gd name="T96" fmla="*/ 19 w 358"/>
                  <a:gd name="T97" fmla="*/ 305 h 318"/>
                  <a:gd name="T98" fmla="*/ 68 w 358"/>
                  <a:gd name="T99" fmla="*/ 305 h 318"/>
                  <a:gd name="T100" fmla="*/ 64 w 358"/>
                  <a:gd name="T101" fmla="*/ 301 h 318"/>
                  <a:gd name="T102" fmla="*/ 42 w 358"/>
                  <a:gd name="T103" fmla="*/ 316 h 318"/>
                  <a:gd name="T104" fmla="*/ 74 w 358"/>
                  <a:gd name="T105" fmla="*/ 290 h 318"/>
                  <a:gd name="T106" fmla="*/ 70 w 358"/>
                  <a:gd name="T107" fmla="*/ 293 h 318"/>
                  <a:gd name="T108" fmla="*/ 352 w 358"/>
                  <a:gd name="T109" fmla="*/ 82 h 318"/>
                  <a:gd name="T110" fmla="*/ 5 w 358"/>
                  <a:gd name="T111" fmla="*/ 303 h 318"/>
                  <a:gd name="T112" fmla="*/ 310 w 358"/>
                  <a:gd name="T113" fmla="*/ 104 h 318"/>
                  <a:gd name="T114" fmla="*/ 13 w 358"/>
                  <a:gd name="T115" fmla="*/ 312 h 318"/>
                  <a:gd name="T116" fmla="*/ 310 w 358"/>
                  <a:gd name="T117" fmla="*/ 106 h 318"/>
                  <a:gd name="T118" fmla="*/ 242 w 358"/>
                  <a:gd name="T119" fmla="*/ 177 h 318"/>
                  <a:gd name="T120" fmla="*/ 146 w 358"/>
                  <a:gd name="T121" fmla="*/ 26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8" h="318">
                    <a:moveTo>
                      <a:pt x="261" y="9"/>
                    </a:moveTo>
                    <a:lnTo>
                      <a:pt x="261" y="11"/>
                    </a:lnTo>
                    <a:lnTo>
                      <a:pt x="263" y="11"/>
                    </a:lnTo>
                    <a:lnTo>
                      <a:pt x="265" y="11"/>
                    </a:lnTo>
                    <a:lnTo>
                      <a:pt x="267" y="11"/>
                    </a:lnTo>
                    <a:lnTo>
                      <a:pt x="267" y="13"/>
                    </a:lnTo>
                    <a:lnTo>
                      <a:pt x="267" y="15"/>
                    </a:lnTo>
                    <a:lnTo>
                      <a:pt x="265" y="15"/>
                    </a:lnTo>
                    <a:lnTo>
                      <a:pt x="265" y="17"/>
                    </a:lnTo>
                    <a:lnTo>
                      <a:pt x="267" y="17"/>
                    </a:lnTo>
                    <a:lnTo>
                      <a:pt x="267" y="15"/>
                    </a:lnTo>
                    <a:lnTo>
                      <a:pt x="268" y="15"/>
                    </a:lnTo>
                    <a:lnTo>
                      <a:pt x="268" y="17"/>
                    </a:lnTo>
                    <a:lnTo>
                      <a:pt x="270" y="17"/>
                    </a:lnTo>
                    <a:lnTo>
                      <a:pt x="272" y="17"/>
                    </a:lnTo>
                    <a:lnTo>
                      <a:pt x="274" y="19"/>
                    </a:lnTo>
                    <a:lnTo>
                      <a:pt x="276" y="19"/>
                    </a:lnTo>
                    <a:lnTo>
                      <a:pt x="278" y="21"/>
                    </a:lnTo>
                    <a:lnTo>
                      <a:pt x="280" y="21"/>
                    </a:lnTo>
                    <a:lnTo>
                      <a:pt x="280" y="22"/>
                    </a:lnTo>
                    <a:lnTo>
                      <a:pt x="280" y="21"/>
                    </a:lnTo>
                    <a:lnTo>
                      <a:pt x="282" y="22"/>
                    </a:lnTo>
                    <a:lnTo>
                      <a:pt x="282" y="21"/>
                    </a:lnTo>
                    <a:lnTo>
                      <a:pt x="282" y="22"/>
                    </a:lnTo>
                    <a:lnTo>
                      <a:pt x="284" y="21"/>
                    </a:lnTo>
                    <a:lnTo>
                      <a:pt x="286" y="22"/>
                    </a:lnTo>
                    <a:lnTo>
                      <a:pt x="288" y="22"/>
                    </a:lnTo>
                    <a:lnTo>
                      <a:pt x="288" y="24"/>
                    </a:lnTo>
                    <a:lnTo>
                      <a:pt x="289" y="24"/>
                    </a:lnTo>
                    <a:lnTo>
                      <a:pt x="289" y="22"/>
                    </a:lnTo>
                    <a:lnTo>
                      <a:pt x="291" y="22"/>
                    </a:lnTo>
                    <a:lnTo>
                      <a:pt x="293" y="22"/>
                    </a:lnTo>
                    <a:lnTo>
                      <a:pt x="293" y="24"/>
                    </a:lnTo>
                    <a:lnTo>
                      <a:pt x="295" y="22"/>
                    </a:lnTo>
                    <a:lnTo>
                      <a:pt x="295" y="24"/>
                    </a:lnTo>
                    <a:lnTo>
                      <a:pt x="297" y="24"/>
                    </a:lnTo>
                    <a:lnTo>
                      <a:pt x="299" y="24"/>
                    </a:lnTo>
                    <a:lnTo>
                      <a:pt x="299" y="22"/>
                    </a:lnTo>
                    <a:lnTo>
                      <a:pt x="299" y="21"/>
                    </a:lnTo>
                    <a:lnTo>
                      <a:pt x="303" y="21"/>
                    </a:lnTo>
                    <a:lnTo>
                      <a:pt x="303" y="22"/>
                    </a:lnTo>
                    <a:lnTo>
                      <a:pt x="305" y="21"/>
                    </a:lnTo>
                    <a:lnTo>
                      <a:pt x="305" y="22"/>
                    </a:lnTo>
                    <a:lnTo>
                      <a:pt x="307" y="24"/>
                    </a:lnTo>
                    <a:lnTo>
                      <a:pt x="309" y="22"/>
                    </a:lnTo>
                    <a:lnTo>
                      <a:pt x="310" y="22"/>
                    </a:lnTo>
                    <a:lnTo>
                      <a:pt x="310" y="24"/>
                    </a:lnTo>
                    <a:lnTo>
                      <a:pt x="312" y="26"/>
                    </a:lnTo>
                    <a:lnTo>
                      <a:pt x="310" y="26"/>
                    </a:lnTo>
                    <a:lnTo>
                      <a:pt x="312" y="26"/>
                    </a:lnTo>
                    <a:lnTo>
                      <a:pt x="310" y="26"/>
                    </a:lnTo>
                    <a:lnTo>
                      <a:pt x="312" y="26"/>
                    </a:lnTo>
                    <a:lnTo>
                      <a:pt x="312" y="28"/>
                    </a:lnTo>
                    <a:lnTo>
                      <a:pt x="310" y="28"/>
                    </a:lnTo>
                    <a:lnTo>
                      <a:pt x="312" y="28"/>
                    </a:lnTo>
                    <a:lnTo>
                      <a:pt x="312" y="30"/>
                    </a:lnTo>
                    <a:lnTo>
                      <a:pt x="314" y="28"/>
                    </a:lnTo>
                    <a:lnTo>
                      <a:pt x="316" y="28"/>
                    </a:lnTo>
                    <a:lnTo>
                      <a:pt x="318" y="28"/>
                    </a:lnTo>
                    <a:lnTo>
                      <a:pt x="320" y="28"/>
                    </a:lnTo>
                    <a:lnTo>
                      <a:pt x="320" y="30"/>
                    </a:lnTo>
                    <a:lnTo>
                      <a:pt x="320" y="32"/>
                    </a:lnTo>
                    <a:lnTo>
                      <a:pt x="322" y="30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9" y="32"/>
                    </a:lnTo>
                    <a:lnTo>
                      <a:pt x="329" y="30"/>
                    </a:lnTo>
                    <a:lnTo>
                      <a:pt x="331" y="32"/>
                    </a:lnTo>
                    <a:lnTo>
                      <a:pt x="331" y="30"/>
                    </a:lnTo>
                    <a:lnTo>
                      <a:pt x="333" y="30"/>
                    </a:lnTo>
                    <a:lnTo>
                      <a:pt x="333" y="28"/>
                    </a:lnTo>
                    <a:lnTo>
                      <a:pt x="335" y="28"/>
                    </a:lnTo>
                    <a:lnTo>
                      <a:pt x="337" y="28"/>
                    </a:lnTo>
                    <a:lnTo>
                      <a:pt x="337" y="30"/>
                    </a:lnTo>
                    <a:lnTo>
                      <a:pt x="339" y="30"/>
                    </a:lnTo>
                    <a:lnTo>
                      <a:pt x="339" y="32"/>
                    </a:lnTo>
                    <a:lnTo>
                      <a:pt x="341" y="32"/>
                    </a:lnTo>
                    <a:lnTo>
                      <a:pt x="341" y="34"/>
                    </a:lnTo>
                    <a:lnTo>
                      <a:pt x="339" y="34"/>
                    </a:lnTo>
                    <a:lnTo>
                      <a:pt x="337" y="34"/>
                    </a:lnTo>
                    <a:lnTo>
                      <a:pt x="339" y="36"/>
                    </a:lnTo>
                    <a:lnTo>
                      <a:pt x="339" y="38"/>
                    </a:lnTo>
                    <a:lnTo>
                      <a:pt x="339" y="40"/>
                    </a:lnTo>
                    <a:lnTo>
                      <a:pt x="339" y="41"/>
                    </a:lnTo>
                    <a:lnTo>
                      <a:pt x="337" y="41"/>
                    </a:lnTo>
                    <a:lnTo>
                      <a:pt x="337" y="43"/>
                    </a:lnTo>
                    <a:lnTo>
                      <a:pt x="335" y="43"/>
                    </a:lnTo>
                    <a:lnTo>
                      <a:pt x="335" y="45"/>
                    </a:lnTo>
                    <a:lnTo>
                      <a:pt x="333" y="45"/>
                    </a:lnTo>
                    <a:lnTo>
                      <a:pt x="329" y="47"/>
                    </a:lnTo>
                    <a:lnTo>
                      <a:pt x="326" y="49"/>
                    </a:lnTo>
                    <a:lnTo>
                      <a:pt x="324" y="51"/>
                    </a:lnTo>
                    <a:lnTo>
                      <a:pt x="324" y="53"/>
                    </a:lnTo>
                    <a:lnTo>
                      <a:pt x="324" y="51"/>
                    </a:lnTo>
                    <a:lnTo>
                      <a:pt x="324" y="53"/>
                    </a:lnTo>
                    <a:lnTo>
                      <a:pt x="322" y="53"/>
                    </a:lnTo>
                    <a:lnTo>
                      <a:pt x="324" y="53"/>
                    </a:lnTo>
                    <a:lnTo>
                      <a:pt x="322" y="53"/>
                    </a:lnTo>
                    <a:lnTo>
                      <a:pt x="322" y="55"/>
                    </a:lnTo>
                    <a:lnTo>
                      <a:pt x="320" y="55"/>
                    </a:lnTo>
                    <a:lnTo>
                      <a:pt x="316" y="55"/>
                    </a:lnTo>
                    <a:lnTo>
                      <a:pt x="314" y="57"/>
                    </a:lnTo>
                    <a:lnTo>
                      <a:pt x="312" y="57"/>
                    </a:lnTo>
                    <a:lnTo>
                      <a:pt x="310" y="57"/>
                    </a:lnTo>
                    <a:lnTo>
                      <a:pt x="309" y="57"/>
                    </a:lnTo>
                    <a:lnTo>
                      <a:pt x="309" y="59"/>
                    </a:lnTo>
                    <a:lnTo>
                      <a:pt x="309" y="57"/>
                    </a:lnTo>
                    <a:lnTo>
                      <a:pt x="309" y="59"/>
                    </a:lnTo>
                    <a:lnTo>
                      <a:pt x="307" y="59"/>
                    </a:lnTo>
                    <a:lnTo>
                      <a:pt x="305" y="59"/>
                    </a:lnTo>
                    <a:lnTo>
                      <a:pt x="303" y="61"/>
                    </a:lnTo>
                    <a:lnTo>
                      <a:pt x="301" y="64"/>
                    </a:lnTo>
                    <a:lnTo>
                      <a:pt x="299" y="64"/>
                    </a:lnTo>
                    <a:lnTo>
                      <a:pt x="301" y="64"/>
                    </a:lnTo>
                    <a:lnTo>
                      <a:pt x="301" y="66"/>
                    </a:lnTo>
                    <a:lnTo>
                      <a:pt x="303" y="66"/>
                    </a:lnTo>
                    <a:lnTo>
                      <a:pt x="301" y="68"/>
                    </a:lnTo>
                    <a:lnTo>
                      <a:pt x="299" y="68"/>
                    </a:lnTo>
                    <a:lnTo>
                      <a:pt x="299" y="70"/>
                    </a:lnTo>
                    <a:lnTo>
                      <a:pt x="297" y="68"/>
                    </a:lnTo>
                    <a:lnTo>
                      <a:pt x="299" y="68"/>
                    </a:lnTo>
                    <a:lnTo>
                      <a:pt x="301" y="68"/>
                    </a:lnTo>
                    <a:lnTo>
                      <a:pt x="299" y="68"/>
                    </a:lnTo>
                    <a:lnTo>
                      <a:pt x="297" y="68"/>
                    </a:lnTo>
                    <a:lnTo>
                      <a:pt x="299" y="68"/>
                    </a:lnTo>
                    <a:lnTo>
                      <a:pt x="297" y="68"/>
                    </a:lnTo>
                    <a:lnTo>
                      <a:pt x="295" y="72"/>
                    </a:lnTo>
                    <a:lnTo>
                      <a:pt x="295" y="74"/>
                    </a:lnTo>
                    <a:lnTo>
                      <a:pt x="293" y="76"/>
                    </a:lnTo>
                    <a:lnTo>
                      <a:pt x="291" y="78"/>
                    </a:lnTo>
                    <a:lnTo>
                      <a:pt x="291" y="80"/>
                    </a:lnTo>
                    <a:lnTo>
                      <a:pt x="289" y="80"/>
                    </a:lnTo>
                    <a:lnTo>
                      <a:pt x="289" y="82"/>
                    </a:lnTo>
                    <a:lnTo>
                      <a:pt x="288" y="83"/>
                    </a:lnTo>
                    <a:lnTo>
                      <a:pt x="286" y="85"/>
                    </a:lnTo>
                    <a:lnTo>
                      <a:pt x="286" y="89"/>
                    </a:lnTo>
                    <a:lnTo>
                      <a:pt x="286" y="87"/>
                    </a:lnTo>
                    <a:lnTo>
                      <a:pt x="286" y="89"/>
                    </a:lnTo>
                    <a:lnTo>
                      <a:pt x="284" y="89"/>
                    </a:lnTo>
                    <a:lnTo>
                      <a:pt x="284" y="91"/>
                    </a:lnTo>
                    <a:lnTo>
                      <a:pt x="284" y="93"/>
                    </a:lnTo>
                    <a:lnTo>
                      <a:pt x="284" y="95"/>
                    </a:lnTo>
                    <a:lnTo>
                      <a:pt x="286" y="97"/>
                    </a:lnTo>
                    <a:lnTo>
                      <a:pt x="286" y="99"/>
                    </a:lnTo>
                    <a:lnTo>
                      <a:pt x="286" y="101"/>
                    </a:lnTo>
                    <a:lnTo>
                      <a:pt x="286" y="103"/>
                    </a:lnTo>
                    <a:lnTo>
                      <a:pt x="286" y="101"/>
                    </a:lnTo>
                    <a:lnTo>
                      <a:pt x="288" y="103"/>
                    </a:lnTo>
                    <a:lnTo>
                      <a:pt x="288" y="104"/>
                    </a:lnTo>
                    <a:lnTo>
                      <a:pt x="291" y="104"/>
                    </a:lnTo>
                    <a:lnTo>
                      <a:pt x="289" y="104"/>
                    </a:lnTo>
                    <a:lnTo>
                      <a:pt x="291" y="106"/>
                    </a:lnTo>
                    <a:lnTo>
                      <a:pt x="291" y="108"/>
                    </a:lnTo>
                    <a:lnTo>
                      <a:pt x="289" y="108"/>
                    </a:lnTo>
                    <a:lnTo>
                      <a:pt x="288" y="110"/>
                    </a:lnTo>
                    <a:lnTo>
                      <a:pt x="288" y="112"/>
                    </a:lnTo>
                    <a:lnTo>
                      <a:pt x="286" y="110"/>
                    </a:lnTo>
                    <a:lnTo>
                      <a:pt x="282" y="112"/>
                    </a:lnTo>
                    <a:lnTo>
                      <a:pt x="282" y="114"/>
                    </a:lnTo>
                    <a:lnTo>
                      <a:pt x="280" y="116"/>
                    </a:lnTo>
                    <a:lnTo>
                      <a:pt x="280" y="118"/>
                    </a:lnTo>
                    <a:lnTo>
                      <a:pt x="278" y="118"/>
                    </a:lnTo>
                    <a:lnTo>
                      <a:pt x="278" y="120"/>
                    </a:lnTo>
                    <a:lnTo>
                      <a:pt x="278" y="122"/>
                    </a:lnTo>
                    <a:lnTo>
                      <a:pt x="276" y="124"/>
                    </a:lnTo>
                    <a:lnTo>
                      <a:pt x="276" y="125"/>
                    </a:lnTo>
                    <a:lnTo>
                      <a:pt x="274" y="127"/>
                    </a:lnTo>
                    <a:lnTo>
                      <a:pt x="276" y="129"/>
                    </a:lnTo>
                    <a:lnTo>
                      <a:pt x="278" y="129"/>
                    </a:lnTo>
                    <a:lnTo>
                      <a:pt x="276" y="131"/>
                    </a:lnTo>
                    <a:lnTo>
                      <a:pt x="274" y="131"/>
                    </a:lnTo>
                    <a:lnTo>
                      <a:pt x="272" y="131"/>
                    </a:lnTo>
                    <a:lnTo>
                      <a:pt x="274" y="131"/>
                    </a:lnTo>
                    <a:lnTo>
                      <a:pt x="272" y="129"/>
                    </a:lnTo>
                    <a:lnTo>
                      <a:pt x="272" y="131"/>
                    </a:lnTo>
                    <a:lnTo>
                      <a:pt x="272" y="129"/>
                    </a:lnTo>
                    <a:lnTo>
                      <a:pt x="270" y="131"/>
                    </a:lnTo>
                    <a:lnTo>
                      <a:pt x="268" y="131"/>
                    </a:lnTo>
                    <a:lnTo>
                      <a:pt x="267" y="131"/>
                    </a:lnTo>
                    <a:lnTo>
                      <a:pt x="265" y="133"/>
                    </a:lnTo>
                    <a:lnTo>
                      <a:pt x="263" y="135"/>
                    </a:lnTo>
                    <a:lnTo>
                      <a:pt x="261" y="135"/>
                    </a:lnTo>
                    <a:lnTo>
                      <a:pt x="259" y="137"/>
                    </a:lnTo>
                    <a:lnTo>
                      <a:pt x="259" y="141"/>
                    </a:lnTo>
                    <a:lnTo>
                      <a:pt x="259" y="143"/>
                    </a:lnTo>
                    <a:lnTo>
                      <a:pt x="257" y="143"/>
                    </a:lnTo>
                    <a:lnTo>
                      <a:pt x="257" y="145"/>
                    </a:lnTo>
                    <a:lnTo>
                      <a:pt x="255" y="146"/>
                    </a:lnTo>
                    <a:lnTo>
                      <a:pt x="253" y="148"/>
                    </a:lnTo>
                    <a:lnTo>
                      <a:pt x="251" y="145"/>
                    </a:lnTo>
                    <a:lnTo>
                      <a:pt x="249" y="146"/>
                    </a:lnTo>
                    <a:lnTo>
                      <a:pt x="249" y="145"/>
                    </a:lnTo>
                    <a:lnTo>
                      <a:pt x="247" y="146"/>
                    </a:lnTo>
                    <a:lnTo>
                      <a:pt x="246" y="148"/>
                    </a:lnTo>
                    <a:lnTo>
                      <a:pt x="244" y="148"/>
                    </a:lnTo>
                    <a:lnTo>
                      <a:pt x="242" y="146"/>
                    </a:lnTo>
                    <a:lnTo>
                      <a:pt x="236" y="146"/>
                    </a:lnTo>
                    <a:lnTo>
                      <a:pt x="234" y="148"/>
                    </a:lnTo>
                    <a:lnTo>
                      <a:pt x="232" y="148"/>
                    </a:lnTo>
                    <a:lnTo>
                      <a:pt x="232" y="146"/>
                    </a:lnTo>
                    <a:lnTo>
                      <a:pt x="232" y="148"/>
                    </a:lnTo>
                    <a:lnTo>
                      <a:pt x="230" y="146"/>
                    </a:lnTo>
                    <a:lnTo>
                      <a:pt x="228" y="146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5" y="146"/>
                    </a:lnTo>
                    <a:lnTo>
                      <a:pt x="223" y="146"/>
                    </a:lnTo>
                    <a:lnTo>
                      <a:pt x="223" y="148"/>
                    </a:lnTo>
                    <a:lnTo>
                      <a:pt x="219" y="148"/>
                    </a:lnTo>
                    <a:lnTo>
                      <a:pt x="217" y="150"/>
                    </a:lnTo>
                    <a:lnTo>
                      <a:pt x="215" y="150"/>
                    </a:lnTo>
                    <a:lnTo>
                      <a:pt x="215" y="152"/>
                    </a:lnTo>
                    <a:lnTo>
                      <a:pt x="213" y="152"/>
                    </a:lnTo>
                    <a:lnTo>
                      <a:pt x="211" y="152"/>
                    </a:lnTo>
                    <a:lnTo>
                      <a:pt x="209" y="152"/>
                    </a:lnTo>
                    <a:lnTo>
                      <a:pt x="207" y="152"/>
                    </a:lnTo>
                    <a:lnTo>
                      <a:pt x="206" y="154"/>
                    </a:lnTo>
                    <a:lnTo>
                      <a:pt x="206" y="156"/>
                    </a:lnTo>
                    <a:lnTo>
                      <a:pt x="204" y="158"/>
                    </a:lnTo>
                    <a:lnTo>
                      <a:pt x="202" y="158"/>
                    </a:lnTo>
                    <a:lnTo>
                      <a:pt x="202" y="160"/>
                    </a:lnTo>
                    <a:lnTo>
                      <a:pt x="202" y="158"/>
                    </a:lnTo>
                    <a:lnTo>
                      <a:pt x="202" y="160"/>
                    </a:lnTo>
                    <a:lnTo>
                      <a:pt x="200" y="162"/>
                    </a:lnTo>
                    <a:lnTo>
                      <a:pt x="198" y="160"/>
                    </a:lnTo>
                    <a:lnTo>
                      <a:pt x="196" y="160"/>
                    </a:lnTo>
                    <a:lnTo>
                      <a:pt x="194" y="158"/>
                    </a:lnTo>
                    <a:lnTo>
                      <a:pt x="192" y="158"/>
                    </a:lnTo>
                    <a:lnTo>
                      <a:pt x="192" y="156"/>
                    </a:lnTo>
                    <a:lnTo>
                      <a:pt x="190" y="156"/>
                    </a:lnTo>
                    <a:lnTo>
                      <a:pt x="190" y="154"/>
                    </a:lnTo>
                    <a:lnTo>
                      <a:pt x="188" y="152"/>
                    </a:lnTo>
                    <a:lnTo>
                      <a:pt x="188" y="150"/>
                    </a:lnTo>
                    <a:lnTo>
                      <a:pt x="188" y="152"/>
                    </a:lnTo>
                    <a:lnTo>
                      <a:pt x="190" y="152"/>
                    </a:lnTo>
                    <a:lnTo>
                      <a:pt x="188" y="152"/>
                    </a:lnTo>
                    <a:lnTo>
                      <a:pt x="190" y="152"/>
                    </a:lnTo>
                    <a:lnTo>
                      <a:pt x="190" y="150"/>
                    </a:lnTo>
                    <a:lnTo>
                      <a:pt x="188" y="150"/>
                    </a:lnTo>
                    <a:lnTo>
                      <a:pt x="186" y="148"/>
                    </a:lnTo>
                    <a:lnTo>
                      <a:pt x="186" y="146"/>
                    </a:lnTo>
                    <a:lnTo>
                      <a:pt x="188" y="146"/>
                    </a:lnTo>
                    <a:lnTo>
                      <a:pt x="186" y="146"/>
                    </a:lnTo>
                    <a:lnTo>
                      <a:pt x="186" y="143"/>
                    </a:lnTo>
                    <a:lnTo>
                      <a:pt x="185" y="143"/>
                    </a:lnTo>
                    <a:lnTo>
                      <a:pt x="179" y="139"/>
                    </a:lnTo>
                    <a:lnTo>
                      <a:pt x="179" y="137"/>
                    </a:lnTo>
                    <a:lnTo>
                      <a:pt x="179" y="139"/>
                    </a:lnTo>
                    <a:lnTo>
                      <a:pt x="179" y="137"/>
                    </a:lnTo>
                    <a:lnTo>
                      <a:pt x="179" y="135"/>
                    </a:lnTo>
                    <a:lnTo>
                      <a:pt x="179" y="137"/>
                    </a:lnTo>
                    <a:lnTo>
                      <a:pt x="177" y="137"/>
                    </a:lnTo>
                    <a:lnTo>
                      <a:pt x="179" y="139"/>
                    </a:lnTo>
                    <a:lnTo>
                      <a:pt x="177" y="137"/>
                    </a:lnTo>
                    <a:lnTo>
                      <a:pt x="175" y="137"/>
                    </a:lnTo>
                    <a:lnTo>
                      <a:pt x="177" y="137"/>
                    </a:lnTo>
                    <a:lnTo>
                      <a:pt x="173" y="137"/>
                    </a:lnTo>
                    <a:lnTo>
                      <a:pt x="171" y="139"/>
                    </a:lnTo>
                    <a:lnTo>
                      <a:pt x="171" y="137"/>
                    </a:lnTo>
                    <a:lnTo>
                      <a:pt x="173" y="137"/>
                    </a:lnTo>
                    <a:lnTo>
                      <a:pt x="171" y="137"/>
                    </a:lnTo>
                    <a:lnTo>
                      <a:pt x="171" y="139"/>
                    </a:lnTo>
                    <a:lnTo>
                      <a:pt x="171" y="137"/>
                    </a:lnTo>
                    <a:lnTo>
                      <a:pt x="169" y="135"/>
                    </a:lnTo>
                    <a:lnTo>
                      <a:pt x="169" y="133"/>
                    </a:lnTo>
                    <a:lnTo>
                      <a:pt x="169" y="131"/>
                    </a:lnTo>
                    <a:lnTo>
                      <a:pt x="169" y="129"/>
                    </a:lnTo>
                    <a:lnTo>
                      <a:pt x="169" y="127"/>
                    </a:lnTo>
                    <a:lnTo>
                      <a:pt x="171" y="127"/>
                    </a:lnTo>
                    <a:lnTo>
                      <a:pt x="171" y="125"/>
                    </a:lnTo>
                    <a:lnTo>
                      <a:pt x="173" y="124"/>
                    </a:lnTo>
                    <a:lnTo>
                      <a:pt x="173" y="122"/>
                    </a:lnTo>
                    <a:lnTo>
                      <a:pt x="175" y="122"/>
                    </a:lnTo>
                    <a:lnTo>
                      <a:pt x="177" y="122"/>
                    </a:lnTo>
                    <a:lnTo>
                      <a:pt x="177" y="120"/>
                    </a:lnTo>
                    <a:lnTo>
                      <a:pt x="179" y="118"/>
                    </a:lnTo>
                    <a:lnTo>
                      <a:pt x="177" y="118"/>
                    </a:lnTo>
                    <a:lnTo>
                      <a:pt x="179" y="118"/>
                    </a:lnTo>
                    <a:lnTo>
                      <a:pt x="177" y="118"/>
                    </a:lnTo>
                    <a:lnTo>
                      <a:pt x="175" y="118"/>
                    </a:lnTo>
                    <a:lnTo>
                      <a:pt x="175" y="116"/>
                    </a:lnTo>
                    <a:lnTo>
                      <a:pt x="173" y="114"/>
                    </a:lnTo>
                    <a:lnTo>
                      <a:pt x="171" y="112"/>
                    </a:lnTo>
                    <a:lnTo>
                      <a:pt x="173" y="112"/>
                    </a:lnTo>
                    <a:lnTo>
                      <a:pt x="171" y="112"/>
                    </a:lnTo>
                    <a:lnTo>
                      <a:pt x="173" y="108"/>
                    </a:lnTo>
                    <a:lnTo>
                      <a:pt x="173" y="106"/>
                    </a:lnTo>
                    <a:lnTo>
                      <a:pt x="175" y="104"/>
                    </a:lnTo>
                    <a:lnTo>
                      <a:pt x="177" y="104"/>
                    </a:lnTo>
                    <a:lnTo>
                      <a:pt x="177" y="103"/>
                    </a:lnTo>
                    <a:lnTo>
                      <a:pt x="179" y="101"/>
                    </a:lnTo>
                    <a:lnTo>
                      <a:pt x="177" y="99"/>
                    </a:lnTo>
                    <a:lnTo>
                      <a:pt x="175" y="99"/>
                    </a:lnTo>
                    <a:lnTo>
                      <a:pt x="173" y="97"/>
                    </a:lnTo>
                    <a:lnTo>
                      <a:pt x="173" y="95"/>
                    </a:lnTo>
                    <a:lnTo>
                      <a:pt x="171" y="93"/>
                    </a:lnTo>
                    <a:lnTo>
                      <a:pt x="173" y="93"/>
                    </a:lnTo>
                    <a:lnTo>
                      <a:pt x="171" y="91"/>
                    </a:lnTo>
                    <a:lnTo>
                      <a:pt x="169" y="89"/>
                    </a:lnTo>
                    <a:lnTo>
                      <a:pt x="169" y="87"/>
                    </a:lnTo>
                    <a:lnTo>
                      <a:pt x="171" y="89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7" y="87"/>
                    </a:lnTo>
                    <a:lnTo>
                      <a:pt x="177" y="85"/>
                    </a:lnTo>
                    <a:lnTo>
                      <a:pt x="179" y="83"/>
                    </a:lnTo>
                    <a:lnTo>
                      <a:pt x="179" y="82"/>
                    </a:lnTo>
                    <a:lnTo>
                      <a:pt x="179" y="78"/>
                    </a:lnTo>
                    <a:lnTo>
                      <a:pt x="177" y="78"/>
                    </a:lnTo>
                    <a:lnTo>
                      <a:pt x="177" y="76"/>
                    </a:lnTo>
                    <a:lnTo>
                      <a:pt x="179" y="76"/>
                    </a:lnTo>
                    <a:lnTo>
                      <a:pt x="179" y="74"/>
                    </a:lnTo>
                    <a:lnTo>
                      <a:pt x="181" y="74"/>
                    </a:lnTo>
                    <a:lnTo>
                      <a:pt x="181" y="72"/>
                    </a:lnTo>
                    <a:lnTo>
                      <a:pt x="179" y="72"/>
                    </a:lnTo>
                    <a:lnTo>
                      <a:pt x="181" y="70"/>
                    </a:lnTo>
                    <a:lnTo>
                      <a:pt x="179" y="68"/>
                    </a:lnTo>
                    <a:lnTo>
                      <a:pt x="181" y="66"/>
                    </a:lnTo>
                    <a:lnTo>
                      <a:pt x="181" y="64"/>
                    </a:lnTo>
                    <a:lnTo>
                      <a:pt x="181" y="62"/>
                    </a:lnTo>
                    <a:lnTo>
                      <a:pt x="179" y="62"/>
                    </a:lnTo>
                    <a:lnTo>
                      <a:pt x="179" y="61"/>
                    </a:lnTo>
                    <a:lnTo>
                      <a:pt x="179" y="59"/>
                    </a:lnTo>
                    <a:lnTo>
                      <a:pt x="181" y="59"/>
                    </a:lnTo>
                    <a:lnTo>
                      <a:pt x="181" y="57"/>
                    </a:lnTo>
                    <a:lnTo>
                      <a:pt x="183" y="57"/>
                    </a:lnTo>
                    <a:lnTo>
                      <a:pt x="183" y="55"/>
                    </a:lnTo>
                    <a:lnTo>
                      <a:pt x="185" y="55"/>
                    </a:lnTo>
                    <a:lnTo>
                      <a:pt x="185" y="53"/>
                    </a:lnTo>
                    <a:lnTo>
                      <a:pt x="186" y="53"/>
                    </a:lnTo>
                    <a:lnTo>
                      <a:pt x="186" y="51"/>
                    </a:lnTo>
                    <a:lnTo>
                      <a:pt x="188" y="51"/>
                    </a:lnTo>
                    <a:lnTo>
                      <a:pt x="188" y="49"/>
                    </a:lnTo>
                    <a:lnTo>
                      <a:pt x="190" y="47"/>
                    </a:lnTo>
                    <a:lnTo>
                      <a:pt x="188" y="45"/>
                    </a:lnTo>
                    <a:lnTo>
                      <a:pt x="186" y="45"/>
                    </a:lnTo>
                    <a:lnTo>
                      <a:pt x="185" y="45"/>
                    </a:lnTo>
                    <a:lnTo>
                      <a:pt x="185" y="43"/>
                    </a:lnTo>
                    <a:lnTo>
                      <a:pt x="185" y="41"/>
                    </a:lnTo>
                    <a:lnTo>
                      <a:pt x="185" y="40"/>
                    </a:lnTo>
                    <a:lnTo>
                      <a:pt x="183" y="40"/>
                    </a:lnTo>
                    <a:lnTo>
                      <a:pt x="181" y="40"/>
                    </a:lnTo>
                    <a:lnTo>
                      <a:pt x="179" y="40"/>
                    </a:lnTo>
                    <a:lnTo>
                      <a:pt x="177" y="40"/>
                    </a:lnTo>
                    <a:lnTo>
                      <a:pt x="175" y="40"/>
                    </a:lnTo>
                    <a:lnTo>
                      <a:pt x="173" y="41"/>
                    </a:lnTo>
                    <a:lnTo>
                      <a:pt x="171" y="41"/>
                    </a:lnTo>
                    <a:lnTo>
                      <a:pt x="171" y="43"/>
                    </a:lnTo>
                    <a:lnTo>
                      <a:pt x="169" y="41"/>
                    </a:lnTo>
                    <a:lnTo>
                      <a:pt x="167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0"/>
                    </a:lnTo>
                    <a:lnTo>
                      <a:pt x="162" y="41"/>
                    </a:lnTo>
                    <a:lnTo>
                      <a:pt x="160" y="43"/>
                    </a:lnTo>
                    <a:lnTo>
                      <a:pt x="158" y="43"/>
                    </a:lnTo>
                    <a:lnTo>
                      <a:pt x="158" y="41"/>
                    </a:lnTo>
                    <a:lnTo>
                      <a:pt x="158" y="40"/>
                    </a:lnTo>
                    <a:lnTo>
                      <a:pt x="160" y="38"/>
                    </a:lnTo>
                    <a:lnTo>
                      <a:pt x="158" y="38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6" y="38"/>
                    </a:lnTo>
                    <a:lnTo>
                      <a:pt x="154" y="38"/>
                    </a:lnTo>
                    <a:lnTo>
                      <a:pt x="152" y="38"/>
                    </a:lnTo>
                    <a:lnTo>
                      <a:pt x="150" y="38"/>
                    </a:lnTo>
                    <a:lnTo>
                      <a:pt x="150" y="40"/>
                    </a:lnTo>
                    <a:lnTo>
                      <a:pt x="148" y="40"/>
                    </a:lnTo>
                    <a:lnTo>
                      <a:pt x="148" y="41"/>
                    </a:lnTo>
                    <a:lnTo>
                      <a:pt x="146" y="41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48" y="34"/>
                    </a:lnTo>
                    <a:lnTo>
                      <a:pt x="150" y="34"/>
                    </a:lnTo>
                    <a:lnTo>
                      <a:pt x="150" y="32"/>
                    </a:lnTo>
                    <a:lnTo>
                      <a:pt x="152" y="32"/>
                    </a:lnTo>
                    <a:lnTo>
                      <a:pt x="150" y="32"/>
                    </a:lnTo>
                    <a:lnTo>
                      <a:pt x="148" y="34"/>
                    </a:lnTo>
                    <a:lnTo>
                      <a:pt x="148" y="32"/>
                    </a:lnTo>
                    <a:lnTo>
                      <a:pt x="150" y="30"/>
                    </a:lnTo>
                    <a:lnTo>
                      <a:pt x="148" y="30"/>
                    </a:lnTo>
                    <a:lnTo>
                      <a:pt x="146" y="30"/>
                    </a:lnTo>
                    <a:lnTo>
                      <a:pt x="146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50" y="24"/>
                    </a:lnTo>
                    <a:lnTo>
                      <a:pt x="148" y="24"/>
                    </a:lnTo>
                    <a:lnTo>
                      <a:pt x="148" y="26"/>
                    </a:lnTo>
                    <a:lnTo>
                      <a:pt x="146" y="26"/>
                    </a:lnTo>
                    <a:lnTo>
                      <a:pt x="146" y="24"/>
                    </a:lnTo>
                    <a:lnTo>
                      <a:pt x="146" y="26"/>
                    </a:lnTo>
                    <a:lnTo>
                      <a:pt x="145" y="28"/>
                    </a:lnTo>
                    <a:lnTo>
                      <a:pt x="145" y="26"/>
                    </a:lnTo>
                    <a:lnTo>
                      <a:pt x="145" y="24"/>
                    </a:lnTo>
                    <a:lnTo>
                      <a:pt x="146" y="22"/>
                    </a:lnTo>
                    <a:lnTo>
                      <a:pt x="146" y="21"/>
                    </a:lnTo>
                    <a:lnTo>
                      <a:pt x="146" y="22"/>
                    </a:lnTo>
                    <a:lnTo>
                      <a:pt x="145" y="22"/>
                    </a:lnTo>
                    <a:lnTo>
                      <a:pt x="145" y="21"/>
                    </a:lnTo>
                    <a:lnTo>
                      <a:pt x="145" y="22"/>
                    </a:lnTo>
                    <a:lnTo>
                      <a:pt x="143" y="22"/>
                    </a:lnTo>
                    <a:lnTo>
                      <a:pt x="145" y="21"/>
                    </a:lnTo>
                    <a:lnTo>
                      <a:pt x="143" y="21"/>
                    </a:lnTo>
                    <a:lnTo>
                      <a:pt x="143" y="19"/>
                    </a:lnTo>
                    <a:lnTo>
                      <a:pt x="141" y="19"/>
                    </a:lnTo>
                    <a:lnTo>
                      <a:pt x="141" y="21"/>
                    </a:lnTo>
                    <a:lnTo>
                      <a:pt x="141" y="19"/>
                    </a:lnTo>
                    <a:lnTo>
                      <a:pt x="141" y="17"/>
                    </a:lnTo>
                    <a:lnTo>
                      <a:pt x="141" y="15"/>
                    </a:lnTo>
                    <a:lnTo>
                      <a:pt x="143" y="15"/>
                    </a:lnTo>
                    <a:lnTo>
                      <a:pt x="143" y="13"/>
                    </a:lnTo>
                    <a:lnTo>
                      <a:pt x="143" y="15"/>
                    </a:lnTo>
                    <a:lnTo>
                      <a:pt x="143" y="13"/>
                    </a:lnTo>
                    <a:lnTo>
                      <a:pt x="145" y="13"/>
                    </a:lnTo>
                    <a:lnTo>
                      <a:pt x="146" y="13"/>
                    </a:lnTo>
                    <a:lnTo>
                      <a:pt x="146" y="11"/>
                    </a:lnTo>
                    <a:lnTo>
                      <a:pt x="146" y="13"/>
                    </a:lnTo>
                    <a:lnTo>
                      <a:pt x="146" y="11"/>
                    </a:lnTo>
                    <a:lnTo>
                      <a:pt x="148" y="11"/>
                    </a:lnTo>
                    <a:lnTo>
                      <a:pt x="148" y="9"/>
                    </a:lnTo>
                    <a:lnTo>
                      <a:pt x="148" y="11"/>
                    </a:lnTo>
                    <a:lnTo>
                      <a:pt x="150" y="11"/>
                    </a:lnTo>
                    <a:lnTo>
                      <a:pt x="152" y="11"/>
                    </a:lnTo>
                    <a:lnTo>
                      <a:pt x="154" y="9"/>
                    </a:lnTo>
                    <a:lnTo>
                      <a:pt x="152" y="9"/>
                    </a:lnTo>
                    <a:lnTo>
                      <a:pt x="154" y="9"/>
                    </a:lnTo>
                    <a:lnTo>
                      <a:pt x="156" y="9"/>
                    </a:lnTo>
                    <a:lnTo>
                      <a:pt x="154" y="9"/>
                    </a:lnTo>
                    <a:lnTo>
                      <a:pt x="156" y="9"/>
                    </a:lnTo>
                    <a:lnTo>
                      <a:pt x="156" y="11"/>
                    </a:lnTo>
                    <a:lnTo>
                      <a:pt x="156" y="9"/>
                    </a:lnTo>
                    <a:lnTo>
                      <a:pt x="158" y="11"/>
                    </a:lnTo>
                    <a:lnTo>
                      <a:pt x="158" y="9"/>
                    </a:lnTo>
                    <a:lnTo>
                      <a:pt x="160" y="7"/>
                    </a:lnTo>
                    <a:lnTo>
                      <a:pt x="158" y="9"/>
                    </a:lnTo>
                    <a:lnTo>
                      <a:pt x="158" y="7"/>
                    </a:lnTo>
                    <a:lnTo>
                      <a:pt x="156" y="7"/>
                    </a:lnTo>
                    <a:lnTo>
                      <a:pt x="158" y="7"/>
                    </a:lnTo>
                    <a:lnTo>
                      <a:pt x="160" y="5"/>
                    </a:lnTo>
                    <a:lnTo>
                      <a:pt x="158" y="5"/>
                    </a:lnTo>
                    <a:lnTo>
                      <a:pt x="158" y="7"/>
                    </a:lnTo>
                    <a:lnTo>
                      <a:pt x="156" y="7"/>
                    </a:lnTo>
                    <a:lnTo>
                      <a:pt x="156" y="5"/>
                    </a:lnTo>
                    <a:lnTo>
                      <a:pt x="158" y="5"/>
                    </a:lnTo>
                    <a:lnTo>
                      <a:pt x="158" y="3"/>
                    </a:lnTo>
                    <a:lnTo>
                      <a:pt x="160" y="3"/>
                    </a:lnTo>
                    <a:lnTo>
                      <a:pt x="160" y="1"/>
                    </a:lnTo>
                    <a:lnTo>
                      <a:pt x="162" y="1"/>
                    </a:lnTo>
                    <a:lnTo>
                      <a:pt x="164" y="0"/>
                    </a:lnTo>
                    <a:lnTo>
                      <a:pt x="164" y="1"/>
                    </a:lnTo>
                    <a:lnTo>
                      <a:pt x="164" y="3"/>
                    </a:lnTo>
                    <a:lnTo>
                      <a:pt x="164" y="1"/>
                    </a:lnTo>
                    <a:lnTo>
                      <a:pt x="165" y="1"/>
                    </a:lnTo>
                    <a:lnTo>
                      <a:pt x="165" y="0"/>
                    </a:lnTo>
                    <a:lnTo>
                      <a:pt x="167" y="0"/>
                    </a:lnTo>
                    <a:lnTo>
                      <a:pt x="165" y="1"/>
                    </a:lnTo>
                    <a:lnTo>
                      <a:pt x="167" y="1"/>
                    </a:lnTo>
                    <a:lnTo>
                      <a:pt x="167" y="3"/>
                    </a:lnTo>
                    <a:lnTo>
                      <a:pt x="167" y="1"/>
                    </a:lnTo>
                    <a:lnTo>
                      <a:pt x="169" y="1"/>
                    </a:lnTo>
                    <a:lnTo>
                      <a:pt x="167" y="1"/>
                    </a:lnTo>
                    <a:lnTo>
                      <a:pt x="169" y="1"/>
                    </a:lnTo>
                    <a:lnTo>
                      <a:pt x="171" y="3"/>
                    </a:lnTo>
                    <a:lnTo>
                      <a:pt x="173" y="5"/>
                    </a:lnTo>
                    <a:lnTo>
                      <a:pt x="177" y="5"/>
                    </a:lnTo>
                    <a:lnTo>
                      <a:pt x="177" y="7"/>
                    </a:lnTo>
                    <a:lnTo>
                      <a:pt x="177" y="5"/>
                    </a:lnTo>
                    <a:lnTo>
                      <a:pt x="179" y="5"/>
                    </a:lnTo>
                    <a:lnTo>
                      <a:pt x="181" y="5"/>
                    </a:lnTo>
                    <a:lnTo>
                      <a:pt x="183" y="5"/>
                    </a:lnTo>
                    <a:lnTo>
                      <a:pt x="185" y="5"/>
                    </a:lnTo>
                    <a:lnTo>
                      <a:pt x="186" y="5"/>
                    </a:lnTo>
                    <a:lnTo>
                      <a:pt x="188" y="5"/>
                    </a:lnTo>
                    <a:lnTo>
                      <a:pt x="188" y="3"/>
                    </a:lnTo>
                    <a:lnTo>
                      <a:pt x="190" y="5"/>
                    </a:lnTo>
                    <a:lnTo>
                      <a:pt x="192" y="5"/>
                    </a:lnTo>
                    <a:lnTo>
                      <a:pt x="192" y="3"/>
                    </a:lnTo>
                    <a:lnTo>
                      <a:pt x="192" y="5"/>
                    </a:lnTo>
                    <a:lnTo>
                      <a:pt x="194" y="3"/>
                    </a:lnTo>
                    <a:lnTo>
                      <a:pt x="194" y="5"/>
                    </a:lnTo>
                    <a:lnTo>
                      <a:pt x="194" y="3"/>
                    </a:lnTo>
                    <a:lnTo>
                      <a:pt x="196" y="3"/>
                    </a:lnTo>
                    <a:lnTo>
                      <a:pt x="198" y="5"/>
                    </a:lnTo>
                    <a:lnTo>
                      <a:pt x="198" y="3"/>
                    </a:lnTo>
                    <a:lnTo>
                      <a:pt x="198" y="5"/>
                    </a:lnTo>
                    <a:lnTo>
                      <a:pt x="200" y="5"/>
                    </a:lnTo>
                    <a:lnTo>
                      <a:pt x="202" y="5"/>
                    </a:lnTo>
                    <a:lnTo>
                      <a:pt x="204" y="5"/>
                    </a:lnTo>
                    <a:lnTo>
                      <a:pt x="206" y="7"/>
                    </a:lnTo>
                    <a:lnTo>
                      <a:pt x="207" y="7"/>
                    </a:lnTo>
                    <a:lnTo>
                      <a:pt x="209" y="7"/>
                    </a:lnTo>
                    <a:lnTo>
                      <a:pt x="211" y="7"/>
                    </a:lnTo>
                    <a:lnTo>
                      <a:pt x="215" y="9"/>
                    </a:lnTo>
                    <a:lnTo>
                      <a:pt x="217" y="9"/>
                    </a:lnTo>
                    <a:lnTo>
                      <a:pt x="219" y="9"/>
                    </a:lnTo>
                    <a:lnTo>
                      <a:pt x="221" y="9"/>
                    </a:lnTo>
                    <a:lnTo>
                      <a:pt x="223" y="9"/>
                    </a:lnTo>
                    <a:lnTo>
                      <a:pt x="225" y="7"/>
                    </a:lnTo>
                    <a:lnTo>
                      <a:pt x="227" y="7"/>
                    </a:lnTo>
                    <a:lnTo>
                      <a:pt x="228" y="7"/>
                    </a:lnTo>
                    <a:lnTo>
                      <a:pt x="228" y="9"/>
                    </a:lnTo>
                    <a:lnTo>
                      <a:pt x="228" y="7"/>
                    </a:lnTo>
                    <a:lnTo>
                      <a:pt x="232" y="5"/>
                    </a:lnTo>
                    <a:lnTo>
                      <a:pt x="232" y="7"/>
                    </a:lnTo>
                    <a:lnTo>
                      <a:pt x="234" y="7"/>
                    </a:lnTo>
                    <a:lnTo>
                      <a:pt x="232" y="7"/>
                    </a:lnTo>
                    <a:lnTo>
                      <a:pt x="234" y="9"/>
                    </a:lnTo>
                    <a:lnTo>
                      <a:pt x="234" y="7"/>
                    </a:lnTo>
                    <a:lnTo>
                      <a:pt x="236" y="7"/>
                    </a:lnTo>
                    <a:lnTo>
                      <a:pt x="236" y="9"/>
                    </a:lnTo>
                    <a:lnTo>
                      <a:pt x="238" y="9"/>
                    </a:lnTo>
                    <a:lnTo>
                      <a:pt x="240" y="9"/>
                    </a:lnTo>
                    <a:lnTo>
                      <a:pt x="242" y="11"/>
                    </a:lnTo>
                    <a:lnTo>
                      <a:pt x="240" y="9"/>
                    </a:lnTo>
                    <a:lnTo>
                      <a:pt x="242" y="7"/>
                    </a:lnTo>
                    <a:lnTo>
                      <a:pt x="242" y="9"/>
                    </a:lnTo>
                    <a:lnTo>
                      <a:pt x="242" y="7"/>
                    </a:lnTo>
                    <a:lnTo>
                      <a:pt x="244" y="7"/>
                    </a:lnTo>
                    <a:lnTo>
                      <a:pt x="246" y="7"/>
                    </a:lnTo>
                    <a:lnTo>
                      <a:pt x="246" y="9"/>
                    </a:lnTo>
                    <a:lnTo>
                      <a:pt x="246" y="7"/>
                    </a:lnTo>
                    <a:lnTo>
                      <a:pt x="247" y="9"/>
                    </a:lnTo>
                    <a:lnTo>
                      <a:pt x="249" y="9"/>
                    </a:lnTo>
                    <a:lnTo>
                      <a:pt x="251" y="11"/>
                    </a:lnTo>
                    <a:lnTo>
                      <a:pt x="253" y="11"/>
                    </a:lnTo>
                    <a:lnTo>
                      <a:pt x="255" y="11"/>
                    </a:lnTo>
                    <a:lnTo>
                      <a:pt x="257" y="11"/>
                    </a:lnTo>
                    <a:lnTo>
                      <a:pt x="257" y="9"/>
                    </a:lnTo>
                    <a:lnTo>
                      <a:pt x="259" y="11"/>
                    </a:lnTo>
                    <a:lnTo>
                      <a:pt x="257" y="9"/>
                    </a:lnTo>
                    <a:lnTo>
                      <a:pt x="261" y="9"/>
                    </a:lnTo>
                    <a:close/>
                    <a:moveTo>
                      <a:pt x="339" y="82"/>
                    </a:moveTo>
                    <a:lnTo>
                      <a:pt x="337" y="83"/>
                    </a:lnTo>
                    <a:lnTo>
                      <a:pt x="339" y="83"/>
                    </a:lnTo>
                    <a:lnTo>
                      <a:pt x="339" y="85"/>
                    </a:lnTo>
                    <a:lnTo>
                      <a:pt x="341" y="87"/>
                    </a:lnTo>
                    <a:lnTo>
                      <a:pt x="341" y="85"/>
                    </a:lnTo>
                    <a:lnTo>
                      <a:pt x="343" y="85"/>
                    </a:lnTo>
                    <a:lnTo>
                      <a:pt x="343" y="87"/>
                    </a:lnTo>
                    <a:lnTo>
                      <a:pt x="345" y="87"/>
                    </a:lnTo>
                    <a:lnTo>
                      <a:pt x="343" y="87"/>
                    </a:lnTo>
                    <a:lnTo>
                      <a:pt x="343" y="89"/>
                    </a:lnTo>
                    <a:lnTo>
                      <a:pt x="343" y="91"/>
                    </a:lnTo>
                    <a:lnTo>
                      <a:pt x="341" y="91"/>
                    </a:lnTo>
                    <a:lnTo>
                      <a:pt x="341" y="93"/>
                    </a:lnTo>
                    <a:lnTo>
                      <a:pt x="339" y="93"/>
                    </a:lnTo>
                    <a:lnTo>
                      <a:pt x="339" y="95"/>
                    </a:lnTo>
                    <a:lnTo>
                      <a:pt x="337" y="97"/>
                    </a:lnTo>
                    <a:lnTo>
                      <a:pt x="337" y="95"/>
                    </a:lnTo>
                    <a:lnTo>
                      <a:pt x="335" y="95"/>
                    </a:lnTo>
                    <a:lnTo>
                      <a:pt x="333" y="95"/>
                    </a:lnTo>
                    <a:lnTo>
                      <a:pt x="331" y="93"/>
                    </a:lnTo>
                    <a:lnTo>
                      <a:pt x="331" y="91"/>
                    </a:lnTo>
                    <a:lnTo>
                      <a:pt x="331" y="89"/>
                    </a:lnTo>
                    <a:lnTo>
                      <a:pt x="329" y="89"/>
                    </a:lnTo>
                    <a:lnTo>
                      <a:pt x="329" y="91"/>
                    </a:lnTo>
                    <a:lnTo>
                      <a:pt x="331" y="89"/>
                    </a:lnTo>
                    <a:lnTo>
                      <a:pt x="329" y="91"/>
                    </a:lnTo>
                    <a:lnTo>
                      <a:pt x="329" y="93"/>
                    </a:lnTo>
                    <a:lnTo>
                      <a:pt x="328" y="91"/>
                    </a:lnTo>
                    <a:lnTo>
                      <a:pt x="326" y="91"/>
                    </a:lnTo>
                    <a:lnTo>
                      <a:pt x="326" y="89"/>
                    </a:lnTo>
                    <a:lnTo>
                      <a:pt x="328" y="87"/>
                    </a:lnTo>
                    <a:lnTo>
                      <a:pt x="329" y="87"/>
                    </a:lnTo>
                    <a:lnTo>
                      <a:pt x="329" y="85"/>
                    </a:lnTo>
                    <a:lnTo>
                      <a:pt x="331" y="85"/>
                    </a:lnTo>
                    <a:lnTo>
                      <a:pt x="333" y="83"/>
                    </a:lnTo>
                    <a:lnTo>
                      <a:pt x="335" y="83"/>
                    </a:lnTo>
                    <a:lnTo>
                      <a:pt x="337" y="82"/>
                    </a:lnTo>
                    <a:lnTo>
                      <a:pt x="337" y="83"/>
                    </a:lnTo>
                    <a:lnTo>
                      <a:pt x="339" y="82"/>
                    </a:lnTo>
                    <a:close/>
                    <a:moveTo>
                      <a:pt x="32" y="301"/>
                    </a:moveTo>
                    <a:lnTo>
                      <a:pt x="32" y="303"/>
                    </a:lnTo>
                    <a:lnTo>
                      <a:pt x="30" y="303"/>
                    </a:lnTo>
                    <a:lnTo>
                      <a:pt x="28" y="305"/>
                    </a:lnTo>
                    <a:lnTo>
                      <a:pt x="28" y="307"/>
                    </a:lnTo>
                    <a:lnTo>
                      <a:pt x="28" y="309"/>
                    </a:lnTo>
                    <a:lnTo>
                      <a:pt x="26" y="312"/>
                    </a:lnTo>
                    <a:lnTo>
                      <a:pt x="24" y="311"/>
                    </a:lnTo>
                    <a:lnTo>
                      <a:pt x="24" y="312"/>
                    </a:lnTo>
                    <a:lnTo>
                      <a:pt x="22" y="312"/>
                    </a:lnTo>
                    <a:lnTo>
                      <a:pt x="22" y="311"/>
                    </a:lnTo>
                    <a:lnTo>
                      <a:pt x="21" y="309"/>
                    </a:lnTo>
                    <a:lnTo>
                      <a:pt x="21" y="307"/>
                    </a:lnTo>
                    <a:lnTo>
                      <a:pt x="19" y="307"/>
                    </a:lnTo>
                    <a:lnTo>
                      <a:pt x="19" y="305"/>
                    </a:lnTo>
                    <a:lnTo>
                      <a:pt x="21" y="305"/>
                    </a:lnTo>
                    <a:lnTo>
                      <a:pt x="22" y="305"/>
                    </a:lnTo>
                    <a:lnTo>
                      <a:pt x="24" y="305"/>
                    </a:lnTo>
                    <a:lnTo>
                      <a:pt x="26" y="305"/>
                    </a:lnTo>
                    <a:lnTo>
                      <a:pt x="26" y="303"/>
                    </a:lnTo>
                    <a:lnTo>
                      <a:pt x="28" y="303"/>
                    </a:lnTo>
                    <a:lnTo>
                      <a:pt x="28" y="301"/>
                    </a:lnTo>
                    <a:lnTo>
                      <a:pt x="30" y="301"/>
                    </a:lnTo>
                    <a:lnTo>
                      <a:pt x="32" y="301"/>
                    </a:lnTo>
                    <a:close/>
                    <a:moveTo>
                      <a:pt x="68" y="299"/>
                    </a:moveTo>
                    <a:lnTo>
                      <a:pt x="68" y="303"/>
                    </a:lnTo>
                    <a:lnTo>
                      <a:pt x="68" y="305"/>
                    </a:lnTo>
                    <a:lnTo>
                      <a:pt x="66" y="307"/>
                    </a:lnTo>
                    <a:lnTo>
                      <a:pt x="66" y="309"/>
                    </a:lnTo>
                    <a:lnTo>
                      <a:pt x="63" y="309"/>
                    </a:lnTo>
                    <a:lnTo>
                      <a:pt x="61" y="311"/>
                    </a:lnTo>
                    <a:lnTo>
                      <a:pt x="59" y="311"/>
                    </a:lnTo>
                    <a:lnTo>
                      <a:pt x="61" y="311"/>
                    </a:lnTo>
                    <a:lnTo>
                      <a:pt x="63" y="309"/>
                    </a:lnTo>
                    <a:lnTo>
                      <a:pt x="63" y="307"/>
                    </a:lnTo>
                    <a:lnTo>
                      <a:pt x="63" y="305"/>
                    </a:lnTo>
                    <a:lnTo>
                      <a:pt x="64" y="305"/>
                    </a:lnTo>
                    <a:lnTo>
                      <a:pt x="64" y="303"/>
                    </a:lnTo>
                    <a:lnTo>
                      <a:pt x="64" y="301"/>
                    </a:lnTo>
                    <a:lnTo>
                      <a:pt x="66" y="299"/>
                    </a:lnTo>
                    <a:lnTo>
                      <a:pt x="68" y="299"/>
                    </a:lnTo>
                    <a:close/>
                    <a:moveTo>
                      <a:pt x="43" y="309"/>
                    </a:moveTo>
                    <a:lnTo>
                      <a:pt x="43" y="311"/>
                    </a:lnTo>
                    <a:lnTo>
                      <a:pt x="43" y="309"/>
                    </a:lnTo>
                    <a:lnTo>
                      <a:pt x="43" y="311"/>
                    </a:lnTo>
                    <a:lnTo>
                      <a:pt x="43" y="309"/>
                    </a:lnTo>
                    <a:lnTo>
                      <a:pt x="43" y="311"/>
                    </a:lnTo>
                    <a:lnTo>
                      <a:pt x="43" y="312"/>
                    </a:lnTo>
                    <a:lnTo>
                      <a:pt x="43" y="314"/>
                    </a:lnTo>
                    <a:lnTo>
                      <a:pt x="43" y="316"/>
                    </a:lnTo>
                    <a:lnTo>
                      <a:pt x="42" y="316"/>
                    </a:lnTo>
                    <a:lnTo>
                      <a:pt x="40" y="316"/>
                    </a:lnTo>
                    <a:lnTo>
                      <a:pt x="38" y="314"/>
                    </a:lnTo>
                    <a:lnTo>
                      <a:pt x="36" y="314"/>
                    </a:lnTo>
                    <a:lnTo>
                      <a:pt x="38" y="312"/>
                    </a:lnTo>
                    <a:lnTo>
                      <a:pt x="38" y="311"/>
                    </a:lnTo>
                    <a:lnTo>
                      <a:pt x="40" y="309"/>
                    </a:lnTo>
                    <a:lnTo>
                      <a:pt x="38" y="309"/>
                    </a:lnTo>
                    <a:lnTo>
                      <a:pt x="40" y="309"/>
                    </a:lnTo>
                    <a:lnTo>
                      <a:pt x="42" y="309"/>
                    </a:lnTo>
                    <a:lnTo>
                      <a:pt x="43" y="311"/>
                    </a:lnTo>
                    <a:lnTo>
                      <a:pt x="43" y="309"/>
                    </a:lnTo>
                    <a:close/>
                    <a:moveTo>
                      <a:pt x="74" y="290"/>
                    </a:moveTo>
                    <a:lnTo>
                      <a:pt x="76" y="290"/>
                    </a:lnTo>
                    <a:lnTo>
                      <a:pt x="76" y="291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2" y="295"/>
                    </a:lnTo>
                    <a:lnTo>
                      <a:pt x="70" y="295"/>
                    </a:lnTo>
                    <a:lnTo>
                      <a:pt x="70" y="297"/>
                    </a:lnTo>
                    <a:lnTo>
                      <a:pt x="68" y="297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70" y="293"/>
                    </a:lnTo>
                    <a:lnTo>
                      <a:pt x="72" y="291"/>
                    </a:lnTo>
                    <a:lnTo>
                      <a:pt x="74" y="291"/>
                    </a:lnTo>
                    <a:lnTo>
                      <a:pt x="74" y="290"/>
                    </a:lnTo>
                    <a:close/>
                    <a:moveTo>
                      <a:pt x="354" y="80"/>
                    </a:moveTo>
                    <a:lnTo>
                      <a:pt x="356" y="82"/>
                    </a:lnTo>
                    <a:lnTo>
                      <a:pt x="356" y="80"/>
                    </a:lnTo>
                    <a:lnTo>
                      <a:pt x="356" y="82"/>
                    </a:lnTo>
                    <a:lnTo>
                      <a:pt x="356" y="83"/>
                    </a:lnTo>
                    <a:lnTo>
                      <a:pt x="358" y="83"/>
                    </a:lnTo>
                    <a:lnTo>
                      <a:pt x="356" y="83"/>
                    </a:lnTo>
                    <a:lnTo>
                      <a:pt x="356" y="85"/>
                    </a:lnTo>
                    <a:lnTo>
                      <a:pt x="352" y="82"/>
                    </a:lnTo>
                    <a:lnTo>
                      <a:pt x="350" y="82"/>
                    </a:lnTo>
                    <a:lnTo>
                      <a:pt x="349" y="82"/>
                    </a:lnTo>
                    <a:lnTo>
                      <a:pt x="349" y="80"/>
                    </a:lnTo>
                    <a:lnTo>
                      <a:pt x="350" y="80"/>
                    </a:lnTo>
                    <a:lnTo>
                      <a:pt x="352" y="80"/>
                    </a:lnTo>
                    <a:lnTo>
                      <a:pt x="354" y="80"/>
                    </a:lnTo>
                    <a:close/>
                    <a:moveTo>
                      <a:pt x="3" y="297"/>
                    </a:moveTo>
                    <a:lnTo>
                      <a:pt x="5" y="297"/>
                    </a:lnTo>
                    <a:lnTo>
                      <a:pt x="7" y="299"/>
                    </a:lnTo>
                    <a:lnTo>
                      <a:pt x="5" y="299"/>
                    </a:lnTo>
                    <a:lnTo>
                      <a:pt x="5" y="301"/>
                    </a:lnTo>
                    <a:lnTo>
                      <a:pt x="5" y="303"/>
                    </a:lnTo>
                    <a:lnTo>
                      <a:pt x="3" y="303"/>
                    </a:lnTo>
                    <a:lnTo>
                      <a:pt x="3" y="301"/>
                    </a:lnTo>
                    <a:lnTo>
                      <a:pt x="2" y="299"/>
                    </a:lnTo>
                    <a:lnTo>
                      <a:pt x="2" y="297"/>
                    </a:lnTo>
                    <a:lnTo>
                      <a:pt x="3" y="297"/>
                    </a:lnTo>
                    <a:close/>
                    <a:moveTo>
                      <a:pt x="312" y="99"/>
                    </a:moveTo>
                    <a:lnTo>
                      <a:pt x="314" y="99"/>
                    </a:lnTo>
                    <a:lnTo>
                      <a:pt x="314" y="101"/>
                    </a:lnTo>
                    <a:lnTo>
                      <a:pt x="314" y="103"/>
                    </a:lnTo>
                    <a:lnTo>
                      <a:pt x="312" y="103"/>
                    </a:lnTo>
                    <a:lnTo>
                      <a:pt x="310" y="103"/>
                    </a:lnTo>
                    <a:lnTo>
                      <a:pt x="310" y="104"/>
                    </a:lnTo>
                    <a:lnTo>
                      <a:pt x="309" y="104"/>
                    </a:lnTo>
                    <a:lnTo>
                      <a:pt x="309" y="103"/>
                    </a:lnTo>
                    <a:lnTo>
                      <a:pt x="309" y="101"/>
                    </a:lnTo>
                    <a:lnTo>
                      <a:pt x="310" y="101"/>
                    </a:lnTo>
                    <a:lnTo>
                      <a:pt x="310" y="99"/>
                    </a:lnTo>
                    <a:lnTo>
                      <a:pt x="312" y="101"/>
                    </a:lnTo>
                    <a:lnTo>
                      <a:pt x="312" y="99"/>
                    </a:lnTo>
                    <a:close/>
                    <a:moveTo>
                      <a:pt x="15" y="309"/>
                    </a:moveTo>
                    <a:lnTo>
                      <a:pt x="17" y="309"/>
                    </a:lnTo>
                    <a:lnTo>
                      <a:pt x="17" y="311"/>
                    </a:lnTo>
                    <a:lnTo>
                      <a:pt x="15" y="312"/>
                    </a:lnTo>
                    <a:lnTo>
                      <a:pt x="13" y="312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5" y="309"/>
                    </a:lnTo>
                    <a:close/>
                    <a:moveTo>
                      <a:pt x="3" y="314"/>
                    </a:moveTo>
                    <a:lnTo>
                      <a:pt x="3" y="316"/>
                    </a:lnTo>
                    <a:lnTo>
                      <a:pt x="3" y="318"/>
                    </a:lnTo>
                    <a:lnTo>
                      <a:pt x="2" y="318"/>
                    </a:lnTo>
                    <a:lnTo>
                      <a:pt x="0" y="316"/>
                    </a:lnTo>
                    <a:lnTo>
                      <a:pt x="2" y="316"/>
                    </a:lnTo>
                    <a:lnTo>
                      <a:pt x="2" y="314"/>
                    </a:lnTo>
                    <a:lnTo>
                      <a:pt x="3" y="314"/>
                    </a:lnTo>
                    <a:close/>
                    <a:moveTo>
                      <a:pt x="310" y="106"/>
                    </a:moveTo>
                    <a:lnTo>
                      <a:pt x="312" y="108"/>
                    </a:lnTo>
                    <a:lnTo>
                      <a:pt x="314" y="108"/>
                    </a:lnTo>
                    <a:lnTo>
                      <a:pt x="312" y="108"/>
                    </a:lnTo>
                    <a:lnTo>
                      <a:pt x="310" y="108"/>
                    </a:lnTo>
                    <a:lnTo>
                      <a:pt x="310" y="106"/>
                    </a:lnTo>
                    <a:close/>
                    <a:moveTo>
                      <a:pt x="177" y="137"/>
                    </a:moveTo>
                    <a:lnTo>
                      <a:pt x="181" y="137"/>
                    </a:lnTo>
                    <a:lnTo>
                      <a:pt x="181" y="139"/>
                    </a:lnTo>
                    <a:lnTo>
                      <a:pt x="177" y="139"/>
                    </a:lnTo>
                    <a:lnTo>
                      <a:pt x="177" y="137"/>
                    </a:lnTo>
                    <a:close/>
                    <a:moveTo>
                      <a:pt x="242" y="175"/>
                    </a:moveTo>
                    <a:lnTo>
                      <a:pt x="242" y="177"/>
                    </a:lnTo>
                    <a:lnTo>
                      <a:pt x="242" y="175"/>
                    </a:lnTo>
                    <a:close/>
                    <a:moveTo>
                      <a:pt x="171" y="137"/>
                    </a:moveTo>
                    <a:lnTo>
                      <a:pt x="171" y="139"/>
                    </a:lnTo>
                    <a:lnTo>
                      <a:pt x="171" y="137"/>
                    </a:lnTo>
                    <a:close/>
                    <a:moveTo>
                      <a:pt x="74" y="286"/>
                    </a:moveTo>
                    <a:lnTo>
                      <a:pt x="74" y="288"/>
                    </a:lnTo>
                    <a:lnTo>
                      <a:pt x="74" y="286"/>
                    </a:lnTo>
                    <a:close/>
                    <a:moveTo>
                      <a:pt x="146" y="26"/>
                    </a:moveTo>
                    <a:lnTo>
                      <a:pt x="148" y="26"/>
                    </a:lnTo>
                    <a:lnTo>
                      <a:pt x="148" y="28"/>
                    </a:lnTo>
                    <a:lnTo>
                      <a:pt x="146" y="28"/>
                    </a:lnTo>
                    <a:lnTo>
                      <a:pt x="146" y="26"/>
                    </a:lnTo>
                    <a:close/>
                    <a:moveTo>
                      <a:pt x="276" y="127"/>
                    </a:moveTo>
                    <a:lnTo>
                      <a:pt x="276" y="129"/>
                    </a:lnTo>
                    <a:lnTo>
                      <a:pt x="276" y="127"/>
                    </a:lnTo>
                    <a:close/>
                    <a:moveTo>
                      <a:pt x="146" y="30"/>
                    </a:moveTo>
                    <a:lnTo>
                      <a:pt x="146" y="32"/>
                    </a:lnTo>
                    <a:lnTo>
                      <a:pt x="146" y="30"/>
                    </a:lnTo>
                    <a:close/>
                    <a:moveTo>
                      <a:pt x="276" y="125"/>
                    </a:moveTo>
                    <a:lnTo>
                      <a:pt x="276" y="127"/>
                    </a:lnTo>
                    <a:lnTo>
                      <a:pt x="276" y="12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7" name="Freeform 99">
                <a:extLst>
                  <a:ext uri="{FF2B5EF4-FFF2-40B4-BE49-F238E27FC236}">
                    <a16:creationId xmlns:a16="http://schemas.microsoft.com/office/drawing/2014/main" id="{FFBB1D3E-1307-0B71-2450-ACF875CDBD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2694" y="-2871089"/>
                <a:ext cx="58297" cy="36307"/>
              </a:xfrm>
              <a:custGeom>
                <a:avLst/>
                <a:gdLst>
                  <a:gd name="T0" fmla="*/ 37 w 37"/>
                  <a:gd name="T1" fmla="*/ 0 h 23"/>
                  <a:gd name="T2" fmla="*/ 37 w 37"/>
                  <a:gd name="T3" fmla="*/ 2 h 23"/>
                  <a:gd name="T4" fmla="*/ 35 w 37"/>
                  <a:gd name="T5" fmla="*/ 2 h 23"/>
                  <a:gd name="T6" fmla="*/ 33 w 37"/>
                  <a:gd name="T7" fmla="*/ 4 h 23"/>
                  <a:gd name="T8" fmla="*/ 29 w 37"/>
                  <a:gd name="T9" fmla="*/ 6 h 23"/>
                  <a:gd name="T10" fmla="*/ 29 w 37"/>
                  <a:gd name="T11" fmla="*/ 8 h 23"/>
                  <a:gd name="T12" fmla="*/ 27 w 37"/>
                  <a:gd name="T13" fmla="*/ 8 h 23"/>
                  <a:gd name="T14" fmla="*/ 25 w 37"/>
                  <a:gd name="T15" fmla="*/ 10 h 23"/>
                  <a:gd name="T16" fmla="*/ 25 w 37"/>
                  <a:gd name="T17" fmla="*/ 12 h 23"/>
                  <a:gd name="T18" fmla="*/ 27 w 37"/>
                  <a:gd name="T19" fmla="*/ 12 h 23"/>
                  <a:gd name="T20" fmla="*/ 27 w 37"/>
                  <a:gd name="T21" fmla="*/ 14 h 23"/>
                  <a:gd name="T22" fmla="*/ 29 w 37"/>
                  <a:gd name="T23" fmla="*/ 14 h 23"/>
                  <a:gd name="T24" fmla="*/ 29 w 37"/>
                  <a:gd name="T25" fmla="*/ 16 h 23"/>
                  <a:gd name="T26" fmla="*/ 27 w 37"/>
                  <a:gd name="T27" fmla="*/ 14 h 23"/>
                  <a:gd name="T28" fmla="*/ 25 w 37"/>
                  <a:gd name="T29" fmla="*/ 16 h 23"/>
                  <a:gd name="T30" fmla="*/ 23 w 37"/>
                  <a:gd name="T31" fmla="*/ 14 h 23"/>
                  <a:gd name="T32" fmla="*/ 21 w 37"/>
                  <a:gd name="T33" fmla="*/ 16 h 23"/>
                  <a:gd name="T34" fmla="*/ 21 w 37"/>
                  <a:gd name="T35" fmla="*/ 18 h 23"/>
                  <a:gd name="T36" fmla="*/ 19 w 37"/>
                  <a:gd name="T37" fmla="*/ 18 h 23"/>
                  <a:gd name="T38" fmla="*/ 18 w 37"/>
                  <a:gd name="T39" fmla="*/ 20 h 23"/>
                  <a:gd name="T40" fmla="*/ 16 w 37"/>
                  <a:gd name="T41" fmla="*/ 20 h 23"/>
                  <a:gd name="T42" fmla="*/ 14 w 37"/>
                  <a:gd name="T43" fmla="*/ 20 h 23"/>
                  <a:gd name="T44" fmla="*/ 12 w 37"/>
                  <a:gd name="T45" fmla="*/ 20 h 23"/>
                  <a:gd name="T46" fmla="*/ 12 w 37"/>
                  <a:gd name="T47" fmla="*/ 21 h 23"/>
                  <a:gd name="T48" fmla="*/ 12 w 37"/>
                  <a:gd name="T49" fmla="*/ 23 h 23"/>
                  <a:gd name="T50" fmla="*/ 10 w 37"/>
                  <a:gd name="T51" fmla="*/ 23 h 23"/>
                  <a:gd name="T52" fmla="*/ 10 w 37"/>
                  <a:gd name="T53" fmla="*/ 21 h 23"/>
                  <a:gd name="T54" fmla="*/ 8 w 37"/>
                  <a:gd name="T55" fmla="*/ 21 h 23"/>
                  <a:gd name="T56" fmla="*/ 6 w 37"/>
                  <a:gd name="T57" fmla="*/ 21 h 23"/>
                  <a:gd name="T58" fmla="*/ 4 w 37"/>
                  <a:gd name="T59" fmla="*/ 20 h 23"/>
                  <a:gd name="T60" fmla="*/ 2 w 37"/>
                  <a:gd name="T61" fmla="*/ 20 h 23"/>
                  <a:gd name="T62" fmla="*/ 2 w 37"/>
                  <a:gd name="T63" fmla="*/ 18 h 23"/>
                  <a:gd name="T64" fmla="*/ 0 w 37"/>
                  <a:gd name="T65" fmla="*/ 18 h 23"/>
                  <a:gd name="T66" fmla="*/ 0 w 37"/>
                  <a:gd name="T67" fmla="*/ 16 h 23"/>
                  <a:gd name="T68" fmla="*/ 0 w 37"/>
                  <a:gd name="T69" fmla="*/ 14 h 23"/>
                  <a:gd name="T70" fmla="*/ 0 w 37"/>
                  <a:gd name="T71" fmla="*/ 12 h 23"/>
                  <a:gd name="T72" fmla="*/ 0 w 37"/>
                  <a:gd name="T73" fmla="*/ 14 h 23"/>
                  <a:gd name="T74" fmla="*/ 2 w 37"/>
                  <a:gd name="T75" fmla="*/ 14 h 23"/>
                  <a:gd name="T76" fmla="*/ 2 w 37"/>
                  <a:gd name="T77" fmla="*/ 12 h 23"/>
                  <a:gd name="T78" fmla="*/ 4 w 37"/>
                  <a:gd name="T79" fmla="*/ 10 h 23"/>
                  <a:gd name="T80" fmla="*/ 6 w 37"/>
                  <a:gd name="T81" fmla="*/ 10 h 23"/>
                  <a:gd name="T82" fmla="*/ 8 w 37"/>
                  <a:gd name="T83" fmla="*/ 10 h 23"/>
                  <a:gd name="T84" fmla="*/ 8 w 37"/>
                  <a:gd name="T85" fmla="*/ 12 h 23"/>
                  <a:gd name="T86" fmla="*/ 10 w 37"/>
                  <a:gd name="T87" fmla="*/ 10 h 23"/>
                  <a:gd name="T88" fmla="*/ 10 w 37"/>
                  <a:gd name="T89" fmla="*/ 8 h 23"/>
                  <a:gd name="T90" fmla="*/ 10 w 37"/>
                  <a:gd name="T91" fmla="*/ 6 h 23"/>
                  <a:gd name="T92" fmla="*/ 12 w 37"/>
                  <a:gd name="T93" fmla="*/ 6 h 23"/>
                  <a:gd name="T94" fmla="*/ 12 w 37"/>
                  <a:gd name="T95" fmla="*/ 8 h 23"/>
                  <a:gd name="T96" fmla="*/ 14 w 37"/>
                  <a:gd name="T97" fmla="*/ 8 h 23"/>
                  <a:gd name="T98" fmla="*/ 14 w 37"/>
                  <a:gd name="T99" fmla="*/ 6 h 23"/>
                  <a:gd name="T100" fmla="*/ 18 w 37"/>
                  <a:gd name="T101" fmla="*/ 8 h 23"/>
                  <a:gd name="T102" fmla="*/ 19 w 37"/>
                  <a:gd name="T103" fmla="*/ 8 h 23"/>
                  <a:gd name="T104" fmla="*/ 21 w 37"/>
                  <a:gd name="T105" fmla="*/ 8 h 23"/>
                  <a:gd name="T106" fmla="*/ 23 w 37"/>
                  <a:gd name="T107" fmla="*/ 6 h 23"/>
                  <a:gd name="T108" fmla="*/ 25 w 37"/>
                  <a:gd name="T109" fmla="*/ 6 h 23"/>
                  <a:gd name="T110" fmla="*/ 27 w 37"/>
                  <a:gd name="T111" fmla="*/ 6 h 23"/>
                  <a:gd name="T112" fmla="*/ 29 w 37"/>
                  <a:gd name="T113" fmla="*/ 4 h 23"/>
                  <a:gd name="T114" fmla="*/ 31 w 37"/>
                  <a:gd name="T115" fmla="*/ 2 h 23"/>
                  <a:gd name="T116" fmla="*/ 31 w 37"/>
                  <a:gd name="T117" fmla="*/ 4 h 23"/>
                  <a:gd name="T118" fmla="*/ 31 w 37"/>
                  <a:gd name="T119" fmla="*/ 2 h 23"/>
                  <a:gd name="T120" fmla="*/ 33 w 37"/>
                  <a:gd name="T121" fmla="*/ 2 h 23"/>
                  <a:gd name="T122" fmla="*/ 37 w 37"/>
                  <a:gd name="T12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" h="23">
                    <a:moveTo>
                      <a:pt x="37" y="0"/>
                    </a:moveTo>
                    <a:lnTo>
                      <a:pt x="37" y="2"/>
                    </a:lnTo>
                    <a:lnTo>
                      <a:pt x="35" y="2"/>
                    </a:lnTo>
                    <a:lnTo>
                      <a:pt x="33" y="4"/>
                    </a:lnTo>
                    <a:lnTo>
                      <a:pt x="29" y="6"/>
                    </a:lnTo>
                    <a:lnTo>
                      <a:pt x="29" y="8"/>
                    </a:lnTo>
                    <a:lnTo>
                      <a:pt x="27" y="8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7" y="12"/>
                    </a:lnTo>
                    <a:lnTo>
                      <a:pt x="27" y="14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7" y="14"/>
                    </a:lnTo>
                    <a:lnTo>
                      <a:pt x="25" y="16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8" y="20"/>
                    </a:lnTo>
                    <a:lnTo>
                      <a:pt x="16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0" y="23"/>
                    </a:lnTo>
                    <a:lnTo>
                      <a:pt x="10" y="21"/>
                    </a:lnTo>
                    <a:lnTo>
                      <a:pt x="8" y="21"/>
                    </a:lnTo>
                    <a:lnTo>
                      <a:pt x="6" y="21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8" y="8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8" name="Freeform 115">
                <a:extLst>
                  <a:ext uri="{FF2B5EF4-FFF2-40B4-BE49-F238E27FC236}">
                    <a16:creationId xmlns:a16="http://schemas.microsoft.com/office/drawing/2014/main" id="{99A6E0EE-5CEC-BF69-86C8-BF83FA1F39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53752" y="-3150488"/>
                <a:ext cx="155983" cy="102606"/>
              </a:xfrm>
              <a:custGeom>
                <a:avLst/>
                <a:gdLst>
                  <a:gd name="T0" fmla="*/ 99 w 99"/>
                  <a:gd name="T1" fmla="*/ 17 h 65"/>
                  <a:gd name="T2" fmla="*/ 90 w 99"/>
                  <a:gd name="T3" fmla="*/ 23 h 65"/>
                  <a:gd name="T4" fmla="*/ 88 w 99"/>
                  <a:gd name="T5" fmla="*/ 29 h 65"/>
                  <a:gd name="T6" fmla="*/ 84 w 99"/>
                  <a:gd name="T7" fmla="*/ 34 h 65"/>
                  <a:gd name="T8" fmla="*/ 80 w 99"/>
                  <a:gd name="T9" fmla="*/ 38 h 65"/>
                  <a:gd name="T10" fmla="*/ 82 w 99"/>
                  <a:gd name="T11" fmla="*/ 38 h 65"/>
                  <a:gd name="T12" fmla="*/ 84 w 99"/>
                  <a:gd name="T13" fmla="*/ 38 h 65"/>
                  <a:gd name="T14" fmla="*/ 86 w 99"/>
                  <a:gd name="T15" fmla="*/ 40 h 65"/>
                  <a:gd name="T16" fmla="*/ 88 w 99"/>
                  <a:gd name="T17" fmla="*/ 46 h 65"/>
                  <a:gd name="T18" fmla="*/ 88 w 99"/>
                  <a:gd name="T19" fmla="*/ 50 h 65"/>
                  <a:gd name="T20" fmla="*/ 84 w 99"/>
                  <a:gd name="T21" fmla="*/ 50 h 65"/>
                  <a:gd name="T22" fmla="*/ 80 w 99"/>
                  <a:gd name="T23" fmla="*/ 50 h 65"/>
                  <a:gd name="T24" fmla="*/ 76 w 99"/>
                  <a:gd name="T25" fmla="*/ 48 h 65"/>
                  <a:gd name="T26" fmla="*/ 71 w 99"/>
                  <a:gd name="T27" fmla="*/ 50 h 65"/>
                  <a:gd name="T28" fmla="*/ 63 w 99"/>
                  <a:gd name="T29" fmla="*/ 53 h 65"/>
                  <a:gd name="T30" fmla="*/ 61 w 99"/>
                  <a:gd name="T31" fmla="*/ 53 h 65"/>
                  <a:gd name="T32" fmla="*/ 61 w 99"/>
                  <a:gd name="T33" fmla="*/ 59 h 65"/>
                  <a:gd name="T34" fmla="*/ 55 w 99"/>
                  <a:gd name="T35" fmla="*/ 63 h 65"/>
                  <a:gd name="T36" fmla="*/ 50 w 99"/>
                  <a:gd name="T37" fmla="*/ 63 h 65"/>
                  <a:gd name="T38" fmla="*/ 42 w 99"/>
                  <a:gd name="T39" fmla="*/ 63 h 65"/>
                  <a:gd name="T40" fmla="*/ 38 w 99"/>
                  <a:gd name="T41" fmla="*/ 63 h 65"/>
                  <a:gd name="T42" fmla="*/ 34 w 99"/>
                  <a:gd name="T43" fmla="*/ 57 h 65"/>
                  <a:gd name="T44" fmla="*/ 31 w 99"/>
                  <a:gd name="T45" fmla="*/ 57 h 65"/>
                  <a:gd name="T46" fmla="*/ 27 w 99"/>
                  <a:gd name="T47" fmla="*/ 61 h 65"/>
                  <a:gd name="T48" fmla="*/ 25 w 99"/>
                  <a:gd name="T49" fmla="*/ 61 h 65"/>
                  <a:gd name="T50" fmla="*/ 19 w 99"/>
                  <a:gd name="T51" fmla="*/ 61 h 65"/>
                  <a:gd name="T52" fmla="*/ 13 w 99"/>
                  <a:gd name="T53" fmla="*/ 61 h 65"/>
                  <a:gd name="T54" fmla="*/ 10 w 99"/>
                  <a:gd name="T55" fmla="*/ 59 h 65"/>
                  <a:gd name="T56" fmla="*/ 10 w 99"/>
                  <a:gd name="T57" fmla="*/ 53 h 65"/>
                  <a:gd name="T58" fmla="*/ 6 w 99"/>
                  <a:gd name="T59" fmla="*/ 48 h 65"/>
                  <a:gd name="T60" fmla="*/ 0 w 99"/>
                  <a:gd name="T61" fmla="*/ 42 h 65"/>
                  <a:gd name="T62" fmla="*/ 2 w 99"/>
                  <a:gd name="T63" fmla="*/ 36 h 65"/>
                  <a:gd name="T64" fmla="*/ 4 w 99"/>
                  <a:gd name="T65" fmla="*/ 31 h 65"/>
                  <a:gd name="T66" fmla="*/ 6 w 99"/>
                  <a:gd name="T67" fmla="*/ 29 h 65"/>
                  <a:gd name="T68" fmla="*/ 8 w 99"/>
                  <a:gd name="T69" fmla="*/ 23 h 65"/>
                  <a:gd name="T70" fmla="*/ 4 w 99"/>
                  <a:gd name="T71" fmla="*/ 17 h 65"/>
                  <a:gd name="T72" fmla="*/ 0 w 99"/>
                  <a:gd name="T73" fmla="*/ 11 h 65"/>
                  <a:gd name="T74" fmla="*/ 2 w 99"/>
                  <a:gd name="T75" fmla="*/ 4 h 65"/>
                  <a:gd name="T76" fmla="*/ 6 w 99"/>
                  <a:gd name="T77" fmla="*/ 0 h 65"/>
                  <a:gd name="T78" fmla="*/ 8 w 99"/>
                  <a:gd name="T79" fmla="*/ 6 h 65"/>
                  <a:gd name="T80" fmla="*/ 15 w 99"/>
                  <a:gd name="T81" fmla="*/ 8 h 65"/>
                  <a:gd name="T82" fmla="*/ 25 w 99"/>
                  <a:gd name="T83" fmla="*/ 11 h 65"/>
                  <a:gd name="T84" fmla="*/ 34 w 99"/>
                  <a:gd name="T85" fmla="*/ 10 h 65"/>
                  <a:gd name="T86" fmla="*/ 42 w 99"/>
                  <a:gd name="T87" fmla="*/ 11 h 65"/>
                  <a:gd name="T88" fmla="*/ 50 w 99"/>
                  <a:gd name="T89" fmla="*/ 13 h 65"/>
                  <a:gd name="T90" fmla="*/ 55 w 99"/>
                  <a:gd name="T91" fmla="*/ 10 h 65"/>
                  <a:gd name="T92" fmla="*/ 61 w 99"/>
                  <a:gd name="T93" fmla="*/ 6 h 65"/>
                  <a:gd name="T94" fmla="*/ 71 w 99"/>
                  <a:gd name="T95" fmla="*/ 4 h 65"/>
                  <a:gd name="T96" fmla="*/ 78 w 99"/>
                  <a:gd name="T97" fmla="*/ 2 h 65"/>
                  <a:gd name="T98" fmla="*/ 82 w 99"/>
                  <a:gd name="T99" fmla="*/ 4 h 65"/>
                  <a:gd name="T100" fmla="*/ 88 w 99"/>
                  <a:gd name="T101" fmla="*/ 6 h 65"/>
                  <a:gd name="T102" fmla="*/ 97 w 99"/>
                  <a:gd name="T103" fmla="*/ 11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9" h="65">
                    <a:moveTo>
                      <a:pt x="99" y="11"/>
                    </a:moveTo>
                    <a:lnTo>
                      <a:pt x="99" y="13"/>
                    </a:lnTo>
                    <a:lnTo>
                      <a:pt x="99" y="15"/>
                    </a:lnTo>
                    <a:lnTo>
                      <a:pt x="99" y="17"/>
                    </a:lnTo>
                    <a:lnTo>
                      <a:pt x="97" y="19"/>
                    </a:lnTo>
                    <a:lnTo>
                      <a:pt x="95" y="17"/>
                    </a:lnTo>
                    <a:lnTo>
                      <a:pt x="92" y="19"/>
                    </a:lnTo>
                    <a:lnTo>
                      <a:pt x="90" y="23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88" y="27"/>
                    </a:lnTo>
                    <a:lnTo>
                      <a:pt x="88" y="29"/>
                    </a:lnTo>
                    <a:lnTo>
                      <a:pt x="88" y="31"/>
                    </a:lnTo>
                    <a:lnTo>
                      <a:pt x="88" y="34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2" y="36"/>
                    </a:lnTo>
                    <a:lnTo>
                      <a:pt x="82" y="38"/>
                    </a:lnTo>
                    <a:lnTo>
                      <a:pt x="80" y="38"/>
                    </a:lnTo>
                    <a:lnTo>
                      <a:pt x="82" y="40"/>
                    </a:lnTo>
                    <a:lnTo>
                      <a:pt x="80" y="40"/>
                    </a:lnTo>
                    <a:lnTo>
                      <a:pt x="82" y="40"/>
                    </a:lnTo>
                    <a:lnTo>
                      <a:pt x="82" y="38"/>
                    </a:lnTo>
                    <a:lnTo>
                      <a:pt x="82" y="40"/>
                    </a:lnTo>
                    <a:lnTo>
                      <a:pt x="82" y="38"/>
                    </a:lnTo>
                    <a:lnTo>
                      <a:pt x="82" y="40"/>
                    </a:lnTo>
                    <a:lnTo>
                      <a:pt x="84" y="38"/>
                    </a:lnTo>
                    <a:lnTo>
                      <a:pt x="84" y="40"/>
                    </a:lnTo>
                    <a:lnTo>
                      <a:pt x="84" y="38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90" y="46"/>
                    </a:lnTo>
                    <a:lnTo>
                      <a:pt x="90" y="48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86" y="50"/>
                    </a:lnTo>
                    <a:lnTo>
                      <a:pt x="84" y="50"/>
                    </a:lnTo>
                    <a:lnTo>
                      <a:pt x="82" y="50"/>
                    </a:lnTo>
                    <a:lnTo>
                      <a:pt x="82" y="51"/>
                    </a:lnTo>
                    <a:lnTo>
                      <a:pt x="82" y="50"/>
                    </a:lnTo>
                    <a:lnTo>
                      <a:pt x="80" y="50"/>
                    </a:lnTo>
                    <a:lnTo>
                      <a:pt x="80" y="48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6" y="48"/>
                    </a:lnTo>
                    <a:lnTo>
                      <a:pt x="75" y="46"/>
                    </a:lnTo>
                    <a:lnTo>
                      <a:pt x="75" y="48"/>
                    </a:lnTo>
                    <a:lnTo>
                      <a:pt x="73" y="50"/>
                    </a:lnTo>
                    <a:lnTo>
                      <a:pt x="71" y="50"/>
                    </a:lnTo>
                    <a:lnTo>
                      <a:pt x="69" y="50"/>
                    </a:lnTo>
                    <a:lnTo>
                      <a:pt x="67" y="50"/>
                    </a:lnTo>
                    <a:lnTo>
                      <a:pt x="67" y="51"/>
                    </a:lnTo>
                    <a:lnTo>
                      <a:pt x="63" y="53"/>
                    </a:lnTo>
                    <a:lnTo>
                      <a:pt x="63" y="55"/>
                    </a:lnTo>
                    <a:lnTo>
                      <a:pt x="61" y="53"/>
                    </a:lnTo>
                    <a:lnTo>
                      <a:pt x="61" y="55"/>
                    </a:lnTo>
                    <a:lnTo>
                      <a:pt x="61" y="53"/>
                    </a:lnTo>
                    <a:lnTo>
                      <a:pt x="59" y="55"/>
                    </a:lnTo>
                    <a:lnTo>
                      <a:pt x="59" y="57"/>
                    </a:lnTo>
                    <a:lnTo>
                      <a:pt x="61" y="57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59" y="63"/>
                    </a:lnTo>
                    <a:lnTo>
                      <a:pt x="57" y="63"/>
                    </a:lnTo>
                    <a:lnTo>
                      <a:pt x="55" y="63"/>
                    </a:lnTo>
                    <a:lnTo>
                      <a:pt x="54" y="63"/>
                    </a:lnTo>
                    <a:lnTo>
                      <a:pt x="52" y="63"/>
                    </a:lnTo>
                    <a:lnTo>
                      <a:pt x="50" y="65"/>
                    </a:lnTo>
                    <a:lnTo>
                      <a:pt x="50" y="63"/>
                    </a:lnTo>
                    <a:lnTo>
                      <a:pt x="50" y="65"/>
                    </a:lnTo>
                    <a:lnTo>
                      <a:pt x="46" y="65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1"/>
                    </a:lnTo>
                    <a:lnTo>
                      <a:pt x="40" y="61"/>
                    </a:lnTo>
                    <a:lnTo>
                      <a:pt x="38" y="61"/>
                    </a:lnTo>
                    <a:lnTo>
                      <a:pt x="38" y="63"/>
                    </a:lnTo>
                    <a:lnTo>
                      <a:pt x="38" y="61"/>
                    </a:lnTo>
                    <a:lnTo>
                      <a:pt x="36" y="61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4" y="59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31" y="57"/>
                    </a:lnTo>
                    <a:lnTo>
                      <a:pt x="31" y="59"/>
                    </a:lnTo>
                    <a:lnTo>
                      <a:pt x="29" y="59"/>
                    </a:lnTo>
                    <a:lnTo>
                      <a:pt x="27" y="59"/>
                    </a:lnTo>
                    <a:lnTo>
                      <a:pt x="27" y="61"/>
                    </a:lnTo>
                    <a:lnTo>
                      <a:pt x="27" y="59"/>
                    </a:lnTo>
                    <a:lnTo>
                      <a:pt x="25" y="61"/>
                    </a:lnTo>
                    <a:lnTo>
                      <a:pt x="25" y="59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3" y="61"/>
                    </a:lnTo>
                    <a:lnTo>
                      <a:pt x="13" y="63"/>
                    </a:lnTo>
                    <a:lnTo>
                      <a:pt x="10" y="63"/>
                    </a:lnTo>
                    <a:lnTo>
                      <a:pt x="10" y="61"/>
                    </a:lnTo>
                    <a:lnTo>
                      <a:pt x="10" y="59"/>
                    </a:lnTo>
                    <a:lnTo>
                      <a:pt x="10" y="57"/>
                    </a:lnTo>
                    <a:lnTo>
                      <a:pt x="10" y="55"/>
                    </a:lnTo>
                    <a:lnTo>
                      <a:pt x="12" y="55"/>
                    </a:lnTo>
                    <a:lnTo>
                      <a:pt x="10" y="53"/>
                    </a:lnTo>
                    <a:lnTo>
                      <a:pt x="10" y="51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4" y="46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4" y="38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2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4" y="31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6" y="19"/>
                    </a:lnTo>
                    <a:lnTo>
                      <a:pt x="4" y="17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9" y="10"/>
                    </a:lnTo>
                    <a:lnTo>
                      <a:pt x="23" y="10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3" y="11"/>
                    </a:lnTo>
                    <a:lnTo>
                      <a:pt x="34" y="10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8" y="13"/>
                    </a:lnTo>
                    <a:lnTo>
                      <a:pt x="50" y="13"/>
                    </a:lnTo>
                    <a:lnTo>
                      <a:pt x="52" y="13"/>
                    </a:lnTo>
                    <a:lnTo>
                      <a:pt x="54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59" y="6"/>
                    </a:lnTo>
                    <a:lnTo>
                      <a:pt x="61" y="6"/>
                    </a:lnTo>
                    <a:lnTo>
                      <a:pt x="63" y="4"/>
                    </a:lnTo>
                    <a:lnTo>
                      <a:pt x="65" y="4"/>
                    </a:lnTo>
                    <a:lnTo>
                      <a:pt x="67" y="4"/>
                    </a:lnTo>
                    <a:lnTo>
                      <a:pt x="71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6" y="2"/>
                    </a:lnTo>
                    <a:lnTo>
                      <a:pt x="78" y="2"/>
                    </a:lnTo>
                    <a:lnTo>
                      <a:pt x="78" y="4"/>
                    </a:lnTo>
                    <a:lnTo>
                      <a:pt x="80" y="4"/>
                    </a:lnTo>
                    <a:lnTo>
                      <a:pt x="80" y="6"/>
                    </a:lnTo>
                    <a:lnTo>
                      <a:pt x="82" y="4"/>
                    </a:lnTo>
                    <a:lnTo>
                      <a:pt x="84" y="6"/>
                    </a:lnTo>
                    <a:lnTo>
                      <a:pt x="84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0" y="10"/>
                    </a:lnTo>
                    <a:lnTo>
                      <a:pt x="94" y="11"/>
                    </a:lnTo>
                    <a:lnTo>
                      <a:pt x="97" y="11"/>
                    </a:lnTo>
                    <a:lnTo>
                      <a:pt x="99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9" name="Freeform 116">
                <a:extLst>
                  <a:ext uri="{FF2B5EF4-FFF2-40B4-BE49-F238E27FC236}">
                    <a16:creationId xmlns:a16="http://schemas.microsoft.com/office/drawing/2014/main" id="{7E8D825F-C97F-92BD-86D1-53F0C5059F5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78123" y="-3066827"/>
                <a:ext cx="256821" cy="224152"/>
              </a:xfrm>
              <a:custGeom>
                <a:avLst/>
                <a:gdLst>
                  <a:gd name="T0" fmla="*/ 107 w 163"/>
                  <a:gd name="T1" fmla="*/ 21 h 142"/>
                  <a:gd name="T2" fmla="*/ 82 w 163"/>
                  <a:gd name="T3" fmla="*/ 18 h 142"/>
                  <a:gd name="T4" fmla="*/ 81 w 163"/>
                  <a:gd name="T5" fmla="*/ 35 h 142"/>
                  <a:gd name="T6" fmla="*/ 67 w 163"/>
                  <a:gd name="T7" fmla="*/ 33 h 142"/>
                  <a:gd name="T8" fmla="*/ 54 w 163"/>
                  <a:gd name="T9" fmla="*/ 39 h 142"/>
                  <a:gd name="T10" fmla="*/ 58 w 163"/>
                  <a:gd name="T11" fmla="*/ 58 h 142"/>
                  <a:gd name="T12" fmla="*/ 67 w 163"/>
                  <a:gd name="T13" fmla="*/ 69 h 142"/>
                  <a:gd name="T14" fmla="*/ 69 w 163"/>
                  <a:gd name="T15" fmla="*/ 81 h 142"/>
                  <a:gd name="T16" fmla="*/ 63 w 163"/>
                  <a:gd name="T17" fmla="*/ 88 h 142"/>
                  <a:gd name="T18" fmla="*/ 54 w 163"/>
                  <a:gd name="T19" fmla="*/ 90 h 142"/>
                  <a:gd name="T20" fmla="*/ 52 w 163"/>
                  <a:gd name="T21" fmla="*/ 103 h 142"/>
                  <a:gd name="T22" fmla="*/ 42 w 163"/>
                  <a:gd name="T23" fmla="*/ 103 h 142"/>
                  <a:gd name="T24" fmla="*/ 33 w 163"/>
                  <a:gd name="T25" fmla="*/ 77 h 142"/>
                  <a:gd name="T26" fmla="*/ 58 w 163"/>
                  <a:gd name="T27" fmla="*/ 81 h 142"/>
                  <a:gd name="T28" fmla="*/ 50 w 163"/>
                  <a:gd name="T29" fmla="*/ 71 h 142"/>
                  <a:gd name="T30" fmla="*/ 33 w 163"/>
                  <a:gd name="T31" fmla="*/ 69 h 142"/>
                  <a:gd name="T32" fmla="*/ 27 w 163"/>
                  <a:gd name="T33" fmla="*/ 67 h 142"/>
                  <a:gd name="T34" fmla="*/ 25 w 163"/>
                  <a:gd name="T35" fmla="*/ 58 h 142"/>
                  <a:gd name="T36" fmla="*/ 12 w 163"/>
                  <a:gd name="T37" fmla="*/ 44 h 142"/>
                  <a:gd name="T38" fmla="*/ 25 w 163"/>
                  <a:gd name="T39" fmla="*/ 23 h 142"/>
                  <a:gd name="T40" fmla="*/ 61 w 163"/>
                  <a:gd name="T41" fmla="*/ 10 h 142"/>
                  <a:gd name="T42" fmla="*/ 82 w 163"/>
                  <a:gd name="T43" fmla="*/ 4 h 142"/>
                  <a:gd name="T44" fmla="*/ 109 w 163"/>
                  <a:gd name="T45" fmla="*/ 4 h 142"/>
                  <a:gd name="T46" fmla="*/ 81 w 163"/>
                  <a:gd name="T47" fmla="*/ 132 h 142"/>
                  <a:gd name="T48" fmla="*/ 111 w 163"/>
                  <a:gd name="T49" fmla="*/ 132 h 142"/>
                  <a:gd name="T50" fmla="*/ 79 w 163"/>
                  <a:gd name="T51" fmla="*/ 134 h 142"/>
                  <a:gd name="T52" fmla="*/ 71 w 163"/>
                  <a:gd name="T53" fmla="*/ 65 h 142"/>
                  <a:gd name="T54" fmla="*/ 79 w 163"/>
                  <a:gd name="T55" fmla="*/ 79 h 142"/>
                  <a:gd name="T56" fmla="*/ 58 w 163"/>
                  <a:gd name="T57" fmla="*/ 60 h 142"/>
                  <a:gd name="T58" fmla="*/ 109 w 163"/>
                  <a:gd name="T59" fmla="*/ 56 h 142"/>
                  <a:gd name="T60" fmla="*/ 136 w 163"/>
                  <a:gd name="T61" fmla="*/ 121 h 142"/>
                  <a:gd name="T62" fmla="*/ 107 w 163"/>
                  <a:gd name="T63" fmla="*/ 73 h 142"/>
                  <a:gd name="T64" fmla="*/ 18 w 163"/>
                  <a:gd name="T65" fmla="*/ 77 h 142"/>
                  <a:gd name="T66" fmla="*/ 8 w 163"/>
                  <a:gd name="T67" fmla="*/ 46 h 142"/>
                  <a:gd name="T68" fmla="*/ 92 w 163"/>
                  <a:gd name="T69" fmla="*/ 40 h 142"/>
                  <a:gd name="T70" fmla="*/ 121 w 163"/>
                  <a:gd name="T71" fmla="*/ 84 h 142"/>
                  <a:gd name="T72" fmla="*/ 25 w 163"/>
                  <a:gd name="T73" fmla="*/ 84 h 142"/>
                  <a:gd name="T74" fmla="*/ 90 w 163"/>
                  <a:gd name="T75" fmla="*/ 82 h 142"/>
                  <a:gd name="T76" fmla="*/ 63 w 163"/>
                  <a:gd name="T77" fmla="*/ 33 h 142"/>
                  <a:gd name="T78" fmla="*/ 124 w 163"/>
                  <a:gd name="T79" fmla="*/ 130 h 142"/>
                  <a:gd name="T80" fmla="*/ 58 w 163"/>
                  <a:gd name="T81" fmla="*/ 113 h 142"/>
                  <a:gd name="T82" fmla="*/ 82 w 163"/>
                  <a:gd name="T83" fmla="*/ 61 h 142"/>
                  <a:gd name="T84" fmla="*/ 94 w 163"/>
                  <a:gd name="T85" fmla="*/ 100 h 142"/>
                  <a:gd name="T86" fmla="*/ 81 w 163"/>
                  <a:gd name="T87" fmla="*/ 105 h 142"/>
                  <a:gd name="T88" fmla="*/ 94 w 163"/>
                  <a:gd name="T89" fmla="*/ 103 h 142"/>
                  <a:gd name="T90" fmla="*/ 23 w 163"/>
                  <a:gd name="T91" fmla="*/ 71 h 142"/>
                  <a:gd name="T92" fmla="*/ 98 w 163"/>
                  <a:gd name="T93" fmla="*/ 90 h 142"/>
                  <a:gd name="T94" fmla="*/ 96 w 163"/>
                  <a:gd name="T95" fmla="*/ 113 h 142"/>
                  <a:gd name="T96" fmla="*/ 126 w 163"/>
                  <a:gd name="T97" fmla="*/ 109 h 142"/>
                  <a:gd name="T98" fmla="*/ 67 w 163"/>
                  <a:gd name="T99" fmla="*/ 92 h 142"/>
                  <a:gd name="T100" fmla="*/ 90 w 163"/>
                  <a:gd name="T101" fmla="*/ 100 h 142"/>
                  <a:gd name="T102" fmla="*/ 130 w 163"/>
                  <a:gd name="T103" fmla="*/ 115 h 142"/>
                  <a:gd name="T104" fmla="*/ 60 w 163"/>
                  <a:gd name="T105" fmla="*/ 94 h 142"/>
                  <a:gd name="T106" fmla="*/ 119 w 163"/>
                  <a:gd name="T107" fmla="*/ 92 h 142"/>
                  <a:gd name="T108" fmla="*/ 123 w 163"/>
                  <a:gd name="T109" fmla="*/ 90 h 142"/>
                  <a:gd name="T110" fmla="*/ 0 w 163"/>
                  <a:gd name="T111" fmla="*/ 40 h 142"/>
                  <a:gd name="T112" fmla="*/ 117 w 163"/>
                  <a:gd name="T113" fmla="*/ 111 h 142"/>
                  <a:gd name="T114" fmla="*/ 29 w 163"/>
                  <a:gd name="T115" fmla="*/ 69 h 142"/>
                  <a:gd name="T116" fmla="*/ 73 w 163"/>
                  <a:gd name="T117" fmla="*/ 88 h 142"/>
                  <a:gd name="T118" fmla="*/ 119 w 163"/>
                  <a:gd name="T119" fmla="*/ 130 h 142"/>
                  <a:gd name="T120" fmla="*/ 123 w 163"/>
                  <a:gd name="T121" fmla="*/ 10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3" h="142">
                    <a:moveTo>
                      <a:pt x="111" y="2"/>
                    </a:moveTo>
                    <a:lnTo>
                      <a:pt x="113" y="2"/>
                    </a:lnTo>
                    <a:lnTo>
                      <a:pt x="115" y="4"/>
                    </a:lnTo>
                    <a:lnTo>
                      <a:pt x="115" y="6"/>
                    </a:lnTo>
                    <a:lnTo>
                      <a:pt x="117" y="8"/>
                    </a:lnTo>
                    <a:lnTo>
                      <a:pt x="117" y="10"/>
                    </a:lnTo>
                    <a:lnTo>
                      <a:pt x="115" y="10"/>
                    </a:lnTo>
                    <a:lnTo>
                      <a:pt x="113" y="12"/>
                    </a:lnTo>
                    <a:lnTo>
                      <a:pt x="111" y="12"/>
                    </a:lnTo>
                    <a:lnTo>
                      <a:pt x="111" y="14"/>
                    </a:lnTo>
                    <a:lnTo>
                      <a:pt x="111" y="16"/>
                    </a:lnTo>
                    <a:lnTo>
                      <a:pt x="111" y="18"/>
                    </a:lnTo>
                    <a:lnTo>
                      <a:pt x="111" y="19"/>
                    </a:lnTo>
                    <a:lnTo>
                      <a:pt x="109" y="19"/>
                    </a:lnTo>
                    <a:lnTo>
                      <a:pt x="109" y="21"/>
                    </a:lnTo>
                    <a:lnTo>
                      <a:pt x="107" y="23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3" y="19"/>
                    </a:lnTo>
                    <a:lnTo>
                      <a:pt x="102" y="19"/>
                    </a:lnTo>
                    <a:lnTo>
                      <a:pt x="100" y="19"/>
                    </a:lnTo>
                    <a:lnTo>
                      <a:pt x="98" y="19"/>
                    </a:lnTo>
                    <a:lnTo>
                      <a:pt x="96" y="19"/>
                    </a:lnTo>
                    <a:lnTo>
                      <a:pt x="96" y="18"/>
                    </a:lnTo>
                    <a:lnTo>
                      <a:pt x="94" y="18"/>
                    </a:lnTo>
                    <a:lnTo>
                      <a:pt x="94" y="19"/>
                    </a:lnTo>
                    <a:lnTo>
                      <a:pt x="94" y="18"/>
                    </a:lnTo>
                    <a:lnTo>
                      <a:pt x="92" y="18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88" y="19"/>
                    </a:lnTo>
                    <a:lnTo>
                      <a:pt x="86" y="19"/>
                    </a:lnTo>
                    <a:lnTo>
                      <a:pt x="84" y="19"/>
                    </a:lnTo>
                    <a:lnTo>
                      <a:pt x="86" y="19"/>
                    </a:lnTo>
                    <a:lnTo>
                      <a:pt x="84" y="19"/>
                    </a:lnTo>
                    <a:lnTo>
                      <a:pt x="82" y="18"/>
                    </a:lnTo>
                    <a:lnTo>
                      <a:pt x="81" y="18"/>
                    </a:lnTo>
                    <a:lnTo>
                      <a:pt x="81" y="19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5" y="23"/>
                    </a:lnTo>
                    <a:lnTo>
                      <a:pt x="73" y="23"/>
                    </a:lnTo>
                    <a:lnTo>
                      <a:pt x="71" y="21"/>
                    </a:lnTo>
                    <a:lnTo>
                      <a:pt x="69" y="23"/>
                    </a:lnTo>
                    <a:lnTo>
                      <a:pt x="71" y="23"/>
                    </a:lnTo>
                    <a:lnTo>
                      <a:pt x="71" y="25"/>
                    </a:lnTo>
                    <a:lnTo>
                      <a:pt x="71" y="27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71" y="29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5" y="31"/>
                    </a:lnTo>
                    <a:lnTo>
                      <a:pt x="77" y="31"/>
                    </a:lnTo>
                    <a:lnTo>
                      <a:pt x="79" y="31"/>
                    </a:lnTo>
                    <a:lnTo>
                      <a:pt x="79" y="33"/>
                    </a:lnTo>
                    <a:lnTo>
                      <a:pt x="81" y="35"/>
                    </a:lnTo>
                    <a:lnTo>
                      <a:pt x="79" y="35"/>
                    </a:lnTo>
                    <a:lnTo>
                      <a:pt x="79" y="33"/>
                    </a:lnTo>
                    <a:lnTo>
                      <a:pt x="77" y="33"/>
                    </a:lnTo>
                    <a:lnTo>
                      <a:pt x="75" y="31"/>
                    </a:lnTo>
                    <a:lnTo>
                      <a:pt x="73" y="31"/>
                    </a:lnTo>
                    <a:lnTo>
                      <a:pt x="71" y="31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71" y="33"/>
                    </a:lnTo>
                    <a:lnTo>
                      <a:pt x="73" y="35"/>
                    </a:lnTo>
                    <a:lnTo>
                      <a:pt x="75" y="35"/>
                    </a:lnTo>
                    <a:lnTo>
                      <a:pt x="73" y="37"/>
                    </a:lnTo>
                    <a:lnTo>
                      <a:pt x="75" y="37"/>
                    </a:lnTo>
                    <a:lnTo>
                      <a:pt x="75" y="39"/>
                    </a:lnTo>
                    <a:lnTo>
                      <a:pt x="73" y="39"/>
                    </a:lnTo>
                    <a:lnTo>
                      <a:pt x="75" y="39"/>
                    </a:lnTo>
                    <a:lnTo>
                      <a:pt x="73" y="39"/>
                    </a:lnTo>
                    <a:lnTo>
                      <a:pt x="71" y="37"/>
                    </a:lnTo>
                    <a:lnTo>
                      <a:pt x="71" y="35"/>
                    </a:lnTo>
                    <a:lnTo>
                      <a:pt x="69" y="33"/>
                    </a:lnTo>
                    <a:lnTo>
                      <a:pt x="67" y="33"/>
                    </a:lnTo>
                    <a:lnTo>
                      <a:pt x="65" y="33"/>
                    </a:lnTo>
                    <a:lnTo>
                      <a:pt x="63" y="33"/>
                    </a:lnTo>
                    <a:lnTo>
                      <a:pt x="61" y="33"/>
                    </a:lnTo>
                    <a:lnTo>
                      <a:pt x="58" y="31"/>
                    </a:lnTo>
                    <a:lnTo>
                      <a:pt x="58" y="29"/>
                    </a:lnTo>
                    <a:lnTo>
                      <a:pt x="56" y="31"/>
                    </a:lnTo>
                    <a:lnTo>
                      <a:pt x="58" y="29"/>
                    </a:lnTo>
                    <a:lnTo>
                      <a:pt x="56" y="29"/>
                    </a:lnTo>
                    <a:lnTo>
                      <a:pt x="56" y="27"/>
                    </a:lnTo>
                    <a:lnTo>
                      <a:pt x="58" y="27"/>
                    </a:lnTo>
                    <a:lnTo>
                      <a:pt x="58" y="25"/>
                    </a:lnTo>
                    <a:lnTo>
                      <a:pt x="56" y="25"/>
                    </a:lnTo>
                    <a:lnTo>
                      <a:pt x="54" y="27"/>
                    </a:lnTo>
                    <a:lnTo>
                      <a:pt x="52" y="27"/>
                    </a:lnTo>
                    <a:lnTo>
                      <a:pt x="52" y="29"/>
                    </a:lnTo>
                    <a:lnTo>
                      <a:pt x="52" y="31"/>
                    </a:lnTo>
                    <a:lnTo>
                      <a:pt x="54" y="31"/>
                    </a:lnTo>
                    <a:lnTo>
                      <a:pt x="52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4" y="39"/>
                    </a:lnTo>
                    <a:lnTo>
                      <a:pt x="54" y="40"/>
                    </a:lnTo>
                    <a:lnTo>
                      <a:pt x="56" y="42"/>
                    </a:lnTo>
                    <a:lnTo>
                      <a:pt x="58" y="46"/>
                    </a:lnTo>
                    <a:lnTo>
                      <a:pt x="60" y="48"/>
                    </a:lnTo>
                    <a:lnTo>
                      <a:pt x="61" y="52"/>
                    </a:lnTo>
                    <a:lnTo>
                      <a:pt x="63" y="52"/>
                    </a:lnTo>
                    <a:lnTo>
                      <a:pt x="63" y="54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1" y="56"/>
                    </a:lnTo>
                    <a:lnTo>
                      <a:pt x="61" y="54"/>
                    </a:lnTo>
                    <a:lnTo>
                      <a:pt x="60" y="52"/>
                    </a:lnTo>
                    <a:lnTo>
                      <a:pt x="58" y="52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56" y="61"/>
                    </a:lnTo>
                    <a:lnTo>
                      <a:pt x="54" y="61"/>
                    </a:lnTo>
                    <a:lnTo>
                      <a:pt x="52" y="60"/>
                    </a:lnTo>
                    <a:lnTo>
                      <a:pt x="52" y="61"/>
                    </a:lnTo>
                    <a:lnTo>
                      <a:pt x="50" y="61"/>
                    </a:lnTo>
                    <a:lnTo>
                      <a:pt x="52" y="61"/>
                    </a:lnTo>
                    <a:lnTo>
                      <a:pt x="54" y="61"/>
                    </a:lnTo>
                    <a:lnTo>
                      <a:pt x="54" y="63"/>
                    </a:lnTo>
                    <a:lnTo>
                      <a:pt x="56" y="63"/>
                    </a:lnTo>
                    <a:lnTo>
                      <a:pt x="58" y="63"/>
                    </a:lnTo>
                    <a:lnTo>
                      <a:pt x="60" y="63"/>
                    </a:lnTo>
                    <a:lnTo>
                      <a:pt x="60" y="65"/>
                    </a:lnTo>
                    <a:lnTo>
                      <a:pt x="61" y="65"/>
                    </a:lnTo>
                    <a:lnTo>
                      <a:pt x="63" y="65"/>
                    </a:lnTo>
                    <a:lnTo>
                      <a:pt x="63" y="67"/>
                    </a:lnTo>
                    <a:lnTo>
                      <a:pt x="63" y="69"/>
                    </a:lnTo>
                    <a:lnTo>
                      <a:pt x="65" y="69"/>
                    </a:lnTo>
                    <a:lnTo>
                      <a:pt x="67" y="69"/>
                    </a:lnTo>
                    <a:lnTo>
                      <a:pt x="67" y="71"/>
                    </a:lnTo>
                    <a:lnTo>
                      <a:pt x="69" y="71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1" y="73"/>
                    </a:lnTo>
                    <a:lnTo>
                      <a:pt x="73" y="73"/>
                    </a:lnTo>
                    <a:lnTo>
                      <a:pt x="75" y="75"/>
                    </a:lnTo>
                    <a:lnTo>
                      <a:pt x="75" y="77"/>
                    </a:lnTo>
                    <a:lnTo>
                      <a:pt x="73" y="77"/>
                    </a:lnTo>
                    <a:lnTo>
                      <a:pt x="75" y="79"/>
                    </a:lnTo>
                    <a:lnTo>
                      <a:pt x="75" y="81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5" y="86"/>
                    </a:lnTo>
                    <a:lnTo>
                      <a:pt x="73" y="86"/>
                    </a:lnTo>
                    <a:lnTo>
                      <a:pt x="73" y="84"/>
                    </a:lnTo>
                    <a:lnTo>
                      <a:pt x="73" y="82"/>
                    </a:lnTo>
                    <a:lnTo>
                      <a:pt x="71" y="82"/>
                    </a:lnTo>
                    <a:lnTo>
                      <a:pt x="69" y="82"/>
                    </a:lnTo>
                    <a:lnTo>
                      <a:pt x="71" y="82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79"/>
                    </a:lnTo>
                    <a:lnTo>
                      <a:pt x="65" y="79"/>
                    </a:lnTo>
                    <a:lnTo>
                      <a:pt x="61" y="79"/>
                    </a:lnTo>
                    <a:lnTo>
                      <a:pt x="61" y="81"/>
                    </a:lnTo>
                    <a:lnTo>
                      <a:pt x="60" y="81"/>
                    </a:lnTo>
                    <a:lnTo>
                      <a:pt x="58" y="81"/>
                    </a:lnTo>
                    <a:lnTo>
                      <a:pt x="58" y="82"/>
                    </a:lnTo>
                    <a:lnTo>
                      <a:pt x="60" y="82"/>
                    </a:lnTo>
                    <a:lnTo>
                      <a:pt x="61" y="82"/>
                    </a:lnTo>
                    <a:lnTo>
                      <a:pt x="61" y="84"/>
                    </a:lnTo>
                    <a:lnTo>
                      <a:pt x="60" y="84"/>
                    </a:lnTo>
                    <a:lnTo>
                      <a:pt x="61" y="84"/>
                    </a:lnTo>
                    <a:lnTo>
                      <a:pt x="61" y="86"/>
                    </a:lnTo>
                    <a:lnTo>
                      <a:pt x="63" y="88"/>
                    </a:lnTo>
                    <a:lnTo>
                      <a:pt x="63" y="86"/>
                    </a:lnTo>
                    <a:lnTo>
                      <a:pt x="65" y="86"/>
                    </a:lnTo>
                    <a:lnTo>
                      <a:pt x="65" y="88"/>
                    </a:lnTo>
                    <a:lnTo>
                      <a:pt x="63" y="88"/>
                    </a:lnTo>
                    <a:lnTo>
                      <a:pt x="65" y="88"/>
                    </a:lnTo>
                    <a:lnTo>
                      <a:pt x="65" y="90"/>
                    </a:lnTo>
                    <a:lnTo>
                      <a:pt x="67" y="90"/>
                    </a:lnTo>
                    <a:lnTo>
                      <a:pt x="65" y="90"/>
                    </a:lnTo>
                    <a:lnTo>
                      <a:pt x="63" y="90"/>
                    </a:lnTo>
                    <a:lnTo>
                      <a:pt x="61" y="92"/>
                    </a:lnTo>
                    <a:lnTo>
                      <a:pt x="63" y="92"/>
                    </a:lnTo>
                    <a:lnTo>
                      <a:pt x="61" y="92"/>
                    </a:lnTo>
                    <a:lnTo>
                      <a:pt x="61" y="94"/>
                    </a:lnTo>
                    <a:lnTo>
                      <a:pt x="60" y="92"/>
                    </a:lnTo>
                    <a:lnTo>
                      <a:pt x="61" y="92"/>
                    </a:lnTo>
                    <a:lnTo>
                      <a:pt x="60" y="92"/>
                    </a:lnTo>
                    <a:lnTo>
                      <a:pt x="60" y="90"/>
                    </a:lnTo>
                    <a:lnTo>
                      <a:pt x="61" y="90"/>
                    </a:lnTo>
                    <a:lnTo>
                      <a:pt x="60" y="90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6" y="88"/>
                    </a:lnTo>
                    <a:lnTo>
                      <a:pt x="54" y="86"/>
                    </a:lnTo>
                    <a:lnTo>
                      <a:pt x="54" y="88"/>
                    </a:lnTo>
                    <a:lnTo>
                      <a:pt x="54" y="90"/>
                    </a:lnTo>
                    <a:lnTo>
                      <a:pt x="56" y="92"/>
                    </a:lnTo>
                    <a:lnTo>
                      <a:pt x="56" y="94"/>
                    </a:lnTo>
                    <a:lnTo>
                      <a:pt x="58" y="96"/>
                    </a:lnTo>
                    <a:lnTo>
                      <a:pt x="56" y="96"/>
                    </a:lnTo>
                    <a:lnTo>
                      <a:pt x="58" y="96"/>
                    </a:lnTo>
                    <a:lnTo>
                      <a:pt x="58" y="98"/>
                    </a:lnTo>
                    <a:lnTo>
                      <a:pt x="58" y="100"/>
                    </a:lnTo>
                    <a:lnTo>
                      <a:pt x="60" y="102"/>
                    </a:lnTo>
                    <a:lnTo>
                      <a:pt x="60" y="103"/>
                    </a:lnTo>
                    <a:lnTo>
                      <a:pt x="60" y="105"/>
                    </a:lnTo>
                    <a:lnTo>
                      <a:pt x="60" y="107"/>
                    </a:lnTo>
                    <a:lnTo>
                      <a:pt x="61" y="107"/>
                    </a:lnTo>
                    <a:lnTo>
                      <a:pt x="60" y="109"/>
                    </a:lnTo>
                    <a:lnTo>
                      <a:pt x="61" y="109"/>
                    </a:lnTo>
                    <a:lnTo>
                      <a:pt x="60" y="111"/>
                    </a:lnTo>
                    <a:lnTo>
                      <a:pt x="60" y="109"/>
                    </a:lnTo>
                    <a:lnTo>
                      <a:pt x="58" y="109"/>
                    </a:lnTo>
                    <a:lnTo>
                      <a:pt x="58" y="107"/>
                    </a:lnTo>
                    <a:lnTo>
                      <a:pt x="56" y="105"/>
                    </a:lnTo>
                    <a:lnTo>
                      <a:pt x="56" y="103"/>
                    </a:lnTo>
                    <a:lnTo>
                      <a:pt x="52" y="103"/>
                    </a:lnTo>
                    <a:lnTo>
                      <a:pt x="50" y="105"/>
                    </a:lnTo>
                    <a:lnTo>
                      <a:pt x="52" y="105"/>
                    </a:lnTo>
                    <a:lnTo>
                      <a:pt x="50" y="105"/>
                    </a:lnTo>
                    <a:lnTo>
                      <a:pt x="50" y="107"/>
                    </a:lnTo>
                    <a:lnTo>
                      <a:pt x="50" y="109"/>
                    </a:lnTo>
                    <a:lnTo>
                      <a:pt x="50" y="111"/>
                    </a:lnTo>
                    <a:lnTo>
                      <a:pt x="50" y="109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8" y="105"/>
                    </a:lnTo>
                    <a:lnTo>
                      <a:pt x="48" y="103"/>
                    </a:lnTo>
                    <a:lnTo>
                      <a:pt x="46" y="103"/>
                    </a:lnTo>
                    <a:lnTo>
                      <a:pt x="46" y="102"/>
                    </a:lnTo>
                    <a:lnTo>
                      <a:pt x="44" y="102"/>
                    </a:lnTo>
                    <a:lnTo>
                      <a:pt x="44" y="100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41" y="100"/>
                    </a:lnTo>
                    <a:lnTo>
                      <a:pt x="41" y="102"/>
                    </a:lnTo>
                    <a:lnTo>
                      <a:pt x="41" y="103"/>
                    </a:lnTo>
                    <a:lnTo>
                      <a:pt x="42" y="103"/>
                    </a:lnTo>
                    <a:lnTo>
                      <a:pt x="41" y="103"/>
                    </a:lnTo>
                    <a:lnTo>
                      <a:pt x="41" y="105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7" y="102"/>
                    </a:lnTo>
                    <a:lnTo>
                      <a:pt x="39" y="100"/>
                    </a:lnTo>
                    <a:lnTo>
                      <a:pt x="37" y="100"/>
                    </a:lnTo>
                    <a:lnTo>
                      <a:pt x="35" y="98"/>
                    </a:lnTo>
                    <a:lnTo>
                      <a:pt x="35" y="96"/>
                    </a:lnTo>
                    <a:lnTo>
                      <a:pt x="37" y="94"/>
                    </a:lnTo>
                    <a:lnTo>
                      <a:pt x="37" y="92"/>
                    </a:lnTo>
                    <a:lnTo>
                      <a:pt x="37" y="90"/>
                    </a:lnTo>
                    <a:lnTo>
                      <a:pt x="35" y="88"/>
                    </a:lnTo>
                    <a:lnTo>
                      <a:pt x="33" y="86"/>
                    </a:lnTo>
                    <a:lnTo>
                      <a:pt x="31" y="86"/>
                    </a:lnTo>
                    <a:lnTo>
                      <a:pt x="31" y="84"/>
                    </a:lnTo>
                    <a:lnTo>
                      <a:pt x="31" y="82"/>
                    </a:lnTo>
                    <a:lnTo>
                      <a:pt x="29" y="82"/>
                    </a:lnTo>
                    <a:lnTo>
                      <a:pt x="29" y="81"/>
                    </a:lnTo>
                    <a:lnTo>
                      <a:pt x="31" y="79"/>
                    </a:lnTo>
                    <a:lnTo>
                      <a:pt x="33" y="77"/>
                    </a:lnTo>
                    <a:lnTo>
                      <a:pt x="33" y="75"/>
                    </a:lnTo>
                    <a:lnTo>
                      <a:pt x="35" y="75"/>
                    </a:lnTo>
                    <a:lnTo>
                      <a:pt x="37" y="77"/>
                    </a:lnTo>
                    <a:lnTo>
                      <a:pt x="37" y="75"/>
                    </a:lnTo>
                    <a:lnTo>
                      <a:pt x="39" y="75"/>
                    </a:lnTo>
                    <a:lnTo>
                      <a:pt x="39" y="73"/>
                    </a:lnTo>
                    <a:lnTo>
                      <a:pt x="41" y="73"/>
                    </a:lnTo>
                    <a:lnTo>
                      <a:pt x="41" y="71"/>
                    </a:lnTo>
                    <a:lnTo>
                      <a:pt x="41" y="73"/>
                    </a:lnTo>
                    <a:lnTo>
                      <a:pt x="42" y="73"/>
                    </a:lnTo>
                    <a:lnTo>
                      <a:pt x="44" y="73"/>
                    </a:lnTo>
                    <a:lnTo>
                      <a:pt x="44" y="75"/>
                    </a:lnTo>
                    <a:lnTo>
                      <a:pt x="46" y="75"/>
                    </a:lnTo>
                    <a:lnTo>
                      <a:pt x="48" y="75"/>
                    </a:lnTo>
                    <a:lnTo>
                      <a:pt x="48" y="77"/>
                    </a:lnTo>
                    <a:lnTo>
                      <a:pt x="50" y="77"/>
                    </a:lnTo>
                    <a:lnTo>
                      <a:pt x="52" y="77"/>
                    </a:lnTo>
                    <a:lnTo>
                      <a:pt x="54" y="79"/>
                    </a:lnTo>
                    <a:lnTo>
                      <a:pt x="56" y="79"/>
                    </a:lnTo>
                    <a:lnTo>
                      <a:pt x="56" y="81"/>
                    </a:lnTo>
                    <a:lnTo>
                      <a:pt x="58" y="81"/>
                    </a:lnTo>
                    <a:lnTo>
                      <a:pt x="58" y="79"/>
                    </a:lnTo>
                    <a:lnTo>
                      <a:pt x="56" y="79"/>
                    </a:lnTo>
                    <a:lnTo>
                      <a:pt x="58" y="79"/>
                    </a:lnTo>
                    <a:lnTo>
                      <a:pt x="58" y="77"/>
                    </a:lnTo>
                    <a:lnTo>
                      <a:pt x="60" y="79"/>
                    </a:lnTo>
                    <a:lnTo>
                      <a:pt x="61" y="77"/>
                    </a:lnTo>
                    <a:lnTo>
                      <a:pt x="61" y="75"/>
                    </a:lnTo>
                    <a:lnTo>
                      <a:pt x="60" y="75"/>
                    </a:lnTo>
                    <a:lnTo>
                      <a:pt x="61" y="75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6" y="75"/>
                    </a:lnTo>
                    <a:lnTo>
                      <a:pt x="54" y="75"/>
                    </a:lnTo>
                    <a:lnTo>
                      <a:pt x="54" y="73"/>
                    </a:lnTo>
                    <a:lnTo>
                      <a:pt x="56" y="73"/>
                    </a:lnTo>
                    <a:lnTo>
                      <a:pt x="54" y="73"/>
                    </a:lnTo>
                    <a:lnTo>
                      <a:pt x="54" y="71"/>
                    </a:lnTo>
                    <a:lnTo>
                      <a:pt x="52" y="71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48" y="71"/>
                    </a:lnTo>
                    <a:lnTo>
                      <a:pt x="48" y="69"/>
                    </a:lnTo>
                    <a:lnTo>
                      <a:pt x="48" y="71"/>
                    </a:lnTo>
                    <a:lnTo>
                      <a:pt x="48" y="73"/>
                    </a:lnTo>
                    <a:lnTo>
                      <a:pt x="48" y="71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4" y="71"/>
                    </a:lnTo>
                    <a:lnTo>
                      <a:pt x="42" y="71"/>
                    </a:lnTo>
                    <a:lnTo>
                      <a:pt x="41" y="71"/>
                    </a:lnTo>
                    <a:lnTo>
                      <a:pt x="39" y="71"/>
                    </a:lnTo>
                    <a:lnTo>
                      <a:pt x="39" y="73"/>
                    </a:lnTo>
                    <a:lnTo>
                      <a:pt x="37" y="71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3" y="71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1" y="71"/>
                    </a:lnTo>
                    <a:lnTo>
                      <a:pt x="31" y="73"/>
                    </a:lnTo>
                    <a:lnTo>
                      <a:pt x="31" y="71"/>
                    </a:lnTo>
                    <a:lnTo>
                      <a:pt x="31" y="73"/>
                    </a:lnTo>
                    <a:lnTo>
                      <a:pt x="29" y="73"/>
                    </a:lnTo>
                    <a:lnTo>
                      <a:pt x="31" y="73"/>
                    </a:lnTo>
                    <a:lnTo>
                      <a:pt x="29" y="73"/>
                    </a:lnTo>
                    <a:lnTo>
                      <a:pt x="29" y="71"/>
                    </a:lnTo>
                    <a:lnTo>
                      <a:pt x="27" y="73"/>
                    </a:lnTo>
                    <a:lnTo>
                      <a:pt x="29" y="71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67"/>
                    </a:lnTo>
                    <a:lnTo>
                      <a:pt x="27" y="65"/>
                    </a:lnTo>
                    <a:lnTo>
                      <a:pt x="25" y="65"/>
                    </a:lnTo>
                    <a:lnTo>
                      <a:pt x="25" y="63"/>
                    </a:lnTo>
                    <a:lnTo>
                      <a:pt x="23" y="63"/>
                    </a:lnTo>
                    <a:lnTo>
                      <a:pt x="21" y="63"/>
                    </a:lnTo>
                    <a:lnTo>
                      <a:pt x="21" y="61"/>
                    </a:lnTo>
                    <a:lnTo>
                      <a:pt x="23" y="61"/>
                    </a:lnTo>
                    <a:lnTo>
                      <a:pt x="21" y="61"/>
                    </a:lnTo>
                    <a:lnTo>
                      <a:pt x="23" y="61"/>
                    </a:lnTo>
                    <a:lnTo>
                      <a:pt x="23" y="60"/>
                    </a:lnTo>
                    <a:lnTo>
                      <a:pt x="25" y="60"/>
                    </a:lnTo>
                    <a:lnTo>
                      <a:pt x="27" y="60"/>
                    </a:lnTo>
                    <a:lnTo>
                      <a:pt x="27" y="61"/>
                    </a:lnTo>
                    <a:lnTo>
                      <a:pt x="27" y="60"/>
                    </a:lnTo>
                    <a:lnTo>
                      <a:pt x="29" y="61"/>
                    </a:lnTo>
                    <a:lnTo>
                      <a:pt x="29" y="60"/>
                    </a:lnTo>
                    <a:lnTo>
                      <a:pt x="29" y="58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3" y="58"/>
                    </a:lnTo>
                    <a:lnTo>
                      <a:pt x="23" y="56"/>
                    </a:lnTo>
                    <a:lnTo>
                      <a:pt x="23" y="58"/>
                    </a:lnTo>
                    <a:lnTo>
                      <a:pt x="23" y="60"/>
                    </a:lnTo>
                    <a:lnTo>
                      <a:pt x="21" y="60"/>
                    </a:lnTo>
                    <a:lnTo>
                      <a:pt x="21" y="58"/>
                    </a:lnTo>
                    <a:lnTo>
                      <a:pt x="20" y="56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6" y="50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0" y="44"/>
                    </a:lnTo>
                    <a:lnTo>
                      <a:pt x="12" y="44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16" y="39"/>
                    </a:lnTo>
                    <a:lnTo>
                      <a:pt x="18" y="39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9"/>
                    </a:lnTo>
                    <a:lnTo>
                      <a:pt x="25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5" y="19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18"/>
                    </a:lnTo>
                    <a:lnTo>
                      <a:pt x="39" y="18"/>
                    </a:lnTo>
                    <a:lnTo>
                      <a:pt x="41" y="16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3" y="8"/>
                    </a:lnTo>
                    <a:lnTo>
                      <a:pt x="63" y="10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9" y="10"/>
                    </a:lnTo>
                    <a:lnTo>
                      <a:pt x="69" y="8"/>
                    </a:lnTo>
                    <a:lnTo>
                      <a:pt x="71" y="8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5" y="6"/>
                    </a:lnTo>
                    <a:lnTo>
                      <a:pt x="75" y="8"/>
                    </a:lnTo>
                    <a:lnTo>
                      <a:pt x="75" y="6"/>
                    </a:lnTo>
                    <a:lnTo>
                      <a:pt x="77" y="6"/>
                    </a:lnTo>
                    <a:lnTo>
                      <a:pt x="79" y="6"/>
                    </a:lnTo>
                    <a:lnTo>
                      <a:pt x="79" y="4"/>
                    </a:lnTo>
                    <a:lnTo>
                      <a:pt x="79" y="6"/>
                    </a:lnTo>
                    <a:lnTo>
                      <a:pt x="81" y="6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2" y="6"/>
                    </a:lnTo>
                    <a:lnTo>
                      <a:pt x="84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90" y="8"/>
                    </a:lnTo>
                    <a:lnTo>
                      <a:pt x="90" y="10"/>
                    </a:lnTo>
                    <a:lnTo>
                      <a:pt x="92" y="10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10"/>
                    </a:lnTo>
                    <a:lnTo>
                      <a:pt x="98" y="12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3" y="10"/>
                    </a:lnTo>
                    <a:lnTo>
                      <a:pt x="105" y="10"/>
                    </a:lnTo>
                    <a:lnTo>
                      <a:pt x="107" y="10"/>
                    </a:lnTo>
                    <a:lnTo>
                      <a:pt x="109" y="8"/>
                    </a:lnTo>
                    <a:lnTo>
                      <a:pt x="109" y="6"/>
                    </a:lnTo>
                    <a:lnTo>
                      <a:pt x="109" y="4"/>
                    </a:lnTo>
                    <a:lnTo>
                      <a:pt x="107" y="4"/>
                    </a:lnTo>
                    <a:lnTo>
                      <a:pt x="107" y="2"/>
                    </a:lnTo>
                    <a:lnTo>
                      <a:pt x="109" y="0"/>
                    </a:lnTo>
                    <a:lnTo>
                      <a:pt x="109" y="2"/>
                    </a:lnTo>
                    <a:lnTo>
                      <a:pt x="109" y="0"/>
                    </a:lnTo>
                    <a:lnTo>
                      <a:pt x="111" y="2"/>
                    </a:lnTo>
                    <a:close/>
                    <a:moveTo>
                      <a:pt x="71" y="124"/>
                    </a:moveTo>
                    <a:lnTo>
                      <a:pt x="71" y="126"/>
                    </a:lnTo>
                    <a:lnTo>
                      <a:pt x="71" y="128"/>
                    </a:lnTo>
                    <a:lnTo>
                      <a:pt x="73" y="128"/>
                    </a:lnTo>
                    <a:lnTo>
                      <a:pt x="75" y="128"/>
                    </a:lnTo>
                    <a:lnTo>
                      <a:pt x="75" y="126"/>
                    </a:lnTo>
                    <a:lnTo>
                      <a:pt x="77" y="126"/>
                    </a:lnTo>
                    <a:lnTo>
                      <a:pt x="77" y="128"/>
                    </a:lnTo>
                    <a:lnTo>
                      <a:pt x="75" y="128"/>
                    </a:lnTo>
                    <a:lnTo>
                      <a:pt x="77" y="128"/>
                    </a:lnTo>
                    <a:lnTo>
                      <a:pt x="77" y="130"/>
                    </a:lnTo>
                    <a:lnTo>
                      <a:pt x="79" y="128"/>
                    </a:lnTo>
                    <a:lnTo>
                      <a:pt x="79" y="130"/>
                    </a:lnTo>
                    <a:lnTo>
                      <a:pt x="79" y="132"/>
                    </a:lnTo>
                    <a:lnTo>
                      <a:pt x="81" y="132"/>
                    </a:lnTo>
                    <a:lnTo>
                      <a:pt x="81" y="130"/>
                    </a:lnTo>
                    <a:lnTo>
                      <a:pt x="82" y="130"/>
                    </a:lnTo>
                    <a:lnTo>
                      <a:pt x="84" y="130"/>
                    </a:lnTo>
                    <a:lnTo>
                      <a:pt x="86" y="130"/>
                    </a:lnTo>
                    <a:lnTo>
                      <a:pt x="88" y="130"/>
                    </a:lnTo>
                    <a:lnTo>
                      <a:pt x="90" y="130"/>
                    </a:lnTo>
                    <a:lnTo>
                      <a:pt x="90" y="132"/>
                    </a:lnTo>
                    <a:lnTo>
                      <a:pt x="92" y="132"/>
                    </a:lnTo>
                    <a:lnTo>
                      <a:pt x="94" y="132"/>
                    </a:lnTo>
                    <a:lnTo>
                      <a:pt x="96" y="132"/>
                    </a:lnTo>
                    <a:lnTo>
                      <a:pt x="98" y="132"/>
                    </a:lnTo>
                    <a:lnTo>
                      <a:pt x="102" y="132"/>
                    </a:lnTo>
                    <a:lnTo>
                      <a:pt x="102" y="134"/>
                    </a:lnTo>
                    <a:lnTo>
                      <a:pt x="102" y="136"/>
                    </a:lnTo>
                    <a:lnTo>
                      <a:pt x="103" y="136"/>
                    </a:lnTo>
                    <a:lnTo>
                      <a:pt x="103" y="134"/>
                    </a:lnTo>
                    <a:lnTo>
                      <a:pt x="105" y="134"/>
                    </a:lnTo>
                    <a:lnTo>
                      <a:pt x="107" y="134"/>
                    </a:lnTo>
                    <a:lnTo>
                      <a:pt x="109" y="134"/>
                    </a:lnTo>
                    <a:lnTo>
                      <a:pt x="109" y="132"/>
                    </a:lnTo>
                    <a:lnTo>
                      <a:pt x="111" y="132"/>
                    </a:lnTo>
                    <a:lnTo>
                      <a:pt x="111" y="134"/>
                    </a:lnTo>
                    <a:lnTo>
                      <a:pt x="111" y="136"/>
                    </a:lnTo>
                    <a:lnTo>
                      <a:pt x="109" y="138"/>
                    </a:lnTo>
                    <a:lnTo>
                      <a:pt x="107" y="138"/>
                    </a:lnTo>
                    <a:lnTo>
                      <a:pt x="105" y="138"/>
                    </a:lnTo>
                    <a:lnTo>
                      <a:pt x="103" y="138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6" y="138"/>
                    </a:lnTo>
                    <a:lnTo>
                      <a:pt x="94" y="138"/>
                    </a:lnTo>
                    <a:lnTo>
                      <a:pt x="94" y="140"/>
                    </a:lnTo>
                    <a:lnTo>
                      <a:pt x="92" y="140"/>
                    </a:lnTo>
                    <a:lnTo>
                      <a:pt x="90" y="140"/>
                    </a:lnTo>
                    <a:lnTo>
                      <a:pt x="88" y="140"/>
                    </a:lnTo>
                    <a:lnTo>
                      <a:pt x="86" y="140"/>
                    </a:lnTo>
                    <a:lnTo>
                      <a:pt x="86" y="138"/>
                    </a:lnTo>
                    <a:lnTo>
                      <a:pt x="86" y="136"/>
                    </a:lnTo>
                    <a:lnTo>
                      <a:pt x="84" y="136"/>
                    </a:lnTo>
                    <a:lnTo>
                      <a:pt x="82" y="136"/>
                    </a:lnTo>
                    <a:lnTo>
                      <a:pt x="81" y="134"/>
                    </a:lnTo>
                    <a:lnTo>
                      <a:pt x="79" y="134"/>
                    </a:lnTo>
                    <a:lnTo>
                      <a:pt x="77" y="134"/>
                    </a:lnTo>
                    <a:lnTo>
                      <a:pt x="75" y="134"/>
                    </a:lnTo>
                    <a:lnTo>
                      <a:pt x="73" y="134"/>
                    </a:lnTo>
                    <a:lnTo>
                      <a:pt x="71" y="134"/>
                    </a:lnTo>
                    <a:lnTo>
                      <a:pt x="69" y="134"/>
                    </a:lnTo>
                    <a:lnTo>
                      <a:pt x="67" y="134"/>
                    </a:lnTo>
                    <a:lnTo>
                      <a:pt x="67" y="132"/>
                    </a:lnTo>
                    <a:lnTo>
                      <a:pt x="67" y="130"/>
                    </a:lnTo>
                    <a:lnTo>
                      <a:pt x="67" y="128"/>
                    </a:lnTo>
                    <a:lnTo>
                      <a:pt x="67" y="126"/>
                    </a:lnTo>
                    <a:lnTo>
                      <a:pt x="67" y="128"/>
                    </a:lnTo>
                    <a:lnTo>
                      <a:pt x="69" y="128"/>
                    </a:lnTo>
                    <a:lnTo>
                      <a:pt x="69" y="126"/>
                    </a:lnTo>
                    <a:lnTo>
                      <a:pt x="69" y="124"/>
                    </a:lnTo>
                    <a:lnTo>
                      <a:pt x="71" y="124"/>
                    </a:lnTo>
                    <a:close/>
                    <a:moveTo>
                      <a:pt x="63" y="58"/>
                    </a:moveTo>
                    <a:lnTo>
                      <a:pt x="65" y="60"/>
                    </a:lnTo>
                    <a:lnTo>
                      <a:pt x="65" y="61"/>
                    </a:lnTo>
                    <a:lnTo>
                      <a:pt x="67" y="63"/>
                    </a:lnTo>
                    <a:lnTo>
                      <a:pt x="69" y="63"/>
                    </a:lnTo>
                    <a:lnTo>
                      <a:pt x="71" y="65"/>
                    </a:lnTo>
                    <a:lnTo>
                      <a:pt x="73" y="65"/>
                    </a:lnTo>
                    <a:lnTo>
                      <a:pt x="75" y="65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7" y="71"/>
                    </a:lnTo>
                    <a:lnTo>
                      <a:pt x="77" y="73"/>
                    </a:lnTo>
                    <a:lnTo>
                      <a:pt x="79" y="73"/>
                    </a:lnTo>
                    <a:lnTo>
                      <a:pt x="79" y="75"/>
                    </a:lnTo>
                    <a:lnTo>
                      <a:pt x="81" y="75"/>
                    </a:lnTo>
                    <a:lnTo>
                      <a:pt x="81" y="77"/>
                    </a:lnTo>
                    <a:lnTo>
                      <a:pt x="82" y="77"/>
                    </a:lnTo>
                    <a:lnTo>
                      <a:pt x="84" y="75"/>
                    </a:lnTo>
                    <a:lnTo>
                      <a:pt x="82" y="77"/>
                    </a:lnTo>
                    <a:lnTo>
                      <a:pt x="84" y="79"/>
                    </a:lnTo>
                    <a:lnTo>
                      <a:pt x="82" y="79"/>
                    </a:lnTo>
                    <a:lnTo>
                      <a:pt x="82" y="81"/>
                    </a:lnTo>
                    <a:lnTo>
                      <a:pt x="82" y="79"/>
                    </a:lnTo>
                    <a:lnTo>
                      <a:pt x="81" y="79"/>
                    </a:lnTo>
                    <a:lnTo>
                      <a:pt x="79" y="79"/>
                    </a:lnTo>
                    <a:lnTo>
                      <a:pt x="79" y="77"/>
                    </a:lnTo>
                    <a:lnTo>
                      <a:pt x="77" y="77"/>
                    </a:lnTo>
                    <a:lnTo>
                      <a:pt x="77" y="75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5" y="71"/>
                    </a:lnTo>
                    <a:lnTo>
                      <a:pt x="73" y="71"/>
                    </a:lnTo>
                    <a:lnTo>
                      <a:pt x="71" y="71"/>
                    </a:lnTo>
                    <a:lnTo>
                      <a:pt x="69" y="71"/>
                    </a:lnTo>
                    <a:lnTo>
                      <a:pt x="67" y="69"/>
                    </a:lnTo>
                    <a:lnTo>
                      <a:pt x="69" y="69"/>
                    </a:lnTo>
                    <a:lnTo>
                      <a:pt x="67" y="67"/>
                    </a:lnTo>
                    <a:lnTo>
                      <a:pt x="65" y="65"/>
                    </a:lnTo>
                    <a:lnTo>
                      <a:pt x="63" y="63"/>
                    </a:lnTo>
                    <a:lnTo>
                      <a:pt x="61" y="61"/>
                    </a:lnTo>
                    <a:lnTo>
                      <a:pt x="60" y="61"/>
                    </a:lnTo>
                    <a:lnTo>
                      <a:pt x="58" y="61"/>
                    </a:lnTo>
                    <a:lnTo>
                      <a:pt x="56" y="61"/>
                    </a:lnTo>
                    <a:lnTo>
                      <a:pt x="58" y="60"/>
                    </a:lnTo>
                    <a:lnTo>
                      <a:pt x="60" y="60"/>
                    </a:lnTo>
                    <a:lnTo>
                      <a:pt x="60" y="58"/>
                    </a:lnTo>
                    <a:lnTo>
                      <a:pt x="61" y="58"/>
                    </a:lnTo>
                    <a:lnTo>
                      <a:pt x="63" y="58"/>
                    </a:lnTo>
                    <a:close/>
                    <a:moveTo>
                      <a:pt x="111" y="50"/>
                    </a:moveTo>
                    <a:lnTo>
                      <a:pt x="111" y="52"/>
                    </a:lnTo>
                    <a:lnTo>
                      <a:pt x="113" y="52"/>
                    </a:lnTo>
                    <a:lnTo>
                      <a:pt x="113" y="54"/>
                    </a:lnTo>
                    <a:lnTo>
                      <a:pt x="115" y="56"/>
                    </a:lnTo>
                    <a:lnTo>
                      <a:pt x="115" y="58"/>
                    </a:lnTo>
                    <a:lnTo>
                      <a:pt x="115" y="56"/>
                    </a:lnTo>
                    <a:lnTo>
                      <a:pt x="113" y="56"/>
                    </a:lnTo>
                    <a:lnTo>
                      <a:pt x="113" y="58"/>
                    </a:lnTo>
                    <a:lnTo>
                      <a:pt x="115" y="58"/>
                    </a:lnTo>
                    <a:lnTo>
                      <a:pt x="115" y="60"/>
                    </a:lnTo>
                    <a:lnTo>
                      <a:pt x="113" y="60"/>
                    </a:lnTo>
                    <a:lnTo>
                      <a:pt x="109" y="58"/>
                    </a:lnTo>
                    <a:lnTo>
                      <a:pt x="107" y="58"/>
                    </a:lnTo>
                    <a:lnTo>
                      <a:pt x="107" y="56"/>
                    </a:lnTo>
                    <a:lnTo>
                      <a:pt x="107" y="58"/>
                    </a:lnTo>
                    <a:lnTo>
                      <a:pt x="109" y="56"/>
                    </a:lnTo>
                    <a:lnTo>
                      <a:pt x="111" y="56"/>
                    </a:lnTo>
                    <a:lnTo>
                      <a:pt x="111" y="54"/>
                    </a:lnTo>
                    <a:lnTo>
                      <a:pt x="109" y="54"/>
                    </a:lnTo>
                    <a:lnTo>
                      <a:pt x="107" y="56"/>
                    </a:lnTo>
                    <a:lnTo>
                      <a:pt x="107" y="58"/>
                    </a:lnTo>
                    <a:lnTo>
                      <a:pt x="105" y="56"/>
                    </a:lnTo>
                    <a:lnTo>
                      <a:pt x="103" y="56"/>
                    </a:lnTo>
                    <a:lnTo>
                      <a:pt x="103" y="54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11" y="50"/>
                    </a:lnTo>
                    <a:close/>
                    <a:moveTo>
                      <a:pt x="142" y="109"/>
                    </a:moveTo>
                    <a:lnTo>
                      <a:pt x="142" y="111"/>
                    </a:lnTo>
                    <a:lnTo>
                      <a:pt x="142" y="113"/>
                    </a:lnTo>
                    <a:lnTo>
                      <a:pt x="140" y="113"/>
                    </a:lnTo>
                    <a:lnTo>
                      <a:pt x="140" y="115"/>
                    </a:lnTo>
                    <a:lnTo>
                      <a:pt x="140" y="117"/>
                    </a:lnTo>
                    <a:lnTo>
                      <a:pt x="138" y="117"/>
                    </a:lnTo>
                    <a:lnTo>
                      <a:pt x="138" y="119"/>
                    </a:lnTo>
                    <a:lnTo>
                      <a:pt x="136" y="121"/>
                    </a:lnTo>
                    <a:lnTo>
                      <a:pt x="134" y="121"/>
                    </a:lnTo>
                    <a:lnTo>
                      <a:pt x="134" y="119"/>
                    </a:lnTo>
                    <a:lnTo>
                      <a:pt x="134" y="117"/>
                    </a:lnTo>
                    <a:lnTo>
                      <a:pt x="132" y="115"/>
                    </a:lnTo>
                    <a:lnTo>
                      <a:pt x="134" y="115"/>
                    </a:lnTo>
                    <a:lnTo>
                      <a:pt x="134" y="113"/>
                    </a:lnTo>
                    <a:lnTo>
                      <a:pt x="136" y="113"/>
                    </a:lnTo>
                    <a:lnTo>
                      <a:pt x="140" y="111"/>
                    </a:lnTo>
                    <a:lnTo>
                      <a:pt x="142" y="111"/>
                    </a:lnTo>
                    <a:lnTo>
                      <a:pt x="142" y="109"/>
                    </a:lnTo>
                    <a:close/>
                    <a:moveTo>
                      <a:pt x="105" y="67"/>
                    </a:moveTo>
                    <a:lnTo>
                      <a:pt x="107" y="67"/>
                    </a:lnTo>
                    <a:lnTo>
                      <a:pt x="109" y="67"/>
                    </a:lnTo>
                    <a:lnTo>
                      <a:pt x="109" y="69"/>
                    </a:lnTo>
                    <a:lnTo>
                      <a:pt x="107" y="69"/>
                    </a:lnTo>
                    <a:lnTo>
                      <a:pt x="109" y="69"/>
                    </a:lnTo>
                    <a:lnTo>
                      <a:pt x="107" y="69"/>
                    </a:lnTo>
                    <a:lnTo>
                      <a:pt x="109" y="69"/>
                    </a:lnTo>
                    <a:lnTo>
                      <a:pt x="107" y="71"/>
                    </a:lnTo>
                    <a:lnTo>
                      <a:pt x="109" y="73"/>
                    </a:lnTo>
                    <a:lnTo>
                      <a:pt x="107" y="73"/>
                    </a:lnTo>
                    <a:lnTo>
                      <a:pt x="107" y="75"/>
                    </a:lnTo>
                    <a:lnTo>
                      <a:pt x="105" y="77"/>
                    </a:lnTo>
                    <a:lnTo>
                      <a:pt x="105" y="75"/>
                    </a:lnTo>
                    <a:lnTo>
                      <a:pt x="103" y="75"/>
                    </a:lnTo>
                    <a:lnTo>
                      <a:pt x="103" y="73"/>
                    </a:lnTo>
                    <a:lnTo>
                      <a:pt x="105" y="73"/>
                    </a:lnTo>
                    <a:lnTo>
                      <a:pt x="105" y="71"/>
                    </a:lnTo>
                    <a:lnTo>
                      <a:pt x="105" y="69"/>
                    </a:lnTo>
                    <a:lnTo>
                      <a:pt x="103" y="69"/>
                    </a:lnTo>
                    <a:lnTo>
                      <a:pt x="103" y="67"/>
                    </a:lnTo>
                    <a:lnTo>
                      <a:pt x="105" y="67"/>
                    </a:lnTo>
                    <a:close/>
                    <a:moveTo>
                      <a:pt x="20" y="69"/>
                    </a:moveTo>
                    <a:lnTo>
                      <a:pt x="20" y="71"/>
                    </a:lnTo>
                    <a:lnTo>
                      <a:pt x="21" y="73"/>
                    </a:lnTo>
                    <a:lnTo>
                      <a:pt x="20" y="73"/>
                    </a:lnTo>
                    <a:lnTo>
                      <a:pt x="21" y="73"/>
                    </a:lnTo>
                    <a:lnTo>
                      <a:pt x="21" y="75"/>
                    </a:lnTo>
                    <a:lnTo>
                      <a:pt x="23" y="77"/>
                    </a:lnTo>
                    <a:lnTo>
                      <a:pt x="21" y="77"/>
                    </a:lnTo>
                    <a:lnTo>
                      <a:pt x="20" y="77"/>
                    </a:lnTo>
                    <a:lnTo>
                      <a:pt x="18" y="77"/>
                    </a:lnTo>
                    <a:lnTo>
                      <a:pt x="18" y="75"/>
                    </a:lnTo>
                    <a:lnTo>
                      <a:pt x="20" y="75"/>
                    </a:lnTo>
                    <a:lnTo>
                      <a:pt x="18" y="73"/>
                    </a:lnTo>
                    <a:lnTo>
                      <a:pt x="18" y="75"/>
                    </a:lnTo>
                    <a:lnTo>
                      <a:pt x="16" y="77"/>
                    </a:lnTo>
                    <a:lnTo>
                      <a:pt x="16" y="75"/>
                    </a:lnTo>
                    <a:lnTo>
                      <a:pt x="16" y="73"/>
                    </a:lnTo>
                    <a:lnTo>
                      <a:pt x="18" y="73"/>
                    </a:lnTo>
                    <a:lnTo>
                      <a:pt x="18" y="71"/>
                    </a:lnTo>
                    <a:lnTo>
                      <a:pt x="18" y="73"/>
                    </a:lnTo>
                    <a:lnTo>
                      <a:pt x="18" y="71"/>
                    </a:lnTo>
                    <a:lnTo>
                      <a:pt x="18" y="73"/>
                    </a:lnTo>
                    <a:lnTo>
                      <a:pt x="20" y="71"/>
                    </a:lnTo>
                    <a:lnTo>
                      <a:pt x="20" y="69"/>
                    </a:lnTo>
                    <a:close/>
                    <a:moveTo>
                      <a:pt x="8" y="42"/>
                    </a:moveTo>
                    <a:lnTo>
                      <a:pt x="10" y="42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2" y="48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6" y="42"/>
                    </a:lnTo>
                    <a:lnTo>
                      <a:pt x="8" y="42"/>
                    </a:lnTo>
                    <a:close/>
                    <a:moveTo>
                      <a:pt x="98" y="37"/>
                    </a:moveTo>
                    <a:lnTo>
                      <a:pt x="98" y="39"/>
                    </a:lnTo>
                    <a:lnTo>
                      <a:pt x="96" y="39"/>
                    </a:lnTo>
                    <a:lnTo>
                      <a:pt x="96" y="40"/>
                    </a:lnTo>
                    <a:lnTo>
                      <a:pt x="96" y="42"/>
                    </a:lnTo>
                    <a:lnTo>
                      <a:pt x="94" y="42"/>
                    </a:lnTo>
                    <a:lnTo>
                      <a:pt x="94" y="40"/>
                    </a:lnTo>
                    <a:lnTo>
                      <a:pt x="92" y="40"/>
                    </a:lnTo>
                    <a:lnTo>
                      <a:pt x="94" y="40"/>
                    </a:lnTo>
                    <a:lnTo>
                      <a:pt x="94" y="42"/>
                    </a:lnTo>
                    <a:lnTo>
                      <a:pt x="92" y="42"/>
                    </a:lnTo>
                    <a:lnTo>
                      <a:pt x="92" y="40"/>
                    </a:lnTo>
                    <a:lnTo>
                      <a:pt x="90" y="40"/>
                    </a:lnTo>
                    <a:lnTo>
                      <a:pt x="92" y="40"/>
                    </a:lnTo>
                    <a:lnTo>
                      <a:pt x="90" y="40"/>
                    </a:lnTo>
                    <a:lnTo>
                      <a:pt x="92" y="40"/>
                    </a:lnTo>
                    <a:lnTo>
                      <a:pt x="90" y="39"/>
                    </a:lnTo>
                    <a:lnTo>
                      <a:pt x="92" y="39"/>
                    </a:lnTo>
                    <a:lnTo>
                      <a:pt x="94" y="39"/>
                    </a:lnTo>
                    <a:lnTo>
                      <a:pt x="96" y="39"/>
                    </a:lnTo>
                    <a:lnTo>
                      <a:pt x="96" y="37"/>
                    </a:lnTo>
                    <a:lnTo>
                      <a:pt x="96" y="39"/>
                    </a:lnTo>
                    <a:lnTo>
                      <a:pt x="98" y="37"/>
                    </a:lnTo>
                    <a:close/>
                    <a:moveTo>
                      <a:pt x="119" y="82"/>
                    </a:moveTo>
                    <a:lnTo>
                      <a:pt x="121" y="84"/>
                    </a:lnTo>
                    <a:lnTo>
                      <a:pt x="121" y="82"/>
                    </a:lnTo>
                    <a:lnTo>
                      <a:pt x="123" y="82"/>
                    </a:lnTo>
                    <a:lnTo>
                      <a:pt x="123" y="84"/>
                    </a:lnTo>
                    <a:lnTo>
                      <a:pt x="121" y="84"/>
                    </a:lnTo>
                    <a:lnTo>
                      <a:pt x="121" y="86"/>
                    </a:lnTo>
                    <a:lnTo>
                      <a:pt x="119" y="86"/>
                    </a:lnTo>
                    <a:lnTo>
                      <a:pt x="119" y="84"/>
                    </a:lnTo>
                    <a:lnTo>
                      <a:pt x="117" y="84"/>
                    </a:lnTo>
                    <a:lnTo>
                      <a:pt x="115" y="86"/>
                    </a:lnTo>
                    <a:lnTo>
                      <a:pt x="115" y="84"/>
                    </a:lnTo>
                    <a:lnTo>
                      <a:pt x="119" y="82"/>
                    </a:lnTo>
                    <a:close/>
                    <a:moveTo>
                      <a:pt x="98" y="96"/>
                    </a:moveTo>
                    <a:lnTo>
                      <a:pt x="100" y="96"/>
                    </a:lnTo>
                    <a:lnTo>
                      <a:pt x="100" y="98"/>
                    </a:lnTo>
                    <a:lnTo>
                      <a:pt x="100" y="100"/>
                    </a:lnTo>
                    <a:lnTo>
                      <a:pt x="98" y="100"/>
                    </a:lnTo>
                    <a:lnTo>
                      <a:pt x="96" y="100"/>
                    </a:lnTo>
                    <a:lnTo>
                      <a:pt x="96" y="98"/>
                    </a:lnTo>
                    <a:lnTo>
                      <a:pt x="96" y="96"/>
                    </a:lnTo>
                    <a:lnTo>
                      <a:pt x="98" y="96"/>
                    </a:lnTo>
                    <a:close/>
                    <a:moveTo>
                      <a:pt x="21" y="81"/>
                    </a:moveTo>
                    <a:lnTo>
                      <a:pt x="21" y="82"/>
                    </a:lnTo>
                    <a:lnTo>
                      <a:pt x="25" y="82"/>
                    </a:lnTo>
                    <a:lnTo>
                      <a:pt x="27" y="84"/>
                    </a:lnTo>
                    <a:lnTo>
                      <a:pt x="25" y="84"/>
                    </a:lnTo>
                    <a:lnTo>
                      <a:pt x="23" y="84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21" y="82"/>
                    </a:lnTo>
                    <a:lnTo>
                      <a:pt x="20" y="82"/>
                    </a:lnTo>
                    <a:lnTo>
                      <a:pt x="21" y="81"/>
                    </a:lnTo>
                    <a:close/>
                    <a:moveTo>
                      <a:pt x="84" y="21"/>
                    </a:moveTo>
                    <a:lnTo>
                      <a:pt x="86" y="21"/>
                    </a:lnTo>
                    <a:lnTo>
                      <a:pt x="86" y="23"/>
                    </a:lnTo>
                    <a:lnTo>
                      <a:pt x="86" y="25"/>
                    </a:lnTo>
                    <a:lnTo>
                      <a:pt x="84" y="25"/>
                    </a:lnTo>
                    <a:lnTo>
                      <a:pt x="82" y="25"/>
                    </a:lnTo>
                    <a:lnTo>
                      <a:pt x="82" y="23"/>
                    </a:lnTo>
                    <a:lnTo>
                      <a:pt x="82" y="21"/>
                    </a:lnTo>
                    <a:lnTo>
                      <a:pt x="84" y="21"/>
                    </a:lnTo>
                    <a:close/>
                    <a:moveTo>
                      <a:pt x="86" y="79"/>
                    </a:moveTo>
                    <a:lnTo>
                      <a:pt x="88" y="81"/>
                    </a:lnTo>
                    <a:lnTo>
                      <a:pt x="90" y="81"/>
                    </a:lnTo>
                    <a:lnTo>
                      <a:pt x="88" y="82"/>
                    </a:lnTo>
                    <a:lnTo>
                      <a:pt x="90" y="82"/>
                    </a:lnTo>
                    <a:lnTo>
                      <a:pt x="90" y="84"/>
                    </a:lnTo>
                    <a:lnTo>
                      <a:pt x="88" y="84"/>
                    </a:lnTo>
                    <a:lnTo>
                      <a:pt x="88" y="82"/>
                    </a:lnTo>
                    <a:lnTo>
                      <a:pt x="86" y="82"/>
                    </a:lnTo>
                    <a:lnTo>
                      <a:pt x="86" y="81"/>
                    </a:lnTo>
                    <a:lnTo>
                      <a:pt x="84" y="81"/>
                    </a:lnTo>
                    <a:lnTo>
                      <a:pt x="84" y="79"/>
                    </a:lnTo>
                    <a:lnTo>
                      <a:pt x="86" y="79"/>
                    </a:lnTo>
                    <a:close/>
                    <a:moveTo>
                      <a:pt x="63" y="33"/>
                    </a:moveTo>
                    <a:lnTo>
                      <a:pt x="63" y="35"/>
                    </a:lnTo>
                    <a:lnTo>
                      <a:pt x="65" y="35"/>
                    </a:lnTo>
                    <a:lnTo>
                      <a:pt x="65" y="37"/>
                    </a:lnTo>
                    <a:lnTo>
                      <a:pt x="69" y="39"/>
                    </a:lnTo>
                    <a:lnTo>
                      <a:pt x="71" y="39"/>
                    </a:lnTo>
                    <a:lnTo>
                      <a:pt x="71" y="40"/>
                    </a:lnTo>
                    <a:lnTo>
                      <a:pt x="69" y="40"/>
                    </a:lnTo>
                    <a:lnTo>
                      <a:pt x="67" y="39"/>
                    </a:lnTo>
                    <a:lnTo>
                      <a:pt x="65" y="39"/>
                    </a:lnTo>
                    <a:lnTo>
                      <a:pt x="63" y="39"/>
                    </a:lnTo>
                    <a:lnTo>
                      <a:pt x="63" y="37"/>
                    </a:lnTo>
                    <a:lnTo>
                      <a:pt x="63" y="33"/>
                    </a:lnTo>
                    <a:close/>
                    <a:moveTo>
                      <a:pt x="21" y="61"/>
                    </a:moveTo>
                    <a:lnTo>
                      <a:pt x="21" y="63"/>
                    </a:lnTo>
                    <a:lnTo>
                      <a:pt x="21" y="65"/>
                    </a:lnTo>
                    <a:lnTo>
                      <a:pt x="21" y="67"/>
                    </a:lnTo>
                    <a:lnTo>
                      <a:pt x="21" y="65"/>
                    </a:lnTo>
                    <a:lnTo>
                      <a:pt x="21" y="67"/>
                    </a:lnTo>
                    <a:lnTo>
                      <a:pt x="20" y="65"/>
                    </a:lnTo>
                    <a:lnTo>
                      <a:pt x="20" y="67"/>
                    </a:lnTo>
                    <a:lnTo>
                      <a:pt x="20" y="65"/>
                    </a:lnTo>
                    <a:lnTo>
                      <a:pt x="20" y="63"/>
                    </a:lnTo>
                    <a:lnTo>
                      <a:pt x="21" y="61"/>
                    </a:lnTo>
                    <a:close/>
                    <a:moveTo>
                      <a:pt x="124" y="123"/>
                    </a:moveTo>
                    <a:lnTo>
                      <a:pt x="126" y="123"/>
                    </a:lnTo>
                    <a:lnTo>
                      <a:pt x="124" y="123"/>
                    </a:lnTo>
                    <a:lnTo>
                      <a:pt x="126" y="124"/>
                    </a:lnTo>
                    <a:lnTo>
                      <a:pt x="124" y="126"/>
                    </a:lnTo>
                    <a:lnTo>
                      <a:pt x="126" y="128"/>
                    </a:lnTo>
                    <a:lnTo>
                      <a:pt x="124" y="128"/>
                    </a:lnTo>
                    <a:lnTo>
                      <a:pt x="126" y="128"/>
                    </a:lnTo>
                    <a:lnTo>
                      <a:pt x="124" y="128"/>
                    </a:lnTo>
                    <a:lnTo>
                      <a:pt x="124" y="130"/>
                    </a:lnTo>
                    <a:lnTo>
                      <a:pt x="123" y="130"/>
                    </a:lnTo>
                    <a:lnTo>
                      <a:pt x="124" y="128"/>
                    </a:lnTo>
                    <a:lnTo>
                      <a:pt x="123" y="126"/>
                    </a:lnTo>
                    <a:lnTo>
                      <a:pt x="124" y="126"/>
                    </a:lnTo>
                    <a:lnTo>
                      <a:pt x="124" y="124"/>
                    </a:lnTo>
                    <a:lnTo>
                      <a:pt x="124" y="123"/>
                    </a:lnTo>
                    <a:lnTo>
                      <a:pt x="126" y="123"/>
                    </a:lnTo>
                    <a:lnTo>
                      <a:pt x="124" y="123"/>
                    </a:lnTo>
                    <a:close/>
                    <a:moveTo>
                      <a:pt x="126" y="102"/>
                    </a:moveTo>
                    <a:lnTo>
                      <a:pt x="128" y="102"/>
                    </a:lnTo>
                    <a:lnTo>
                      <a:pt x="124" y="103"/>
                    </a:lnTo>
                    <a:lnTo>
                      <a:pt x="123" y="103"/>
                    </a:lnTo>
                    <a:lnTo>
                      <a:pt x="121" y="103"/>
                    </a:lnTo>
                    <a:lnTo>
                      <a:pt x="121" y="105"/>
                    </a:lnTo>
                    <a:lnTo>
                      <a:pt x="121" y="103"/>
                    </a:lnTo>
                    <a:lnTo>
                      <a:pt x="123" y="103"/>
                    </a:lnTo>
                    <a:lnTo>
                      <a:pt x="123" y="102"/>
                    </a:lnTo>
                    <a:lnTo>
                      <a:pt x="126" y="100"/>
                    </a:lnTo>
                    <a:lnTo>
                      <a:pt x="126" y="102"/>
                    </a:lnTo>
                    <a:close/>
                    <a:moveTo>
                      <a:pt x="58" y="111"/>
                    </a:moveTo>
                    <a:lnTo>
                      <a:pt x="58" y="113"/>
                    </a:lnTo>
                    <a:lnTo>
                      <a:pt x="60" y="113"/>
                    </a:lnTo>
                    <a:lnTo>
                      <a:pt x="60" y="115"/>
                    </a:lnTo>
                    <a:lnTo>
                      <a:pt x="60" y="117"/>
                    </a:lnTo>
                    <a:lnTo>
                      <a:pt x="58" y="115"/>
                    </a:lnTo>
                    <a:lnTo>
                      <a:pt x="58" y="117"/>
                    </a:lnTo>
                    <a:lnTo>
                      <a:pt x="58" y="115"/>
                    </a:lnTo>
                    <a:lnTo>
                      <a:pt x="56" y="115"/>
                    </a:lnTo>
                    <a:lnTo>
                      <a:pt x="58" y="113"/>
                    </a:lnTo>
                    <a:lnTo>
                      <a:pt x="56" y="113"/>
                    </a:lnTo>
                    <a:lnTo>
                      <a:pt x="58" y="111"/>
                    </a:lnTo>
                    <a:close/>
                    <a:moveTo>
                      <a:pt x="111" y="84"/>
                    </a:moveTo>
                    <a:lnTo>
                      <a:pt x="111" y="86"/>
                    </a:lnTo>
                    <a:lnTo>
                      <a:pt x="109" y="88"/>
                    </a:lnTo>
                    <a:lnTo>
                      <a:pt x="107" y="88"/>
                    </a:lnTo>
                    <a:lnTo>
                      <a:pt x="105" y="88"/>
                    </a:lnTo>
                    <a:lnTo>
                      <a:pt x="107" y="86"/>
                    </a:lnTo>
                    <a:lnTo>
                      <a:pt x="109" y="86"/>
                    </a:lnTo>
                    <a:lnTo>
                      <a:pt x="111" y="84"/>
                    </a:lnTo>
                    <a:close/>
                    <a:moveTo>
                      <a:pt x="82" y="60"/>
                    </a:moveTo>
                    <a:lnTo>
                      <a:pt x="84" y="60"/>
                    </a:lnTo>
                    <a:lnTo>
                      <a:pt x="82" y="61"/>
                    </a:lnTo>
                    <a:lnTo>
                      <a:pt x="84" y="61"/>
                    </a:lnTo>
                    <a:lnTo>
                      <a:pt x="84" y="63"/>
                    </a:lnTo>
                    <a:lnTo>
                      <a:pt x="82" y="63"/>
                    </a:lnTo>
                    <a:lnTo>
                      <a:pt x="82" y="61"/>
                    </a:lnTo>
                    <a:lnTo>
                      <a:pt x="81" y="61"/>
                    </a:lnTo>
                    <a:lnTo>
                      <a:pt x="82" y="60"/>
                    </a:lnTo>
                    <a:lnTo>
                      <a:pt x="81" y="60"/>
                    </a:lnTo>
                    <a:lnTo>
                      <a:pt x="82" y="60"/>
                    </a:lnTo>
                    <a:close/>
                    <a:moveTo>
                      <a:pt x="90" y="84"/>
                    </a:moveTo>
                    <a:lnTo>
                      <a:pt x="90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4" y="86"/>
                    </a:lnTo>
                    <a:lnTo>
                      <a:pt x="94" y="88"/>
                    </a:lnTo>
                    <a:lnTo>
                      <a:pt x="92" y="88"/>
                    </a:lnTo>
                    <a:lnTo>
                      <a:pt x="90" y="86"/>
                    </a:lnTo>
                    <a:lnTo>
                      <a:pt x="90" y="84"/>
                    </a:lnTo>
                    <a:close/>
                    <a:moveTo>
                      <a:pt x="94" y="96"/>
                    </a:moveTo>
                    <a:lnTo>
                      <a:pt x="94" y="98"/>
                    </a:lnTo>
                    <a:lnTo>
                      <a:pt x="94" y="100"/>
                    </a:lnTo>
                    <a:lnTo>
                      <a:pt x="92" y="100"/>
                    </a:lnTo>
                    <a:lnTo>
                      <a:pt x="92" y="98"/>
                    </a:lnTo>
                    <a:lnTo>
                      <a:pt x="92" y="96"/>
                    </a:lnTo>
                    <a:lnTo>
                      <a:pt x="94" y="96"/>
                    </a:lnTo>
                    <a:close/>
                    <a:moveTo>
                      <a:pt x="100" y="27"/>
                    </a:moveTo>
                    <a:lnTo>
                      <a:pt x="102" y="27"/>
                    </a:lnTo>
                    <a:lnTo>
                      <a:pt x="102" y="29"/>
                    </a:lnTo>
                    <a:lnTo>
                      <a:pt x="100" y="29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100" y="27"/>
                    </a:lnTo>
                    <a:close/>
                    <a:moveTo>
                      <a:pt x="81" y="103"/>
                    </a:moveTo>
                    <a:lnTo>
                      <a:pt x="82" y="103"/>
                    </a:lnTo>
                    <a:lnTo>
                      <a:pt x="82" y="105"/>
                    </a:lnTo>
                    <a:lnTo>
                      <a:pt x="81" y="105"/>
                    </a:lnTo>
                    <a:lnTo>
                      <a:pt x="79" y="105"/>
                    </a:lnTo>
                    <a:lnTo>
                      <a:pt x="81" y="103"/>
                    </a:lnTo>
                    <a:lnTo>
                      <a:pt x="81" y="105"/>
                    </a:lnTo>
                    <a:lnTo>
                      <a:pt x="82" y="105"/>
                    </a:lnTo>
                    <a:lnTo>
                      <a:pt x="81" y="103"/>
                    </a:lnTo>
                    <a:lnTo>
                      <a:pt x="81" y="105"/>
                    </a:lnTo>
                    <a:lnTo>
                      <a:pt x="81" y="103"/>
                    </a:lnTo>
                    <a:close/>
                    <a:moveTo>
                      <a:pt x="79" y="84"/>
                    </a:moveTo>
                    <a:lnTo>
                      <a:pt x="81" y="84"/>
                    </a:lnTo>
                    <a:lnTo>
                      <a:pt x="81" y="88"/>
                    </a:lnTo>
                    <a:lnTo>
                      <a:pt x="79" y="88"/>
                    </a:lnTo>
                    <a:lnTo>
                      <a:pt x="79" y="84"/>
                    </a:lnTo>
                    <a:close/>
                    <a:moveTo>
                      <a:pt x="105" y="100"/>
                    </a:moveTo>
                    <a:lnTo>
                      <a:pt x="107" y="102"/>
                    </a:lnTo>
                    <a:lnTo>
                      <a:pt x="105" y="102"/>
                    </a:lnTo>
                    <a:lnTo>
                      <a:pt x="103" y="103"/>
                    </a:lnTo>
                    <a:lnTo>
                      <a:pt x="102" y="103"/>
                    </a:lnTo>
                    <a:lnTo>
                      <a:pt x="103" y="103"/>
                    </a:lnTo>
                    <a:lnTo>
                      <a:pt x="103" y="102"/>
                    </a:lnTo>
                    <a:lnTo>
                      <a:pt x="105" y="102"/>
                    </a:lnTo>
                    <a:lnTo>
                      <a:pt x="105" y="100"/>
                    </a:lnTo>
                    <a:close/>
                    <a:moveTo>
                      <a:pt x="121" y="98"/>
                    </a:moveTo>
                    <a:lnTo>
                      <a:pt x="123" y="98"/>
                    </a:lnTo>
                    <a:lnTo>
                      <a:pt x="123" y="100"/>
                    </a:lnTo>
                    <a:lnTo>
                      <a:pt x="121" y="100"/>
                    </a:lnTo>
                    <a:lnTo>
                      <a:pt x="121" y="98"/>
                    </a:lnTo>
                    <a:close/>
                    <a:moveTo>
                      <a:pt x="94" y="103"/>
                    </a:moveTo>
                    <a:lnTo>
                      <a:pt x="96" y="103"/>
                    </a:lnTo>
                    <a:lnTo>
                      <a:pt x="96" y="105"/>
                    </a:lnTo>
                    <a:lnTo>
                      <a:pt x="94" y="105"/>
                    </a:lnTo>
                    <a:lnTo>
                      <a:pt x="94" y="103"/>
                    </a:lnTo>
                    <a:close/>
                    <a:moveTo>
                      <a:pt x="81" y="90"/>
                    </a:moveTo>
                    <a:lnTo>
                      <a:pt x="82" y="90"/>
                    </a:lnTo>
                    <a:lnTo>
                      <a:pt x="82" y="92"/>
                    </a:lnTo>
                    <a:lnTo>
                      <a:pt x="81" y="90"/>
                    </a:lnTo>
                    <a:lnTo>
                      <a:pt x="81" y="92"/>
                    </a:lnTo>
                    <a:lnTo>
                      <a:pt x="81" y="90"/>
                    </a:lnTo>
                    <a:close/>
                    <a:moveTo>
                      <a:pt x="67" y="54"/>
                    </a:moveTo>
                    <a:lnTo>
                      <a:pt x="69" y="56"/>
                    </a:lnTo>
                    <a:lnTo>
                      <a:pt x="71" y="56"/>
                    </a:lnTo>
                    <a:lnTo>
                      <a:pt x="69" y="58"/>
                    </a:lnTo>
                    <a:lnTo>
                      <a:pt x="69" y="56"/>
                    </a:lnTo>
                    <a:lnTo>
                      <a:pt x="69" y="58"/>
                    </a:lnTo>
                    <a:lnTo>
                      <a:pt x="69" y="56"/>
                    </a:lnTo>
                    <a:lnTo>
                      <a:pt x="67" y="54"/>
                    </a:lnTo>
                    <a:close/>
                    <a:moveTo>
                      <a:pt x="21" y="69"/>
                    </a:moveTo>
                    <a:lnTo>
                      <a:pt x="21" y="71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21" y="69"/>
                    </a:lnTo>
                    <a:lnTo>
                      <a:pt x="20" y="69"/>
                    </a:lnTo>
                    <a:lnTo>
                      <a:pt x="21" y="69"/>
                    </a:lnTo>
                    <a:close/>
                    <a:moveTo>
                      <a:pt x="65" y="79"/>
                    </a:moveTo>
                    <a:lnTo>
                      <a:pt x="67" y="79"/>
                    </a:lnTo>
                    <a:lnTo>
                      <a:pt x="67" y="81"/>
                    </a:lnTo>
                    <a:lnTo>
                      <a:pt x="65" y="81"/>
                    </a:lnTo>
                    <a:lnTo>
                      <a:pt x="65" y="79"/>
                    </a:lnTo>
                    <a:close/>
                    <a:moveTo>
                      <a:pt x="113" y="105"/>
                    </a:moveTo>
                    <a:lnTo>
                      <a:pt x="113" y="107"/>
                    </a:lnTo>
                    <a:lnTo>
                      <a:pt x="111" y="107"/>
                    </a:lnTo>
                    <a:lnTo>
                      <a:pt x="111" y="109"/>
                    </a:lnTo>
                    <a:lnTo>
                      <a:pt x="111" y="107"/>
                    </a:lnTo>
                    <a:lnTo>
                      <a:pt x="113" y="107"/>
                    </a:lnTo>
                    <a:lnTo>
                      <a:pt x="113" y="105"/>
                    </a:lnTo>
                    <a:close/>
                    <a:moveTo>
                      <a:pt x="94" y="88"/>
                    </a:moveTo>
                    <a:lnTo>
                      <a:pt x="98" y="88"/>
                    </a:lnTo>
                    <a:lnTo>
                      <a:pt x="98" y="90"/>
                    </a:lnTo>
                    <a:lnTo>
                      <a:pt x="94" y="90"/>
                    </a:lnTo>
                    <a:lnTo>
                      <a:pt x="94" y="88"/>
                    </a:lnTo>
                    <a:close/>
                    <a:moveTo>
                      <a:pt x="88" y="88"/>
                    </a:moveTo>
                    <a:lnTo>
                      <a:pt x="90" y="88"/>
                    </a:lnTo>
                    <a:lnTo>
                      <a:pt x="90" y="92"/>
                    </a:lnTo>
                    <a:lnTo>
                      <a:pt x="88" y="92"/>
                    </a:lnTo>
                    <a:lnTo>
                      <a:pt x="88" y="88"/>
                    </a:lnTo>
                    <a:close/>
                    <a:moveTo>
                      <a:pt x="65" y="82"/>
                    </a:moveTo>
                    <a:lnTo>
                      <a:pt x="67" y="82"/>
                    </a:lnTo>
                    <a:lnTo>
                      <a:pt x="67" y="86"/>
                    </a:lnTo>
                    <a:lnTo>
                      <a:pt x="65" y="86"/>
                    </a:lnTo>
                    <a:lnTo>
                      <a:pt x="65" y="82"/>
                    </a:lnTo>
                    <a:close/>
                    <a:moveTo>
                      <a:pt x="84" y="98"/>
                    </a:moveTo>
                    <a:lnTo>
                      <a:pt x="86" y="98"/>
                    </a:lnTo>
                    <a:lnTo>
                      <a:pt x="86" y="102"/>
                    </a:lnTo>
                    <a:lnTo>
                      <a:pt x="84" y="102"/>
                    </a:lnTo>
                    <a:lnTo>
                      <a:pt x="84" y="98"/>
                    </a:lnTo>
                    <a:close/>
                    <a:moveTo>
                      <a:pt x="96" y="109"/>
                    </a:moveTo>
                    <a:lnTo>
                      <a:pt x="98" y="109"/>
                    </a:lnTo>
                    <a:lnTo>
                      <a:pt x="98" y="113"/>
                    </a:lnTo>
                    <a:lnTo>
                      <a:pt x="96" y="113"/>
                    </a:lnTo>
                    <a:lnTo>
                      <a:pt x="96" y="109"/>
                    </a:lnTo>
                    <a:close/>
                    <a:moveTo>
                      <a:pt x="81" y="94"/>
                    </a:moveTo>
                    <a:lnTo>
                      <a:pt x="82" y="94"/>
                    </a:lnTo>
                    <a:lnTo>
                      <a:pt x="82" y="96"/>
                    </a:lnTo>
                    <a:lnTo>
                      <a:pt x="81" y="96"/>
                    </a:lnTo>
                    <a:lnTo>
                      <a:pt x="81" y="94"/>
                    </a:lnTo>
                    <a:close/>
                    <a:moveTo>
                      <a:pt x="71" y="52"/>
                    </a:moveTo>
                    <a:lnTo>
                      <a:pt x="75" y="52"/>
                    </a:lnTo>
                    <a:lnTo>
                      <a:pt x="75" y="56"/>
                    </a:lnTo>
                    <a:lnTo>
                      <a:pt x="71" y="56"/>
                    </a:lnTo>
                    <a:lnTo>
                      <a:pt x="71" y="52"/>
                    </a:lnTo>
                    <a:close/>
                    <a:moveTo>
                      <a:pt x="119" y="130"/>
                    </a:moveTo>
                    <a:lnTo>
                      <a:pt x="123" y="130"/>
                    </a:lnTo>
                    <a:lnTo>
                      <a:pt x="123" y="132"/>
                    </a:lnTo>
                    <a:lnTo>
                      <a:pt x="119" y="132"/>
                    </a:lnTo>
                    <a:lnTo>
                      <a:pt x="119" y="130"/>
                    </a:lnTo>
                    <a:close/>
                    <a:moveTo>
                      <a:pt x="126" y="109"/>
                    </a:moveTo>
                    <a:lnTo>
                      <a:pt x="128" y="109"/>
                    </a:lnTo>
                    <a:lnTo>
                      <a:pt x="128" y="111"/>
                    </a:lnTo>
                    <a:lnTo>
                      <a:pt x="126" y="111"/>
                    </a:lnTo>
                    <a:lnTo>
                      <a:pt x="126" y="109"/>
                    </a:lnTo>
                    <a:close/>
                    <a:moveTo>
                      <a:pt x="134" y="105"/>
                    </a:moveTo>
                    <a:lnTo>
                      <a:pt x="136" y="105"/>
                    </a:lnTo>
                    <a:lnTo>
                      <a:pt x="136" y="107"/>
                    </a:lnTo>
                    <a:lnTo>
                      <a:pt x="134" y="107"/>
                    </a:lnTo>
                    <a:lnTo>
                      <a:pt x="134" y="105"/>
                    </a:lnTo>
                    <a:close/>
                    <a:moveTo>
                      <a:pt x="119" y="96"/>
                    </a:moveTo>
                    <a:lnTo>
                      <a:pt x="121" y="96"/>
                    </a:lnTo>
                    <a:lnTo>
                      <a:pt x="121" y="98"/>
                    </a:lnTo>
                    <a:lnTo>
                      <a:pt x="119" y="98"/>
                    </a:lnTo>
                    <a:lnTo>
                      <a:pt x="119" y="96"/>
                    </a:lnTo>
                    <a:close/>
                    <a:moveTo>
                      <a:pt x="65" y="54"/>
                    </a:moveTo>
                    <a:lnTo>
                      <a:pt x="67" y="54"/>
                    </a:lnTo>
                    <a:lnTo>
                      <a:pt x="67" y="56"/>
                    </a:lnTo>
                    <a:lnTo>
                      <a:pt x="65" y="56"/>
                    </a:lnTo>
                    <a:lnTo>
                      <a:pt x="65" y="54"/>
                    </a:lnTo>
                    <a:close/>
                    <a:moveTo>
                      <a:pt x="67" y="92"/>
                    </a:moveTo>
                    <a:lnTo>
                      <a:pt x="65" y="92"/>
                    </a:lnTo>
                    <a:lnTo>
                      <a:pt x="65" y="94"/>
                    </a:lnTo>
                    <a:lnTo>
                      <a:pt x="63" y="92"/>
                    </a:lnTo>
                    <a:lnTo>
                      <a:pt x="65" y="92"/>
                    </a:lnTo>
                    <a:lnTo>
                      <a:pt x="67" y="92"/>
                    </a:lnTo>
                    <a:close/>
                    <a:moveTo>
                      <a:pt x="90" y="46"/>
                    </a:moveTo>
                    <a:lnTo>
                      <a:pt x="90" y="48"/>
                    </a:lnTo>
                    <a:lnTo>
                      <a:pt x="90" y="46"/>
                    </a:lnTo>
                    <a:close/>
                    <a:moveTo>
                      <a:pt x="90" y="105"/>
                    </a:moveTo>
                    <a:lnTo>
                      <a:pt x="92" y="105"/>
                    </a:lnTo>
                    <a:lnTo>
                      <a:pt x="90" y="105"/>
                    </a:lnTo>
                    <a:close/>
                    <a:moveTo>
                      <a:pt x="98" y="67"/>
                    </a:moveTo>
                    <a:lnTo>
                      <a:pt x="100" y="67"/>
                    </a:lnTo>
                    <a:lnTo>
                      <a:pt x="98" y="67"/>
                    </a:lnTo>
                    <a:close/>
                    <a:moveTo>
                      <a:pt x="102" y="111"/>
                    </a:moveTo>
                    <a:lnTo>
                      <a:pt x="103" y="111"/>
                    </a:lnTo>
                    <a:lnTo>
                      <a:pt x="102" y="111"/>
                    </a:lnTo>
                    <a:close/>
                    <a:moveTo>
                      <a:pt x="82" y="102"/>
                    </a:moveTo>
                    <a:lnTo>
                      <a:pt x="84" y="102"/>
                    </a:lnTo>
                    <a:lnTo>
                      <a:pt x="84" y="103"/>
                    </a:lnTo>
                    <a:lnTo>
                      <a:pt x="82" y="103"/>
                    </a:lnTo>
                    <a:lnTo>
                      <a:pt x="82" y="102"/>
                    </a:lnTo>
                    <a:close/>
                    <a:moveTo>
                      <a:pt x="90" y="98"/>
                    </a:moveTo>
                    <a:lnTo>
                      <a:pt x="92" y="98"/>
                    </a:lnTo>
                    <a:lnTo>
                      <a:pt x="92" y="100"/>
                    </a:lnTo>
                    <a:lnTo>
                      <a:pt x="90" y="100"/>
                    </a:lnTo>
                    <a:lnTo>
                      <a:pt x="90" y="98"/>
                    </a:lnTo>
                    <a:close/>
                    <a:moveTo>
                      <a:pt x="115" y="92"/>
                    </a:moveTo>
                    <a:lnTo>
                      <a:pt x="115" y="94"/>
                    </a:lnTo>
                    <a:lnTo>
                      <a:pt x="115" y="92"/>
                    </a:lnTo>
                    <a:close/>
                    <a:moveTo>
                      <a:pt x="75" y="142"/>
                    </a:moveTo>
                    <a:lnTo>
                      <a:pt x="77" y="142"/>
                    </a:lnTo>
                    <a:lnTo>
                      <a:pt x="75" y="142"/>
                    </a:lnTo>
                    <a:close/>
                    <a:moveTo>
                      <a:pt x="88" y="105"/>
                    </a:moveTo>
                    <a:lnTo>
                      <a:pt x="90" y="105"/>
                    </a:lnTo>
                    <a:lnTo>
                      <a:pt x="90" y="107"/>
                    </a:lnTo>
                    <a:lnTo>
                      <a:pt x="88" y="107"/>
                    </a:lnTo>
                    <a:lnTo>
                      <a:pt x="88" y="105"/>
                    </a:lnTo>
                    <a:close/>
                    <a:moveTo>
                      <a:pt x="113" y="86"/>
                    </a:moveTo>
                    <a:lnTo>
                      <a:pt x="115" y="86"/>
                    </a:lnTo>
                    <a:lnTo>
                      <a:pt x="115" y="88"/>
                    </a:lnTo>
                    <a:lnTo>
                      <a:pt x="113" y="88"/>
                    </a:lnTo>
                    <a:lnTo>
                      <a:pt x="113" y="86"/>
                    </a:lnTo>
                    <a:close/>
                    <a:moveTo>
                      <a:pt x="130" y="113"/>
                    </a:moveTo>
                    <a:lnTo>
                      <a:pt x="132" y="113"/>
                    </a:lnTo>
                    <a:lnTo>
                      <a:pt x="132" y="115"/>
                    </a:lnTo>
                    <a:lnTo>
                      <a:pt x="130" y="115"/>
                    </a:lnTo>
                    <a:lnTo>
                      <a:pt x="130" y="113"/>
                    </a:lnTo>
                    <a:close/>
                    <a:moveTo>
                      <a:pt x="75" y="50"/>
                    </a:moveTo>
                    <a:lnTo>
                      <a:pt x="75" y="52"/>
                    </a:lnTo>
                    <a:lnTo>
                      <a:pt x="75" y="50"/>
                    </a:lnTo>
                    <a:close/>
                    <a:moveTo>
                      <a:pt x="25" y="65"/>
                    </a:moveTo>
                    <a:lnTo>
                      <a:pt x="25" y="67"/>
                    </a:lnTo>
                    <a:lnTo>
                      <a:pt x="25" y="65"/>
                    </a:lnTo>
                    <a:close/>
                    <a:moveTo>
                      <a:pt x="65" y="88"/>
                    </a:moveTo>
                    <a:lnTo>
                      <a:pt x="67" y="88"/>
                    </a:lnTo>
                    <a:lnTo>
                      <a:pt x="65" y="88"/>
                    </a:lnTo>
                    <a:close/>
                    <a:moveTo>
                      <a:pt x="12" y="54"/>
                    </a:moveTo>
                    <a:lnTo>
                      <a:pt x="14" y="54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4"/>
                    </a:lnTo>
                    <a:close/>
                    <a:moveTo>
                      <a:pt x="21" y="65"/>
                    </a:moveTo>
                    <a:lnTo>
                      <a:pt x="23" y="65"/>
                    </a:lnTo>
                    <a:lnTo>
                      <a:pt x="23" y="67"/>
                    </a:lnTo>
                    <a:lnTo>
                      <a:pt x="21" y="67"/>
                    </a:lnTo>
                    <a:lnTo>
                      <a:pt x="21" y="65"/>
                    </a:lnTo>
                    <a:close/>
                    <a:moveTo>
                      <a:pt x="60" y="94"/>
                    </a:moveTo>
                    <a:lnTo>
                      <a:pt x="61" y="94"/>
                    </a:lnTo>
                    <a:lnTo>
                      <a:pt x="60" y="94"/>
                    </a:lnTo>
                    <a:close/>
                    <a:moveTo>
                      <a:pt x="63" y="121"/>
                    </a:moveTo>
                    <a:lnTo>
                      <a:pt x="63" y="123"/>
                    </a:lnTo>
                    <a:lnTo>
                      <a:pt x="63" y="121"/>
                    </a:lnTo>
                    <a:close/>
                    <a:moveTo>
                      <a:pt x="124" y="121"/>
                    </a:moveTo>
                    <a:lnTo>
                      <a:pt x="126" y="121"/>
                    </a:lnTo>
                    <a:lnTo>
                      <a:pt x="126" y="123"/>
                    </a:lnTo>
                    <a:lnTo>
                      <a:pt x="124" y="123"/>
                    </a:lnTo>
                    <a:lnTo>
                      <a:pt x="124" y="121"/>
                    </a:lnTo>
                    <a:close/>
                    <a:moveTo>
                      <a:pt x="77" y="84"/>
                    </a:moveTo>
                    <a:lnTo>
                      <a:pt x="77" y="86"/>
                    </a:lnTo>
                    <a:lnTo>
                      <a:pt x="77" y="84"/>
                    </a:lnTo>
                    <a:close/>
                    <a:moveTo>
                      <a:pt x="96" y="102"/>
                    </a:moveTo>
                    <a:lnTo>
                      <a:pt x="98" y="102"/>
                    </a:lnTo>
                    <a:lnTo>
                      <a:pt x="96" y="102"/>
                    </a:lnTo>
                    <a:close/>
                    <a:moveTo>
                      <a:pt x="84" y="86"/>
                    </a:moveTo>
                    <a:lnTo>
                      <a:pt x="86" y="86"/>
                    </a:lnTo>
                    <a:lnTo>
                      <a:pt x="84" y="86"/>
                    </a:lnTo>
                    <a:close/>
                    <a:moveTo>
                      <a:pt x="117" y="92"/>
                    </a:moveTo>
                    <a:lnTo>
                      <a:pt x="119" y="92"/>
                    </a:lnTo>
                    <a:lnTo>
                      <a:pt x="119" y="94"/>
                    </a:lnTo>
                    <a:lnTo>
                      <a:pt x="117" y="94"/>
                    </a:lnTo>
                    <a:lnTo>
                      <a:pt x="117" y="92"/>
                    </a:lnTo>
                    <a:close/>
                    <a:moveTo>
                      <a:pt x="100" y="102"/>
                    </a:moveTo>
                    <a:lnTo>
                      <a:pt x="102" y="102"/>
                    </a:lnTo>
                    <a:lnTo>
                      <a:pt x="100" y="102"/>
                    </a:lnTo>
                    <a:close/>
                    <a:moveTo>
                      <a:pt x="73" y="54"/>
                    </a:moveTo>
                    <a:lnTo>
                      <a:pt x="75" y="54"/>
                    </a:lnTo>
                    <a:lnTo>
                      <a:pt x="75" y="56"/>
                    </a:lnTo>
                    <a:lnTo>
                      <a:pt x="73" y="56"/>
                    </a:lnTo>
                    <a:lnTo>
                      <a:pt x="73" y="54"/>
                    </a:lnTo>
                    <a:close/>
                    <a:moveTo>
                      <a:pt x="109" y="67"/>
                    </a:moveTo>
                    <a:lnTo>
                      <a:pt x="111" y="67"/>
                    </a:lnTo>
                    <a:lnTo>
                      <a:pt x="111" y="69"/>
                    </a:lnTo>
                    <a:lnTo>
                      <a:pt x="109" y="69"/>
                    </a:lnTo>
                    <a:lnTo>
                      <a:pt x="109" y="67"/>
                    </a:lnTo>
                    <a:close/>
                    <a:moveTo>
                      <a:pt x="94" y="90"/>
                    </a:moveTo>
                    <a:lnTo>
                      <a:pt x="94" y="92"/>
                    </a:lnTo>
                    <a:lnTo>
                      <a:pt x="94" y="90"/>
                    </a:lnTo>
                    <a:close/>
                    <a:moveTo>
                      <a:pt x="121" y="90"/>
                    </a:moveTo>
                    <a:lnTo>
                      <a:pt x="123" y="90"/>
                    </a:lnTo>
                    <a:lnTo>
                      <a:pt x="121" y="90"/>
                    </a:lnTo>
                    <a:close/>
                    <a:moveTo>
                      <a:pt x="102" y="96"/>
                    </a:moveTo>
                    <a:lnTo>
                      <a:pt x="103" y="96"/>
                    </a:lnTo>
                    <a:lnTo>
                      <a:pt x="103" y="98"/>
                    </a:lnTo>
                    <a:lnTo>
                      <a:pt x="102" y="98"/>
                    </a:lnTo>
                    <a:lnTo>
                      <a:pt x="102" y="96"/>
                    </a:lnTo>
                    <a:close/>
                    <a:moveTo>
                      <a:pt x="39" y="103"/>
                    </a:moveTo>
                    <a:lnTo>
                      <a:pt x="39" y="105"/>
                    </a:lnTo>
                    <a:lnTo>
                      <a:pt x="39" y="103"/>
                    </a:lnTo>
                    <a:close/>
                    <a:moveTo>
                      <a:pt x="63" y="84"/>
                    </a:moveTo>
                    <a:lnTo>
                      <a:pt x="63" y="86"/>
                    </a:lnTo>
                    <a:lnTo>
                      <a:pt x="63" y="84"/>
                    </a:lnTo>
                    <a:close/>
                    <a:moveTo>
                      <a:pt x="94" y="128"/>
                    </a:moveTo>
                    <a:lnTo>
                      <a:pt x="94" y="130"/>
                    </a:lnTo>
                    <a:lnTo>
                      <a:pt x="94" y="128"/>
                    </a:lnTo>
                    <a:close/>
                    <a:moveTo>
                      <a:pt x="77" y="50"/>
                    </a:moveTo>
                    <a:lnTo>
                      <a:pt x="77" y="52"/>
                    </a:lnTo>
                    <a:lnTo>
                      <a:pt x="77" y="50"/>
                    </a:lnTo>
                    <a:close/>
                    <a:moveTo>
                      <a:pt x="0" y="40"/>
                    </a:moveTo>
                    <a:lnTo>
                      <a:pt x="2" y="40"/>
                    </a:lnTo>
                    <a:lnTo>
                      <a:pt x="0" y="40"/>
                    </a:lnTo>
                    <a:close/>
                    <a:moveTo>
                      <a:pt x="113" y="86"/>
                    </a:moveTo>
                    <a:lnTo>
                      <a:pt x="113" y="88"/>
                    </a:lnTo>
                    <a:lnTo>
                      <a:pt x="113" y="86"/>
                    </a:lnTo>
                    <a:close/>
                    <a:moveTo>
                      <a:pt x="37" y="103"/>
                    </a:moveTo>
                    <a:lnTo>
                      <a:pt x="39" y="103"/>
                    </a:lnTo>
                    <a:lnTo>
                      <a:pt x="37" y="103"/>
                    </a:lnTo>
                    <a:close/>
                    <a:moveTo>
                      <a:pt x="163" y="115"/>
                    </a:moveTo>
                    <a:lnTo>
                      <a:pt x="163" y="117"/>
                    </a:lnTo>
                    <a:lnTo>
                      <a:pt x="163" y="115"/>
                    </a:lnTo>
                    <a:close/>
                    <a:moveTo>
                      <a:pt x="113" y="98"/>
                    </a:moveTo>
                    <a:lnTo>
                      <a:pt x="113" y="100"/>
                    </a:lnTo>
                    <a:lnTo>
                      <a:pt x="113" y="98"/>
                    </a:lnTo>
                    <a:close/>
                    <a:moveTo>
                      <a:pt x="96" y="109"/>
                    </a:moveTo>
                    <a:lnTo>
                      <a:pt x="96" y="111"/>
                    </a:lnTo>
                    <a:lnTo>
                      <a:pt x="96" y="109"/>
                    </a:lnTo>
                    <a:close/>
                    <a:moveTo>
                      <a:pt x="77" y="103"/>
                    </a:moveTo>
                    <a:lnTo>
                      <a:pt x="79" y="103"/>
                    </a:lnTo>
                    <a:lnTo>
                      <a:pt x="77" y="103"/>
                    </a:lnTo>
                    <a:close/>
                    <a:moveTo>
                      <a:pt x="117" y="111"/>
                    </a:moveTo>
                    <a:lnTo>
                      <a:pt x="117" y="113"/>
                    </a:lnTo>
                    <a:lnTo>
                      <a:pt x="117" y="111"/>
                    </a:lnTo>
                    <a:close/>
                    <a:moveTo>
                      <a:pt x="98" y="102"/>
                    </a:moveTo>
                    <a:lnTo>
                      <a:pt x="100" y="102"/>
                    </a:lnTo>
                    <a:lnTo>
                      <a:pt x="98" y="102"/>
                    </a:lnTo>
                    <a:close/>
                    <a:moveTo>
                      <a:pt x="132" y="113"/>
                    </a:moveTo>
                    <a:lnTo>
                      <a:pt x="134" y="113"/>
                    </a:lnTo>
                    <a:lnTo>
                      <a:pt x="132" y="113"/>
                    </a:lnTo>
                    <a:close/>
                    <a:moveTo>
                      <a:pt x="117" y="90"/>
                    </a:moveTo>
                    <a:lnTo>
                      <a:pt x="119" y="90"/>
                    </a:lnTo>
                    <a:lnTo>
                      <a:pt x="119" y="92"/>
                    </a:lnTo>
                    <a:lnTo>
                      <a:pt x="117" y="92"/>
                    </a:lnTo>
                    <a:lnTo>
                      <a:pt x="117" y="90"/>
                    </a:lnTo>
                    <a:close/>
                    <a:moveTo>
                      <a:pt x="75" y="56"/>
                    </a:moveTo>
                    <a:lnTo>
                      <a:pt x="77" y="56"/>
                    </a:lnTo>
                    <a:lnTo>
                      <a:pt x="77" y="58"/>
                    </a:lnTo>
                    <a:lnTo>
                      <a:pt x="75" y="58"/>
                    </a:lnTo>
                    <a:lnTo>
                      <a:pt x="75" y="56"/>
                    </a:lnTo>
                    <a:close/>
                    <a:moveTo>
                      <a:pt x="102" y="132"/>
                    </a:moveTo>
                    <a:lnTo>
                      <a:pt x="102" y="134"/>
                    </a:lnTo>
                    <a:lnTo>
                      <a:pt x="102" y="132"/>
                    </a:lnTo>
                    <a:close/>
                    <a:moveTo>
                      <a:pt x="27" y="69"/>
                    </a:moveTo>
                    <a:lnTo>
                      <a:pt x="29" y="69"/>
                    </a:lnTo>
                    <a:lnTo>
                      <a:pt x="29" y="71"/>
                    </a:lnTo>
                    <a:lnTo>
                      <a:pt x="27" y="71"/>
                    </a:lnTo>
                    <a:lnTo>
                      <a:pt x="27" y="69"/>
                    </a:lnTo>
                    <a:close/>
                    <a:moveTo>
                      <a:pt x="102" y="140"/>
                    </a:moveTo>
                    <a:lnTo>
                      <a:pt x="102" y="142"/>
                    </a:lnTo>
                    <a:lnTo>
                      <a:pt x="102" y="140"/>
                    </a:lnTo>
                    <a:close/>
                    <a:moveTo>
                      <a:pt x="121" y="98"/>
                    </a:moveTo>
                    <a:lnTo>
                      <a:pt x="121" y="100"/>
                    </a:lnTo>
                    <a:lnTo>
                      <a:pt x="121" y="98"/>
                    </a:lnTo>
                    <a:close/>
                    <a:moveTo>
                      <a:pt x="82" y="61"/>
                    </a:moveTo>
                    <a:lnTo>
                      <a:pt x="82" y="63"/>
                    </a:lnTo>
                    <a:lnTo>
                      <a:pt x="82" y="61"/>
                    </a:lnTo>
                    <a:close/>
                    <a:moveTo>
                      <a:pt x="79" y="50"/>
                    </a:moveTo>
                    <a:lnTo>
                      <a:pt x="79" y="52"/>
                    </a:lnTo>
                    <a:lnTo>
                      <a:pt x="79" y="50"/>
                    </a:lnTo>
                    <a:close/>
                    <a:moveTo>
                      <a:pt x="27" y="73"/>
                    </a:moveTo>
                    <a:lnTo>
                      <a:pt x="29" y="73"/>
                    </a:lnTo>
                    <a:lnTo>
                      <a:pt x="27" y="73"/>
                    </a:lnTo>
                    <a:close/>
                    <a:moveTo>
                      <a:pt x="73" y="88"/>
                    </a:moveTo>
                    <a:lnTo>
                      <a:pt x="73" y="90"/>
                    </a:lnTo>
                    <a:lnTo>
                      <a:pt x="73" y="88"/>
                    </a:lnTo>
                    <a:close/>
                    <a:moveTo>
                      <a:pt x="107" y="140"/>
                    </a:moveTo>
                    <a:lnTo>
                      <a:pt x="109" y="140"/>
                    </a:lnTo>
                    <a:lnTo>
                      <a:pt x="107" y="140"/>
                    </a:lnTo>
                    <a:close/>
                    <a:moveTo>
                      <a:pt x="100" y="100"/>
                    </a:moveTo>
                    <a:lnTo>
                      <a:pt x="100" y="102"/>
                    </a:lnTo>
                    <a:lnTo>
                      <a:pt x="100" y="100"/>
                    </a:lnTo>
                    <a:close/>
                    <a:moveTo>
                      <a:pt x="123" y="92"/>
                    </a:moveTo>
                    <a:lnTo>
                      <a:pt x="124" y="92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3" y="92"/>
                    </a:lnTo>
                    <a:close/>
                    <a:moveTo>
                      <a:pt x="94" y="90"/>
                    </a:moveTo>
                    <a:lnTo>
                      <a:pt x="94" y="92"/>
                    </a:lnTo>
                    <a:lnTo>
                      <a:pt x="94" y="90"/>
                    </a:lnTo>
                    <a:close/>
                    <a:moveTo>
                      <a:pt x="37" y="100"/>
                    </a:moveTo>
                    <a:lnTo>
                      <a:pt x="37" y="102"/>
                    </a:lnTo>
                    <a:lnTo>
                      <a:pt x="37" y="100"/>
                    </a:lnTo>
                    <a:close/>
                    <a:moveTo>
                      <a:pt x="103" y="102"/>
                    </a:moveTo>
                    <a:lnTo>
                      <a:pt x="105" y="102"/>
                    </a:lnTo>
                    <a:lnTo>
                      <a:pt x="103" y="102"/>
                    </a:lnTo>
                    <a:close/>
                    <a:moveTo>
                      <a:pt x="119" y="130"/>
                    </a:moveTo>
                    <a:lnTo>
                      <a:pt x="121" y="130"/>
                    </a:lnTo>
                    <a:lnTo>
                      <a:pt x="119" y="130"/>
                    </a:lnTo>
                    <a:close/>
                    <a:moveTo>
                      <a:pt x="75" y="75"/>
                    </a:moveTo>
                    <a:lnTo>
                      <a:pt x="77" y="75"/>
                    </a:lnTo>
                    <a:lnTo>
                      <a:pt x="75" y="75"/>
                    </a:lnTo>
                    <a:close/>
                    <a:moveTo>
                      <a:pt x="123" y="98"/>
                    </a:moveTo>
                    <a:lnTo>
                      <a:pt x="124" y="98"/>
                    </a:lnTo>
                    <a:lnTo>
                      <a:pt x="123" y="98"/>
                    </a:lnTo>
                    <a:close/>
                    <a:moveTo>
                      <a:pt x="107" y="107"/>
                    </a:moveTo>
                    <a:lnTo>
                      <a:pt x="109" y="107"/>
                    </a:lnTo>
                    <a:lnTo>
                      <a:pt x="109" y="109"/>
                    </a:lnTo>
                    <a:lnTo>
                      <a:pt x="107" y="109"/>
                    </a:lnTo>
                    <a:lnTo>
                      <a:pt x="107" y="107"/>
                    </a:lnTo>
                    <a:close/>
                    <a:moveTo>
                      <a:pt x="65" y="100"/>
                    </a:moveTo>
                    <a:lnTo>
                      <a:pt x="65" y="102"/>
                    </a:lnTo>
                    <a:lnTo>
                      <a:pt x="65" y="100"/>
                    </a:lnTo>
                    <a:close/>
                    <a:moveTo>
                      <a:pt x="119" y="94"/>
                    </a:moveTo>
                    <a:lnTo>
                      <a:pt x="119" y="96"/>
                    </a:lnTo>
                    <a:lnTo>
                      <a:pt x="119" y="94"/>
                    </a:lnTo>
                    <a:close/>
                    <a:moveTo>
                      <a:pt x="121" y="109"/>
                    </a:moveTo>
                    <a:lnTo>
                      <a:pt x="123" y="109"/>
                    </a:lnTo>
                    <a:lnTo>
                      <a:pt x="121" y="109"/>
                    </a:lnTo>
                    <a:close/>
                    <a:moveTo>
                      <a:pt x="90" y="105"/>
                    </a:moveTo>
                    <a:lnTo>
                      <a:pt x="90" y="107"/>
                    </a:lnTo>
                    <a:lnTo>
                      <a:pt x="90" y="105"/>
                    </a:lnTo>
                    <a:close/>
                    <a:moveTo>
                      <a:pt x="82" y="138"/>
                    </a:moveTo>
                    <a:lnTo>
                      <a:pt x="84" y="138"/>
                    </a:lnTo>
                    <a:lnTo>
                      <a:pt x="82" y="138"/>
                    </a:lnTo>
                    <a:close/>
                    <a:moveTo>
                      <a:pt x="12" y="48"/>
                    </a:moveTo>
                    <a:lnTo>
                      <a:pt x="14" y="48"/>
                    </a:lnTo>
                    <a:lnTo>
                      <a:pt x="12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0" name="Freeform 118">
                <a:extLst>
                  <a:ext uri="{FF2B5EF4-FFF2-40B4-BE49-F238E27FC236}">
                    <a16:creationId xmlns:a16="http://schemas.microsoft.com/office/drawing/2014/main" id="{A9A1DBC4-CC66-BE52-21EF-BC138BDE49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38833" y="-3077876"/>
                <a:ext cx="477402" cy="205211"/>
              </a:xfrm>
              <a:custGeom>
                <a:avLst/>
                <a:gdLst>
                  <a:gd name="T0" fmla="*/ 272 w 303"/>
                  <a:gd name="T1" fmla="*/ 11 h 130"/>
                  <a:gd name="T2" fmla="*/ 286 w 303"/>
                  <a:gd name="T3" fmla="*/ 25 h 130"/>
                  <a:gd name="T4" fmla="*/ 287 w 303"/>
                  <a:gd name="T5" fmla="*/ 44 h 130"/>
                  <a:gd name="T6" fmla="*/ 303 w 303"/>
                  <a:gd name="T7" fmla="*/ 51 h 130"/>
                  <a:gd name="T8" fmla="*/ 293 w 303"/>
                  <a:gd name="T9" fmla="*/ 65 h 130"/>
                  <a:gd name="T10" fmla="*/ 295 w 303"/>
                  <a:gd name="T11" fmla="*/ 84 h 130"/>
                  <a:gd name="T12" fmla="*/ 301 w 303"/>
                  <a:gd name="T13" fmla="*/ 91 h 130"/>
                  <a:gd name="T14" fmla="*/ 295 w 303"/>
                  <a:gd name="T15" fmla="*/ 105 h 130"/>
                  <a:gd name="T16" fmla="*/ 287 w 303"/>
                  <a:gd name="T17" fmla="*/ 103 h 130"/>
                  <a:gd name="T18" fmla="*/ 266 w 303"/>
                  <a:gd name="T19" fmla="*/ 103 h 130"/>
                  <a:gd name="T20" fmla="*/ 247 w 303"/>
                  <a:gd name="T21" fmla="*/ 105 h 130"/>
                  <a:gd name="T22" fmla="*/ 223 w 303"/>
                  <a:gd name="T23" fmla="*/ 110 h 130"/>
                  <a:gd name="T24" fmla="*/ 183 w 303"/>
                  <a:gd name="T25" fmla="*/ 112 h 130"/>
                  <a:gd name="T26" fmla="*/ 173 w 303"/>
                  <a:gd name="T27" fmla="*/ 120 h 130"/>
                  <a:gd name="T28" fmla="*/ 165 w 303"/>
                  <a:gd name="T29" fmla="*/ 130 h 130"/>
                  <a:gd name="T30" fmla="*/ 167 w 303"/>
                  <a:gd name="T31" fmla="*/ 112 h 130"/>
                  <a:gd name="T32" fmla="*/ 148 w 303"/>
                  <a:gd name="T33" fmla="*/ 112 h 130"/>
                  <a:gd name="T34" fmla="*/ 125 w 303"/>
                  <a:gd name="T35" fmla="*/ 124 h 130"/>
                  <a:gd name="T36" fmla="*/ 104 w 303"/>
                  <a:gd name="T37" fmla="*/ 122 h 130"/>
                  <a:gd name="T38" fmla="*/ 78 w 303"/>
                  <a:gd name="T39" fmla="*/ 109 h 130"/>
                  <a:gd name="T40" fmla="*/ 68 w 303"/>
                  <a:gd name="T41" fmla="*/ 122 h 130"/>
                  <a:gd name="T42" fmla="*/ 57 w 303"/>
                  <a:gd name="T43" fmla="*/ 120 h 130"/>
                  <a:gd name="T44" fmla="*/ 51 w 303"/>
                  <a:gd name="T45" fmla="*/ 110 h 130"/>
                  <a:gd name="T46" fmla="*/ 43 w 303"/>
                  <a:gd name="T47" fmla="*/ 110 h 130"/>
                  <a:gd name="T48" fmla="*/ 38 w 303"/>
                  <a:gd name="T49" fmla="*/ 114 h 130"/>
                  <a:gd name="T50" fmla="*/ 30 w 303"/>
                  <a:gd name="T51" fmla="*/ 112 h 130"/>
                  <a:gd name="T52" fmla="*/ 36 w 303"/>
                  <a:gd name="T53" fmla="*/ 109 h 130"/>
                  <a:gd name="T54" fmla="*/ 30 w 303"/>
                  <a:gd name="T55" fmla="*/ 107 h 130"/>
                  <a:gd name="T56" fmla="*/ 30 w 303"/>
                  <a:gd name="T57" fmla="*/ 103 h 130"/>
                  <a:gd name="T58" fmla="*/ 24 w 303"/>
                  <a:gd name="T59" fmla="*/ 99 h 130"/>
                  <a:gd name="T60" fmla="*/ 21 w 303"/>
                  <a:gd name="T61" fmla="*/ 86 h 130"/>
                  <a:gd name="T62" fmla="*/ 7 w 303"/>
                  <a:gd name="T63" fmla="*/ 80 h 130"/>
                  <a:gd name="T64" fmla="*/ 15 w 303"/>
                  <a:gd name="T65" fmla="*/ 74 h 130"/>
                  <a:gd name="T66" fmla="*/ 19 w 303"/>
                  <a:gd name="T67" fmla="*/ 74 h 130"/>
                  <a:gd name="T68" fmla="*/ 19 w 303"/>
                  <a:gd name="T69" fmla="*/ 67 h 130"/>
                  <a:gd name="T70" fmla="*/ 11 w 303"/>
                  <a:gd name="T71" fmla="*/ 55 h 130"/>
                  <a:gd name="T72" fmla="*/ 13 w 303"/>
                  <a:gd name="T73" fmla="*/ 40 h 130"/>
                  <a:gd name="T74" fmla="*/ 32 w 303"/>
                  <a:gd name="T75" fmla="*/ 36 h 130"/>
                  <a:gd name="T76" fmla="*/ 53 w 303"/>
                  <a:gd name="T77" fmla="*/ 38 h 130"/>
                  <a:gd name="T78" fmla="*/ 66 w 303"/>
                  <a:gd name="T79" fmla="*/ 28 h 130"/>
                  <a:gd name="T80" fmla="*/ 61 w 303"/>
                  <a:gd name="T81" fmla="*/ 21 h 130"/>
                  <a:gd name="T82" fmla="*/ 91 w 303"/>
                  <a:gd name="T83" fmla="*/ 19 h 130"/>
                  <a:gd name="T84" fmla="*/ 112 w 303"/>
                  <a:gd name="T85" fmla="*/ 5 h 130"/>
                  <a:gd name="T86" fmla="*/ 148 w 303"/>
                  <a:gd name="T87" fmla="*/ 0 h 130"/>
                  <a:gd name="T88" fmla="*/ 165 w 303"/>
                  <a:gd name="T89" fmla="*/ 11 h 130"/>
                  <a:gd name="T90" fmla="*/ 186 w 303"/>
                  <a:gd name="T91" fmla="*/ 23 h 130"/>
                  <a:gd name="T92" fmla="*/ 207 w 303"/>
                  <a:gd name="T93" fmla="*/ 25 h 130"/>
                  <a:gd name="T94" fmla="*/ 230 w 303"/>
                  <a:gd name="T95" fmla="*/ 25 h 130"/>
                  <a:gd name="T96" fmla="*/ 36 w 303"/>
                  <a:gd name="T97" fmla="*/ 9 h 130"/>
                  <a:gd name="T98" fmla="*/ 45 w 303"/>
                  <a:gd name="T99" fmla="*/ 25 h 130"/>
                  <a:gd name="T100" fmla="*/ 22 w 303"/>
                  <a:gd name="T101" fmla="*/ 32 h 130"/>
                  <a:gd name="T102" fmla="*/ 7 w 303"/>
                  <a:gd name="T103" fmla="*/ 38 h 130"/>
                  <a:gd name="T104" fmla="*/ 9 w 303"/>
                  <a:gd name="T105" fmla="*/ 26 h 130"/>
                  <a:gd name="T106" fmla="*/ 13 w 303"/>
                  <a:gd name="T107" fmla="*/ 5 h 130"/>
                  <a:gd name="T108" fmla="*/ 28 w 303"/>
                  <a:gd name="T109" fmla="*/ 4 h 130"/>
                  <a:gd name="T110" fmla="*/ 32 w 303"/>
                  <a:gd name="T111" fmla="*/ 32 h 130"/>
                  <a:gd name="T112" fmla="*/ 15 w 303"/>
                  <a:gd name="T113" fmla="*/ 76 h 130"/>
                  <a:gd name="T114" fmla="*/ 28 w 303"/>
                  <a:gd name="T115" fmla="*/ 34 h 130"/>
                  <a:gd name="T116" fmla="*/ 64 w 303"/>
                  <a:gd name="T117" fmla="*/ 122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3" h="130">
                    <a:moveTo>
                      <a:pt x="251" y="13"/>
                    </a:moveTo>
                    <a:lnTo>
                      <a:pt x="253" y="13"/>
                    </a:lnTo>
                    <a:lnTo>
                      <a:pt x="255" y="15"/>
                    </a:lnTo>
                    <a:lnTo>
                      <a:pt x="257" y="13"/>
                    </a:lnTo>
                    <a:lnTo>
                      <a:pt x="259" y="13"/>
                    </a:lnTo>
                    <a:lnTo>
                      <a:pt x="261" y="13"/>
                    </a:lnTo>
                    <a:lnTo>
                      <a:pt x="263" y="13"/>
                    </a:lnTo>
                    <a:lnTo>
                      <a:pt x="265" y="13"/>
                    </a:lnTo>
                    <a:lnTo>
                      <a:pt x="266" y="15"/>
                    </a:lnTo>
                    <a:lnTo>
                      <a:pt x="266" y="13"/>
                    </a:lnTo>
                    <a:lnTo>
                      <a:pt x="268" y="13"/>
                    </a:lnTo>
                    <a:lnTo>
                      <a:pt x="268" y="11"/>
                    </a:lnTo>
                    <a:lnTo>
                      <a:pt x="270" y="11"/>
                    </a:lnTo>
                    <a:lnTo>
                      <a:pt x="272" y="11"/>
                    </a:lnTo>
                    <a:lnTo>
                      <a:pt x="270" y="13"/>
                    </a:lnTo>
                    <a:lnTo>
                      <a:pt x="272" y="13"/>
                    </a:lnTo>
                    <a:lnTo>
                      <a:pt x="274" y="15"/>
                    </a:lnTo>
                    <a:lnTo>
                      <a:pt x="274" y="17"/>
                    </a:lnTo>
                    <a:lnTo>
                      <a:pt x="276" y="17"/>
                    </a:lnTo>
                    <a:lnTo>
                      <a:pt x="278" y="17"/>
                    </a:lnTo>
                    <a:lnTo>
                      <a:pt x="276" y="19"/>
                    </a:lnTo>
                    <a:lnTo>
                      <a:pt x="278" y="19"/>
                    </a:lnTo>
                    <a:lnTo>
                      <a:pt x="278" y="21"/>
                    </a:lnTo>
                    <a:lnTo>
                      <a:pt x="280" y="19"/>
                    </a:lnTo>
                    <a:lnTo>
                      <a:pt x="282" y="21"/>
                    </a:lnTo>
                    <a:lnTo>
                      <a:pt x="282" y="23"/>
                    </a:lnTo>
                    <a:lnTo>
                      <a:pt x="284" y="25"/>
                    </a:lnTo>
                    <a:lnTo>
                      <a:pt x="286" y="25"/>
                    </a:lnTo>
                    <a:lnTo>
                      <a:pt x="286" y="26"/>
                    </a:lnTo>
                    <a:lnTo>
                      <a:pt x="286" y="28"/>
                    </a:lnTo>
                    <a:lnTo>
                      <a:pt x="286" y="30"/>
                    </a:lnTo>
                    <a:lnTo>
                      <a:pt x="286" y="32"/>
                    </a:lnTo>
                    <a:lnTo>
                      <a:pt x="284" y="32"/>
                    </a:lnTo>
                    <a:lnTo>
                      <a:pt x="286" y="34"/>
                    </a:lnTo>
                    <a:lnTo>
                      <a:pt x="284" y="34"/>
                    </a:lnTo>
                    <a:lnTo>
                      <a:pt x="284" y="36"/>
                    </a:lnTo>
                    <a:lnTo>
                      <a:pt x="284" y="38"/>
                    </a:lnTo>
                    <a:lnTo>
                      <a:pt x="284" y="40"/>
                    </a:lnTo>
                    <a:lnTo>
                      <a:pt x="286" y="40"/>
                    </a:lnTo>
                    <a:lnTo>
                      <a:pt x="286" y="42"/>
                    </a:lnTo>
                    <a:lnTo>
                      <a:pt x="286" y="44"/>
                    </a:lnTo>
                    <a:lnTo>
                      <a:pt x="287" y="44"/>
                    </a:lnTo>
                    <a:lnTo>
                      <a:pt x="289" y="44"/>
                    </a:lnTo>
                    <a:lnTo>
                      <a:pt x="291" y="44"/>
                    </a:lnTo>
                    <a:lnTo>
                      <a:pt x="293" y="44"/>
                    </a:lnTo>
                    <a:lnTo>
                      <a:pt x="295" y="44"/>
                    </a:lnTo>
                    <a:lnTo>
                      <a:pt x="297" y="46"/>
                    </a:lnTo>
                    <a:lnTo>
                      <a:pt x="299" y="46"/>
                    </a:lnTo>
                    <a:lnTo>
                      <a:pt x="299" y="47"/>
                    </a:lnTo>
                    <a:lnTo>
                      <a:pt x="299" y="49"/>
                    </a:lnTo>
                    <a:lnTo>
                      <a:pt x="301" y="47"/>
                    </a:lnTo>
                    <a:lnTo>
                      <a:pt x="301" y="49"/>
                    </a:lnTo>
                    <a:lnTo>
                      <a:pt x="303" y="49"/>
                    </a:lnTo>
                    <a:lnTo>
                      <a:pt x="303" y="51"/>
                    </a:lnTo>
                    <a:lnTo>
                      <a:pt x="303" y="53"/>
                    </a:lnTo>
                    <a:lnTo>
                      <a:pt x="303" y="51"/>
                    </a:lnTo>
                    <a:lnTo>
                      <a:pt x="301" y="51"/>
                    </a:lnTo>
                    <a:lnTo>
                      <a:pt x="301" y="49"/>
                    </a:lnTo>
                    <a:lnTo>
                      <a:pt x="297" y="51"/>
                    </a:lnTo>
                    <a:lnTo>
                      <a:pt x="299" y="53"/>
                    </a:lnTo>
                    <a:lnTo>
                      <a:pt x="297" y="53"/>
                    </a:lnTo>
                    <a:lnTo>
                      <a:pt x="297" y="55"/>
                    </a:lnTo>
                    <a:lnTo>
                      <a:pt x="297" y="57"/>
                    </a:lnTo>
                    <a:lnTo>
                      <a:pt x="295" y="57"/>
                    </a:lnTo>
                    <a:lnTo>
                      <a:pt x="293" y="57"/>
                    </a:lnTo>
                    <a:lnTo>
                      <a:pt x="291" y="57"/>
                    </a:lnTo>
                    <a:lnTo>
                      <a:pt x="291" y="59"/>
                    </a:lnTo>
                    <a:lnTo>
                      <a:pt x="291" y="61"/>
                    </a:lnTo>
                    <a:lnTo>
                      <a:pt x="293" y="63"/>
                    </a:lnTo>
                    <a:lnTo>
                      <a:pt x="293" y="65"/>
                    </a:lnTo>
                    <a:lnTo>
                      <a:pt x="293" y="67"/>
                    </a:lnTo>
                    <a:lnTo>
                      <a:pt x="293" y="68"/>
                    </a:lnTo>
                    <a:lnTo>
                      <a:pt x="295" y="68"/>
                    </a:lnTo>
                    <a:lnTo>
                      <a:pt x="295" y="70"/>
                    </a:lnTo>
                    <a:lnTo>
                      <a:pt x="295" y="72"/>
                    </a:lnTo>
                    <a:lnTo>
                      <a:pt x="295" y="74"/>
                    </a:lnTo>
                    <a:lnTo>
                      <a:pt x="295" y="76"/>
                    </a:lnTo>
                    <a:lnTo>
                      <a:pt x="295" y="78"/>
                    </a:lnTo>
                    <a:lnTo>
                      <a:pt x="297" y="78"/>
                    </a:lnTo>
                    <a:lnTo>
                      <a:pt x="299" y="78"/>
                    </a:lnTo>
                    <a:lnTo>
                      <a:pt x="299" y="80"/>
                    </a:lnTo>
                    <a:lnTo>
                      <a:pt x="297" y="80"/>
                    </a:lnTo>
                    <a:lnTo>
                      <a:pt x="297" y="84"/>
                    </a:lnTo>
                    <a:lnTo>
                      <a:pt x="295" y="84"/>
                    </a:lnTo>
                    <a:lnTo>
                      <a:pt x="297" y="84"/>
                    </a:lnTo>
                    <a:lnTo>
                      <a:pt x="295" y="84"/>
                    </a:lnTo>
                    <a:lnTo>
                      <a:pt x="295" y="86"/>
                    </a:lnTo>
                    <a:lnTo>
                      <a:pt x="293" y="86"/>
                    </a:lnTo>
                    <a:lnTo>
                      <a:pt x="295" y="88"/>
                    </a:lnTo>
                    <a:lnTo>
                      <a:pt x="293" y="88"/>
                    </a:lnTo>
                    <a:lnTo>
                      <a:pt x="295" y="88"/>
                    </a:lnTo>
                    <a:lnTo>
                      <a:pt x="295" y="89"/>
                    </a:lnTo>
                    <a:lnTo>
                      <a:pt x="295" y="88"/>
                    </a:lnTo>
                    <a:lnTo>
                      <a:pt x="297" y="89"/>
                    </a:lnTo>
                    <a:lnTo>
                      <a:pt x="297" y="91"/>
                    </a:lnTo>
                    <a:lnTo>
                      <a:pt x="299" y="89"/>
                    </a:lnTo>
                    <a:lnTo>
                      <a:pt x="299" y="91"/>
                    </a:lnTo>
                    <a:lnTo>
                      <a:pt x="301" y="91"/>
                    </a:lnTo>
                    <a:lnTo>
                      <a:pt x="299" y="93"/>
                    </a:lnTo>
                    <a:lnTo>
                      <a:pt x="301" y="93"/>
                    </a:lnTo>
                    <a:lnTo>
                      <a:pt x="301" y="95"/>
                    </a:lnTo>
                    <a:lnTo>
                      <a:pt x="299" y="95"/>
                    </a:lnTo>
                    <a:lnTo>
                      <a:pt x="301" y="95"/>
                    </a:lnTo>
                    <a:lnTo>
                      <a:pt x="299" y="97"/>
                    </a:lnTo>
                    <a:lnTo>
                      <a:pt x="301" y="97"/>
                    </a:lnTo>
                    <a:lnTo>
                      <a:pt x="301" y="99"/>
                    </a:lnTo>
                    <a:lnTo>
                      <a:pt x="303" y="99"/>
                    </a:lnTo>
                    <a:lnTo>
                      <a:pt x="303" y="101"/>
                    </a:lnTo>
                    <a:lnTo>
                      <a:pt x="303" y="103"/>
                    </a:lnTo>
                    <a:lnTo>
                      <a:pt x="301" y="103"/>
                    </a:lnTo>
                    <a:lnTo>
                      <a:pt x="297" y="105"/>
                    </a:lnTo>
                    <a:lnTo>
                      <a:pt x="295" y="105"/>
                    </a:lnTo>
                    <a:lnTo>
                      <a:pt x="297" y="105"/>
                    </a:lnTo>
                    <a:lnTo>
                      <a:pt x="295" y="107"/>
                    </a:lnTo>
                    <a:lnTo>
                      <a:pt x="295" y="105"/>
                    </a:lnTo>
                    <a:lnTo>
                      <a:pt x="293" y="105"/>
                    </a:lnTo>
                    <a:lnTo>
                      <a:pt x="293" y="103"/>
                    </a:lnTo>
                    <a:lnTo>
                      <a:pt x="295" y="103"/>
                    </a:lnTo>
                    <a:lnTo>
                      <a:pt x="295" y="101"/>
                    </a:lnTo>
                    <a:lnTo>
                      <a:pt x="293" y="101"/>
                    </a:lnTo>
                    <a:lnTo>
                      <a:pt x="293" y="99"/>
                    </a:lnTo>
                    <a:lnTo>
                      <a:pt x="291" y="99"/>
                    </a:lnTo>
                    <a:lnTo>
                      <a:pt x="289" y="99"/>
                    </a:lnTo>
                    <a:lnTo>
                      <a:pt x="289" y="101"/>
                    </a:lnTo>
                    <a:lnTo>
                      <a:pt x="287" y="101"/>
                    </a:lnTo>
                    <a:lnTo>
                      <a:pt x="287" y="103"/>
                    </a:lnTo>
                    <a:lnTo>
                      <a:pt x="287" y="101"/>
                    </a:lnTo>
                    <a:lnTo>
                      <a:pt x="286" y="101"/>
                    </a:lnTo>
                    <a:lnTo>
                      <a:pt x="284" y="101"/>
                    </a:lnTo>
                    <a:lnTo>
                      <a:pt x="282" y="101"/>
                    </a:lnTo>
                    <a:lnTo>
                      <a:pt x="280" y="99"/>
                    </a:lnTo>
                    <a:lnTo>
                      <a:pt x="278" y="99"/>
                    </a:lnTo>
                    <a:lnTo>
                      <a:pt x="276" y="99"/>
                    </a:lnTo>
                    <a:lnTo>
                      <a:pt x="274" y="99"/>
                    </a:lnTo>
                    <a:lnTo>
                      <a:pt x="272" y="99"/>
                    </a:lnTo>
                    <a:lnTo>
                      <a:pt x="270" y="99"/>
                    </a:lnTo>
                    <a:lnTo>
                      <a:pt x="270" y="101"/>
                    </a:lnTo>
                    <a:lnTo>
                      <a:pt x="268" y="101"/>
                    </a:lnTo>
                    <a:lnTo>
                      <a:pt x="268" y="103"/>
                    </a:lnTo>
                    <a:lnTo>
                      <a:pt x="266" y="103"/>
                    </a:lnTo>
                    <a:lnTo>
                      <a:pt x="265" y="103"/>
                    </a:lnTo>
                    <a:lnTo>
                      <a:pt x="265" y="105"/>
                    </a:lnTo>
                    <a:lnTo>
                      <a:pt x="265" y="103"/>
                    </a:lnTo>
                    <a:lnTo>
                      <a:pt x="263" y="103"/>
                    </a:lnTo>
                    <a:lnTo>
                      <a:pt x="265" y="101"/>
                    </a:lnTo>
                    <a:lnTo>
                      <a:pt x="263" y="101"/>
                    </a:lnTo>
                    <a:lnTo>
                      <a:pt x="261" y="101"/>
                    </a:lnTo>
                    <a:lnTo>
                      <a:pt x="263" y="99"/>
                    </a:lnTo>
                    <a:lnTo>
                      <a:pt x="261" y="101"/>
                    </a:lnTo>
                    <a:lnTo>
                      <a:pt x="259" y="103"/>
                    </a:lnTo>
                    <a:lnTo>
                      <a:pt x="255" y="103"/>
                    </a:lnTo>
                    <a:lnTo>
                      <a:pt x="253" y="103"/>
                    </a:lnTo>
                    <a:lnTo>
                      <a:pt x="251" y="105"/>
                    </a:lnTo>
                    <a:lnTo>
                      <a:pt x="247" y="105"/>
                    </a:lnTo>
                    <a:lnTo>
                      <a:pt x="246" y="105"/>
                    </a:lnTo>
                    <a:lnTo>
                      <a:pt x="242" y="103"/>
                    </a:lnTo>
                    <a:lnTo>
                      <a:pt x="240" y="103"/>
                    </a:lnTo>
                    <a:lnTo>
                      <a:pt x="238" y="103"/>
                    </a:lnTo>
                    <a:lnTo>
                      <a:pt x="238" y="105"/>
                    </a:lnTo>
                    <a:lnTo>
                      <a:pt x="236" y="105"/>
                    </a:lnTo>
                    <a:lnTo>
                      <a:pt x="234" y="105"/>
                    </a:lnTo>
                    <a:lnTo>
                      <a:pt x="232" y="107"/>
                    </a:lnTo>
                    <a:lnTo>
                      <a:pt x="230" y="107"/>
                    </a:lnTo>
                    <a:lnTo>
                      <a:pt x="230" y="109"/>
                    </a:lnTo>
                    <a:lnTo>
                      <a:pt x="228" y="109"/>
                    </a:lnTo>
                    <a:lnTo>
                      <a:pt x="226" y="109"/>
                    </a:lnTo>
                    <a:lnTo>
                      <a:pt x="225" y="110"/>
                    </a:lnTo>
                    <a:lnTo>
                      <a:pt x="223" y="110"/>
                    </a:lnTo>
                    <a:lnTo>
                      <a:pt x="219" y="112"/>
                    </a:lnTo>
                    <a:lnTo>
                      <a:pt x="215" y="112"/>
                    </a:lnTo>
                    <a:lnTo>
                      <a:pt x="211" y="112"/>
                    </a:lnTo>
                    <a:lnTo>
                      <a:pt x="207" y="112"/>
                    </a:lnTo>
                    <a:lnTo>
                      <a:pt x="204" y="109"/>
                    </a:lnTo>
                    <a:lnTo>
                      <a:pt x="202" y="109"/>
                    </a:lnTo>
                    <a:lnTo>
                      <a:pt x="200" y="109"/>
                    </a:lnTo>
                    <a:lnTo>
                      <a:pt x="198" y="107"/>
                    </a:lnTo>
                    <a:lnTo>
                      <a:pt x="196" y="109"/>
                    </a:lnTo>
                    <a:lnTo>
                      <a:pt x="194" y="109"/>
                    </a:lnTo>
                    <a:lnTo>
                      <a:pt x="192" y="110"/>
                    </a:lnTo>
                    <a:lnTo>
                      <a:pt x="190" y="110"/>
                    </a:lnTo>
                    <a:lnTo>
                      <a:pt x="186" y="112"/>
                    </a:lnTo>
                    <a:lnTo>
                      <a:pt x="183" y="112"/>
                    </a:lnTo>
                    <a:lnTo>
                      <a:pt x="181" y="112"/>
                    </a:lnTo>
                    <a:lnTo>
                      <a:pt x="179" y="112"/>
                    </a:lnTo>
                    <a:lnTo>
                      <a:pt x="179" y="110"/>
                    </a:lnTo>
                    <a:lnTo>
                      <a:pt x="177" y="110"/>
                    </a:lnTo>
                    <a:lnTo>
                      <a:pt x="175" y="110"/>
                    </a:lnTo>
                    <a:lnTo>
                      <a:pt x="175" y="109"/>
                    </a:lnTo>
                    <a:lnTo>
                      <a:pt x="173" y="109"/>
                    </a:lnTo>
                    <a:lnTo>
                      <a:pt x="173" y="110"/>
                    </a:lnTo>
                    <a:lnTo>
                      <a:pt x="173" y="112"/>
                    </a:lnTo>
                    <a:lnTo>
                      <a:pt x="173" y="114"/>
                    </a:lnTo>
                    <a:lnTo>
                      <a:pt x="171" y="116"/>
                    </a:lnTo>
                    <a:lnTo>
                      <a:pt x="171" y="118"/>
                    </a:lnTo>
                    <a:lnTo>
                      <a:pt x="173" y="118"/>
                    </a:lnTo>
                    <a:lnTo>
                      <a:pt x="173" y="120"/>
                    </a:lnTo>
                    <a:lnTo>
                      <a:pt x="173" y="118"/>
                    </a:lnTo>
                    <a:lnTo>
                      <a:pt x="173" y="120"/>
                    </a:lnTo>
                    <a:lnTo>
                      <a:pt x="175" y="120"/>
                    </a:lnTo>
                    <a:lnTo>
                      <a:pt x="173" y="120"/>
                    </a:lnTo>
                    <a:lnTo>
                      <a:pt x="175" y="120"/>
                    </a:lnTo>
                    <a:lnTo>
                      <a:pt x="173" y="122"/>
                    </a:lnTo>
                    <a:lnTo>
                      <a:pt x="171" y="120"/>
                    </a:lnTo>
                    <a:lnTo>
                      <a:pt x="171" y="122"/>
                    </a:lnTo>
                    <a:lnTo>
                      <a:pt x="169" y="122"/>
                    </a:lnTo>
                    <a:lnTo>
                      <a:pt x="169" y="124"/>
                    </a:lnTo>
                    <a:lnTo>
                      <a:pt x="169" y="126"/>
                    </a:lnTo>
                    <a:lnTo>
                      <a:pt x="167" y="126"/>
                    </a:lnTo>
                    <a:lnTo>
                      <a:pt x="165" y="128"/>
                    </a:lnTo>
                    <a:lnTo>
                      <a:pt x="165" y="130"/>
                    </a:lnTo>
                    <a:lnTo>
                      <a:pt x="165" y="128"/>
                    </a:lnTo>
                    <a:lnTo>
                      <a:pt x="164" y="128"/>
                    </a:lnTo>
                    <a:lnTo>
                      <a:pt x="162" y="128"/>
                    </a:lnTo>
                    <a:lnTo>
                      <a:pt x="162" y="126"/>
                    </a:lnTo>
                    <a:lnTo>
                      <a:pt x="164" y="126"/>
                    </a:lnTo>
                    <a:lnTo>
                      <a:pt x="162" y="122"/>
                    </a:lnTo>
                    <a:lnTo>
                      <a:pt x="160" y="120"/>
                    </a:lnTo>
                    <a:lnTo>
                      <a:pt x="160" y="118"/>
                    </a:lnTo>
                    <a:lnTo>
                      <a:pt x="162" y="118"/>
                    </a:lnTo>
                    <a:lnTo>
                      <a:pt x="162" y="116"/>
                    </a:lnTo>
                    <a:lnTo>
                      <a:pt x="164" y="116"/>
                    </a:lnTo>
                    <a:lnTo>
                      <a:pt x="164" y="114"/>
                    </a:lnTo>
                    <a:lnTo>
                      <a:pt x="165" y="114"/>
                    </a:lnTo>
                    <a:lnTo>
                      <a:pt x="167" y="112"/>
                    </a:lnTo>
                    <a:lnTo>
                      <a:pt x="165" y="112"/>
                    </a:lnTo>
                    <a:lnTo>
                      <a:pt x="165" y="110"/>
                    </a:lnTo>
                    <a:lnTo>
                      <a:pt x="165" y="109"/>
                    </a:lnTo>
                    <a:lnTo>
                      <a:pt x="164" y="107"/>
                    </a:lnTo>
                    <a:lnTo>
                      <a:pt x="160" y="110"/>
                    </a:lnTo>
                    <a:lnTo>
                      <a:pt x="158" y="110"/>
                    </a:lnTo>
                    <a:lnTo>
                      <a:pt x="156" y="110"/>
                    </a:lnTo>
                    <a:lnTo>
                      <a:pt x="156" y="112"/>
                    </a:lnTo>
                    <a:lnTo>
                      <a:pt x="158" y="112"/>
                    </a:lnTo>
                    <a:lnTo>
                      <a:pt x="158" y="114"/>
                    </a:lnTo>
                    <a:lnTo>
                      <a:pt x="156" y="114"/>
                    </a:lnTo>
                    <a:lnTo>
                      <a:pt x="154" y="114"/>
                    </a:lnTo>
                    <a:lnTo>
                      <a:pt x="152" y="114"/>
                    </a:lnTo>
                    <a:lnTo>
                      <a:pt x="148" y="112"/>
                    </a:lnTo>
                    <a:lnTo>
                      <a:pt x="146" y="110"/>
                    </a:lnTo>
                    <a:lnTo>
                      <a:pt x="144" y="110"/>
                    </a:lnTo>
                    <a:lnTo>
                      <a:pt x="143" y="110"/>
                    </a:lnTo>
                    <a:lnTo>
                      <a:pt x="141" y="110"/>
                    </a:lnTo>
                    <a:lnTo>
                      <a:pt x="139" y="112"/>
                    </a:lnTo>
                    <a:lnTo>
                      <a:pt x="135" y="114"/>
                    </a:lnTo>
                    <a:lnTo>
                      <a:pt x="133" y="116"/>
                    </a:lnTo>
                    <a:lnTo>
                      <a:pt x="133" y="118"/>
                    </a:lnTo>
                    <a:lnTo>
                      <a:pt x="133" y="120"/>
                    </a:lnTo>
                    <a:lnTo>
                      <a:pt x="131" y="120"/>
                    </a:lnTo>
                    <a:lnTo>
                      <a:pt x="131" y="122"/>
                    </a:lnTo>
                    <a:lnTo>
                      <a:pt x="129" y="120"/>
                    </a:lnTo>
                    <a:lnTo>
                      <a:pt x="127" y="122"/>
                    </a:lnTo>
                    <a:lnTo>
                      <a:pt x="125" y="124"/>
                    </a:lnTo>
                    <a:lnTo>
                      <a:pt x="125" y="122"/>
                    </a:lnTo>
                    <a:lnTo>
                      <a:pt x="123" y="124"/>
                    </a:lnTo>
                    <a:lnTo>
                      <a:pt x="123" y="122"/>
                    </a:lnTo>
                    <a:lnTo>
                      <a:pt x="122" y="124"/>
                    </a:lnTo>
                    <a:lnTo>
                      <a:pt x="122" y="122"/>
                    </a:lnTo>
                    <a:lnTo>
                      <a:pt x="120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4" y="124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8" y="124"/>
                    </a:lnTo>
                    <a:lnTo>
                      <a:pt x="106" y="122"/>
                    </a:lnTo>
                    <a:lnTo>
                      <a:pt x="104" y="122"/>
                    </a:lnTo>
                    <a:lnTo>
                      <a:pt x="104" y="120"/>
                    </a:lnTo>
                    <a:lnTo>
                      <a:pt x="102" y="120"/>
                    </a:lnTo>
                    <a:lnTo>
                      <a:pt x="102" y="118"/>
                    </a:lnTo>
                    <a:lnTo>
                      <a:pt x="101" y="114"/>
                    </a:lnTo>
                    <a:lnTo>
                      <a:pt x="99" y="114"/>
                    </a:lnTo>
                    <a:lnTo>
                      <a:pt x="99" y="116"/>
                    </a:lnTo>
                    <a:lnTo>
                      <a:pt x="99" y="114"/>
                    </a:lnTo>
                    <a:lnTo>
                      <a:pt x="97" y="114"/>
                    </a:lnTo>
                    <a:lnTo>
                      <a:pt x="95" y="112"/>
                    </a:lnTo>
                    <a:lnTo>
                      <a:pt x="93" y="112"/>
                    </a:lnTo>
                    <a:lnTo>
                      <a:pt x="89" y="110"/>
                    </a:lnTo>
                    <a:lnTo>
                      <a:pt x="83" y="109"/>
                    </a:lnTo>
                    <a:lnTo>
                      <a:pt x="80" y="109"/>
                    </a:lnTo>
                    <a:lnTo>
                      <a:pt x="78" y="109"/>
                    </a:lnTo>
                    <a:lnTo>
                      <a:pt x="76" y="110"/>
                    </a:lnTo>
                    <a:lnTo>
                      <a:pt x="76" y="112"/>
                    </a:lnTo>
                    <a:lnTo>
                      <a:pt x="76" y="114"/>
                    </a:lnTo>
                    <a:lnTo>
                      <a:pt x="78" y="114"/>
                    </a:lnTo>
                    <a:lnTo>
                      <a:pt x="76" y="114"/>
                    </a:lnTo>
                    <a:lnTo>
                      <a:pt x="76" y="116"/>
                    </a:lnTo>
                    <a:lnTo>
                      <a:pt x="76" y="118"/>
                    </a:lnTo>
                    <a:lnTo>
                      <a:pt x="76" y="120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68" y="120"/>
                    </a:lnTo>
                    <a:lnTo>
                      <a:pt x="68" y="122"/>
                    </a:lnTo>
                    <a:lnTo>
                      <a:pt x="66" y="122"/>
                    </a:lnTo>
                    <a:lnTo>
                      <a:pt x="64" y="122"/>
                    </a:lnTo>
                    <a:lnTo>
                      <a:pt x="64" y="124"/>
                    </a:lnTo>
                    <a:lnTo>
                      <a:pt x="64" y="122"/>
                    </a:lnTo>
                    <a:lnTo>
                      <a:pt x="62" y="122"/>
                    </a:lnTo>
                    <a:lnTo>
                      <a:pt x="62" y="124"/>
                    </a:lnTo>
                    <a:lnTo>
                      <a:pt x="62" y="122"/>
                    </a:lnTo>
                    <a:lnTo>
                      <a:pt x="61" y="122"/>
                    </a:lnTo>
                    <a:lnTo>
                      <a:pt x="62" y="122"/>
                    </a:lnTo>
                    <a:lnTo>
                      <a:pt x="59" y="122"/>
                    </a:lnTo>
                    <a:lnTo>
                      <a:pt x="59" y="120"/>
                    </a:lnTo>
                    <a:lnTo>
                      <a:pt x="57" y="120"/>
                    </a:lnTo>
                    <a:lnTo>
                      <a:pt x="57" y="122"/>
                    </a:lnTo>
                    <a:lnTo>
                      <a:pt x="57" y="120"/>
                    </a:lnTo>
                    <a:lnTo>
                      <a:pt x="55" y="120"/>
                    </a:lnTo>
                    <a:lnTo>
                      <a:pt x="55" y="118"/>
                    </a:lnTo>
                    <a:lnTo>
                      <a:pt x="53" y="118"/>
                    </a:lnTo>
                    <a:lnTo>
                      <a:pt x="53" y="116"/>
                    </a:lnTo>
                    <a:lnTo>
                      <a:pt x="53" y="114"/>
                    </a:lnTo>
                    <a:lnTo>
                      <a:pt x="51" y="114"/>
                    </a:lnTo>
                    <a:lnTo>
                      <a:pt x="53" y="114"/>
                    </a:lnTo>
                    <a:lnTo>
                      <a:pt x="53" y="112"/>
                    </a:lnTo>
                    <a:lnTo>
                      <a:pt x="53" y="114"/>
                    </a:lnTo>
                    <a:lnTo>
                      <a:pt x="53" y="112"/>
                    </a:lnTo>
                    <a:lnTo>
                      <a:pt x="51" y="112"/>
                    </a:lnTo>
                    <a:lnTo>
                      <a:pt x="53" y="112"/>
                    </a:lnTo>
                    <a:lnTo>
                      <a:pt x="51" y="112"/>
                    </a:lnTo>
                    <a:lnTo>
                      <a:pt x="51" y="110"/>
                    </a:lnTo>
                    <a:lnTo>
                      <a:pt x="51" y="112"/>
                    </a:lnTo>
                    <a:lnTo>
                      <a:pt x="51" y="110"/>
                    </a:lnTo>
                    <a:lnTo>
                      <a:pt x="49" y="112"/>
                    </a:lnTo>
                    <a:lnTo>
                      <a:pt x="51" y="112"/>
                    </a:lnTo>
                    <a:lnTo>
                      <a:pt x="49" y="112"/>
                    </a:lnTo>
                    <a:lnTo>
                      <a:pt x="51" y="112"/>
                    </a:lnTo>
                    <a:lnTo>
                      <a:pt x="49" y="114"/>
                    </a:lnTo>
                    <a:lnTo>
                      <a:pt x="49" y="112"/>
                    </a:lnTo>
                    <a:lnTo>
                      <a:pt x="47" y="112"/>
                    </a:lnTo>
                    <a:lnTo>
                      <a:pt x="45" y="110"/>
                    </a:lnTo>
                    <a:lnTo>
                      <a:pt x="45" y="112"/>
                    </a:lnTo>
                    <a:lnTo>
                      <a:pt x="45" y="110"/>
                    </a:lnTo>
                    <a:lnTo>
                      <a:pt x="45" y="109"/>
                    </a:lnTo>
                    <a:lnTo>
                      <a:pt x="43" y="110"/>
                    </a:lnTo>
                    <a:lnTo>
                      <a:pt x="43" y="109"/>
                    </a:lnTo>
                    <a:lnTo>
                      <a:pt x="41" y="109"/>
                    </a:lnTo>
                    <a:lnTo>
                      <a:pt x="43" y="109"/>
                    </a:lnTo>
                    <a:lnTo>
                      <a:pt x="41" y="110"/>
                    </a:lnTo>
                    <a:lnTo>
                      <a:pt x="40" y="110"/>
                    </a:lnTo>
                    <a:lnTo>
                      <a:pt x="41" y="109"/>
                    </a:lnTo>
                    <a:lnTo>
                      <a:pt x="40" y="109"/>
                    </a:lnTo>
                    <a:lnTo>
                      <a:pt x="40" y="110"/>
                    </a:lnTo>
                    <a:lnTo>
                      <a:pt x="41" y="110"/>
                    </a:lnTo>
                    <a:lnTo>
                      <a:pt x="40" y="112"/>
                    </a:lnTo>
                    <a:lnTo>
                      <a:pt x="40" y="110"/>
                    </a:lnTo>
                    <a:lnTo>
                      <a:pt x="40" y="112"/>
                    </a:lnTo>
                    <a:lnTo>
                      <a:pt x="38" y="112"/>
                    </a:lnTo>
                    <a:lnTo>
                      <a:pt x="38" y="114"/>
                    </a:lnTo>
                    <a:lnTo>
                      <a:pt x="36" y="114"/>
                    </a:lnTo>
                    <a:lnTo>
                      <a:pt x="38" y="114"/>
                    </a:lnTo>
                    <a:lnTo>
                      <a:pt x="38" y="112"/>
                    </a:lnTo>
                    <a:lnTo>
                      <a:pt x="36" y="112"/>
                    </a:lnTo>
                    <a:lnTo>
                      <a:pt x="38" y="112"/>
                    </a:lnTo>
                    <a:lnTo>
                      <a:pt x="36" y="112"/>
                    </a:lnTo>
                    <a:lnTo>
                      <a:pt x="38" y="110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2" y="110"/>
                    </a:lnTo>
                    <a:lnTo>
                      <a:pt x="30" y="110"/>
                    </a:lnTo>
                    <a:lnTo>
                      <a:pt x="30" y="112"/>
                    </a:lnTo>
                    <a:lnTo>
                      <a:pt x="28" y="112"/>
                    </a:lnTo>
                    <a:lnTo>
                      <a:pt x="26" y="112"/>
                    </a:lnTo>
                    <a:lnTo>
                      <a:pt x="26" y="110"/>
                    </a:lnTo>
                    <a:lnTo>
                      <a:pt x="28" y="110"/>
                    </a:lnTo>
                    <a:lnTo>
                      <a:pt x="30" y="110"/>
                    </a:lnTo>
                    <a:lnTo>
                      <a:pt x="32" y="110"/>
                    </a:lnTo>
                    <a:lnTo>
                      <a:pt x="36" y="110"/>
                    </a:lnTo>
                    <a:lnTo>
                      <a:pt x="38" y="110"/>
                    </a:lnTo>
                    <a:lnTo>
                      <a:pt x="38" y="109"/>
                    </a:lnTo>
                    <a:lnTo>
                      <a:pt x="36" y="109"/>
                    </a:lnTo>
                    <a:lnTo>
                      <a:pt x="38" y="109"/>
                    </a:lnTo>
                    <a:lnTo>
                      <a:pt x="36" y="109"/>
                    </a:lnTo>
                    <a:lnTo>
                      <a:pt x="38" y="109"/>
                    </a:lnTo>
                    <a:lnTo>
                      <a:pt x="36" y="109"/>
                    </a:lnTo>
                    <a:lnTo>
                      <a:pt x="36" y="107"/>
                    </a:lnTo>
                    <a:lnTo>
                      <a:pt x="38" y="107"/>
                    </a:lnTo>
                    <a:lnTo>
                      <a:pt x="36" y="107"/>
                    </a:lnTo>
                    <a:lnTo>
                      <a:pt x="38" y="107"/>
                    </a:lnTo>
                    <a:lnTo>
                      <a:pt x="38" y="109"/>
                    </a:lnTo>
                    <a:lnTo>
                      <a:pt x="38" y="107"/>
                    </a:lnTo>
                    <a:lnTo>
                      <a:pt x="40" y="107"/>
                    </a:lnTo>
                    <a:lnTo>
                      <a:pt x="40" y="105"/>
                    </a:lnTo>
                    <a:lnTo>
                      <a:pt x="41" y="105"/>
                    </a:lnTo>
                    <a:lnTo>
                      <a:pt x="38" y="105"/>
                    </a:lnTo>
                    <a:lnTo>
                      <a:pt x="36" y="105"/>
                    </a:lnTo>
                    <a:lnTo>
                      <a:pt x="34" y="105"/>
                    </a:lnTo>
                    <a:lnTo>
                      <a:pt x="32" y="107"/>
                    </a:lnTo>
                    <a:lnTo>
                      <a:pt x="30" y="107"/>
                    </a:lnTo>
                    <a:lnTo>
                      <a:pt x="28" y="107"/>
                    </a:lnTo>
                    <a:lnTo>
                      <a:pt x="26" y="105"/>
                    </a:lnTo>
                    <a:lnTo>
                      <a:pt x="26" y="107"/>
                    </a:lnTo>
                    <a:lnTo>
                      <a:pt x="26" y="105"/>
                    </a:lnTo>
                    <a:lnTo>
                      <a:pt x="24" y="105"/>
                    </a:lnTo>
                    <a:lnTo>
                      <a:pt x="26" y="107"/>
                    </a:lnTo>
                    <a:lnTo>
                      <a:pt x="24" y="107"/>
                    </a:lnTo>
                    <a:lnTo>
                      <a:pt x="24" y="105"/>
                    </a:lnTo>
                    <a:lnTo>
                      <a:pt x="24" y="103"/>
                    </a:lnTo>
                    <a:lnTo>
                      <a:pt x="26" y="103"/>
                    </a:lnTo>
                    <a:lnTo>
                      <a:pt x="26" y="105"/>
                    </a:lnTo>
                    <a:lnTo>
                      <a:pt x="28" y="105"/>
                    </a:lnTo>
                    <a:lnTo>
                      <a:pt x="28" y="103"/>
                    </a:lnTo>
                    <a:lnTo>
                      <a:pt x="30" y="103"/>
                    </a:lnTo>
                    <a:lnTo>
                      <a:pt x="28" y="103"/>
                    </a:lnTo>
                    <a:lnTo>
                      <a:pt x="28" y="101"/>
                    </a:lnTo>
                    <a:lnTo>
                      <a:pt x="30" y="103"/>
                    </a:lnTo>
                    <a:lnTo>
                      <a:pt x="28" y="103"/>
                    </a:lnTo>
                    <a:lnTo>
                      <a:pt x="30" y="103"/>
                    </a:lnTo>
                    <a:lnTo>
                      <a:pt x="28" y="101"/>
                    </a:lnTo>
                    <a:lnTo>
                      <a:pt x="30" y="101"/>
                    </a:lnTo>
                    <a:lnTo>
                      <a:pt x="28" y="101"/>
                    </a:lnTo>
                    <a:lnTo>
                      <a:pt x="26" y="101"/>
                    </a:lnTo>
                    <a:lnTo>
                      <a:pt x="28" y="99"/>
                    </a:lnTo>
                    <a:lnTo>
                      <a:pt x="26" y="99"/>
                    </a:lnTo>
                    <a:lnTo>
                      <a:pt x="26" y="97"/>
                    </a:lnTo>
                    <a:lnTo>
                      <a:pt x="26" y="99"/>
                    </a:lnTo>
                    <a:lnTo>
                      <a:pt x="24" y="99"/>
                    </a:lnTo>
                    <a:lnTo>
                      <a:pt x="22" y="99"/>
                    </a:lnTo>
                    <a:lnTo>
                      <a:pt x="22" y="97"/>
                    </a:lnTo>
                    <a:lnTo>
                      <a:pt x="24" y="97"/>
                    </a:lnTo>
                    <a:lnTo>
                      <a:pt x="22" y="95"/>
                    </a:lnTo>
                    <a:lnTo>
                      <a:pt x="22" y="93"/>
                    </a:lnTo>
                    <a:lnTo>
                      <a:pt x="21" y="93"/>
                    </a:lnTo>
                    <a:lnTo>
                      <a:pt x="21" y="91"/>
                    </a:lnTo>
                    <a:lnTo>
                      <a:pt x="22" y="91"/>
                    </a:lnTo>
                    <a:lnTo>
                      <a:pt x="24" y="91"/>
                    </a:lnTo>
                    <a:lnTo>
                      <a:pt x="24" y="89"/>
                    </a:lnTo>
                    <a:lnTo>
                      <a:pt x="24" y="88"/>
                    </a:lnTo>
                    <a:lnTo>
                      <a:pt x="24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19" y="84"/>
                    </a:lnTo>
                    <a:lnTo>
                      <a:pt x="19" y="86"/>
                    </a:lnTo>
                    <a:lnTo>
                      <a:pt x="17" y="82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3" y="84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11" y="80"/>
                    </a:lnTo>
                    <a:lnTo>
                      <a:pt x="9" y="80"/>
                    </a:lnTo>
                    <a:lnTo>
                      <a:pt x="11" y="80"/>
                    </a:lnTo>
                    <a:lnTo>
                      <a:pt x="9" y="82"/>
                    </a:lnTo>
                    <a:lnTo>
                      <a:pt x="9" y="80"/>
                    </a:lnTo>
                    <a:lnTo>
                      <a:pt x="7" y="80"/>
                    </a:lnTo>
                    <a:lnTo>
                      <a:pt x="9" y="80"/>
                    </a:lnTo>
                    <a:lnTo>
                      <a:pt x="9" y="78"/>
                    </a:lnTo>
                    <a:lnTo>
                      <a:pt x="9" y="80"/>
                    </a:lnTo>
                    <a:lnTo>
                      <a:pt x="11" y="78"/>
                    </a:lnTo>
                    <a:lnTo>
                      <a:pt x="11" y="80"/>
                    </a:lnTo>
                    <a:lnTo>
                      <a:pt x="11" y="78"/>
                    </a:lnTo>
                    <a:lnTo>
                      <a:pt x="13" y="78"/>
                    </a:lnTo>
                    <a:lnTo>
                      <a:pt x="11" y="76"/>
                    </a:lnTo>
                    <a:lnTo>
                      <a:pt x="9" y="74"/>
                    </a:lnTo>
                    <a:lnTo>
                      <a:pt x="9" y="72"/>
                    </a:lnTo>
                    <a:lnTo>
                      <a:pt x="11" y="72"/>
                    </a:lnTo>
                    <a:lnTo>
                      <a:pt x="13" y="72"/>
                    </a:lnTo>
                    <a:lnTo>
                      <a:pt x="13" y="74"/>
                    </a:lnTo>
                    <a:lnTo>
                      <a:pt x="15" y="74"/>
                    </a:lnTo>
                    <a:lnTo>
                      <a:pt x="15" y="76"/>
                    </a:lnTo>
                    <a:lnTo>
                      <a:pt x="13" y="76"/>
                    </a:lnTo>
                    <a:lnTo>
                      <a:pt x="13" y="78"/>
                    </a:lnTo>
                    <a:lnTo>
                      <a:pt x="15" y="78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5" y="76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21" y="78"/>
                    </a:lnTo>
                    <a:lnTo>
                      <a:pt x="22" y="76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4"/>
                    </a:lnTo>
                    <a:lnTo>
                      <a:pt x="17" y="74"/>
                    </a:lnTo>
                    <a:lnTo>
                      <a:pt x="17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15" y="72"/>
                    </a:lnTo>
                    <a:lnTo>
                      <a:pt x="17" y="70"/>
                    </a:lnTo>
                    <a:lnTo>
                      <a:pt x="19" y="70"/>
                    </a:lnTo>
                    <a:lnTo>
                      <a:pt x="19" y="68"/>
                    </a:lnTo>
                    <a:lnTo>
                      <a:pt x="19" y="70"/>
                    </a:lnTo>
                    <a:lnTo>
                      <a:pt x="21" y="68"/>
                    </a:lnTo>
                    <a:lnTo>
                      <a:pt x="19" y="68"/>
                    </a:lnTo>
                    <a:lnTo>
                      <a:pt x="21" y="68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9" y="65"/>
                    </a:lnTo>
                    <a:lnTo>
                      <a:pt x="19" y="63"/>
                    </a:lnTo>
                    <a:lnTo>
                      <a:pt x="17" y="63"/>
                    </a:lnTo>
                    <a:lnTo>
                      <a:pt x="15" y="61"/>
                    </a:lnTo>
                    <a:lnTo>
                      <a:pt x="13" y="59"/>
                    </a:lnTo>
                    <a:lnTo>
                      <a:pt x="15" y="59"/>
                    </a:lnTo>
                    <a:lnTo>
                      <a:pt x="17" y="57"/>
                    </a:lnTo>
                    <a:lnTo>
                      <a:pt x="17" y="55"/>
                    </a:lnTo>
                    <a:lnTo>
                      <a:pt x="19" y="55"/>
                    </a:lnTo>
                    <a:lnTo>
                      <a:pt x="19" y="53"/>
                    </a:lnTo>
                    <a:lnTo>
                      <a:pt x="17" y="53"/>
                    </a:lnTo>
                    <a:lnTo>
                      <a:pt x="11" y="55"/>
                    </a:lnTo>
                    <a:lnTo>
                      <a:pt x="9" y="55"/>
                    </a:lnTo>
                    <a:lnTo>
                      <a:pt x="7" y="55"/>
                    </a:lnTo>
                    <a:lnTo>
                      <a:pt x="5" y="57"/>
                    </a:lnTo>
                    <a:lnTo>
                      <a:pt x="5" y="55"/>
                    </a:lnTo>
                    <a:lnTo>
                      <a:pt x="5" y="53"/>
                    </a:lnTo>
                    <a:lnTo>
                      <a:pt x="7" y="51"/>
                    </a:lnTo>
                    <a:lnTo>
                      <a:pt x="5" y="49"/>
                    </a:lnTo>
                    <a:lnTo>
                      <a:pt x="7" y="49"/>
                    </a:lnTo>
                    <a:lnTo>
                      <a:pt x="5" y="47"/>
                    </a:lnTo>
                    <a:lnTo>
                      <a:pt x="7" y="46"/>
                    </a:lnTo>
                    <a:lnTo>
                      <a:pt x="9" y="44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2" y="36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6" y="38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3" y="36"/>
                    </a:lnTo>
                    <a:lnTo>
                      <a:pt x="45" y="38"/>
                    </a:lnTo>
                    <a:lnTo>
                      <a:pt x="49" y="36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3" y="36"/>
                    </a:lnTo>
                    <a:lnTo>
                      <a:pt x="55" y="36"/>
                    </a:lnTo>
                    <a:lnTo>
                      <a:pt x="53" y="34"/>
                    </a:lnTo>
                    <a:lnTo>
                      <a:pt x="51" y="36"/>
                    </a:lnTo>
                    <a:lnTo>
                      <a:pt x="49" y="34"/>
                    </a:lnTo>
                    <a:lnTo>
                      <a:pt x="51" y="32"/>
                    </a:lnTo>
                    <a:lnTo>
                      <a:pt x="53" y="32"/>
                    </a:lnTo>
                    <a:lnTo>
                      <a:pt x="55" y="30"/>
                    </a:lnTo>
                    <a:lnTo>
                      <a:pt x="57" y="30"/>
                    </a:lnTo>
                    <a:lnTo>
                      <a:pt x="59" y="30"/>
                    </a:lnTo>
                    <a:lnTo>
                      <a:pt x="61" y="30"/>
                    </a:lnTo>
                    <a:lnTo>
                      <a:pt x="64" y="30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4" y="30"/>
                    </a:lnTo>
                    <a:lnTo>
                      <a:pt x="62" y="28"/>
                    </a:lnTo>
                    <a:lnTo>
                      <a:pt x="61" y="28"/>
                    </a:lnTo>
                    <a:lnTo>
                      <a:pt x="59" y="28"/>
                    </a:lnTo>
                    <a:lnTo>
                      <a:pt x="57" y="28"/>
                    </a:lnTo>
                    <a:lnTo>
                      <a:pt x="57" y="26"/>
                    </a:lnTo>
                    <a:lnTo>
                      <a:pt x="55" y="26"/>
                    </a:lnTo>
                    <a:lnTo>
                      <a:pt x="53" y="25"/>
                    </a:lnTo>
                    <a:lnTo>
                      <a:pt x="51" y="25"/>
                    </a:lnTo>
                    <a:lnTo>
                      <a:pt x="51" y="23"/>
                    </a:lnTo>
                    <a:lnTo>
                      <a:pt x="53" y="23"/>
                    </a:lnTo>
                    <a:lnTo>
                      <a:pt x="53" y="21"/>
                    </a:lnTo>
                    <a:lnTo>
                      <a:pt x="55" y="19"/>
                    </a:lnTo>
                    <a:lnTo>
                      <a:pt x="61" y="21"/>
                    </a:lnTo>
                    <a:lnTo>
                      <a:pt x="64" y="21"/>
                    </a:lnTo>
                    <a:lnTo>
                      <a:pt x="68" y="21"/>
                    </a:lnTo>
                    <a:lnTo>
                      <a:pt x="70" y="21"/>
                    </a:lnTo>
                    <a:lnTo>
                      <a:pt x="72" y="21"/>
                    </a:lnTo>
                    <a:lnTo>
                      <a:pt x="72" y="19"/>
                    </a:lnTo>
                    <a:lnTo>
                      <a:pt x="74" y="21"/>
                    </a:lnTo>
                    <a:lnTo>
                      <a:pt x="78" y="21"/>
                    </a:lnTo>
                    <a:lnTo>
                      <a:pt x="80" y="23"/>
                    </a:lnTo>
                    <a:lnTo>
                      <a:pt x="82" y="23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9" y="21"/>
                    </a:lnTo>
                    <a:lnTo>
                      <a:pt x="89" y="19"/>
                    </a:lnTo>
                    <a:lnTo>
                      <a:pt x="91" y="19"/>
                    </a:lnTo>
                    <a:lnTo>
                      <a:pt x="89" y="17"/>
                    </a:lnTo>
                    <a:lnTo>
                      <a:pt x="91" y="17"/>
                    </a:lnTo>
                    <a:lnTo>
                      <a:pt x="93" y="15"/>
                    </a:lnTo>
                    <a:lnTo>
                      <a:pt x="95" y="15"/>
                    </a:lnTo>
                    <a:lnTo>
                      <a:pt x="97" y="15"/>
                    </a:lnTo>
                    <a:lnTo>
                      <a:pt x="97" y="13"/>
                    </a:lnTo>
                    <a:lnTo>
                      <a:pt x="102" y="11"/>
                    </a:lnTo>
                    <a:lnTo>
                      <a:pt x="102" y="9"/>
                    </a:lnTo>
                    <a:lnTo>
                      <a:pt x="104" y="9"/>
                    </a:lnTo>
                    <a:lnTo>
                      <a:pt x="106" y="7"/>
                    </a:lnTo>
                    <a:lnTo>
                      <a:pt x="108" y="7"/>
                    </a:lnTo>
                    <a:lnTo>
                      <a:pt x="108" y="5"/>
                    </a:lnTo>
                    <a:lnTo>
                      <a:pt x="110" y="5"/>
                    </a:lnTo>
                    <a:lnTo>
                      <a:pt x="112" y="5"/>
                    </a:lnTo>
                    <a:lnTo>
                      <a:pt x="114" y="5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2"/>
                    </a:lnTo>
                    <a:lnTo>
                      <a:pt x="127" y="4"/>
                    </a:lnTo>
                    <a:lnTo>
                      <a:pt x="133" y="4"/>
                    </a:lnTo>
                    <a:lnTo>
                      <a:pt x="137" y="4"/>
                    </a:lnTo>
                    <a:lnTo>
                      <a:pt x="139" y="4"/>
                    </a:lnTo>
                    <a:lnTo>
                      <a:pt x="141" y="4"/>
                    </a:lnTo>
                    <a:lnTo>
                      <a:pt x="143" y="4"/>
                    </a:lnTo>
                    <a:lnTo>
                      <a:pt x="144" y="4"/>
                    </a:lnTo>
                    <a:lnTo>
                      <a:pt x="146" y="2"/>
                    </a:lnTo>
                    <a:lnTo>
                      <a:pt x="146" y="0"/>
                    </a:lnTo>
                    <a:lnTo>
                      <a:pt x="148" y="0"/>
                    </a:lnTo>
                    <a:lnTo>
                      <a:pt x="148" y="2"/>
                    </a:lnTo>
                    <a:lnTo>
                      <a:pt x="150" y="2"/>
                    </a:lnTo>
                    <a:lnTo>
                      <a:pt x="148" y="2"/>
                    </a:lnTo>
                    <a:lnTo>
                      <a:pt x="148" y="4"/>
                    </a:lnTo>
                    <a:lnTo>
                      <a:pt x="148" y="5"/>
                    </a:lnTo>
                    <a:lnTo>
                      <a:pt x="150" y="7"/>
                    </a:lnTo>
                    <a:lnTo>
                      <a:pt x="152" y="7"/>
                    </a:lnTo>
                    <a:lnTo>
                      <a:pt x="152" y="9"/>
                    </a:lnTo>
                    <a:lnTo>
                      <a:pt x="154" y="9"/>
                    </a:lnTo>
                    <a:lnTo>
                      <a:pt x="156" y="11"/>
                    </a:lnTo>
                    <a:lnTo>
                      <a:pt x="158" y="11"/>
                    </a:lnTo>
                    <a:lnTo>
                      <a:pt x="162" y="7"/>
                    </a:lnTo>
                    <a:lnTo>
                      <a:pt x="164" y="9"/>
                    </a:lnTo>
                    <a:lnTo>
                      <a:pt x="165" y="11"/>
                    </a:lnTo>
                    <a:lnTo>
                      <a:pt x="165" y="15"/>
                    </a:lnTo>
                    <a:lnTo>
                      <a:pt x="167" y="17"/>
                    </a:lnTo>
                    <a:lnTo>
                      <a:pt x="169" y="17"/>
                    </a:lnTo>
                    <a:lnTo>
                      <a:pt x="169" y="19"/>
                    </a:lnTo>
                    <a:lnTo>
                      <a:pt x="171" y="19"/>
                    </a:lnTo>
                    <a:lnTo>
                      <a:pt x="173" y="17"/>
                    </a:lnTo>
                    <a:lnTo>
                      <a:pt x="173" y="15"/>
                    </a:lnTo>
                    <a:lnTo>
                      <a:pt x="177" y="17"/>
                    </a:lnTo>
                    <a:lnTo>
                      <a:pt x="179" y="19"/>
                    </a:lnTo>
                    <a:lnTo>
                      <a:pt x="179" y="21"/>
                    </a:lnTo>
                    <a:lnTo>
                      <a:pt x="181" y="21"/>
                    </a:lnTo>
                    <a:lnTo>
                      <a:pt x="184" y="21"/>
                    </a:lnTo>
                    <a:lnTo>
                      <a:pt x="184" y="23"/>
                    </a:lnTo>
                    <a:lnTo>
                      <a:pt x="186" y="23"/>
                    </a:lnTo>
                    <a:lnTo>
                      <a:pt x="188" y="23"/>
                    </a:lnTo>
                    <a:lnTo>
                      <a:pt x="190" y="21"/>
                    </a:lnTo>
                    <a:lnTo>
                      <a:pt x="192" y="21"/>
                    </a:lnTo>
                    <a:lnTo>
                      <a:pt x="192" y="23"/>
                    </a:lnTo>
                    <a:lnTo>
                      <a:pt x="192" y="25"/>
                    </a:lnTo>
                    <a:lnTo>
                      <a:pt x="194" y="25"/>
                    </a:lnTo>
                    <a:lnTo>
                      <a:pt x="198" y="25"/>
                    </a:lnTo>
                    <a:lnTo>
                      <a:pt x="200" y="25"/>
                    </a:lnTo>
                    <a:lnTo>
                      <a:pt x="200" y="26"/>
                    </a:lnTo>
                    <a:lnTo>
                      <a:pt x="202" y="25"/>
                    </a:lnTo>
                    <a:lnTo>
                      <a:pt x="202" y="26"/>
                    </a:lnTo>
                    <a:lnTo>
                      <a:pt x="204" y="26"/>
                    </a:lnTo>
                    <a:lnTo>
                      <a:pt x="205" y="25"/>
                    </a:lnTo>
                    <a:lnTo>
                      <a:pt x="207" y="25"/>
                    </a:lnTo>
                    <a:lnTo>
                      <a:pt x="209" y="25"/>
                    </a:lnTo>
                    <a:lnTo>
                      <a:pt x="209" y="23"/>
                    </a:lnTo>
                    <a:lnTo>
                      <a:pt x="211" y="23"/>
                    </a:lnTo>
                    <a:lnTo>
                      <a:pt x="213" y="23"/>
                    </a:lnTo>
                    <a:lnTo>
                      <a:pt x="215" y="23"/>
                    </a:lnTo>
                    <a:lnTo>
                      <a:pt x="217" y="21"/>
                    </a:lnTo>
                    <a:lnTo>
                      <a:pt x="219" y="23"/>
                    </a:lnTo>
                    <a:lnTo>
                      <a:pt x="221" y="25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26" y="25"/>
                    </a:lnTo>
                    <a:lnTo>
                      <a:pt x="228" y="26"/>
                    </a:lnTo>
                    <a:lnTo>
                      <a:pt x="230" y="26"/>
                    </a:lnTo>
                    <a:lnTo>
                      <a:pt x="230" y="25"/>
                    </a:lnTo>
                    <a:lnTo>
                      <a:pt x="232" y="23"/>
                    </a:lnTo>
                    <a:lnTo>
                      <a:pt x="234" y="23"/>
                    </a:lnTo>
                    <a:lnTo>
                      <a:pt x="236" y="23"/>
                    </a:lnTo>
                    <a:lnTo>
                      <a:pt x="238" y="23"/>
                    </a:lnTo>
                    <a:lnTo>
                      <a:pt x="240" y="21"/>
                    </a:lnTo>
                    <a:lnTo>
                      <a:pt x="242" y="21"/>
                    </a:lnTo>
                    <a:lnTo>
                      <a:pt x="244" y="19"/>
                    </a:lnTo>
                    <a:lnTo>
                      <a:pt x="247" y="17"/>
                    </a:lnTo>
                    <a:lnTo>
                      <a:pt x="249" y="15"/>
                    </a:lnTo>
                    <a:lnTo>
                      <a:pt x="251" y="13"/>
                    </a:lnTo>
                    <a:close/>
                    <a:moveTo>
                      <a:pt x="36" y="4"/>
                    </a:moveTo>
                    <a:lnTo>
                      <a:pt x="36" y="5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17"/>
                    </a:lnTo>
                    <a:lnTo>
                      <a:pt x="51" y="19"/>
                    </a:lnTo>
                    <a:lnTo>
                      <a:pt x="53" y="19"/>
                    </a:lnTo>
                    <a:lnTo>
                      <a:pt x="53" y="21"/>
                    </a:lnTo>
                    <a:lnTo>
                      <a:pt x="53" y="23"/>
                    </a:lnTo>
                    <a:lnTo>
                      <a:pt x="51" y="23"/>
                    </a:lnTo>
                    <a:lnTo>
                      <a:pt x="51" y="25"/>
                    </a:lnTo>
                    <a:lnTo>
                      <a:pt x="49" y="25"/>
                    </a:lnTo>
                    <a:lnTo>
                      <a:pt x="47" y="25"/>
                    </a:lnTo>
                    <a:lnTo>
                      <a:pt x="45" y="25"/>
                    </a:lnTo>
                    <a:lnTo>
                      <a:pt x="45" y="23"/>
                    </a:lnTo>
                    <a:lnTo>
                      <a:pt x="45" y="25"/>
                    </a:lnTo>
                    <a:lnTo>
                      <a:pt x="43" y="23"/>
                    </a:lnTo>
                    <a:lnTo>
                      <a:pt x="40" y="23"/>
                    </a:lnTo>
                    <a:lnTo>
                      <a:pt x="36" y="23"/>
                    </a:lnTo>
                    <a:lnTo>
                      <a:pt x="36" y="25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28" y="25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4" y="30"/>
                    </a:lnTo>
                    <a:lnTo>
                      <a:pt x="22" y="32"/>
                    </a:lnTo>
                    <a:lnTo>
                      <a:pt x="21" y="32"/>
                    </a:lnTo>
                    <a:lnTo>
                      <a:pt x="21" y="34"/>
                    </a:lnTo>
                    <a:lnTo>
                      <a:pt x="19" y="34"/>
                    </a:lnTo>
                    <a:lnTo>
                      <a:pt x="15" y="36"/>
                    </a:lnTo>
                    <a:lnTo>
                      <a:pt x="15" y="38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9" y="40"/>
                    </a:lnTo>
                    <a:lnTo>
                      <a:pt x="11" y="42"/>
                    </a:lnTo>
                    <a:lnTo>
                      <a:pt x="9" y="44"/>
                    </a:lnTo>
                    <a:lnTo>
                      <a:pt x="7" y="44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13" y="34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5" y="32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5" y="30"/>
                    </a:lnTo>
                    <a:lnTo>
                      <a:pt x="7" y="28"/>
                    </a:lnTo>
                    <a:lnTo>
                      <a:pt x="7" y="26"/>
                    </a:lnTo>
                    <a:lnTo>
                      <a:pt x="9" y="26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2" y="2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6" y="4"/>
                    </a:lnTo>
                    <a:close/>
                    <a:moveTo>
                      <a:pt x="3" y="40"/>
                    </a:moveTo>
                    <a:lnTo>
                      <a:pt x="3" y="42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1" y="40"/>
                    </a:lnTo>
                    <a:lnTo>
                      <a:pt x="3" y="40"/>
                    </a:lnTo>
                    <a:close/>
                    <a:moveTo>
                      <a:pt x="30" y="30"/>
                    </a:moveTo>
                    <a:lnTo>
                      <a:pt x="32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30" y="30"/>
                    </a:lnTo>
                    <a:close/>
                    <a:moveTo>
                      <a:pt x="3" y="47"/>
                    </a:moveTo>
                    <a:lnTo>
                      <a:pt x="5" y="47"/>
                    </a:lnTo>
                    <a:lnTo>
                      <a:pt x="5" y="49"/>
                    </a:lnTo>
                    <a:lnTo>
                      <a:pt x="3" y="49"/>
                    </a:lnTo>
                    <a:lnTo>
                      <a:pt x="3" y="47"/>
                    </a:lnTo>
                    <a:close/>
                    <a:moveTo>
                      <a:pt x="15" y="74"/>
                    </a:moveTo>
                    <a:lnTo>
                      <a:pt x="17" y="74"/>
                    </a:lnTo>
                    <a:lnTo>
                      <a:pt x="17" y="76"/>
                    </a:lnTo>
                    <a:lnTo>
                      <a:pt x="15" y="76"/>
                    </a:lnTo>
                    <a:lnTo>
                      <a:pt x="15" y="74"/>
                    </a:lnTo>
                    <a:close/>
                    <a:moveTo>
                      <a:pt x="13" y="57"/>
                    </a:moveTo>
                    <a:lnTo>
                      <a:pt x="15" y="57"/>
                    </a:lnTo>
                    <a:lnTo>
                      <a:pt x="15" y="59"/>
                    </a:lnTo>
                    <a:lnTo>
                      <a:pt x="13" y="59"/>
                    </a:lnTo>
                    <a:lnTo>
                      <a:pt x="13" y="57"/>
                    </a:lnTo>
                    <a:close/>
                    <a:moveTo>
                      <a:pt x="28" y="34"/>
                    </a:moveTo>
                    <a:lnTo>
                      <a:pt x="30" y="34"/>
                    </a:lnTo>
                    <a:lnTo>
                      <a:pt x="30" y="36"/>
                    </a:lnTo>
                    <a:lnTo>
                      <a:pt x="28" y="36"/>
                    </a:lnTo>
                    <a:lnTo>
                      <a:pt x="28" y="34"/>
                    </a:lnTo>
                    <a:close/>
                    <a:moveTo>
                      <a:pt x="28" y="34"/>
                    </a:moveTo>
                    <a:lnTo>
                      <a:pt x="28" y="36"/>
                    </a:lnTo>
                    <a:lnTo>
                      <a:pt x="28" y="34"/>
                    </a:lnTo>
                    <a:close/>
                    <a:moveTo>
                      <a:pt x="43" y="32"/>
                    </a:moveTo>
                    <a:lnTo>
                      <a:pt x="45" y="32"/>
                    </a:lnTo>
                    <a:lnTo>
                      <a:pt x="45" y="34"/>
                    </a:lnTo>
                    <a:lnTo>
                      <a:pt x="43" y="34"/>
                    </a:lnTo>
                    <a:lnTo>
                      <a:pt x="43" y="32"/>
                    </a:lnTo>
                    <a:close/>
                    <a:moveTo>
                      <a:pt x="26" y="107"/>
                    </a:moveTo>
                    <a:lnTo>
                      <a:pt x="28" y="107"/>
                    </a:lnTo>
                    <a:lnTo>
                      <a:pt x="26" y="107"/>
                    </a:lnTo>
                    <a:close/>
                    <a:moveTo>
                      <a:pt x="9" y="76"/>
                    </a:moveTo>
                    <a:lnTo>
                      <a:pt x="9" y="78"/>
                    </a:lnTo>
                    <a:lnTo>
                      <a:pt x="9" y="76"/>
                    </a:lnTo>
                    <a:close/>
                    <a:moveTo>
                      <a:pt x="64" y="122"/>
                    </a:moveTo>
                    <a:lnTo>
                      <a:pt x="66" y="122"/>
                    </a:lnTo>
                    <a:lnTo>
                      <a:pt x="64" y="122"/>
                    </a:lnTo>
                    <a:close/>
                    <a:moveTo>
                      <a:pt x="53" y="26"/>
                    </a:moveTo>
                    <a:lnTo>
                      <a:pt x="55" y="26"/>
                    </a:lnTo>
                    <a:lnTo>
                      <a:pt x="53" y="26"/>
                    </a:lnTo>
                    <a:close/>
                    <a:moveTo>
                      <a:pt x="28" y="34"/>
                    </a:moveTo>
                    <a:lnTo>
                      <a:pt x="30" y="34"/>
                    </a:lnTo>
                    <a:lnTo>
                      <a:pt x="28" y="34"/>
                    </a:lnTo>
                    <a:close/>
                    <a:moveTo>
                      <a:pt x="49" y="112"/>
                    </a:moveTo>
                    <a:lnTo>
                      <a:pt x="51" y="112"/>
                    </a:lnTo>
                    <a:lnTo>
                      <a:pt x="49" y="112"/>
                    </a:lnTo>
                    <a:close/>
                    <a:moveTo>
                      <a:pt x="36" y="110"/>
                    </a:moveTo>
                    <a:lnTo>
                      <a:pt x="36" y="112"/>
                    </a:lnTo>
                    <a:lnTo>
                      <a:pt x="36" y="11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1" name="Freeform 125">
                <a:extLst>
                  <a:ext uri="{FF2B5EF4-FFF2-40B4-BE49-F238E27FC236}">
                    <a16:creationId xmlns:a16="http://schemas.microsoft.com/office/drawing/2014/main" id="{31DE8FC9-89C7-60C6-FF82-F7559DD1345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8924" y="-2882136"/>
                <a:ext cx="9453" cy="9471"/>
              </a:xfrm>
              <a:custGeom>
                <a:avLst/>
                <a:gdLst>
                  <a:gd name="T0" fmla="*/ 2 w 6"/>
                  <a:gd name="T1" fmla="*/ 2 h 6"/>
                  <a:gd name="T2" fmla="*/ 4 w 6"/>
                  <a:gd name="T3" fmla="*/ 2 h 6"/>
                  <a:gd name="T4" fmla="*/ 2 w 6"/>
                  <a:gd name="T5" fmla="*/ 4 h 6"/>
                  <a:gd name="T6" fmla="*/ 4 w 6"/>
                  <a:gd name="T7" fmla="*/ 2 h 6"/>
                  <a:gd name="T8" fmla="*/ 4 w 6"/>
                  <a:gd name="T9" fmla="*/ 4 h 6"/>
                  <a:gd name="T10" fmla="*/ 4 w 6"/>
                  <a:gd name="T11" fmla="*/ 2 h 6"/>
                  <a:gd name="T12" fmla="*/ 4 w 6"/>
                  <a:gd name="T13" fmla="*/ 4 h 6"/>
                  <a:gd name="T14" fmla="*/ 6 w 6"/>
                  <a:gd name="T15" fmla="*/ 4 h 6"/>
                  <a:gd name="T16" fmla="*/ 4 w 6"/>
                  <a:gd name="T17" fmla="*/ 4 h 6"/>
                  <a:gd name="T18" fmla="*/ 6 w 6"/>
                  <a:gd name="T19" fmla="*/ 4 h 6"/>
                  <a:gd name="T20" fmla="*/ 4 w 6"/>
                  <a:gd name="T21" fmla="*/ 4 h 6"/>
                  <a:gd name="T22" fmla="*/ 6 w 6"/>
                  <a:gd name="T23" fmla="*/ 4 h 6"/>
                  <a:gd name="T24" fmla="*/ 6 w 6"/>
                  <a:gd name="T25" fmla="*/ 6 h 6"/>
                  <a:gd name="T26" fmla="*/ 4 w 6"/>
                  <a:gd name="T27" fmla="*/ 6 h 6"/>
                  <a:gd name="T28" fmla="*/ 2 w 6"/>
                  <a:gd name="T29" fmla="*/ 4 h 6"/>
                  <a:gd name="T30" fmla="*/ 2 w 6"/>
                  <a:gd name="T31" fmla="*/ 2 h 6"/>
                  <a:gd name="T32" fmla="*/ 0 w 6"/>
                  <a:gd name="T33" fmla="*/ 0 h 6"/>
                  <a:gd name="T34" fmla="*/ 2 w 6"/>
                  <a:gd name="T35" fmla="*/ 0 h 6"/>
                  <a:gd name="T36" fmla="*/ 2 w 6"/>
                  <a:gd name="T37" fmla="*/ 2 h 6"/>
                  <a:gd name="T38" fmla="*/ 0 w 6"/>
                  <a:gd name="T39" fmla="*/ 2 h 6"/>
                  <a:gd name="T40" fmla="*/ 0 w 6"/>
                  <a:gd name="T4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2" name="Freeform 126">
                <a:extLst>
                  <a:ext uri="{FF2B5EF4-FFF2-40B4-BE49-F238E27FC236}">
                    <a16:creationId xmlns:a16="http://schemas.microsoft.com/office/drawing/2014/main" id="{001C0069-A751-62B5-9C49-F03E0DA301F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9855" y="-3253095"/>
                <a:ext cx="297785" cy="388321"/>
              </a:xfrm>
              <a:custGeom>
                <a:avLst/>
                <a:gdLst>
                  <a:gd name="T0" fmla="*/ 111 w 189"/>
                  <a:gd name="T1" fmla="*/ 29 h 246"/>
                  <a:gd name="T2" fmla="*/ 109 w 189"/>
                  <a:gd name="T3" fmla="*/ 31 h 246"/>
                  <a:gd name="T4" fmla="*/ 103 w 189"/>
                  <a:gd name="T5" fmla="*/ 33 h 246"/>
                  <a:gd name="T6" fmla="*/ 94 w 189"/>
                  <a:gd name="T7" fmla="*/ 34 h 246"/>
                  <a:gd name="T8" fmla="*/ 90 w 189"/>
                  <a:gd name="T9" fmla="*/ 38 h 246"/>
                  <a:gd name="T10" fmla="*/ 90 w 189"/>
                  <a:gd name="T11" fmla="*/ 44 h 246"/>
                  <a:gd name="T12" fmla="*/ 92 w 189"/>
                  <a:gd name="T13" fmla="*/ 52 h 246"/>
                  <a:gd name="T14" fmla="*/ 98 w 189"/>
                  <a:gd name="T15" fmla="*/ 71 h 246"/>
                  <a:gd name="T16" fmla="*/ 134 w 189"/>
                  <a:gd name="T17" fmla="*/ 113 h 246"/>
                  <a:gd name="T18" fmla="*/ 149 w 189"/>
                  <a:gd name="T19" fmla="*/ 126 h 246"/>
                  <a:gd name="T20" fmla="*/ 178 w 189"/>
                  <a:gd name="T21" fmla="*/ 141 h 246"/>
                  <a:gd name="T22" fmla="*/ 187 w 189"/>
                  <a:gd name="T23" fmla="*/ 160 h 246"/>
                  <a:gd name="T24" fmla="*/ 168 w 189"/>
                  <a:gd name="T25" fmla="*/ 145 h 246"/>
                  <a:gd name="T26" fmla="*/ 164 w 189"/>
                  <a:gd name="T27" fmla="*/ 166 h 246"/>
                  <a:gd name="T28" fmla="*/ 162 w 189"/>
                  <a:gd name="T29" fmla="*/ 178 h 246"/>
                  <a:gd name="T30" fmla="*/ 143 w 189"/>
                  <a:gd name="T31" fmla="*/ 199 h 246"/>
                  <a:gd name="T32" fmla="*/ 153 w 189"/>
                  <a:gd name="T33" fmla="*/ 179 h 246"/>
                  <a:gd name="T34" fmla="*/ 140 w 189"/>
                  <a:gd name="T35" fmla="*/ 157 h 246"/>
                  <a:gd name="T36" fmla="*/ 122 w 189"/>
                  <a:gd name="T37" fmla="*/ 143 h 246"/>
                  <a:gd name="T38" fmla="*/ 111 w 189"/>
                  <a:gd name="T39" fmla="*/ 130 h 246"/>
                  <a:gd name="T40" fmla="*/ 88 w 189"/>
                  <a:gd name="T41" fmla="*/ 118 h 246"/>
                  <a:gd name="T42" fmla="*/ 73 w 189"/>
                  <a:gd name="T43" fmla="*/ 105 h 246"/>
                  <a:gd name="T44" fmla="*/ 61 w 189"/>
                  <a:gd name="T45" fmla="*/ 86 h 246"/>
                  <a:gd name="T46" fmla="*/ 52 w 189"/>
                  <a:gd name="T47" fmla="*/ 69 h 246"/>
                  <a:gd name="T48" fmla="*/ 23 w 189"/>
                  <a:gd name="T49" fmla="*/ 71 h 246"/>
                  <a:gd name="T50" fmla="*/ 12 w 189"/>
                  <a:gd name="T51" fmla="*/ 67 h 246"/>
                  <a:gd name="T52" fmla="*/ 4 w 189"/>
                  <a:gd name="T53" fmla="*/ 52 h 246"/>
                  <a:gd name="T54" fmla="*/ 8 w 189"/>
                  <a:gd name="T55" fmla="*/ 36 h 246"/>
                  <a:gd name="T56" fmla="*/ 16 w 189"/>
                  <a:gd name="T57" fmla="*/ 25 h 246"/>
                  <a:gd name="T58" fmla="*/ 29 w 189"/>
                  <a:gd name="T59" fmla="*/ 17 h 246"/>
                  <a:gd name="T60" fmla="*/ 40 w 189"/>
                  <a:gd name="T61" fmla="*/ 21 h 246"/>
                  <a:gd name="T62" fmla="*/ 54 w 189"/>
                  <a:gd name="T63" fmla="*/ 19 h 246"/>
                  <a:gd name="T64" fmla="*/ 59 w 189"/>
                  <a:gd name="T65" fmla="*/ 10 h 246"/>
                  <a:gd name="T66" fmla="*/ 73 w 189"/>
                  <a:gd name="T67" fmla="*/ 4 h 246"/>
                  <a:gd name="T68" fmla="*/ 90 w 189"/>
                  <a:gd name="T69" fmla="*/ 6 h 246"/>
                  <a:gd name="T70" fmla="*/ 113 w 189"/>
                  <a:gd name="T71" fmla="*/ 13 h 246"/>
                  <a:gd name="T72" fmla="*/ 136 w 189"/>
                  <a:gd name="T73" fmla="*/ 206 h 246"/>
                  <a:gd name="T74" fmla="*/ 136 w 189"/>
                  <a:gd name="T75" fmla="*/ 218 h 246"/>
                  <a:gd name="T76" fmla="*/ 117 w 189"/>
                  <a:gd name="T77" fmla="*/ 214 h 246"/>
                  <a:gd name="T78" fmla="*/ 96 w 189"/>
                  <a:gd name="T79" fmla="*/ 206 h 246"/>
                  <a:gd name="T80" fmla="*/ 101 w 189"/>
                  <a:gd name="T81" fmla="*/ 197 h 246"/>
                  <a:gd name="T82" fmla="*/ 124 w 189"/>
                  <a:gd name="T83" fmla="*/ 197 h 246"/>
                  <a:gd name="T84" fmla="*/ 141 w 189"/>
                  <a:gd name="T85" fmla="*/ 191 h 246"/>
                  <a:gd name="T86" fmla="*/ 46 w 189"/>
                  <a:gd name="T87" fmla="*/ 136 h 246"/>
                  <a:gd name="T88" fmla="*/ 50 w 189"/>
                  <a:gd name="T89" fmla="*/ 143 h 246"/>
                  <a:gd name="T90" fmla="*/ 48 w 189"/>
                  <a:gd name="T91" fmla="*/ 170 h 246"/>
                  <a:gd name="T92" fmla="*/ 35 w 189"/>
                  <a:gd name="T93" fmla="*/ 178 h 246"/>
                  <a:gd name="T94" fmla="*/ 27 w 189"/>
                  <a:gd name="T95" fmla="*/ 168 h 246"/>
                  <a:gd name="T96" fmla="*/ 31 w 189"/>
                  <a:gd name="T97" fmla="*/ 157 h 246"/>
                  <a:gd name="T98" fmla="*/ 25 w 189"/>
                  <a:gd name="T99" fmla="*/ 145 h 246"/>
                  <a:gd name="T100" fmla="*/ 37 w 189"/>
                  <a:gd name="T101" fmla="*/ 136 h 246"/>
                  <a:gd name="T102" fmla="*/ 58 w 189"/>
                  <a:gd name="T103" fmla="*/ 97 h 246"/>
                  <a:gd name="T104" fmla="*/ 25 w 189"/>
                  <a:gd name="T105" fmla="*/ 132 h 246"/>
                  <a:gd name="T106" fmla="*/ 130 w 189"/>
                  <a:gd name="T107" fmla="*/ 185 h 246"/>
                  <a:gd name="T108" fmla="*/ 50 w 189"/>
                  <a:gd name="T109" fmla="*/ 90 h 246"/>
                  <a:gd name="T110" fmla="*/ 136 w 189"/>
                  <a:gd name="T111" fmla="*/ 181 h 246"/>
                  <a:gd name="T112" fmla="*/ 94 w 189"/>
                  <a:gd name="T113" fmla="*/ 36 h 246"/>
                  <a:gd name="T114" fmla="*/ 99 w 189"/>
                  <a:gd name="T115" fmla="*/ 137 h 246"/>
                  <a:gd name="T116" fmla="*/ 92 w 189"/>
                  <a:gd name="T117" fmla="*/ 200 h 246"/>
                  <a:gd name="T118" fmla="*/ 48 w 189"/>
                  <a:gd name="T119" fmla="*/ 137 h 246"/>
                  <a:gd name="T120" fmla="*/ 105 w 189"/>
                  <a:gd name="T121" fmla="*/ 33 h 246"/>
                  <a:gd name="T122" fmla="*/ 92 w 189"/>
                  <a:gd name="T123" fmla="*/ 4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9" h="246">
                    <a:moveTo>
                      <a:pt x="113" y="13"/>
                    </a:moveTo>
                    <a:lnTo>
                      <a:pt x="113" y="15"/>
                    </a:lnTo>
                    <a:lnTo>
                      <a:pt x="111" y="15"/>
                    </a:lnTo>
                    <a:lnTo>
                      <a:pt x="109" y="17"/>
                    </a:lnTo>
                    <a:lnTo>
                      <a:pt x="107" y="19"/>
                    </a:lnTo>
                    <a:lnTo>
                      <a:pt x="107" y="21"/>
                    </a:lnTo>
                    <a:lnTo>
                      <a:pt x="109" y="19"/>
                    </a:lnTo>
                    <a:lnTo>
                      <a:pt x="111" y="21"/>
                    </a:lnTo>
                    <a:lnTo>
                      <a:pt x="111" y="23"/>
                    </a:lnTo>
                    <a:lnTo>
                      <a:pt x="109" y="23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5"/>
                    </a:lnTo>
                    <a:lnTo>
                      <a:pt x="111" y="27"/>
                    </a:lnTo>
                    <a:lnTo>
                      <a:pt x="111" y="29"/>
                    </a:lnTo>
                    <a:lnTo>
                      <a:pt x="113" y="31"/>
                    </a:lnTo>
                    <a:lnTo>
                      <a:pt x="115" y="31"/>
                    </a:lnTo>
                    <a:lnTo>
                      <a:pt x="115" y="33"/>
                    </a:lnTo>
                    <a:lnTo>
                      <a:pt x="117" y="34"/>
                    </a:lnTo>
                    <a:lnTo>
                      <a:pt x="115" y="34"/>
                    </a:lnTo>
                    <a:lnTo>
                      <a:pt x="113" y="34"/>
                    </a:lnTo>
                    <a:lnTo>
                      <a:pt x="115" y="34"/>
                    </a:lnTo>
                    <a:lnTo>
                      <a:pt x="113" y="34"/>
                    </a:lnTo>
                    <a:lnTo>
                      <a:pt x="113" y="33"/>
                    </a:lnTo>
                    <a:lnTo>
                      <a:pt x="113" y="34"/>
                    </a:lnTo>
                    <a:lnTo>
                      <a:pt x="113" y="33"/>
                    </a:lnTo>
                    <a:lnTo>
                      <a:pt x="111" y="31"/>
                    </a:lnTo>
                    <a:lnTo>
                      <a:pt x="109" y="31"/>
                    </a:lnTo>
                    <a:lnTo>
                      <a:pt x="111" y="31"/>
                    </a:lnTo>
                    <a:lnTo>
                      <a:pt x="109" y="31"/>
                    </a:lnTo>
                    <a:lnTo>
                      <a:pt x="111" y="31"/>
                    </a:lnTo>
                    <a:lnTo>
                      <a:pt x="109" y="33"/>
                    </a:lnTo>
                    <a:lnTo>
                      <a:pt x="107" y="31"/>
                    </a:lnTo>
                    <a:lnTo>
                      <a:pt x="107" y="33"/>
                    </a:lnTo>
                    <a:lnTo>
                      <a:pt x="109" y="33"/>
                    </a:lnTo>
                    <a:lnTo>
                      <a:pt x="107" y="33"/>
                    </a:lnTo>
                    <a:lnTo>
                      <a:pt x="107" y="31"/>
                    </a:lnTo>
                    <a:lnTo>
                      <a:pt x="105" y="31"/>
                    </a:lnTo>
                    <a:lnTo>
                      <a:pt x="105" y="29"/>
                    </a:lnTo>
                    <a:lnTo>
                      <a:pt x="105" y="31"/>
                    </a:lnTo>
                    <a:lnTo>
                      <a:pt x="103" y="31"/>
                    </a:lnTo>
                    <a:lnTo>
                      <a:pt x="101" y="33"/>
                    </a:lnTo>
                    <a:lnTo>
                      <a:pt x="103" y="33"/>
                    </a:lnTo>
                    <a:lnTo>
                      <a:pt x="101" y="33"/>
                    </a:lnTo>
                    <a:lnTo>
                      <a:pt x="103" y="33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99" y="33"/>
                    </a:lnTo>
                    <a:lnTo>
                      <a:pt x="101" y="33"/>
                    </a:lnTo>
                    <a:lnTo>
                      <a:pt x="101" y="34"/>
                    </a:lnTo>
                    <a:lnTo>
                      <a:pt x="99" y="34"/>
                    </a:lnTo>
                    <a:lnTo>
                      <a:pt x="99" y="33"/>
                    </a:lnTo>
                    <a:lnTo>
                      <a:pt x="99" y="34"/>
                    </a:lnTo>
                    <a:lnTo>
                      <a:pt x="98" y="36"/>
                    </a:lnTo>
                    <a:lnTo>
                      <a:pt x="92" y="38"/>
                    </a:lnTo>
                    <a:lnTo>
                      <a:pt x="94" y="38"/>
                    </a:lnTo>
                    <a:lnTo>
                      <a:pt x="94" y="36"/>
                    </a:lnTo>
                    <a:lnTo>
                      <a:pt x="96" y="36"/>
                    </a:lnTo>
                    <a:lnTo>
                      <a:pt x="94" y="36"/>
                    </a:lnTo>
                    <a:lnTo>
                      <a:pt x="94" y="34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92" y="38"/>
                    </a:lnTo>
                    <a:lnTo>
                      <a:pt x="90" y="38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90" y="36"/>
                    </a:lnTo>
                    <a:lnTo>
                      <a:pt x="88" y="38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90" y="38"/>
                    </a:lnTo>
                    <a:lnTo>
                      <a:pt x="90" y="40"/>
                    </a:lnTo>
                    <a:lnTo>
                      <a:pt x="88" y="40"/>
                    </a:lnTo>
                    <a:lnTo>
                      <a:pt x="90" y="40"/>
                    </a:lnTo>
                    <a:lnTo>
                      <a:pt x="88" y="40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8" y="42"/>
                    </a:lnTo>
                    <a:lnTo>
                      <a:pt x="90" y="42"/>
                    </a:lnTo>
                    <a:lnTo>
                      <a:pt x="88" y="42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90" y="44"/>
                    </a:lnTo>
                    <a:lnTo>
                      <a:pt x="90" y="46"/>
                    </a:lnTo>
                    <a:lnTo>
                      <a:pt x="92" y="46"/>
                    </a:lnTo>
                    <a:lnTo>
                      <a:pt x="92" y="48"/>
                    </a:lnTo>
                    <a:lnTo>
                      <a:pt x="94" y="48"/>
                    </a:lnTo>
                    <a:lnTo>
                      <a:pt x="94" y="50"/>
                    </a:lnTo>
                    <a:lnTo>
                      <a:pt x="94" y="52"/>
                    </a:lnTo>
                    <a:lnTo>
                      <a:pt x="94" y="50"/>
                    </a:lnTo>
                    <a:lnTo>
                      <a:pt x="92" y="50"/>
                    </a:lnTo>
                    <a:lnTo>
                      <a:pt x="92" y="52"/>
                    </a:lnTo>
                    <a:lnTo>
                      <a:pt x="94" y="52"/>
                    </a:lnTo>
                    <a:lnTo>
                      <a:pt x="92" y="52"/>
                    </a:lnTo>
                    <a:lnTo>
                      <a:pt x="92" y="50"/>
                    </a:lnTo>
                    <a:lnTo>
                      <a:pt x="92" y="52"/>
                    </a:lnTo>
                    <a:lnTo>
                      <a:pt x="92" y="54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90" y="55"/>
                    </a:lnTo>
                    <a:lnTo>
                      <a:pt x="90" y="57"/>
                    </a:lnTo>
                    <a:lnTo>
                      <a:pt x="90" y="59"/>
                    </a:lnTo>
                    <a:lnTo>
                      <a:pt x="88" y="61"/>
                    </a:lnTo>
                    <a:lnTo>
                      <a:pt x="90" y="61"/>
                    </a:lnTo>
                    <a:lnTo>
                      <a:pt x="90" y="59"/>
                    </a:lnTo>
                    <a:lnTo>
                      <a:pt x="92" y="65"/>
                    </a:lnTo>
                    <a:lnTo>
                      <a:pt x="94" y="69"/>
                    </a:lnTo>
                    <a:lnTo>
                      <a:pt x="96" y="71"/>
                    </a:lnTo>
                    <a:lnTo>
                      <a:pt x="98" y="71"/>
                    </a:lnTo>
                    <a:lnTo>
                      <a:pt x="99" y="73"/>
                    </a:lnTo>
                    <a:lnTo>
                      <a:pt x="105" y="76"/>
                    </a:lnTo>
                    <a:lnTo>
                      <a:pt x="109" y="78"/>
                    </a:lnTo>
                    <a:lnTo>
                      <a:pt x="111" y="80"/>
                    </a:lnTo>
                    <a:lnTo>
                      <a:pt x="115" y="88"/>
                    </a:lnTo>
                    <a:lnTo>
                      <a:pt x="117" y="96"/>
                    </a:lnTo>
                    <a:lnTo>
                      <a:pt x="119" y="99"/>
                    </a:lnTo>
                    <a:lnTo>
                      <a:pt x="119" y="103"/>
                    </a:lnTo>
                    <a:lnTo>
                      <a:pt x="120" y="103"/>
                    </a:lnTo>
                    <a:lnTo>
                      <a:pt x="124" y="107"/>
                    </a:lnTo>
                    <a:lnTo>
                      <a:pt x="126" y="109"/>
                    </a:lnTo>
                    <a:lnTo>
                      <a:pt x="128" y="111"/>
                    </a:lnTo>
                    <a:lnTo>
                      <a:pt x="128" y="113"/>
                    </a:lnTo>
                    <a:lnTo>
                      <a:pt x="132" y="113"/>
                    </a:lnTo>
                    <a:lnTo>
                      <a:pt x="134" y="113"/>
                    </a:lnTo>
                    <a:lnTo>
                      <a:pt x="134" y="115"/>
                    </a:lnTo>
                    <a:lnTo>
                      <a:pt x="136" y="115"/>
                    </a:lnTo>
                    <a:lnTo>
                      <a:pt x="138" y="115"/>
                    </a:lnTo>
                    <a:lnTo>
                      <a:pt x="140" y="116"/>
                    </a:lnTo>
                    <a:lnTo>
                      <a:pt x="143" y="115"/>
                    </a:lnTo>
                    <a:lnTo>
                      <a:pt x="145" y="115"/>
                    </a:lnTo>
                    <a:lnTo>
                      <a:pt x="149" y="115"/>
                    </a:lnTo>
                    <a:lnTo>
                      <a:pt x="151" y="116"/>
                    </a:lnTo>
                    <a:lnTo>
                      <a:pt x="153" y="118"/>
                    </a:lnTo>
                    <a:lnTo>
                      <a:pt x="149" y="120"/>
                    </a:lnTo>
                    <a:lnTo>
                      <a:pt x="147" y="122"/>
                    </a:lnTo>
                    <a:lnTo>
                      <a:pt x="149" y="122"/>
                    </a:lnTo>
                    <a:lnTo>
                      <a:pt x="147" y="122"/>
                    </a:lnTo>
                    <a:lnTo>
                      <a:pt x="147" y="124"/>
                    </a:lnTo>
                    <a:lnTo>
                      <a:pt x="149" y="126"/>
                    </a:lnTo>
                    <a:lnTo>
                      <a:pt x="151" y="126"/>
                    </a:lnTo>
                    <a:lnTo>
                      <a:pt x="149" y="126"/>
                    </a:lnTo>
                    <a:lnTo>
                      <a:pt x="151" y="126"/>
                    </a:lnTo>
                    <a:lnTo>
                      <a:pt x="153" y="128"/>
                    </a:lnTo>
                    <a:lnTo>
                      <a:pt x="155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61" y="132"/>
                    </a:lnTo>
                    <a:lnTo>
                      <a:pt x="162" y="132"/>
                    </a:lnTo>
                    <a:lnTo>
                      <a:pt x="166" y="134"/>
                    </a:lnTo>
                    <a:lnTo>
                      <a:pt x="170" y="136"/>
                    </a:lnTo>
                    <a:lnTo>
                      <a:pt x="170" y="137"/>
                    </a:lnTo>
                    <a:lnTo>
                      <a:pt x="172" y="139"/>
                    </a:lnTo>
                    <a:lnTo>
                      <a:pt x="176" y="139"/>
                    </a:lnTo>
                    <a:lnTo>
                      <a:pt x="178" y="141"/>
                    </a:lnTo>
                    <a:lnTo>
                      <a:pt x="180" y="141"/>
                    </a:lnTo>
                    <a:lnTo>
                      <a:pt x="181" y="141"/>
                    </a:lnTo>
                    <a:lnTo>
                      <a:pt x="180" y="141"/>
                    </a:lnTo>
                    <a:lnTo>
                      <a:pt x="180" y="143"/>
                    </a:lnTo>
                    <a:lnTo>
                      <a:pt x="181" y="141"/>
                    </a:lnTo>
                    <a:lnTo>
                      <a:pt x="181" y="143"/>
                    </a:lnTo>
                    <a:lnTo>
                      <a:pt x="183" y="145"/>
                    </a:lnTo>
                    <a:lnTo>
                      <a:pt x="185" y="147"/>
                    </a:lnTo>
                    <a:lnTo>
                      <a:pt x="187" y="149"/>
                    </a:lnTo>
                    <a:lnTo>
                      <a:pt x="189" y="153"/>
                    </a:lnTo>
                    <a:lnTo>
                      <a:pt x="189" y="155"/>
                    </a:lnTo>
                    <a:lnTo>
                      <a:pt x="187" y="155"/>
                    </a:lnTo>
                    <a:lnTo>
                      <a:pt x="187" y="157"/>
                    </a:lnTo>
                    <a:lnTo>
                      <a:pt x="187" y="158"/>
                    </a:lnTo>
                    <a:lnTo>
                      <a:pt x="187" y="160"/>
                    </a:lnTo>
                    <a:lnTo>
                      <a:pt x="185" y="158"/>
                    </a:lnTo>
                    <a:lnTo>
                      <a:pt x="183" y="158"/>
                    </a:lnTo>
                    <a:lnTo>
                      <a:pt x="181" y="157"/>
                    </a:lnTo>
                    <a:lnTo>
                      <a:pt x="181" y="155"/>
                    </a:lnTo>
                    <a:lnTo>
                      <a:pt x="180" y="155"/>
                    </a:lnTo>
                    <a:lnTo>
                      <a:pt x="181" y="155"/>
                    </a:lnTo>
                    <a:lnTo>
                      <a:pt x="181" y="153"/>
                    </a:lnTo>
                    <a:lnTo>
                      <a:pt x="180" y="153"/>
                    </a:lnTo>
                    <a:lnTo>
                      <a:pt x="180" y="151"/>
                    </a:lnTo>
                    <a:lnTo>
                      <a:pt x="178" y="151"/>
                    </a:lnTo>
                    <a:lnTo>
                      <a:pt x="176" y="149"/>
                    </a:lnTo>
                    <a:lnTo>
                      <a:pt x="174" y="149"/>
                    </a:lnTo>
                    <a:lnTo>
                      <a:pt x="172" y="149"/>
                    </a:lnTo>
                    <a:lnTo>
                      <a:pt x="168" y="147"/>
                    </a:lnTo>
                    <a:lnTo>
                      <a:pt x="168" y="145"/>
                    </a:lnTo>
                    <a:lnTo>
                      <a:pt x="170" y="145"/>
                    </a:lnTo>
                    <a:lnTo>
                      <a:pt x="168" y="145"/>
                    </a:lnTo>
                    <a:lnTo>
                      <a:pt x="166" y="145"/>
                    </a:lnTo>
                    <a:lnTo>
                      <a:pt x="164" y="145"/>
                    </a:lnTo>
                    <a:lnTo>
                      <a:pt x="162" y="147"/>
                    </a:lnTo>
                    <a:lnTo>
                      <a:pt x="161" y="149"/>
                    </a:lnTo>
                    <a:lnTo>
                      <a:pt x="161" y="153"/>
                    </a:lnTo>
                    <a:lnTo>
                      <a:pt x="159" y="155"/>
                    </a:lnTo>
                    <a:lnTo>
                      <a:pt x="159" y="157"/>
                    </a:lnTo>
                    <a:lnTo>
                      <a:pt x="157" y="160"/>
                    </a:lnTo>
                    <a:lnTo>
                      <a:pt x="157" y="162"/>
                    </a:lnTo>
                    <a:lnTo>
                      <a:pt x="159" y="164"/>
                    </a:lnTo>
                    <a:lnTo>
                      <a:pt x="161" y="164"/>
                    </a:lnTo>
                    <a:lnTo>
                      <a:pt x="162" y="166"/>
                    </a:lnTo>
                    <a:lnTo>
                      <a:pt x="164" y="166"/>
                    </a:lnTo>
                    <a:lnTo>
                      <a:pt x="166" y="168"/>
                    </a:lnTo>
                    <a:lnTo>
                      <a:pt x="168" y="168"/>
                    </a:lnTo>
                    <a:lnTo>
                      <a:pt x="166" y="170"/>
                    </a:lnTo>
                    <a:lnTo>
                      <a:pt x="166" y="172"/>
                    </a:lnTo>
                    <a:lnTo>
                      <a:pt x="168" y="172"/>
                    </a:lnTo>
                    <a:lnTo>
                      <a:pt x="166" y="174"/>
                    </a:lnTo>
                    <a:lnTo>
                      <a:pt x="166" y="176"/>
                    </a:lnTo>
                    <a:lnTo>
                      <a:pt x="166" y="174"/>
                    </a:lnTo>
                    <a:lnTo>
                      <a:pt x="166" y="176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66" y="179"/>
                    </a:lnTo>
                    <a:lnTo>
                      <a:pt x="166" y="178"/>
                    </a:lnTo>
                    <a:lnTo>
                      <a:pt x="164" y="178"/>
                    </a:lnTo>
                    <a:lnTo>
                      <a:pt x="162" y="178"/>
                    </a:lnTo>
                    <a:lnTo>
                      <a:pt x="161" y="179"/>
                    </a:lnTo>
                    <a:lnTo>
                      <a:pt x="159" y="179"/>
                    </a:lnTo>
                    <a:lnTo>
                      <a:pt x="157" y="183"/>
                    </a:lnTo>
                    <a:lnTo>
                      <a:pt x="159" y="183"/>
                    </a:lnTo>
                    <a:lnTo>
                      <a:pt x="159" y="187"/>
                    </a:lnTo>
                    <a:lnTo>
                      <a:pt x="159" y="189"/>
                    </a:lnTo>
                    <a:lnTo>
                      <a:pt x="157" y="189"/>
                    </a:lnTo>
                    <a:lnTo>
                      <a:pt x="155" y="191"/>
                    </a:lnTo>
                    <a:lnTo>
                      <a:pt x="153" y="191"/>
                    </a:lnTo>
                    <a:lnTo>
                      <a:pt x="151" y="195"/>
                    </a:lnTo>
                    <a:lnTo>
                      <a:pt x="151" y="197"/>
                    </a:lnTo>
                    <a:lnTo>
                      <a:pt x="149" y="199"/>
                    </a:lnTo>
                    <a:lnTo>
                      <a:pt x="147" y="199"/>
                    </a:lnTo>
                    <a:lnTo>
                      <a:pt x="145" y="199"/>
                    </a:lnTo>
                    <a:lnTo>
                      <a:pt x="143" y="199"/>
                    </a:lnTo>
                    <a:lnTo>
                      <a:pt x="143" y="197"/>
                    </a:lnTo>
                    <a:lnTo>
                      <a:pt x="143" y="195"/>
                    </a:lnTo>
                    <a:lnTo>
                      <a:pt x="143" y="193"/>
                    </a:lnTo>
                    <a:lnTo>
                      <a:pt x="143" y="191"/>
                    </a:lnTo>
                    <a:lnTo>
                      <a:pt x="145" y="191"/>
                    </a:lnTo>
                    <a:lnTo>
                      <a:pt x="147" y="189"/>
                    </a:lnTo>
                    <a:lnTo>
                      <a:pt x="147" y="187"/>
                    </a:lnTo>
                    <a:lnTo>
                      <a:pt x="147" y="185"/>
                    </a:lnTo>
                    <a:lnTo>
                      <a:pt x="145" y="185"/>
                    </a:lnTo>
                    <a:lnTo>
                      <a:pt x="147" y="183"/>
                    </a:lnTo>
                    <a:lnTo>
                      <a:pt x="149" y="183"/>
                    </a:lnTo>
                    <a:lnTo>
                      <a:pt x="149" y="181"/>
                    </a:lnTo>
                    <a:lnTo>
                      <a:pt x="151" y="181"/>
                    </a:lnTo>
                    <a:lnTo>
                      <a:pt x="153" y="181"/>
                    </a:lnTo>
                    <a:lnTo>
                      <a:pt x="153" y="179"/>
                    </a:lnTo>
                    <a:lnTo>
                      <a:pt x="153" y="178"/>
                    </a:lnTo>
                    <a:lnTo>
                      <a:pt x="151" y="178"/>
                    </a:lnTo>
                    <a:lnTo>
                      <a:pt x="151" y="176"/>
                    </a:lnTo>
                    <a:lnTo>
                      <a:pt x="149" y="174"/>
                    </a:lnTo>
                    <a:lnTo>
                      <a:pt x="149" y="170"/>
                    </a:lnTo>
                    <a:lnTo>
                      <a:pt x="149" y="168"/>
                    </a:lnTo>
                    <a:lnTo>
                      <a:pt x="147" y="166"/>
                    </a:lnTo>
                    <a:lnTo>
                      <a:pt x="147" y="164"/>
                    </a:lnTo>
                    <a:lnTo>
                      <a:pt x="145" y="162"/>
                    </a:lnTo>
                    <a:lnTo>
                      <a:pt x="145" y="158"/>
                    </a:lnTo>
                    <a:lnTo>
                      <a:pt x="145" y="157"/>
                    </a:lnTo>
                    <a:lnTo>
                      <a:pt x="143" y="157"/>
                    </a:lnTo>
                    <a:lnTo>
                      <a:pt x="143" y="155"/>
                    </a:lnTo>
                    <a:lnTo>
                      <a:pt x="141" y="155"/>
                    </a:lnTo>
                    <a:lnTo>
                      <a:pt x="140" y="157"/>
                    </a:lnTo>
                    <a:lnTo>
                      <a:pt x="138" y="155"/>
                    </a:lnTo>
                    <a:lnTo>
                      <a:pt x="136" y="153"/>
                    </a:lnTo>
                    <a:lnTo>
                      <a:pt x="134" y="153"/>
                    </a:lnTo>
                    <a:lnTo>
                      <a:pt x="134" y="151"/>
                    </a:lnTo>
                    <a:lnTo>
                      <a:pt x="132" y="151"/>
                    </a:lnTo>
                    <a:lnTo>
                      <a:pt x="132" y="149"/>
                    </a:lnTo>
                    <a:lnTo>
                      <a:pt x="134" y="149"/>
                    </a:lnTo>
                    <a:lnTo>
                      <a:pt x="134" y="147"/>
                    </a:lnTo>
                    <a:lnTo>
                      <a:pt x="132" y="143"/>
                    </a:lnTo>
                    <a:lnTo>
                      <a:pt x="130" y="141"/>
                    </a:lnTo>
                    <a:lnTo>
                      <a:pt x="128" y="141"/>
                    </a:lnTo>
                    <a:lnTo>
                      <a:pt x="128" y="143"/>
                    </a:lnTo>
                    <a:lnTo>
                      <a:pt x="126" y="143"/>
                    </a:lnTo>
                    <a:lnTo>
                      <a:pt x="124" y="143"/>
                    </a:lnTo>
                    <a:lnTo>
                      <a:pt x="122" y="143"/>
                    </a:lnTo>
                    <a:lnTo>
                      <a:pt x="124" y="143"/>
                    </a:lnTo>
                    <a:lnTo>
                      <a:pt x="124" y="141"/>
                    </a:lnTo>
                    <a:lnTo>
                      <a:pt x="124" y="139"/>
                    </a:lnTo>
                    <a:lnTo>
                      <a:pt x="122" y="137"/>
                    </a:lnTo>
                    <a:lnTo>
                      <a:pt x="120" y="137"/>
                    </a:lnTo>
                    <a:lnTo>
                      <a:pt x="122" y="139"/>
                    </a:lnTo>
                    <a:lnTo>
                      <a:pt x="120" y="139"/>
                    </a:lnTo>
                    <a:lnTo>
                      <a:pt x="119" y="139"/>
                    </a:lnTo>
                    <a:lnTo>
                      <a:pt x="119" y="137"/>
                    </a:lnTo>
                    <a:lnTo>
                      <a:pt x="117" y="136"/>
                    </a:lnTo>
                    <a:lnTo>
                      <a:pt x="117" y="134"/>
                    </a:lnTo>
                    <a:lnTo>
                      <a:pt x="115" y="134"/>
                    </a:lnTo>
                    <a:lnTo>
                      <a:pt x="115" y="132"/>
                    </a:lnTo>
                    <a:lnTo>
                      <a:pt x="113" y="130"/>
                    </a:lnTo>
                    <a:lnTo>
                      <a:pt x="111" y="130"/>
                    </a:lnTo>
                    <a:lnTo>
                      <a:pt x="107" y="130"/>
                    </a:lnTo>
                    <a:lnTo>
                      <a:pt x="105" y="128"/>
                    </a:lnTo>
                    <a:lnTo>
                      <a:pt x="105" y="130"/>
                    </a:lnTo>
                    <a:lnTo>
                      <a:pt x="103" y="130"/>
                    </a:lnTo>
                    <a:lnTo>
                      <a:pt x="101" y="130"/>
                    </a:lnTo>
                    <a:lnTo>
                      <a:pt x="101" y="128"/>
                    </a:lnTo>
                    <a:lnTo>
                      <a:pt x="99" y="128"/>
                    </a:lnTo>
                    <a:lnTo>
                      <a:pt x="99" y="126"/>
                    </a:lnTo>
                    <a:lnTo>
                      <a:pt x="98" y="126"/>
                    </a:lnTo>
                    <a:lnTo>
                      <a:pt x="96" y="126"/>
                    </a:lnTo>
                    <a:lnTo>
                      <a:pt x="94" y="124"/>
                    </a:lnTo>
                    <a:lnTo>
                      <a:pt x="92" y="122"/>
                    </a:lnTo>
                    <a:lnTo>
                      <a:pt x="90" y="120"/>
                    </a:lnTo>
                    <a:lnTo>
                      <a:pt x="90" y="118"/>
                    </a:lnTo>
                    <a:lnTo>
                      <a:pt x="88" y="118"/>
                    </a:lnTo>
                    <a:lnTo>
                      <a:pt x="88" y="116"/>
                    </a:lnTo>
                    <a:lnTo>
                      <a:pt x="88" y="115"/>
                    </a:lnTo>
                    <a:lnTo>
                      <a:pt x="86" y="115"/>
                    </a:lnTo>
                    <a:lnTo>
                      <a:pt x="84" y="113"/>
                    </a:lnTo>
                    <a:lnTo>
                      <a:pt x="82" y="113"/>
                    </a:lnTo>
                    <a:lnTo>
                      <a:pt x="82" y="111"/>
                    </a:lnTo>
                    <a:lnTo>
                      <a:pt x="80" y="111"/>
                    </a:lnTo>
                    <a:lnTo>
                      <a:pt x="80" y="109"/>
                    </a:lnTo>
                    <a:lnTo>
                      <a:pt x="79" y="107"/>
                    </a:lnTo>
                    <a:lnTo>
                      <a:pt x="77" y="105"/>
                    </a:lnTo>
                    <a:lnTo>
                      <a:pt x="75" y="105"/>
                    </a:lnTo>
                    <a:lnTo>
                      <a:pt x="73" y="105"/>
                    </a:lnTo>
                    <a:lnTo>
                      <a:pt x="71" y="105"/>
                    </a:lnTo>
                    <a:lnTo>
                      <a:pt x="71" y="103"/>
                    </a:lnTo>
                    <a:lnTo>
                      <a:pt x="73" y="105"/>
                    </a:lnTo>
                    <a:lnTo>
                      <a:pt x="73" y="103"/>
                    </a:lnTo>
                    <a:lnTo>
                      <a:pt x="73" y="101"/>
                    </a:lnTo>
                    <a:lnTo>
                      <a:pt x="71" y="101"/>
                    </a:lnTo>
                    <a:lnTo>
                      <a:pt x="71" y="99"/>
                    </a:lnTo>
                    <a:lnTo>
                      <a:pt x="69" y="99"/>
                    </a:lnTo>
                    <a:lnTo>
                      <a:pt x="69" y="97"/>
                    </a:lnTo>
                    <a:lnTo>
                      <a:pt x="67" y="97"/>
                    </a:lnTo>
                    <a:lnTo>
                      <a:pt x="65" y="97"/>
                    </a:lnTo>
                    <a:lnTo>
                      <a:pt x="65" y="96"/>
                    </a:lnTo>
                    <a:lnTo>
                      <a:pt x="65" y="94"/>
                    </a:lnTo>
                    <a:lnTo>
                      <a:pt x="63" y="94"/>
                    </a:lnTo>
                    <a:lnTo>
                      <a:pt x="61" y="94"/>
                    </a:lnTo>
                    <a:lnTo>
                      <a:pt x="61" y="92"/>
                    </a:lnTo>
                    <a:lnTo>
                      <a:pt x="61" y="90"/>
                    </a:lnTo>
                    <a:lnTo>
                      <a:pt x="61" y="86"/>
                    </a:lnTo>
                    <a:lnTo>
                      <a:pt x="61" y="84"/>
                    </a:lnTo>
                    <a:lnTo>
                      <a:pt x="59" y="84"/>
                    </a:lnTo>
                    <a:lnTo>
                      <a:pt x="61" y="84"/>
                    </a:lnTo>
                    <a:lnTo>
                      <a:pt x="59" y="84"/>
                    </a:lnTo>
                    <a:lnTo>
                      <a:pt x="59" y="82"/>
                    </a:lnTo>
                    <a:lnTo>
                      <a:pt x="58" y="80"/>
                    </a:lnTo>
                    <a:lnTo>
                      <a:pt x="59" y="80"/>
                    </a:lnTo>
                    <a:lnTo>
                      <a:pt x="58" y="80"/>
                    </a:lnTo>
                    <a:lnTo>
                      <a:pt x="58" y="76"/>
                    </a:lnTo>
                    <a:lnTo>
                      <a:pt x="58" y="73"/>
                    </a:lnTo>
                    <a:lnTo>
                      <a:pt x="56" y="71"/>
                    </a:lnTo>
                    <a:lnTo>
                      <a:pt x="54" y="69"/>
                    </a:lnTo>
                    <a:lnTo>
                      <a:pt x="52" y="67"/>
                    </a:lnTo>
                    <a:lnTo>
                      <a:pt x="50" y="69"/>
                    </a:lnTo>
                    <a:lnTo>
                      <a:pt x="52" y="69"/>
                    </a:lnTo>
                    <a:lnTo>
                      <a:pt x="48" y="67"/>
                    </a:lnTo>
                    <a:lnTo>
                      <a:pt x="46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37" y="61"/>
                    </a:lnTo>
                    <a:lnTo>
                      <a:pt x="35" y="61"/>
                    </a:lnTo>
                    <a:lnTo>
                      <a:pt x="33" y="61"/>
                    </a:lnTo>
                    <a:lnTo>
                      <a:pt x="29" y="63"/>
                    </a:lnTo>
                    <a:lnTo>
                      <a:pt x="29" y="65"/>
                    </a:lnTo>
                    <a:lnTo>
                      <a:pt x="25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73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7" y="69"/>
                    </a:lnTo>
                    <a:lnTo>
                      <a:pt x="16" y="67"/>
                    </a:lnTo>
                    <a:lnTo>
                      <a:pt x="17" y="67"/>
                    </a:lnTo>
                    <a:lnTo>
                      <a:pt x="16" y="67"/>
                    </a:lnTo>
                    <a:lnTo>
                      <a:pt x="14" y="67"/>
                    </a:lnTo>
                    <a:lnTo>
                      <a:pt x="12" y="67"/>
                    </a:lnTo>
                    <a:lnTo>
                      <a:pt x="10" y="67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4" y="63"/>
                    </a:lnTo>
                    <a:lnTo>
                      <a:pt x="4" y="61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6" y="55"/>
                    </a:lnTo>
                    <a:lnTo>
                      <a:pt x="4" y="55"/>
                    </a:lnTo>
                    <a:lnTo>
                      <a:pt x="6" y="55"/>
                    </a:lnTo>
                    <a:lnTo>
                      <a:pt x="8" y="55"/>
                    </a:lnTo>
                    <a:lnTo>
                      <a:pt x="6" y="54"/>
                    </a:lnTo>
                    <a:lnTo>
                      <a:pt x="6" y="52"/>
                    </a:lnTo>
                    <a:lnTo>
                      <a:pt x="4" y="52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6" y="33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4" y="27"/>
                    </a:lnTo>
                    <a:lnTo>
                      <a:pt x="14" y="25"/>
                    </a:lnTo>
                    <a:lnTo>
                      <a:pt x="16" y="25"/>
                    </a:lnTo>
                    <a:lnTo>
                      <a:pt x="17" y="27"/>
                    </a:lnTo>
                    <a:lnTo>
                      <a:pt x="19" y="27"/>
                    </a:lnTo>
                    <a:lnTo>
                      <a:pt x="19" y="25"/>
                    </a:lnTo>
                    <a:lnTo>
                      <a:pt x="21" y="25"/>
                    </a:lnTo>
                    <a:lnTo>
                      <a:pt x="23" y="25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1" y="21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5" y="23"/>
                    </a:lnTo>
                    <a:lnTo>
                      <a:pt x="35" y="25"/>
                    </a:lnTo>
                    <a:lnTo>
                      <a:pt x="37" y="27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7"/>
                    </a:lnTo>
                    <a:lnTo>
                      <a:pt x="37" y="25"/>
                    </a:lnTo>
                    <a:lnTo>
                      <a:pt x="38" y="25"/>
                    </a:lnTo>
                    <a:lnTo>
                      <a:pt x="38" y="23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4" y="17"/>
                    </a:lnTo>
                    <a:lnTo>
                      <a:pt x="46" y="17"/>
                    </a:lnTo>
                    <a:lnTo>
                      <a:pt x="48" y="19"/>
                    </a:lnTo>
                    <a:lnTo>
                      <a:pt x="48" y="17"/>
                    </a:lnTo>
                    <a:lnTo>
                      <a:pt x="48" y="19"/>
                    </a:lnTo>
                    <a:lnTo>
                      <a:pt x="50" y="17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4" y="19"/>
                    </a:lnTo>
                    <a:lnTo>
                      <a:pt x="54" y="21"/>
                    </a:lnTo>
                    <a:lnTo>
                      <a:pt x="56" y="19"/>
                    </a:lnTo>
                    <a:lnTo>
                      <a:pt x="56" y="17"/>
                    </a:lnTo>
                    <a:lnTo>
                      <a:pt x="56" y="15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1" y="10"/>
                    </a:lnTo>
                    <a:lnTo>
                      <a:pt x="59" y="10"/>
                    </a:lnTo>
                    <a:lnTo>
                      <a:pt x="59" y="8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61" y="6"/>
                    </a:lnTo>
                    <a:lnTo>
                      <a:pt x="63" y="6"/>
                    </a:lnTo>
                    <a:lnTo>
                      <a:pt x="61" y="6"/>
                    </a:lnTo>
                    <a:lnTo>
                      <a:pt x="63" y="6"/>
                    </a:lnTo>
                    <a:lnTo>
                      <a:pt x="65" y="6"/>
                    </a:lnTo>
                    <a:lnTo>
                      <a:pt x="65" y="8"/>
                    </a:lnTo>
                    <a:lnTo>
                      <a:pt x="65" y="6"/>
                    </a:lnTo>
                    <a:lnTo>
                      <a:pt x="67" y="8"/>
                    </a:lnTo>
                    <a:lnTo>
                      <a:pt x="69" y="8"/>
                    </a:lnTo>
                    <a:lnTo>
                      <a:pt x="71" y="6"/>
                    </a:lnTo>
                    <a:lnTo>
                      <a:pt x="71" y="4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79" y="2"/>
                    </a:lnTo>
                    <a:lnTo>
                      <a:pt x="80" y="2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88" y="2"/>
                    </a:lnTo>
                    <a:lnTo>
                      <a:pt x="88" y="4"/>
                    </a:lnTo>
                    <a:lnTo>
                      <a:pt x="88" y="6"/>
                    </a:lnTo>
                    <a:lnTo>
                      <a:pt x="90" y="4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6" y="10"/>
                    </a:lnTo>
                    <a:lnTo>
                      <a:pt x="98" y="10"/>
                    </a:lnTo>
                    <a:lnTo>
                      <a:pt x="99" y="12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7" y="12"/>
                    </a:lnTo>
                    <a:lnTo>
                      <a:pt x="109" y="12"/>
                    </a:lnTo>
                    <a:lnTo>
                      <a:pt x="109" y="13"/>
                    </a:lnTo>
                    <a:lnTo>
                      <a:pt x="111" y="12"/>
                    </a:lnTo>
                    <a:lnTo>
                      <a:pt x="111" y="13"/>
                    </a:lnTo>
                    <a:lnTo>
                      <a:pt x="113" y="13"/>
                    </a:lnTo>
                    <a:close/>
                    <a:moveTo>
                      <a:pt x="92" y="71"/>
                    </a:moveTo>
                    <a:lnTo>
                      <a:pt x="94" y="71"/>
                    </a:lnTo>
                    <a:lnTo>
                      <a:pt x="94" y="73"/>
                    </a:lnTo>
                    <a:lnTo>
                      <a:pt x="92" y="73"/>
                    </a:lnTo>
                    <a:lnTo>
                      <a:pt x="92" y="71"/>
                    </a:lnTo>
                    <a:close/>
                    <a:moveTo>
                      <a:pt x="141" y="191"/>
                    </a:moveTo>
                    <a:lnTo>
                      <a:pt x="143" y="191"/>
                    </a:lnTo>
                    <a:lnTo>
                      <a:pt x="141" y="191"/>
                    </a:lnTo>
                    <a:lnTo>
                      <a:pt x="141" y="193"/>
                    </a:lnTo>
                    <a:lnTo>
                      <a:pt x="141" y="195"/>
                    </a:lnTo>
                    <a:lnTo>
                      <a:pt x="138" y="199"/>
                    </a:lnTo>
                    <a:lnTo>
                      <a:pt x="138" y="200"/>
                    </a:lnTo>
                    <a:lnTo>
                      <a:pt x="136" y="202"/>
                    </a:lnTo>
                    <a:lnTo>
                      <a:pt x="136" y="204"/>
                    </a:lnTo>
                    <a:lnTo>
                      <a:pt x="136" y="206"/>
                    </a:lnTo>
                    <a:lnTo>
                      <a:pt x="134" y="208"/>
                    </a:lnTo>
                    <a:lnTo>
                      <a:pt x="134" y="206"/>
                    </a:lnTo>
                    <a:lnTo>
                      <a:pt x="134" y="210"/>
                    </a:lnTo>
                    <a:lnTo>
                      <a:pt x="136" y="212"/>
                    </a:lnTo>
                    <a:lnTo>
                      <a:pt x="138" y="212"/>
                    </a:lnTo>
                    <a:lnTo>
                      <a:pt x="136" y="212"/>
                    </a:lnTo>
                    <a:lnTo>
                      <a:pt x="136" y="214"/>
                    </a:lnTo>
                    <a:lnTo>
                      <a:pt x="138" y="214"/>
                    </a:lnTo>
                    <a:lnTo>
                      <a:pt x="136" y="214"/>
                    </a:lnTo>
                    <a:lnTo>
                      <a:pt x="138" y="214"/>
                    </a:lnTo>
                    <a:lnTo>
                      <a:pt x="138" y="216"/>
                    </a:lnTo>
                    <a:lnTo>
                      <a:pt x="138" y="218"/>
                    </a:lnTo>
                    <a:lnTo>
                      <a:pt x="138" y="216"/>
                    </a:lnTo>
                    <a:lnTo>
                      <a:pt x="138" y="218"/>
                    </a:lnTo>
                    <a:lnTo>
                      <a:pt x="136" y="218"/>
                    </a:lnTo>
                    <a:lnTo>
                      <a:pt x="136" y="220"/>
                    </a:lnTo>
                    <a:lnTo>
                      <a:pt x="134" y="221"/>
                    </a:lnTo>
                    <a:lnTo>
                      <a:pt x="136" y="223"/>
                    </a:lnTo>
                    <a:lnTo>
                      <a:pt x="134" y="223"/>
                    </a:lnTo>
                    <a:lnTo>
                      <a:pt x="132" y="223"/>
                    </a:lnTo>
                    <a:lnTo>
                      <a:pt x="132" y="221"/>
                    </a:lnTo>
                    <a:lnTo>
                      <a:pt x="130" y="223"/>
                    </a:lnTo>
                    <a:lnTo>
                      <a:pt x="128" y="223"/>
                    </a:lnTo>
                    <a:lnTo>
                      <a:pt x="128" y="221"/>
                    </a:lnTo>
                    <a:lnTo>
                      <a:pt x="124" y="221"/>
                    </a:lnTo>
                    <a:lnTo>
                      <a:pt x="124" y="220"/>
                    </a:lnTo>
                    <a:lnTo>
                      <a:pt x="122" y="218"/>
                    </a:lnTo>
                    <a:lnTo>
                      <a:pt x="120" y="216"/>
                    </a:lnTo>
                    <a:lnTo>
                      <a:pt x="119" y="214"/>
                    </a:lnTo>
                    <a:lnTo>
                      <a:pt x="117" y="214"/>
                    </a:lnTo>
                    <a:lnTo>
                      <a:pt x="117" y="216"/>
                    </a:lnTo>
                    <a:lnTo>
                      <a:pt x="115" y="216"/>
                    </a:lnTo>
                    <a:lnTo>
                      <a:pt x="115" y="214"/>
                    </a:lnTo>
                    <a:lnTo>
                      <a:pt x="113" y="214"/>
                    </a:lnTo>
                    <a:lnTo>
                      <a:pt x="111" y="214"/>
                    </a:lnTo>
                    <a:lnTo>
                      <a:pt x="111" y="212"/>
                    </a:lnTo>
                    <a:lnTo>
                      <a:pt x="109" y="212"/>
                    </a:lnTo>
                    <a:lnTo>
                      <a:pt x="107" y="210"/>
                    </a:lnTo>
                    <a:lnTo>
                      <a:pt x="105" y="210"/>
                    </a:lnTo>
                    <a:lnTo>
                      <a:pt x="105" y="208"/>
                    </a:lnTo>
                    <a:lnTo>
                      <a:pt x="103" y="206"/>
                    </a:lnTo>
                    <a:lnTo>
                      <a:pt x="101" y="206"/>
                    </a:lnTo>
                    <a:lnTo>
                      <a:pt x="99" y="206"/>
                    </a:lnTo>
                    <a:lnTo>
                      <a:pt x="98" y="206"/>
                    </a:lnTo>
                    <a:lnTo>
                      <a:pt x="96" y="206"/>
                    </a:lnTo>
                    <a:lnTo>
                      <a:pt x="96" y="204"/>
                    </a:lnTo>
                    <a:lnTo>
                      <a:pt x="94" y="204"/>
                    </a:lnTo>
                    <a:lnTo>
                      <a:pt x="94" y="202"/>
                    </a:lnTo>
                    <a:lnTo>
                      <a:pt x="92" y="200"/>
                    </a:lnTo>
                    <a:lnTo>
                      <a:pt x="94" y="200"/>
                    </a:lnTo>
                    <a:lnTo>
                      <a:pt x="92" y="199"/>
                    </a:lnTo>
                    <a:lnTo>
                      <a:pt x="94" y="199"/>
                    </a:lnTo>
                    <a:lnTo>
                      <a:pt x="94" y="197"/>
                    </a:lnTo>
                    <a:lnTo>
                      <a:pt x="94" y="195"/>
                    </a:lnTo>
                    <a:lnTo>
                      <a:pt x="96" y="195"/>
                    </a:lnTo>
                    <a:lnTo>
                      <a:pt x="98" y="195"/>
                    </a:lnTo>
                    <a:lnTo>
                      <a:pt x="98" y="193"/>
                    </a:lnTo>
                    <a:lnTo>
                      <a:pt x="98" y="195"/>
                    </a:lnTo>
                    <a:lnTo>
                      <a:pt x="99" y="197"/>
                    </a:lnTo>
                    <a:lnTo>
                      <a:pt x="101" y="197"/>
                    </a:lnTo>
                    <a:lnTo>
                      <a:pt x="103" y="195"/>
                    </a:lnTo>
                    <a:lnTo>
                      <a:pt x="101" y="195"/>
                    </a:lnTo>
                    <a:lnTo>
                      <a:pt x="103" y="195"/>
                    </a:lnTo>
                    <a:lnTo>
                      <a:pt x="103" y="193"/>
                    </a:lnTo>
                    <a:lnTo>
                      <a:pt x="105" y="193"/>
                    </a:lnTo>
                    <a:lnTo>
                      <a:pt x="107" y="193"/>
                    </a:lnTo>
                    <a:lnTo>
                      <a:pt x="107" y="195"/>
                    </a:lnTo>
                    <a:lnTo>
                      <a:pt x="109" y="195"/>
                    </a:lnTo>
                    <a:lnTo>
                      <a:pt x="111" y="197"/>
                    </a:lnTo>
                    <a:lnTo>
                      <a:pt x="113" y="197"/>
                    </a:lnTo>
                    <a:lnTo>
                      <a:pt x="115" y="197"/>
                    </a:lnTo>
                    <a:lnTo>
                      <a:pt x="117" y="197"/>
                    </a:lnTo>
                    <a:lnTo>
                      <a:pt x="119" y="197"/>
                    </a:lnTo>
                    <a:lnTo>
                      <a:pt x="122" y="197"/>
                    </a:lnTo>
                    <a:lnTo>
                      <a:pt x="124" y="197"/>
                    </a:lnTo>
                    <a:lnTo>
                      <a:pt x="126" y="197"/>
                    </a:lnTo>
                    <a:lnTo>
                      <a:pt x="128" y="195"/>
                    </a:lnTo>
                    <a:lnTo>
                      <a:pt x="128" y="193"/>
                    </a:lnTo>
                    <a:lnTo>
                      <a:pt x="130" y="193"/>
                    </a:lnTo>
                    <a:lnTo>
                      <a:pt x="132" y="193"/>
                    </a:lnTo>
                    <a:lnTo>
                      <a:pt x="134" y="193"/>
                    </a:lnTo>
                    <a:lnTo>
                      <a:pt x="134" y="195"/>
                    </a:lnTo>
                    <a:lnTo>
                      <a:pt x="136" y="195"/>
                    </a:lnTo>
                    <a:lnTo>
                      <a:pt x="136" y="193"/>
                    </a:lnTo>
                    <a:lnTo>
                      <a:pt x="138" y="193"/>
                    </a:lnTo>
                    <a:lnTo>
                      <a:pt x="136" y="191"/>
                    </a:lnTo>
                    <a:lnTo>
                      <a:pt x="138" y="191"/>
                    </a:lnTo>
                    <a:lnTo>
                      <a:pt x="138" y="193"/>
                    </a:lnTo>
                    <a:lnTo>
                      <a:pt x="140" y="193"/>
                    </a:lnTo>
                    <a:lnTo>
                      <a:pt x="141" y="191"/>
                    </a:lnTo>
                    <a:close/>
                    <a:moveTo>
                      <a:pt x="40" y="130"/>
                    </a:moveTo>
                    <a:lnTo>
                      <a:pt x="42" y="130"/>
                    </a:lnTo>
                    <a:lnTo>
                      <a:pt x="42" y="132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2" y="130"/>
                    </a:lnTo>
                    <a:lnTo>
                      <a:pt x="42" y="132"/>
                    </a:lnTo>
                    <a:lnTo>
                      <a:pt x="42" y="130"/>
                    </a:lnTo>
                    <a:lnTo>
                      <a:pt x="44" y="130"/>
                    </a:lnTo>
                    <a:lnTo>
                      <a:pt x="44" y="132"/>
                    </a:lnTo>
                    <a:lnTo>
                      <a:pt x="44" y="134"/>
                    </a:lnTo>
                    <a:lnTo>
                      <a:pt x="44" y="132"/>
                    </a:lnTo>
                    <a:lnTo>
                      <a:pt x="46" y="132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8" y="134"/>
                    </a:lnTo>
                    <a:lnTo>
                      <a:pt x="48" y="136"/>
                    </a:lnTo>
                    <a:lnTo>
                      <a:pt x="46" y="136"/>
                    </a:lnTo>
                    <a:lnTo>
                      <a:pt x="48" y="136"/>
                    </a:lnTo>
                    <a:lnTo>
                      <a:pt x="46" y="136"/>
                    </a:lnTo>
                    <a:lnTo>
                      <a:pt x="46" y="137"/>
                    </a:lnTo>
                    <a:lnTo>
                      <a:pt x="48" y="137"/>
                    </a:lnTo>
                    <a:lnTo>
                      <a:pt x="50" y="137"/>
                    </a:lnTo>
                    <a:lnTo>
                      <a:pt x="48" y="137"/>
                    </a:lnTo>
                    <a:lnTo>
                      <a:pt x="48" y="139"/>
                    </a:lnTo>
                    <a:lnTo>
                      <a:pt x="50" y="139"/>
                    </a:lnTo>
                    <a:lnTo>
                      <a:pt x="50" y="141"/>
                    </a:lnTo>
                    <a:lnTo>
                      <a:pt x="50" y="143"/>
                    </a:lnTo>
                    <a:lnTo>
                      <a:pt x="50" y="145"/>
                    </a:lnTo>
                    <a:lnTo>
                      <a:pt x="50" y="147"/>
                    </a:lnTo>
                    <a:lnTo>
                      <a:pt x="48" y="149"/>
                    </a:lnTo>
                    <a:lnTo>
                      <a:pt x="48" y="151"/>
                    </a:lnTo>
                    <a:lnTo>
                      <a:pt x="48" y="153"/>
                    </a:lnTo>
                    <a:lnTo>
                      <a:pt x="50" y="155"/>
                    </a:lnTo>
                    <a:lnTo>
                      <a:pt x="48" y="157"/>
                    </a:lnTo>
                    <a:lnTo>
                      <a:pt x="50" y="157"/>
                    </a:lnTo>
                    <a:lnTo>
                      <a:pt x="48" y="158"/>
                    </a:lnTo>
                    <a:lnTo>
                      <a:pt x="48" y="160"/>
                    </a:lnTo>
                    <a:lnTo>
                      <a:pt x="48" y="162"/>
                    </a:lnTo>
                    <a:lnTo>
                      <a:pt x="48" y="164"/>
                    </a:lnTo>
                    <a:lnTo>
                      <a:pt x="48" y="166"/>
                    </a:lnTo>
                    <a:lnTo>
                      <a:pt x="48" y="168"/>
                    </a:lnTo>
                    <a:lnTo>
                      <a:pt x="48" y="170"/>
                    </a:lnTo>
                    <a:lnTo>
                      <a:pt x="46" y="170"/>
                    </a:lnTo>
                    <a:lnTo>
                      <a:pt x="48" y="170"/>
                    </a:lnTo>
                    <a:lnTo>
                      <a:pt x="46" y="172"/>
                    </a:lnTo>
                    <a:lnTo>
                      <a:pt x="46" y="174"/>
                    </a:lnTo>
                    <a:lnTo>
                      <a:pt x="44" y="174"/>
                    </a:lnTo>
                    <a:lnTo>
                      <a:pt x="42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8" y="174"/>
                    </a:lnTo>
                    <a:lnTo>
                      <a:pt x="38" y="176"/>
                    </a:lnTo>
                    <a:lnTo>
                      <a:pt x="38" y="178"/>
                    </a:lnTo>
                    <a:lnTo>
                      <a:pt x="35" y="179"/>
                    </a:lnTo>
                    <a:lnTo>
                      <a:pt x="35" y="178"/>
                    </a:lnTo>
                    <a:lnTo>
                      <a:pt x="35" y="179"/>
                    </a:lnTo>
                    <a:lnTo>
                      <a:pt x="35" y="178"/>
                    </a:lnTo>
                    <a:lnTo>
                      <a:pt x="33" y="178"/>
                    </a:lnTo>
                    <a:lnTo>
                      <a:pt x="33" y="179"/>
                    </a:lnTo>
                    <a:lnTo>
                      <a:pt x="31" y="179"/>
                    </a:lnTo>
                    <a:lnTo>
                      <a:pt x="31" y="178"/>
                    </a:lnTo>
                    <a:lnTo>
                      <a:pt x="31" y="176"/>
                    </a:lnTo>
                    <a:lnTo>
                      <a:pt x="29" y="176"/>
                    </a:lnTo>
                    <a:lnTo>
                      <a:pt x="29" y="174"/>
                    </a:lnTo>
                    <a:lnTo>
                      <a:pt x="29" y="172"/>
                    </a:lnTo>
                    <a:lnTo>
                      <a:pt x="27" y="172"/>
                    </a:lnTo>
                    <a:lnTo>
                      <a:pt x="29" y="170"/>
                    </a:lnTo>
                    <a:lnTo>
                      <a:pt x="27" y="168"/>
                    </a:lnTo>
                    <a:lnTo>
                      <a:pt x="29" y="168"/>
                    </a:lnTo>
                    <a:lnTo>
                      <a:pt x="27" y="168"/>
                    </a:lnTo>
                    <a:lnTo>
                      <a:pt x="27" y="166"/>
                    </a:lnTo>
                    <a:lnTo>
                      <a:pt x="29" y="166"/>
                    </a:lnTo>
                    <a:lnTo>
                      <a:pt x="29" y="164"/>
                    </a:lnTo>
                    <a:lnTo>
                      <a:pt x="29" y="162"/>
                    </a:lnTo>
                    <a:lnTo>
                      <a:pt x="29" y="160"/>
                    </a:lnTo>
                    <a:lnTo>
                      <a:pt x="31" y="162"/>
                    </a:lnTo>
                    <a:lnTo>
                      <a:pt x="29" y="162"/>
                    </a:lnTo>
                    <a:lnTo>
                      <a:pt x="31" y="160"/>
                    </a:lnTo>
                    <a:lnTo>
                      <a:pt x="29" y="160"/>
                    </a:lnTo>
                    <a:lnTo>
                      <a:pt x="31" y="160"/>
                    </a:lnTo>
                    <a:lnTo>
                      <a:pt x="31" y="158"/>
                    </a:lnTo>
                    <a:lnTo>
                      <a:pt x="29" y="158"/>
                    </a:lnTo>
                    <a:lnTo>
                      <a:pt x="31" y="157"/>
                    </a:lnTo>
                    <a:lnTo>
                      <a:pt x="29" y="157"/>
                    </a:lnTo>
                    <a:lnTo>
                      <a:pt x="31" y="157"/>
                    </a:lnTo>
                    <a:lnTo>
                      <a:pt x="29" y="157"/>
                    </a:lnTo>
                    <a:lnTo>
                      <a:pt x="29" y="158"/>
                    </a:lnTo>
                    <a:lnTo>
                      <a:pt x="27" y="157"/>
                    </a:lnTo>
                    <a:lnTo>
                      <a:pt x="29" y="155"/>
                    </a:lnTo>
                    <a:lnTo>
                      <a:pt x="27" y="155"/>
                    </a:lnTo>
                    <a:lnTo>
                      <a:pt x="29" y="155"/>
                    </a:lnTo>
                    <a:lnTo>
                      <a:pt x="29" y="153"/>
                    </a:lnTo>
                    <a:lnTo>
                      <a:pt x="29" y="151"/>
                    </a:lnTo>
                    <a:lnTo>
                      <a:pt x="29" y="149"/>
                    </a:lnTo>
                    <a:lnTo>
                      <a:pt x="27" y="149"/>
                    </a:lnTo>
                    <a:lnTo>
                      <a:pt x="29" y="147"/>
                    </a:lnTo>
                    <a:lnTo>
                      <a:pt x="27" y="145"/>
                    </a:lnTo>
                    <a:lnTo>
                      <a:pt x="27" y="143"/>
                    </a:lnTo>
                    <a:lnTo>
                      <a:pt x="25" y="143"/>
                    </a:lnTo>
                    <a:lnTo>
                      <a:pt x="25" y="14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25" y="141"/>
                    </a:lnTo>
                    <a:lnTo>
                      <a:pt x="23" y="141"/>
                    </a:lnTo>
                    <a:lnTo>
                      <a:pt x="25" y="139"/>
                    </a:lnTo>
                    <a:lnTo>
                      <a:pt x="25" y="137"/>
                    </a:lnTo>
                    <a:lnTo>
                      <a:pt x="25" y="136"/>
                    </a:lnTo>
                    <a:lnTo>
                      <a:pt x="25" y="137"/>
                    </a:lnTo>
                    <a:lnTo>
                      <a:pt x="27" y="137"/>
                    </a:lnTo>
                    <a:lnTo>
                      <a:pt x="29" y="137"/>
                    </a:lnTo>
                    <a:lnTo>
                      <a:pt x="29" y="139"/>
                    </a:lnTo>
                    <a:lnTo>
                      <a:pt x="31" y="139"/>
                    </a:lnTo>
                    <a:lnTo>
                      <a:pt x="33" y="137"/>
                    </a:lnTo>
                    <a:lnTo>
                      <a:pt x="35" y="136"/>
                    </a:lnTo>
                    <a:lnTo>
                      <a:pt x="37" y="136"/>
                    </a:lnTo>
                    <a:lnTo>
                      <a:pt x="37" y="134"/>
                    </a:lnTo>
                    <a:lnTo>
                      <a:pt x="38" y="132"/>
                    </a:lnTo>
                    <a:lnTo>
                      <a:pt x="40" y="132"/>
                    </a:lnTo>
                    <a:lnTo>
                      <a:pt x="40" y="130"/>
                    </a:lnTo>
                    <a:close/>
                    <a:moveTo>
                      <a:pt x="59" y="96"/>
                    </a:moveTo>
                    <a:lnTo>
                      <a:pt x="61" y="96"/>
                    </a:lnTo>
                    <a:lnTo>
                      <a:pt x="61" y="97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59" y="99"/>
                    </a:lnTo>
                    <a:lnTo>
                      <a:pt x="59" y="97"/>
                    </a:lnTo>
                    <a:lnTo>
                      <a:pt x="58" y="97"/>
                    </a:lnTo>
                    <a:lnTo>
                      <a:pt x="56" y="97"/>
                    </a:lnTo>
                    <a:lnTo>
                      <a:pt x="56" y="96"/>
                    </a:lnTo>
                    <a:lnTo>
                      <a:pt x="58" y="97"/>
                    </a:lnTo>
                    <a:lnTo>
                      <a:pt x="58" y="96"/>
                    </a:lnTo>
                    <a:lnTo>
                      <a:pt x="59" y="96"/>
                    </a:lnTo>
                    <a:lnTo>
                      <a:pt x="59" y="97"/>
                    </a:lnTo>
                    <a:lnTo>
                      <a:pt x="59" y="96"/>
                    </a:lnTo>
                    <a:close/>
                    <a:moveTo>
                      <a:pt x="27" y="174"/>
                    </a:moveTo>
                    <a:lnTo>
                      <a:pt x="29" y="174"/>
                    </a:lnTo>
                    <a:lnTo>
                      <a:pt x="29" y="178"/>
                    </a:lnTo>
                    <a:lnTo>
                      <a:pt x="27" y="178"/>
                    </a:lnTo>
                    <a:lnTo>
                      <a:pt x="27" y="174"/>
                    </a:lnTo>
                    <a:close/>
                    <a:moveTo>
                      <a:pt x="84" y="220"/>
                    </a:moveTo>
                    <a:lnTo>
                      <a:pt x="86" y="220"/>
                    </a:lnTo>
                    <a:lnTo>
                      <a:pt x="86" y="221"/>
                    </a:lnTo>
                    <a:lnTo>
                      <a:pt x="84" y="221"/>
                    </a:lnTo>
                    <a:lnTo>
                      <a:pt x="84" y="220"/>
                    </a:lnTo>
                    <a:close/>
                    <a:moveTo>
                      <a:pt x="25" y="132"/>
                    </a:moveTo>
                    <a:lnTo>
                      <a:pt x="27" y="132"/>
                    </a:lnTo>
                    <a:lnTo>
                      <a:pt x="27" y="136"/>
                    </a:lnTo>
                    <a:lnTo>
                      <a:pt x="25" y="136"/>
                    </a:lnTo>
                    <a:lnTo>
                      <a:pt x="25" y="132"/>
                    </a:lnTo>
                    <a:close/>
                    <a:moveTo>
                      <a:pt x="25" y="172"/>
                    </a:moveTo>
                    <a:lnTo>
                      <a:pt x="27" y="172"/>
                    </a:lnTo>
                    <a:lnTo>
                      <a:pt x="27" y="174"/>
                    </a:lnTo>
                    <a:lnTo>
                      <a:pt x="25" y="174"/>
                    </a:lnTo>
                    <a:lnTo>
                      <a:pt x="25" y="172"/>
                    </a:lnTo>
                    <a:close/>
                    <a:moveTo>
                      <a:pt x="115" y="139"/>
                    </a:moveTo>
                    <a:lnTo>
                      <a:pt x="117" y="139"/>
                    </a:lnTo>
                    <a:lnTo>
                      <a:pt x="117" y="141"/>
                    </a:lnTo>
                    <a:lnTo>
                      <a:pt x="115" y="141"/>
                    </a:lnTo>
                    <a:lnTo>
                      <a:pt x="115" y="139"/>
                    </a:lnTo>
                    <a:close/>
                    <a:moveTo>
                      <a:pt x="130" y="185"/>
                    </a:moveTo>
                    <a:lnTo>
                      <a:pt x="132" y="185"/>
                    </a:lnTo>
                    <a:lnTo>
                      <a:pt x="130" y="185"/>
                    </a:lnTo>
                    <a:close/>
                    <a:moveTo>
                      <a:pt x="67" y="105"/>
                    </a:moveTo>
                    <a:lnTo>
                      <a:pt x="69" y="105"/>
                    </a:lnTo>
                    <a:lnTo>
                      <a:pt x="69" y="107"/>
                    </a:lnTo>
                    <a:lnTo>
                      <a:pt x="67" y="107"/>
                    </a:lnTo>
                    <a:lnTo>
                      <a:pt x="67" y="105"/>
                    </a:lnTo>
                    <a:close/>
                    <a:moveTo>
                      <a:pt x="132" y="189"/>
                    </a:moveTo>
                    <a:lnTo>
                      <a:pt x="134" y="189"/>
                    </a:lnTo>
                    <a:lnTo>
                      <a:pt x="132" y="189"/>
                    </a:lnTo>
                    <a:close/>
                    <a:moveTo>
                      <a:pt x="50" y="90"/>
                    </a:moveTo>
                    <a:lnTo>
                      <a:pt x="52" y="90"/>
                    </a:lnTo>
                    <a:lnTo>
                      <a:pt x="52" y="92"/>
                    </a:lnTo>
                    <a:lnTo>
                      <a:pt x="50" y="92"/>
                    </a:lnTo>
                    <a:lnTo>
                      <a:pt x="50" y="90"/>
                    </a:lnTo>
                    <a:close/>
                    <a:moveTo>
                      <a:pt x="90" y="199"/>
                    </a:moveTo>
                    <a:lnTo>
                      <a:pt x="92" y="199"/>
                    </a:lnTo>
                    <a:lnTo>
                      <a:pt x="90" y="199"/>
                    </a:lnTo>
                    <a:close/>
                    <a:moveTo>
                      <a:pt x="94" y="246"/>
                    </a:moveTo>
                    <a:lnTo>
                      <a:pt x="96" y="246"/>
                    </a:lnTo>
                    <a:lnTo>
                      <a:pt x="94" y="246"/>
                    </a:lnTo>
                    <a:close/>
                    <a:moveTo>
                      <a:pt x="44" y="130"/>
                    </a:moveTo>
                    <a:lnTo>
                      <a:pt x="46" y="130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4" y="130"/>
                    </a:lnTo>
                    <a:close/>
                    <a:moveTo>
                      <a:pt x="136" y="179"/>
                    </a:moveTo>
                    <a:lnTo>
                      <a:pt x="138" y="179"/>
                    </a:lnTo>
                    <a:lnTo>
                      <a:pt x="138" y="181"/>
                    </a:lnTo>
                    <a:lnTo>
                      <a:pt x="136" y="181"/>
                    </a:lnTo>
                    <a:lnTo>
                      <a:pt x="136" y="179"/>
                    </a:lnTo>
                    <a:close/>
                    <a:moveTo>
                      <a:pt x="86" y="197"/>
                    </a:moveTo>
                    <a:lnTo>
                      <a:pt x="86" y="199"/>
                    </a:lnTo>
                    <a:lnTo>
                      <a:pt x="86" y="197"/>
                    </a:lnTo>
                    <a:close/>
                    <a:moveTo>
                      <a:pt x="54" y="101"/>
                    </a:moveTo>
                    <a:lnTo>
                      <a:pt x="56" y="101"/>
                    </a:lnTo>
                    <a:lnTo>
                      <a:pt x="54" y="101"/>
                    </a:lnTo>
                    <a:close/>
                    <a:moveTo>
                      <a:pt x="58" y="107"/>
                    </a:moveTo>
                    <a:lnTo>
                      <a:pt x="59" y="107"/>
                    </a:lnTo>
                    <a:lnTo>
                      <a:pt x="58" y="107"/>
                    </a:lnTo>
                    <a:close/>
                    <a:moveTo>
                      <a:pt x="120" y="143"/>
                    </a:moveTo>
                    <a:lnTo>
                      <a:pt x="120" y="145"/>
                    </a:lnTo>
                    <a:lnTo>
                      <a:pt x="120" y="143"/>
                    </a:lnTo>
                    <a:close/>
                    <a:moveTo>
                      <a:pt x="92" y="36"/>
                    </a:moveTo>
                    <a:lnTo>
                      <a:pt x="94" y="36"/>
                    </a:lnTo>
                    <a:lnTo>
                      <a:pt x="92" y="36"/>
                    </a:lnTo>
                    <a:close/>
                    <a:moveTo>
                      <a:pt x="90" y="38"/>
                    </a:moveTo>
                    <a:lnTo>
                      <a:pt x="92" y="38"/>
                    </a:lnTo>
                    <a:lnTo>
                      <a:pt x="92" y="40"/>
                    </a:lnTo>
                    <a:lnTo>
                      <a:pt x="90" y="40"/>
                    </a:lnTo>
                    <a:lnTo>
                      <a:pt x="90" y="38"/>
                    </a:lnTo>
                    <a:close/>
                    <a:moveTo>
                      <a:pt x="103" y="181"/>
                    </a:moveTo>
                    <a:lnTo>
                      <a:pt x="105" y="181"/>
                    </a:lnTo>
                    <a:lnTo>
                      <a:pt x="105" y="183"/>
                    </a:lnTo>
                    <a:lnTo>
                      <a:pt x="103" y="183"/>
                    </a:lnTo>
                    <a:lnTo>
                      <a:pt x="103" y="181"/>
                    </a:lnTo>
                    <a:close/>
                    <a:moveTo>
                      <a:pt x="99" y="136"/>
                    </a:moveTo>
                    <a:lnTo>
                      <a:pt x="101" y="136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9" y="136"/>
                    </a:lnTo>
                    <a:close/>
                    <a:moveTo>
                      <a:pt x="48" y="137"/>
                    </a:moveTo>
                    <a:lnTo>
                      <a:pt x="50" y="137"/>
                    </a:lnTo>
                    <a:lnTo>
                      <a:pt x="48" y="137"/>
                    </a:lnTo>
                    <a:close/>
                    <a:moveTo>
                      <a:pt x="88" y="40"/>
                    </a:moveTo>
                    <a:lnTo>
                      <a:pt x="88" y="42"/>
                    </a:lnTo>
                    <a:lnTo>
                      <a:pt x="88" y="40"/>
                    </a:lnTo>
                    <a:close/>
                    <a:moveTo>
                      <a:pt x="90" y="197"/>
                    </a:moveTo>
                    <a:lnTo>
                      <a:pt x="92" y="197"/>
                    </a:lnTo>
                    <a:lnTo>
                      <a:pt x="90" y="197"/>
                    </a:lnTo>
                    <a:close/>
                    <a:moveTo>
                      <a:pt x="90" y="46"/>
                    </a:moveTo>
                    <a:lnTo>
                      <a:pt x="92" y="46"/>
                    </a:lnTo>
                    <a:lnTo>
                      <a:pt x="90" y="46"/>
                    </a:lnTo>
                    <a:close/>
                    <a:moveTo>
                      <a:pt x="92" y="199"/>
                    </a:moveTo>
                    <a:lnTo>
                      <a:pt x="92" y="200"/>
                    </a:lnTo>
                    <a:lnTo>
                      <a:pt x="92" y="199"/>
                    </a:lnTo>
                    <a:close/>
                    <a:moveTo>
                      <a:pt x="42" y="130"/>
                    </a:moveTo>
                    <a:lnTo>
                      <a:pt x="44" y="130"/>
                    </a:lnTo>
                    <a:lnTo>
                      <a:pt x="42" y="130"/>
                    </a:lnTo>
                    <a:close/>
                    <a:moveTo>
                      <a:pt x="117" y="139"/>
                    </a:moveTo>
                    <a:lnTo>
                      <a:pt x="119" y="139"/>
                    </a:lnTo>
                    <a:lnTo>
                      <a:pt x="119" y="141"/>
                    </a:lnTo>
                    <a:lnTo>
                      <a:pt x="117" y="141"/>
                    </a:lnTo>
                    <a:lnTo>
                      <a:pt x="117" y="139"/>
                    </a:lnTo>
                    <a:close/>
                    <a:moveTo>
                      <a:pt x="92" y="36"/>
                    </a:moveTo>
                    <a:lnTo>
                      <a:pt x="92" y="38"/>
                    </a:lnTo>
                    <a:lnTo>
                      <a:pt x="92" y="36"/>
                    </a:lnTo>
                    <a:close/>
                    <a:moveTo>
                      <a:pt x="48" y="137"/>
                    </a:moveTo>
                    <a:lnTo>
                      <a:pt x="50" y="137"/>
                    </a:lnTo>
                    <a:lnTo>
                      <a:pt x="48" y="137"/>
                    </a:lnTo>
                    <a:close/>
                    <a:moveTo>
                      <a:pt x="90" y="40"/>
                    </a:moveTo>
                    <a:lnTo>
                      <a:pt x="90" y="42"/>
                    </a:lnTo>
                    <a:lnTo>
                      <a:pt x="90" y="40"/>
                    </a:lnTo>
                    <a:close/>
                    <a:moveTo>
                      <a:pt x="44" y="130"/>
                    </a:moveTo>
                    <a:lnTo>
                      <a:pt x="44" y="132"/>
                    </a:lnTo>
                    <a:lnTo>
                      <a:pt x="44" y="130"/>
                    </a:lnTo>
                    <a:close/>
                    <a:moveTo>
                      <a:pt x="37" y="25"/>
                    </a:moveTo>
                    <a:lnTo>
                      <a:pt x="37" y="27"/>
                    </a:lnTo>
                    <a:lnTo>
                      <a:pt x="37" y="25"/>
                    </a:lnTo>
                    <a:close/>
                    <a:moveTo>
                      <a:pt x="94" y="48"/>
                    </a:moveTo>
                    <a:lnTo>
                      <a:pt x="94" y="50"/>
                    </a:lnTo>
                    <a:lnTo>
                      <a:pt x="94" y="48"/>
                    </a:lnTo>
                    <a:close/>
                    <a:moveTo>
                      <a:pt x="103" y="31"/>
                    </a:moveTo>
                    <a:lnTo>
                      <a:pt x="105" y="31"/>
                    </a:lnTo>
                    <a:lnTo>
                      <a:pt x="105" y="33"/>
                    </a:lnTo>
                    <a:lnTo>
                      <a:pt x="103" y="33"/>
                    </a:lnTo>
                    <a:lnTo>
                      <a:pt x="103" y="31"/>
                    </a:lnTo>
                    <a:close/>
                    <a:moveTo>
                      <a:pt x="42" y="128"/>
                    </a:moveTo>
                    <a:lnTo>
                      <a:pt x="44" y="128"/>
                    </a:lnTo>
                    <a:lnTo>
                      <a:pt x="42" y="128"/>
                    </a:lnTo>
                    <a:close/>
                    <a:moveTo>
                      <a:pt x="92" y="36"/>
                    </a:moveTo>
                    <a:lnTo>
                      <a:pt x="94" y="36"/>
                    </a:lnTo>
                    <a:lnTo>
                      <a:pt x="94" y="38"/>
                    </a:lnTo>
                    <a:lnTo>
                      <a:pt x="92" y="38"/>
                    </a:lnTo>
                    <a:lnTo>
                      <a:pt x="92" y="36"/>
                    </a:lnTo>
                    <a:close/>
                    <a:moveTo>
                      <a:pt x="107" y="139"/>
                    </a:moveTo>
                    <a:lnTo>
                      <a:pt x="109" y="139"/>
                    </a:lnTo>
                    <a:lnTo>
                      <a:pt x="107" y="139"/>
                    </a:lnTo>
                    <a:close/>
                    <a:moveTo>
                      <a:pt x="92" y="46"/>
                    </a:moveTo>
                    <a:lnTo>
                      <a:pt x="92" y="48"/>
                    </a:lnTo>
                    <a:lnTo>
                      <a:pt x="92" y="46"/>
                    </a:lnTo>
                    <a:close/>
                    <a:moveTo>
                      <a:pt x="92" y="48"/>
                    </a:moveTo>
                    <a:lnTo>
                      <a:pt x="94" y="48"/>
                    </a:lnTo>
                    <a:lnTo>
                      <a:pt x="92" y="48"/>
                    </a:lnTo>
                    <a:close/>
                    <a:moveTo>
                      <a:pt x="105" y="31"/>
                    </a:moveTo>
                    <a:lnTo>
                      <a:pt x="105" y="33"/>
                    </a:lnTo>
                    <a:lnTo>
                      <a:pt x="105" y="3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3" name="Freeform 127">
                <a:extLst>
                  <a:ext uri="{FF2B5EF4-FFF2-40B4-BE49-F238E27FC236}">
                    <a16:creationId xmlns:a16="http://schemas.microsoft.com/office/drawing/2014/main" id="{76340983-07FD-175D-8698-F88AB915CF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76549" y="-3096816"/>
                <a:ext cx="44116" cy="99451"/>
              </a:xfrm>
              <a:custGeom>
                <a:avLst/>
                <a:gdLst>
                  <a:gd name="T0" fmla="*/ 15 w 28"/>
                  <a:gd name="T1" fmla="*/ 4 h 63"/>
                  <a:gd name="T2" fmla="*/ 15 w 28"/>
                  <a:gd name="T3" fmla="*/ 8 h 63"/>
                  <a:gd name="T4" fmla="*/ 19 w 28"/>
                  <a:gd name="T5" fmla="*/ 10 h 63"/>
                  <a:gd name="T6" fmla="*/ 21 w 28"/>
                  <a:gd name="T7" fmla="*/ 12 h 63"/>
                  <a:gd name="T8" fmla="*/ 21 w 28"/>
                  <a:gd name="T9" fmla="*/ 16 h 63"/>
                  <a:gd name="T10" fmla="*/ 21 w 28"/>
                  <a:gd name="T11" fmla="*/ 19 h 63"/>
                  <a:gd name="T12" fmla="*/ 21 w 28"/>
                  <a:gd name="T13" fmla="*/ 23 h 63"/>
                  <a:gd name="T14" fmla="*/ 19 w 28"/>
                  <a:gd name="T15" fmla="*/ 25 h 63"/>
                  <a:gd name="T16" fmla="*/ 21 w 28"/>
                  <a:gd name="T17" fmla="*/ 29 h 63"/>
                  <a:gd name="T18" fmla="*/ 21 w 28"/>
                  <a:gd name="T19" fmla="*/ 31 h 63"/>
                  <a:gd name="T20" fmla="*/ 21 w 28"/>
                  <a:gd name="T21" fmla="*/ 35 h 63"/>
                  <a:gd name="T22" fmla="*/ 22 w 28"/>
                  <a:gd name="T23" fmla="*/ 38 h 63"/>
                  <a:gd name="T24" fmla="*/ 24 w 28"/>
                  <a:gd name="T25" fmla="*/ 37 h 63"/>
                  <a:gd name="T26" fmla="*/ 28 w 28"/>
                  <a:gd name="T27" fmla="*/ 40 h 63"/>
                  <a:gd name="T28" fmla="*/ 26 w 28"/>
                  <a:gd name="T29" fmla="*/ 42 h 63"/>
                  <a:gd name="T30" fmla="*/ 28 w 28"/>
                  <a:gd name="T31" fmla="*/ 46 h 63"/>
                  <a:gd name="T32" fmla="*/ 26 w 28"/>
                  <a:gd name="T33" fmla="*/ 48 h 63"/>
                  <a:gd name="T34" fmla="*/ 24 w 28"/>
                  <a:gd name="T35" fmla="*/ 46 h 63"/>
                  <a:gd name="T36" fmla="*/ 24 w 28"/>
                  <a:gd name="T37" fmla="*/ 50 h 63"/>
                  <a:gd name="T38" fmla="*/ 22 w 28"/>
                  <a:gd name="T39" fmla="*/ 54 h 63"/>
                  <a:gd name="T40" fmla="*/ 21 w 28"/>
                  <a:gd name="T41" fmla="*/ 56 h 63"/>
                  <a:gd name="T42" fmla="*/ 19 w 28"/>
                  <a:gd name="T43" fmla="*/ 58 h 63"/>
                  <a:gd name="T44" fmla="*/ 19 w 28"/>
                  <a:gd name="T45" fmla="*/ 59 h 63"/>
                  <a:gd name="T46" fmla="*/ 17 w 28"/>
                  <a:gd name="T47" fmla="*/ 61 h 63"/>
                  <a:gd name="T48" fmla="*/ 15 w 28"/>
                  <a:gd name="T49" fmla="*/ 63 h 63"/>
                  <a:gd name="T50" fmla="*/ 11 w 28"/>
                  <a:gd name="T51" fmla="*/ 63 h 63"/>
                  <a:gd name="T52" fmla="*/ 13 w 28"/>
                  <a:gd name="T53" fmla="*/ 61 h 63"/>
                  <a:gd name="T54" fmla="*/ 11 w 28"/>
                  <a:gd name="T55" fmla="*/ 59 h 63"/>
                  <a:gd name="T56" fmla="*/ 9 w 28"/>
                  <a:gd name="T57" fmla="*/ 56 h 63"/>
                  <a:gd name="T58" fmla="*/ 5 w 28"/>
                  <a:gd name="T59" fmla="*/ 54 h 63"/>
                  <a:gd name="T60" fmla="*/ 1 w 28"/>
                  <a:gd name="T61" fmla="*/ 50 h 63"/>
                  <a:gd name="T62" fmla="*/ 1 w 28"/>
                  <a:gd name="T63" fmla="*/ 48 h 63"/>
                  <a:gd name="T64" fmla="*/ 3 w 28"/>
                  <a:gd name="T65" fmla="*/ 50 h 63"/>
                  <a:gd name="T66" fmla="*/ 1 w 28"/>
                  <a:gd name="T67" fmla="*/ 46 h 63"/>
                  <a:gd name="T68" fmla="*/ 1 w 28"/>
                  <a:gd name="T69" fmla="*/ 40 h 63"/>
                  <a:gd name="T70" fmla="*/ 3 w 28"/>
                  <a:gd name="T71" fmla="*/ 37 h 63"/>
                  <a:gd name="T72" fmla="*/ 3 w 28"/>
                  <a:gd name="T73" fmla="*/ 33 h 63"/>
                  <a:gd name="T74" fmla="*/ 3 w 28"/>
                  <a:gd name="T75" fmla="*/ 29 h 63"/>
                  <a:gd name="T76" fmla="*/ 1 w 28"/>
                  <a:gd name="T77" fmla="*/ 27 h 63"/>
                  <a:gd name="T78" fmla="*/ 3 w 28"/>
                  <a:gd name="T79" fmla="*/ 25 h 63"/>
                  <a:gd name="T80" fmla="*/ 5 w 28"/>
                  <a:gd name="T81" fmla="*/ 23 h 63"/>
                  <a:gd name="T82" fmla="*/ 5 w 28"/>
                  <a:gd name="T83" fmla="*/ 23 h 63"/>
                  <a:gd name="T84" fmla="*/ 5 w 28"/>
                  <a:gd name="T85" fmla="*/ 19 h 63"/>
                  <a:gd name="T86" fmla="*/ 1 w 28"/>
                  <a:gd name="T87" fmla="*/ 17 h 63"/>
                  <a:gd name="T88" fmla="*/ 1 w 28"/>
                  <a:gd name="T89" fmla="*/ 14 h 63"/>
                  <a:gd name="T90" fmla="*/ 0 w 28"/>
                  <a:gd name="T91" fmla="*/ 12 h 63"/>
                  <a:gd name="T92" fmla="*/ 1 w 28"/>
                  <a:gd name="T93" fmla="*/ 6 h 63"/>
                  <a:gd name="T94" fmla="*/ 5 w 28"/>
                  <a:gd name="T95" fmla="*/ 4 h 63"/>
                  <a:gd name="T96" fmla="*/ 5 w 28"/>
                  <a:gd name="T97" fmla="*/ 0 h 63"/>
                  <a:gd name="T98" fmla="*/ 7 w 28"/>
                  <a:gd name="T99" fmla="*/ 2 h 63"/>
                  <a:gd name="T100" fmla="*/ 9 w 28"/>
                  <a:gd name="T101" fmla="*/ 4 h 63"/>
                  <a:gd name="T102" fmla="*/ 11 w 28"/>
                  <a:gd name="T103" fmla="*/ 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8" h="63">
                    <a:moveTo>
                      <a:pt x="13" y="2"/>
                    </a:moveTo>
                    <a:lnTo>
                      <a:pt x="15" y="4"/>
                    </a:lnTo>
                    <a:lnTo>
                      <a:pt x="15" y="6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9" y="10"/>
                    </a:lnTo>
                    <a:lnTo>
                      <a:pt x="21" y="10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21" y="19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19" y="23"/>
                    </a:lnTo>
                    <a:lnTo>
                      <a:pt x="19" y="25"/>
                    </a:lnTo>
                    <a:lnTo>
                      <a:pt x="21" y="27"/>
                    </a:lnTo>
                    <a:lnTo>
                      <a:pt x="21" y="29"/>
                    </a:lnTo>
                    <a:lnTo>
                      <a:pt x="19" y="29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21" y="35"/>
                    </a:lnTo>
                    <a:lnTo>
                      <a:pt x="22" y="35"/>
                    </a:lnTo>
                    <a:lnTo>
                      <a:pt x="22" y="38"/>
                    </a:lnTo>
                    <a:lnTo>
                      <a:pt x="24" y="38"/>
                    </a:lnTo>
                    <a:lnTo>
                      <a:pt x="24" y="37"/>
                    </a:lnTo>
                    <a:lnTo>
                      <a:pt x="26" y="38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28" y="46"/>
                    </a:lnTo>
                    <a:lnTo>
                      <a:pt x="26" y="46"/>
                    </a:lnTo>
                    <a:lnTo>
                      <a:pt x="26" y="48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4" y="50"/>
                    </a:lnTo>
                    <a:lnTo>
                      <a:pt x="22" y="52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21" y="56"/>
                    </a:lnTo>
                    <a:lnTo>
                      <a:pt x="19" y="56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9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3" y="61"/>
                    </a:lnTo>
                    <a:lnTo>
                      <a:pt x="11" y="61"/>
                    </a:lnTo>
                    <a:lnTo>
                      <a:pt x="11" y="59"/>
                    </a:lnTo>
                    <a:lnTo>
                      <a:pt x="11" y="58"/>
                    </a:lnTo>
                    <a:lnTo>
                      <a:pt x="9" y="56"/>
                    </a:lnTo>
                    <a:lnTo>
                      <a:pt x="7" y="56"/>
                    </a:lnTo>
                    <a:lnTo>
                      <a:pt x="5" y="54"/>
                    </a:lnTo>
                    <a:lnTo>
                      <a:pt x="3" y="52"/>
                    </a:lnTo>
                    <a:lnTo>
                      <a:pt x="1" y="50"/>
                    </a:lnTo>
                    <a:lnTo>
                      <a:pt x="0" y="48"/>
                    </a:lnTo>
                    <a:lnTo>
                      <a:pt x="1" y="48"/>
                    </a:lnTo>
                    <a:lnTo>
                      <a:pt x="1" y="50"/>
                    </a:lnTo>
                    <a:lnTo>
                      <a:pt x="3" y="50"/>
                    </a:lnTo>
                    <a:lnTo>
                      <a:pt x="3" y="48"/>
                    </a:lnTo>
                    <a:lnTo>
                      <a:pt x="1" y="46"/>
                    </a:lnTo>
                    <a:lnTo>
                      <a:pt x="1" y="42"/>
                    </a:lnTo>
                    <a:lnTo>
                      <a:pt x="1" y="40"/>
                    </a:lnTo>
                    <a:lnTo>
                      <a:pt x="1" y="38"/>
                    </a:lnTo>
                    <a:lnTo>
                      <a:pt x="3" y="37"/>
                    </a:lnTo>
                    <a:lnTo>
                      <a:pt x="3" y="35"/>
                    </a:lnTo>
                    <a:lnTo>
                      <a:pt x="3" y="33"/>
                    </a:lnTo>
                    <a:lnTo>
                      <a:pt x="3" y="31"/>
                    </a:lnTo>
                    <a:lnTo>
                      <a:pt x="3" y="29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3" y="23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5" y="23"/>
                    </a:lnTo>
                    <a:lnTo>
                      <a:pt x="5" y="21"/>
                    </a:lnTo>
                    <a:lnTo>
                      <a:pt x="5" y="19"/>
                    </a:lnTo>
                    <a:lnTo>
                      <a:pt x="3" y="17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1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4" name="Freeform 128">
                <a:extLst>
                  <a:ext uri="{FF2B5EF4-FFF2-40B4-BE49-F238E27FC236}">
                    <a16:creationId xmlns:a16="http://schemas.microsoft.com/office/drawing/2014/main" id="{4FB1C655-557A-9C53-2391-492A3F106A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4490" y="-3126811"/>
                <a:ext cx="48844" cy="56827"/>
              </a:xfrm>
              <a:custGeom>
                <a:avLst/>
                <a:gdLst>
                  <a:gd name="T0" fmla="*/ 14 w 31"/>
                  <a:gd name="T1" fmla="*/ 2 h 36"/>
                  <a:gd name="T2" fmla="*/ 17 w 31"/>
                  <a:gd name="T3" fmla="*/ 6 h 36"/>
                  <a:gd name="T4" fmla="*/ 19 w 31"/>
                  <a:gd name="T5" fmla="*/ 8 h 36"/>
                  <a:gd name="T6" fmla="*/ 23 w 31"/>
                  <a:gd name="T7" fmla="*/ 10 h 36"/>
                  <a:gd name="T8" fmla="*/ 25 w 31"/>
                  <a:gd name="T9" fmla="*/ 12 h 36"/>
                  <a:gd name="T10" fmla="*/ 27 w 31"/>
                  <a:gd name="T11" fmla="*/ 14 h 36"/>
                  <a:gd name="T12" fmla="*/ 29 w 31"/>
                  <a:gd name="T13" fmla="*/ 14 h 36"/>
                  <a:gd name="T14" fmla="*/ 31 w 31"/>
                  <a:gd name="T15" fmla="*/ 16 h 36"/>
                  <a:gd name="T16" fmla="*/ 31 w 31"/>
                  <a:gd name="T17" fmla="*/ 17 h 36"/>
                  <a:gd name="T18" fmla="*/ 27 w 31"/>
                  <a:gd name="T19" fmla="*/ 17 h 36"/>
                  <a:gd name="T20" fmla="*/ 27 w 31"/>
                  <a:gd name="T21" fmla="*/ 17 h 36"/>
                  <a:gd name="T22" fmla="*/ 27 w 31"/>
                  <a:gd name="T23" fmla="*/ 17 h 36"/>
                  <a:gd name="T24" fmla="*/ 27 w 31"/>
                  <a:gd name="T25" fmla="*/ 21 h 36"/>
                  <a:gd name="T26" fmla="*/ 25 w 31"/>
                  <a:gd name="T27" fmla="*/ 23 h 36"/>
                  <a:gd name="T28" fmla="*/ 21 w 31"/>
                  <a:gd name="T29" fmla="*/ 23 h 36"/>
                  <a:gd name="T30" fmla="*/ 21 w 31"/>
                  <a:gd name="T31" fmla="*/ 19 h 36"/>
                  <a:gd name="T32" fmla="*/ 19 w 31"/>
                  <a:gd name="T33" fmla="*/ 21 h 36"/>
                  <a:gd name="T34" fmla="*/ 17 w 31"/>
                  <a:gd name="T35" fmla="*/ 25 h 36"/>
                  <a:gd name="T36" fmla="*/ 15 w 31"/>
                  <a:gd name="T37" fmla="*/ 27 h 36"/>
                  <a:gd name="T38" fmla="*/ 15 w 31"/>
                  <a:gd name="T39" fmla="*/ 31 h 36"/>
                  <a:gd name="T40" fmla="*/ 15 w 31"/>
                  <a:gd name="T41" fmla="*/ 35 h 36"/>
                  <a:gd name="T42" fmla="*/ 12 w 31"/>
                  <a:gd name="T43" fmla="*/ 35 h 36"/>
                  <a:gd name="T44" fmla="*/ 12 w 31"/>
                  <a:gd name="T45" fmla="*/ 31 h 36"/>
                  <a:gd name="T46" fmla="*/ 10 w 31"/>
                  <a:gd name="T47" fmla="*/ 29 h 36"/>
                  <a:gd name="T48" fmla="*/ 8 w 31"/>
                  <a:gd name="T49" fmla="*/ 27 h 36"/>
                  <a:gd name="T50" fmla="*/ 6 w 31"/>
                  <a:gd name="T51" fmla="*/ 29 h 36"/>
                  <a:gd name="T52" fmla="*/ 4 w 31"/>
                  <a:gd name="T53" fmla="*/ 25 h 36"/>
                  <a:gd name="T54" fmla="*/ 6 w 31"/>
                  <a:gd name="T55" fmla="*/ 25 h 36"/>
                  <a:gd name="T56" fmla="*/ 4 w 31"/>
                  <a:gd name="T57" fmla="*/ 23 h 36"/>
                  <a:gd name="T58" fmla="*/ 6 w 31"/>
                  <a:gd name="T59" fmla="*/ 25 h 36"/>
                  <a:gd name="T60" fmla="*/ 4 w 31"/>
                  <a:gd name="T61" fmla="*/ 23 h 36"/>
                  <a:gd name="T62" fmla="*/ 2 w 31"/>
                  <a:gd name="T63" fmla="*/ 23 h 36"/>
                  <a:gd name="T64" fmla="*/ 0 w 31"/>
                  <a:gd name="T65" fmla="*/ 23 h 36"/>
                  <a:gd name="T66" fmla="*/ 2 w 31"/>
                  <a:gd name="T67" fmla="*/ 21 h 36"/>
                  <a:gd name="T68" fmla="*/ 2 w 31"/>
                  <a:gd name="T69" fmla="*/ 17 h 36"/>
                  <a:gd name="T70" fmla="*/ 2 w 31"/>
                  <a:gd name="T71" fmla="*/ 14 h 36"/>
                  <a:gd name="T72" fmla="*/ 4 w 31"/>
                  <a:gd name="T73" fmla="*/ 12 h 36"/>
                  <a:gd name="T74" fmla="*/ 6 w 31"/>
                  <a:gd name="T75" fmla="*/ 8 h 36"/>
                  <a:gd name="T76" fmla="*/ 8 w 31"/>
                  <a:gd name="T77" fmla="*/ 6 h 36"/>
                  <a:gd name="T78" fmla="*/ 10 w 31"/>
                  <a:gd name="T79" fmla="*/ 4 h 36"/>
                  <a:gd name="T80" fmla="*/ 12 w 31"/>
                  <a:gd name="T81" fmla="*/ 6 h 36"/>
                  <a:gd name="T82" fmla="*/ 10 w 31"/>
                  <a:gd name="T83" fmla="*/ 2 h 36"/>
                  <a:gd name="T84" fmla="*/ 8 w 31"/>
                  <a:gd name="T85" fmla="*/ 2 h 36"/>
                  <a:gd name="T86" fmla="*/ 10 w 31"/>
                  <a:gd name="T87" fmla="*/ 0 h 36"/>
                  <a:gd name="T88" fmla="*/ 14 w 31"/>
                  <a:gd name="T8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1" h="36">
                    <a:moveTo>
                      <a:pt x="14" y="0"/>
                    </a:moveTo>
                    <a:lnTo>
                      <a:pt x="14" y="2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3" y="10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7" y="12"/>
                    </a:lnTo>
                    <a:lnTo>
                      <a:pt x="27" y="14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29" y="16"/>
                    </a:lnTo>
                    <a:lnTo>
                      <a:pt x="31" y="17"/>
                    </a:lnTo>
                    <a:lnTo>
                      <a:pt x="29" y="17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5" y="19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19" y="19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5" y="27"/>
                    </a:lnTo>
                    <a:lnTo>
                      <a:pt x="14" y="31"/>
                    </a:lnTo>
                    <a:lnTo>
                      <a:pt x="15" y="31"/>
                    </a:lnTo>
                    <a:lnTo>
                      <a:pt x="15" y="33"/>
                    </a:lnTo>
                    <a:lnTo>
                      <a:pt x="15" y="35"/>
                    </a:lnTo>
                    <a:lnTo>
                      <a:pt x="15" y="36"/>
                    </a:lnTo>
                    <a:lnTo>
                      <a:pt x="12" y="35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5" name="Freeform 129">
                <a:extLst>
                  <a:ext uri="{FF2B5EF4-FFF2-40B4-BE49-F238E27FC236}">
                    <a16:creationId xmlns:a16="http://schemas.microsoft.com/office/drawing/2014/main" id="{53C399DF-BFC7-7F8D-4E92-E69B5D5AB6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31596" y="-3234150"/>
                <a:ext cx="149682" cy="146804"/>
              </a:xfrm>
              <a:custGeom>
                <a:avLst/>
                <a:gdLst>
                  <a:gd name="T0" fmla="*/ 59 w 95"/>
                  <a:gd name="T1" fmla="*/ 11 h 93"/>
                  <a:gd name="T2" fmla="*/ 63 w 95"/>
                  <a:gd name="T3" fmla="*/ 15 h 93"/>
                  <a:gd name="T4" fmla="*/ 80 w 95"/>
                  <a:gd name="T5" fmla="*/ 19 h 93"/>
                  <a:gd name="T6" fmla="*/ 86 w 95"/>
                  <a:gd name="T7" fmla="*/ 21 h 93"/>
                  <a:gd name="T8" fmla="*/ 88 w 95"/>
                  <a:gd name="T9" fmla="*/ 22 h 93"/>
                  <a:gd name="T10" fmla="*/ 93 w 95"/>
                  <a:gd name="T11" fmla="*/ 32 h 93"/>
                  <a:gd name="T12" fmla="*/ 88 w 95"/>
                  <a:gd name="T13" fmla="*/ 40 h 93"/>
                  <a:gd name="T14" fmla="*/ 74 w 95"/>
                  <a:gd name="T15" fmla="*/ 34 h 93"/>
                  <a:gd name="T16" fmla="*/ 63 w 95"/>
                  <a:gd name="T17" fmla="*/ 34 h 93"/>
                  <a:gd name="T18" fmla="*/ 53 w 95"/>
                  <a:gd name="T19" fmla="*/ 30 h 93"/>
                  <a:gd name="T20" fmla="*/ 40 w 95"/>
                  <a:gd name="T21" fmla="*/ 30 h 93"/>
                  <a:gd name="T22" fmla="*/ 40 w 95"/>
                  <a:gd name="T23" fmla="*/ 43 h 93"/>
                  <a:gd name="T24" fmla="*/ 52 w 95"/>
                  <a:gd name="T25" fmla="*/ 61 h 93"/>
                  <a:gd name="T26" fmla="*/ 65 w 95"/>
                  <a:gd name="T27" fmla="*/ 82 h 93"/>
                  <a:gd name="T28" fmla="*/ 48 w 95"/>
                  <a:gd name="T29" fmla="*/ 68 h 93"/>
                  <a:gd name="T30" fmla="*/ 40 w 95"/>
                  <a:gd name="T31" fmla="*/ 70 h 93"/>
                  <a:gd name="T32" fmla="*/ 38 w 95"/>
                  <a:gd name="T33" fmla="*/ 64 h 93"/>
                  <a:gd name="T34" fmla="*/ 27 w 95"/>
                  <a:gd name="T35" fmla="*/ 51 h 93"/>
                  <a:gd name="T36" fmla="*/ 31 w 95"/>
                  <a:gd name="T37" fmla="*/ 51 h 93"/>
                  <a:gd name="T38" fmla="*/ 17 w 95"/>
                  <a:gd name="T39" fmla="*/ 30 h 93"/>
                  <a:gd name="T40" fmla="*/ 10 w 95"/>
                  <a:gd name="T41" fmla="*/ 36 h 93"/>
                  <a:gd name="T42" fmla="*/ 6 w 95"/>
                  <a:gd name="T43" fmla="*/ 38 h 93"/>
                  <a:gd name="T44" fmla="*/ 0 w 95"/>
                  <a:gd name="T45" fmla="*/ 28 h 93"/>
                  <a:gd name="T46" fmla="*/ 13 w 95"/>
                  <a:gd name="T47" fmla="*/ 24 h 93"/>
                  <a:gd name="T48" fmla="*/ 25 w 95"/>
                  <a:gd name="T49" fmla="*/ 24 h 93"/>
                  <a:gd name="T50" fmla="*/ 31 w 95"/>
                  <a:gd name="T51" fmla="*/ 19 h 93"/>
                  <a:gd name="T52" fmla="*/ 34 w 95"/>
                  <a:gd name="T53" fmla="*/ 9 h 93"/>
                  <a:gd name="T54" fmla="*/ 44 w 95"/>
                  <a:gd name="T55" fmla="*/ 5 h 93"/>
                  <a:gd name="T56" fmla="*/ 67 w 95"/>
                  <a:gd name="T57" fmla="*/ 82 h 93"/>
                  <a:gd name="T58" fmla="*/ 78 w 95"/>
                  <a:gd name="T59" fmla="*/ 91 h 93"/>
                  <a:gd name="T60" fmla="*/ 67 w 95"/>
                  <a:gd name="T61" fmla="*/ 84 h 93"/>
                  <a:gd name="T62" fmla="*/ 57 w 95"/>
                  <a:gd name="T63" fmla="*/ 80 h 93"/>
                  <a:gd name="T64" fmla="*/ 19 w 95"/>
                  <a:gd name="T65" fmla="*/ 34 h 93"/>
                  <a:gd name="T66" fmla="*/ 17 w 95"/>
                  <a:gd name="T67" fmla="*/ 32 h 93"/>
                  <a:gd name="T68" fmla="*/ 17 w 95"/>
                  <a:gd name="T69" fmla="*/ 43 h 93"/>
                  <a:gd name="T70" fmla="*/ 13 w 95"/>
                  <a:gd name="T71" fmla="*/ 34 h 93"/>
                  <a:gd name="T72" fmla="*/ 48 w 95"/>
                  <a:gd name="T73" fmla="*/ 72 h 93"/>
                  <a:gd name="T74" fmla="*/ 50 w 95"/>
                  <a:gd name="T75" fmla="*/ 78 h 93"/>
                  <a:gd name="T76" fmla="*/ 25 w 95"/>
                  <a:gd name="T77" fmla="*/ 49 h 93"/>
                  <a:gd name="T78" fmla="*/ 21 w 95"/>
                  <a:gd name="T79" fmla="*/ 43 h 93"/>
                  <a:gd name="T80" fmla="*/ 52 w 95"/>
                  <a:gd name="T81" fmla="*/ 82 h 93"/>
                  <a:gd name="T82" fmla="*/ 27 w 95"/>
                  <a:gd name="T83" fmla="*/ 61 h 93"/>
                  <a:gd name="T84" fmla="*/ 65 w 95"/>
                  <a:gd name="T85" fmla="*/ 85 h 93"/>
                  <a:gd name="T86" fmla="*/ 44 w 95"/>
                  <a:gd name="T87" fmla="*/ 80 h 93"/>
                  <a:gd name="T88" fmla="*/ 21 w 95"/>
                  <a:gd name="T89" fmla="*/ 43 h 93"/>
                  <a:gd name="T90" fmla="*/ 15 w 95"/>
                  <a:gd name="T91" fmla="*/ 47 h 93"/>
                  <a:gd name="T92" fmla="*/ 29 w 95"/>
                  <a:gd name="T93" fmla="*/ 59 h 93"/>
                  <a:gd name="T94" fmla="*/ 25 w 95"/>
                  <a:gd name="T95" fmla="*/ 55 h 93"/>
                  <a:gd name="T96" fmla="*/ 46 w 95"/>
                  <a:gd name="T97" fmla="*/ 70 h 93"/>
                  <a:gd name="T98" fmla="*/ 21 w 95"/>
                  <a:gd name="T99" fmla="*/ 53 h 93"/>
                  <a:gd name="T100" fmla="*/ 25 w 95"/>
                  <a:gd name="T101" fmla="*/ 57 h 93"/>
                  <a:gd name="T102" fmla="*/ 36 w 95"/>
                  <a:gd name="T103" fmla="*/ 64 h 93"/>
                  <a:gd name="T104" fmla="*/ 31 w 95"/>
                  <a:gd name="T105" fmla="*/ 63 h 93"/>
                  <a:gd name="T106" fmla="*/ 17 w 95"/>
                  <a:gd name="T107" fmla="*/ 51 h 93"/>
                  <a:gd name="T108" fmla="*/ 50 w 95"/>
                  <a:gd name="T109" fmla="*/ 78 h 93"/>
                  <a:gd name="T110" fmla="*/ 34 w 95"/>
                  <a:gd name="T111" fmla="*/ 66 h 93"/>
                  <a:gd name="T112" fmla="*/ 17 w 95"/>
                  <a:gd name="T113" fmla="*/ 49 h 93"/>
                  <a:gd name="T114" fmla="*/ 40 w 95"/>
                  <a:gd name="T115" fmla="*/ 70 h 93"/>
                  <a:gd name="T116" fmla="*/ 27 w 95"/>
                  <a:gd name="T117" fmla="*/ 59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5" h="93">
                    <a:moveTo>
                      <a:pt x="50" y="1"/>
                    </a:moveTo>
                    <a:lnTo>
                      <a:pt x="50" y="3"/>
                    </a:lnTo>
                    <a:lnTo>
                      <a:pt x="52" y="3"/>
                    </a:lnTo>
                    <a:lnTo>
                      <a:pt x="52" y="5"/>
                    </a:lnTo>
                    <a:lnTo>
                      <a:pt x="53" y="3"/>
                    </a:lnTo>
                    <a:lnTo>
                      <a:pt x="53" y="5"/>
                    </a:lnTo>
                    <a:lnTo>
                      <a:pt x="53" y="7"/>
                    </a:lnTo>
                    <a:lnTo>
                      <a:pt x="55" y="7"/>
                    </a:lnTo>
                    <a:lnTo>
                      <a:pt x="57" y="9"/>
                    </a:lnTo>
                    <a:lnTo>
                      <a:pt x="59" y="9"/>
                    </a:lnTo>
                    <a:lnTo>
                      <a:pt x="59" y="11"/>
                    </a:lnTo>
                    <a:lnTo>
                      <a:pt x="61" y="11"/>
                    </a:lnTo>
                    <a:lnTo>
                      <a:pt x="59" y="13"/>
                    </a:lnTo>
                    <a:lnTo>
                      <a:pt x="61" y="13"/>
                    </a:lnTo>
                    <a:lnTo>
                      <a:pt x="59" y="13"/>
                    </a:lnTo>
                    <a:lnTo>
                      <a:pt x="61" y="13"/>
                    </a:lnTo>
                    <a:lnTo>
                      <a:pt x="61" y="15"/>
                    </a:lnTo>
                    <a:lnTo>
                      <a:pt x="61" y="13"/>
                    </a:lnTo>
                    <a:lnTo>
                      <a:pt x="61" y="15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3" y="15"/>
                    </a:lnTo>
                    <a:lnTo>
                      <a:pt x="65" y="15"/>
                    </a:lnTo>
                    <a:lnTo>
                      <a:pt x="67" y="17"/>
                    </a:lnTo>
                    <a:lnTo>
                      <a:pt x="69" y="19"/>
                    </a:lnTo>
                    <a:lnTo>
                      <a:pt x="69" y="17"/>
                    </a:lnTo>
                    <a:lnTo>
                      <a:pt x="69" y="19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4" y="19"/>
                    </a:lnTo>
                    <a:lnTo>
                      <a:pt x="76" y="19"/>
                    </a:lnTo>
                    <a:lnTo>
                      <a:pt x="78" y="19"/>
                    </a:lnTo>
                    <a:lnTo>
                      <a:pt x="80" y="19"/>
                    </a:lnTo>
                    <a:lnTo>
                      <a:pt x="80" y="17"/>
                    </a:lnTo>
                    <a:lnTo>
                      <a:pt x="82" y="17"/>
                    </a:lnTo>
                    <a:lnTo>
                      <a:pt x="82" y="15"/>
                    </a:lnTo>
                    <a:lnTo>
                      <a:pt x="84" y="17"/>
                    </a:lnTo>
                    <a:lnTo>
                      <a:pt x="84" y="15"/>
                    </a:lnTo>
                    <a:lnTo>
                      <a:pt x="86" y="15"/>
                    </a:lnTo>
                    <a:lnTo>
                      <a:pt x="86" y="17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86" y="19"/>
                    </a:lnTo>
                    <a:lnTo>
                      <a:pt x="86" y="21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6" y="21"/>
                    </a:lnTo>
                    <a:lnTo>
                      <a:pt x="88" y="21"/>
                    </a:lnTo>
                    <a:lnTo>
                      <a:pt x="86" y="21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6" y="24"/>
                    </a:lnTo>
                    <a:lnTo>
                      <a:pt x="88" y="22"/>
                    </a:lnTo>
                    <a:lnTo>
                      <a:pt x="88" y="24"/>
                    </a:lnTo>
                    <a:lnTo>
                      <a:pt x="90" y="24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8" y="28"/>
                    </a:lnTo>
                    <a:lnTo>
                      <a:pt x="90" y="28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3" y="30"/>
                    </a:lnTo>
                    <a:lnTo>
                      <a:pt x="95" y="32"/>
                    </a:lnTo>
                    <a:lnTo>
                      <a:pt x="93" y="32"/>
                    </a:lnTo>
                    <a:lnTo>
                      <a:pt x="92" y="32"/>
                    </a:lnTo>
                    <a:lnTo>
                      <a:pt x="90" y="32"/>
                    </a:lnTo>
                    <a:lnTo>
                      <a:pt x="92" y="32"/>
                    </a:lnTo>
                    <a:lnTo>
                      <a:pt x="90" y="32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88" y="36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6" y="40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34"/>
                    </a:lnTo>
                    <a:lnTo>
                      <a:pt x="78" y="34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4" y="34"/>
                    </a:lnTo>
                    <a:lnTo>
                      <a:pt x="72" y="34"/>
                    </a:lnTo>
                    <a:lnTo>
                      <a:pt x="72" y="32"/>
                    </a:lnTo>
                    <a:lnTo>
                      <a:pt x="72" y="34"/>
                    </a:lnTo>
                    <a:lnTo>
                      <a:pt x="72" y="32"/>
                    </a:lnTo>
                    <a:lnTo>
                      <a:pt x="71" y="34"/>
                    </a:lnTo>
                    <a:lnTo>
                      <a:pt x="69" y="36"/>
                    </a:lnTo>
                    <a:lnTo>
                      <a:pt x="67" y="32"/>
                    </a:lnTo>
                    <a:lnTo>
                      <a:pt x="65" y="34"/>
                    </a:lnTo>
                    <a:lnTo>
                      <a:pt x="65" y="32"/>
                    </a:lnTo>
                    <a:lnTo>
                      <a:pt x="65" y="34"/>
                    </a:lnTo>
                    <a:lnTo>
                      <a:pt x="63" y="34"/>
                    </a:lnTo>
                    <a:lnTo>
                      <a:pt x="63" y="32"/>
                    </a:lnTo>
                    <a:lnTo>
                      <a:pt x="63" y="34"/>
                    </a:lnTo>
                    <a:lnTo>
                      <a:pt x="63" y="32"/>
                    </a:lnTo>
                    <a:lnTo>
                      <a:pt x="61" y="32"/>
                    </a:lnTo>
                    <a:lnTo>
                      <a:pt x="59" y="32"/>
                    </a:lnTo>
                    <a:lnTo>
                      <a:pt x="57" y="32"/>
                    </a:lnTo>
                    <a:lnTo>
                      <a:pt x="57" y="30"/>
                    </a:lnTo>
                    <a:lnTo>
                      <a:pt x="55" y="30"/>
                    </a:lnTo>
                    <a:lnTo>
                      <a:pt x="53" y="30"/>
                    </a:lnTo>
                    <a:lnTo>
                      <a:pt x="53" y="32"/>
                    </a:lnTo>
                    <a:lnTo>
                      <a:pt x="53" y="30"/>
                    </a:lnTo>
                    <a:lnTo>
                      <a:pt x="53" y="32"/>
                    </a:lnTo>
                    <a:lnTo>
                      <a:pt x="52" y="32"/>
                    </a:lnTo>
                    <a:lnTo>
                      <a:pt x="50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6" y="34"/>
                    </a:lnTo>
                    <a:lnTo>
                      <a:pt x="46" y="36"/>
                    </a:lnTo>
                    <a:lnTo>
                      <a:pt x="44" y="36"/>
                    </a:lnTo>
                    <a:lnTo>
                      <a:pt x="42" y="34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36" y="32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2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0" y="43"/>
                    </a:lnTo>
                    <a:lnTo>
                      <a:pt x="40" y="45"/>
                    </a:lnTo>
                    <a:lnTo>
                      <a:pt x="42" y="45"/>
                    </a:lnTo>
                    <a:lnTo>
                      <a:pt x="42" y="47"/>
                    </a:lnTo>
                    <a:lnTo>
                      <a:pt x="42" y="49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8" y="57"/>
                    </a:lnTo>
                    <a:lnTo>
                      <a:pt x="50" y="59"/>
                    </a:lnTo>
                    <a:lnTo>
                      <a:pt x="52" y="61"/>
                    </a:lnTo>
                    <a:lnTo>
                      <a:pt x="52" y="63"/>
                    </a:lnTo>
                    <a:lnTo>
                      <a:pt x="53" y="64"/>
                    </a:lnTo>
                    <a:lnTo>
                      <a:pt x="55" y="68"/>
                    </a:lnTo>
                    <a:lnTo>
                      <a:pt x="59" y="70"/>
                    </a:lnTo>
                    <a:lnTo>
                      <a:pt x="61" y="70"/>
                    </a:lnTo>
                    <a:lnTo>
                      <a:pt x="59" y="72"/>
                    </a:lnTo>
                    <a:lnTo>
                      <a:pt x="61" y="74"/>
                    </a:lnTo>
                    <a:lnTo>
                      <a:pt x="63" y="76"/>
                    </a:lnTo>
                    <a:lnTo>
                      <a:pt x="67" y="78"/>
                    </a:lnTo>
                    <a:lnTo>
                      <a:pt x="67" y="82"/>
                    </a:lnTo>
                    <a:lnTo>
                      <a:pt x="65" y="82"/>
                    </a:lnTo>
                    <a:lnTo>
                      <a:pt x="63" y="82"/>
                    </a:lnTo>
                    <a:lnTo>
                      <a:pt x="63" y="80"/>
                    </a:lnTo>
                    <a:lnTo>
                      <a:pt x="63" y="78"/>
                    </a:lnTo>
                    <a:lnTo>
                      <a:pt x="63" y="80"/>
                    </a:lnTo>
                    <a:lnTo>
                      <a:pt x="61" y="78"/>
                    </a:lnTo>
                    <a:lnTo>
                      <a:pt x="57" y="76"/>
                    </a:lnTo>
                    <a:lnTo>
                      <a:pt x="57" y="74"/>
                    </a:lnTo>
                    <a:lnTo>
                      <a:pt x="53" y="72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8" y="68"/>
                    </a:lnTo>
                    <a:lnTo>
                      <a:pt x="46" y="68"/>
                    </a:lnTo>
                    <a:lnTo>
                      <a:pt x="48" y="68"/>
                    </a:lnTo>
                    <a:lnTo>
                      <a:pt x="46" y="68"/>
                    </a:lnTo>
                    <a:lnTo>
                      <a:pt x="44" y="68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8" y="66"/>
                    </a:lnTo>
                    <a:lnTo>
                      <a:pt x="38" y="68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6" y="64"/>
                    </a:lnTo>
                    <a:lnTo>
                      <a:pt x="36" y="63"/>
                    </a:lnTo>
                    <a:lnTo>
                      <a:pt x="34" y="63"/>
                    </a:lnTo>
                    <a:lnTo>
                      <a:pt x="34" y="61"/>
                    </a:lnTo>
                    <a:lnTo>
                      <a:pt x="32" y="61"/>
                    </a:lnTo>
                    <a:lnTo>
                      <a:pt x="31" y="61"/>
                    </a:lnTo>
                    <a:lnTo>
                      <a:pt x="29" y="57"/>
                    </a:lnTo>
                    <a:lnTo>
                      <a:pt x="27" y="53"/>
                    </a:lnTo>
                    <a:lnTo>
                      <a:pt x="27" y="51"/>
                    </a:lnTo>
                    <a:lnTo>
                      <a:pt x="27" y="53"/>
                    </a:lnTo>
                    <a:lnTo>
                      <a:pt x="27" y="51"/>
                    </a:lnTo>
                    <a:lnTo>
                      <a:pt x="29" y="53"/>
                    </a:lnTo>
                    <a:lnTo>
                      <a:pt x="29" y="51"/>
                    </a:lnTo>
                    <a:lnTo>
                      <a:pt x="31" y="53"/>
                    </a:lnTo>
                    <a:lnTo>
                      <a:pt x="32" y="53"/>
                    </a:lnTo>
                    <a:lnTo>
                      <a:pt x="32" y="55"/>
                    </a:lnTo>
                    <a:lnTo>
                      <a:pt x="34" y="55"/>
                    </a:lnTo>
                    <a:lnTo>
                      <a:pt x="34" y="53"/>
                    </a:lnTo>
                    <a:lnTo>
                      <a:pt x="32" y="53"/>
                    </a:lnTo>
                    <a:lnTo>
                      <a:pt x="31" y="51"/>
                    </a:lnTo>
                    <a:lnTo>
                      <a:pt x="29" y="49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3" y="42"/>
                    </a:lnTo>
                    <a:lnTo>
                      <a:pt x="23" y="40"/>
                    </a:lnTo>
                    <a:lnTo>
                      <a:pt x="23" y="38"/>
                    </a:lnTo>
                    <a:lnTo>
                      <a:pt x="21" y="34"/>
                    </a:lnTo>
                    <a:lnTo>
                      <a:pt x="19" y="32"/>
                    </a:lnTo>
                    <a:lnTo>
                      <a:pt x="17" y="30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5" y="28"/>
                    </a:lnTo>
                    <a:lnTo>
                      <a:pt x="13" y="28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1" y="32"/>
                    </a:lnTo>
                    <a:lnTo>
                      <a:pt x="11" y="34"/>
                    </a:lnTo>
                    <a:lnTo>
                      <a:pt x="11" y="36"/>
                    </a:lnTo>
                    <a:lnTo>
                      <a:pt x="10" y="34"/>
                    </a:lnTo>
                    <a:lnTo>
                      <a:pt x="11" y="36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1" y="24"/>
                    </a:lnTo>
                    <a:lnTo>
                      <a:pt x="13" y="24"/>
                    </a:lnTo>
                    <a:lnTo>
                      <a:pt x="15" y="24"/>
                    </a:lnTo>
                    <a:lnTo>
                      <a:pt x="15" y="22"/>
                    </a:lnTo>
                    <a:lnTo>
                      <a:pt x="17" y="22"/>
                    </a:lnTo>
                    <a:lnTo>
                      <a:pt x="17" y="21"/>
                    </a:lnTo>
                    <a:lnTo>
                      <a:pt x="17" y="22"/>
                    </a:lnTo>
                    <a:lnTo>
                      <a:pt x="19" y="22"/>
                    </a:lnTo>
                    <a:lnTo>
                      <a:pt x="19" y="24"/>
                    </a:lnTo>
                    <a:lnTo>
                      <a:pt x="21" y="24"/>
                    </a:lnTo>
                    <a:lnTo>
                      <a:pt x="21" y="26"/>
                    </a:lnTo>
                    <a:lnTo>
                      <a:pt x="23" y="24"/>
                    </a:lnTo>
                    <a:lnTo>
                      <a:pt x="25" y="24"/>
                    </a:lnTo>
                    <a:lnTo>
                      <a:pt x="27" y="26"/>
                    </a:lnTo>
                    <a:lnTo>
                      <a:pt x="29" y="26"/>
                    </a:lnTo>
                    <a:lnTo>
                      <a:pt x="31" y="24"/>
                    </a:lnTo>
                    <a:lnTo>
                      <a:pt x="29" y="24"/>
                    </a:lnTo>
                    <a:lnTo>
                      <a:pt x="29" y="22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2" y="19"/>
                    </a:lnTo>
                    <a:lnTo>
                      <a:pt x="31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4" y="17"/>
                    </a:lnTo>
                    <a:lnTo>
                      <a:pt x="34" y="15"/>
                    </a:lnTo>
                    <a:lnTo>
                      <a:pt x="34" y="13"/>
                    </a:lnTo>
                    <a:lnTo>
                      <a:pt x="36" y="13"/>
                    </a:lnTo>
                    <a:lnTo>
                      <a:pt x="34" y="11"/>
                    </a:lnTo>
                    <a:lnTo>
                      <a:pt x="34" y="9"/>
                    </a:lnTo>
                    <a:lnTo>
                      <a:pt x="34" y="7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0" y="3"/>
                    </a:lnTo>
                    <a:lnTo>
                      <a:pt x="42" y="3"/>
                    </a:lnTo>
                    <a:lnTo>
                      <a:pt x="44" y="5"/>
                    </a:lnTo>
                    <a:lnTo>
                      <a:pt x="44" y="3"/>
                    </a:lnTo>
                    <a:lnTo>
                      <a:pt x="44" y="5"/>
                    </a:lnTo>
                    <a:lnTo>
                      <a:pt x="46" y="3"/>
                    </a:lnTo>
                    <a:lnTo>
                      <a:pt x="44" y="3"/>
                    </a:lnTo>
                    <a:lnTo>
                      <a:pt x="44" y="1"/>
                    </a:lnTo>
                    <a:lnTo>
                      <a:pt x="46" y="1"/>
                    </a:lnTo>
                    <a:lnTo>
                      <a:pt x="46" y="0"/>
                    </a:lnTo>
                    <a:lnTo>
                      <a:pt x="46" y="1"/>
                    </a:lnTo>
                    <a:lnTo>
                      <a:pt x="48" y="1"/>
                    </a:lnTo>
                    <a:lnTo>
                      <a:pt x="50" y="1"/>
                    </a:lnTo>
                    <a:lnTo>
                      <a:pt x="50" y="3"/>
                    </a:lnTo>
                    <a:lnTo>
                      <a:pt x="50" y="1"/>
                    </a:lnTo>
                    <a:close/>
                    <a:moveTo>
                      <a:pt x="67" y="82"/>
                    </a:moveTo>
                    <a:lnTo>
                      <a:pt x="69" y="82"/>
                    </a:lnTo>
                    <a:lnTo>
                      <a:pt x="71" y="84"/>
                    </a:lnTo>
                    <a:lnTo>
                      <a:pt x="71" y="85"/>
                    </a:lnTo>
                    <a:lnTo>
                      <a:pt x="72" y="85"/>
                    </a:lnTo>
                    <a:lnTo>
                      <a:pt x="74" y="87"/>
                    </a:lnTo>
                    <a:lnTo>
                      <a:pt x="76" y="89"/>
                    </a:lnTo>
                    <a:lnTo>
                      <a:pt x="78" y="89"/>
                    </a:lnTo>
                    <a:lnTo>
                      <a:pt x="78" y="91"/>
                    </a:lnTo>
                    <a:lnTo>
                      <a:pt x="80" y="93"/>
                    </a:lnTo>
                    <a:lnTo>
                      <a:pt x="78" y="93"/>
                    </a:lnTo>
                    <a:lnTo>
                      <a:pt x="78" y="91"/>
                    </a:lnTo>
                    <a:lnTo>
                      <a:pt x="76" y="91"/>
                    </a:lnTo>
                    <a:lnTo>
                      <a:pt x="74" y="89"/>
                    </a:lnTo>
                    <a:lnTo>
                      <a:pt x="76" y="89"/>
                    </a:lnTo>
                    <a:lnTo>
                      <a:pt x="74" y="89"/>
                    </a:lnTo>
                    <a:lnTo>
                      <a:pt x="72" y="87"/>
                    </a:lnTo>
                    <a:lnTo>
                      <a:pt x="74" y="87"/>
                    </a:lnTo>
                    <a:lnTo>
                      <a:pt x="72" y="87"/>
                    </a:lnTo>
                    <a:lnTo>
                      <a:pt x="71" y="85"/>
                    </a:lnTo>
                    <a:lnTo>
                      <a:pt x="69" y="84"/>
                    </a:lnTo>
                    <a:lnTo>
                      <a:pt x="69" y="85"/>
                    </a:lnTo>
                    <a:lnTo>
                      <a:pt x="67" y="84"/>
                    </a:lnTo>
                    <a:lnTo>
                      <a:pt x="69" y="85"/>
                    </a:lnTo>
                    <a:lnTo>
                      <a:pt x="67" y="85"/>
                    </a:lnTo>
                    <a:lnTo>
                      <a:pt x="63" y="84"/>
                    </a:lnTo>
                    <a:lnTo>
                      <a:pt x="63" y="82"/>
                    </a:lnTo>
                    <a:lnTo>
                      <a:pt x="61" y="82"/>
                    </a:lnTo>
                    <a:lnTo>
                      <a:pt x="59" y="80"/>
                    </a:lnTo>
                    <a:lnTo>
                      <a:pt x="57" y="82"/>
                    </a:lnTo>
                    <a:lnTo>
                      <a:pt x="55" y="80"/>
                    </a:lnTo>
                    <a:lnTo>
                      <a:pt x="57" y="80"/>
                    </a:lnTo>
                    <a:lnTo>
                      <a:pt x="55" y="80"/>
                    </a:lnTo>
                    <a:lnTo>
                      <a:pt x="57" y="80"/>
                    </a:lnTo>
                    <a:lnTo>
                      <a:pt x="59" y="80"/>
                    </a:lnTo>
                    <a:lnTo>
                      <a:pt x="61" y="80"/>
                    </a:lnTo>
                    <a:lnTo>
                      <a:pt x="63" y="82"/>
                    </a:lnTo>
                    <a:lnTo>
                      <a:pt x="65" y="82"/>
                    </a:lnTo>
                    <a:lnTo>
                      <a:pt x="67" y="84"/>
                    </a:lnTo>
                    <a:lnTo>
                      <a:pt x="67" y="82"/>
                    </a:lnTo>
                    <a:close/>
                    <a:moveTo>
                      <a:pt x="17" y="30"/>
                    </a:moveTo>
                    <a:lnTo>
                      <a:pt x="19" y="32"/>
                    </a:lnTo>
                    <a:lnTo>
                      <a:pt x="17" y="32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1" y="38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7" y="32"/>
                    </a:lnTo>
                    <a:lnTo>
                      <a:pt x="17" y="30"/>
                    </a:lnTo>
                    <a:close/>
                    <a:moveTo>
                      <a:pt x="13" y="32"/>
                    </a:moveTo>
                    <a:lnTo>
                      <a:pt x="13" y="34"/>
                    </a:lnTo>
                    <a:lnTo>
                      <a:pt x="15" y="36"/>
                    </a:lnTo>
                    <a:lnTo>
                      <a:pt x="15" y="38"/>
                    </a:lnTo>
                    <a:lnTo>
                      <a:pt x="15" y="40"/>
                    </a:lnTo>
                    <a:lnTo>
                      <a:pt x="15" y="42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7" y="45"/>
                    </a:lnTo>
                    <a:lnTo>
                      <a:pt x="15" y="43"/>
                    </a:lnTo>
                    <a:lnTo>
                      <a:pt x="15" y="45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5" y="38"/>
                    </a:lnTo>
                    <a:lnTo>
                      <a:pt x="13" y="36"/>
                    </a:lnTo>
                    <a:lnTo>
                      <a:pt x="13" y="34"/>
                    </a:lnTo>
                    <a:lnTo>
                      <a:pt x="13" y="32"/>
                    </a:lnTo>
                    <a:close/>
                    <a:moveTo>
                      <a:pt x="48" y="72"/>
                    </a:moveTo>
                    <a:lnTo>
                      <a:pt x="52" y="72"/>
                    </a:lnTo>
                    <a:lnTo>
                      <a:pt x="53" y="72"/>
                    </a:lnTo>
                    <a:lnTo>
                      <a:pt x="53" y="74"/>
                    </a:lnTo>
                    <a:lnTo>
                      <a:pt x="52" y="74"/>
                    </a:lnTo>
                    <a:lnTo>
                      <a:pt x="50" y="74"/>
                    </a:lnTo>
                    <a:lnTo>
                      <a:pt x="48" y="74"/>
                    </a:lnTo>
                    <a:lnTo>
                      <a:pt x="46" y="74"/>
                    </a:lnTo>
                    <a:lnTo>
                      <a:pt x="46" y="72"/>
                    </a:lnTo>
                    <a:lnTo>
                      <a:pt x="48" y="72"/>
                    </a:lnTo>
                    <a:close/>
                    <a:moveTo>
                      <a:pt x="50" y="76"/>
                    </a:moveTo>
                    <a:lnTo>
                      <a:pt x="52" y="76"/>
                    </a:lnTo>
                    <a:lnTo>
                      <a:pt x="50" y="76"/>
                    </a:lnTo>
                    <a:lnTo>
                      <a:pt x="52" y="76"/>
                    </a:lnTo>
                    <a:lnTo>
                      <a:pt x="53" y="76"/>
                    </a:lnTo>
                    <a:lnTo>
                      <a:pt x="53" y="78"/>
                    </a:lnTo>
                    <a:lnTo>
                      <a:pt x="57" y="78"/>
                    </a:lnTo>
                    <a:lnTo>
                      <a:pt x="59" y="78"/>
                    </a:lnTo>
                    <a:lnTo>
                      <a:pt x="55" y="78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48" y="78"/>
                    </a:lnTo>
                    <a:lnTo>
                      <a:pt x="46" y="76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48" y="76"/>
                    </a:lnTo>
                    <a:lnTo>
                      <a:pt x="50" y="76"/>
                    </a:lnTo>
                    <a:close/>
                    <a:moveTo>
                      <a:pt x="21" y="43"/>
                    </a:moveTo>
                    <a:lnTo>
                      <a:pt x="23" y="45"/>
                    </a:lnTo>
                    <a:lnTo>
                      <a:pt x="25" y="47"/>
                    </a:lnTo>
                    <a:lnTo>
                      <a:pt x="23" y="45"/>
                    </a:lnTo>
                    <a:lnTo>
                      <a:pt x="25" y="49"/>
                    </a:lnTo>
                    <a:lnTo>
                      <a:pt x="25" y="47"/>
                    </a:lnTo>
                    <a:lnTo>
                      <a:pt x="27" y="49"/>
                    </a:lnTo>
                    <a:lnTo>
                      <a:pt x="29" y="51"/>
                    </a:lnTo>
                    <a:lnTo>
                      <a:pt x="27" y="49"/>
                    </a:lnTo>
                    <a:lnTo>
                      <a:pt x="29" y="51"/>
                    </a:lnTo>
                    <a:lnTo>
                      <a:pt x="27" y="51"/>
                    </a:lnTo>
                    <a:lnTo>
                      <a:pt x="25" y="51"/>
                    </a:lnTo>
                    <a:lnTo>
                      <a:pt x="27" y="49"/>
                    </a:lnTo>
                    <a:lnTo>
                      <a:pt x="25" y="49"/>
                    </a:lnTo>
                    <a:lnTo>
                      <a:pt x="23" y="47"/>
                    </a:lnTo>
                    <a:lnTo>
                      <a:pt x="21" y="43"/>
                    </a:lnTo>
                    <a:lnTo>
                      <a:pt x="19" y="43"/>
                    </a:lnTo>
                    <a:lnTo>
                      <a:pt x="21" y="43"/>
                    </a:lnTo>
                    <a:close/>
                    <a:moveTo>
                      <a:pt x="52" y="80"/>
                    </a:moveTo>
                    <a:lnTo>
                      <a:pt x="53" y="82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9" y="82"/>
                    </a:lnTo>
                    <a:lnTo>
                      <a:pt x="57" y="82"/>
                    </a:lnTo>
                    <a:lnTo>
                      <a:pt x="55" y="82"/>
                    </a:lnTo>
                    <a:lnTo>
                      <a:pt x="53" y="82"/>
                    </a:lnTo>
                    <a:lnTo>
                      <a:pt x="52" y="82"/>
                    </a:lnTo>
                    <a:lnTo>
                      <a:pt x="50" y="82"/>
                    </a:lnTo>
                    <a:lnTo>
                      <a:pt x="52" y="82"/>
                    </a:lnTo>
                    <a:lnTo>
                      <a:pt x="50" y="80"/>
                    </a:lnTo>
                    <a:lnTo>
                      <a:pt x="52" y="80"/>
                    </a:lnTo>
                    <a:close/>
                    <a:moveTo>
                      <a:pt x="21" y="55"/>
                    </a:moveTo>
                    <a:lnTo>
                      <a:pt x="23" y="55"/>
                    </a:lnTo>
                    <a:lnTo>
                      <a:pt x="23" y="57"/>
                    </a:lnTo>
                    <a:lnTo>
                      <a:pt x="25" y="57"/>
                    </a:lnTo>
                    <a:lnTo>
                      <a:pt x="25" y="59"/>
                    </a:lnTo>
                    <a:lnTo>
                      <a:pt x="27" y="59"/>
                    </a:lnTo>
                    <a:lnTo>
                      <a:pt x="27" y="61"/>
                    </a:lnTo>
                    <a:lnTo>
                      <a:pt x="25" y="61"/>
                    </a:lnTo>
                    <a:lnTo>
                      <a:pt x="25" y="57"/>
                    </a:lnTo>
                    <a:lnTo>
                      <a:pt x="23" y="55"/>
                    </a:lnTo>
                    <a:lnTo>
                      <a:pt x="21" y="55"/>
                    </a:lnTo>
                    <a:lnTo>
                      <a:pt x="23" y="55"/>
                    </a:lnTo>
                    <a:lnTo>
                      <a:pt x="21" y="55"/>
                    </a:lnTo>
                    <a:close/>
                    <a:moveTo>
                      <a:pt x="61" y="84"/>
                    </a:moveTo>
                    <a:lnTo>
                      <a:pt x="63" y="84"/>
                    </a:lnTo>
                    <a:lnTo>
                      <a:pt x="61" y="85"/>
                    </a:lnTo>
                    <a:lnTo>
                      <a:pt x="63" y="85"/>
                    </a:lnTo>
                    <a:lnTo>
                      <a:pt x="65" y="85"/>
                    </a:lnTo>
                    <a:lnTo>
                      <a:pt x="67" y="85"/>
                    </a:lnTo>
                    <a:lnTo>
                      <a:pt x="69" y="87"/>
                    </a:lnTo>
                    <a:lnTo>
                      <a:pt x="67" y="87"/>
                    </a:lnTo>
                    <a:lnTo>
                      <a:pt x="69" y="87"/>
                    </a:lnTo>
                    <a:lnTo>
                      <a:pt x="67" y="87"/>
                    </a:lnTo>
                    <a:lnTo>
                      <a:pt x="67" y="85"/>
                    </a:lnTo>
                    <a:lnTo>
                      <a:pt x="63" y="85"/>
                    </a:lnTo>
                    <a:lnTo>
                      <a:pt x="61" y="85"/>
                    </a:lnTo>
                    <a:lnTo>
                      <a:pt x="61" y="84"/>
                    </a:lnTo>
                    <a:close/>
                    <a:moveTo>
                      <a:pt x="42" y="78"/>
                    </a:moveTo>
                    <a:lnTo>
                      <a:pt x="44" y="80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0" y="80"/>
                    </a:lnTo>
                    <a:lnTo>
                      <a:pt x="42" y="80"/>
                    </a:lnTo>
                    <a:lnTo>
                      <a:pt x="40" y="80"/>
                    </a:lnTo>
                    <a:lnTo>
                      <a:pt x="42" y="78"/>
                    </a:lnTo>
                    <a:close/>
                    <a:moveTo>
                      <a:pt x="19" y="40"/>
                    </a:moveTo>
                    <a:lnTo>
                      <a:pt x="21" y="40"/>
                    </a:lnTo>
                    <a:lnTo>
                      <a:pt x="19" y="40"/>
                    </a:lnTo>
                    <a:lnTo>
                      <a:pt x="21" y="42"/>
                    </a:lnTo>
                    <a:lnTo>
                      <a:pt x="21" y="43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0"/>
                    </a:lnTo>
                    <a:close/>
                    <a:moveTo>
                      <a:pt x="13" y="42"/>
                    </a:moveTo>
                    <a:lnTo>
                      <a:pt x="15" y="43"/>
                    </a:lnTo>
                    <a:lnTo>
                      <a:pt x="15" y="45"/>
                    </a:lnTo>
                    <a:lnTo>
                      <a:pt x="17" y="47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13" y="45"/>
                    </a:lnTo>
                    <a:lnTo>
                      <a:pt x="15" y="45"/>
                    </a:lnTo>
                    <a:lnTo>
                      <a:pt x="13" y="43"/>
                    </a:lnTo>
                    <a:lnTo>
                      <a:pt x="13" y="42"/>
                    </a:lnTo>
                    <a:close/>
                    <a:moveTo>
                      <a:pt x="29" y="59"/>
                    </a:moveTo>
                    <a:lnTo>
                      <a:pt x="31" y="59"/>
                    </a:lnTo>
                    <a:lnTo>
                      <a:pt x="31" y="61"/>
                    </a:lnTo>
                    <a:lnTo>
                      <a:pt x="29" y="59"/>
                    </a:lnTo>
                    <a:close/>
                    <a:moveTo>
                      <a:pt x="44" y="70"/>
                    </a:moveTo>
                    <a:lnTo>
                      <a:pt x="44" y="72"/>
                    </a:lnTo>
                    <a:lnTo>
                      <a:pt x="46" y="72"/>
                    </a:lnTo>
                    <a:lnTo>
                      <a:pt x="44" y="72"/>
                    </a:lnTo>
                    <a:lnTo>
                      <a:pt x="44" y="70"/>
                    </a:lnTo>
                    <a:close/>
                    <a:moveTo>
                      <a:pt x="25" y="55"/>
                    </a:moveTo>
                    <a:lnTo>
                      <a:pt x="29" y="57"/>
                    </a:lnTo>
                    <a:lnTo>
                      <a:pt x="29" y="59"/>
                    </a:lnTo>
                    <a:lnTo>
                      <a:pt x="27" y="57"/>
                    </a:lnTo>
                    <a:lnTo>
                      <a:pt x="27" y="55"/>
                    </a:lnTo>
                    <a:lnTo>
                      <a:pt x="25" y="55"/>
                    </a:lnTo>
                    <a:close/>
                    <a:moveTo>
                      <a:pt x="53" y="85"/>
                    </a:moveTo>
                    <a:lnTo>
                      <a:pt x="55" y="85"/>
                    </a:lnTo>
                    <a:lnTo>
                      <a:pt x="53" y="85"/>
                    </a:lnTo>
                    <a:close/>
                    <a:moveTo>
                      <a:pt x="29" y="61"/>
                    </a:moveTo>
                    <a:lnTo>
                      <a:pt x="31" y="64"/>
                    </a:lnTo>
                    <a:lnTo>
                      <a:pt x="29" y="63"/>
                    </a:lnTo>
                    <a:lnTo>
                      <a:pt x="29" y="61"/>
                    </a:lnTo>
                    <a:lnTo>
                      <a:pt x="27" y="61"/>
                    </a:lnTo>
                    <a:lnTo>
                      <a:pt x="29" y="61"/>
                    </a:lnTo>
                    <a:close/>
                    <a:moveTo>
                      <a:pt x="44" y="68"/>
                    </a:moveTo>
                    <a:lnTo>
                      <a:pt x="46" y="70"/>
                    </a:lnTo>
                    <a:lnTo>
                      <a:pt x="44" y="70"/>
                    </a:lnTo>
                    <a:lnTo>
                      <a:pt x="44" y="68"/>
                    </a:lnTo>
                    <a:close/>
                    <a:moveTo>
                      <a:pt x="19" y="49"/>
                    </a:moveTo>
                    <a:lnTo>
                      <a:pt x="21" y="49"/>
                    </a:lnTo>
                    <a:lnTo>
                      <a:pt x="21" y="51"/>
                    </a:lnTo>
                    <a:lnTo>
                      <a:pt x="19" y="51"/>
                    </a:lnTo>
                    <a:lnTo>
                      <a:pt x="19" y="49"/>
                    </a:lnTo>
                    <a:close/>
                    <a:moveTo>
                      <a:pt x="25" y="51"/>
                    </a:moveTo>
                    <a:lnTo>
                      <a:pt x="27" y="51"/>
                    </a:lnTo>
                    <a:lnTo>
                      <a:pt x="25" y="51"/>
                    </a:lnTo>
                    <a:close/>
                    <a:moveTo>
                      <a:pt x="21" y="53"/>
                    </a:moveTo>
                    <a:lnTo>
                      <a:pt x="23" y="53"/>
                    </a:lnTo>
                    <a:lnTo>
                      <a:pt x="21" y="53"/>
                    </a:lnTo>
                    <a:close/>
                    <a:moveTo>
                      <a:pt x="32" y="63"/>
                    </a:moveTo>
                    <a:lnTo>
                      <a:pt x="34" y="63"/>
                    </a:lnTo>
                    <a:lnTo>
                      <a:pt x="32" y="63"/>
                    </a:lnTo>
                    <a:close/>
                    <a:moveTo>
                      <a:pt x="11" y="43"/>
                    </a:moveTo>
                    <a:lnTo>
                      <a:pt x="13" y="43"/>
                    </a:lnTo>
                    <a:lnTo>
                      <a:pt x="13" y="45"/>
                    </a:lnTo>
                    <a:lnTo>
                      <a:pt x="11" y="45"/>
                    </a:lnTo>
                    <a:lnTo>
                      <a:pt x="11" y="43"/>
                    </a:lnTo>
                    <a:close/>
                    <a:moveTo>
                      <a:pt x="25" y="57"/>
                    </a:moveTo>
                    <a:lnTo>
                      <a:pt x="27" y="57"/>
                    </a:lnTo>
                    <a:lnTo>
                      <a:pt x="27" y="59"/>
                    </a:lnTo>
                    <a:lnTo>
                      <a:pt x="25" y="59"/>
                    </a:lnTo>
                    <a:lnTo>
                      <a:pt x="25" y="57"/>
                    </a:lnTo>
                    <a:close/>
                    <a:moveTo>
                      <a:pt x="69" y="85"/>
                    </a:moveTo>
                    <a:lnTo>
                      <a:pt x="71" y="85"/>
                    </a:lnTo>
                    <a:lnTo>
                      <a:pt x="71" y="87"/>
                    </a:lnTo>
                    <a:lnTo>
                      <a:pt x="69" y="87"/>
                    </a:lnTo>
                    <a:lnTo>
                      <a:pt x="69" y="85"/>
                    </a:lnTo>
                    <a:close/>
                    <a:moveTo>
                      <a:pt x="34" y="64"/>
                    </a:moveTo>
                    <a:lnTo>
                      <a:pt x="36" y="64"/>
                    </a:lnTo>
                    <a:lnTo>
                      <a:pt x="36" y="66"/>
                    </a:lnTo>
                    <a:lnTo>
                      <a:pt x="34" y="66"/>
                    </a:lnTo>
                    <a:lnTo>
                      <a:pt x="34" y="64"/>
                    </a:lnTo>
                    <a:close/>
                    <a:moveTo>
                      <a:pt x="23" y="53"/>
                    </a:moveTo>
                    <a:lnTo>
                      <a:pt x="25" y="53"/>
                    </a:lnTo>
                    <a:lnTo>
                      <a:pt x="25" y="55"/>
                    </a:lnTo>
                    <a:lnTo>
                      <a:pt x="23" y="55"/>
                    </a:lnTo>
                    <a:lnTo>
                      <a:pt x="23" y="53"/>
                    </a:lnTo>
                    <a:close/>
                    <a:moveTo>
                      <a:pt x="29" y="61"/>
                    </a:moveTo>
                    <a:lnTo>
                      <a:pt x="31" y="61"/>
                    </a:lnTo>
                    <a:lnTo>
                      <a:pt x="31" y="63"/>
                    </a:lnTo>
                    <a:lnTo>
                      <a:pt x="29" y="63"/>
                    </a:lnTo>
                    <a:lnTo>
                      <a:pt x="29" y="61"/>
                    </a:lnTo>
                    <a:close/>
                    <a:moveTo>
                      <a:pt x="19" y="49"/>
                    </a:moveTo>
                    <a:lnTo>
                      <a:pt x="19" y="51"/>
                    </a:lnTo>
                    <a:lnTo>
                      <a:pt x="19" y="49"/>
                    </a:lnTo>
                    <a:close/>
                    <a:moveTo>
                      <a:pt x="19" y="51"/>
                    </a:moveTo>
                    <a:lnTo>
                      <a:pt x="21" y="51"/>
                    </a:lnTo>
                    <a:lnTo>
                      <a:pt x="21" y="53"/>
                    </a:lnTo>
                    <a:lnTo>
                      <a:pt x="19" y="53"/>
                    </a:lnTo>
                    <a:lnTo>
                      <a:pt x="19" y="51"/>
                    </a:lnTo>
                    <a:close/>
                    <a:moveTo>
                      <a:pt x="17" y="51"/>
                    </a:moveTo>
                    <a:lnTo>
                      <a:pt x="19" y="51"/>
                    </a:lnTo>
                    <a:lnTo>
                      <a:pt x="17" y="51"/>
                    </a:lnTo>
                    <a:close/>
                    <a:moveTo>
                      <a:pt x="15" y="36"/>
                    </a:moveTo>
                    <a:lnTo>
                      <a:pt x="17" y="36"/>
                    </a:lnTo>
                    <a:lnTo>
                      <a:pt x="17" y="38"/>
                    </a:lnTo>
                    <a:lnTo>
                      <a:pt x="15" y="38"/>
                    </a:lnTo>
                    <a:lnTo>
                      <a:pt x="15" y="36"/>
                    </a:lnTo>
                    <a:close/>
                    <a:moveTo>
                      <a:pt x="23" y="47"/>
                    </a:moveTo>
                    <a:lnTo>
                      <a:pt x="23" y="49"/>
                    </a:lnTo>
                    <a:lnTo>
                      <a:pt x="23" y="47"/>
                    </a:lnTo>
                    <a:close/>
                    <a:moveTo>
                      <a:pt x="50" y="78"/>
                    </a:moveTo>
                    <a:lnTo>
                      <a:pt x="52" y="78"/>
                    </a:lnTo>
                    <a:lnTo>
                      <a:pt x="50" y="78"/>
                    </a:lnTo>
                    <a:close/>
                    <a:moveTo>
                      <a:pt x="36" y="64"/>
                    </a:moveTo>
                    <a:lnTo>
                      <a:pt x="38" y="64"/>
                    </a:lnTo>
                    <a:lnTo>
                      <a:pt x="38" y="66"/>
                    </a:lnTo>
                    <a:lnTo>
                      <a:pt x="36" y="66"/>
                    </a:lnTo>
                    <a:lnTo>
                      <a:pt x="36" y="64"/>
                    </a:lnTo>
                    <a:close/>
                    <a:moveTo>
                      <a:pt x="34" y="64"/>
                    </a:moveTo>
                    <a:lnTo>
                      <a:pt x="36" y="64"/>
                    </a:lnTo>
                    <a:lnTo>
                      <a:pt x="36" y="66"/>
                    </a:lnTo>
                    <a:lnTo>
                      <a:pt x="34" y="66"/>
                    </a:lnTo>
                    <a:lnTo>
                      <a:pt x="34" y="64"/>
                    </a:lnTo>
                    <a:close/>
                    <a:moveTo>
                      <a:pt x="19" y="38"/>
                    </a:moveTo>
                    <a:lnTo>
                      <a:pt x="21" y="38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9" y="38"/>
                    </a:lnTo>
                    <a:close/>
                    <a:moveTo>
                      <a:pt x="40" y="80"/>
                    </a:moveTo>
                    <a:lnTo>
                      <a:pt x="40" y="82"/>
                    </a:lnTo>
                    <a:lnTo>
                      <a:pt x="40" y="80"/>
                    </a:lnTo>
                    <a:close/>
                    <a:moveTo>
                      <a:pt x="17" y="47"/>
                    </a:moveTo>
                    <a:lnTo>
                      <a:pt x="17" y="49"/>
                    </a:lnTo>
                    <a:lnTo>
                      <a:pt x="17" y="47"/>
                    </a:lnTo>
                    <a:close/>
                    <a:moveTo>
                      <a:pt x="21" y="42"/>
                    </a:moveTo>
                    <a:lnTo>
                      <a:pt x="21" y="43"/>
                    </a:lnTo>
                    <a:lnTo>
                      <a:pt x="21" y="42"/>
                    </a:lnTo>
                    <a:close/>
                    <a:moveTo>
                      <a:pt x="19" y="51"/>
                    </a:moveTo>
                    <a:lnTo>
                      <a:pt x="19" y="53"/>
                    </a:lnTo>
                    <a:lnTo>
                      <a:pt x="19" y="51"/>
                    </a:lnTo>
                    <a:close/>
                    <a:moveTo>
                      <a:pt x="25" y="57"/>
                    </a:moveTo>
                    <a:lnTo>
                      <a:pt x="25" y="59"/>
                    </a:lnTo>
                    <a:lnTo>
                      <a:pt x="25" y="57"/>
                    </a:lnTo>
                    <a:close/>
                    <a:moveTo>
                      <a:pt x="40" y="70"/>
                    </a:moveTo>
                    <a:lnTo>
                      <a:pt x="42" y="70"/>
                    </a:lnTo>
                    <a:lnTo>
                      <a:pt x="40" y="70"/>
                    </a:lnTo>
                    <a:close/>
                    <a:moveTo>
                      <a:pt x="29" y="63"/>
                    </a:moveTo>
                    <a:lnTo>
                      <a:pt x="31" y="63"/>
                    </a:lnTo>
                    <a:lnTo>
                      <a:pt x="29" y="63"/>
                    </a:lnTo>
                    <a:close/>
                    <a:moveTo>
                      <a:pt x="13" y="40"/>
                    </a:moveTo>
                    <a:lnTo>
                      <a:pt x="13" y="42"/>
                    </a:lnTo>
                    <a:lnTo>
                      <a:pt x="13" y="40"/>
                    </a:lnTo>
                    <a:close/>
                    <a:moveTo>
                      <a:pt x="27" y="59"/>
                    </a:moveTo>
                    <a:lnTo>
                      <a:pt x="27" y="61"/>
                    </a:lnTo>
                    <a:lnTo>
                      <a:pt x="27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7" name="Freeform 130">
                <a:extLst>
                  <a:ext uri="{FF2B5EF4-FFF2-40B4-BE49-F238E27FC236}">
                    <a16:creationId xmlns:a16="http://schemas.microsoft.com/office/drawing/2014/main" id="{B1CF6A25-BA3C-531E-B859-613E4FA0284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965223" y="-3406211"/>
                <a:ext cx="367113" cy="355171"/>
              </a:xfrm>
              <a:custGeom>
                <a:avLst/>
                <a:gdLst>
                  <a:gd name="T0" fmla="*/ 187 w 233"/>
                  <a:gd name="T1" fmla="*/ 47 h 225"/>
                  <a:gd name="T2" fmla="*/ 201 w 233"/>
                  <a:gd name="T3" fmla="*/ 47 h 225"/>
                  <a:gd name="T4" fmla="*/ 212 w 233"/>
                  <a:gd name="T5" fmla="*/ 53 h 225"/>
                  <a:gd name="T6" fmla="*/ 203 w 233"/>
                  <a:gd name="T7" fmla="*/ 78 h 225"/>
                  <a:gd name="T8" fmla="*/ 193 w 233"/>
                  <a:gd name="T9" fmla="*/ 88 h 225"/>
                  <a:gd name="T10" fmla="*/ 184 w 233"/>
                  <a:gd name="T11" fmla="*/ 105 h 225"/>
                  <a:gd name="T12" fmla="*/ 180 w 233"/>
                  <a:gd name="T13" fmla="*/ 118 h 225"/>
                  <a:gd name="T14" fmla="*/ 193 w 233"/>
                  <a:gd name="T15" fmla="*/ 126 h 225"/>
                  <a:gd name="T16" fmla="*/ 193 w 233"/>
                  <a:gd name="T17" fmla="*/ 141 h 225"/>
                  <a:gd name="T18" fmla="*/ 191 w 233"/>
                  <a:gd name="T19" fmla="*/ 152 h 225"/>
                  <a:gd name="T20" fmla="*/ 203 w 233"/>
                  <a:gd name="T21" fmla="*/ 164 h 225"/>
                  <a:gd name="T22" fmla="*/ 195 w 233"/>
                  <a:gd name="T23" fmla="*/ 177 h 225"/>
                  <a:gd name="T24" fmla="*/ 185 w 233"/>
                  <a:gd name="T25" fmla="*/ 185 h 225"/>
                  <a:gd name="T26" fmla="*/ 172 w 233"/>
                  <a:gd name="T27" fmla="*/ 185 h 225"/>
                  <a:gd name="T28" fmla="*/ 159 w 233"/>
                  <a:gd name="T29" fmla="*/ 181 h 225"/>
                  <a:gd name="T30" fmla="*/ 134 w 233"/>
                  <a:gd name="T31" fmla="*/ 183 h 225"/>
                  <a:gd name="T32" fmla="*/ 126 w 233"/>
                  <a:gd name="T33" fmla="*/ 200 h 225"/>
                  <a:gd name="T34" fmla="*/ 109 w 233"/>
                  <a:gd name="T35" fmla="*/ 200 h 225"/>
                  <a:gd name="T36" fmla="*/ 92 w 233"/>
                  <a:gd name="T37" fmla="*/ 194 h 225"/>
                  <a:gd name="T38" fmla="*/ 75 w 233"/>
                  <a:gd name="T39" fmla="*/ 194 h 225"/>
                  <a:gd name="T40" fmla="*/ 60 w 233"/>
                  <a:gd name="T41" fmla="*/ 189 h 225"/>
                  <a:gd name="T42" fmla="*/ 61 w 233"/>
                  <a:gd name="T43" fmla="*/ 156 h 225"/>
                  <a:gd name="T44" fmla="*/ 71 w 233"/>
                  <a:gd name="T45" fmla="*/ 143 h 225"/>
                  <a:gd name="T46" fmla="*/ 65 w 233"/>
                  <a:gd name="T47" fmla="*/ 131 h 225"/>
                  <a:gd name="T48" fmla="*/ 65 w 233"/>
                  <a:gd name="T49" fmla="*/ 122 h 225"/>
                  <a:gd name="T50" fmla="*/ 58 w 233"/>
                  <a:gd name="T51" fmla="*/ 112 h 225"/>
                  <a:gd name="T52" fmla="*/ 48 w 233"/>
                  <a:gd name="T53" fmla="*/ 93 h 225"/>
                  <a:gd name="T54" fmla="*/ 44 w 233"/>
                  <a:gd name="T55" fmla="*/ 88 h 225"/>
                  <a:gd name="T56" fmla="*/ 39 w 233"/>
                  <a:gd name="T57" fmla="*/ 84 h 225"/>
                  <a:gd name="T58" fmla="*/ 29 w 233"/>
                  <a:gd name="T59" fmla="*/ 82 h 225"/>
                  <a:gd name="T60" fmla="*/ 21 w 233"/>
                  <a:gd name="T61" fmla="*/ 80 h 225"/>
                  <a:gd name="T62" fmla="*/ 6 w 233"/>
                  <a:gd name="T63" fmla="*/ 74 h 225"/>
                  <a:gd name="T64" fmla="*/ 8 w 233"/>
                  <a:gd name="T65" fmla="*/ 70 h 225"/>
                  <a:gd name="T66" fmla="*/ 12 w 233"/>
                  <a:gd name="T67" fmla="*/ 67 h 225"/>
                  <a:gd name="T68" fmla="*/ 12 w 233"/>
                  <a:gd name="T69" fmla="*/ 61 h 225"/>
                  <a:gd name="T70" fmla="*/ 25 w 233"/>
                  <a:gd name="T71" fmla="*/ 55 h 225"/>
                  <a:gd name="T72" fmla="*/ 39 w 233"/>
                  <a:gd name="T73" fmla="*/ 65 h 225"/>
                  <a:gd name="T74" fmla="*/ 50 w 233"/>
                  <a:gd name="T75" fmla="*/ 61 h 225"/>
                  <a:gd name="T76" fmla="*/ 58 w 233"/>
                  <a:gd name="T77" fmla="*/ 53 h 225"/>
                  <a:gd name="T78" fmla="*/ 56 w 233"/>
                  <a:gd name="T79" fmla="*/ 36 h 225"/>
                  <a:gd name="T80" fmla="*/ 77 w 233"/>
                  <a:gd name="T81" fmla="*/ 46 h 225"/>
                  <a:gd name="T82" fmla="*/ 82 w 233"/>
                  <a:gd name="T83" fmla="*/ 40 h 225"/>
                  <a:gd name="T84" fmla="*/ 107 w 233"/>
                  <a:gd name="T85" fmla="*/ 21 h 225"/>
                  <a:gd name="T86" fmla="*/ 109 w 233"/>
                  <a:gd name="T87" fmla="*/ 4 h 225"/>
                  <a:gd name="T88" fmla="*/ 122 w 233"/>
                  <a:gd name="T89" fmla="*/ 6 h 225"/>
                  <a:gd name="T90" fmla="*/ 136 w 233"/>
                  <a:gd name="T91" fmla="*/ 13 h 225"/>
                  <a:gd name="T92" fmla="*/ 147 w 233"/>
                  <a:gd name="T93" fmla="*/ 23 h 225"/>
                  <a:gd name="T94" fmla="*/ 159 w 233"/>
                  <a:gd name="T95" fmla="*/ 28 h 225"/>
                  <a:gd name="T96" fmla="*/ 172 w 233"/>
                  <a:gd name="T97" fmla="*/ 38 h 225"/>
                  <a:gd name="T98" fmla="*/ 231 w 233"/>
                  <a:gd name="T99" fmla="*/ 219 h 225"/>
                  <a:gd name="T100" fmla="*/ 225 w 233"/>
                  <a:gd name="T101" fmla="*/ 223 h 225"/>
                  <a:gd name="T102" fmla="*/ 222 w 233"/>
                  <a:gd name="T103" fmla="*/ 213 h 225"/>
                  <a:gd name="T104" fmla="*/ 218 w 233"/>
                  <a:gd name="T105" fmla="*/ 202 h 225"/>
                  <a:gd name="T106" fmla="*/ 231 w 233"/>
                  <a:gd name="T107" fmla="*/ 189 h 225"/>
                  <a:gd name="T108" fmla="*/ 33 w 233"/>
                  <a:gd name="T109" fmla="*/ 93 h 225"/>
                  <a:gd name="T110" fmla="*/ 58 w 233"/>
                  <a:gd name="T111" fmla="*/ 116 h 225"/>
                  <a:gd name="T112" fmla="*/ 25 w 233"/>
                  <a:gd name="T113" fmla="*/ 84 h 225"/>
                  <a:gd name="T114" fmla="*/ 119 w 233"/>
                  <a:gd name="T115" fmla="*/ 0 h 225"/>
                  <a:gd name="T116" fmla="*/ 71 w 233"/>
                  <a:gd name="T117" fmla="*/ 141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" h="225">
                    <a:moveTo>
                      <a:pt x="174" y="38"/>
                    </a:moveTo>
                    <a:lnTo>
                      <a:pt x="174" y="40"/>
                    </a:lnTo>
                    <a:lnTo>
                      <a:pt x="176" y="40"/>
                    </a:lnTo>
                    <a:lnTo>
                      <a:pt x="178" y="40"/>
                    </a:lnTo>
                    <a:lnTo>
                      <a:pt x="180" y="40"/>
                    </a:lnTo>
                    <a:lnTo>
                      <a:pt x="182" y="40"/>
                    </a:lnTo>
                    <a:lnTo>
                      <a:pt x="184" y="40"/>
                    </a:lnTo>
                    <a:lnTo>
                      <a:pt x="185" y="42"/>
                    </a:lnTo>
                    <a:lnTo>
                      <a:pt x="187" y="42"/>
                    </a:lnTo>
                    <a:lnTo>
                      <a:pt x="185" y="44"/>
                    </a:lnTo>
                    <a:lnTo>
                      <a:pt x="187" y="44"/>
                    </a:lnTo>
                    <a:lnTo>
                      <a:pt x="187" y="46"/>
                    </a:lnTo>
                    <a:lnTo>
                      <a:pt x="189" y="46"/>
                    </a:lnTo>
                    <a:lnTo>
                      <a:pt x="187" y="47"/>
                    </a:lnTo>
                    <a:lnTo>
                      <a:pt x="189" y="47"/>
                    </a:lnTo>
                    <a:lnTo>
                      <a:pt x="191" y="47"/>
                    </a:lnTo>
                    <a:lnTo>
                      <a:pt x="191" y="46"/>
                    </a:lnTo>
                    <a:lnTo>
                      <a:pt x="193" y="46"/>
                    </a:lnTo>
                    <a:lnTo>
                      <a:pt x="193" y="47"/>
                    </a:lnTo>
                    <a:lnTo>
                      <a:pt x="193" y="49"/>
                    </a:lnTo>
                    <a:lnTo>
                      <a:pt x="195" y="47"/>
                    </a:lnTo>
                    <a:lnTo>
                      <a:pt x="195" y="49"/>
                    </a:lnTo>
                    <a:lnTo>
                      <a:pt x="195" y="47"/>
                    </a:lnTo>
                    <a:lnTo>
                      <a:pt x="197" y="49"/>
                    </a:lnTo>
                    <a:lnTo>
                      <a:pt x="197" y="47"/>
                    </a:lnTo>
                    <a:lnTo>
                      <a:pt x="197" y="49"/>
                    </a:lnTo>
                    <a:lnTo>
                      <a:pt x="199" y="47"/>
                    </a:lnTo>
                    <a:lnTo>
                      <a:pt x="201" y="47"/>
                    </a:lnTo>
                    <a:lnTo>
                      <a:pt x="199" y="47"/>
                    </a:lnTo>
                    <a:lnTo>
                      <a:pt x="201" y="47"/>
                    </a:lnTo>
                    <a:lnTo>
                      <a:pt x="201" y="49"/>
                    </a:lnTo>
                    <a:lnTo>
                      <a:pt x="203" y="49"/>
                    </a:lnTo>
                    <a:lnTo>
                      <a:pt x="204" y="51"/>
                    </a:lnTo>
                    <a:lnTo>
                      <a:pt x="206" y="49"/>
                    </a:lnTo>
                    <a:lnTo>
                      <a:pt x="206" y="51"/>
                    </a:lnTo>
                    <a:lnTo>
                      <a:pt x="206" y="49"/>
                    </a:lnTo>
                    <a:lnTo>
                      <a:pt x="208" y="51"/>
                    </a:lnTo>
                    <a:lnTo>
                      <a:pt x="208" y="49"/>
                    </a:lnTo>
                    <a:lnTo>
                      <a:pt x="208" y="51"/>
                    </a:lnTo>
                    <a:lnTo>
                      <a:pt x="210" y="51"/>
                    </a:lnTo>
                    <a:lnTo>
                      <a:pt x="212" y="51"/>
                    </a:lnTo>
                    <a:lnTo>
                      <a:pt x="212" y="53"/>
                    </a:lnTo>
                    <a:lnTo>
                      <a:pt x="210" y="53"/>
                    </a:lnTo>
                    <a:lnTo>
                      <a:pt x="210" y="57"/>
                    </a:lnTo>
                    <a:lnTo>
                      <a:pt x="208" y="57"/>
                    </a:lnTo>
                    <a:lnTo>
                      <a:pt x="208" y="59"/>
                    </a:lnTo>
                    <a:lnTo>
                      <a:pt x="206" y="61"/>
                    </a:lnTo>
                    <a:lnTo>
                      <a:pt x="206" y="63"/>
                    </a:lnTo>
                    <a:lnTo>
                      <a:pt x="204" y="65"/>
                    </a:lnTo>
                    <a:lnTo>
                      <a:pt x="204" y="67"/>
                    </a:lnTo>
                    <a:lnTo>
                      <a:pt x="204" y="68"/>
                    </a:lnTo>
                    <a:lnTo>
                      <a:pt x="203" y="70"/>
                    </a:lnTo>
                    <a:lnTo>
                      <a:pt x="203" y="72"/>
                    </a:lnTo>
                    <a:lnTo>
                      <a:pt x="203" y="74"/>
                    </a:lnTo>
                    <a:lnTo>
                      <a:pt x="203" y="76"/>
                    </a:lnTo>
                    <a:lnTo>
                      <a:pt x="203" y="78"/>
                    </a:lnTo>
                    <a:lnTo>
                      <a:pt x="203" y="80"/>
                    </a:lnTo>
                    <a:lnTo>
                      <a:pt x="201" y="80"/>
                    </a:lnTo>
                    <a:lnTo>
                      <a:pt x="201" y="82"/>
                    </a:lnTo>
                    <a:lnTo>
                      <a:pt x="203" y="86"/>
                    </a:lnTo>
                    <a:lnTo>
                      <a:pt x="201" y="86"/>
                    </a:lnTo>
                    <a:lnTo>
                      <a:pt x="201" y="88"/>
                    </a:lnTo>
                    <a:lnTo>
                      <a:pt x="199" y="88"/>
                    </a:lnTo>
                    <a:lnTo>
                      <a:pt x="201" y="88"/>
                    </a:lnTo>
                    <a:lnTo>
                      <a:pt x="199" y="89"/>
                    </a:lnTo>
                    <a:lnTo>
                      <a:pt x="197" y="89"/>
                    </a:lnTo>
                    <a:lnTo>
                      <a:pt x="195" y="89"/>
                    </a:lnTo>
                    <a:lnTo>
                      <a:pt x="197" y="88"/>
                    </a:lnTo>
                    <a:lnTo>
                      <a:pt x="195" y="88"/>
                    </a:lnTo>
                    <a:lnTo>
                      <a:pt x="193" y="88"/>
                    </a:lnTo>
                    <a:lnTo>
                      <a:pt x="191" y="89"/>
                    </a:lnTo>
                    <a:lnTo>
                      <a:pt x="191" y="91"/>
                    </a:lnTo>
                    <a:lnTo>
                      <a:pt x="193" y="89"/>
                    </a:lnTo>
                    <a:lnTo>
                      <a:pt x="193" y="91"/>
                    </a:lnTo>
                    <a:lnTo>
                      <a:pt x="191" y="91"/>
                    </a:lnTo>
                    <a:lnTo>
                      <a:pt x="193" y="93"/>
                    </a:lnTo>
                    <a:lnTo>
                      <a:pt x="191" y="95"/>
                    </a:lnTo>
                    <a:lnTo>
                      <a:pt x="187" y="97"/>
                    </a:lnTo>
                    <a:lnTo>
                      <a:pt x="189" y="97"/>
                    </a:lnTo>
                    <a:lnTo>
                      <a:pt x="187" y="99"/>
                    </a:lnTo>
                    <a:lnTo>
                      <a:pt x="185" y="99"/>
                    </a:lnTo>
                    <a:lnTo>
                      <a:pt x="184" y="101"/>
                    </a:lnTo>
                    <a:lnTo>
                      <a:pt x="184" y="103"/>
                    </a:lnTo>
                    <a:lnTo>
                      <a:pt x="184" y="105"/>
                    </a:lnTo>
                    <a:lnTo>
                      <a:pt x="182" y="107"/>
                    </a:lnTo>
                    <a:lnTo>
                      <a:pt x="178" y="109"/>
                    </a:lnTo>
                    <a:lnTo>
                      <a:pt x="180" y="110"/>
                    </a:lnTo>
                    <a:lnTo>
                      <a:pt x="178" y="112"/>
                    </a:lnTo>
                    <a:lnTo>
                      <a:pt x="180" y="114"/>
                    </a:lnTo>
                    <a:lnTo>
                      <a:pt x="178" y="116"/>
                    </a:lnTo>
                    <a:lnTo>
                      <a:pt x="180" y="116"/>
                    </a:lnTo>
                    <a:lnTo>
                      <a:pt x="178" y="116"/>
                    </a:lnTo>
                    <a:lnTo>
                      <a:pt x="176" y="118"/>
                    </a:lnTo>
                    <a:lnTo>
                      <a:pt x="176" y="120"/>
                    </a:lnTo>
                    <a:lnTo>
                      <a:pt x="176" y="118"/>
                    </a:lnTo>
                    <a:lnTo>
                      <a:pt x="178" y="120"/>
                    </a:lnTo>
                    <a:lnTo>
                      <a:pt x="178" y="118"/>
                    </a:lnTo>
                    <a:lnTo>
                      <a:pt x="180" y="118"/>
                    </a:lnTo>
                    <a:lnTo>
                      <a:pt x="182" y="116"/>
                    </a:lnTo>
                    <a:lnTo>
                      <a:pt x="182" y="114"/>
                    </a:lnTo>
                    <a:lnTo>
                      <a:pt x="184" y="114"/>
                    </a:lnTo>
                    <a:lnTo>
                      <a:pt x="185" y="112"/>
                    </a:lnTo>
                    <a:lnTo>
                      <a:pt x="189" y="112"/>
                    </a:lnTo>
                    <a:lnTo>
                      <a:pt x="189" y="114"/>
                    </a:lnTo>
                    <a:lnTo>
                      <a:pt x="191" y="116"/>
                    </a:lnTo>
                    <a:lnTo>
                      <a:pt x="189" y="118"/>
                    </a:lnTo>
                    <a:lnTo>
                      <a:pt x="191" y="120"/>
                    </a:lnTo>
                    <a:lnTo>
                      <a:pt x="191" y="122"/>
                    </a:lnTo>
                    <a:lnTo>
                      <a:pt x="191" y="120"/>
                    </a:lnTo>
                    <a:lnTo>
                      <a:pt x="193" y="122"/>
                    </a:lnTo>
                    <a:lnTo>
                      <a:pt x="193" y="124"/>
                    </a:lnTo>
                    <a:lnTo>
                      <a:pt x="193" y="126"/>
                    </a:lnTo>
                    <a:lnTo>
                      <a:pt x="191" y="126"/>
                    </a:lnTo>
                    <a:lnTo>
                      <a:pt x="189" y="126"/>
                    </a:lnTo>
                    <a:lnTo>
                      <a:pt x="189" y="128"/>
                    </a:lnTo>
                    <a:lnTo>
                      <a:pt x="191" y="130"/>
                    </a:lnTo>
                    <a:lnTo>
                      <a:pt x="193" y="130"/>
                    </a:lnTo>
                    <a:lnTo>
                      <a:pt x="193" y="131"/>
                    </a:lnTo>
                    <a:lnTo>
                      <a:pt x="193" y="133"/>
                    </a:lnTo>
                    <a:lnTo>
                      <a:pt x="195" y="133"/>
                    </a:lnTo>
                    <a:lnTo>
                      <a:pt x="195" y="135"/>
                    </a:lnTo>
                    <a:lnTo>
                      <a:pt x="195" y="137"/>
                    </a:lnTo>
                    <a:lnTo>
                      <a:pt x="195" y="139"/>
                    </a:lnTo>
                    <a:lnTo>
                      <a:pt x="193" y="141"/>
                    </a:lnTo>
                    <a:lnTo>
                      <a:pt x="193" y="139"/>
                    </a:lnTo>
                    <a:lnTo>
                      <a:pt x="193" y="141"/>
                    </a:lnTo>
                    <a:lnTo>
                      <a:pt x="191" y="141"/>
                    </a:lnTo>
                    <a:lnTo>
                      <a:pt x="191" y="143"/>
                    </a:lnTo>
                    <a:lnTo>
                      <a:pt x="189" y="141"/>
                    </a:lnTo>
                    <a:lnTo>
                      <a:pt x="187" y="141"/>
                    </a:lnTo>
                    <a:lnTo>
                      <a:pt x="187" y="143"/>
                    </a:lnTo>
                    <a:lnTo>
                      <a:pt x="187" y="145"/>
                    </a:lnTo>
                    <a:lnTo>
                      <a:pt x="189" y="145"/>
                    </a:lnTo>
                    <a:lnTo>
                      <a:pt x="189" y="147"/>
                    </a:lnTo>
                    <a:lnTo>
                      <a:pt x="191" y="149"/>
                    </a:lnTo>
                    <a:lnTo>
                      <a:pt x="193" y="149"/>
                    </a:lnTo>
                    <a:lnTo>
                      <a:pt x="193" y="151"/>
                    </a:lnTo>
                    <a:lnTo>
                      <a:pt x="195" y="152"/>
                    </a:lnTo>
                    <a:lnTo>
                      <a:pt x="193" y="152"/>
                    </a:lnTo>
                    <a:lnTo>
                      <a:pt x="191" y="152"/>
                    </a:lnTo>
                    <a:lnTo>
                      <a:pt x="193" y="152"/>
                    </a:lnTo>
                    <a:lnTo>
                      <a:pt x="191" y="154"/>
                    </a:lnTo>
                    <a:lnTo>
                      <a:pt x="191" y="156"/>
                    </a:lnTo>
                    <a:lnTo>
                      <a:pt x="191" y="158"/>
                    </a:lnTo>
                    <a:lnTo>
                      <a:pt x="191" y="160"/>
                    </a:lnTo>
                    <a:lnTo>
                      <a:pt x="193" y="160"/>
                    </a:lnTo>
                    <a:lnTo>
                      <a:pt x="193" y="162"/>
                    </a:lnTo>
                    <a:lnTo>
                      <a:pt x="195" y="162"/>
                    </a:lnTo>
                    <a:lnTo>
                      <a:pt x="197" y="164"/>
                    </a:lnTo>
                    <a:lnTo>
                      <a:pt x="199" y="164"/>
                    </a:lnTo>
                    <a:lnTo>
                      <a:pt x="201" y="164"/>
                    </a:lnTo>
                    <a:lnTo>
                      <a:pt x="203" y="164"/>
                    </a:lnTo>
                    <a:lnTo>
                      <a:pt x="204" y="164"/>
                    </a:lnTo>
                    <a:lnTo>
                      <a:pt x="203" y="164"/>
                    </a:lnTo>
                    <a:lnTo>
                      <a:pt x="204" y="166"/>
                    </a:lnTo>
                    <a:lnTo>
                      <a:pt x="203" y="166"/>
                    </a:lnTo>
                    <a:lnTo>
                      <a:pt x="203" y="168"/>
                    </a:lnTo>
                    <a:lnTo>
                      <a:pt x="203" y="170"/>
                    </a:lnTo>
                    <a:lnTo>
                      <a:pt x="201" y="170"/>
                    </a:lnTo>
                    <a:lnTo>
                      <a:pt x="201" y="172"/>
                    </a:lnTo>
                    <a:lnTo>
                      <a:pt x="201" y="173"/>
                    </a:lnTo>
                    <a:lnTo>
                      <a:pt x="201" y="172"/>
                    </a:lnTo>
                    <a:lnTo>
                      <a:pt x="201" y="173"/>
                    </a:lnTo>
                    <a:lnTo>
                      <a:pt x="199" y="173"/>
                    </a:lnTo>
                    <a:lnTo>
                      <a:pt x="197" y="173"/>
                    </a:lnTo>
                    <a:lnTo>
                      <a:pt x="197" y="175"/>
                    </a:lnTo>
                    <a:lnTo>
                      <a:pt x="195" y="175"/>
                    </a:lnTo>
                    <a:lnTo>
                      <a:pt x="195" y="177"/>
                    </a:lnTo>
                    <a:lnTo>
                      <a:pt x="193" y="177"/>
                    </a:lnTo>
                    <a:lnTo>
                      <a:pt x="191" y="177"/>
                    </a:lnTo>
                    <a:lnTo>
                      <a:pt x="193" y="179"/>
                    </a:lnTo>
                    <a:lnTo>
                      <a:pt x="191" y="179"/>
                    </a:lnTo>
                    <a:lnTo>
                      <a:pt x="191" y="181"/>
                    </a:lnTo>
                    <a:lnTo>
                      <a:pt x="189" y="181"/>
                    </a:lnTo>
                    <a:lnTo>
                      <a:pt x="189" y="179"/>
                    </a:lnTo>
                    <a:lnTo>
                      <a:pt x="189" y="181"/>
                    </a:lnTo>
                    <a:lnTo>
                      <a:pt x="187" y="181"/>
                    </a:lnTo>
                    <a:lnTo>
                      <a:pt x="187" y="183"/>
                    </a:lnTo>
                    <a:lnTo>
                      <a:pt x="185" y="183"/>
                    </a:lnTo>
                    <a:lnTo>
                      <a:pt x="187" y="183"/>
                    </a:lnTo>
                    <a:lnTo>
                      <a:pt x="187" y="185"/>
                    </a:lnTo>
                    <a:lnTo>
                      <a:pt x="185" y="185"/>
                    </a:lnTo>
                    <a:lnTo>
                      <a:pt x="185" y="187"/>
                    </a:lnTo>
                    <a:lnTo>
                      <a:pt x="184" y="187"/>
                    </a:lnTo>
                    <a:lnTo>
                      <a:pt x="182" y="187"/>
                    </a:lnTo>
                    <a:lnTo>
                      <a:pt x="180" y="187"/>
                    </a:lnTo>
                    <a:lnTo>
                      <a:pt x="180" y="189"/>
                    </a:lnTo>
                    <a:lnTo>
                      <a:pt x="178" y="189"/>
                    </a:lnTo>
                    <a:lnTo>
                      <a:pt x="180" y="189"/>
                    </a:lnTo>
                    <a:lnTo>
                      <a:pt x="180" y="187"/>
                    </a:lnTo>
                    <a:lnTo>
                      <a:pt x="178" y="187"/>
                    </a:lnTo>
                    <a:lnTo>
                      <a:pt x="176" y="187"/>
                    </a:lnTo>
                    <a:lnTo>
                      <a:pt x="174" y="189"/>
                    </a:lnTo>
                    <a:lnTo>
                      <a:pt x="174" y="187"/>
                    </a:lnTo>
                    <a:lnTo>
                      <a:pt x="172" y="187"/>
                    </a:lnTo>
                    <a:lnTo>
                      <a:pt x="172" y="185"/>
                    </a:lnTo>
                    <a:lnTo>
                      <a:pt x="170" y="185"/>
                    </a:lnTo>
                    <a:lnTo>
                      <a:pt x="168" y="185"/>
                    </a:lnTo>
                    <a:lnTo>
                      <a:pt x="166" y="185"/>
                    </a:lnTo>
                    <a:lnTo>
                      <a:pt x="166" y="183"/>
                    </a:lnTo>
                    <a:lnTo>
                      <a:pt x="166" y="181"/>
                    </a:lnTo>
                    <a:lnTo>
                      <a:pt x="164" y="181"/>
                    </a:lnTo>
                    <a:lnTo>
                      <a:pt x="163" y="183"/>
                    </a:lnTo>
                    <a:lnTo>
                      <a:pt x="161" y="181"/>
                    </a:lnTo>
                    <a:lnTo>
                      <a:pt x="161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61" y="181"/>
                    </a:lnTo>
                    <a:lnTo>
                      <a:pt x="159" y="181"/>
                    </a:lnTo>
                    <a:lnTo>
                      <a:pt x="157" y="181"/>
                    </a:lnTo>
                    <a:lnTo>
                      <a:pt x="155" y="181"/>
                    </a:lnTo>
                    <a:lnTo>
                      <a:pt x="153" y="179"/>
                    </a:lnTo>
                    <a:lnTo>
                      <a:pt x="149" y="179"/>
                    </a:lnTo>
                    <a:lnTo>
                      <a:pt x="147" y="179"/>
                    </a:lnTo>
                    <a:lnTo>
                      <a:pt x="147" y="177"/>
                    </a:lnTo>
                    <a:lnTo>
                      <a:pt x="145" y="177"/>
                    </a:lnTo>
                    <a:lnTo>
                      <a:pt x="143" y="177"/>
                    </a:lnTo>
                    <a:lnTo>
                      <a:pt x="140" y="181"/>
                    </a:lnTo>
                    <a:lnTo>
                      <a:pt x="138" y="183"/>
                    </a:lnTo>
                    <a:lnTo>
                      <a:pt x="136" y="183"/>
                    </a:lnTo>
                    <a:lnTo>
                      <a:pt x="134" y="183"/>
                    </a:lnTo>
                    <a:lnTo>
                      <a:pt x="132" y="185"/>
                    </a:lnTo>
                    <a:lnTo>
                      <a:pt x="132" y="187"/>
                    </a:lnTo>
                    <a:lnTo>
                      <a:pt x="130" y="187"/>
                    </a:lnTo>
                    <a:lnTo>
                      <a:pt x="132" y="187"/>
                    </a:lnTo>
                    <a:lnTo>
                      <a:pt x="130" y="189"/>
                    </a:lnTo>
                    <a:lnTo>
                      <a:pt x="130" y="191"/>
                    </a:lnTo>
                    <a:lnTo>
                      <a:pt x="130" y="196"/>
                    </a:lnTo>
                    <a:lnTo>
                      <a:pt x="130" y="198"/>
                    </a:lnTo>
                    <a:lnTo>
                      <a:pt x="132" y="200"/>
                    </a:lnTo>
                    <a:lnTo>
                      <a:pt x="132" y="202"/>
                    </a:lnTo>
                    <a:lnTo>
                      <a:pt x="130" y="202"/>
                    </a:lnTo>
                    <a:lnTo>
                      <a:pt x="130" y="200"/>
                    </a:lnTo>
                    <a:lnTo>
                      <a:pt x="128" y="200"/>
                    </a:lnTo>
                    <a:lnTo>
                      <a:pt x="126" y="200"/>
                    </a:lnTo>
                    <a:lnTo>
                      <a:pt x="126" y="202"/>
                    </a:lnTo>
                    <a:lnTo>
                      <a:pt x="124" y="202"/>
                    </a:lnTo>
                    <a:lnTo>
                      <a:pt x="124" y="204"/>
                    </a:lnTo>
                    <a:lnTo>
                      <a:pt x="122" y="202"/>
                    </a:lnTo>
                    <a:lnTo>
                      <a:pt x="122" y="204"/>
                    </a:lnTo>
                    <a:lnTo>
                      <a:pt x="121" y="204"/>
                    </a:lnTo>
                    <a:lnTo>
                      <a:pt x="121" y="202"/>
                    </a:lnTo>
                    <a:lnTo>
                      <a:pt x="117" y="202"/>
                    </a:lnTo>
                    <a:lnTo>
                      <a:pt x="115" y="202"/>
                    </a:lnTo>
                    <a:lnTo>
                      <a:pt x="113" y="204"/>
                    </a:lnTo>
                    <a:lnTo>
                      <a:pt x="113" y="202"/>
                    </a:lnTo>
                    <a:lnTo>
                      <a:pt x="113" y="200"/>
                    </a:lnTo>
                    <a:lnTo>
                      <a:pt x="111" y="200"/>
                    </a:lnTo>
                    <a:lnTo>
                      <a:pt x="109" y="200"/>
                    </a:lnTo>
                    <a:lnTo>
                      <a:pt x="109" y="198"/>
                    </a:lnTo>
                    <a:lnTo>
                      <a:pt x="107" y="196"/>
                    </a:lnTo>
                    <a:lnTo>
                      <a:pt x="105" y="196"/>
                    </a:lnTo>
                    <a:lnTo>
                      <a:pt x="105" y="198"/>
                    </a:lnTo>
                    <a:lnTo>
                      <a:pt x="103" y="196"/>
                    </a:lnTo>
                    <a:lnTo>
                      <a:pt x="103" y="194"/>
                    </a:lnTo>
                    <a:lnTo>
                      <a:pt x="102" y="194"/>
                    </a:lnTo>
                    <a:lnTo>
                      <a:pt x="100" y="196"/>
                    </a:lnTo>
                    <a:lnTo>
                      <a:pt x="98" y="194"/>
                    </a:lnTo>
                    <a:lnTo>
                      <a:pt x="98" y="193"/>
                    </a:lnTo>
                    <a:lnTo>
                      <a:pt x="96" y="194"/>
                    </a:lnTo>
                    <a:lnTo>
                      <a:pt x="96" y="193"/>
                    </a:lnTo>
                    <a:lnTo>
                      <a:pt x="92" y="193"/>
                    </a:lnTo>
                    <a:lnTo>
                      <a:pt x="92" y="194"/>
                    </a:lnTo>
                    <a:lnTo>
                      <a:pt x="92" y="196"/>
                    </a:lnTo>
                    <a:lnTo>
                      <a:pt x="90" y="196"/>
                    </a:lnTo>
                    <a:lnTo>
                      <a:pt x="88" y="196"/>
                    </a:lnTo>
                    <a:lnTo>
                      <a:pt x="88" y="194"/>
                    </a:lnTo>
                    <a:lnTo>
                      <a:pt x="86" y="196"/>
                    </a:lnTo>
                    <a:lnTo>
                      <a:pt x="86" y="194"/>
                    </a:lnTo>
                    <a:lnTo>
                      <a:pt x="84" y="194"/>
                    </a:lnTo>
                    <a:lnTo>
                      <a:pt x="82" y="194"/>
                    </a:lnTo>
                    <a:lnTo>
                      <a:pt x="82" y="196"/>
                    </a:lnTo>
                    <a:lnTo>
                      <a:pt x="81" y="196"/>
                    </a:lnTo>
                    <a:lnTo>
                      <a:pt x="81" y="194"/>
                    </a:lnTo>
                    <a:lnTo>
                      <a:pt x="79" y="194"/>
                    </a:lnTo>
                    <a:lnTo>
                      <a:pt x="77" y="193"/>
                    </a:lnTo>
                    <a:lnTo>
                      <a:pt x="75" y="194"/>
                    </a:lnTo>
                    <a:lnTo>
                      <a:pt x="75" y="193"/>
                    </a:lnTo>
                    <a:lnTo>
                      <a:pt x="75" y="194"/>
                    </a:lnTo>
                    <a:lnTo>
                      <a:pt x="73" y="193"/>
                    </a:lnTo>
                    <a:lnTo>
                      <a:pt x="73" y="194"/>
                    </a:lnTo>
                    <a:lnTo>
                      <a:pt x="73" y="193"/>
                    </a:lnTo>
                    <a:lnTo>
                      <a:pt x="71" y="193"/>
                    </a:lnTo>
                    <a:lnTo>
                      <a:pt x="69" y="191"/>
                    </a:lnTo>
                    <a:lnTo>
                      <a:pt x="67" y="191"/>
                    </a:lnTo>
                    <a:lnTo>
                      <a:pt x="65" y="189"/>
                    </a:lnTo>
                    <a:lnTo>
                      <a:pt x="63" y="189"/>
                    </a:lnTo>
                    <a:lnTo>
                      <a:pt x="61" y="189"/>
                    </a:lnTo>
                    <a:lnTo>
                      <a:pt x="61" y="187"/>
                    </a:lnTo>
                    <a:lnTo>
                      <a:pt x="60" y="187"/>
                    </a:lnTo>
                    <a:lnTo>
                      <a:pt x="60" y="189"/>
                    </a:lnTo>
                    <a:lnTo>
                      <a:pt x="58" y="189"/>
                    </a:lnTo>
                    <a:lnTo>
                      <a:pt x="58" y="187"/>
                    </a:lnTo>
                    <a:lnTo>
                      <a:pt x="60" y="187"/>
                    </a:lnTo>
                    <a:lnTo>
                      <a:pt x="60" y="185"/>
                    </a:lnTo>
                    <a:lnTo>
                      <a:pt x="60" y="183"/>
                    </a:lnTo>
                    <a:lnTo>
                      <a:pt x="58" y="183"/>
                    </a:lnTo>
                    <a:lnTo>
                      <a:pt x="56" y="183"/>
                    </a:lnTo>
                    <a:lnTo>
                      <a:pt x="54" y="183"/>
                    </a:lnTo>
                    <a:lnTo>
                      <a:pt x="54" y="181"/>
                    </a:lnTo>
                    <a:lnTo>
                      <a:pt x="56" y="181"/>
                    </a:lnTo>
                    <a:lnTo>
                      <a:pt x="56" y="179"/>
                    </a:lnTo>
                    <a:lnTo>
                      <a:pt x="58" y="175"/>
                    </a:lnTo>
                    <a:lnTo>
                      <a:pt x="61" y="164"/>
                    </a:lnTo>
                    <a:lnTo>
                      <a:pt x="61" y="156"/>
                    </a:lnTo>
                    <a:lnTo>
                      <a:pt x="61" y="154"/>
                    </a:lnTo>
                    <a:lnTo>
                      <a:pt x="63" y="152"/>
                    </a:lnTo>
                    <a:lnTo>
                      <a:pt x="65" y="152"/>
                    </a:lnTo>
                    <a:lnTo>
                      <a:pt x="65" y="151"/>
                    </a:lnTo>
                    <a:lnTo>
                      <a:pt x="63" y="151"/>
                    </a:lnTo>
                    <a:lnTo>
                      <a:pt x="61" y="152"/>
                    </a:lnTo>
                    <a:lnTo>
                      <a:pt x="63" y="139"/>
                    </a:lnTo>
                    <a:lnTo>
                      <a:pt x="63" y="133"/>
                    </a:lnTo>
                    <a:lnTo>
                      <a:pt x="63" y="131"/>
                    </a:lnTo>
                    <a:lnTo>
                      <a:pt x="65" y="131"/>
                    </a:lnTo>
                    <a:lnTo>
                      <a:pt x="65" y="133"/>
                    </a:lnTo>
                    <a:lnTo>
                      <a:pt x="67" y="135"/>
                    </a:lnTo>
                    <a:lnTo>
                      <a:pt x="69" y="137"/>
                    </a:lnTo>
                    <a:lnTo>
                      <a:pt x="71" y="143"/>
                    </a:lnTo>
                    <a:lnTo>
                      <a:pt x="71" y="145"/>
                    </a:lnTo>
                    <a:lnTo>
                      <a:pt x="73" y="145"/>
                    </a:lnTo>
                    <a:lnTo>
                      <a:pt x="73" y="147"/>
                    </a:lnTo>
                    <a:lnTo>
                      <a:pt x="73" y="145"/>
                    </a:lnTo>
                    <a:lnTo>
                      <a:pt x="71" y="145"/>
                    </a:lnTo>
                    <a:lnTo>
                      <a:pt x="73" y="145"/>
                    </a:lnTo>
                    <a:lnTo>
                      <a:pt x="75" y="145"/>
                    </a:lnTo>
                    <a:lnTo>
                      <a:pt x="73" y="143"/>
                    </a:lnTo>
                    <a:lnTo>
                      <a:pt x="71" y="143"/>
                    </a:lnTo>
                    <a:lnTo>
                      <a:pt x="71" y="141"/>
                    </a:lnTo>
                    <a:lnTo>
                      <a:pt x="69" y="137"/>
                    </a:lnTo>
                    <a:lnTo>
                      <a:pt x="69" y="133"/>
                    </a:lnTo>
                    <a:lnTo>
                      <a:pt x="67" y="131"/>
                    </a:lnTo>
                    <a:lnTo>
                      <a:pt x="65" y="131"/>
                    </a:lnTo>
                    <a:lnTo>
                      <a:pt x="63" y="130"/>
                    </a:lnTo>
                    <a:lnTo>
                      <a:pt x="61" y="130"/>
                    </a:lnTo>
                    <a:lnTo>
                      <a:pt x="63" y="130"/>
                    </a:lnTo>
                    <a:lnTo>
                      <a:pt x="61" y="130"/>
                    </a:lnTo>
                    <a:lnTo>
                      <a:pt x="61" y="128"/>
                    </a:lnTo>
                    <a:lnTo>
                      <a:pt x="63" y="126"/>
                    </a:lnTo>
                    <a:lnTo>
                      <a:pt x="63" y="128"/>
                    </a:lnTo>
                    <a:lnTo>
                      <a:pt x="63" y="126"/>
                    </a:lnTo>
                    <a:lnTo>
                      <a:pt x="65" y="124"/>
                    </a:lnTo>
                    <a:lnTo>
                      <a:pt x="63" y="124"/>
                    </a:lnTo>
                    <a:lnTo>
                      <a:pt x="65" y="124"/>
                    </a:lnTo>
                    <a:lnTo>
                      <a:pt x="65" y="122"/>
                    </a:lnTo>
                    <a:lnTo>
                      <a:pt x="65" y="124"/>
                    </a:lnTo>
                    <a:lnTo>
                      <a:pt x="65" y="122"/>
                    </a:lnTo>
                    <a:lnTo>
                      <a:pt x="65" y="124"/>
                    </a:lnTo>
                    <a:lnTo>
                      <a:pt x="63" y="122"/>
                    </a:lnTo>
                    <a:lnTo>
                      <a:pt x="65" y="122"/>
                    </a:lnTo>
                    <a:lnTo>
                      <a:pt x="63" y="120"/>
                    </a:lnTo>
                    <a:lnTo>
                      <a:pt x="63" y="118"/>
                    </a:lnTo>
                    <a:lnTo>
                      <a:pt x="61" y="118"/>
                    </a:lnTo>
                    <a:lnTo>
                      <a:pt x="63" y="116"/>
                    </a:lnTo>
                    <a:lnTo>
                      <a:pt x="63" y="114"/>
                    </a:lnTo>
                    <a:lnTo>
                      <a:pt x="61" y="116"/>
                    </a:lnTo>
                    <a:lnTo>
                      <a:pt x="61" y="114"/>
                    </a:lnTo>
                    <a:lnTo>
                      <a:pt x="61" y="116"/>
                    </a:lnTo>
                    <a:lnTo>
                      <a:pt x="60" y="114"/>
                    </a:lnTo>
                    <a:lnTo>
                      <a:pt x="58" y="114"/>
                    </a:lnTo>
                    <a:lnTo>
                      <a:pt x="58" y="112"/>
                    </a:lnTo>
                    <a:lnTo>
                      <a:pt x="56" y="112"/>
                    </a:lnTo>
                    <a:lnTo>
                      <a:pt x="54" y="110"/>
                    </a:lnTo>
                    <a:lnTo>
                      <a:pt x="52" y="110"/>
                    </a:lnTo>
                    <a:lnTo>
                      <a:pt x="52" y="109"/>
                    </a:lnTo>
                    <a:lnTo>
                      <a:pt x="50" y="107"/>
                    </a:lnTo>
                    <a:lnTo>
                      <a:pt x="50" y="105"/>
                    </a:lnTo>
                    <a:lnTo>
                      <a:pt x="48" y="103"/>
                    </a:lnTo>
                    <a:lnTo>
                      <a:pt x="48" y="101"/>
                    </a:lnTo>
                    <a:lnTo>
                      <a:pt x="50" y="99"/>
                    </a:lnTo>
                    <a:lnTo>
                      <a:pt x="50" y="97"/>
                    </a:lnTo>
                    <a:lnTo>
                      <a:pt x="48" y="97"/>
                    </a:lnTo>
                    <a:lnTo>
                      <a:pt x="46" y="95"/>
                    </a:lnTo>
                    <a:lnTo>
                      <a:pt x="46" y="93"/>
                    </a:lnTo>
                    <a:lnTo>
                      <a:pt x="48" y="93"/>
                    </a:lnTo>
                    <a:lnTo>
                      <a:pt x="50" y="91"/>
                    </a:lnTo>
                    <a:lnTo>
                      <a:pt x="48" y="91"/>
                    </a:lnTo>
                    <a:lnTo>
                      <a:pt x="46" y="91"/>
                    </a:lnTo>
                    <a:lnTo>
                      <a:pt x="46" y="93"/>
                    </a:lnTo>
                    <a:lnTo>
                      <a:pt x="44" y="93"/>
                    </a:lnTo>
                    <a:lnTo>
                      <a:pt x="42" y="93"/>
                    </a:lnTo>
                    <a:lnTo>
                      <a:pt x="40" y="91"/>
                    </a:lnTo>
                    <a:lnTo>
                      <a:pt x="42" y="91"/>
                    </a:lnTo>
                    <a:lnTo>
                      <a:pt x="42" y="93"/>
                    </a:lnTo>
                    <a:lnTo>
                      <a:pt x="42" y="91"/>
                    </a:lnTo>
                    <a:lnTo>
                      <a:pt x="40" y="89"/>
                    </a:lnTo>
                    <a:lnTo>
                      <a:pt x="42" y="89"/>
                    </a:lnTo>
                    <a:lnTo>
                      <a:pt x="42" y="88"/>
                    </a:lnTo>
                    <a:lnTo>
                      <a:pt x="44" y="88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39" y="86"/>
                    </a:lnTo>
                    <a:lnTo>
                      <a:pt x="40" y="88"/>
                    </a:lnTo>
                    <a:lnTo>
                      <a:pt x="39" y="88"/>
                    </a:lnTo>
                    <a:lnTo>
                      <a:pt x="37" y="88"/>
                    </a:lnTo>
                    <a:lnTo>
                      <a:pt x="35" y="86"/>
                    </a:lnTo>
                    <a:lnTo>
                      <a:pt x="37" y="86"/>
                    </a:lnTo>
                    <a:lnTo>
                      <a:pt x="39" y="86"/>
                    </a:lnTo>
                    <a:lnTo>
                      <a:pt x="39" y="84"/>
                    </a:lnTo>
                    <a:lnTo>
                      <a:pt x="39" y="86"/>
                    </a:lnTo>
                    <a:lnTo>
                      <a:pt x="37" y="84"/>
                    </a:lnTo>
                    <a:lnTo>
                      <a:pt x="39" y="84"/>
                    </a:lnTo>
                    <a:lnTo>
                      <a:pt x="37" y="84"/>
                    </a:lnTo>
                    <a:lnTo>
                      <a:pt x="37" y="86"/>
                    </a:lnTo>
                    <a:lnTo>
                      <a:pt x="35" y="86"/>
                    </a:lnTo>
                    <a:lnTo>
                      <a:pt x="35" y="84"/>
                    </a:lnTo>
                    <a:lnTo>
                      <a:pt x="35" y="86"/>
                    </a:lnTo>
                    <a:lnTo>
                      <a:pt x="33" y="86"/>
                    </a:lnTo>
                    <a:lnTo>
                      <a:pt x="31" y="86"/>
                    </a:lnTo>
                    <a:lnTo>
                      <a:pt x="33" y="86"/>
                    </a:lnTo>
                    <a:lnTo>
                      <a:pt x="31" y="88"/>
                    </a:lnTo>
                    <a:lnTo>
                      <a:pt x="33" y="88"/>
                    </a:lnTo>
                    <a:lnTo>
                      <a:pt x="31" y="88"/>
                    </a:lnTo>
                    <a:lnTo>
                      <a:pt x="31" y="86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7" y="84"/>
                    </a:lnTo>
                    <a:lnTo>
                      <a:pt x="29" y="82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20" y="80"/>
                    </a:lnTo>
                    <a:lnTo>
                      <a:pt x="20" y="78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16" y="78"/>
                    </a:lnTo>
                    <a:lnTo>
                      <a:pt x="16" y="80"/>
                    </a:lnTo>
                    <a:lnTo>
                      <a:pt x="16" y="78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0" y="76"/>
                    </a:lnTo>
                    <a:lnTo>
                      <a:pt x="8" y="76"/>
                    </a:lnTo>
                    <a:lnTo>
                      <a:pt x="8" y="74"/>
                    </a:lnTo>
                    <a:lnTo>
                      <a:pt x="6" y="74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2" y="72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0" y="70"/>
                    </a:lnTo>
                    <a:lnTo>
                      <a:pt x="8" y="72"/>
                    </a:lnTo>
                    <a:lnTo>
                      <a:pt x="10" y="70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10" y="67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6" y="68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14" y="67"/>
                    </a:lnTo>
                    <a:lnTo>
                      <a:pt x="12" y="67"/>
                    </a:lnTo>
                    <a:lnTo>
                      <a:pt x="12" y="68"/>
                    </a:lnTo>
                    <a:lnTo>
                      <a:pt x="12" y="67"/>
                    </a:lnTo>
                    <a:lnTo>
                      <a:pt x="10" y="68"/>
                    </a:lnTo>
                    <a:lnTo>
                      <a:pt x="12" y="67"/>
                    </a:lnTo>
                    <a:lnTo>
                      <a:pt x="14" y="65"/>
                    </a:lnTo>
                    <a:lnTo>
                      <a:pt x="12" y="67"/>
                    </a:lnTo>
                    <a:lnTo>
                      <a:pt x="10" y="67"/>
                    </a:lnTo>
                    <a:lnTo>
                      <a:pt x="8" y="67"/>
                    </a:lnTo>
                    <a:lnTo>
                      <a:pt x="6" y="67"/>
                    </a:lnTo>
                    <a:lnTo>
                      <a:pt x="6" y="68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8" y="61"/>
                    </a:lnTo>
                    <a:lnTo>
                      <a:pt x="10" y="61"/>
                    </a:lnTo>
                    <a:lnTo>
                      <a:pt x="8" y="61"/>
                    </a:lnTo>
                    <a:lnTo>
                      <a:pt x="10" y="61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4" y="59"/>
                    </a:lnTo>
                    <a:lnTo>
                      <a:pt x="14" y="61"/>
                    </a:lnTo>
                    <a:lnTo>
                      <a:pt x="14" y="59"/>
                    </a:lnTo>
                    <a:lnTo>
                      <a:pt x="16" y="59"/>
                    </a:lnTo>
                    <a:lnTo>
                      <a:pt x="18" y="59"/>
                    </a:lnTo>
                    <a:lnTo>
                      <a:pt x="20" y="59"/>
                    </a:lnTo>
                    <a:lnTo>
                      <a:pt x="20" y="61"/>
                    </a:lnTo>
                    <a:lnTo>
                      <a:pt x="20" y="59"/>
                    </a:lnTo>
                    <a:lnTo>
                      <a:pt x="21" y="59"/>
                    </a:lnTo>
                    <a:lnTo>
                      <a:pt x="23" y="59"/>
                    </a:lnTo>
                    <a:lnTo>
                      <a:pt x="25" y="59"/>
                    </a:lnTo>
                    <a:lnTo>
                      <a:pt x="25" y="57"/>
                    </a:lnTo>
                    <a:lnTo>
                      <a:pt x="25" y="55"/>
                    </a:lnTo>
                    <a:lnTo>
                      <a:pt x="27" y="55"/>
                    </a:lnTo>
                    <a:lnTo>
                      <a:pt x="27" y="57"/>
                    </a:lnTo>
                    <a:lnTo>
                      <a:pt x="27" y="55"/>
                    </a:lnTo>
                    <a:lnTo>
                      <a:pt x="29" y="55"/>
                    </a:lnTo>
                    <a:lnTo>
                      <a:pt x="31" y="55"/>
                    </a:lnTo>
                    <a:lnTo>
                      <a:pt x="33" y="55"/>
                    </a:lnTo>
                    <a:lnTo>
                      <a:pt x="31" y="57"/>
                    </a:lnTo>
                    <a:lnTo>
                      <a:pt x="33" y="55"/>
                    </a:lnTo>
                    <a:lnTo>
                      <a:pt x="33" y="57"/>
                    </a:lnTo>
                    <a:lnTo>
                      <a:pt x="35" y="57"/>
                    </a:lnTo>
                    <a:lnTo>
                      <a:pt x="35" y="59"/>
                    </a:lnTo>
                    <a:lnTo>
                      <a:pt x="37" y="61"/>
                    </a:lnTo>
                    <a:lnTo>
                      <a:pt x="39" y="63"/>
                    </a:lnTo>
                    <a:lnTo>
                      <a:pt x="39" y="65"/>
                    </a:lnTo>
                    <a:lnTo>
                      <a:pt x="39" y="63"/>
                    </a:lnTo>
                    <a:lnTo>
                      <a:pt x="40" y="63"/>
                    </a:lnTo>
                    <a:lnTo>
                      <a:pt x="40" y="61"/>
                    </a:lnTo>
                    <a:lnTo>
                      <a:pt x="42" y="61"/>
                    </a:lnTo>
                    <a:lnTo>
                      <a:pt x="42" y="59"/>
                    </a:lnTo>
                    <a:lnTo>
                      <a:pt x="42" y="61"/>
                    </a:lnTo>
                    <a:lnTo>
                      <a:pt x="44" y="61"/>
                    </a:lnTo>
                    <a:lnTo>
                      <a:pt x="44" y="59"/>
                    </a:lnTo>
                    <a:lnTo>
                      <a:pt x="44" y="61"/>
                    </a:lnTo>
                    <a:lnTo>
                      <a:pt x="46" y="61"/>
                    </a:lnTo>
                    <a:lnTo>
                      <a:pt x="48" y="61"/>
                    </a:lnTo>
                    <a:lnTo>
                      <a:pt x="50" y="61"/>
                    </a:lnTo>
                    <a:lnTo>
                      <a:pt x="50" y="63"/>
                    </a:lnTo>
                    <a:lnTo>
                      <a:pt x="50" y="61"/>
                    </a:lnTo>
                    <a:lnTo>
                      <a:pt x="50" y="59"/>
                    </a:lnTo>
                    <a:lnTo>
                      <a:pt x="50" y="61"/>
                    </a:lnTo>
                    <a:lnTo>
                      <a:pt x="50" y="59"/>
                    </a:lnTo>
                    <a:lnTo>
                      <a:pt x="52" y="59"/>
                    </a:lnTo>
                    <a:lnTo>
                      <a:pt x="52" y="61"/>
                    </a:lnTo>
                    <a:lnTo>
                      <a:pt x="54" y="61"/>
                    </a:lnTo>
                    <a:lnTo>
                      <a:pt x="56" y="61"/>
                    </a:lnTo>
                    <a:lnTo>
                      <a:pt x="58" y="61"/>
                    </a:lnTo>
                    <a:lnTo>
                      <a:pt x="60" y="61"/>
                    </a:lnTo>
                    <a:lnTo>
                      <a:pt x="60" y="59"/>
                    </a:lnTo>
                    <a:lnTo>
                      <a:pt x="58" y="59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8" y="53"/>
                    </a:lnTo>
                    <a:lnTo>
                      <a:pt x="56" y="51"/>
                    </a:lnTo>
                    <a:lnTo>
                      <a:pt x="58" y="51"/>
                    </a:lnTo>
                    <a:lnTo>
                      <a:pt x="56" y="51"/>
                    </a:lnTo>
                    <a:lnTo>
                      <a:pt x="56" y="46"/>
                    </a:lnTo>
                    <a:lnTo>
                      <a:pt x="54" y="44"/>
                    </a:lnTo>
                    <a:lnTo>
                      <a:pt x="54" y="42"/>
                    </a:lnTo>
                    <a:lnTo>
                      <a:pt x="52" y="42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52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4" y="34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1" y="34"/>
                    </a:lnTo>
                    <a:lnTo>
                      <a:pt x="61" y="36"/>
                    </a:lnTo>
                    <a:lnTo>
                      <a:pt x="61" y="38"/>
                    </a:lnTo>
                    <a:lnTo>
                      <a:pt x="63" y="42"/>
                    </a:lnTo>
                    <a:lnTo>
                      <a:pt x="63" y="44"/>
                    </a:lnTo>
                    <a:lnTo>
                      <a:pt x="65" y="42"/>
                    </a:lnTo>
                    <a:lnTo>
                      <a:pt x="69" y="44"/>
                    </a:lnTo>
                    <a:lnTo>
                      <a:pt x="75" y="44"/>
                    </a:lnTo>
                    <a:lnTo>
                      <a:pt x="77" y="44"/>
                    </a:lnTo>
                    <a:lnTo>
                      <a:pt x="79" y="46"/>
                    </a:lnTo>
                    <a:lnTo>
                      <a:pt x="77" y="46"/>
                    </a:lnTo>
                    <a:lnTo>
                      <a:pt x="79" y="46"/>
                    </a:lnTo>
                    <a:lnTo>
                      <a:pt x="79" y="44"/>
                    </a:lnTo>
                    <a:lnTo>
                      <a:pt x="81" y="44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6" y="42"/>
                    </a:lnTo>
                    <a:lnTo>
                      <a:pt x="86" y="40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6" y="40"/>
                    </a:lnTo>
                    <a:lnTo>
                      <a:pt x="84" y="40"/>
                    </a:lnTo>
                    <a:lnTo>
                      <a:pt x="82" y="40"/>
                    </a:lnTo>
                    <a:lnTo>
                      <a:pt x="84" y="36"/>
                    </a:lnTo>
                    <a:lnTo>
                      <a:pt x="82" y="36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8" y="32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100" y="28"/>
                    </a:lnTo>
                    <a:lnTo>
                      <a:pt x="102" y="28"/>
                    </a:lnTo>
                    <a:lnTo>
                      <a:pt x="103" y="25"/>
                    </a:lnTo>
                    <a:lnTo>
                      <a:pt x="105" y="25"/>
                    </a:lnTo>
                    <a:lnTo>
                      <a:pt x="105" y="23"/>
                    </a:lnTo>
                    <a:lnTo>
                      <a:pt x="107" y="21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7" y="21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7" y="17"/>
                    </a:lnTo>
                    <a:lnTo>
                      <a:pt x="105" y="17"/>
                    </a:lnTo>
                    <a:lnTo>
                      <a:pt x="107" y="13"/>
                    </a:lnTo>
                    <a:lnTo>
                      <a:pt x="107" y="15"/>
                    </a:lnTo>
                    <a:lnTo>
                      <a:pt x="107" y="13"/>
                    </a:lnTo>
                    <a:lnTo>
                      <a:pt x="107" y="9"/>
                    </a:lnTo>
                    <a:lnTo>
                      <a:pt x="107" y="7"/>
                    </a:lnTo>
                    <a:lnTo>
                      <a:pt x="107" y="6"/>
                    </a:lnTo>
                    <a:lnTo>
                      <a:pt x="109" y="4"/>
                    </a:lnTo>
                    <a:lnTo>
                      <a:pt x="111" y="4"/>
                    </a:lnTo>
                    <a:lnTo>
                      <a:pt x="111" y="2"/>
                    </a:lnTo>
                    <a:lnTo>
                      <a:pt x="113" y="2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9" y="0"/>
                    </a:lnTo>
                    <a:lnTo>
                      <a:pt x="119" y="2"/>
                    </a:lnTo>
                    <a:lnTo>
                      <a:pt x="119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2" y="7"/>
                    </a:lnTo>
                    <a:lnTo>
                      <a:pt x="124" y="6"/>
                    </a:lnTo>
                    <a:lnTo>
                      <a:pt x="124" y="7"/>
                    </a:lnTo>
                    <a:lnTo>
                      <a:pt x="126" y="9"/>
                    </a:lnTo>
                    <a:lnTo>
                      <a:pt x="128" y="9"/>
                    </a:lnTo>
                    <a:lnTo>
                      <a:pt x="128" y="7"/>
                    </a:lnTo>
                    <a:lnTo>
                      <a:pt x="130" y="7"/>
                    </a:lnTo>
                    <a:lnTo>
                      <a:pt x="132" y="7"/>
                    </a:lnTo>
                    <a:lnTo>
                      <a:pt x="132" y="9"/>
                    </a:lnTo>
                    <a:lnTo>
                      <a:pt x="134" y="9"/>
                    </a:lnTo>
                    <a:lnTo>
                      <a:pt x="134" y="11"/>
                    </a:lnTo>
                    <a:lnTo>
                      <a:pt x="134" y="13"/>
                    </a:lnTo>
                    <a:lnTo>
                      <a:pt x="136" y="15"/>
                    </a:lnTo>
                    <a:lnTo>
                      <a:pt x="136" y="13"/>
                    </a:lnTo>
                    <a:lnTo>
                      <a:pt x="138" y="13"/>
                    </a:lnTo>
                    <a:lnTo>
                      <a:pt x="138" y="15"/>
                    </a:lnTo>
                    <a:lnTo>
                      <a:pt x="140" y="15"/>
                    </a:lnTo>
                    <a:lnTo>
                      <a:pt x="140" y="17"/>
                    </a:lnTo>
                    <a:lnTo>
                      <a:pt x="140" y="19"/>
                    </a:lnTo>
                    <a:lnTo>
                      <a:pt x="142" y="19"/>
                    </a:lnTo>
                    <a:lnTo>
                      <a:pt x="143" y="19"/>
                    </a:lnTo>
                    <a:lnTo>
                      <a:pt x="145" y="19"/>
                    </a:lnTo>
                    <a:lnTo>
                      <a:pt x="147" y="19"/>
                    </a:lnTo>
                    <a:lnTo>
                      <a:pt x="147" y="21"/>
                    </a:lnTo>
                    <a:lnTo>
                      <a:pt x="147" y="19"/>
                    </a:lnTo>
                    <a:lnTo>
                      <a:pt x="149" y="21"/>
                    </a:lnTo>
                    <a:lnTo>
                      <a:pt x="147" y="21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49" y="25"/>
                    </a:lnTo>
                    <a:lnTo>
                      <a:pt x="147" y="27"/>
                    </a:lnTo>
                    <a:lnTo>
                      <a:pt x="147" y="28"/>
                    </a:lnTo>
                    <a:lnTo>
                      <a:pt x="149" y="28"/>
                    </a:lnTo>
                    <a:lnTo>
                      <a:pt x="153" y="28"/>
                    </a:lnTo>
                    <a:lnTo>
                      <a:pt x="155" y="27"/>
                    </a:lnTo>
                    <a:lnTo>
                      <a:pt x="157" y="27"/>
                    </a:lnTo>
                    <a:lnTo>
                      <a:pt x="157" y="25"/>
                    </a:lnTo>
                    <a:lnTo>
                      <a:pt x="159" y="23"/>
                    </a:lnTo>
                    <a:lnTo>
                      <a:pt x="159" y="25"/>
                    </a:lnTo>
                    <a:lnTo>
                      <a:pt x="159" y="27"/>
                    </a:lnTo>
                    <a:lnTo>
                      <a:pt x="157" y="28"/>
                    </a:lnTo>
                    <a:lnTo>
                      <a:pt x="159" y="28"/>
                    </a:lnTo>
                    <a:lnTo>
                      <a:pt x="159" y="30"/>
                    </a:lnTo>
                    <a:lnTo>
                      <a:pt x="159" y="32"/>
                    </a:lnTo>
                    <a:lnTo>
                      <a:pt x="161" y="32"/>
                    </a:lnTo>
                    <a:lnTo>
                      <a:pt x="163" y="32"/>
                    </a:lnTo>
                    <a:lnTo>
                      <a:pt x="163" y="34"/>
                    </a:lnTo>
                    <a:lnTo>
                      <a:pt x="164" y="34"/>
                    </a:lnTo>
                    <a:lnTo>
                      <a:pt x="166" y="36"/>
                    </a:lnTo>
                    <a:lnTo>
                      <a:pt x="168" y="36"/>
                    </a:lnTo>
                    <a:lnTo>
                      <a:pt x="168" y="38"/>
                    </a:lnTo>
                    <a:lnTo>
                      <a:pt x="168" y="40"/>
                    </a:lnTo>
                    <a:lnTo>
                      <a:pt x="170" y="38"/>
                    </a:lnTo>
                    <a:lnTo>
                      <a:pt x="170" y="40"/>
                    </a:lnTo>
                    <a:lnTo>
                      <a:pt x="170" y="38"/>
                    </a:lnTo>
                    <a:lnTo>
                      <a:pt x="172" y="38"/>
                    </a:lnTo>
                    <a:lnTo>
                      <a:pt x="174" y="38"/>
                    </a:lnTo>
                    <a:close/>
                    <a:moveTo>
                      <a:pt x="231" y="189"/>
                    </a:moveTo>
                    <a:lnTo>
                      <a:pt x="231" y="191"/>
                    </a:lnTo>
                    <a:lnTo>
                      <a:pt x="233" y="193"/>
                    </a:lnTo>
                    <a:lnTo>
                      <a:pt x="231" y="196"/>
                    </a:lnTo>
                    <a:lnTo>
                      <a:pt x="233" y="198"/>
                    </a:lnTo>
                    <a:lnTo>
                      <a:pt x="233" y="202"/>
                    </a:lnTo>
                    <a:lnTo>
                      <a:pt x="233" y="204"/>
                    </a:lnTo>
                    <a:lnTo>
                      <a:pt x="233" y="208"/>
                    </a:lnTo>
                    <a:lnTo>
                      <a:pt x="231" y="212"/>
                    </a:lnTo>
                    <a:lnTo>
                      <a:pt x="231" y="215"/>
                    </a:lnTo>
                    <a:lnTo>
                      <a:pt x="231" y="217"/>
                    </a:lnTo>
                    <a:lnTo>
                      <a:pt x="229" y="219"/>
                    </a:lnTo>
                    <a:lnTo>
                      <a:pt x="231" y="219"/>
                    </a:lnTo>
                    <a:lnTo>
                      <a:pt x="229" y="219"/>
                    </a:lnTo>
                    <a:lnTo>
                      <a:pt x="231" y="219"/>
                    </a:lnTo>
                    <a:lnTo>
                      <a:pt x="229" y="219"/>
                    </a:lnTo>
                    <a:lnTo>
                      <a:pt x="229" y="221"/>
                    </a:lnTo>
                    <a:lnTo>
                      <a:pt x="229" y="223"/>
                    </a:lnTo>
                    <a:lnTo>
                      <a:pt x="227" y="223"/>
                    </a:lnTo>
                    <a:lnTo>
                      <a:pt x="229" y="223"/>
                    </a:lnTo>
                    <a:lnTo>
                      <a:pt x="227" y="225"/>
                    </a:lnTo>
                    <a:lnTo>
                      <a:pt x="227" y="223"/>
                    </a:lnTo>
                    <a:lnTo>
                      <a:pt x="225" y="223"/>
                    </a:lnTo>
                    <a:lnTo>
                      <a:pt x="227" y="223"/>
                    </a:lnTo>
                    <a:lnTo>
                      <a:pt x="225" y="223"/>
                    </a:lnTo>
                    <a:lnTo>
                      <a:pt x="225" y="221"/>
                    </a:lnTo>
                    <a:lnTo>
                      <a:pt x="225" y="223"/>
                    </a:lnTo>
                    <a:lnTo>
                      <a:pt x="225" y="221"/>
                    </a:lnTo>
                    <a:lnTo>
                      <a:pt x="224" y="221"/>
                    </a:lnTo>
                    <a:lnTo>
                      <a:pt x="222" y="221"/>
                    </a:lnTo>
                    <a:lnTo>
                      <a:pt x="222" y="219"/>
                    </a:lnTo>
                    <a:lnTo>
                      <a:pt x="222" y="217"/>
                    </a:lnTo>
                    <a:lnTo>
                      <a:pt x="224" y="217"/>
                    </a:lnTo>
                    <a:lnTo>
                      <a:pt x="222" y="217"/>
                    </a:lnTo>
                    <a:lnTo>
                      <a:pt x="222" y="215"/>
                    </a:lnTo>
                    <a:lnTo>
                      <a:pt x="220" y="217"/>
                    </a:lnTo>
                    <a:lnTo>
                      <a:pt x="220" y="215"/>
                    </a:lnTo>
                    <a:lnTo>
                      <a:pt x="222" y="215"/>
                    </a:lnTo>
                    <a:lnTo>
                      <a:pt x="222" y="213"/>
                    </a:lnTo>
                    <a:lnTo>
                      <a:pt x="220" y="213"/>
                    </a:lnTo>
                    <a:lnTo>
                      <a:pt x="222" y="213"/>
                    </a:lnTo>
                    <a:lnTo>
                      <a:pt x="222" y="212"/>
                    </a:lnTo>
                    <a:lnTo>
                      <a:pt x="220" y="212"/>
                    </a:lnTo>
                    <a:lnTo>
                      <a:pt x="220" y="213"/>
                    </a:lnTo>
                    <a:lnTo>
                      <a:pt x="218" y="213"/>
                    </a:lnTo>
                    <a:lnTo>
                      <a:pt x="218" y="212"/>
                    </a:lnTo>
                    <a:lnTo>
                      <a:pt x="220" y="212"/>
                    </a:lnTo>
                    <a:lnTo>
                      <a:pt x="220" y="210"/>
                    </a:lnTo>
                    <a:lnTo>
                      <a:pt x="220" y="208"/>
                    </a:lnTo>
                    <a:lnTo>
                      <a:pt x="218" y="208"/>
                    </a:lnTo>
                    <a:lnTo>
                      <a:pt x="218" y="206"/>
                    </a:lnTo>
                    <a:lnTo>
                      <a:pt x="220" y="206"/>
                    </a:lnTo>
                    <a:lnTo>
                      <a:pt x="220" y="204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20" y="202"/>
                    </a:lnTo>
                    <a:lnTo>
                      <a:pt x="220" y="200"/>
                    </a:lnTo>
                    <a:lnTo>
                      <a:pt x="220" y="198"/>
                    </a:lnTo>
                    <a:lnTo>
                      <a:pt x="222" y="198"/>
                    </a:lnTo>
                    <a:lnTo>
                      <a:pt x="224" y="196"/>
                    </a:lnTo>
                    <a:lnTo>
                      <a:pt x="225" y="196"/>
                    </a:lnTo>
                    <a:lnTo>
                      <a:pt x="227" y="194"/>
                    </a:lnTo>
                    <a:lnTo>
                      <a:pt x="229" y="196"/>
                    </a:lnTo>
                    <a:lnTo>
                      <a:pt x="229" y="194"/>
                    </a:lnTo>
                    <a:lnTo>
                      <a:pt x="229" y="193"/>
                    </a:lnTo>
                    <a:lnTo>
                      <a:pt x="229" y="191"/>
                    </a:lnTo>
                    <a:lnTo>
                      <a:pt x="231" y="191"/>
                    </a:lnTo>
                    <a:lnTo>
                      <a:pt x="229" y="189"/>
                    </a:lnTo>
                    <a:lnTo>
                      <a:pt x="231" y="189"/>
                    </a:lnTo>
                    <a:close/>
                    <a:moveTo>
                      <a:pt x="60" y="122"/>
                    </a:moveTo>
                    <a:lnTo>
                      <a:pt x="61" y="122"/>
                    </a:lnTo>
                    <a:lnTo>
                      <a:pt x="61" y="124"/>
                    </a:lnTo>
                    <a:lnTo>
                      <a:pt x="63" y="126"/>
                    </a:lnTo>
                    <a:lnTo>
                      <a:pt x="61" y="126"/>
                    </a:lnTo>
                    <a:lnTo>
                      <a:pt x="63" y="126"/>
                    </a:lnTo>
                    <a:lnTo>
                      <a:pt x="61" y="128"/>
                    </a:lnTo>
                    <a:lnTo>
                      <a:pt x="61" y="126"/>
                    </a:lnTo>
                    <a:lnTo>
                      <a:pt x="60" y="124"/>
                    </a:lnTo>
                    <a:lnTo>
                      <a:pt x="60" y="122"/>
                    </a:lnTo>
                    <a:close/>
                    <a:moveTo>
                      <a:pt x="29" y="89"/>
                    </a:moveTo>
                    <a:lnTo>
                      <a:pt x="31" y="91"/>
                    </a:lnTo>
                    <a:lnTo>
                      <a:pt x="33" y="91"/>
                    </a:lnTo>
                    <a:lnTo>
                      <a:pt x="33" y="93"/>
                    </a:lnTo>
                    <a:lnTo>
                      <a:pt x="31" y="91"/>
                    </a:lnTo>
                    <a:lnTo>
                      <a:pt x="29" y="91"/>
                    </a:lnTo>
                    <a:lnTo>
                      <a:pt x="31" y="91"/>
                    </a:lnTo>
                    <a:lnTo>
                      <a:pt x="29" y="91"/>
                    </a:lnTo>
                    <a:lnTo>
                      <a:pt x="29" y="89"/>
                    </a:lnTo>
                    <a:close/>
                    <a:moveTo>
                      <a:pt x="58" y="116"/>
                    </a:moveTo>
                    <a:lnTo>
                      <a:pt x="58" y="118"/>
                    </a:lnTo>
                    <a:lnTo>
                      <a:pt x="58" y="116"/>
                    </a:lnTo>
                    <a:lnTo>
                      <a:pt x="60" y="116"/>
                    </a:lnTo>
                    <a:lnTo>
                      <a:pt x="60" y="118"/>
                    </a:lnTo>
                    <a:lnTo>
                      <a:pt x="61" y="118"/>
                    </a:lnTo>
                    <a:lnTo>
                      <a:pt x="58" y="118"/>
                    </a:lnTo>
                    <a:lnTo>
                      <a:pt x="56" y="116"/>
                    </a:lnTo>
                    <a:lnTo>
                      <a:pt x="58" y="116"/>
                    </a:lnTo>
                    <a:close/>
                    <a:moveTo>
                      <a:pt x="44" y="99"/>
                    </a:moveTo>
                    <a:lnTo>
                      <a:pt x="48" y="99"/>
                    </a:lnTo>
                    <a:lnTo>
                      <a:pt x="48" y="101"/>
                    </a:lnTo>
                    <a:lnTo>
                      <a:pt x="44" y="101"/>
                    </a:lnTo>
                    <a:lnTo>
                      <a:pt x="44" y="99"/>
                    </a:lnTo>
                    <a:close/>
                    <a:moveTo>
                      <a:pt x="42" y="105"/>
                    </a:moveTo>
                    <a:lnTo>
                      <a:pt x="44" y="105"/>
                    </a:lnTo>
                    <a:lnTo>
                      <a:pt x="44" y="107"/>
                    </a:lnTo>
                    <a:lnTo>
                      <a:pt x="42" y="107"/>
                    </a:lnTo>
                    <a:lnTo>
                      <a:pt x="42" y="105"/>
                    </a:lnTo>
                    <a:close/>
                    <a:moveTo>
                      <a:pt x="0" y="65"/>
                    </a:moveTo>
                    <a:lnTo>
                      <a:pt x="2" y="65"/>
                    </a:lnTo>
                    <a:lnTo>
                      <a:pt x="0" y="65"/>
                    </a:lnTo>
                    <a:close/>
                    <a:moveTo>
                      <a:pt x="25" y="84"/>
                    </a:moveTo>
                    <a:lnTo>
                      <a:pt x="27" y="84"/>
                    </a:lnTo>
                    <a:lnTo>
                      <a:pt x="25" y="84"/>
                    </a:lnTo>
                    <a:close/>
                    <a:moveTo>
                      <a:pt x="180" y="189"/>
                    </a:moveTo>
                    <a:lnTo>
                      <a:pt x="182" y="189"/>
                    </a:lnTo>
                    <a:lnTo>
                      <a:pt x="180" y="189"/>
                    </a:lnTo>
                    <a:close/>
                    <a:moveTo>
                      <a:pt x="184" y="189"/>
                    </a:moveTo>
                    <a:lnTo>
                      <a:pt x="185" y="189"/>
                    </a:lnTo>
                    <a:lnTo>
                      <a:pt x="184" y="189"/>
                    </a:lnTo>
                    <a:close/>
                    <a:moveTo>
                      <a:pt x="71" y="143"/>
                    </a:moveTo>
                    <a:lnTo>
                      <a:pt x="73" y="143"/>
                    </a:lnTo>
                    <a:lnTo>
                      <a:pt x="73" y="145"/>
                    </a:lnTo>
                    <a:lnTo>
                      <a:pt x="71" y="145"/>
                    </a:lnTo>
                    <a:lnTo>
                      <a:pt x="71" y="143"/>
                    </a:lnTo>
                    <a:close/>
                    <a:moveTo>
                      <a:pt x="119" y="0"/>
                    </a:moveTo>
                    <a:lnTo>
                      <a:pt x="117" y="2"/>
                    </a:lnTo>
                    <a:lnTo>
                      <a:pt x="119" y="0"/>
                    </a:lnTo>
                    <a:close/>
                    <a:moveTo>
                      <a:pt x="82" y="40"/>
                    </a:moveTo>
                    <a:lnTo>
                      <a:pt x="84" y="40"/>
                    </a:lnTo>
                    <a:lnTo>
                      <a:pt x="82" y="40"/>
                    </a:lnTo>
                    <a:close/>
                    <a:moveTo>
                      <a:pt x="71" y="139"/>
                    </a:moveTo>
                    <a:lnTo>
                      <a:pt x="71" y="141"/>
                    </a:lnTo>
                    <a:lnTo>
                      <a:pt x="71" y="139"/>
                    </a:lnTo>
                    <a:close/>
                    <a:moveTo>
                      <a:pt x="33" y="89"/>
                    </a:moveTo>
                    <a:lnTo>
                      <a:pt x="35" y="89"/>
                    </a:lnTo>
                    <a:lnTo>
                      <a:pt x="33" y="89"/>
                    </a:lnTo>
                    <a:close/>
                    <a:moveTo>
                      <a:pt x="71" y="141"/>
                    </a:moveTo>
                    <a:lnTo>
                      <a:pt x="71" y="143"/>
                    </a:lnTo>
                    <a:lnTo>
                      <a:pt x="71" y="141"/>
                    </a:lnTo>
                    <a:close/>
                    <a:moveTo>
                      <a:pt x="33" y="55"/>
                    </a:moveTo>
                    <a:lnTo>
                      <a:pt x="35" y="55"/>
                    </a:lnTo>
                    <a:lnTo>
                      <a:pt x="33" y="55"/>
                    </a:lnTo>
                    <a:close/>
                    <a:moveTo>
                      <a:pt x="35" y="91"/>
                    </a:moveTo>
                    <a:lnTo>
                      <a:pt x="37" y="91"/>
                    </a:lnTo>
                    <a:lnTo>
                      <a:pt x="35" y="91"/>
                    </a:lnTo>
                    <a:close/>
                    <a:moveTo>
                      <a:pt x="166" y="181"/>
                    </a:moveTo>
                    <a:lnTo>
                      <a:pt x="166" y="183"/>
                    </a:lnTo>
                    <a:lnTo>
                      <a:pt x="166" y="18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8" name="Freeform 131">
                <a:extLst>
                  <a:ext uri="{FF2B5EF4-FFF2-40B4-BE49-F238E27FC236}">
                    <a16:creationId xmlns:a16="http://schemas.microsoft.com/office/drawing/2014/main" id="{30C216CB-7851-6E3D-E176-B6D2BF824F2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42524" y="-3279927"/>
                <a:ext cx="113442" cy="72612"/>
              </a:xfrm>
              <a:custGeom>
                <a:avLst/>
                <a:gdLst>
                  <a:gd name="T0" fmla="*/ 49 w 72"/>
                  <a:gd name="T1" fmla="*/ 4 h 46"/>
                  <a:gd name="T2" fmla="*/ 59 w 72"/>
                  <a:gd name="T3" fmla="*/ 8 h 46"/>
                  <a:gd name="T4" fmla="*/ 57 w 72"/>
                  <a:gd name="T5" fmla="*/ 15 h 46"/>
                  <a:gd name="T6" fmla="*/ 59 w 72"/>
                  <a:gd name="T7" fmla="*/ 17 h 46"/>
                  <a:gd name="T8" fmla="*/ 65 w 72"/>
                  <a:gd name="T9" fmla="*/ 23 h 46"/>
                  <a:gd name="T10" fmla="*/ 70 w 72"/>
                  <a:gd name="T11" fmla="*/ 21 h 46"/>
                  <a:gd name="T12" fmla="*/ 72 w 72"/>
                  <a:gd name="T13" fmla="*/ 21 h 46"/>
                  <a:gd name="T14" fmla="*/ 70 w 72"/>
                  <a:gd name="T15" fmla="*/ 25 h 46"/>
                  <a:gd name="T16" fmla="*/ 72 w 72"/>
                  <a:gd name="T17" fmla="*/ 30 h 46"/>
                  <a:gd name="T18" fmla="*/ 69 w 72"/>
                  <a:gd name="T19" fmla="*/ 29 h 46"/>
                  <a:gd name="T20" fmla="*/ 67 w 72"/>
                  <a:gd name="T21" fmla="*/ 32 h 46"/>
                  <a:gd name="T22" fmla="*/ 65 w 72"/>
                  <a:gd name="T23" fmla="*/ 36 h 46"/>
                  <a:gd name="T24" fmla="*/ 59 w 72"/>
                  <a:gd name="T25" fmla="*/ 36 h 46"/>
                  <a:gd name="T26" fmla="*/ 55 w 72"/>
                  <a:gd name="T27" fmla="*/ 34 h 46"/>
                  <a:gd name="T28" fmla="*/ 53 w 72"/>
                  <a:gd name="T29" fmla="*/ 34 h 46"/>
                  <a:gd name="T30" fmla="*/ 49 w 72"/>
                  <a:gd name="T31" fmla="*/ 40 h 46"/>
                  <a:gd name="T32" fmla="*/ 49 w 72"/>
                  <a:gd name="T33" fmla="*/ 46 h 46"/>
                  <a:gd name="T34" fmla="*/ 46 w 72"/>
                  <a:gd name="T35" fmla="*/ 40 h 46"/>
                  <a:gd name="T36" fmla="*/ 42 w 72"/>
                  <a:gd name="T37" fmla="*/ 36 h 46"/>
                  <a:gd name="T38" fmla="*/ 38 w 72"/>
                  <a:gd name="T39" fmla="*/ 32 h 46"/>
                  <a:gd name="T40" fmla="*/ 34 w 72"/>
                  <a:gd name="T41" fmla="*/ 36 h 46"/>
                  <a:gd name="T42" fmla="*/ 34 w 72"/>
                  <a:gd name="T43" fmla="*/ 42 h 46"/>
                  <a:gd name="T44" fmla="*/ 28 w 72"/>
                  <a:gd name="T45" fmla="*/ 44 h 46"/>
                  <a:gd name="T46" fmla="*/ 23 w 72"/>
                  <a:gd name="T47" fmla="*/ 44 h 46"/>
                  <a:gd name="T48" fmla="*/ 17 w 72"/>
                  <a:gd name="T49" fmla="*/ 42 h 46"/>
                  <a:gd name="T50" fmla="*/ 13 w 72"/>
                  <a:gd name="T51" fmla="*/ 38 h 46"/>
                  <a:gd name="T52" fmla="*/ 15 w 72"/>
                  <a:gd name="T53" fmla="*/ 32 h 46"/>
                  <a:gd name="T54" fmla="*/ 8 w 72"/>
                  <a:gd name="T55" fmla="*/ 32 h 46"/>
                  <a:gd name="T56" fmla="*/ 4 w 72"/>
                  <a:gd name="T57" fmla="*/ 38 h 46"/>
                  <a:gd name="T58" fmla="*/ 6 w 72"/>
                  <a:gd name="T59" fmla="*/ 36 h 46"/>
                  <a:gd name="T60" fmla="*/ 0 w 72"/>
                  <a:gd name="T61" fmla="*/ 38 h 46"/>
                  <a:gd name="T62" fmla="*/ 4 w 72"/>
                  <a:gd name="T63" fmla="*/ 36 h 46"/>
                  <a:gd name="T64" fmla="*/ 4 w 72"/>
                  <a:gd name="T65" fmla="*/ 30 h 46"/>
                  <a:gd name="T66" fmla="*/ 8 w 72"/>
                  <a:gd name="T67" fmla="*/ 23 h 46"/>
                  <a:gd name="T68" fmla="*/ 13 w 72"/>
                  <a:gd name="T69" fmla="*/ 17 h 46"/>
                  <a:gd name="T70" fmla="*/ 15 w 72"/>
                  <a:gd name="T71" fmla="*/ 11 h 46"/>
                  <a:gd name="T72" fmla="*/ 15 w 72"/>
                  <a:gd name="T73" fmla="*/ 9 h 46"/>
                  <a:gd name="T74" fmla="*/ 19 w 72"/>
                  <a:gd name="T75" fmla="*/ 9 h 46"/>
                  <a:gd name="T76" fmla="*/ 23 w 72"/>
                  <a:gd name="T77" fmla="*/ 8 h 46"/>
                  <a:gd name="T78" fmla="*/ 28 w 72"/>
                  <a:gd name="T79" fmla="*/ 6 h 46"/>
                  <a:gd name="T80" fmla="*/ 28 w 72"/>
                  <a:gd name="T81" fmla="*/ 6 h 46"/>
                  <a:gd name="T82" fmla="*/ 36 w 72"/>
                  <a:gd name="T83" fmla="*/ 6 h 46"/>
                  <a:gd name="T84" fmla="*/ 40 w 72"/>
                  <a:gd name="T85" fmla="*/ 6 h 46"/>
                  <a:gd name="T86" fmla="*/ 42 w 72"/>
                  <a:gd name="T87" fmla="*/ 4 h 46"/>
                  <a:gd name="T88" fmla="*/ 42 w 72"/>
                  <a:gd name="T89" fmla="*/ 2 h 46"/>
                  <a:gd name="T90" fmla="*/ 46 w 72"/>
                  <a:gd name="T91" fmla="*/ 2 h 46"/>
                  <a:gd name="T92" fmla="*/ 44 w 72"/>
                  <a:gd name="T93" fmla="*/ 4 h 46"/>
                  <a:gd name="T94" fmla="*/ 48 w 72"/>
                  <a:gd name="T95" fmla="*/ 4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2" h="46">
                    <a:moveTo>
                      <a:pt x="48" y="4"/>
                    </a:moveTo>
                    <a:lnTo>
                      <a:pt x="46" y="4"/>
                    </a:lnTo>
                    <a:lnTo>
                      <a:pt x="48" y="4"/>
                    </a:lnTo>
                    <a:lnTo>
                      <a:pt x="49" y="4"/>
                    </a:lnTo>
                    <a:lnTo>
                      <a:pt x="51" y="4"/>
                    </a:lnTo>
                    <a:lnTo>
                      <a:pt x="55" y="6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59" y="9"/>
                    </a:lnTo>
                    <a:lnTo>
                      <a:pt x="59" y="11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5" y="17"/>
                    </a:lnTo>
                    <a:lnTo>
                      <a:pt x="57" y="17"/>
                    </a:lnTo>
                    <a:lnTo>
                      <a:pt x="59" y="17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0" y="21"/>
                    </a:lnTo>
                    <a:lnTo>
                      <a:pt x="69" y="21"/>
                    </a:lnTo>
                    <a:lnTo>
                      <a:pt x="70" y="19"/>
                    </a:lnTo>
                    <a:lnTo>
                      <a:pt x="70" y="21"/>
                    </a:lnTo>
                    <a:lnTo>
                      <a:pt x="72" y="21"/>
                    </a:lnTo>
                    <a:lnTo>
                      <a:pt x="72" y="23"/>
                    </a:lnTo>
                    <a:lnTo>
                      <a:pt x="70" y="25"/>
                    </a:lnTo>
                    <a:lnTo>
                      <a:pt x="72" y="25"/>
                    </a:lnTo>
                    <a:lnTo>
                      <a:pt x="70" y="25"/>
                    </a:lnTo>
                    <a:lnTo>
                      <a:pt x="70" y="27"/>
                    </a:lnTo>
                    <a:lnTo>
                      <a:pt x="72" y="27"/>
                    </a:lnTo>
                    <a:lnTo>
                      <a:pt x="72" y="29"/>
                    </a:lnTo>
                    <a:lnTo>
                      <a:pt x="72" y="30"/>
                    </a:lnTo>
                    <a:lnTo>
                      <a:pt x="70" y="29"/>
                    </a:lnTo>
                    <a:lnTo>
                      <a:pt x="69" y="29"/>
                    </a:lnTo>
                    <a:lnTo>
                      <a:pt x="69" y="27"/>
                    </a:lnTo>
                    <a:lnTo>
                      <a:pt x="69" y="29"/>
                    </a:lnTo>
                    <a:lnTo>
                      <a:pt x="67" y="29"/>
                    </a:lnTo>
                    <a:lnTo>
                      <a:pt x="65" y="30"/>
                    </a:lnTo>
                    <a:lnTo>
                      <a:pt x="65" y="32"/>
                    </a:lnTo>
                    <a:lnTo>
                      <a:pt x="67" y="32"/>
                    </a:lnTo>
                    <a:lnTo>
                      <a:pt x="67" y="34"/>
                    </a:lnTo>
                    <a:lnTo>
                      <a:pt x="67" y="36"/>
                    </a:lnTo>
                    <a:lnTo>
                      <a:pt x="65" y="38"/>
                    </a:lnTo>
                    <a:lnTo>
                      <a:pt x="65" y="36"/>
                    </a:lnTo>
                    <a:lnTo>
                      <a:pt x="65" y="34"/>
                    </a:lnTo>
                    <a:lnTo>
                      <a:pt x="63" y="34"/>
                    </a:lnTo>
                    <a:lnTo>
                      <a:pt x="61" y="34"/>
                    </a:lnTo>
                    <a:lnTo>
                      <a:pt x="59" y="36"/>
                    </a:lnTo>
                    <a:lnTo>
                      <a:pt x="59" y="34"/>
                    </a:lnTo>
                    <a:lnTo>
                      <a:pt x="59" y="36"/>
                    </a:lnTo>
                    <a:lnTo>
                      <a:pt x="57" y="34"/>
                    </a:lnTo>
                    <a:lnTo>
                      <a:pt x="55" y="34"/>
                    </a:lnTo>
                    <a:lnTo>
                      <a:pt x="55" y="30"/>
                    </a:lnTo>
                    <a:lnTo>
                      <a:pt x="53" y="30"/>
                    </a:lnTo>
                    <a:lnTo>
                      <a:pt x="53" y="32"/>
                    </a:lnTo>
                    <a:lnTo>
                      <a:pt x="53" y="34"/>
                    </a:lnTo>
                    <a:lnTo>
                      <a:pt x="53" y="36"/>
                    </a:lnTo>
                    <a:lnTo>
                      <a:pt x="51" y="36"/>
                    </a:lnTo>
                    <a:lnTo>
                      <a:pt x="51" y="38"/>
                    </a:lnTo>
                    <a:lnTo>
                      <a:pt x="49" y="40"/>
                    </a:lnTo>
                    <a:lnTo>
                      <a:pt x="49" y="42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6" y="42"/>
                    </a:lnTo>
                    <a:lnTo>
                      <a:pt x="46" y="40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0" y="34"/>
                    </a:lnTo>
                    <a:lnTo>
                      <a:pt x="40" y="32"/>
                    </a:lnTo>
                    <a:lnTo>
                      <a:pt x="38" y="32"/>
                    </a:lnTo>
                    <a:lnTo>
                      <a:pt x="38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36" y="38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30" y="44"/>
                    </a:lnTo>
                    <a:lnTo>
                      <a:pt x="28" y="44"/>
                    </a:lnTo>
                    <a:lnTo>
                      <a:pt x="27" y="42"/>
                    </a:lnTo>
                    <a:lnTo>
                      <a:pt x="25" y="42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19" y="46"/>
                    </a:lnTo>
                    <a:lnTo>
                      <a:pt x="17" y="44"/>
                    </a:lnTo>
                    <a:lnTo>
                      <a:pt x="17" y="42"/>
                    </a:lnTo>
                    <a:lnTo>
                      <a:pt x="15" y="40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4" y="34"/>
                    </a:lnTo>
                    <a:lnTo>
                      <a:pt x="2" y="32"/>
                    </a:lnTo>
                    <a:lnTo>
                      <a:pt x="4" y="30"/>
                    </a:lnTo>
                    <a:lnTo>
                      <a:pt x="2" y="29"/>
                    </a:lnTo>
                    <a:lnTo>
                      <a:pt x="6" y="27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7"/>
                    </a:lnTo>
                    <a:lnTo>
                      <a:pt x="15" y="15"/>
                    </a:lnTo>
                    <a:lnTo>
                      <a:pt x="17" y="13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17" y="9"/>
                    </a:lnTo>
                    <a:lnTo>
                      <a:pt x="15" y="11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19" y="9"/>
                    </a:lnTo>
                    <a:lnTo>
                      <a:pt x="21" y="9"/>
                    </a:lnTo>
                    <a:lnTo>
                      <a:pt x="23" y="9"/>
                    </a:lnTo>
                    <a:lnTo>
                      <a:pt x="25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8" y="6"/>
                    </a:lnTo>
                    <a:lnTo>
                      <a:pt x="27" y="6"/>
                    </a:lnTo>
                    <a:lnTo>
                      <a:pt x="28" y="6"/>
                    </a:lnTo>
                    <a:lnTo>
                      <a:pt x="27" y="6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40" y="2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8" y="4"/>
                    </a:lnTo>
                    <a:close/>
                    <a:moveTo>
                      <a:pt x="44" y="2"/>
                    </a:moveTo>
                    <a:lnTo>
                      <a:pt x="44" y="4"/>
                    </a:lnTo>
                    <a:lnTo>
                      <a:pt x="44" y="2"/>
                    </a:lnTo>
                    <a:close/>
                    <a:moveTo>
                      <a:pt x="48" y="42"/>
                    </a:moveTo>
                    <a:lnTo>
                      <a:pt x="48" y="44"/>
                    </a:lnTo>
                    <a:lnTo>
                      <a:pt x="48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9" name="Freeform 132">
                <a:extLst>
                  <a:ext uri="{FF2B5EF4-FFF2-40B4-BE49-F238E27FC236}">
                    <a16:creationId xmlns:a16="http://schemas.microsoft.com/office/drawing/2014/main" id="{EDD2C885-110E-AB83-FBD4-412D878271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440" y="-3425156"/>
                <a:ext cx="97686" cy="82084"/>
              </a:xfrm>
              <a:custGeom>
                <a:avLst/>
                <a:gdLst>
                  <a:gd name="T0" fmla="*/ 58 w 62"/>
                  <a:gd name="T1" fmla="*/ 21 h 52"/>
                  <a:gd name="T2" fmla="*/ 60 w 62"/>
                  <a:gd name="T3" fmla="*/ 25 h 52"/>
                  <a:gd name="T4" fmla="*/ 60 w 62"/>
                  <a:gd name="T5" fmla="*/ 27 h 52"/>
                  <a:gd name="T6" fmla="*/ 60 w 62"/>
                  <a:gd name="T7" fmla="*/ 29 h 52"/>
                  <a:gd name="T8" fmla="*/ 60 w 62"/>
                  <a:gd name="T9" fmla="*/ 33 h 52"/>
                  <a:gd name="T10" fmla="*/ 58 w 62"/>
                  <a:gd name="T11" fmla="*/ 37 h 52"/>
                  <a:gd name="T12" fmla="*/ 56 w 62"/>
                  <a:gd name="T13" fmla="*/ 35 h 52"/>
                  <a:gd name="T14" fmla="*/ 52 w 62"/>
                  <a:gd name="T15" fmla="*/ 37 h 52"/>
                  <a:gd name="T16" fmla="*/ 50 w 62"/>
                  <a:gd name="T17" fmla="*/ 42 h 52"/>
                  <a:gd name="T18" fmla="*/ 50 w 62"/>
                  <a:gd name="T19" fmla="*/ 44 h 52"/>
                  <a:gd name="T20" fmla="*/ 54 w 62"/>
                  <a:gd name="T21" fmla="*/ 46 h 52"/>
                  <a:gd name="T22" fmla="*/ 52 w 62"/>
                  <a:gd name="T23" fmla="*/ 48 h 52"/>
                  <a:gd name="T24" fmla="*/ 48 w 62"/>
                  <a:gd name="T25" fmla="*/ 50 h 52"/>
                  <a:gd name="T26" fmla="*/ 46 w 62"/>
                  <a:gd name="T27" fmla="*/ 52 h 52"/>
                  <a:gd name="T28" fmla="*/ 44 w 62"/>
                  <a:gd name="T29" fmla="*/ 48 h 52"/>
                  <a:gd name="T30" fmla="*/ 41 w 62"/>
                  <a:gd name="T31" fmla="*/ 44 h 52"/>
                  <a:gd name="T32" fmla="*/ 37 w 62"/>
                  <a:gd name="T33" fmla="*/ 42 h 52"/>
                  <a:gd name="T34" fmla="*/ 37 w 62"/>
                  <a:gd name="T35" fmla="*/ 39 h 52"/>
                  <a:gd name="T36" fmla="*/ 35 w 62"/>
                  <a:gd name="T37" fmla="*/ 37 h 52"/>
                  <a:gd name="T38" fmla="*/ 31 w 62"/>
                  <a:gd name="T39" fmla="*/ 40 h 52"/>
                  <a:gd name="T40" fmla="*/ 25 w 62"/>
                  <a:gd name="T41" fmla="*/ 39 h 52"/>
                  <a:gd name="T42" fmla="*/ 25 w 62"/>
                  <a:gd name="T43" fmla="*/ 35 h 52"/>
                  <a:gd name="T44" fmla="*/ 25 w 62"/>
                  <a:gd name="T45" fmla="*/ 31 h 52"/>
                  <a:gd name="T46" fmla="*/ 23 w 62"/>
                  <a:gd name="T47" fmla="*/ 31 h 52"/>
                  <a:gd name="T48" fmla="*/ 18 w 62"/>
                  <a:gd name="T49" fmla="*/ 31 h 52"/>
                  <a:gd name="T50" fmla="*/ 16 w 62"/>
                  <a:gd name="T51" fmla="*/ 27 h 52"/>
                  <a:gd name="T52" fmla="*/ 14 w 62"/>
                  <a:gd name="T53" fmla="*/ 27 h 52"/>
                  <a:gd name="T54" fmla="*/ 12 w 62"/>
                  <a:gd name="T55" fmla="*/ 21 h 52"/>
                  <a:gd name="T56" fmla="*/ 8 w 62"/>
                  <a:gd name="T57" fmla="*/ 19 h 52"/>
                  <a:gd name="T58" fmla="*/ 4 w 62"/>
                  <a:gd name="T59" fmla="*/ 21 h 52"/>
                  <a:gd name="T60" fmla="*/ 0 w 62"/>
                  <a:gd name="T61" fmla="*/ 19 h 52"/>
                  <a:gd name="T62" fmla="*/ 0 w 62"/>
                  <a:gd name="T63" fmla="*/ 14 h 52"/>
                  <a:gd name="T64" fmla="*/ 6 w 62"/>
                  <a:gd name="T65" fmla="*/ 8 h 52"/>
                  <a:gd name="T66" fmla="*/ 10 w 62"/>
                  <a:gd name="T67" fmla="*/ 6 h 52"/>
                  <a:gd name="T68" fmla="*/ 10 w 62"/>
                  <a:gd name="T69" fmla="*/ 4 h 52"/>
                  <a:gd name="T70" fmla="*/ 12 w 62"/>
                  <a:gd name="T71" fmla="*/ 6 h 52"/>
                  <a:gd name="T72" fmla="*/ 14 w 62"/>
                  <a:gd name="T73" fmla="*/ 8 h 52"/>
                  <a:gd name="T74" fmla="*/ 20 w 62"/>
                  <a:gd name="T75" fmla="*/ 8 h 52"/>
                  <a:gd name="T76" fmla="*/ 25 w 62"/>
                  <a:gd name="T77" fmla="*/ 6 h 52"/>
                  <a:gd name="T78" fmla="*/ 29 w 62"/>
                  <a:gd name="T79" fmla="*/ 2 h 52"/>
                  <a:gd name="T80" fmla="*/ 33 w 62"/>
                  <a:gd name="T81" fmla="*/ 4 h 52"/>
                  <a:gd name="T82" fmla="*/ 37 w 62"/>
                  <a:gd name="T83" fmla="*/ 2 h 52"/>
                  <a:gd name="T84" fmla="*/ 35 w 62"/>
                  <a:gd name="T85" fmla="*/ 4 h 52"/>
                  <a:gd name="T86" fmla="*/ 39 w 62"/>
                  <a:gd name="T87" fmla="*/ 2 h 52"/>
                  <a:gd name="T88" fmla="*/ 41 w 62"/>
                  <a:gd name="T89" fmla="*/ 6 h 52"/>
                  <a:gd name="T90" fmla="*/ 44 w 62"/>
                  <a:gd name="T91" fmla="*/ 8 h 52"/>
                  <a:gd name="T92" fmla="*/ 46 w 62"/>
                  <a:gd name="T93" fmla="*/ 6 h 52"/>
                  <a:gd name="T94" fmla="*/ 50 w 62"/>
                  <a:gd name="T95" fmla="*/ 8 h 52"/>
                  <a:gd name="T96" fmla="*/ 52 w 62"/>
                  <a:gd name="T97" fmla="*/ 12 h 52"/>
                  <a:gd name="T98" fmla="*/ 52 w 62"/>
                  <a:gd name="T99" fmla="*/ 16 h 52"/>
                  <a:gd name="T100" fmla="*/ 50 w 62"/>
                  <a:gd name="T101" fmla="*/ 19 h 52"/>
                  <a:gd name="T102" fmla="*/ 56 w 62"/>
                  <a:gd name="T103" fmla="*/ 1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2" h="52">
                    <a:moveTo>
                      <a:pt x="56" y="19"/>
                    </a:moveTo>
                    <a:lnTo>
                      <a:pt x="56" y="21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60" y="25"/>
                    </a:lnTo>
                    <a:lnTo>
                      <a:pt x="58" y="25"/>
                    </a:lnTo>
                    <a:lnTo>
                      <a:pt x="58" y="27"/>
                    </a:lnTo>
                    <a:lnTo>
                      <a:pt x="60" y="27"/>
                    </a:lnTo>
                    <a:lnTo>
                      <a:pt x="62" y="27"/>
                    </a:lnTo>
                    <a:lnTo>
                      <a:pt x="62" y="29"/>
                    </a:lnTo>
                    <a:lnTo>
                      <a:pt x="60" y="29"/>
                    </a:lnTo>
                    <a:lnTo>
                      <a:pt x="62" y="31"/>
                    </a:lnTo>
                    <a:lnTo>
                      <a:pt x="60" y="31"/>
                    </a:lnTo>
                    <a:lnTo>
                      <a:pt x="60" y="33"/>
                    </a:lnTo>
                    <a:lnTo>
                      <a:pt x="58" y="33"/>
                    </a:lnTo>
                    <a:lnTo>
                      <a:pt x="58" y="35"/>
                    </a:lnTo>
                    <a:lnTo>
                      <a:pt x="58" y="37"/>
                    </a:lnTo>
                    <a:lnTo>
                      <a:pt x="56" y="35"/>
                    </a:lnTo>
                    <a:lnTo>
                      <a:pt x="58" y="35"/>
                    </a:lnTo>
                    <a:lnTo>
                      <a:pt x="56" y="35"/>
                    </a:lnTo>
                    <a:lnTo>
                      <a:pt x="54" y="35"/>
                    </a:lnTo>
                    <a:lnTo>
                      <a:pt x="54" y="37"/>
                    </a:lnTo>
                    <a:lnTo>
                      <a:pt x="52" y="37"/>
                    </a:lnTo>
                    <a:lnTo>
                      <a:pt x="52" y="39"/>
                    </a:lnTo>
                    <a:lnTo>
                      <a:pt x="52" y="40"/>
                    </a:lnTo>
                    <a:lnTo>
                      <a:pt x="50" y="42"/>
                    </a:lnTo>
                    <a:lnTo>
                      <a:pt x="52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4" y="46"/>
                    </a:lnTo>
                    <a:lnTo>
                      <a:pt x="52" y="46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50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8" y="52"/>
                    </a:lnTo>
                    <a:lnTo>
                      <a:pt x="48" y="50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2" y="46"/>
                    </a:lnTo>
                    <a:lnTo>
                      <a:pt x="41" y="46"/>
                    </a:lnTo>
                    <a:lnTo>
                      <a:pt x="41" y="44"/>
                    </a:lnTo>
                    <a:lnTo>
                      <a:pt x="39" y="44"/>
                    </a:lnTo>
                    <a:lnTo>
                      <a:pt x="37" y="44"/>
                    </a:lnTo>
                    <a:lnTo>
                      <a:pt x="37" y="42"/>
                    </a:lnTo>
                    <a:lnTo>
                      <a:pt x="37" y="40"/>
                    </a:lnTo>
                    <a:lnTo>
                      <a:pt x="35" y="40"/>
                    </a:lnTo>
                    <a:lnTo>
                      <a:pt x="37" y="39"/>
                    </a:lnTo>
                    <a:lnTo>
                      <a:pt x="37" y="37"/>
                    </a:lnTo>
                    <a:lnTo>
                      <a:pt x="37" y="35"/>
                    </a:lnTo>
                    <a:lnTo>
                      <a:pt x="35" y="37"/>
                    </a:lnTo>
                    <a:lnTo>
                      <a:pt x="35" y="39"/>
                    </a:lnTo>
                    <a:lnTo>
                      <a:pt x="33" y="39"/>
                    </a:lnTo>
                    <a:lnTo>
                      <a:pt x="31" y="40"/>
                    </a:lnTo>
                    <a:lnTo>
                      <a:pt x="27" y="40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7" y="37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7" y="33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5" y="31"/>
                    </a:lnTo>
                    <a:lnTo>
                      <a:pt x="23" y="31"/>
                    </a:lnTo>
                    <a:lnTo>
                      <a:pt x="21" y="31"/>
                    </a:lnTo>
                    <a:lnTo>
                      <a:pt x="20" y="31"/>
                    </a:lnTo>
                    <a:lnTo>
                      <a:pt x="18" y="31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16" y="27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14" y="27"/>
                    </a:lnTo>
                    <a:lnTo>
                      <a:pt x="12" y="25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8" y="19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2" y="19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20" y="8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4"/>
                    </a:lnTo>
                    <a:lnTo>
                      <a:pt x="33" y="2"/>
                    </a:lnTo>
                    <a:lnTo>
                      <a:pt x="35" y="0"/>
                    </a:lnTo>
                    <a:lnTo>
                      <a:pt x="37" y="2"/>
                    </a:lnTo>
                    <a:lnTo>
                      <a:pt x="37" y="4"/>
                    </a:lnTo>
                    <a:lnTo>
                      <a:pt x="35" y="2"/>
                    </a:lnTo>
                    <a:lnTo>
                      <a:pt x="35" y="4"/>
                    </a:lnTo>
                    <a:lnTo>
                      <a:pt x="37" y="4"/>
                    </a:lnTo>
                    <a:lnTo>
                      <a:pt x="39" y="4"/>
                    </a:lnTo>
                    <a:lnTo>
                      <a:pt x="39" y="2"/>
                    </a:lnTo>
                    <a:lnTo>
                      <a:pt x="41" y="2"/>
                    </a:lnTo>
                    <a:lnTo>
                      <a:pt x="41" y="4"/>
                    </a:lnTo>
                    <a:lnTo>
                      <a:pt x="41" y="6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4" y="6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50" y="18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4" y="19"/>
                    </a:lnTo>
                    <a:lnTo>
                      <a:pt x="56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0" name="Freeform 133">
                <a:extLst>
                  <a:ext uri="{FF2B5EF4-FFF2-40B4-BE49-F238E27FC236}">
                    <a16:creationId xmlns:a16="http://schemas.microsoft.com/office/drawing/2014/main" id="{3453D374-9EA0-4CC1-C42B-50238F0689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79503" y="-3508817"/>
                <a:ext cx="96111" cy="113654"/>
              </a:xfrm>
              <a:custGeom>
                <a:avLst/>
                <a:gdLst>
                  <a:gd name="T0" fmla="*/ 32 w 61"/>
                  <a:gd name="T1" fmla="*/ 34 h 72"/>
                  <a:gd name="T2" fmla="*/ 28 w 61"/>
                  <a:gd name="T3" fmla="*/ 32 h 72"/>
                  <a:gd name="T4" fmla="*/ 36 w 61"/>
                  <a:gd name="T5" fmla="*/ 27 h 72"/>
                  <a:gd name="T6" fmla="*/ 38 w 61"/>
                  <a:gd name="T7" fmla="*/ 29 h 72"/>
                  <a:gd name="T8" fmla="*/ 38 w 61"/>
                  <a:gd name="T9" fmla="*/ 25 h 72"/>
                  <a:gd name="T10" fmla="*/ 32 w 61"/>
                  <a:gd name="T11" fmla="*/ 17 h 72"/>
                  <a:gd name="T12" fmla="*/ 32 w 61"/>
                  <a:gd name="T13" fmla="*/ 11 h 72"/>
                  <a:gd name="T14" fmla="*/ 44 w 61"/>
                  <a:gd name="T15" fmla="*/ 4 h 72"/>
                  <a:gd name="T16" fmla="*/ 46 w 61"/>
                  <a:gd name="T17" fmla="*/ 6 h 72"/>
                  <a:gd name="T18" fmla="*/ 49 w 61"/>
                  <a:gd name="T19" fmla="*/ 4 h 72"/>
                  <a:gd name="T20" fmla="*/ 59 w 61"/>
                  <a:gd name="T21" fmla="*/ 9 h 72"/>
                  <a:gd name="T22" fmla="*/ 57 w 61"/>
                  <a:gd name="T23" fmla="*/ 25 h 72"/>
                  <a:gd name="T24" fmla="*/ 55 w 61"/>
                  <a:gd name="T25" fmla="*/ 29 h 72"/>
                  <a:gd name="T26" fmla="*/ 53 w 61"/>
                  <a:gd name="T27" fmla="*/ 38 h 72"/>
                  <a:gd name="T28" fmla="*/ 48 w 61"/>
                  <a:gd name="T29" fmla="*/ 44 h 72"/>
                  <a:gd name="T30" fmla="*/ 42 w 61"/>
                  <a:gd name="T31" fmla="*/ 46 h 72"/>
                  <a:gd name="T32" fmla="*/ 44 w 61"/>
                  <a:gd name="T33" fmla="*/ 57 h 72"/>
                  <a:gd name="T34" fmla="*/ 40 w 61"/>
                  <a:gd name="T35" fmla="*/ 65 h 72"/>
                  <a:gd name="T36" fmla="*/ 42 w 61"/>
                  <a:gd name="T37" fmla="*/ 72 h 72"/>
                  <a:gd name="T38" fmla="*/ 38 w 61"/>
                  <a:gd name="T39" fmla="*/ 67 h 72"/>
                  <a:gd name="T40" fmla="*/ 32 w 61"/>
                  <a:gd name="T41" fmla="*/ 61 h 72"/>
                  <a:gd name="T42" fmla="*/ 25 w 61"/>
                  <a:gd name="T43" fmla="*/ 55 h 72"/>
                  <a:gd name="T44" fmla="*/ 19 w 61"/>
                  <a:gd name="T45" fmla="*/ 55 h 72"/>
                  <a:gd name="T46" fmla="*/ 9 w 61"/>
                  <a:gd name="T47" fmla="*/ 55 h 72"/>
                  <a:gd name="T48" fmla="*/ 4 w 61"/>
                  <a:gd name="T49" fmla="*/ 55 h 72"/>
                  <a:gd name="T50" fmla="*/ 4 w 61"/>
                  <a:gd name="T51" fmla="*/ 50 h 72"/>
                  <a:gd name="T52" fmla="*/ 13 w 61"/>
                  <a:gd name="T53" fmla="*/ 50 h 72"/>
                  <a:gd name="T54" fmla="*/ 7 w 61"/>
                  <a:gd name="T55" fmla="*/ 48 h 72"/>
                  <a:gd name="T56" fmla="*/ 7 w 61"/>
                  <a:gd name="T57" fmla="*/ 50 h 72"/>
                  <a:gd name="T58" fmla="*/ 4 w 61"/>
                  <a:gd name="T59" fmla="*/ 53 h 72"/>
                  <a:gd name="T60" fmla="*/ 9 w 61"/>
                  <a:gd name="T61" fmla="*/ 55 h 72"/>
                  <a:gd name="T62" fmla="*/ 11 w 61"/>
                  <a:gd name="T63" fmla="*/ 51 h 72"/>
                  <a:gd name="T64" fmla="*/ 23 w 61"/>
                  <a:gd name="T65" fmla="*/ 50 h 72"/>
                  <a:gd name="T66" fmla="*/ 19 w 61"/>
                  <a:gd name="T67" fmla="*/ 50 h 72"/>
                  <a:gd name="T68" fmla="*/ 11 w 61"/>
                  <a:gd name="T69" fmla="*/ 42 h 72"/>
                  <a:gd name="T70" fmla="*/ 13 w 61"/>
                  <a:gd name="T71" fmla="*/ 44 h 72"/>
                  <a:gd name="T72" fmla="*/ 13 w 61"/>
                  <a:gd name="T73" fmla="*/ 38 h 72"/>
                  <a:gd name="T74" fmla="*/ 21 w 61"/>
                  <a:gd name="T75" fmla="*/ 30 h 72"/>
                  <a:gd name="T76" fmla="*/ 27 w 61"/>
                  <a:gd name="T77" fmla="*/ 17 h 72"/>
                  <a:gd name="T78" fmla="*/ 32 w 61"/>
                  <a:gd name="T79" fmla="*/ 27 h 72"/>
                  <a:gd name="T80" fmla="*/ 27 w 61"/>
                  <a:gd name="T81" fmla="*/ 25 h 72"/>
                  <a:gd name="T82" fmla="*/ 27 w 61"/>
                  <a:gd name="T83" fmla="*/ 30 h 72"/>
                  <a:gd name="T84" fmla="*/ 19 w 61"/>
                  <a:gd name="T85" fmla="*/ 29 h 72"/>
                  <a:gd name="T86" fmla="*/ 2 w 61"/>
                  <a:gd name="T87" fmla="*/ 61 h 72"/>
                  <a:gd name="T88" fmla="*/ 6 w 61"/>
                  <a:gd name="T89" fmla="*/ 59 h 72"/>
                  <a:gd name="T90" fmla="*/ 11 w 61"/>
                  <a:gd name="T91" fmla="*/ 57 h 72"/>
                  <a:gd name="T92" fmla="*/ 23 w 61"/>
                  <a:gd name="T93" fmla="*/ 9 h 72"/>
                  <a:gd name="T94" fmla="*/ 34 w 61"/>
                  <a:gd name="T95" fmla="*/ 4 h 72"/>
                  <a:gd name="T96" fmla="*/ 36 w 61"/>
                  <a:gd name="T97" fmla="*/ 2 h 72"/>
                  <a:gd name="T98" fmla="*/ 44 w 61"/>
                  <a:gd name="T99" fmla="*/ 2 h 72"/>
                  <a:gd name="T100" fmla="*/ 23 w 61"/>
                  <a:gd name="T101" fmla="*/ 9 h 72"/>
                  <a:gd name="T102" fmla="*/ 49 w 61"/>
                  <a:gd name="T103" fmla="*/ 2 h 72"/>
                  <a:gd name="T104" fmla="*/ 7 w 61"/>
                  <a:gd name="T105" fmla="*/ 48 h 72"/>
                  <a:gd name="T106" fmla="*/ 27 w 61"/>
                  <a:gd name="T107" fmla="*/ 8 h 72"/>
                  <a:gd name="T108" fmla="*/ 30 w 61"/>
                  <a:gd name="T109" fmla="*/ 13 h 72"/>
                  <a:gd name="T110" fmla="*/ 15 w 61"/>
                  <a:gd name="T111" fmla="*/ 5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1" h="72">
                    <a:moveTo>
                      <a:pt x="25" y="32"/>
                    </a:moveTo>
                    <a:lnTo>
                      <a:pt x="27" y="32"/>
                    </a:lnTo>
                    <a:lnTo>
                      <a:pt x="28" y="34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28" y="32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8" y="32"/>
                    </a:lnTo>
                    <a:lnTo>
                      <a:pt x="27" y="32"/>
                    </a:lnTo>
                    <a:lnTo>
                      <a:pt x="28" y="30"/>
                    </a:lnTo>
                    <a:lnTo>
                      <a:pt x="27" y="30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6" y="25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6" y="30"/>
                    </a:lnTo>
                    <a:lnTo>
                      <a:pt x="34" y="32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29"/>
                    </a:lnTo>
                    <a:lnTo>
                      <a:pt x="38" y="27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2" y="25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36" y="25"/>
                    </a:lnTo>
                    <a:lnTo>
                      <a:pt x="34" y="25"/>
                    </a:lnTo>
                    <a:lnTo>
                      <a:pt x="34" y="21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2" y="19"/>
                    </a:lnTo>
                    <a:lnTo>
                      <a:pt x="30" y="19"/>
                    </a:lnTo>
                    <a:lnTo>
                      <a:pt x="32" y="17"/>
                    </a:lnTo>
                    <a:lnTo>
                      <a:pt x="32" y="15"/>
                    </a:lnTo>
                    <a:lnTo>
                      <a:pt x="32" y="17"/>
                    </a:lnTo>
                    <a:lnTo>
                      <a:pt x="32" y="13"/>
                    </a:lnTo>
                    <a:lnTo>
                      <a:pt x="32" y="15"/>
                    </a:lnTo>
                    <a:lnTo>
                      <a:pt x="30" y="13"/>
                    </a:lnTo>
                    <a:lnTo>
                      <a:pt x="32" y="13"/>
                    </a:lnTo>
                    <a:lnTo>
                      <a:pt x="30" y="13"/>
                    </a:lnTo>
                    <a:lnTo>
                      <a:pt x="32" y="11"/>
                    </a:lnTo>
                    <a:lnTo>
                      <a:pt x="32" y="9"/>
                    </a:lnTo>
                    <a:lnTo>
                      <a:pt x="32" y="11"/>
                    </a:lnTo>
                    <a:lnTo>
                      <a:pt x="32" y="9"/>
                    </a:lnTo>
                    <a:lnTo>
                      <a:pt x="34" y="8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8" y="4"/>
                    </a:lnTo>
                    <a:lnTo>
                      <a:pt x="49" y="4"/>
                    </a:lnTo>
                    <a:lnTo>
                      <a:pt x="53" y="4"/>
                    </a:lnTo>
                    <a:lnTo>
                      <a:pt x="55" y="4"/>
                    </a:lnTo>
                    <a:lnTo>
                      <a:pt x="55" y="6"/>
                    </a:lnTo>
                    <a:lnTo>
                      <a:pt x="57" y="8"/>
                    </a:lnTo>
                    <a:lnTo>
                      <a:pt x="55" y="6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59" y="9"/>
                    </a:lnTo>
                    <a:lnTo>
                      <a:pt x="61" y="9"/>
                    </a:lnTo>
                    <a:lnTo>
                      <a:pt x="61" y="11"/>
                    </a:lnTo>
                    <a:lnTo>
                      <a:pt x="59" y="11"/>
                    </a:lnTo>
                    <a:lnTo>
                      <a:pt x="61" y="11"/>
                    </a:lnTo>
                    <a:lnTo>
                      <a:pt x="61" y="15"/>
                    </a:lnTo>
                    <a:lnTo>
                      <a:pt x="59" y="17"/>
                    </a:lnTo>
                    <a:lnTo>
                      <a:pt x="59" y="19"/>
                    </a:lnTo>
                    <a:lnTo>
                      <a:pt x="57" y="25"/>
                    </a:lnTo>
                    <a:lnTo>
                      <a:pt x="55" y="25"/>
                    </a:lnTo>
                    <a:lnTo>
                      <a:pt x="53" y="25"/>
                    </a:lnTo>
                    <a:lnTo>
                      <a:pt x="51" y="25"/>
                    </a:lnTo>
                    <a:lnTo>
                      <a:pt x="53" y="27"/>
                    </a:lnTo>
                    <a:lnTo>
                      <a:pt x="51" y="27"/>
                    </a:lnTo>
                    <a:lnTo>
                      <a:pt x="51" y="29"/>
                    </a:lnTo>
                    <a:lnTo>
                      <a:pt x="53" y="29"/>
                    </a:lnTo>
                    <a:lnTo>
                      <a:pt x="55" y="29"/>
                    </a:lnTo>
                    <a:lnTo>
                      <a:pt x="55" y="30"/>
                    </a:lnTo>
                    <a:lnTo>
                      <a:pt x="57" y="29"/>
                    </a:lnTo>
                    <a:lnTo>
                      <a:pt x="57" y="32"/>
                    </a:lnTo>
                    <a:lnTo>
                      <a:pt x="57" y="34"/>
                    </a:lnTo>
                    <a:lnTo>
                      <a:pt x="57" y="36"/>
                    </a:lnTo>
                    <a:lnTo>
                      <a:pt x="55" y="36"/>
                    </a:lnTo>
                    <a:lnTo>
                      <a:pt x="55" y="38"/>
                    </a:lnTo>
                    <a:lnTo>
                      <a:pt x="53" y="38"/>
                    </a:lnTo>
                    <a:lnTo>
                      <a:pt x="53" y="40"/>
                    </a:lnTo>
                    <a:lnTo>
                      <a:pt x="51" y="40"/>
                    </a:lnTo>
                    <a:lnTo>
                      <a:pt x="53" y="40"/>
                    </a:lnTo>
                    <a:lnTo>
                      <a:pt x="53" y="42"/>
                    </a:lnTo>
                    <a:lnTo>
                      <a:pt x="53" y="44"/>
                    </a:lnTo>
                    <a:lnTo>
                      <a:pt x="51" y="44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4" y="46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0" y="46"/>
                    </a:lnTo>
                    <a:lnTo>
                      <a:pt x="40" y="48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2" y="51"/>
                    </a:lnTo>
                    <a:lnTo>
                      <a:pt x="44" y="53"/>
                    </a:lnTo>
                    <a:lnTo>
                      <a:pt x="44" y="55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2" y="61"/>
                    </a:lnTo>
                    <a:lnTo>
                      <a:pt x="42" y="63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5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38" y="65"/>
                    </a:lnTo>
                    <a:lnTo>
                      <a:pt x="40" y="67"/>
                    </a:lnTo>
                    <a:lnTo>
                      <a:pt x="42" y="67"/>
                    </a:lnTo>
                    <a:lnTo>
                      <a:pt x="42" y="69"/>
                    </a:lnTo>
                    <a:lnTo>
                      <a:pt x="42" y="71"/>
                    </a:lnTo>
                    <a:lnTo>
                      <a:pt x="42" y="72"/>
                    </a:lnTo>
                    <a:lnTo>
                      <a:pt x="40" y="72"/>
                    </a:lnTo>
                    <a:lnTo>
                      <a:pt x="42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6" y="72"/>
                    </a:lnTo>
                    <a:lnTo>
                      <a:pt x="36" y="71"/>
                    </a:lnTo>
                    <a:lnTo>
                      <a:pt x="36" y="69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8" y="63"/>
                    </a:lnTo>
                    <a:lnTo>
                      <a:pt x="36" y="63"/>
                    </a:lnTo>
                    <a:lnTo>
                      <a:pt x="36" y="61"/>
                    </a:lnTo>
                    <a:lnTo>
                      <a:pt x="34" y="61"/>
                    </a:lnTo>
                    <a:lnTo>
                      <a:pt x="34" y="59"/>
                    </a:lnTo>
                    <a:lnTo>
                      <a:pt x="32" y="59"/>
                    </a:lnTo>
                    <a:lnTo>
                      <a:pt x="32" y="61"/>
                    </a:lnTo>
                    <a:lnTo>
                      <a:pt x="30" y="59"/>
                    </a:lnTo>
                    <a:lnTo>
                      <a:pt x="30" y="61"/>
                    </a:lnTo>
                    <a:lnTo>
                      <a:pt x="28" y="61"/>
                    </a:lnTo>
                    <a:lnTo>
                      <a:pt x="28" y="59"/>
                    </a:lnTo>
                    <a:lnTo>
                      <a:pt x="27" y="59"/>
                    </a:lnTo>
                    <a:lnTo>
                      <a:pt x="27" y="57"/>
                    </a:lnTo>
                    <a:lnTo>
                      <a:pt x="27" y="55"/>
                    </a:lnTo>
                    <a:lnTo>
                      <a:pt x="25" y="55"/>
                    </a:lnTo>
                    <a:lnTo>
                      <a:pt x="25" y="57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23" y="57"/>
                    </a:lnTo>
                    <a:lnTo>
                      <a:pt x="23" y="55"/>
                    </a:lnTo>
                    <a:lnTo>
                      <a:pt x="21" y="53"/>
                    </a:lnTo>
                    <a:lnTo>
                      <a:pt x="19" y="55"/>
                    </a:lnTo>
                    <a:lnTo>
                      <a:pt x="19" y="57"/>
                    </a:lnTo>
                    <a:lnTo>
                      <a:pt x="19" y="55"/>
                    </a:lnTo>
                    <a:lnTo>
                      <a:pt x="17" y="55"/>
                    </a:lnTo>
                    <a:lnTo>
                      <a:pt x="15" y="55"/>
                    </a:lnTo>
                    <a:lnTo>
                      <a:pt x="15" y="57"/>
                    </a:lnTo>
                    <a:lnTo>
                      <a:pt x="13" y="57"/>
                    </a:lnTo>
                    <a:lnTo>
                      <a:pt x="11" y="57"/>
                    </a:lnTo>
                    <a:lnTo>
                      <a:pt x="9" y="55"/>
                    </a:lnTo>
                    <a:lnTo>
                      <a:pt x="7" y="55"/>
                    </a:lnTo>
                    <a:lnTo>
                      <a:pt x="7" y="57"/>
                    </a:lnTo>
                    <a:lnTo>
                      <a:pt x="6" y="57"/>
                    </a:lnTo>
                    <a:lnTo>
                      <a:pt x="4" y="55"/>
                    </a:lnTo>
                    <a:lnTo>
                      <a:pt x="6" y="55"/>
                    </a:lnTo>
                    <a:lnTo>
                      <a:pt x="4" y="55"/>
                    </a:lnTo>
                    <a:lnTo>
                      <a:pt x="6" y="55"/>
                    </a:lnTo>
                    <a:lnTo>
                      <a:pt x="4" y="55"/>
                    </a:lnTo>
                    <a:lnTo>
                      <a:pt x="2" y="55"/>
                    </a:lnTo>
                    <a:lnTo>
                      <a:pt x="4" y="55"/>
                    </a:lnTo>
                    <a:lnTo>
                      <a:pt x="2" y="55"/>
                    </a:lnTo>
                    <a:lnTo>
                      <a:pt x="0" y="53"/>
                    </a:lnTo>
                    <a:lnTo>
                      <a:pt x="2" y="51"/>
                    </a:lnTo>
                    <a:lnTo>
                      <a:pt x="4" y="51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6" y="48"/>
                    </a:lnTo>
                    <a:lnTo>
                      <a:pt x="7" y="48"/>
                    </a:lnTo>
                    <a:lnTo>
                      <a:pt x="7" y="46"/>
                    </a:lnTo>
                    <a:lnTo>
                      <a:pt x="9" y="46"/>
                    </a:lnTo>
                    <a:lnTo>
                      <a:pt x="11" y="48"/>
                    </a:lnTo>
                    <a:lnTo>
                      <a:pt x="13" y="50"/>
                    </a:lnTo>
                    <a:lnTo>
                      <a:pt x="15" y="50"/>
                    </a:lnTo>
                    <a:lnTo>
                      <a:pt x="13" y="50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7" y="48"/>
                    </a:lnTo>
                    <a:lnTo>
                      <a:pt x="6" y="48"/>
                    </a:lnTo>
                    <a:lnTo>
                      <a:pt x="7" y="48"/>
                    </a:lnTo>
                    <a:lnTo>
                      <a:pt x="9" y="48"/>
                    </a:lnTo>
                    <a:lnTo>
                      <a:pt x="9" y="50"/>
                    </a:lnTo>
                    <a:lnTo>
                      <a:pt x="11" y="50"/>
                    </a:lnTo>
                    <a:lnTo>
                      <a:pt x="9" y="51"/>
                    </a:lnTo>
                    <a:lnTo>
                      <a:pt x="7" y="51"/>
                    </a:lnTo>
                    <a:lnTo>
                      <a:pt x="7" y="50"/>
                    </a:lnTo>
                    <a:lnTo>
                      <a:pt x="7" y="51"/>
                    </a:lnTo>
                    <a:lnTo>
                      <a:pt x="7" y="50"/>
                    </a:lnTo>
                    <a:lnTo>
                      <a:pt x="6" y="50"/>
                    </a:lnTo>
                    <a:lnTo>
                      <a:pt x="4" y="51"/>
                    </a:lnTo>
                    <a:lnTo>
                      <a:pt x="6" y="51"/>
                    </a:lnTo>
                    <a:lnTo>
                      <a:pt x="4" y="51"/>
                    </a:lnTo>
                    <a:lnTo>
                      <a:pt x="7" y="51"/>
                    </a:lnTo>
                    <a:lnTo>
                      <a:pt x="7" y="53"/>
                    </a:lnTo>
                    <a:lnTo>
                      <a:pt x="6" y="53"/>
                    </a:lnTo>
                    <a:lnTo>
                      <a:pt x="4" y="53"/>
                    </a:lnTo>
                    <a:lnTo>
                      <a:pt x="4" y="51"/>
                    </a:lnTo>
                    <a:lnTo>
                      <a:pt x="4" y="53"/>
                    </a:lnTo>
                    <a:lnTo>
                      <a:pt x="6" y="53"/>
                    </a:lnTo>
                    <a:lnTo>
                      <a:pt x="4" y="53"/>
                    </a:lnTo>
                    <a:lnTo>
                      <a:pt x="6" y="53"/>
                    </a:lnTo>
                    <a:lnTo>
                      <a:pt x="7" y="53"/>
                    </a:lnTo>
                    <a:lnTo>
                      <a:pt x="9" y="53"/>
                    </a:lnTo>
                    <a:lnTo>
                      <a:pt x="9" y="55"/>
                    </a:lnTo>
                    <a:lnTo>
                      <a:pt x="11" y="55"/>
                    </a:lnTo>
                    <a:lnTo>
                      <a:pt x="13" y="55"/>
                    </a:lnTo>
                    <a:lnTo>
                      <a:pt x="11" y="53"/>
                    </a:lnTo>
                    <a:lnTo>
                      <a:pt x="9" y="53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1" y="50"/>
                    </a:lnTo>
                    <a:lnTo>
                      <a:pt x="11" y="51"/>
                    </a:lnTo>
                    <a:lnTo>
                      <a:pt x="11" y="50"/>
                    </a:lnTo>
                    <a:lnTo>
                      <a:pt x="11" y="51"/>
                    </a:lnTo>
                    <a:lnTo>
                      <a:pt x="13" y="51"/>
                    </a:lnTo>
                    <a:lnTo>
                      <a:pt x="15" y="50"/>
                    </a:lnTo>
                    <a:lnTo>
                      <a:pt x="17" y="50"/>
                    </a:lnTo>
                    <a:lnTo>
                      <a:pt x="19" y="50"/>
                    </a:lnTo>
                    <a:lnTo>
                      <a:pt x="21" y="48"/>
                    </a:lnTo>
                    <a:lnTo>
                      <a:pt x="23" y="50"/>
                    </a:lnTo>
                    <a:lnTo>
                      <a:pt x="21" y="48"/>
                    </a:lnTo>
                    <a:lnTo>
                      <a:pt x="23" y="48"/>
                    </a:lnTo>
                    <a:lnTo>
                      <a:pt x="21" y="48"/>
                    </a:lnTo>
                    <a:lnTo>
                      <a:pt x="23" y="46"/>
                    </a:lnTo>
                    <a:lnTo>
                      <a:pt x="21" y="46"/>
                    </a:lnTo>
                    <a:lnTo>
                      <a:pt x="21" y="48"/>
                    </a:lnTo>
                    <a:lnTo>
                      <a:pt x="19" y="48"/>
                    </a:lnTo>
                    <a:lnTo>
                      <a:pt x="19" y="50"/>
                    </a:lnTo>
                    <a:lnTo>
                      <a:pt x="17" y="50"/>
                    </a:lnTo>
                    <a:lnTo>
                      <a:pt x="15" y="50"/>
                    </a:lnTo>
                    <a:lnTo>
                      <a:pt x="13" y="48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9" y="44"/>
                    </a:lnTo>
                    <a:lnTo>
                      <a:pt x="11" y="42"/>
                    </a:lnTo>
                    <a:lnTo>
                      <a:pt x="13" y="44"/>
                    </a:lnTo>
                    <a:lnTo>
                      <a:pt x="11" y="42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1" y="42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17" y="30"/>
                    </a:lnTo>
                    <a:lnTo>
                      <a:pt x="19" y="30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32"/>
                    </a:lnTo>
                    <a:lnTo>
                      <a:pt x="25" y="32"/>
                    </a:lnTo>
                    <a:close/>
                    <a:moveTo>
                      <a:pt x="21" y="17"/>
                    </a:moveTo>
                    <a:lnTo>
                      <a:pt x="23" y="17"/>
                    </a:lnTo>
                    <a:lnTo>
                      <a:pt x="23" y="19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8" y="23"/>
                    </a:lnTo>
                    <a:lnTo>
                      <a:pt x="28" y="21"/>
                    </a:lnTo>
                    <a:lnTo>
                      <a:pt x="30" y="23"/>
                    </a:lnTo>
                    <a:lnTo>
                      <a:pt x="32" y="25"/>
                    </a:lnTo>
                    <a:lnTo>
                      <a:pt x="32" y="27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2" y="25"/>
                    </a:lnTo>
                    <a:lnTo>
                      <a:pt x="30" y="25"/>
                    </a:lnTo>
                    <a:lnTo>
                      <a:pt x="30" y="23"/>
                    </a:lnTo>
                    <a:lnTo>
                      <a:pt x="28" y="23"/>
                    </a:lnTo>
                    <a:lnTo>
                      <a:pt x="28" y="25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7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7" y="30"/>
                    </a:lnTo>
                    <a:lnTo>
                      <a:pt x="27" y="29"/>
                    </a:lnTo>
                    <a:lnTo>
                      <a:pt x="27" y="30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19" y="29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21" y="17"/>
                    </a:lnTo>
                    <a:close/>
                    <a:moveTo>
                      <a:pt x="13" y="57"/>
                    </a:moveTo>
                    <a:lnTo>
                      <a:pt x="11" y="59"/>
                    </a:lnTo>
                    <a:lnTo>
                      <a:pt x="9" y="61"/>
                    </a:lnTo>
                    <a:lnTo>
                      <a:pt x="7" y="61"/>
                    </a:lnTo>
                    <a:lnTo>
                      <a:pt x="6" y="61"/>
                    </a:lnTo>
                    <a:lnTo>
                      <a:pt x="2" y="59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4" y="57"/>
                    </a:lnTo>
                    <a:lnTo>
                      <a:pt x="6" y="59"/>
                    </a:lnTo>
                    <a:lnTo>
                      <a:pt x="6" y="57"/>
                    </a:lnTo>
                    <a:lnTo>
                      <a:pt x="6" y="59"/>
                    </a:lnTo>
                    <a:lnTo>
                      <a:pt x="7" y="59"/>
                    </a:lnTo>
                    <a:lnTo>
                      <a:pt x="7" y="57"/>
                    </a:lnTo>
                    <a:lnTo>
                      <a:pt x="9" y="57"/>
                    </a:lnTo>
                    <a:lnTo>
                      <a:pt x="11" y="57"/>
                    </a:lnTo>
                    <a:lnTo>
                      <a:pt x="11" y="59"/>
                    </a:lnTo>
                    <a:lnTo>
                      <a:pt x="11" y="57"/>
                    </a:lnTo>
                    <a:lnTo>
                      <a:pt x="11" y="59"/>
                    </a:lnTo>
                    <a:lnTo>
                      <a:pt x="11" y="57"/>
                    </a:lnTo>
                    <a:lnTo>
                      <a:pt x="13" y="57"/>
                    </a:lnTo>
                    <a:lnTo>
                      <a:pt x="11" y="57"/>
                    </a:lnTo>
                    <a:lnTo>
                      <a:pt x="13" y="57"/>
                    </a:lnTo>
                    <a:lnTo>
                      <a:pt x="11" y="57"/>
                    </a:lnTo>
                    <a:lnTo>
                      <a:pt x="13" y="57"/>
                    </a:lnTo>
                    <a:lnTo>
                      <a:pt x="11" y="59"/>
                    </a:lnTo>
                    <a:lnTo>
                      <a:pt x="13" y="57"/>
                    </a:lnTo>
                    <a:close/>
                    <a:moveTo>
                      <a:pt x="23" y="9"/>
                    </a:moveTo>
                    <a:lnTo>
                      <a:pt x="23" y="11"/>
                    </a:lnTo>
                    <a:lnTo>
                      <a:pt x="23" y="13"/>
                    </a:lnTo>
                    <a:lnTo>
                      <a:pt x="21" y="15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3" y="9"/>
                    </a:lnTo>
                    <a:close/>
                    <a:moveTo>
                      <a:pt x="34" y="4"/>
                    </a:moveTo>
                    <a:lnTo>
                      <a:pt x="32" y="4"/>
                    </a:lnTo>
                    <a:lnTo>
                      <a:pt x="30" y="4"/>
                    </a:lnTo>
                    <a:lnTo>
                      <a:pt x="28" y="6"/>
                    </a:lnTo>
                    <a:lnTo>
                      <a:pt x="27" y="6"/>
                    </a:lnTo>
                    <a:lnTo>
                      <a:pt x="28" y="6"/>
                    </a:lnTo>
                    <a:lnTo>
                      <a:pt x="32" y="4"/>
                    </a:lnTo>
                    <a:lnTo>
                      <a:pt x="34" y="4"/>
                    </a:lnTo>
                    <a:close/>
                    <a:moveTo>
                      <a:pt x="36" y="2"/>
                    </a:moveTo>
                    <a:lnTo>
                      <a:pt x="40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6" y="2"/>
                    </a:lnTo>
                    <a:close/>
                    <a:moveTo>
                      <a:pt x="48" y="2"/>
                    </a:moveTo>
                    <a:lnTo>
                      <a:pt x="46" y="2"/>
                    </a:lnTo>
                    <a:lnTo>
                      <a:pt x="44" y="2"/>
                    </a:lnTo>
                    <a:lnTo>
                      <a:pt x="44" y="4"/>
                    </a:lnTo>
                    <a:lnTo>
                      <a:pt x="44" y="2"/>
                    </a:lnTo>
                    <a:lnTo>
                      <a:pt x="44" y="4"/>
                    </a:lnTo>
                    <a:lnTo>
                      <a:pt x="44" y="2"/>
                    </a:lnTo>
                    <a:lnTo>
                      <a:pt x="48" y="2"/>
                    </a:lnTo>
                    <a:close/>
                    <a:moveTo>
                      <a:pt x="27" y="8"/>
                    </a:moveTo>
                    <a:lnTo>
                      <a:pt x="25" y="8"/>
                    </a:lnTo>
                    <a:lnTo>
                      <a:pt x="23" y="9"/>
                    </a:lnTo>
                    <a:lnTo>
                      <a:pt x="25" y="8"/>
                    </a:lnTo>
                    <a:lnTo>
                      <a:pt x="27" y="8"/>
                    </a:lnTo>
                    <a:close/>
                    <a:moveTo>
                      <a:pt x="13" y="48"/>
                    </a:moveTo>
                    <a:lnTo>
                      <a:pt x="15" y="48"/>
                    </a:lnTo>
                    <a:lnTo>
                      <a:pt x="13" y="48"/>
                    </a:lnTo>
                    <a:close/>
                    <a:moveTo>
                      <a:pt x="48" y="0"/>
                    </a:moveTo>
                    <a:lnTo>
                      <a:pt x="49" y="0"/>
                    </a:lnTo>
                    <a:lnTo>
                      <a:pt x="49" y="2"/>
                    </a:lnTo>
                    <a:lnTo>
                      <a:pt x="48" y="2"/>
                    </a:lnTo>
                    <a:lnTo>
                      <a:pt x="48" y="0"/>
                    </a:lnTo>
                    <a:close/>
                    <a:moveTo>
                      <a:pt x="19" y="15"/>
                    </a:moveTo>
                    <a:lnTo>
                      <a:pt x="21" y="15"/>
                    </a:lnTo>
                    <a:lnTo>
                      <a:pt x="21" y="17"/>
                    </a:lnTo>
                    <a:lnTo>
                      <a:pt x="19" y="17"/>
                    </a:lnTo>
                    <a:lnTo>
                      <a:pt x="19" y="15"/>
                    </a:lnTo>
                    <a:close/>
                    <a:moveTo>
                      <a:pt x="7" y="48"/>
                    </a:moveTo>
                    <a:lnTo>
                      <a:pt x="9" y="48"/>
                    </a:lnTo>
                    <a:lnTo>
                      <a:pt x="7" y="48"/>
                    </a:lnTo>
                    <a:close/>
                    <a:moveTo>
                      <a:pt x="11" y="57"/>
                    </a:moveTo>
                    <a:lnTo>
                      <a:pt x="11" y="59"/>
                    </a:lnTo>
                    <a:lnTo>
                      <a:pt x="11" y="57"/>
                    </a:lnTo>
                    <a:close/>
                    <a:moveTo>
                      <a:pt x="27" y="8"/>
                    </a:moveTo>
                    <a:lnTo>
                      <a:pt x="28" y="8"/>
                    </a:lnTo>
                    <a:lnTo>
                      <a:pt x="27" y="8"/>
                    </a:lnTo>
                    <a:close/>
                    <a:moveTo>
                      <a:pt x="49" y="0"/>
                    </a:moveTo>
                    <a:lnTo>
                      <a:pt x="51" y="0"/>
                    </a:lnTo>
                    <a:lnTo>
                      <a:pt x="51" y="2"/>
                    </a:lnTo>
                    <a:lnTo>
                      <a:pt x="49" y="2"/>
                    </a:lnTo>
                    <a:lnTo>
                      <a:pt x="49" y="0"/>
                    </a:lnTo>
                    <a:close/>
                    <a:moveTo>
                      <a:pt x="30" y="13"/>
                    </a:moveTo>
                    <a:lnTo>
                      <a:pt x="27" y="17"/>
                    </a:lnTo>
                    <a:lnTo>
                      <a:pt x="30" y="13"/>
                    </a:lnTo>
                    <a:close/>
                    <a:moveTo>
                      <a:pt x="17" y="50"/>
                    </a:moveTo>
                    <a:lnTo>
                      <a:pt x="19" y="50"/>
                    </a:lnTo>
                    <a:lnTo>
                      <a:pt x="17" y="50"/>
                    </a:lnTo>
                    <a:close/>
                    <a:moveTo>
                      <a:pt x="42" y="2"/>
                    </a:moveTo>
                    <a:lnTo>
                      <a:pt x="42" y="4"/>
                    </a:lnTo>
                    <a:lnTo>
                      <a:pt x="42" y="2"/>
                    </a:lnTo>
                    <a:close/>
                    <a:moveTo>
                      <a:pt x="15" y="48"/>
                    </a:moveTo>
                    <a:lnTo>
                      <a:pt x="15" y="50"/>
                    </a:lnTo>
                    <a:lnTo>
                      <a:pt x="15" y="48"/>
                    </a:lnTo>
                    <a:close/>
                    <a:moveTo>
                      <a:pt x="30" y="29"/>
                    </a:moveTo>
                    <a:lnTo>
                      <a:pt x="32" y="29"/>
                    </a:lnTo>
                    <a:lnTo>
                      <a:pt x="30" y="2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1" name="Freeform 134">
                <a:extLst>
                  <a:ext uri="{FF2B5EF4-FFF2-40B4-BE49-F238E27FC236}">
                    <a16:creationId xmlns:a16="http://schemas.microsoft.com/office/drawing/2014/main" id="{367103E3-B58E-5ED6-FD80-697E5D56EB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9371" y="-3571962"/>
                <a:ext cx="231611" cy="312552"/>
              </a:xfrm>
              <a:custGeom>
                <a:avLst/>
                <a:gdLst>
                  <a:gd name="T0" fmla="*/ 135 w 147"/>
                  <a:gd name="T1" fmla="*/ 107 h 198"/>
                  <a:gd name="T2" fmla="*/ 124 w 147"/>
                  <a:gd name="T3" fmla="*/ 114 h 198"/>
                  <a:gd name="T4" fmla="*/ 111 w 147"/>
                  <a:gd name="T5" fmla="*/ 120 h 198"/>
                  <a:gd name="T6" fmla="*/ 101 w 147"/>
                  <a:gd name="T7" fmla="*/ 124 h 198"/>
                  <a:gd name="T8" fmla="*/ 107 w 147"/>
                  <a:gd name="T9" fmla="*/ 137 h 198"/>
                  <a:gd name="T10" fmla="*/ 114 w 147"/>
                  <a:gd name="T11" fmla="*/ 151 h 198"/>
                  <a:gd name="T12" fmla="*/ 128 w 147"/>
                  <a:gd name="T13" fmla="*/ 164 h 198"/>
                  <a:gd name="T14" fmla="*/ 111 w 147"/>
                  <a:gd name="T15" fmla="*/ 179 h 198"/>
                  <a:gd name="T16" fmla="*/ 111 w 147"/>
                  <a:gd name="T17" fmla="*/ 189 h 198"/>
                  <a:gd name="T18" fmla="*/ 95 w 147"/>
                  <a:gd name="T19" fmla="*/ 191 h 198"/>
                  <a:gd name="T20" fmla="*/ 80 w 147"/>
                  <a:gd name="T21" fmla="*/ 193 h 198"/>
                  <a:gd name="T22" fmla="*/ 72 w 147"/>
                  <a:gd name="T23" fmla="*/ 196 h 198"/>
                  <a:gd name="T24" fmla="*/ 65 w 147"/>
                  <a:gd name="T25" fmla="*/ 191 h 198"/>
                  <a:gd name="T26" fmla="*/ 53 w 147"/>
                  <a:gd name="T27" fmla="*/ 189 h 198"/>
                  <a:gd name="T28" fmla="*/ 46 w 147"/>
                  <a:gd name="T29" fmla="*/ 185 h 198"/>
                  <a:gd name="T30" fmla="*/ 38 w 147"/>
                  <a:gd name="T31" fmla="*/ 191 h 198"/>
                  <a:gd name="T32" fmla="*/ 29 w 147"/>
                  <a:gd name="T33" fmla="*/ 183 h 198"/>
                  <a:gd name="T34" fmla="*/ 36 w 147"/>
                  <a:gd name="T35" fmla="*/ 158 h 198"/>
                  <a:gd name="T36" fmla="*/ 27 w 147"/>
                  <a:gd name="T37" fmla="*/ 152 h 198"/>
                  <a:gd name="T38" fmla="*/ 17 w 147"/>
                  <a:gd name="T39" fmla="*/ 151 h 198"/>
                  <a:gd name="T40" fmla="*/ 11 w 147"/>
                  <a:gd name="T41" fmla="*/ 139 h 198"/>
                  <a:gd name="T42" fmla="*/ 8 w 147"/>
                  <a:gd name="T43" fmla="*/ 124 h 198"/>
                  <a:gd name="T44" fmla="*/ 4 w 147"/>
                  <a:gd name="T45" fmla="*/ 112 h 198"/>
                  <a:gd name="T46" fmla="*/ 4 w 147"/>
                  <a:gd name="T47" fmla="*/ 103 h 198"/>
                  <a:gd name="T48" fmla="*/ 4 w 147"/>
                  <a:gd name="T49" fmla="*/ 84 h 198"/>
                  <a:gd name="T50" fmla="*/ 15 w 147"/>
                  <a:gd name="T51" fmla="*/ 80 h 198"/>
                  <a:gd name="T52" fmla="*/ 15 w 147"/>
                  <a:gd name="T53" fmla="*/ 67 h 198"/>
                  <a:gd name="T54" fmla="*/ 25 w 147"/>
                  <a:gd name="T55" fmla="*/ 48 h 198"/>
                  <a:gd name="T56" fmla="*/ 32 w 147"/>
                  <a:gd name="T57" fmla="*/ 36 h 198"/>
                  <a:gd name="T58" fmla="*/ 38 w 147"/>
                  <a:gd name="T59" fmla="*/ 40 h 198"/>
                  <a:gd name="T60" fmla="*/ 48 w 147"/>
                  <a:gd name="T61" fmla="*/ 32 h 198"/>
                  <a:gd name="T62" fmla="*/ 57 w 147"/>
                  <a:gd name="T63" fmla="*/ 36 h 198"/>
                  <a:gd name="T64" fmla="*/ 48 w 147"/>
                  <a:gd name="T65" fmla="*/ 21 h 198"/>
                  <a:gd name="T66" fmla="*/ 48 w 147"/>
                  <a:gd name="T67" fmla="*/ 15 h 198"/>
                  <a:gd name="T68" fmla="*/ 44 w 147"/>
                  <a:gd name="T69" fmla="*/ 4 h 198"/>
                  <a:gd name="T70" fmla="*/ 48 w 147"/>
                  <a:gd name="T71" fmla="*/ 4 h 198"/>
                  <a:gd name="T72" fmla="*/ 63 w 147"/>
                  <a:gd name="T73" fmla="*/ 7 h 198"/>
                  <a:gd name="T74" fmla="*/ 63 w 147"/>
                  <a:gd name="T75" fmla="*/ 13 h 198"/>
                  <a:gd name="T76" fmla="*/ 69 w 147"/>
                  <a:gd name="T77" fmla="*/ 15 h 198"/>
                  <a:gd name="T78" fmla="*/ 84 w 147"/>
                  <a:gd name="T79" fmla="*/ 23 h 198"/>
                  <a:gd name="T80" fmla="*/ 84 w 147"/>
                  <a:gd name="T81" fmla="*/ 28 h 198"/>
                  <a:gd name="T82" fmla="*/ 99 w 147"/>
                  <a:gd name="T83" fmla="*/ 25 h 198"/>
                  <a:gd name="T84" fmla="*/ 107 w 147"/>
                  <a:gd name="T85" fmla="*/ 17 h 198"/>
                  <a:gd name="T86" fmla="*/ 112 w 147"/>
                  <a:gd name="T87" fmla="*/ 19 h 198"/>
                  <a:gd name="T88" fmla="*/ 122 w 147"/>
                  <a:gd name="T89" fmla="*/ 25 h 198"/>
                  <a:gd name="T90" fmla="*/ 133 w 147"/>
                  <a:gd name="T91" fmla="*/ 36 h 198"/>
                  <a:gd name="T92" fmla="*/ 137 w 147"/>
                  <a:gd name="T93" fmla="*/ 65 h 198"/>
                  <a:gd name="T94" fmla="*/ 139 w 147"/>
                  <a:gd name="T95" fmla="*/ 86 h 198"/>
                  <a:gd name="T96" fmla="*/ 124 w 147"/>
                  <a:gd name="T97" fmla="*/ 21 h 198"/>
                  <a:gd name="T98" fmla="*/ 116 w 147"/>
                  <a:gd name="T99" fmla="*/ 21 h 198"/>
                  <a:gd name="T100" fmla="*/ 120 w 147"/>
                  <a:gd name="T101" fmla="*/ 15 h 198"/>
                  <a:gd name="T102" fmla="*/ 118 w 147"/>
                  <a:gd name="T103" fmla="*/ 11 h 198"/>
                  <a:gd name="T104" fmla="*/ 126 w 147"/>
                  <a:gd name="T105" fmla="*/ 19 h 198"/>
                  <a:gd name="T106" fmla="*/ 128 w 147"/>
                  <a:gd name="T107" fmla="*/ 27 h 198"/>
                  <a:gd name="T108" fmla="*/ 128 w 147"/>
                  <a:gd name="T109" fmla="*/ 25 h 198"/>
                  <a:gd name="T110" fmla="*/ 86 w 147"/>
                  <a:gd name="T111" fmla="*/ 15 h 198"/>
                  <a:gd name="T112" fmla="*/ 90 w 147"/>
                  <a:gd name="T113" fmla="*/ 28 h 198"/>
                  <a:gd name="T114" fmla="*/ 40 w 147"/>
                  <a:gd name="T115" fmla="*/ 9 h 198"/>
                  <a:gd name="T116" fmla="*/ 118 w 147"/>
                  <a:gd name="T117" fmla="*/ 17 h 198"/>
                  <a:gd name="T118" fmla="*/ 42 w 147"/>
                  <a:gd name="T119" fmla="*/ 15 h 198"/>
                  <a:gd name="T120" fmla="*/ 36 w 147"/>
                  <a:gd name="T121" fmla="*/ 36 h 198"/>
                  <a:gd name="T122" fmla="*/ 59 w 147"/>
                  <a:gd name="T123" fmla="*/ 38 h 198"/>
                  <a:gd name="T124" fmla="*/ 40 w 147"/>
                  <a:gd name="T125" fmla="*/ 3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" h="198">
                    <a:moveTo>
                      <a:pt x="147" y="103"/>
                    </a:moveTo>
                    <a:lnTo>
                      <a:pt x="145" y="109"/>
                    </a:lnTo>
                    <a:lnTo>
                      <a:pt x="143" y="111"/>
                    </a:lnTo>
                    <a:lnTo>
                      <a:pt x="143" y="112"/>
                    </a:lnTo>
                    <a:lnTo>
                      <a:pt x="141" y="111"/>
                    </a:lnTo>
                    <a:lnTo>
                      <a:pt x="139" y="111"/>
                    </a:lnTo>
                    <a:lnTo>
                      <a:pt x="141" y="109"/>
                    </a:lnTo>
                    <a:lnTo>
                      <a:pt x="139" y="109"/>
                    </a:lnTo>
                    <a:lnTo>
                      <a:pt x="139" y="107"/>
                    </a:lnTo>
                    <a:lnTo>
                      <a:pt x="137" y="107"/>
                    </a:lnTo>
                    <a:lnTo>
                      <a:pt x="135" y="107"/>
                    </a:lnTo>
                    <a:lnTo>
                      <a:pt x="135" y="105"/>
                    </a:lnTo>
                    <a:lnTo>
                      <a:pt x="135" y="107"/>
                    </a:lnTo>
                    <a:lnTo>
                      <a:pt x="133" y="107"/>
                    </a:lnTo>
                    <a:lnTo>
                      <a:pt x="135" y="107"/>
                    </a:lnTo>
                    <a:lnTo>
                      <a:pt x="135" y="109"/>
                    </a:lnTo>
                    <a:lnTo>
                      <a:pt x="137" y="109"/>
                    </a:lnTo>
                    <a:lnTo>
                      <a:pt x="135" y="109"/>
                    </a:lnTo>
                    <a:lnTo>
                      <a:pt x="135" y="111"/>
                    </a:lnTo>
                    <a:lnTo>
                      <a:pt x="133" y="111"/>
                    </a:lnTo>
                    <a:lnTo>
                      <a:pt x="132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8" y="114"/>
                    </a:lnTo>
                    <a:lnTo>
                      <a:pt x="126" y="114"/>
                    </a:lnTo>
                    <a:lnTo>
                      <a:pt x="124" y="114"/>
                    </a:lnTo>
                    <a:lnTo>
                      <a:pt x="122" y="114"/>
                    </a:lnTo>
                    <a:lnTo>
                      <a:pt x="122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18" y="118"/>
                    </a:lnTo>
                    <a:lnTo>
                      <a:pt x="118" y="116"/>
                    </a:lnTo>
                    <a:lnTo>
                      <a:pt x="118" y="120"/>
                    </a:lnTo>
                    <a:lnTo>
                      <a:pt x="116" y="120"/>
                    </a:lnTo>
                    <a:lnTo>
                      <a:pt x="116" y="118"/>
                    </a:lnTo>
                    <a:lnTo>
                      <a:pt x="116" y="120"/>
                    </a:lnTo>
                    <a:lnTo>
                      <a:pt x="114" y="120"/>
                    </a:lnTo>
                    <a:lnTo>
                      <a:pt x="112" y="122"/>
                    </a:lnTo>
                    <a:lnTo>
                      <a:pt x="111" y="120"/>
                    </a:lnTo>
                    <a:lnTo>
                      <a:pt x="111" y="122"/>
                    </a:lnTo>
                    <a:lnTo>
                      <a:pt x="111" y="120"/>
                    </a:lnTo>
                    <a:lnTo>
                      <a:pt x="111" y="122"/>
                    </a:lnTo>
                    <a:lnTo>
                      <a:pt x="109" y="122"/>
                    </a:lnTo>
                    <a:lnTo>
                      <a:pt x="107" y="122"/>
                    </a:lnTo>
                    <a:lnTo>
                      <a:pt x="107" y="124"/>
                    </a:lnTo>
                    <a:lnTo>
                      <a:pt x="105" y="124"/>
                    </a:lnTo>
                    <a:lnTo>
                      <a:pt x="105" y="126"/>
                    </a:lnTo>
                    <a:lnTo>
                      <a:pt x="103" y="126"/>
                    </a:lnTo>
                    <a:lnTo>
                      <a:pt x="103" y="128"/>
                    </a:lnTo>
                    <a:lnTo>
                      <a:pt x="103" y="126"/>
                    </a:lnTo>
                    <a:lnTo>
                      <a:pt x="101" y="126"/>
                    </a:lnTo>
                    <a:lnTo>
                      <a:pt x="101" y="124"/>
                    </a:lnTo>
                    <a:lnTo>
                      <a:pt x="99" y="124"/>
                    </a:lnTo>
                    <a:lnTo>
                      <a:pt x="101" y="126"/>
                    </a:lnTo>
                    <a:lnTo>
                      <a:pt x="99" y="126"/>
                    </a:lnTo>
                    <a:lnTo>
                      <a:pt x="101" y="126"/>
                    </a:lnTo>
                    <a:lnTo>
                      <a:pt x="101" y="128"/>
                    </a:lnTo>
                    <a:lnTo>
                      <a:pt x="101" y="130"/>
                    </a:lnTo>
                    <a:lnTo>
                      <a:pt x="103" y="130"/>
                    </a:lnTo>
                    <a:lnTo>
                      <a:pt x="103" y="132"/>
                    </a:lnTo>
                    <a:lnTo>
                      <a:pt x="105" y="132"/>
                    </a:lnTo>
                    <a:lnTo>
                      <a:pt x="107" y="132"/>
                    </a:lnTo>
                    <a:lnTo>
                      <a:pt x="107" y="133"/>
                    </a:lnTo>
                    <a:lnTo>
                      <a:pt x="107" y="135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5" y="139"/>
                    </a:lnTo>
                    <a:lnTo>
                      <a:pt x="107" y="139"/>
                    </a:lnTo>
                    <a:lnTo>
                      <a:pt x="107" y="141"/>
                    </a:lnTo>
                    <a:lnTo>
                      <a:pt x="107" y="143"/>
                    </a:lnTo>
                    <a:lnTo>
                      <a:pt x="109" y="143"/>
                    </a:lnTo>
                    <a:lnTo>
                      <a:pt x="109" y="145"/>
                    </a:lnTo>
                    <a:lnTo>
                      <a:pt x="109" y="147"/>
                    </a:lnTo>
                    <a:lnTo>
                      <a:pt x="111" y="147"/>
                    </a:lnTo>
                    <a:lnTo>
                      <a:pt x="111" y="149"/>
                    </a:lnTo>
                    <a:lnTo>
                      <a:pt x="112" y="149"/>
                    </a:lnTo>
                    <a:lnTo>
                      <a:pt x="114" y="149"/>
                    </a:lnTo>
                    <a:lnTo>
                      <a:pt x="114" y="151"/>
                    </a:lnTo>
                    <a:lnTo>
                      <a:pt x="116" y="151"/>
                    </a:lnTo>
                    <a:lnTo>
                      <a:pt x="116" y="152"/>
                    </a:lnTo>
                    <a:lnTo>
                      <a:pt x="118" y="154"/>
                    </a:lnTo>
                    <a:lnTo>
                      <a:pt x="120" y="154"/>
                    </a:lnTo>
                    <a:lnTo>
                      <a:pt x="120" y="156"/>
                    </a:lnTo>
                    <a:lnTo>
                      <a:pt x="122" y="158"/>
                    </a:lnTo>
                    <a:lnTo>
                      <a:pt x="122" y="156"/>
                    </a:lnTo>
                    <a:lnTo>
                      <a:pt x="124" y="156"/>
                    </a:lnTo>
                    <a:lnTo>
                      <a:pt x="124" y="158"/>
                    </a:lnTo>
                    <a:lnTo>
                      <a:pt x="126" y="160"/>
                    </a:lnTo>
                    <a:lnTo>
                      <a:pt x="128" y="160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28" y="166"/>
                    </a:lnTo>
                    <a:lnTo>
                      <a:pt x="126" y="168"/>
                    </a:lnTo>
                    <a:lnTo>
                      <a:pt x="122" y="166"/>
                    </a:lnTo>
                    <a:lnTo>
                      <a:pt x="122" y="168"/>
                    </a:lnTo>
                    <a:lnTo>
                      <a:pt x="120" y="172"/>
                    </a:lnTo>
                    <a:lnTo>
                      <a:pt x="120" y="173"/>
                    </a:lnTo>
                    <a:lnTo>
                      <a:pt x="118" y="173"/>
                    </a:lnTo>
                    <a:lnTo>
                      <a:pt x="116" y="173"/>
                    </a:lnTo>
                    <a:lnTo>
                      <a:pt x="114" y="173"/>
                    </a:lnTo>
                    <a:lnTo>
                      <a:pt x="114" y="175"/>
                    </a:lnTo>
                    <a:lnTo>
                      <a:pt x="112" y="175"/>
                    </a:lnTo>
                    <a:lnTo>
                      <a:pt x="111" y="177"/>
                    </a:lnTo>
                    <a:lnTo>
                      <a:pt x="111" y="179"/>
                    </a:lnTo>
                    <a:lnTo>
                      <a:pt x="112" y="179"/>
                    </a:lnTo>
                    <a:lnTo>
                      <a:pt x="112" y="181"/>
                    </a:lnTo>
                    <a:lnTo>
                      <a:pt x="114" y="185"/>
                    </a:lnTo>
                    <a:lnTo>
                      <a:pt x="112" y="185"/>
                    </a:lnTo>
                    <a:lnTo>
                      <a:pt x="112" y="187"/>
                    </a:lnTo>
                    <a:lnTo>
                      <a:pt x="114" y="187"/>
                    </a:lnTo>
                    <a:lnTo>
                      <a:pt x="116" y="189"/>
                    </a:lnTo>
                    <a:lnTo>
                      <a:pt x="114" y="191"/>
                    </a:lnTo>
                    <a:lnTo>
                      <a:pt x="114" y="193"/>
                    </a:lnTo>
                    <a:lnTo>
                      <a:pt x="112" y="193"/>
                    </a:lnTo>
                    <a:lnTo>
                      <a:pt x="112" y="191"/>
                    </a:lnTo>
                    <a:lnTo>
                      <a:pt x="111" y="191"/>
                    </a:lnTo>
                    <a:lnTo>
                      <a:pt x="111" y="189"/>
                    </a:lnTo>
                    <a:lnTo>
                      <a:pt x="109" y="189"/>
                    </a:lnTo>
                    <a:lnTo>
                      <a:pt x="107" y="189"/>
                    </a:lnTo>
                    <a:lnTo>
                      <a:pt x="105" y="189"/>
                    </a:lnTo>
                    <a:lnTo>
                      <a:pt x="105" y="187"/>
                    </a:lnTo>
                    <a:lnTo>
                      <a:pt x="105" y="189"/>
                    </a:lnTo>
                    <a:lnTo>
                      <a:pt x="103" y="187"/>
                    </a:lnTo>
                    <a:lnTo>
                      <a:pt x="103" y="189"/>
                    </a:lnTo>
                    <a:lnTo>
                      <a:pt x="103" y="187"/>
                    </a:lnTo>
                    <a:lnTo>
                      <a:pt x="101" y="187"/>
                    </a:lnTo>
                    <a:lnTo>
                      <a:pt x="101" y="189"/>
                    </a:lnTo>
                    <a:lnTo>
                      <a:pt x="101" y="191"/>
                    </a:lnTo>
                    <a:lnTo>
                      <a:pt x="99" y="189"/>
                    </a:lnTo>
                    <a:lnTo>
                      <a:pt x="95" y="191"/>
                    </a:lnTo>
                    <a:lnTo>
                      <a:pt x="93" y="191"/>
                    </a:lnTo>
                    <a:lnTo>
                      <a:pt x="92" y="191"/>
                    </a:lnTo>
                    <a:lnTo>
                      <a:pt x="92" y="193"/>
                    </a:lnTo>
                    <a:lnTo>
                      <a:pt x="90" y="193"/>
                    </a:lnTo>
                    <a:lnTo>
                      <a:pt x="88" y="193"/>
                    </a:lnTo>
                    <a:lnTo>
                      <a:pt x="90" y="194"/>
                    </a:lnTo>
                    <a:lnTo>
                      <a:pt x="88" y="193"/>
                    </a:lnTo>
                    <a:lnTo>
                      <a:pt x="88" y="194"/>
                    </a:lnTo>
                    <a:lnTo>
                      <a:pt x="86" y="194"/>
                    </a:lnTo>
                    <a:lnTo>
                      <a:pt x="84" y="194"/>
                    </a:lnTo>
                    <a:lnTo>
                      <a:pt x="82" y="194"/>
                    </a:lnTo>
                    <a:lnTo>
                      <a:pt x="82" y="193"/>
                    </a:lnTo>
                    <a:lnTo>
                      <a:pt x="80" y="193"/>
                    </a:lnTo>
                    <a:lnTo>
                      <a:pt x="82" y="193"/>
                    </a:lnTo>
                    <a:lnTo>
                      <a:pt x="80" y="191"/>
                    </a:lnTo>
                    <a:lnTo>
                      <a:pt x="78" y="193"/>
                    </a:lnTo>
                    <a:lnTo>
                      <a:pt x="78" y="191"/>
                    </a:lnTo>
                    <a:lnTo>
                      <a:pt x="76" y="191"/>
                    </a:lnTo>
                    <a:lnTo>
                      <a:pt x="74" y="191"/>
                    </a:lnTo>
                    <a:lnTo>
                      <a:pt x="72" y="191"/>
                    </a:lnTo>
                    <a:lnTo>
                      <a:pt x="74" y="191"/>
                    </a:lnTo>
                    <a:lnTo>
                      <a:pt x="72" y="193"/>
                    </a:lnTo>
                    <a:lnTo>
                      <a:pt x="74" y="193"/>
                    </a:lnTo>
                    <a:lnTo>
                      <a:pt x="74" y="194"/>
                    </a:lnTo>
                    <a:lnTo>
                      <a:pt x="72" y="194"/>
                    </a:lnTo>
                    <a:lnTo>
                      <a:pt x="72" y="196"/>
                    </a:lnTo>
                    <a:lnTo>
                      <a:pt x="71" y="198"/>
                    </a:lnTo>
                    <a:lnTo>
                      <a:pt x="69" y="198"/>
                    </a:lnTo>
                    <a:lnTo>
                      <a:pt x="69" y="196"/>
                    </a:lnTo>
                    <a:lnTo>
                      <a:pt x="71" y="196"/>
                    </a:lnTo>
                    <a:lnTo>
                      <a:pt x="71" y="194"/>
                    </a:lnTo>
                    <a:lnTo>
                      <a:pt x="69" y="194"/>
                    </a:lnTo>
                    <a:lnTo>
                      <a:pt x="69" y="196"/>
                    </a:lnTo>
                    <a:lnTo>
                      <a:pt x="67" y="194"/>
                    </a:lnTo>
                    <a:lnTo>
                      <a:pt x="69" y="194"/>
                    </a:lnTo>
                    <a:lnTo>
                      <a:pt x="69" y="193"/>
                    </a:lnTo>
                    <a:lnTo>
                      <a:pt x="67" y="193"/>
                    </a:lnTo>
                    <a:lnTo>
                      <a:pt x="67" y="191"/>
                    </a:lnTo>
                    <a:lnTo>
                      <a:pt x="65" y="191"/>
                    </a:lnTo>
                    <a:lnTo>
                      <a:pt x="65" y="193"/>
                    </a:lnTo>
                    <a:lnTo>
                      <a:pt x="65" y="191"/>
                    </a:lnTo>
                    <a:lnTo>
                      <a:pt x="63" y="191"/>
                    </a:lnTo>
                    <a:lnTo>
                      <a:pt x="61" y="191"/>
                    </a:lnTo>
                    <a:lnTo>
                      <a:pt x="59" y="191"/>
                    </a:lnTo>
                    <a:lnTo>
                      <a:pt x="59" y="189"/>
                    </a:lnTo>
                    <a:lnTo>
                      <a:pt x="57" y="189"/>
                    </a:lnTo>
                    <a:lnTo>
                      <a:pt x="55" y="189"/>
                    </a:lnTo>
                    <a:lnTo>
                      <a:pt x="55" y="187"/>
                    </a:lnTo>
                    <a:lnTo>
                      <a:pt x="53" y="187"/>
                    </a:lnTo>
                    <a:lnTo>
                      <a:pt x="51" y="185"/>
                    </a:lnTo>
                    <a:lnTo>
                      <a:pt x="53" y="187"/>
                    </a:lnTo>
                    <a:lnTo>
                      <a:pt x="53" y="189"/>
                    </a:lnTo>
                    <a:lnTo>
                      <a:pt x="51" y="189"/>
                    </a:lnTo>
                    <a:lnTo>
                      <a:pt x="51" y="187"/>
                    </a:lnTo>
                    <a:lnTo>
                      <a:pt x="50" y="187"/>
                    </a:lnTo>
                    <a:lnTo>
                      <a:pt x="51" y="187"/>
                    </a:lnTo>
                    <a:lnTo>
                      <a:pt x="50" y="187"/>
                    </a:lnTo>
                    <a:lnTo>
                      <a:pt x="51" y="187"/>
                    </a:lnTo>
                    <a:lnTo>
                      <a:pt x="51" y="189"/>
                    </a:lnTo>
                    <a:lnTo>
                      <a:pt x="50" y="189"/>
                    </a:lnTo>
                    <a:lnTo>
                      <a:pt x="48" y="189"/>
                    </a:lnTo>
                    <a:lnTo>
                      <a:pt x="48" y="187"/>
                    </a:lnTo>
                    <a:lnTo>
                      <a:pt x="48" y="189"/>
                    </a:lnTo>
                    <a:lnTo>
                      <a:pt x="46" y="187"/>
                    </a:lnTo>
                    <a:lnTo>
                      <a:pt x="46" y="185"/>
                    </a:lnTo>
                    <a:lnTo>
                      <a:pt x="44" y="187"/>
                    </a:lnTo>
                    <a:lnTo>
                      <a:pt x="44" y="185"/>
                    </a:lnTo>
                    <a:lnTo>
                      <a:pt x="42" y="187"/>
                    </a:lnTo>
                    <a:lnTo>
                      <a:pt x="42" y="189"/>
                    </a:lnTo>
                    <a:lnTo>
                      <a:pt x="44" y="189"/>
                    </a:lnTo>
                    <a:lnTo>
                      <a:pt x="44" y="191"/>
                    </a:lnTo>
                    <a:lnTo>
                      <a:pt x="44" y="189"/>
                    </a:lnTo>
                    <a:lnTo>
                      <a:pt x="42" y="189"/>
                    </a:lnTo>
                    <a:lnTo>
                      <a:pt x="42" y="191"/>
                    </a:lnTo>
                    <a:lnTo>
                      <a:pt x="40" y="191"/>
                    </a:lnTo>
                    <a:lnTo>
                      <a:pt x="38" y="191"/>
                    </a:lnTo>
                    <a:lnTo>
                      <a:pt x="38" y="189"/>
                    </a:lnTo>
                    <a:lnTo>
                      <a:pt x="38" y="191"/>
                    </a:lnTo>
                    <a:lnTo>
                      <a:pt x="36" y="191"/>
                    </a:lnTo>
                    <a:lnTo>
                      <a:pt x="34" y="191"/>
                    </a:lnTo>
                    <a:lnTo>
                      <a:pt x="32" y="191"/>
                    </a:lnTo>
                    <a:lnTo>
                      <a:pt x="30" y="191"/>
                    </a:lnTo>
                    <a:lnTo>
                      <a:pt x="29" y="191"/>
                    </a:lnTo>
                    <a:lnTo>
                      <a:pt x="30" y="191"/>
                    </a:lnTo>
                    <a:lnTo>
                      <a:pt x="29" y="191"/>
                    </a:lnTo>
                    <a:lnTo>
                      <a:pt x="30" y="191"/>
                    </a:lnTo>
                    <a:lnTo>
                      <a:pt x="29" y="191"/>
                    </a:lnTo>
                    <a:lnTo>
                      <a:pt x="27" y="187"/>
                    </a:lnTo>
                    <a:lnTo>
                      <a:pt x="27" y="185"/>
                    </a:lnTo>
                    <a:lnTo>
                      <a:pt x="29" y="185"/>
                    </a:lnTo>
                    <a:lnTo>
                      <a:pt x="29" y="183"/>
                    </a:lnTo>
                    <a:lnTo>
                      <a:pt x="29" y="181"/>
                    </a:lnTo>
                    <a:lnTo>
                      <a:pt x="29" y="179"/>
                    </a:lnTo>
                    <a:lnTo>
                      <a:pt x="29" y="177"/>
                    </a:lnTo>
                    <a:lnTo>
                      <a:pt x="29" y="175"/>
                    </a:lnTo>
                    <a:lnTo>
                      <a:pt x="30" y="173"/>
                    </a:lnTo>
                    <a:lnTo>
                      <a:pt x="30" y="172"/>
                    </a:lnTo>
                    <a:lnTo>
                      <a:pt x="30" y="170"/>
                    </a:lnTo>
                    <a:lnTo>
                      <a:pt x="32" y="168"/>
                    </a:lnTo>
                    <a:lnTo>
                      <a:pt x="32" y="166"/>
                    </a:lnTo>
                    <a:lnTo>
                      <a:pt x="34" y="164"/>
                    </a:lnTo>
                    <a:lnTo>
                      <a:pt x="34" y="162"/>
                    </a:lnTo>
                    <a:lnTo>
                      <a:pt x="36" y="162"/>
                    </a:lnTo>
                    <a:lnTo>
                      <a:pt x="36" y="158"/>
                    </a:lnTo>
                    <a:lnTo>
                      <a:pt x="38" y="158"/>
                    </a:lnTo>
                    <a:lnTo>
                      <a:pt x="38" y="156"/>
                    </a:lnTo>
                    <a:lnTo>
                      <a:pt x="36" y="156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4" y="156"/>
                    </a:lnTo>
                    <a:lnTo>
                      <a:pt x="32" y="154"/>
                    </a:lnTo>
                    <a:lnTo>
                      <a:pt x="32" y="156"/>
                    </a:lnTo>
                    <a:lnTo>
                      <a:pt x="32" y="154"/>
                    </a:lnTo>
                    <a:lnTo>
                      <a:pt x="30" y="156"/>
                    </a:lnTo>
                    <a:lnTo>
                      <a:pt x="29" y="154"/>
                    </a:lnTo>
                    <a:lnTo>
                      <a:pt x="27" y="154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3" y="154"/>
                    </a:lnTo>
                    <a:lnTo>
                      <a:pt x="23" y="152"/>
                    </a:lnTo>
                    <a:lnTo>
                      <a:pt x="23" y="154"/>
                    </a:lnTo>
                    <a:lnTo>
                      <a:pt x="21" y="152"/>
                    </a:lnTo>
                    <a:lnTo>
                      <a:pt x="21" y="154"/>
                    </a:lnTo>
                    <a:lnTo>
                      <a:pt x="21" y="152"/>
                    </a:lnTo>
                    <a:lnTo>
                      <a:pt x="19" y="154"/>
                    </a:lnTo>
                    <a:lnTo>
                      <a:pt x="19" y="152"/>
                    </a:lnTo>
                    <a:lnTo>
                      <a:pt x="19" y="151"/>
                    </a:lnTo>
                    <a:lnTo>
                      <a:pt x="17" y="151"/>
                    </a:lnTo>
                    <a:lnTo>
                      <a:pt x="17" y="152"/>
                    </a:lnTo>
                    <a:lnTo>
                      <a:pt x="15" y="152"/>
                    </a:lnTo>
                    <a:lnTo>
                      <a:pt x="13" y="152"/>
                    </a:lnTo>
                    <a:lnTo>
                      <a:pt x="15" y="151"/>
                    </a:lnTo>
                    <a:lnTo>
                      <a:pt x="13" y="151"/>
                    </a:lnTo>
                    <a:lnTo>
                      <a:pt x="13" y="149"/>
                    </a:lnTo>
                    <a:lnTo>
                      <a:pt x="11" y="149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10" y="145"/>
                    </a:lnTo>
                    <a:lnTo>
                      <a:pt x="10" y="143"/>
                    </a:lnTo>
                    <a:lnTo>
                      <a:pt x="10" y="141"/>
                    </a:lnTo>
                    <a:lnTo>
                      <a:pt x="11" y="139"/>
                    </a:lnTo>
                    <a:lnTo>
                      <a:pt x="11" y="137"/>
                    </a:lnTo>
                    <a:lnTo>
                      <a:pt x="10" y="137"/>
                    </a:lnTo>
                    <a:lnTo>
                      <a:pt x="10" y="135"/>
                    </a:lnTo>
                    <a:lnTo>
                      <a:pt x="8" y="135"/>
                    </a:lnTo>
                    <a:lnTo>
                      <a:pt x="6" y="135"/>
                    </a:lnTo>
                    <a:lnTo>
                      <a:pt x="6" y="133"/>
                    </a:lnTo>
                    <a:lnTo>
                      <a:pt x="6" y="132"/>
                    </a:lnTo>
                    <a:lnTo>
                      <a:pt x="4" y="130"/>
                    </a:lnTo>
                    <a:lnTo>
                      <a:pt x="6" y="130"/>
                    </a:lnTo>
                    <a:lnTo>
                      <a:pt x="6" y="128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8" y="124"/>
                    </a:lnTo>
                    <a:lnTo>
                      <a:pt x="10" y="124"/>
                    </a:lnTo>
                    <a:lnTo>
                      <a:pt x="8" y="122"/>
                    </a:lnTo>
                    <a:lnTo>
                      <a:pt x="10" y="122"/>
                    </a:lnTo>
                    <a:lnTo>
                      <a:pt x="10" y="120"/>
                    </a:lnTo>
                    <a:lnTo>
                      <a:pt x="8" y="120"/>
                    </a:lnTo>
                    <a:lnTo>
                      <a:pt x="6" y="120"/>
                    </a:lnTo>
                    <a:lnTo>
                      <a:pt x="6" y="118"/>
                    </a:lnTo>
                    <a:lnTo>
                      <a:pt x="8" y="118"/>
                    </a:lnTo>
                    <a:lnTo>
                      <a:pt x="8" y="116"/>
                    </a:lnTo>
                    <a:lnTo>
                      <a:pt x="6" y="116"/>
                    </a:lnTo>
                    <a:lnTo>
                      <a:pt x="6" y="114"/>
                    </a:lnTo>
                    <a:lnTo>
                      <a:pt x="4" y="114"/>
                    </a:lnTo>
                    <a:lnTo>
                      <a:pt x="4" y="112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4" y="111"/>
                    </a:lnTo>
                    <a:lnTo>
                      <a:pt x="4" y="109"/>
                    </a:lnTo>
                    <a:lnTo>
                      <a:pt x="4" y="107"/>
                    </a:lnTo>
                    <a:lnTo>
                      <a:pt x="2" y="107"/>
                    </a:lnTo>
                    <a:lnTo>
                      <a:pt x="0" y="105"/>
                    </a:lnTo>
                    <a:lnTo>
                      <a:pt x="2" y="105"/>
                    </a:lnTo>
                    <a:lnTo>
                      <a:pt x="2" y="107"/>
                    </a:lnTo>
                    <a:lnTo>
                      <a:pt x="4" y="105"/>
                    </a:lnTo>
                    <a:lnTo>
                      <a:pt x="4" y="103"/>
                    </a:lnTo>
                    <a:lnTo>
                      <a:pt x="6" y="103"/>
                    </a:lnTo>
                    <a:lnTo>
                      <a:pt x="4" y="103"/>
                    </a:lnTo>
                    <a:lnTo>
                      <a:pt x="4" y="101"/>
                    </a:lnTo>
                    <a:lnTo>
                      <a:pt x="6" y="99"/>
                    </a:lnTo>
                    <a:lnTo>
                      <a:pt x="6" y="97"/>
                    </a:lnTo>
                    <a:lnTo>
                      <a:pt x="6" y="95"/>
                    </a:lnTo>
                    <a:lnTo>
                      <a:pt x="6" y="93"/>
                    </a:lnTo>
                    <a:lnTo>
                      <a:pt x="4" y="91"/>
                    </a:lnTo>
                    <a:lnTo>
                      <a:pt x="6" y="90"/>
                    </a:lnTo>
                    <a:lnTo>
                      <a:pt x="4" y="90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4" y="86"/>
                    </a:lnTo>
                    <a:lnTo>
                      <a:pt x="6" y="86"/>
                    </a:lnTo>
                    <a:lnTo>
                      <a:pt x="4" y="84"/>
                    </a:lnTo>
                    <a:lnTo>
                      <a:pt x="6" y="84"/>
                    </a:lnTo>
                    <a:lnTo>
                      <a:pt x="6" y="86"/>
                    </a:lnTo>
                    <a:lnTo>
                      <a:pt x="8" y="84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0" y="84"/>
                    </a:lnTo>
                    <a:lnTo>
                      <a:pt x="10" y="86"/>
                    </a:lnTo>
                    <a:lnTo>
                      <a:pt x="13" y="84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3" y="80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7" y="76"/>
                    </a:lnTo>
                    <a:lnTo>
                      <a:pt x="19" y="76"/>
                    </a:lnTo>
                    <a:lnTo>
                      <a:pt x="19" y="74"/>
                    </a:lnTo>
                    <a:lnTo>
                      <a:pt x="19" y="72"/>
                    </a:lnTo>
                    <a:lnTo>
                      <a:pt x="19" y="69"/>
                    </a:lnTo>
                    <a:lnTo>
                      <a:pt x="17" y="70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3" y="67"/>
                    </a:lnTo>
                    <a:lnTo>
                      <a:pt x="15" y="67"/>
                    </a:lnTo>
                    <a:lnTo>
                      <a:pt x="13" y="65"/>
                    </a:lnTo>
                    <a:lnTo>
                      <a:pt x="15" y="65"/>
                    </a:lnTo>
                    <a:lnTo>
                      <a:pt x="17" y="65"/>
                    </a:lnTo>
                    <a:lnTo>
                      <a:pt x="19" y="65"/>
                    </a:lnTo>
                    <a:lnTo>
                      <a:pt x="21" y="59"/>
                    </a:lnTo>
                    <a:lnTo>
                      <a:pt x="21" y="57"/>
                    </a:lnTo>
                    <a:lnTo>
                      <a:pt x="23" y="55"/>
                    </a:lnTo>
                    <a:lnTo>
                      <a:pt x="23" y="51"/>
                    </a:lnTo>
                    <a:lnTo>
                      <a:pt x="21" y="51"/>
                    </a:lnTo>
                    <a:lnTo>
                      <a:pt x="23" y="51"/>
                    </a:lnTo>
                    <a:lnTo>
                      <a:pt x="23" y="49"/>
                    </a:lnTo>
                    <a:lnTo>
                      <a:pt x="23" y="48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48"/>
                    </a:lnTo>
                    <a:lnTo>
                      <a:pt x="23" y="46"/>
                    </a:lnTo>
                    <a:lnTo>
                      <a:pt x="19" y="46"/>
                    </a:lnTo>
                    <a:lnTo>
                      <a:pt x="19" y="44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5" y="36"/>
                    </a:lnTo>
                    <a:lnTo>
                      <a:pt x="27" y="36"/>
                    </a:lnTo>
                    <a:lnTo>
                      <a:pt x="27" y="38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6" y="38"/>
                    </a:lnTo>
                    <a:lnTo>
                      <a:pt x="38" y="40"/>
                    </a:lnTo>
                    <a:lnTo>
                      <a:pt x="38" y="42"/>
                    </a:lnTo>
                    <a:lnTo>
                      <a:pt x="38" y="40"/>
                    </a:lnTo>
                    <a:lnTo>
                      <a:pt x="38" y="42"/>
                    </a:lnTo>
                    <a:lnTo>
                      <a:pt x="36" y="42"/>
                    </a:lnTo>
                    <a:lnTo>
                      <a:pt x="36" y="44"/>
                    </a:lnTo>
                    <a:lnTo>
                      <a:pt x="38" y="44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40"/>
                    </a:lnTo>
                    <a:lnTo>
                      <a:pt x="40" y="38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51" y="32"/>
                    </a:lnTo>
                    <a:lnTo>
                      <a:pt x="55" y="32"/>
                    </a:lnTo>
                    <a:lnTo>
                      <a:pt x="59" y="40"/>
                    </a:lnTo>
                    <a:lnTo>
                      <a:pt x="61" y="40"/>
                    </a:lnTo>
                    <a:lnTo>
                      <a:pt x="63" y="40"/>
                    </a:lnTo>
                    <a:lnTo>
                      <a:pt x="63" y="42"/>
                    </a:lnTo>
                    <a:lnTo>
                      <a:pt x="63" y="40"/>
                    </a:lnTo>
                    <a:lnTo>
                      <a:pt x="65" y="42"/>
                    </a:lnTo>
                    <a:lnTo>
                      <a:pt x="61" y="40"/>
                    </a:lnTo>
                    <a:lnTo>
                      <a:pt x="59" y="38"/>
                    </a:lnTo>
                    <a:lnTo>
                      <a:pt x="59" y="36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2"/>
                    </a:lnTo>
                    <a:lnTo>
                      <a:pt x="53" y="32"/>
                    </a:lnTo>
                    <a:lnTo>
                      <a:pt x="50" y="32"/>
                    </a:lnTo>
                    <a:lnTo>
                      <a:pt x="48" y="28"/>
                    </a:lnTo>
                    <a:lnTo>
                      <a:pt x="50" y="27"/>
                    </a:lnTo>
                    <a:lnTo>
                      <a:pt x="50" y="28"/>
                    </a:lnTo>
                    <a:lnTo>
                      <a:pt x="50" y="27"/>
                    </a:lnTo>
                    <a:lnTo>
                      <a:pt x="50" y="25"/>
                    </a:lnTo>
                    <a:lnTo>
                      <a:pt x="48" y="25"/>
                    </a:lnTo>
                    <a:lnTo>
                      <a:pt x="48" y="21"/>
                    </a:lnTo>
                    <a:lnTo>
                      <a:pt x="50" y="21"/>
                    </a:lnTo>
                    <a:lnTo>
                      <a:pt x="48" y="21"/>
                    </a:lnTo>
                    <a:lnTo>
                      <a:pt x="46" y="21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4" y="19"/>
                    </a:lnTo>
                    <a:lnTo>
                      <a:pt x="46" y="17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1" y="15"/>
                    </a:lnTo>
                    <a:lnTo>
                      <a:pt x="50" y="15"/>
                    </a:lnTo>
                    <a:lnTo>
                      <a:pt x="48" y="15"/>
                    </a:lnTo>
                    <a:lnTo>
                      <a:pt x="48" y="13"/>
                    </a:lnTo>
                    <a:lnTo>
                      <a:pt x="50" y="13"/>
                    </a:lnTo>
                    <a:lnTo>
                      <a:pt x="48" y="13"/>
                    </a:lnTo>
                    <a:lnTo>
                      <a:pt x="50" y="13"/>
                    </a:lnTo>
                    <a:lnTo>
                      <a:pt x="48" y="11"/>
                    </a:lnTo>
                    <a:lnTo>
                      <a:pt x="46" y="9"/>
                    </a:lnTo>
                    <a:lnTo>
                      <a:pt x="46" y="11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6" y="9"/>
                    </a:lnTo>
                    <a:lnTo>
                      <a:pt x="46" y="7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7"/>
                    </a:lnTo>
                    <a:lnTo>
                      <a:pt x="40" y="4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1" y="4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55" y="7"/>
                    </a:lnTo>
                    <a:lnTo>
                      <a:pt x="57" y="6"/>
                    </a:lnTo>
                    <a:lnTo>
                      <a:pt x="57" y="7"/>
                    </a:lnTo>
                    <a:lnTo>
                      <a:pt x="57" y="6"/>
                    </a:lnTo>
                    <a:lnTo>
                      <a:pt x="59" y="6"/>
                    </a:lnTo>
                    <a:lnTo>
                      <a:pt x="61" y="4"/>
                    </a:lnTo>
                    <a:lnTo>
                      <a:pt x="59" y="6"/>
                    </a:lnTo>
                    <a:lnTo>
                      <a:pt x="61" y="6"/>
                    </a:lnTo>
                    <a:lnTo>
                      <a:pt x="63" y="7"/>
                    </a:lnTo>
                    <a:lnTo>
                      <a:pt x="65" y="7"/>
                    </a:lnTo>
                    <a:lnTo>
                      <a:pt x="67" y="7"/>
                    </a:lnTo>
                    <a:lnTo>
                      <a:pt x="67" y="9"/>
                    </a:lnTo>
                    <a:lnTo>
                      <a:pt x="65" y="9"/>
                    </a:lnTo>
                    <a:lnTo>
                      <a:pt x="65" y="11"/>
                    </a:lnTo>
                    <a:lnTo>
                      <a:pt x="63" y="13"/>
                    </a:lnTo>
                    <a:lnTo>
                      <a:pt x="63" y="15"/>
                    </a:lnTo>
                    <a:lnTo>
                      <a:pt x="61" y="15"/>
                    </a:lnTo>
                    <a:lnTo>
                      <a:pt x="61" y="13"/>
                    </a:lnTo>
                    <a:lnTo>
                      <a:pt x="59" y="15"/>
                    </a:lnTo>
                    <a:lnTo>
                      <a:pt x="61" y="15"/>
                    </a:lnTo>
                    <a:lnTo>
                      <a:pt x="63" y="15"/>
                    </a:lnTo>
                    <a:lnTo>
                      <a:pt x="63" y="13"/>
                    </a:lnTo>
                    <a:lnTo>
                      <a:pt x="63" y="15"/>
                    </a:lnTo>
                    <a:lnTo>
                      <a:pt x="63" y="13"/>
                    </a:lnTo>
                    <a:lnTo>
                      <a:pt x="65" y="11"/>
                    </a:lnTo>
                    <a:lnTo>
                      <a:pt x="65" y="9"/>
                    </a:lnTo>
                    <a:lnTo>
                      <a:pt x="67" y="9"/>
                    </a:lnTo>
                    <a:lnTo>
                      <a:pt x="67" y="11"/>
                    </a:lnTo>
                    <a:lnTo>
                      <a:pt x="67" y="9"/>
                    </a:lnTo>
                    <a:lnTo>
                      <a:pt x="67" y="11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9" y="15"/>
                    </a:lnTo>
                    <a:lnTo>
                      <a:pt x="71" y="15"/>
                    </a:lnTo>
                    <a:lnTo>
                      <a:pt x="69" y="17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6" y="19"/>
                    </a:lnTo>
                    <a:lnTo>
                      <a:pt x="78" y="21"/>
                    </a:lnTo>
                    <a:lnTo>
                      <a:pt x="82" y="19"/>
                    </a:lnTo>
                    <a:lnTo>
                      <a:pt x="84" y="17"/>
                    </a:lnTo>
                    <a:lnTo>
                      <a:pt x="84" y="19"/>
                    </a:lnTo>
                    <a:lnTo>
                      <a:pt x="84" y="23"/>
                    </a:lnTo>
                    <a:lnTo>
                      <a:pt x="82" y="25"/>
                    </a:lnTo>
                    <a:lnTo>
                      <a:pt x="80" y="27"/>
                    </a:lnTo>
                    <a:lnTo>
                      <a:pt x="80" y="25"/>
                    </a:lnTo>
                    <a:lnTo>
                      <a:pt x="78" y="27"/>
                    </a:lnTo>
                    <a:lnTo>
                      <a:pt x="78" y="28"/>
                    </a:lnTo>
                    <a:lnTo>
                      <a:pt x="80" y="28"/>
                    </a:lnTo>
                    <a:lnTo>
                      <a:pt x="80" y="30"/>
                    </a:lnTo>
                    <a:lnTo>
                      <a:pt x="78" y="30"/>
                    </a:lnTo>
                    <a:lnTo>
                      <a:pt x="78" y="32"/>
                    </a:lnTo>
                    <a:lnTo>
                      <a:pt x="80" y="30"/>
                    </a:lnTo>
                    <a:lnTo>
                      <a:pt x="82" y="30"/>
                    </a:lnTo>
                    <a:lnTo>
                      <a:pt x="80" y="30"/>
                    </a:lnTo>
                    <a:lnTo>
                      <a:pt x="84" y="28"/>
                    </a:lnTo>
                    <a:lnTo>
                      <a:pt x="86" y="28"/>
                    </a:lnTo>
                    <a:lnTo>
                      <a:pt x="86" y="30"/>
                    </a:lnTo>
                    <a:lnTo>
                      <a:pt x="88" y="30"/>
                    </a:lnTo>
                    <a:lnTo>
                      <a:pt x="90" y="30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7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9" y="23"/>
                    </a:lnTo>
                    <a:lnTo>
                      <a:pt x="99" y="25"/>
                    </a:lnTo>
                    <a:lnTo>
                      <a:pt x="101" y="27"/>
                    </a:lnTo>
                    <a:lnTo>
                      <a:pt x="99" y="25"/>
                    </a:lnTo>
                    <a:lnTo>
                      <a:pt x="101" y="25"/>
                    </a:lnTo>
                    <a:lnTo>
                      <a:pt x="99" y="25"/>
                    </a:lnTo>
                    <a:lnTo>
                      <a:pt x="99" y="23"/>
                    </a:lnTo>
                    <a:lnTo>
                      <a:pt x="101" y="23"/>
                    </a:lnTo>
                    <a:lnTo>
                      <a:pt x="103" y="21"/>
                    </a:lnTo>
                    <a:lnTo>
                      <a:pt x="107" y="15"/>
                    </a:lnTo>
                    <a:lnTo>
                      <a:pt x="109" y="17"/>
                    </a:lnTo>
                    <a:lnTo>
                      <a:pt x="112" y="17"/>
                    </a:lnTo>
                    <a:lnTo>
                      <a:pt x="114" y="17"/>
                    </a:lnTo>
                    <a:lnTo>
                      <a:pt x="112" y="17"/>
                    </a:lnTo>
                    <a:lnTo>
                      <a:pt x="111" y="17"/>
                    </a:lnTo>
                    <a:lnTo>
                      <a:pt x="109" y="17"/>
                    </a:lnTo>
                    <a:lnTo>
                      <a:pt x="107" y="17"/>
                    </a:lnTo>
                    <a:lnTo>
                      <a:pt x="109" y="19"/>
                    </a:lnTo>
                    <a:lnTo>
                      <a:pt x="105" y="19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7" y="19"/>
                    </a:lnTo>
                    <a:lnTo>
                      <a:pt x="109" y="19"/>
                    </a:lnTo>
                    <a:lnTo>
                      <a:pt x="109" y="17"/>
                    </a:lnTo>
                    <a:lnTo>
                      <a:pt x="109" y="19"/>
                    </a:lnTo>
                    <a:lnTo>
                      <a:pt x="109" y="17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9"/>
                    </a:lnTo>
                    <a:lnTo>
                      <a:pt x="112" y="19"/>
                    </a:lnTo>
                    <a:lnTo>
                      <a:pt x="112" y="17"/>
                    </a:lnTo>
                    <a:lnTo>
                      <a:pt x="114" y="17"/>
                    </a:lnTo>
                    <a:lnTo>
                      <a:pt x="116" y="19"/>
                    </a:lnTo>
                    <a:lnTo>
                      <a:pt x="116" y="21"/>
                    </a:lnTo>
                    <a:lnTo>
                      <a:pt x="118" y="23"/>
                    </a:lnTo>
                    <a:lnTo>
                      <a:pt x="120" y="23"/>
                    </a:lnTo>
                    <a:lnTo>
                      <a:pt x="120" y="25"/>
                    </a:lnTo>
                    <a:lnTo>
                      <a:pt x="120" y="23"/>
                    </a:lnTo>
                    <a:lnTo>
                      <a:pt x="120" y="25"/>
                    </a:lnTo>
                    <a:lnTo>
                      <a:pt x="120" y="23"/>
                    </a:lnTo>
                    <a:lnTo>
                      <a:pt x="120" y="25"/>
                    </a:lnTo>
                    <a:lnTo>
                      <a:pt x="122" y="27"/>
                    </a:lnTo>
                    <a:lnTo>
                      <a:pt x="122" y="25"/>
                    </a:lnTo>
                    <a:lnTo>
                      <a:pt x="124" y="25"/>
                    </a:lnTo>
                    <a:lnTo>
                      <a:pt x="126" y="25"/>
                    </a:lnTo>
                    <a:lnTo>
                      <a:pt x="128" y="27"/>
                    </a:lnTo>
                    <a:lnTo>
                      <a:pt x="126" y="27"/>
                    </a:lnTo>
                    <a:lnTo>
                      <a:pt x="126" y="28"/>
                    </a:lnTo>
                    <a:lnTo>
                      <a:pt x="130" y="30"/>
                    </a:lnTo>
                    <a:lnTo>
                      <a:pt x="128" y="32"/>
                    </a:lnTo>
                    <a:lnTo>
                      <a:pt x="130" y="34"/>
                    </a:lnTo>
                    <a:lnTo>
                      <a:pt x="132" y="36"/>
                    </a:lnTo>
                    <a:lnTo>
                      <a:pt x="133" y="36"/>
                    </a:lnTo>
                    <a:lnTo>
                      <a:pt x="133" y="34"/>
                    </a:lnTo>
                    <a:lnTo>
                      <a:pt x="135" y="36"/>
                    </a:lnTo>
                    <a:lnTo>
                      <a:pt x="133" y="36"/>
                    </a:lnTo>
                    <a:lnTo>
                      <a:pt x="135" y="38"/>
                    </a:lnTo>
                    <a:lnTo>
                      <a:pt x="135" y="40"/>
                    </a:lnTo>
                    <a:lnTo>
                      <a:pt x="135" y="44"/>
                    </a:lnTo>
                    <a:lnTo>
                      <a:pt x="137" y="48"/>
                    </a:lnTo>
                    <a:lnTo>
                      <a:pt x="137" y="49"/>
                    </a:lnTo>
                    <a:lnTo>
                      <a:pt x="135" y="49"/>
                    </a:lnTo>
                    <a:lnTo>
                      <a:pt x="135" y="53"/>
                    </a:lnTo>
                    <a:lnTo>
                      <a:pt x="132" y="57"/>
                    </a:lnTo>
                    <a:lnTo>
                      <a:pt x="133" y="59"/>
                    </a:lnTo>
                    <a:lnTo>
                      <a:pt x="132" y="59"/>
                    </a:lnTo>
                    <a:lnTo>
                      <a:pt x="133" y="61"/>
                    </a:lnTo>
                    <a:lnTo>
                      <a:pt x="135" y="61"/>
                    </a:lnTo>
                    <a:lnTo>
                      <a:pt x="137" y="65"/>
                    </a:lnTo>
                    <a:lnTo>
                      <a:pt x="139" y="65"/>
                    </a:lnTo>
                    <a:lnTo>
                      <a:pt x="141" y="67"/>
                    </a:lnTo>
                    <a:lnTo>
                      <a:pt x="139" y="67"/>
                    </a:lnTo>
                    <a:lnTo>
                      <a:pt x="141" y="69"/>
                    </a:lnTo>
                    <a:lnTo>
                      <a:pt x="139" y="70"/>
                    </a:lnTo>
                    <a:lnTo>
                      <a:pt x="139" y="74"/>
                    </a:lnTo>
                    <a:lnTo>
                      <a:pt x="141" y="74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43" y="80"/>
                    </a:lnTo>
                    <a:lnTo>
                      <a:pt x="141" y="82"/>
                    </a:lnTo>
                    <a:lnTo>
                      <a:pt x="141" y="84"/>
                    </a:lnTo>
                    <a:lnTo>
                      <a:pt x="139" y="86"/>
                    </a:lnTo>
                    <a:lnTo>
                      <a:pt x="141" y="86"/>
                    </a:lnTo>
                    <a:lnTo>
                      <a:pt x="141" y="88"/>
                    </a:lnTo>
                    <a:lnTo>
                      <a:pt x="143" y="90"/>
                    </a:lnTo>
                    <a:lnTo>
                      <a:pt x="143" y="91"/>
                    </a:lnTo>
                    <a:lnTo>
                      <a:pt x="141" y="93"/>
                    </a:lnTo>
                    <a:lnTo>
                      <a:pt x="143" y="95"/>
                    </a:lnTo>
                    <a:lnTo>
                      <a:pt x="145" y="95"/>
                    </a:lnTo>
                    <a:lnTo>
                      <a:pt x="145" y="97"/>
                    </a:lnTo>
                    <a:lnTo>
                      <a:pt x="147" y="99"/>
                    </a:lnTo>
                    <a:lnTo>
                      <a:pt x="147" y="103"/>
                    </a:lnTo>
                    <a:close/>
                    <a:moveTo>
                      <a:pt x="126" y="19"/>
                    </a:moveTo>
                    <a:lnTo>
                      <a:pt x="126" y="21"/>
                    </a:lnTo>
                    <a:lnTo>
                      <a:pt x="124" y="21"/>
                    </a:lnTo>
                    <a:lnTo>
                      <a:pt x="126" y="19"/>
                    </a:lnTo>
                    <a:lnTo>
                      <a:pt x="124" y="19"/>
                    </a:lnTo>
                    <a:lnTo>
                      <a:pt x="126" y="19"/>
                    </a:lnTo>
                    <a:lnTo>
                      <a:pt x="124" y="19"/>
                    </a:lnTo>
                    <a:lnTo>
                      <a:pt x="122" y="19"/>
                    </a:lnTo>
                    <a:lnTo>
                      <a:pt x="122" y="21"/>
                    </a:lnTo>
                    <a:lnTo>
                      <a:pt x="120" y="21"/>
                    </a:lnTo>
                    <a:lnTo>
                      <a:pt x="120" y="23"/>
                    </a:lnTo>
                    <a:lnTo>
                      <a:pt x="118" y="21"/>
                    </a:lnTo>
                    <a:lnTo>
                      <a:pt x="120" y="23"/>
                    </a:lnTo>
                    <a:lnTo>
                      <a:pt x="120" y="21"/>
                    </a:lnTo>
                    <a:lnTo>
                      <a:pt x="118" y="21"/>
                    </a:lnTo>
                    <a:lnTo>
                      <a:pt x="116" y="21"/>
                    </a:lnTo>
                    <a:lnTo>
                      <a:pt x="116" y="19"/>
                    </a:lnTo>
                    <a:lnTo>
                      <a:pt x="118" y="19"/>
                    </a:lnTo>
                    <a:lnTo>
                      <a:pt x="118" y="17"/>
                    </a:lnTo>
                    <a:lnTo>
                      <a:pt x="116" y="17"/>
                    </a:lnTo>
                    <a:lnTo>
                      <a:pt x="118" y="17"/>
                    </a:lnTo>
                    <a:lnTo>
                      <a:pt x="118" y="15"/>
                    </a:lnTo>
                    <a:lnTo>
                      <a:pt x="116" y="15"/>
                    </a:lnTo>
                    <a:lnTo>
                      <a:pt x="116" y="13"/>
                    </a:lnTo>
                    <a:lnTo>
                      <a:pt x="118" y="13"/>
                    </a:lnTo>
                    <a:lnTo>
                      <a:pt x="118" y="15"/>
                    </a:lnTo>
                    <a:lnTo>
                      <a:pt x="118" y="13"/>
                    </a:lnTo>
                    <a:lnTo>
                      <a:pt x="120" y="13"/>
                    </a:lnTo>
                    <a:lnTo>
                      <a:pt x="120" y="15"/>
                    </a:lnTo>
                    <a:lnTo>
                      <a:pt x="120" y="13"/>
                    </a:lnTo>
                    <a:lnTo>
                      <a:pt x="120" y="15"/>
                    </a:lnTo>
                    <a:lnTo>
                      <a:pt x="122" y="15"/>
                    </a:lnTo>
                    <a:lnTo>
                      <a:pt x="122" y="17"/>
                    </a:lnTo>
                    <a:lnTo>
                      <a:pt x="124" y="17"/>
                    </a:lnTo>
                    <a:lnTo>
                      <a:pt x="122" y="17"/>
                    </a:lnTo>
                    <a:lnTo>
                      <a:pt x="122" y="15"/>
                    </a:lnTo>
                    <a:lnTo>
                      <a:pt x="122" y="13"/>
                    </a:lnTo>
                    <a:lnTo>
                      <a:pt x="120" y="13"/>
                    </a:lnTo>
                    <a:lnTo>
                      <a:pt x="120" y="11"/>
                    </a:lnTo>
                    <a:lnTo>
                      <a:pt x="120" y="13"/>
                    </a:lnTo>
                    <a:lnTo>
                      <a:pt x="118" y="13"/>
                    </a:lnTo>
                    <a:lnTo>
                      <a:pt x="118" y="11"/>
                    </a:lnTo>
                    <a:lnTo>
                      <a:pt x="118" y="13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18" y="9"/>
                    </a:lnTo>
                    <a:lnTo>
                      <a:pt x="122" y="9"/>
                    </a:lnTo>
                    <a:lnTo>
                      <a:pt x="120" y="11"/>
                    </a:lnTo>
                    <a:lnTo>
                      <a:pt x="120" y="13"/>
                    </a:lnTo>
                    <a:lnTo>
                      <a:pt x="124" y="13"/>
                    </a:lnTo>
                    <a:lnTo>
                      <a:pt x="126" y="13"/>
                    </a:lnTo>
                    <a:lnTo>
                      <a:pt x="124" y="15"/>
                    </a:lnTo>
                    <a:lnTo>
                      <a:pt x="124" y="17"/>
                    </a:lnTo>
                    <a:lnTo>
                      <a:pt x="126" y="17"/>
                    </a:lnTo>
                    <a:lnTo>
                      <a:pt x="126" y="19"/>
                    </a:lnTo>
                    <a:close/>
                    <a:moveTo>
                      <a:pt x="133" y="32"/>
                    </a:moveTo>
                    <a:lnTo>
                      <a:pt x="132" y="32"/>
                    </a:lnTo>
                    <a:lnTo>
                      <a:pt x="130" y="32"/>
                    </a:lnTo>
                    <a:lnTo>
                      <a:pt x="128" y="32"/>
                    </a:lnTo>
                    <a:lnTo>
                      <a:pt x="130" y="30"/>
                    </a:lnTo>
                    <a:lnTo>
                      <a:pt x="128" y="28"/>
                    </a:lnTo>
                    <a:lnTo>
                      <a:pt x="130" y="28"/>
                    </a:lnTo>
                    <a:lnTo>
                      <a:pt x="130" y="30"/>
                    </a:lnTo>
                    <a:lnTo>
                      <a:pt x="132" y="30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7"/>
                    </a:lnTo>
                    <a:lnTo>
                      <a:pt x="128" y="27"/>
                    </a:lnTo>
                    <a:lnTo>
                      <a:pt x="130" y="27"/>
                    </a:lnTo>
                    <a:lnTo>
                      <a:pt x="130" y="28"/>
                    </a:lnTo>
                    <a:lnTo>
                      <a:pt x="130" y="27"/>
                    </a:lnTo>
                    <a:lnTo>
                      <a:pt x="128" y="28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6" y="28"/>
                    </a:lnTo>
                    <a:lnTo>
                      <a:pt x="128" y="27"/>
                    </a:lnTo>
                    <a:lnTo>
                      <a:pt x="126" y="27"/>
                    </a:lnTo>
                    <a:lnTo>
                      <a:pt x="128" y="27"/>
                    </a:lnTo>
                    <a:lnTo>
                      <a:pt x="128" y="25"/>
                    </a:lnTo>
                    <a:lnTo>
                      <a:pt x="126" y="25"/>
                    </a:lnTo>
                    <a:lnTo>
                      <a:pt x="128" y="25"/>
                    </a:lnTo>
                    <a:lnTo>
                      <a:pt x="128" y="27"/>
                    </a:lnTo>
                    <a:lnTo>
                      <a:pt x="130" y="27"/>
                    </a:lnTo>
                    <a:lnTo>
                      <a:pt x="133" y="30"/>
                    </a:lnTo>
                    <a:lnTo>
                      <a:pt x="133" y="32"/>
                    </a:lnTo>
                    <a:close/>
                    <a:moveTo>
                      <a:pt x="88" y="17"/>
                    </a:moveTo>
                    <a:lnTo>
                      <a:pt x="86" y="17"/>
                    </a:lnTo>
                    <a:lnTo>
                      <a:pt x="84" y="17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2" y="17"/>
                    </a:lnTo>
                    <a:lnTo>
                      <a:pt x="84" y="15"/>
                    </a:lnTo>
                    <a:lnTo>
                      <a:pt x="84" y="13"/>
                    </a:lnTo>
                    <a:lnTo>
                      <a:pt x="86" y="15"/>
                    </a:lnTo>
                    <a:lnTo>
                      <a:pt x="88" y="17"/>
                    </a:lnTo>
                    <a:close/>
                    <a:moveTo>
                      <a:pt x="44" y="9"/>
                    </a:moveTo>
                    <a:lnTo>
                      <a:pt x="42" y="9"/>
                    </a:lnTo>
                    <a:lnTo>
                      <a:pt x="42" y="7"/>
                    </a:lnTo>
                    <a:lnTo>
                      <a:pt x="44" y="7"/>
                    </a:lnTo>
                    <a:lnTo>
                      <a:pt x="44" y="9"/>
                    </a:lnTo>
                    <a:close/>
                    <a:moveTo>
                      <a:pt x="44" y="13"/>
                    </a:moveTo>
                    <a:lnTo>
                      <a:pt x="46" y="13"/>
                    </a:lnTo>
                    <a:lnTo>
                      <a:pt x="46" y="15"/>
                    </a:lnTo>
                    <a:lnTo>
                      <a:pt x="44" y="15"/>
                    </a:lnTo>
                    <a:lnTo>
                      <a:pt x="44" y="13"/>
                    </a:lnTo>
                    <a:close/>
                    <a:moveTo>
                      <a:pt x="88" y="28"/>
                    </a:moveTo>
                    <a:lnTo>
                      <a:pt x="90" y="28"/>
                    </a:lnTo>
                    <a:lnTo>
                      <a:pt x="90" y="30"/>
                    </a:lnTo>
                    <a:lnTo>
                      <a:pt x="88" y="30"/>
                    </a:lnTo>
                    <a:lnTo>
                      <a:pt x="88" y="28"/>
                    </a:lnTo>
                    <a:close/>
                    <a:moveTo>
                      <a:pt x="13" y="38"/>
                    </a:moveTo>
                    <a:lnTo>
                      <a:pt x="15" y="38"/>
                    </a:lnTo>
                    <a:lnTo>
                      <a:pt x="15" y="40"/>
                    </a:lnTo>
                    <a:lnTo>
                      <a:pt x="13" y="40"/>
                    </a:lnTo>
                    <a:lnTo>
                      <a:pt x="13" y="38"/>
                    </a:lnTo>
                    <a:close/>
                    <a:moveTo>
                      <a:pt x="40" y="9"/>
                    </a:moveTo>
                    <a:lnTo>
                      <a:pt x="42" y="9"/>
                    </a:lnTo>
                    <a:lnTo>
                      <a:pt x="42" y="11"/>
                    </a:lnTo>
                    <a:lnTo>
                      <a:pt x="40" y="11"/>
                    </a:lnTo>
                    <a:lnTo>
                      <a:pt x="40" y="9"/>
                    </a:lnTo>
                    <a:close/>
                    <a:moveTo>
                      <a:pt x="25" y="36"/>
                    </a:moveTo>
                    <a:lnTo>
                      <a:pt x="23" y="36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25" y="36"/>
                    </a:lnTo>
                    <a:close/>
                    <a:moveTo>
                      <a:pt x="27" y="34"/>
                    </a:moveTo>
                    <a:lnTo>
                      <a:pt x="29" y="34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7" y="34"/>
                    </a:lnTo>
                    <a:close/>
                    <a:moveTo>
                      <a:pt x="116" y="15"/>
                    </a:moveTo>
                    <a:lnTo>
                      <a:pt x="118" y="15"/>
                    </a:lnTo>
                    <a:lnTo>
                      <a:pt x="118" y="17"/>
                    </a:lnTo>
                    <a:lnTo>
                      <a:pt x="116" y="17"/>
                    </a:lnTo>
                    <a:lnTo>
                      <a:pt x="116" y="15"/>
                    </a:lnTo>
                    <a:close/>
                    <a:moveTo>
                      <a:pt x="29" y="34"/>
                    </a:moveTo>
                    <a:lnTo>
                      <a:pt x="32" y="34"/>
                    </a:lnTo>
                    <a:lnTo>
                      <a:pt x="32" y="36"/>
                    </a:lnTo>
                    <a:lnTo>
                      <a:pt x="29" y="36"/>
                    </a:lnTo>
                    <a:lnTo>
                      <a:pt x="29" y="34"/>
                    </a:lnTo>
                    <a:close/>
                    <a:moveTo>
                      <a:pt x="114" y="11"/>
                    </a:moveTo>
                    <a:lnTo>
                      <a:pt x="116" y="11"/>
                    </a:lnTo>
                    <a:lnTo>
                      <a:pt x="116" y="15"/>
                    </a:lnTo>
                    <a:lnTo>
                      <a:pt x="114" y="15"/>
                    </a:lnTo>
                    <a:lnTo>
                      <a:pt x="114" y="11"/>
                    </a:lnTo>
                    <a:close/>
                    <a:moveTo>
                      <a:pt x="42" y="15"/>
                    </a:moveTo>
                    <a:lnTo>
                      <a:pt x="42" y="17"/>
                    </a:lnTo>
                    <a:lnTo>
                      <a:pt x="42" y="15"/>
                    </a:lnTo>
                    <a:close/>
                    <a:moveTo>
                      <a:pt x="21" y="38"/>
                    </a:moveTo>
                    <a:lnTo>
                      <a:pt x="17" y="38"/>
                    </a:lnTo>
                    <a:lnTo>
                      <a:pt x="19" y="36"/>
                    </a:lnTo>
                    <a:lnTo>
                      <a:pt x="21" y="38"/>
                    </a:lnTo>
                    <a:close/>
                    <a:moveTo>
                      <a:pt x="42" y="13"/>
                    </a:moveTo>
                    <a:lnTo>
                      <a:pt x="42" y="15"/>
                    </a:lnTo>
                    <a:lnTo>
                      <a:pt x="42" y="13"/>
                    </a:lnTo>
                    <a:close/>
                    <a:moveTo>
                      <a:pt x="32" y="34"/>
                    </a:moveTo>
                    <a:lnTo>
                      <a:pt x="34" y="34"/>
                    </a:lnTo>
                    <a:lnTo>
                      <a:pt x="32" y="34"/>
                    </a:lnTo>
                    <a:close/>
                    <a:moveTo>
                      <a:pt x="36" y="36"/>
                    </a:moveTo>
                    <a:lnTo>
                      <a:pt x="38" y="36"/>
                    </a:lnTo>
                    <a:lnTo>
                      <a:pt x="36" y="36"/>
                    </a:lnTo>
                    <a:close/>
                    <a:moveTo>
                      <a:pt x="25" y="36"/>
                    </a:moveTo>
                    <a:lnTo>
                      <a:pt x="27" y="36"/>
                    </a:lnTo>
                    <a:lnTo>
                      <a:pt x="25" y="36"/>
                    </a:lnTo>
                    <a:close/>
                    <a:moveTo>
                      <a:pt x="46" y="187"/>
                    </a:moveTo>
                    <a:lnTo>
                      <a:pt x="46" y="189"/>
                    </a:lnTo>
                    <a:lnTo>
                      <a:pt x="46" y="187"/>
                    </a:lnTo>
                    <a:close/>
                    <a:moveTo>
                      <a:pt x="42" y="13"/>
                    </a:moveTo>
                    <a:lnTo>
                      <a:pt x="44" y="13"/>
                    </a:lnTo>
                    <a:lnTo>
                      <a:pt x="42" y="13"/>
                    </a:lnTo>
                    <a:close/>
                    <a:moveTo>
                      <a:pt x="59" y="36"/>
                    </a:moveTo>
                    <a:lnTo>
                      <a:pt x="59" y="38"/>
                    </a:lnTo>
                    <a:lnTo>
                      <a:pt x="59" y="36"/>
                    </a:lnTo>
                    <a:close/>
                    <a:moveTo>
                      <a:pt x="109" y="17"/>
                    </a:moveTo>
                    <a:lnTo>
                      <a:pt x="111" y="17"/>
                    </a:lnTo>
                    <a:lnTo>
                      <a:pt x="109" y="17"/>
                    </a:lnTo>
                    <a:close/>
                    <a:moveTo>
                      <a:pt x="114" y="15"/>
                    </a:moveTo>
                    <a:lnTo>
                      <a:pt x="114" y="17"/>
                    </a:lnTo>
                    <a:lnTo>
                      <a:pt x="114" y="15"/>
                    </a:lnTo>
                    <a:close/>
                    <a:moveTo>
                      <a:pt x="61" y="40"/>
                    </a:moveTo>
                    <a:lnTo>
                      <a:pt x="63" y="40"/>
                    </a:lnTo>
                    <a:lnTo>
                      <a:pt x="61" y="40"/>
                    </a:lnTo>
                    <a:close/>
                    <a:moveTo>
                      <a:pt x="40" y="32"/>
                    </a:moveTo>
                    <a:lnTo>
                      <a:pt x="40" y="34"/>
                    </a:lnTo>
                    <a:lnTo>
                      <a:pt x="40" y="32"/>
                    </a:lnTo>
                    <a:close/>
                    <a:moveTo>
                      <a:pt x="34" y="34"/>
                    </a:moveTo>
                    <a:lnTo>
                      <a:pt x="34" y="36"/>
                    </a:lnTo>
                    <a:lnTo>
                      <a:pt x="34" y="34"/>
                    </a:lnTo>
                    <a:close/>
                    <a:moveTo>
                      <a:pt x="32" y="23"/>
                    </a:moveTo>
                    <a:lnTo>
                      <a:pt x="32" y="25"/>
                    </a:lnTo>
                    <a:lnTo>
                      <a:pt x="32" y="23"/>
                    </a:lnTo>
                    <a:close/>
                    <a:moveTo>
                      <a:pt x="59" y="40"/>
                    </a:moveTo>
                    <a:lnTo>
                      <a:pt x="61" y="40"/>
                    </a:lnTo>
                    <a:lnTo>
                      <a:pt x="59" y="40"/>
                    </a:lnTo>
                    <a:close/>
                    <a:moveTo>
                      <a:pt x="122" y="19"/>
                    </a:moveTo>
                    <a:lnTo>
                      <a:pt x="122" y="21"/>
                    </a:lnTo>
                    <a:lnTo>
                      <a:pt x="122" y="1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2" name="Freeform 135">
                <a:extLst>
                  <a:ext uri="{FF2B5EF4-FFF2-40B4-BE49-F238E27FC236}">
                    <a16:creationId xmlns:a16="http://schemas.microsoft.com/office/drawing/2014/main" id="{DFBFD8BD-2BE2-1D86-4E11-7623BE90A55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96095" y="-3695086"/>
                <a:ext cx="178042" cy="143649"/>
              </a:xfrm>
              <a:custGeom>
                <a:avLst/>
                <a:gdLst>
                  <a:gd name="T0" fmla="*/ 8 w 113"/>
                  <a:gd name="T1" fmla="*/ 74 h 91"/>
                  <a:gd name="T2" fmla="*/ 8 w 113"/>
                  <a:gd name="T3" fmla="*/ 66 h 91"/>
                  <a:gd name="T4" fmla="*/ 2 w 113"/>
                  <a:gd name="T5" fmla="*/ 57 h 91"/>
                  <a:gd name="T6" fmla="*/ 0 w 113"/>
                  <a:gd name="T7" fmla="*/ 49 h 91"/>
                  <a:gd name="T8" fmla="*/ 0 w 113"/>
                  <a:gd name="T9" fmla="*/ 40 h 91"/>
                  <a:gd name="T10" fmla="*/ 8 w 113"/>
                  <a:gd name="T11" fmla="*/ 36 h 91"/>
                  <a:gd name="T12" fmla="*/ 12 w 113"/>
                  <a:gd name="T13" fmla="*/ 30 h 91"/>
                  <a:gd name="T14" fmla="*/ 17 w 113"/>
                  <a:gd name="T15" fmla="*/ 34 h 91"/>
                  <a:gd name="T16" fmla="*/ 17 w 113"/>
                  <a:gd name="T17" fmla="*/ 26 h 91"/>
                  <a:gd name="T18" fmla="*/ 35 w 113"/>
                  <a:gd name="T19" fmla="*/ 24 h 91"/>
                  <a:gd name="T20" fmla="*/ 35 w 113"/>
                  <a:gd name="T21" fmla="*/ 30 h 91"/>
                  <a:gd name="T22" fmla="*/ 36 w 113"/>
                  <a:gd name="T23" fmla="*/ 34 h 91"/>
                  <a:gd name="T24" fmla="*/ 40 w 113"/>
                  <a:gd name="T25" fmla="*/ 47 h 91"/>
                  <a:gd name="T26" fmla="*/ 36 w 113"/>
                  <a:gd name="T27" fmla="*/ 44 h 91"/>
                  <a:gd name="T28" fmla="*/ 31 w 113"/>
                  <a:gd name="T29" fmla="*/ 55 h 91"/>
                  <a:gd name="T30" fmla="*/ 27 w 113"/>
                  <a:gd name="T31" fmla="*/ 64 h 91"/>
                  <a:gd name="T32" fmla="*/ 25 w 113"/>
                  <a:gd name="T33" fmla="*/ 74 h 91"/>
                  <a:gd name="T34" fmla="*/ 25 w 113"/>
                  <a:gd name="T35" fmla="*/ 82 h 91"/>
                  <a:gd name="T36" fmla="*/ 73 w 113"/>
                  <a:gd name="T37" fmla="*/ 57 h 91"/>
                  <a:gd name="T38" fmla="*/ 67 w 113"/>
                  <a:gd name="T39" fmla="*/ 72 h 91"/>
                  <a:gd name="T40" fmla="*/ 59 w 113"/>
                  <a:gd name="T41" fmla="*/ 78 h 91"/>
                  <a:gd name="T42" fmla="*/ 50 w 113"/>
                  <a:gd name="T43" fmla="*/ 74 h 91"/>
                  <a:gd name="T44" fmla="*/ 50 w 113"/>
                  <a:gd name="T45" fmla="*/ 64 h 91"/>
                  <a:gd name="T46" fmla="*/ 52 w 113"/>
                  <a:gd name="T47" fmla="*/ 55 h 91"/>
                  <a:gd name="T48" fmla="*/ 59 w 113"/>
                  <a:gd name="T49" fmla="*/ 53 h 91"/>
                  <a:gd name="T50" fmla="*/ 59 w 113"/>
                  <a:gd name="T51" fmla="*/ 59 h 91"/>
                  <a:gd name="T52" fmla="*/ 63 w 113"/>
                  <a:gd name="T53" fmla="*/ 61 h 91"/>
                  <a:gd name="T54" fmla="*/ 40 w 113"/>
                  <a:gd name="T55" fmla="*/ 0 h 91"/>
                  <a:gd name="T56" fmla="*/ 29 w 113"/>
                  <a:gd name="T57" fmla="*/ 21 h 91"/>
                  <a:gd name="T58" fmla="*/ 12 w 113"/>
                  <a:gd name="T59" fmla="*/ 23 h 91"/>
                  <a:gd name="T60" fmla="*/ 6 w 113"/>
                  <a:gd name="T61" fmla="*/ 32 h 91"/>
                  <a:gd name="T62" fmla="*/ 23 w 113"/>
                  <a:gd name="T63" fmla="*/ 15 h 91"/>
                  <a:gd name="T64" fmla="*/ 36 w 113"/>
                  <a:gd name="T65" fmla="*/ 68 h 91"/>
                  <a:gd name="T66" fmla="*/ 44 w 113"/>
                  <a:gd name="T67" fmla="*/ 70 h 91"/>
                  <a:gd name="T68" fmla="*/ 33 w 113"/>
                  <a:gd name="T69" fmla="*/ 74 h 91"/>
                  <a:gd name="T70" fmla="*/ 27 w 113"/>
                  <a:gd name="T71" fmla="*/ 64 h 91"/>
                  <a:gd name="T72" fmla="*/ 56 w 113"/>
                  <a:gd name="T73" fmla="*/ 84 h 91"/>
                  <a:gd name="T74" fmla="*/ 57 w 113"/>
                  <a:gd name="T75" fmla="*/ 87 h 91"/>
                  <a:gd name="T76" fmla="*/ 46 w 113"/>
                  <a:gd name="T77" fmla="*/ 84 h 91"/>
                  <a:gd name="T78" fmla="*/ 113 w 113"/>
                  <a:gd name="T79" fmla="*/ 76 h 91"/>
                  <a:gd name="T80" fmla="*/ 65 w 113"/>
                  <a:gd name="T81" fmla="*/ 84 h 91"/>
                  <a:gd name="T82" fmla="*/ 59 w 113"/>
                  <a:gd name="T83" fmla="*/ 80 h 91"/>
                  <a:gd name="T84" fmla="*/ 10 w 113"/>
                  <a:gd name="T85" fmla="*/ 28 h 91"/>
                  <a:gd name="T86" fmla="*/ 31 w 113"/>
                  <a:gd name="T87" fmla="*/ 84 h 91"/>
                  <a:gd name="T88" fmla="*/ 27 w 113"/>
                  <a:gd name="T89" fmla="*/ 76 h 91"/>
                  <a:gd name="T90" fmla="*/ 44 w 113"/>
                  <a:gd name="T91" fmla="*/ 80 h 91"/>
                  <a:gd name="T92" fmla="*/ 69 w 113"/>
                  <a:gd name="T93" fmla="*/ 80 h 91"/>
                  <a:gd name="T94" fmla="*/ 40 w 113"/>
                  <a:gd name="T95" fmla="*/ 55 h 91"/>
                  <a:gd name="T96" fmla="*/ 40 w 113"/>
                  <a:gd name="T97" fmla="*/ 53 h 91"/>
                  <a:gd name="T98" fmla="*/ 36 w 113"/>
                  <a:gd name="T99" fmla="*/ 84 h 91"/>
                  <a:gd name="T100" fmla="*/ 14 w 113"/>
                  <a:gd name="T101" fmla="*/ 26 h 91"/>
                  <a:gd name="T102" fmla="*/ 52 w 113"/>
                  <a:gd name="T103" fmla="*/ 82 h 91"/>
                  <a:gd name="T104" fmla="*/ 36 w 113"/>
                  <a:gd name="T105" fmla="*/ 59 h 91"/>
                  <a:gd name="T106" fmla="*/ 50 w 113"/>
                  <a:gd name="T107" fmla="*/ 72 h 91"/>
                  <a:gd name="T108" fmla="*/ 8 w 113"/>
                  <a:gd name="T109" fmla="*/ 34 h 91"/>
                  <a:gd name="T110" fmla="*/ 35 w 113"/>
                  <a:gd name="T111" fmla="*/ 78 h 91"/>
                  <a:gd name="T112" fmla="*/ 36 w 113"/>
                  <a:gd name="T113" fmla="*/ 53 h 91"/>
                  <a:gd name="T114" fmla="*/ 17 w 113"/>
                  <a:gd name="T115" fmla="*/ 24 h 91"/>
                  <a:gd name="T116" fmla="*/ 57 w 113"/>
                  <a:gd name="T117" fmla="*/ 74 h 91"/>
                  <a:gd name="T118" fmla="*/ 61 w 113"/>
                  <a:gd name="T119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3" h="91">
                    <a:moveTo>
                      <a:pt x="21" y="84"/>
                    </a:moveTo>
                    <a:lnTo>
                      <a:pt x="19" y="85"/>
                    </a:lnTo>
                    <a:lnTo>
                      <a:pt x="19" y="84"/>
                    </a:lnTo>
                    <a:lnTo>
                      <a:pt x="17" y="84"/>
                    </a:lnTo>
                    <a:lnTo>
                      <a:pt x="15" y="82"/>
                    </a:lnTo>
                    <a:lnTo>
                      <a:pt x="14" y="82"/>
                    </a:lnTo>
                    <a:lnTo>
                      <a:pt x="12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8" y="78"/>
                    </a:lnTo>
                    <a:lnTo>
                      <a:pt x="10" y="76"/>
                    </a:lnTo>
                    <a:lnTo>
                      <a:pt x="10" y="74"/>
                    </a:lnTo>
                    <a:lnTo>
                      <a:pt x="8" y="74"/>
                    </a:lnTo>
                    <a:lnTo>
                      <a:pt x="8" y="76"/>
                    </a:lnTo>
                    <a:lnTo>
                      <a:pt x="8" y="78"/>
                    </a:lnTo>
                    <a:lnTo>
                      <a:pt x="6" y="76"/>
                    </a:lnTo>
                    <a:lnTo>
                      <a:pt x="6" y="74"/>
                    </a:lnTo>
                    <a:lnTo>
                      <a:pt x="8" y="74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10" y="70"/>
                    </a:lnTo>
                    <a:lnTo>
                      <a:pt x="8" y="70"/>
                    </a:lnTo>
                    <a:lnTo>
                      <a:pt x="8" y="72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8" y="66"/>
                    </a:lnTo>
                    <a:lnTo>
                      <a:pt x="6" y="66"/>
                    </a:lnTo>
                    <a:lnTo>
                      <a:pt x="4" y="63"/>
                    </a:lnTo>
                    <a:lnTo>
                      <a:pt x="2" y="63"/>
                    </a:lnTo>
                    <a:lnTo>
                      <a:pt x="2" y="64"/>
                    </a:lnTo>
                    <a:lnTo>
                      <a:pt x="4" y="64"/>
                    </a:lnTo>
                    <a:lnTo>
                      <a:pt x="4" y="66"/>
                    </a:lnTo>
                    <a:lnTo>
                      <a:pt x="2" y="64"/>
                    </a:lnTo>
                    <a:lnTo>
                      <a:pt x="0" y="63"/>
                    </a:lnTo>
                    <a:lnTo>
                      <a:pt x="2" y="57"/>
                    </a:lnTo>
                    <a:lnTo>
                      <a:pt x="0" y="51"/>
                    </a:lnTo>
                    <a:lnTo>
                      <a:pt x="2" y="53"/>
                    </a:lnTo>
                    <a:lnTo>
                      <a:pt x="2" y="55"/>
                    </a:lnTo>
                    <a:lnTo>
                      <a:pt x="2" y="57"/>
                    </a:lnTo>
                    <a:lnTo>
                      <a:pt x="2" y="55"/>
                    </a:lnTo>
                    <a:lnTo>
                      <a:pt x="2" y="53"/>
                    </a:lnTo>
                    <a:lnTo>
                      <a:pt x="2" y="55"/>
                    </a:lnTo>
                    <a:lnTo>
                      <a:pt x="4" y="55"/>
                    </a:lnTo>
                    <a:lnTo>
                      <a:pt x="2" y="55"/>
                    </a:lnTo>
                    <a:lnTo>
                      <a:pt x="4" y="53"/>
                    </a:lnTo>
                    <a:lnTo>
                      <a:pt x="4" y="51"/>
                    </a:lnTo>
                    <a:lnTo>
                      <a:pt x="4" y="49"/>
                    </a:lnTo>
                    <a:lnTo>
                      <a:pt x="2" y="49"/>
                    </a:lnTo>
                    <a:lnTo>
                      <a:pt x="0" y="47"/>
                    </a:lnTo>
                    <a:lnTo>
                      <a:pt x="0" y="49"/>
                    </a:lnTo>
                    <a:lnTo>
                      <a:pt x="0" y="51"/>
                    </a:lnTo>
                    <a:lnTo>
                      <a:pt x="0" y="49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4" y="42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5" y="28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5" y="32"/>
                    </a:lnTo>
                    <a:lnTo>
                      <a:pt x="15" y="34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15" y="34"/>
                    </a:lnTo>
                    <a:lnTo>
                      <a:pt x="17" y="32"/>
                    </a:lnTo>
                    <a:lnTo>
                      <a:pt x="17" y="34"/>
                    </a:lnTo>
                    <a:lnTo>
                      <a:pt x="19" y="34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1" y="34"/>
                    </a:lnTo>
                    <a:lnTo>
                      <a:pt x="19" y="36"/>
                    </a:lnTo>
                    <a:lnTo>
                      <a:pt x="19" y="34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17" y="32"/>
                    </a:lnTo>
                    <a:lnTo>
                      <a:pt x="17" y="30"/>
                    </a:lnTo>
                    <a:lnTo>
                      <a:pt x="19" y="30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17" y="24"/>
                    </a:lnTo>
                    <a:lnTo>
                      <a:pt x="19" y="23"/>
                    </a:lnTo>
                    <a:lnTo>
                      <a:pt x="23" y="23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31" y="21"/>
                    </a:lnTo>
                    <a:lnTo>
                      <a:pt x="33" y="23"/>
                    </a:lnTo>
                    <a:lnTo>
                      <a:pt x="35" y="23"/>
                    </a:lnTo>
                    <a:lnTo>
                      <a:pt x="35" y="24"/>
                    </a:lnTo>
                    <a:lnTo>
                      <a:pt x="35" y="28"/>
                    </a:lnTo>
                    <a:lnTo>
                      <a:pt x="36" y="30"/>
                    </a:lnTo>
                    <a:lnTo>
                      <a:pt x="35" y="30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29" y="32"/>
                    </a:lnTo>
                    <a:lnTo>
                      <a:pt x="31" y="32"/>
                    </a:lnTo>
                    <a:lnTo>
                      <a:pt x="27" y="32"/>
                    </a:lnTo>
                    <a:lnTo>
                      <a:pt x="31" y="32"/>
                    </a:lnTo>
                    <a:lnTo>
                      <a:pt x="33" y="32"/>
                    </a:lnTo>
                    <a:lnTo>
                      <a:pt x="33" y="30"/>
                    </a:lnTo>
                    <a:lnTo>
                      <a:pt x="35" y="32"/>
                    </a:lnTo>
                    <a:lnTo>
                      <a:pt x="35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4"/>
                    </a:lnTo>
                    <a:lnTo>
                      <a:pt x="35" y="34"/>
                    </a:lnTo>
                    <a:lnTo>
                      <a:pt x="35" y="36"/>
                    </a:lnTo>
                    <a:lnTo>
                      <a:pt x="35" y="38"/>
                    </a:lnTo>
                    <a:lnTo>
                      <a:pt x="33" y="38"/>
                    </a:lnTo>
                    <a:lnTo>
                      <a:pt x="31" y="38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35" y="36"/>
                    </a:lnTo>
                    <a:lnTo>
                      <a:pt x="35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6" y="42"/>
                    </a:lnTo>
                    <a:lnTo>
                      <a:pt x="44" y="44"/>
                    </a:lnTo>
                    <a:lnTo>
                      <a:pt x="42" y="45"/>
                    </a:lnTo>
                    <a:lnTo>
                      <a:pt x="42" y="47"/>
                    </a:lnTo>
                    <a:lnTo>
                      <a:pt x="40" y="47"/>
                    </a:lnTo>
                    <a:lnTo>
                      <a:pt x="42" y="47"/>
                    </a:lnTo>
                    <a:lnTo>
                      <a:pt x="40" y="47"/>
                    </a:lnTo>
                    <a:lnTo>
                      <a:pt x="40" y="45"/>
                    </a:lnTo>
                    <a:lnTo>
                      <a:pt x="42" y="45"/>
                    </a:lnTo>
                    <a:lnTo>
                      <a:pt x="40" y="45"/>
                    </a:lnTo>
                    <a:lnTo>
                      <a:pt x="38" y="45"/>
                    </a:lnTo>
                    <a:lnTo>
                      <a:pt x="40" y="47"/>
                    </a:lnTo>
                    <a:lnTo>
                      <a:pt x="38" y="49"/>
                    </a:lnTo>
                    <a:lnTo>
                      <a:pt x="38" y="47"/>
                    </a:lnTo>
                    <a:lnTo>
                      <a:pt x="38" y="45"/>
                    </a:lnTo>
                    <a:lnTo>
                      <a:pt x="36" y="45"/>
                    </a:lnTo>
                    <a:lnTo>
                      <a:pt x="38" y="45"/>
                    </a:lnTo>
                    <a:lnTo>
                      <a:pt x="38" y="44"/>
                    </a:lnTo>
                    <a:lnTo>
                      <a:pt x="38" y="42"/>
                    </a:lnTo>
                    <a:lnTo>
                      <a:pt x="36" y="44"/>
                    </a:lnTo>
                    <a:lnTo>
                      <a:pt x="35" y="45"/>
                    </a:lnTo>
                    <a:lnTo>
                      <a:pt x="35" y="47"/>
                    </a:lnTo>
                    <a:lnTo>
                      <a:pt x="35" y="49"/>
                    </a:lnTo>
                    <a:lnTo>
                      <a:pt x="35" y="51"/>
                    </a:lnTo>
                    <a:lnTo>
                      <a:pt x="35" y="53"/>
                    </a:lnTo>
                    <a:lnTo>
                      <a:pt x="35" y="55"/>
                    </a:lnTo>
                    <a:lnTo>
                      <a:pt x="33" y="55"/>
                    </a:lnTo>
                    <a:lnTo>
                      <a:pt x="31" y="55"/>
                    </a:lnTo>
                    <a:lnTo>
                      <a:pt x="33" y="55"/>
                    </a:lnTo>
                    <a:lnTo>
                      <a:pt x="31" y="55"/>
                    </a:lnTo>
                    <a:lnTo>
                      <a:pt x="29" y="55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31" y="57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9"/>
                    </a:lnTo>
                    <a:lnTo>
                      <a:pt x="27" y="61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3" y="61"/>
                    </a:lnTo>
                    <a:lnTo>
                      <a:pt x="25" y="59"/>
                    </a:lnTo>
                    <a:lnTo>
                      <a:pt x="27" y="61"/>
                    </a:lnTo>
                    <a:lnTo>
                      <a:pt x="29" y="61"/>
                    </a:lnTo>
                    <a:lnTo>
                      <a:pt x="27" y="63"/>
                    </a:lnTo>
                    <a:lnTo>
                      <a:pt x="27" y="64"/>
                    </a:lnTo>
                    <a:lnTo>
                      <a:pt x="25" y="64"/>
                    </a:lnTo>
                    <a:lnTo>
                      <a:pt x="23" y="64"/>
                    </a:lnTo>
                    <a:lnTo>
                      <a:pt x="23" y="66"/>
                    </a:lnTo>
                    <a:lnTo>
                      <a:pt x="25" y="64"/>
                    </a:lnTo>
                    <a:lnTo>
                      <a:pt x="25" y="66"/>
                    </a:lnTo>
                    <a:lnTo>
                      <a:pt x="25" y="68"/>
                    </a:lnTo>
                    <a:lnTo>
                      <a:pt x="23" y="68"/>
                    </a:lnTo>
                    <a:lnTo>
                      <a:pt x="25" y="70"/>
                    </a:lnTo>
                    <a:lnTo>
                      <a:pt x="23" y="72"/>
                    </a:lnTo>
                    <a:lnTo>
                      <a:pt x="25" y="70"/>
                    </a:lnTo>
                    <a:lnTo>
                      <a:pt x="27" y="72"/>
                    </a:lnTo>
                    <a:lnTo>
                      <a:pt x="25" y="72"/>
                    </a:lnTo>
                    <a:lnTo>
                      <a:pt x="25" y="74"/>
                    </a:lnTo>
                    <a:lnTo>
                      <a:pt x="25" y="72"/>
                    </a:lnTo>
                    <a:lnTo>
                      <a:pt x="25" y="74"/>
                    </a:lnTo>
                    <a:lnTo>
                      <a:pt x="23" y="74"/>
                    </a:lnTo>
                    <a:lnTo>
                      <a:pt x="23" y="76"/>
                    </a:lnTo>
                    <a:lnTo>
                      <a:pt x="21" y="76"/>
                    </a:lnTo>
                    <a:lnTo>
                      <a:pt x="23" y="76"/>
                    </a:lnTo>
                    <a:lnTo>
                      <a:pt x="23" y="78"/>
                    </a:lnTo>
                    <a:lnTo>
                      <a:pt x="21" y="78"/>
                    </a:lnTo>
                    <a:lnTo>
                      <a:pt x="23" y="78"/>
                    </a:lnTo>
                    <a:lnTo>
                      <a:pt x="25" y="78"/>
                    </a:lnTo>
                    <a:lnTo>
                      <a:pt x="27" y="80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7" y="84"/>
                    </a:lnTo>
                    <a:lnTo>
                      <a:pt x="25" y="84"/>
                    </a:lnTo>
                    <a:lnTo>
                      <a:pt x="25" y="82"/>
                    </a:lnTo>
                    <a:lnTo>
                      <a:pt x="23" y="82"/>
                    </a:lnTo>
                    <a:lnTo>
                      <a:pt x="23" y="84"/>
                    </a:lnTo>
                    <a:lnTo>
                      <a:pt x="21" y="84"/>
                    </a:lnTo>
                    <a:close/>
                    <a:moveTo>
                      <a:pt x="67" y="47"/>
                    </a:moveTo>
                    <a:lnTo>
                      <a:pt x="69" y="47"/>
                    </a:lnTo>
                    <a:lnTo>
                      <a:pt x="71" y="49"/>
                    </a:lnTo>
                    <a:lnTo>
                      <a:pt x="73" y="49"/>
                    </a:lnTo>
                    <a:lnTo>
                      <a:pt x="71" y="51"/>
                    </a:lnTo>
                    <a:lnTo>
                      <a:pt x="71" y="53"/>
                    </a:lnTo>
                    <a:lnTo>
                      <a:pt x="73" y="57"/>
                    </a:lnTo>
                    <a:lnTo>
                      <a:pt x="71" y="59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69" y="63"/>
                    </a:lnTo>
                    <a:lnTo>
                      <a:pt x="67" y="63"/>
                    </a:lnTo>
                    <a:lnTo>
                      <a:pt x="65" y="64"/>
                    </a:lnTo>
                    <a:lnTo>
                      <a:pt x="65" y="66"/>
                    </a:lnTo>
                    <a:lnTo>
                      <a:pt x="69" y="68"/>
                    </a:lnTo>
                    <a:lnTo>
                      <a:pt x="69" y="70"/>
                    </a:lnTo>
                    <a:lnTo>
                      <a:pt x="69" y="72"/>
                    </a:lnTo>
                    <a:lnTo>
                      <a:pt x="67" y="72"/>
                    </a:lnTo>
                    <a:lnTo>
                      <a:pt x="65" y="74"/>
                    </a:lnTo>
                    <a:lnTo>
                      <a:pt x="63" y="76"/>
                    </a:lnTo>
                    <a:lnTo>
                      <a:pt x="63" y="74"/>
                    </a:lnTo>
                    <a:lnTo>
                      <a:pt x="63" y="76"/>
                    </a:lnTo>
                    <a:lnTo>
                      <a:pt x="65" y="76"/>
                    </a:lnTo>
                    <a:lnTo>
                      <a:pt x="65" y="78"/>
                    </a:lnTo>
                    <a:lnTo>
                      <a:pt x="63" y="76"/>
                    </a:lnTo>
                    <a:lnTo>
                      <a:pt x="65" y="80"/>
                    </a:lnTo>
                    <a:lnTo>
                      <a:pt x="63" y="80"/>
                    </a:lnTo>
                    <a:lnTo>
                      <a:pt x="61" y="80"/>
                    </a:lnTo>
                    <a:lnTo>
                      <a:pt x="59" y="78"/>
                    </a:lnTo>
                    <a:lnTo>
                      <a:pt x="56" y="76"/>
                    </a:lnTo>
                    <a:lnTo>
                      <a:pt x="59" y="78"/>
                    </a:lnTo>
                    <a:lnTo>
                      <a:pt x="59" y="76"/>
                    </a:lnTo>
                    <a:lnTo>
                      <a:pt x="59" y="78"/>
                    </a:lnTo>
                    <a:lnTo>
                      <a:pt x="59" y="76"/>
                    </a:lnTo>
                    <a:lnTo>
                      <a:pt x="57" y="76"/>
                    </a:lnTo>
                    <a:lnTo>
                      <a:pt x="59" y="76"/>
                    </a:lnTo>
                    <a:lnTo>
                      <a:pt x="59" y="74"/>
                    </a:lnTo>
                    <a:lnTo>
                      <a:pt x="57" y="74"/>
                    </a:lnTo>
                    <a:lnTo>
                      <a:pt x="54" y="72"/>
                    </a:lnTo>
                    <a:lnTo>
                      <a:pt x="54" y="74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2" y="74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52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50" y="70"/>
                    </a:lnTo>
                    <a:lnTo>
                      <a:pt x="50" y="68"/>
                    </a:lnTo>
                    <a:lnTo>
                      <a:pt x="48" y="70"/>
                    </a:lnTo>
                    <a:lnTo>
                      <a:pt x="48" y="6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48" y="64"/>
                    </a:lnTo>
                    <a:lnTo>
                      <a:pt x="48" y="63"/>
                    </a:lnTo>
                    <a:lnTo>
                      <a:pt x="48" y="61"/>
                    </a:lnTo>
                    <a:lnTo>
                      <a:pt x="46" y="61"/>
                    </a:lnTo>
                    <a:lnTo>
                      <a:pt x="48" y="61"/>
                    </a:lnTo>
                    <a:lnTo>
                      <a:pt x="46" y="59"/>
                    </a:lnTo>
                    <a:lnTo>
                      <a:pt x="44" y="59"/>
                    </a:lnTo>
                    <a:lnTo>
                      <a:pt x="46" y="59"/>
                    </a:lnTo>
                    <a:lnTo>
                      <a:pt x="48" y="59"/>
                    </a:lnTo>
                    <a:lnTo>
                      <a:pt x="50" y="59"/>
                    </a:lnTo>
                    <a:lnTo>
                      <a:pt x="52" y="59"/>
                    </a:lnTo>
                    <a:lnTo>
                      <a:pt x="52" y="57"/>
                    </a:lnTo>
                    <a:lnTo>
                      <a:pt x="52" y="55"/>
                    </a:lnTo>
                    <a:lnTo>
                      <a:pt x="54" y="55"/>
                    </a:lnTo>
                    <a:lnTo>
                      <a:pt x="56" y="55"/>
                    </a:lnTo>
                    <a:lnTo>
                      <a:pt x="56" y="53"/>
                    </a:lnTo>
                    <a:lnTo>
                      <a:pt x="56" y="55"/>
                    </a:lnTo>
                    <a:lnTo>
                      <a:pt x="56" y="53"/>
                    </a:lnTo>
                    <a:lnTo>
                      <a:pt x="52" y="51"/>
                    </a:lnTo>
                    <a:lnTo>
                      <a:pt x="56" y="53"/>
                    </a:lnTo>
                    <a:lnTo>
                      <a:pt x="56" y="51"/>
                    </a:lnTo>
                    <a:lnTo>
                      <a:pt x="57" y="53"/>
                    </a:lnTo>
                    <a:lnTo>
                      <a:pt x="59" y="51"/>
                    </a:lnTo>
                    <a:lnTo>
                      <a:pt x="59" y="53"/>
                    </a:lnTo>
                    <a:lnTo>
                      <a:pt x="57" y="53"/>
                    </a:lnTo>
                    <a:lnTo>
                      <a:pt x="59" y="53"/>
                    </a:lnTo>
                    <a:lnTo>
                      <a:pt x="57" y="53"/>
                    </a:lnTo>
                    <a:lnTo>
                      <a:pt x="57" y="55"/>
                    </a:lnTo>
                    <a:lnTo>
                      <a:pt x="57" y="57"/>
                    </a:lnTo>
                    <a:lnTo>
                      <a:pt x="56" y="57"/>
                    </a:lnTo>
                    <a:lnTo>
                      <a:pt x="57" y="57"/>
                    </a:lnTo>
                    <a:lnTo>
                      <a:pt x="59" y="59"/>
                    </a:lnTo>
                    <a:lnTo>
                      <a:pt x="57" y="59"/>
                    </a:lnTo>
                    <a:lnTo>
                      <a:pt x="59" y="59"/>
                    </a:lnTo>
                    <a:lnTo>
                      <a:pt x="59" y="61"/>
                    </a:lnTo>
                    <a:lnTo>
                      <a:pt x="59" y="59"/>
                    </a:lnTo>
                    <a:lnTo>
                      <a:pt x="59" y="61"/>
                    </a:lnTo>
                    <a:lnTo>
                      <a:pt x="61" y="59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61" y="57"/>
                    </a:lnTo>
                    <a:lnTo>
                      <a:pt x="61" y="55"/>
                    </a:lnTo>
                    <a:lnTo>
                      <a:pt x="61" y="53"/>
                    </a:lnTo>
                    <a:lnTo>
                      <a:pt x="63" y="53"/>
                    </a:lnTo>
                    <a:lnTo>
                      <a:pt x="63" y="55"/>
                    </a:lnTo>
                    <a:lnTo>
                      <a:pt x="63" y="57"/>
                    </a:lnTo>
                    <a:lnTo>
                      <a:pt x="63" y="59"/>
                    </a:lnTo>
                    <a:lnTo>
                      <a:pt x="61" y="59"/>
                    </a:lnTo>
                    <a:lnTo>
                      <a:pt x="61" y="61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3" y="61"/>
                    </a:lnTo>
                    <a:lnTo>
                      <a:pt x="65" y="59"/>
                    </a:lnTo>
                    <a:lnTo>
                      <a:pt x="63" y="59"/>
                    </a:lnTo>
                    <a:lnTo>
                      <a:pt x="63" y="57"/>
                    </a:lnTo>
                    <a:lnTo>
                      <a:pt x="63" y="55"/>
                    </a:lnTo>
                    <a:lnTo>
                      <a:pt x="63" y="57"/>
                    </a:lnTo>
                    <a:lnTo>
                      <a:pt x="63" y="55"/>
                    </a:lnTo>
                    <a:lnTo>
                      <a:pt x="63" y="51"/>
                    </a:lnTo>
                    <a:lnTo>
                      <a:pt x="61" y="51"/>
                    </a:lnTo>
                    <a:lnTo>
                      <a:pt x="59" y="53"/>
                    </a:lnTo>
                    <a:lnTo>
                      <a:pt x="59" y="51"/>
                    </a:lnTo>
                    <a:lnTo>
                      <a:pt x="65" y="47"/>
                    </a:lnTo>
                    <a:lnTo>
                      <a:pt x="67" y="47"/>
                    </a:lnTo>
                    <a:close/>
                    <a:moveTo>
                      <a:pt x="40" y="0"/>
                    </a:moveTo>
                    <a:lnTo>
                      <a:pt x="38" y="2"/>
                    </a:lnTo>
                    <a:lnTo>
                      <a:pt x="36" y="5"/>
                    </a:lnTo>
                    <a:lnTo>
                      <a:pt x="38" y="7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38" y="15"/>
                    </a:lnTo>
                    <a:lnTo>
                      <a:pt x="38" y="17"/>
                    </a:lnTo>
                    <a:lnTo>
                      <a:pt x="36" y="17"/>
                    </a:lnTo>
                    <a:lnTo>
                      <a:pt x="36" y="23"/>
                    </a:lnTo>
                    <a:lnTo>
                      <a:pt x="35" y="23"/>
                    </a:lnTo>
                    <a:lnTo>
                      <a:pt x="31" y="19"/>
                    </a:lnTo>
                    <a:lnTo>
                      <a:pt x="29" y="21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1" y="21"/>
                    </a:lnTo>
                    <a:lnTo>
                      <a:pt x="19" y="23"/>
                    </a:lnTo>
                    <a:lnTo>
                      <a:pt x="17" y="21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4" y="23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4" y="17"/>
                    </a:lnTo>
                    <a:lnTo>
                      <a:pt x="17" y="19"/>
                    </a:lnTo>
                    <a:lnTo>
                      <a:pt x="21" y="17"/>
                    </a:lnTo>
                    <a:lnTo>
                      <a:pt x="23" y="15"/>
                    </a:lnTo>
                    <a:lnTo>
                      <a:pt x="27" y="7"/>
                    </a:lnTo>
                    <a:lnTo>
                      <a:pt x="31" y="5"/>
                    </a:lnTo>
                    <a:lnTo>
                      <a:pt x="33" y="5"/>
                    </a:lnTo>
                    <a:lnTo>
                      <a:pt x="35" y="3"/>
                    </a:lnTo>
                    <a:lnTo>
                      <a:pt x="38" y="2"/>
                    </a:lnTo>
                    <a:lnTo>
                      <a:pt x="40" y="0"/>
                    </a:lnTo>
                    <a:close/>
                    <a:moveTo>
                      <a:pt x="35" y="63"/>
                    </a:moveTo>
                    <a:lnTo>
                      <a:pt x="36" y="63"/>
                    </a:lnTo>
                    <a:lnTo>
                      <a:pt x="38" y="64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6" y="68"/>
                    </a:lnTo>
                    <a:lnTo>
                      <a:pt x="38" y="66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40" y="63"/>
                    </a:lnTo>
                    <a:lnTo>
                      <a:pt x="42" y="66"/>
                    </a:lnTo>
                    <a:lnTo>
                      <a:pt x="40" y="66"/>
                    </a:lnTo>
                    <a:lnTo>
                      <a:pt x="38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4" y="70"/>
                    </a:lnTo>
                    <a:lnTo>
                      <a:pt x="44" y="74"/>
                    </a:lnTo>
                    <a:lnTo>
                      <a:pt x="42" y="74"/>
                    </a:lnTo>
                    <a:lnTo>
                      <a:pt x="42" y="76"/>
                    </a:lnTo>
                    <a:lnTo>
                      <a:pt x="42" y="78"/>
                    </a:lnTo>
                    <a:lnTo>
                      <a:pt x="40" y="78"/>
                    </a:lnTo>
                    <a:lnTo>
                      <a:pt x="38" y="78"/>
                    </a:lnTo>
                    <a:lnTo>
                      <a:pt x="36" y="78"/>
                    </a:lnTo>
                    <a:lnTo>
                      <a:pt x="35" y="76"/>
                    </a:lnTo>
                    <a:lnTo>
                      <a:pt x="35" y="78"/>
                    </a:lnTo>
                    <a:lnTo>
                      <a:pt x="33" y="76"/>
                    </a:lnTo>
                    <a:lnTo>
                      <a:pt x="33" y="78"/>
                    </a:lnTo>
                    <a:lnTo>
                      <a:pt x="33" y="76"/>
                    </a:lnTo>
                    <a:lnTo>
                      <a:pt x="33" y="74"/>
                    </a:lnTo>
                    <a:lnTo>
                      <a:pt x="31" y="74"/>
                    </a:lnTo>
                    <a:lnTo>
                      <a:pt x="31" y="76"/>
                    </a:lnTo>
                    <a:lnTo>
                      <a:pt x="31" y="74"/>
                    </a:lnTo>
                    <a:lnTo>
                      <a:pt x="29" y="72"/>
                    </a:lnTo>
                    <a:lnTo>
                      <a:pt x="29" y="70"/>
                    </a:lnTo>
                    <a:lnTo>
                      <a:pt x="29" y="68"/>
                    </a:lnTo>
                    <a:lnTo>
                      <a:pt x="29" y="70"/>
                    </a:lnTo>
                    <a:lnTo>
                      <a:pt x="27" y="68"/>
                    </a:lnTo>
                    <a:lnTo>
                      <a:pt x="29" y="68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25" y="64"/>
                    </a:lnTo>
                    <a:lnTo>
                      <a:pt x="27" y="64"/>
                    </a:lnTo>
                    <a:lnTo>
                      <a:pt x="29" y="64"/>
                    </a:lnTo>
                    <a:lnTo>
                      <a:pt x="31" y="63"/>
                    </a:lnTo>
                    <a:lnTo>
                      <a:pt x="33" y="63"/>
                    </a:lnTo>
                    <a:lnTo>
                      <a:pt x="35" y="63"/>
                    </a:lnTo>
                    <a:lnTo>
                      <a:pt x="36" y="63"/>
                    </a:lnTo>
                    <a:lnTo>
                      <a:pt x="35" y="63"/>
                    </a:lnTo>
                    <a:close/>
                    <a:moveTo>
                      <a:pt x="50" y="80"/>
                    </a:moveTo>
                    <a:lnTo>
                      <a:pt x="52" y="80"/>
                    </a:lnTo>
                    <a:lnTo>
                      <a:pt x="52" y="82"/>
                    </a:lnTo>
                    <a:lnTo>
                      <a:pt x="54" y="84"/>
                    </a:lnTo>
                    <a:lnTo>
                      <a:pt x="56" y="84"/>
                    </a:lnTo>
                    <a:lnTo>
                      <a:pt x="57" y="85"/>
                    </a:lnTo>
                    <a:lnTo>
                      <a:pt x="56" y="84"/>
                    </a:lnTo>
                    <a:lnTo>
                      <a:pt x="57" y="84"/>
                    </a:lnTo>
                    <a:lnTo>
                      <a:pt x="57" y="82"/>
                    </a:lnTo>
                    <a:lnTo>
                      <a:pt x="57" y="84"/>
                    </a:lnTo>
                    <a:lnTo>
                      <a:pt x="59" y="84"/>
                    </a:lnTo>
                    <a:lnTo>
                      <a:pt x="59" y="85"/>
                    </a:lnTo>
                    <a:lnTo>
                      <a:pt x="59" y="87"/>
                    </a:lnTo>
                    <a:lnTo>
                      <a:pt x="59" y="85"/>
                    </a:lnTo>
                    <a:lnTo>
                      <a:pt x="59" y="87"/>
                    </a:lnTo>
                    <a:lnTo>
                      <a:pt x="59" y="89"/>
                    </a:lnTo>
                    <a:lnTo>
                      <a:pt x="57" y="89"/>
                    </a:lnTo>
                    <a:lnTo>
                      <a:pt x="57" y="87"/>
                    </a:lnTo>
                    <a:lnTo>
                      <a:pt x="57" y="89"/>
                    </a:lnTo>
                    <a:lnTo>
                      <a:pt x="57" y="87"/>
                    </a:lnTo>
                    <a:lnTo>
                      <a:pt x="57" y="89"/>
                    </a:lnTo>
                    <a:lnTo>
                      <a:pt x="56" y="87"/>
                    </a:lnTo>
                    <a:lnTo>
                      <a:pt x="56" y="89"/>
                    </a:lnTo>
                    <a:lnTo>
                      <a:pt x="54" y="89"/>
                    </a:lnTo>
                    <a:lnTo>
                      <a:pt x="56" y="89"/>
                    </a:lnTo>
                    <a:lnTo>
                      <a:pt x="54" y="91"/>
                    </a:lnTo>
                    <a:lnTo>
                      <a:pt x="54" y="89"/>
                    </a:lnTo>
                    <a:lnTo>
                      <a:pt x="52" y="89"/>
                    </a:lnTo>
                    <a:lnTo>
                      <a:pt x="50" y="87"/>
                    </a:lnTo>
                    <a:lnTo>
                      <a:pt x="46" y="85"/>
                    </a:lnTo>
                    <a:lnTo>
                      <a:pt x="46" y="84"/>
                    </a:lnTo>
                    <a:lnTo>
                      <a:pt x="46" y="85"/>
                    </a:lnTo>
                    <a:lnTo>
                      <a:pt x="46" y="84"/>
                    </a:lnTo>
                    <a:lnTo>
                      <a:pt x="48" y="85"/>
                    </a:lnTo>
                    <a:lnTo>
                      <a:pt x="48" y="84"/>
                    </a:lnTo>
                    <a:lnTo>
                      <a:pt x="46" y="84"/>
                    </a:lnTo>
                    <a:lnTo>
                      <a:pt x="48" y="82"/>
                    </a:lnTo>
                    <a:lnTo>
                      <a:pt x="46" y="82"/>
                    </a:lnTo>
                    <a:lnTo>
                      <a:pt x="48" y="82"/>
                    </a:lnTo>
                    <a:lnTo>
                      <a:pt x="48" y="80"/>
                    </a:lnTo>
                    <a:lnTo>
                      <a:pt x="50" y="80"/>
                    </a:lnTo>
                    <a:close/>
                    <a:moveTo>
                      <a:pt x="107" y="70"/>
                    </a:moveTo>
                    <a:lnTo>
                      <a:pt x="107" y="72"/>
                    </a:lnTo>
                    <a:lnTo>
                      <a:pt x="109" y="74"/>
                    </a:lnTo>
                    <a:lnTo>
                      <a:pt x="111" y="74"/>
                    </a:lnTo>
                    <a:lnTo>
                      <a:pt x="113" y="76"/>
                    </a:lnTo>
                    <a:lnTo>
                      <a:pt x="113" y="78"/>
                    </a:lnTo>
                    <a:lnTo>
                      <a:pt x="111" y="80"/>
                    </a:lnTo>
                    <a:lnTo>
                      <a:pt x="107" y="78"/>
                    </a:lnTo>
                    <a:lnTo>
                      <a:pt x="105" y="76"/>
                    </a:lnTo>
                    <a:lnTo>
                      <a:pt x="105" y="72"/>
                    </a:lnTo>
                    <a:lnTo>
                      <a:pt x="107" y="72"/>
                    </a:lnTo>
                    <a:lnTo>
                      <a:pt x="107" y="70"/>
                    </a:lnTo>
                    <a:close/>
                    <a:moveTo>
                      <a:pt x="59" y="80"/>
                    </a:moveTo>
                    <a:lnTo>
                      <a:pt x="61" y="80"/>
                    </a:lnTo>
                    <a:lnTo>
                      <a:pt x="61" y="82"/>
                    </a:lnTo>
                    <a:lnTo>
                      <a:pt x="63" y="82"/>
                    </a:lnTo>
                    <a:lnTo>
                      <a:pt x="65" y="82"/>
                    </a:lnTo>
                    <a:lnTo>
                      <a:pt x="65" y="84"/>
                    </a:lnTo>
                    <a:lnTo>
                      <a:pt x="63" y="85"/>
                    </a:lnTo>
                    <a:lnTo>
                      <a:pt x="61" y="87"/>
                    </a:lnTo>
                    <a:lnTo>
                      <a:pt x="61" y="91"/>
                    </a:lnTo>
                    <a:lnTo>
                      <a:pt x="59" y="89"/>
                    </a:lnTo>
                    <a:lnTo>
                      <a:pt x="61" y="87"/>
                    </a:lnTo>
                    <a:lnTo>
                      <a:pt x="59" y="87"/>
                    </a:lnTo>
                    <a:lnTo>
                      <a:pt x="61" y="85"/>
                    </a:lnTo>
                    <a:lnTo>
                      <a:pt x="59" y="85"/>
                    </a:lnTo>
                    <a:lnTo>
                      <a:pt x="59" y="84"/>
                    </a:lnTo>
                    <a:lnTo>
                      <a:pt x="57" y="82"/>
                    </a:lnTo>
                    <a:lnTo>
                      <a:pt x="59" y="80"/>
                    </a:lnTo>
                    <a:lnTo>
                      <a:pt x="59" y="82"/>
                    </a:lnTo>
                    <a:lnTo>
                      <a:pt x="59" y="80"/>
                    </a:lnTo>
                    <a:close/>
                    <a:moveTo>
                      <a:pt x="14" y="23"/>
                    </a:moveTo>
                    <a:lnTo>
                      <a:pt x="14" y="26"/>
                    </a:lnTo>
                    <a:lnTo>
                      <a:pt x="12" y="26"/>
                    </a:lnTo>
                    <a:lnTo>
                      <a:pt x="14" y="28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10" y="26"/>
                    </a:lnTo>
                    <a:lnTo>
                      <a:pt x="12" y="24"/>
                    </a:lnTo>
                    <a:lnTo>
                      <a:pt x="12" y="23"/>
                    </a:lnTo>
                    <a:lnTo>
                      <a:pt x="14" y="24"/>
                    </a:lnTo>
                    <a:lnTo>
                      <a:pt x="14" y="23"/>
                    </a:lnTo>
                    <a:close/>
                    <a:moveTo>
                      <a:pt x="27" y="76"/>
                    </a:moveTo>
                    <a:lnTo>
                      <a:pt x="31" y="80"/>
                    </a:lnTo>
                    <a:lnTo>
                      <a:pt x="31" y="82"/>
                    </a:lnTo>
                    <a:lnTo>
                      <a:pt x="31" y="84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31" y="84"/>
                    </a:lnTo>
                    <a:lnTo>
                      <a:pt x="31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82"/>
                    </a:lnTo>
                    <a:lnTo>
                      <a:pt x="29" y="80"/>
                    </a:lnTo>
                    <a:lnTo>
                      <a:pt x="27" y="80"/>
                    </a:lnTo>
                    <a:lnTo>
                      <a:pt x="27" y="78"/>
                    </a:lnTo>
                    <a:lnTo>
                      <a:pt x="25" y="80"/>
                    </a:lnTo>
                    <a:lnTo>
                      <a:pt x="25" y="78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7" y="76"/>
                    </a:lnTo>
                    <a:close/>
                    <a:moveTo>
                      <a:pt x="46" y="74"/>
                    </a:moveTo>
                    <a:lnTo>
                      <a:pt x="46" y="76"/>
                    </a:lnTo>
                    <a:lnTo>
                      <a:pt x="44" y="80"/>
                    </a:lnTo>
                    <a:lnTo>
                      <a:pt x="44" y="82"/>
                    </a:lnTo>
                    <a:lnTo>
                      <a:pt x="42" y="85"/>
                    </a:lnTo>
                    <a:lnTo>
                      <a:pt x="42" y="87"/>
                    </a:lnTo>
                    <a:lnTo>
                      <a:pt x="40" y="85"/>
                    </a:lnTo>
                    <a:lnTo>
                      <a:pt x="40" y="84"/>
                    </a:lnTo>
                    <a:lnTo>
                      <a:pt x="42" y="82"/>
                    </a:lnTo>
                    <a:lnTo>
                      <a:pt x="42" y="84"/>
                    </a:lnTo>
                    <a:lnTo>
                      <a:pt x="42" y="82"/>
                    </a:lnTo>
                    <a:lnTo>
                      <a:pt x="42" y="80"/>
                    </a:lnTo>
                    <a:lnTo>
                      <a:pt x="44" y="80"/>
                    </a:lnTo>
                    <a:lnTo>
                      <a:pt x="44" y="76"/>
                    </a:lnTo>
                    <a:lnTo>
                      <a:pt x="46" y="74"/>
                    </a:lnTo>
                    <a:close/>
                    <a:moveTo>
                      <a:pt x="67" y="78"/>
                    </a:moveTo>
                    <a:lnTo>
                      <a:pt x="69" y="78"/>
                    </a:lnTo>
                    <a:lnTo>
                      <a:pt x="71" y="80"/>
                    </a:lnTo>
                    <a:lnTo>
                      <a:pt x="69" y="80"/>
                    </a:lnTo>
                    <a:lnTo>
                      <a:pt x="67" y="82"/>
                    </a:lnTo>
                    <a:lnTo>
                      <a:pt x="65" y="82"/>
                    </a:lnTo>
                    <a:lnTo>
                      <a:pt x="63" y="82"/>
                    </a:lnTo>
                    <a:lnTo>
                      <a:pt x="65" y="82"/>
                    </a:lnTo>
                    <a:lnTo>
                      <a:pt x="65" y="80"/>
                    </a:lnTo>
                    <a:lnTo>
                      <a:pt x="67" y="80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7" y="78"/>
                    </a:lnTo>
                    <a:close/>
                    <a:moveTo>
                      <a:pt x="48" y="13"/>
                    </a:moveTo>
                    <a:lnTo>
                      <a:pt x="50" y="13"/>
                    </a:lnTo>
                    <a:lnTo>
                      <a:pt x="48" y="13"/>
                    </a:lnTo>
                    <a:lnTo>
                      <a:pt x="48" y="15"/>
                    </a:lnTo>
                    <a:lnTo>
                      <a:pt x="46" y="15"/>
                    </a:lnTo>
                    <a:lnTo>
                      <a:pt x="44" y="15"/>
                    </a:lnTo>
                    <a:lnTo>
                      <a:pt x="44" y="13"/>
                    </a:lnTo>
                    <a:lnTo>
                      <a:pt x="46" y="13"/>
                    </a:lnTo>
                    <a:lnTo>
                      <a:pt x="48" y="13"/>
                    </a:lnTo>
                    <a:close/>
                    <a:moveTo>
                      <a:pt x="40" y="53"/>
                    </a:moveTo>
                    <a:lnTo>
                      <a:pt x="40" y="55"/>
                    </a:lnTo>
                    <a:lnTo>
                      <a:pt x="42" y="55"/>
                    </a:lnTo>
                    <a:lnTo>
                      <a:pt x="42" y="53"/>
                    </a:lnTo>
                    <a:lnTo>
                      <a:pt x="42" y="55"/>
                    </a:lnTo>
                    <a:lnTo>
                      <a:pt x="40" y="55"/>
                    </a:lnTo>
                    <a:lnTo>
                      <a:pt x="40" y="57"/>
                    </a:lnTo>
                    <a:lnTo>
                      <a:pt x="38" y="57"/>
                    </a:lnTo>
                    <a:lnTo>
                      <a:pt x="38" y="55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38" y="53"/>
                    </a:lnTo>
                    <a:lnTo>
                      <a:pt x="38" y="51"/>
                    </a:lnTo>
                    <a:lnTo>
                      <a:pt x="40" y="51"/>
                    </a:lnTo>
                    <a:lnTo>
                      <a:pt x="40" y="53"/>
                    </a:lnTo>
                    <a:close/>
                    <a:moveTo>
                      <a:pt x="71" y="59"/>
                    </a:moveTo>
                    <a:lnTo>
                      <a:pt x="73" y="59"/>
                    </a:lnTo>
                    <a:lnTo>
                      <a:pt x="73" y="64"/>
                    </a:lnTo>
                    <a:lnTo>
                      <a:pt x="71" y="64"/>
                    </a:lnTo>
                    <a:lnTo>
                      <a:pt x="71" y="59"/>
                    </a:lnTo>
                    <a:close/>
                    <a:moveTo>
                      <a:pt x="35" y="80"/>
                    </a:moveTo>
                    <a:lnTo>
                      <a:pt x="36" y="82"/>
                    </a:lnTo>
                    <a:lnTo>
                      <a:pt x="38" y="84"/>
                    </a:lnTo>
                    <a:lnTo>
                      <a:pt x="38" y="82"/>
                    </a:lnTo>
                    <a:lnTo>
                      <a:pt x="38" y="84"/>
                    </a:lnTo>
                    <a:lnTo>
                      <a:pt x="38" y="82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5" y="82"/>
                    </a:lnTo>
                    <a:lnTo>
                      <a:pt x="35" y="80"/>
                    </a:lnTo>
                    <a:close/>
                    <a:moveTo>
                      <a:pt x="38" y="78"/>
                    </a:moveTo>
                    <a:lnTo>
                      <a:pt x="42" y="78"/>
                    </a:lnTo>
                    <a:lnTo>
                      <a:pt x="42" y="80"/>
                    </a:lnTo>
                    <a:lnTo>
                      <a:pt x="38" y="80"/>
                    </a:lnTo>
                    <a:lnTo>
                      <a:pt x="38" y="78"/>
                    </a:lnTo>
                    <a:close/>
                    <a:moveTo>
                      <a:pt x="4" y="66"/>
                    </a:moveTo>
                    <a:lnTo>
                      <a:pt x="6" y="66"/>
                    </a:lnTo>
                    <a:lnTo>
                      <a:pt x="6" y="70"/>
                    </a:lnTo>
                    <a:lnTo>
                      <a:pt x="4" y="70"/>
                    </a:lnTo>
                    <a:lnTo>
                      <a:pt x="4" y="66"/>
                    </a:lnTo>
                    <a:close/>
                    <a:moveTo>
                      <a:pt x="14" y="26"/>
                    </a:moveTo>
                    <a:lnTo>
                      <a:pt x="15" y="26"/>
                    </a:lnTo>
                    <a:lnTo>
                      <a:pt x="15" y="28"/>
                    </a:lnTo>
                    <a:lnTo>
                      <a:pt x="14" y="28"/>
                    </a:lnTo>
                    <a:lnTo>
                      <a:pt x="14" y="26"/>
                    </a:lnTo>
                    <a:close/>
                    <a:moveTo>
                      <a:pt x="54" y="30"/>
                    </a:moveTo>
                    <a:lnTo>
                      <a:pt x="57" y="30"/>
                    </a:lnTo>
                    <a:lnTo>
                      <a:pt x="57" y="32"/>
                    </a:lnTo>
                    <a:lnTo>
                      <a:pt x="54" y="32"/>
                    </a:lnTo>
                    <a:lnTo>
                      <a:pt x="54" y="30"/>
                    </a:lnTo>
                    <a:close/>
                    <a:moveTo>
                      <a:pt x="52" y="80"/>
                    </a:moveTo>
                    <a:lnTo>
                      <a:pt x="54" y="80"/>
                    </a:lnTo>
                    <a:lnTo>
                      <a:pt x="54" y="82"/>
                    </a:lnTo>
                    <a:lnTo>
                      <a:pt x="52" y="82"/>
                    </a:lnTo>
                    <a:lnTo>
                      <a:pt x="52" y="80"/>
                    </a:lnTo>
                    <a:close/>
                    <a:moveTo>
                      <a:pt x="75" y="61"/>
                    </a:moveTo>
                    <a:lnTo>
                      <a:pt x="75" y="63"/>
                    </a:lnTo>
                    <a:lnTo>
                      <a:pt x="75" y="61"/>
                    </a:lnTo>
                    <a:close/>
                    <a:moveTo>
                      <a:pt x="59" y="57"/>
                    </a:moveTo>
                    <a:lnTo>
                      <a:pt x="59" y="59"/>
                    </a:lnTo>
                    <a:lnTo>
                      <a:pt x="59" y="57"/>
                    </a:lnTo>
                    <a:close/>
                    <a:moveTo>
                      <a:pt x="63" y="80"/>
                    </a:moveTo>
                    <a:lnTo>
                      <a:pt x="63" y="82"/>
                    </a:lnTo>
                    <a:lnTo>
                      <a:pt x="63" y="80"/>
                    </a:lnTo>
                    <a:close/>
                    <a:moveTo>
                      <a:pt x="35" y="57"/>
                    </a:moveTo>
                    <a:lnTo>
                      <a:pt x="36" y="57"/>
                    </a:lnTo>
                    <a:lnTo>
                      <a:pt x="36" y="59"/>
                    </a:lnTo>
                    <a:lnTo>
                      <a:pt x="35" y="59"/>
                    </a:lnTo>
                    <a:lnTo>
                      <a:pt x="35" y="57"/>
                    </a:lnTo>
                    <a:close/>
                    <a:moveTo>
                      <a:pt x="48" y="53"/>
                    </a:moveTo>
                    <a:lnTo>
                      <a:pt x="50" y="53"/>
                    </a:lnTo>
                    <a:lnTo>
                      <a:pt x="50" y="55"/>
                    </a:lnTo>
                    <a:lnTo>
                      <a:pt x="48" y="55"/>
                    </a:lnTo>
                    <a:lnTo>
                      <a:pt x="48" y="53"/>
                    </a:lnTo>
                    <a:close/>
                    <a:moveTo>
                      <a:pt x="54" y="80"/>
                    </a:moveTo>
                    <a:lnTo>
                      <a:pt x="56" y="80"/>
                    </a:lnTo>
                    <a:lnTo>
                      <a:pt x="54" y="80"/>
                    </a:lnTo>
                    <a:close/>
                    <a:moveTo>
                      <a:pt x="50" y="72"/>
                    </a:moveTo>
                    <a:lnTo>
                      <a:pt x="50" y="74"/>
                    </a:lnTo>
                    <a:lnTo>
                      <a:pt x="50" y="72"/>
                    </a:lnTo>
                    <a:close/>
                    <a:moveTo>
                      <a:pt x="8" y="32"/>
                    </a:moveTo>
                    <a:lnTo>
                      <a:pt x="10" y="32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2"/>
                    </a:lnTo>
                    <a:close/>
                    <a:moveTo>
                      <a:pt x="40" y="78"/>
                    </a:moveTo>
                    <a:lnTo>
                      <a:pt x="42" y="78"/>
                    </a:lnTo>
                    <a:lnTo>
                      <a:pt x="40" y="78"/>
                    </a:lnTo>
                    <a:close/>
                    <a:moveTo>
                      <a:pt x="8" y="34"/>
                    </a:moveTo>
                    <a:lnTo>
                      <a:pt x="10" y="34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4"/>
                    </a:lnTo>
                    <a:close/>
                    <a:moveTo>
                      <a:pt x="27" y="21"/>
                    </a:moveTo>
                    <a:lnTo>
                      <a:pt x="29" y="21"/>
                    </a:lnTo>
                    <a:lnTo>
                      <a:pt x="27" y="21"/>
                    </a:lnTo>
                    <a:close/>
                    <a:moveTo>
                      <a:pt x="6" y="68"/>
                    </a:moveTo>
                    <a:lnTo>
                      <a:pt x="8" y="68"/>
                    </a:lnTo>
                    <a:lnTo>
                      <a:pt x="8" y="70"/>
                    </a:lnTo>
                    <a:lnTo>
                      <a:pt x="6" y="70"/>
                    </a:lnTo>
                    <a:lnTo>
                      <a:pt x="6" y="68"/>
                    </a:lnTo>
                    <a:close/>
                    <a:moveTo>
                      <a:pt x="35" y="78"/>
                    </a:moveTo>
                    <a:lnTo>
                      <a:pt x="36" y="78"/>
                    </a:lnTo>
                    <a:lnTo>
                      <a:pt x="36" y="80"/>
                    </a:lnTo>
                    <a:lnTo>
                      <a:pt x="35" y="80"/>
                    </a:lnTo>
                    <a:lnTo>
                      <a:pt x="35" y="78"/>
                    </a:lnTo>
                    <a:close/>
                    <a:moveTo>
                      <a:pt x="48" y="74"/>
                    </a:moveTo>
                    <a:lnTo>
                      <a:pt x="50" y="74"/>
                    </a:lnTo>
                    <a:lnTo>
                      <a:pt x="50" y="76"/>
                    </a:lnTo>
                    <a:lnTo>
                      <a:pt x="48" y="76"/>
                    </a:lnTo>
                    <a:lnTo>
                      <a:pt x="48" y="74"/>
                    </a:lnTo>
                    <a:close/>
                    <a:moveTo>
                      <a:pt x="25" y="64"/>
                    </a:moveTo>
                    <a:lnTo>
                      <a:pt x="27" y="64"/>
                    </a:lnTo>
                    <a:lnTo>
                      <a:pt x="27" y="66"/>
                    </a:lnTo>
                    <a:lnTo>
                      <a:pt x="25" y="66"/>
                    </a:lnTo>
                    <a:lnTo>
                      <a:pt x="25" y="64"/>
                    </a:lnTo>
                    <a:close/>
                    <a:moveTo>
                      <a:pt x="36" y="53"/>
                    </a:moveTo>
                    <a:lnTo>
                      <a:pt x="38" y="53"/>
                    </a:lnTo>
                    <a:lnTo>
                      <a:pt x="36" y="53"/>
                    </a:lnTo>
                    <a:close/>
                    <a:moveTo>
                      <a:pt x="54" y="82"/>
                    </a:moveTo>
                    <a:lnTo>
                      <a:pt x="56" y="82"/>
                    </a:lnTo>
                    <a:lnTo>
                      <a:pt x="54" y="82"/>
                    </a:lnTo>
                    <a:close/>
                    <a:moveTo>
                      <a:pt x="57" y="74"/>
                    </a:moveTo>
                    <a:lnTo>
                      <a:pt x="57" y="76"/>
                    </a:lnTo>
                    <a:lnTo>
                      <a:pt x="57" y="74"/>
                    </a:lnTo>
                    <a:close/>
                    <a:moveTo>
                      <a:pt x="31" y="55"/>
                    </a:moveTo>
                    <a:lnTo>
                      <a:pt x="33" y="55"/>
                    </a:lnTo>
                    <a:lnTo>
                      <a:pt x="33" y="57"/>
                    </a:lnTo>
                    <a:lnTo>
                      <a:pt x="31" y="57"/>
                    </a:lnTo>
                    <a:lnTo>
                      <a:pt x="31" y="55"/>
                    </a:lnTo>
                    <a:close/>
                    <a:moveTo>
                      <a:pt x="15" y="24"/>
                    </a:moveTo>
                    <a:lnTo>
                      <a:pt x="17" y="24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5" y="24"/>
                    </a:lnTo>
                    <a:close/>
                    <a:moveTo>
                      <a:pt x="46" y="17"/>
                    </a:moveTo>
                    <a:lnTo>
                      <a:pt x="48" y="17"/>
                    </a:lnTo>
                    <a:lnTo>
                      <a:pt x="46" y="17"/>
                    </a:lnTo>
                    <a:close/>
                    <a:moveTo>
                      <a:pt x="33" y="61"/>
                    </a:moveTo>
                    <a:lnTo>
                      <a:pt x="33" y="63"/>
                    </a:lnTo>
                    <a:lnTo>
                      <a:pt x="33" y="61"/>
                    </a:lnTo>
                    <a:close/>
                    <a:moveTo>
                      <a:pt x="40" y="80"/>
                    </a:moveTo>
                    <a:lnTo>
                      <a:pt x="42" y="80"/>
                    </a:lnTo>
                    <a:lnTo>
                      <a:pt x="40" y="80"/>
                    </a:lnTo>
                    <a:close/>
                    <a:moveTo>
                      <a:pt x="57" y="74"/>
                    </a:moveTo>
                    <a:lnTo>
                      <a:pt x="57" y="76"/>
                    </a:lnTo>
                    <a:lnTo>
                      <a:pt x="57" y="74"/>
                    </a:lnTo>
                    <a:close/>
                    <a:moveTo>
                      <a:pt x="63" y="80"/>
                    </a:moveTo>
                    <a:lnTo>
                      <a:pt x="65" y="80"/>
                    </a:lnTo>
                    <a:lnTo>
                      <a:pt x="63" y="80"/>
                    </a:lnTo>
                    <a:close/>
                    <a:moveTo>
                      <a:pt x="67" y="76"/>
                    </a:moveTo>
                    <a:lnTo>
                      <a:pt x="67" y="78"/>
                    </a:lnTo>
                    <a:lnTo>
                      <a:pt x="67" y="76"/>
                    </a:lnTo>
                    <a:close/>
                    <a:moveTo>
                      <a:pt x="31" y="76"/>
                    </a:moveTo>
                    <a:lnTo>
                      <a:pt x="33" y="76"/>
                    </a:lnTo>
                    <a:lnTo>
                      <a:pt x="31" y="76"/>
                    </a:lnTo>
                    <a:close/>
                    <a:moveTo>
                      <a:pt x="59" y="91"/>
                    </a:moveTo>
                    <a:lnTo>
                      <a:pt x="61" y="91"/>
                    </a:lnTo>
                    <a:lnTo>
                      <a:pt x="59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3" name="Freeform 136">
                <a:extLst>
                  <a:ext uri="{FF2B5EF4-FFF2-40B4-BE49-F238E27FC236}">
                    <a16:creationId xmlns:a16="http://schemas.microsoft.com/office/drawing/2014/main" id="{93D773F3-17C0-75BC-8CBE-2696BE6BECD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7351" y="-3562486"/>
                <a:ext cx="252092" cy="236781"/>
              </a:xfrm>
              <a:custGeom>
                <a:avLst/>
                <a:gdLst>
                  <a:gd name="T0" fmla="*/ 83 w 160"/>
                  <a:gd name="T1" fmla="*/ 15 h 150"/>
                  <a:gd name="T2" fmla="*/ 91 w 160"/>
                  <a:gd name="T3" fmla="*/ 11 h 150"/>
                  <a:gd name="T4" fmla="*/ 141 w 160"/>
                  <a:gd name="T5" fmla="*/ 13 h 150"/>
                  <a:gd name="T6" fmla="*/ 148 w 160"/>
                  <a:gd name="T7" fmla="*/ 17 h 150"/>
                  <a:gd name="T8" fmla="*/ 150 w 160"/>
                  <a:gd name="T9" fmla="*/ 26 h 150"/>
                  <a:gd name="T10" fmla="*/ 156 w 160"/>
                  <a:gd name="T11" fmla="*/ 45 h 150"/>
                  <a:gd name="T12" fmla="*/ 148 w 160"/>
                  <a:gd name="T13" fmla="*/ 61 h 150"/>
                  <a:gd name="T14" fmla="*/ 150 w 160"/>
                  <a:gd name="T15" fmla="*/ 72 h 150"/>
                  <a:gd name="T16" fmla="*/ 150 w 160"/>
                  <a:gd name="T17" fmla="*/ 78 h 150"/>
                  <a:gd name="T18" fmla="*/ 150 w 160"/>
                  <a:gd name="T19" fmla="*/ 85 h 150"/>
                  <a:gd name="T20" fmla="*/ 156 w 160"/>
                  <a:gd name="T21" fmla="*/ 97 h 150"/>
                  <a:gd name="T22" fmla="*/ 160 w 160"/>
                  <a:gd name="T23" fmla="*/ 105 h 150"/>
                  <a:gd name="T24" fmla="*/ 158 w 160"/>
                  <a:gd name="T25" fmla="*/ 114 h 150"/>
                  <a:gd name="T26" fmla="*/ 148 w 160"/>
                  <a:gd name="T27" fmla="*/ 120 h 150"/>
                  <a:gd name="T28" fmla="*/ 137 w 160"/>
                  <a:gd name="T29" fmla="*/ 145 h 150"/>
                  <a:gd name="T30" fmla="*/ 137 w 160"/>
                  <a:gd name="T31" fmla="*/ 150 h 150"/>
                  <a:gd name="T32" fmla="*/ 125 w 160"/>
                  <a:gd name="T33" fmla="*/ 145 h 150"/>
                  <a:gd name="T34" fmla="*/ 120 w 160"/>
                  <a:gd name="T35" fmla="*/ 141 h 150"/>
                  <a:gd name="T36" fmla="*/ 112 w 160"/>
                  <a:gd name="T37" fmla="*/ 141 h 150"/>
                  <a:gd name="T38" fmla="*/ 104 w 160"/>
                  <a:gd name="T39" fmla="*/ 141 h 150"/>
                  <a:gd name="T40" fmla="*/ 95 w 160"/>
                  <a:gd name="T41" fmla="*/ 146 h 150"/>
                  <a:gd name="T42" fmla="*/ 91 w 160"/>
                  <a:gd name="T43" fmla="*/ 143 h 150"/>
                  <a:gd name="T44" fmla="*/ 85 w 160"/>
                  <a:gd name="T45" fmla="*/ 135 h 150"/>
                  <a:gd name="T46" fmla="*/ 78 w 160"/>
                  <a:gd name="T47" fmla="*/ 141 h 150"/>
                  <a:gd name="T48" fmla="*/ 72 w 160"/>
                  <a:gd name="T49" fmla="*/ 129 h 150"/>
                  <a:gd name="T50" fmla="*/ 66 w 160"/>
                  <a:gd name="T51" fmla="*/ 127 h 150"/>
                  <a:gd name="T52" fmla="*/ 62 w 160"/>
                  <a:gd name="T53" fmla="*/ 124 h 150"/>
                  <a:gd name="T54" fmla="*/ 55 w 160"/>
                  <a:gd name="T55" fmla="*/ 122 h 150"/>
                  <a:gd name="T56" fmla="*/ 57 w 160"/>
                  <a:gd name="T57" fmla="*/ 118 h 150"/>
                  <a:gd name="T58" fmla="*/ 47 w 160"/>
                  <a:gd name="T59" fmla="*/ 116 h 150"/>
                  <a:gd name="T60" fmla="*/ 45 w 160"/>
                  <a:gd name="T61" fmla="*/ 118 h 150"/>
                  <a:gd name="T62" fmla="*/ 42 w 160"/>
                  <a:gd name="T63" fmla="*/ 124 h 150"/>
                  <a:gd name="T64" fmla="*/ 36 w 160"/>
                  <a:gd name="T65" fmla="*/ 116 h 150"/>
                  <a:gd name="T66" fmla="*/ 36 w 160"/>
                  <a:gd name="T67" fmla="*/ 110 h 150"/>
                  <a:gd name="T68" fmla="*/ 28 w 160"/>
                  <a:gd name="T69" fmla="*/ 108 h 150"/>
                  <a:gd name="T70" fmla="*/ 21 w 160"/>
                  <a:gd name="T71" fmla="*/ 105 h 150"/>
                  <a:gd name="T72" fmla="*/ 13 w 160"/>
                  <a:gd name="T73" fmla="*/ 101 h 150"/>
                  <a:gd name="T74" fmla="*/ 15 w 160"/>
                  <a:gd name="T75" fmla="*/ 97 h 150"/>
                  <a:gd name="T76" fmla="*/ 11 w 160"/>
                  <a:gd name="T77" fmla="*/ 85 h 150"/>
                  <a:gd name="T78" fmla="*/ 9 w 160"/>
                  <a:gd name="T79" fmla="*/ 76 h 150"/>
                  <a:gd name="T80" fmla="*/ 7 w 160"/>
                  <a:gd name="T81" fmla="*/ 64 h 150"/>
                  <a:gd name="T82" fmla="*/ 3 w 160"/>
                  <a:gd name="T83" fmla="*/ 55 h 150"/>
                  <a:gd name="T84" fmla="*/ 3 w 160"/>
                  <a:gd name="T85" fmla="*/ 43 h 150"/>
                  <a:gd name="T86" fmla="*/ 1 w 160"/>
                  <a:gd name="T87" fmla="*/ 30 h 150"/>
                  <a:gd name="T88" fmla="*/ 7 w 160"/>
                  <a:gd name="T89" fmla="*/ 30 h 150"/>
                  <a:gd name="T90" fmla="*/ 9 w 160"/>
                  <a:gd name="T91" fmla="*/ 22 h 150"/>
                  <a:gd name="T92" fmla="*/ 30 w 160"/>
                  <a:gd name="T93" fmla="*/ 15 h 150"/>
                  <a:gd name="T94" fmla="*/ 34 w 160"/>
                  <a:gd name="T95" fmla="*/ 13 h 150"/>
                  <a:gd name="T96" fmla="*/ 55 w 160"/>
                  <a:gd name="T97" fmla="*/ 1 h 150"/>
                  <a:gd name="T98" fmla="*/ 74 w 160"/>
                  <a:gd name="T99" fmla="*/ 7 h 150"/>
                  <a:gd name="T100" fmla="*/ 70 w 160"/>
                  <a:gd name="T101" fmla="*/ 5 h 150"/>
                  <a:gd name="T102" fmla="*/ 74 w 160"/>
                  <a:gd name="T103" fmla="*/ 13 h 150"/>
                  <a:gd name="T104" fmla="*/ 11 w 160"/>
                  <a:gd name="T105" fmla="*/ 22 h 150"/>
                  <a:gd name="T106" fmla="*/ 5 w 160"/>
                  <a:gd name="T107" fmla="*/ 26 h 150"/>
                  <a:gd name="T108" fmla="*/ 5 w 160"/>
                  <a:gd name="T109" fmla="*/ 24 h 150"/>
                  <a:gd name="T110" fmla="*/ 1 w 160"/>
                  <a:gd name="T111" fmla="*/ 28 h 150"/>
                  <a:gd name="T112" fmla="*/ 3 w 160"/>
                  <a:gd name="T113" fmla="*/ 26 h 150"/>
                  <a:gd name="T114" fmla="*/ 3 w 160"/>
                  <a:gd name="T115" fmla="*/ 26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0" h="150">
                    <a:moveTo>
                      <a:pt x="87" y="9"/>
                    </a:moveTo>
                    <a:lnTo>
                      <a:pt x="87" y="11"/>
                    </a:lnTo>
                    <a:lnTo>
                      <a:pt x="83" y="13"/>
                    </a:lnTo>
                    <a:lnTo>
                      <a:pt x="82" y="13"/>
                    </a:lnTo>
                    <a:lnTo>
                      <a:pt x="82" y="15"/>
                    </a:lnTo>
                    <a:lnTo>
                      <a:pt x="83" y="15"/>
                    </a:lnTo>
                    <a:lnTo>
                      <a:pt x="83" y="17"/>
                    </a:lnTo>
                    <a:lnTo>
                      <a:pt x="83" y="15"/>
                    </a:lnTo>
                    <a:lnTo>
                      <a:pt x="85" y="13"/>
                    </a:lnTo>
                    <a:lnTo>
                      <a:pt x="87" y="13"/>
                    </a:lnTo>
                    <a:lnTo>
                      <a:pt x="89" y="11"/>
                    </a:lnTo>
                    <a:lnTo>
                      <a:pt x="91" y="11"/>
                    </a:lnTo>
                    <a:lnTo>
                      <a:pt x="104" y="13"/>
                    </a:lnTo>
                    <a:lnTo>
                      <a:pt x="116" y="13"/>
                    </a:lnTo>
                    <a:lnTo>
                      <a:pt x="139" y="13"/>
                    </a:lnTo>
                    <a:lnTo>
                      <a:pt x="139" y="11"/>
                    </a:lnTo>
                    <a:lnTo>
                      <a:pt x="141" y="11"/>
                    </a:lnTo>
                    <a:lnTo>
                      <a:pt x="141" y="13"/>
                    </a:lnTo>
                    <a:lnTo>
                      <a:pt x="143" y="13"/>
                    </a:lnTo>
                    <a:lnTo>
                      <a:pt x="143" y="15"/>
                    </a:lnTo>
                    <a:lnTo>
                      <a:pt x="144" y="15"/>
                    </a:lnTo>
                    <a:lnTo>
                      <a:pt x="146" y="15"/>
                    </a:lnTo>
                    <a:lnTo>
                      <a:pt x="146" y="17"/>
                    </a:lnTo>
                    <a:lnTo>
                      <a:pt x="148" y="17"/>
                    </a:lnTo>
                    <a:lnTo>
                      <a:pt x="148" y="19"/>
                    </a:lnTo>
                    <a:lnTo>
                      <a:pt x="150" y="21"/>
                    </a:lnTo>
                    <a:lnTo>
                      <a:pt x="150" y="22"/>
                    </a:lnTo>
                    <a:lnTo>
                      <a:pt x="148" y="22"/>
                    </a:lnTo>
                    <a:lnTo>
                      <a:pt x="150" y="24"/>
                    </a:lnTo>
                    <a:lnTo>
                      <a:pt x="150" y="26"/>
                    </a:lnTo>
                    <a:lnTo>
                      <a:pt x="150" y="28"/>
                    </a:lnTo>
                    <a:lnTo>
                      <a:pt x="150" y="30"/>
                    </a:lnTo>
                    <a:lnTo>
                      <a:pt x="152" y="36"/>
                    </a:lnTo>
                    <a:lnTo>
                      <a:pt x="154" y="43"/>
                    </a:lnTo>
                    <a:lnTo>
                      <a:pt x="156" y="43"/>
                    </a:lnTo>
                    <a:lnTo>
                      <a:pt x="156" y="45"/>
                    </a:lnTo>
                    <a:lnTo>
                      <a:pt x="156" y="47"/>
                    </a:lnTo>
                    <a:lnTo>
                      <a:pt x="156" y="51"/>
                    </a:lnTo>
                    <a:lnTo>
                      <a:pt x="156" y="57"/>
                    </a:lnTo>
                    <a:lnTo>
                      <a:pt x="154" y="59"/>
                    </a:lnTo>
                    <a:lnTo>
                      <a:pt x="152" y="59"/>
                    </a:lnTo>
                    <a:lnTo>
                      <a:pt x="148" y="61"/>
                    </a:lnTo>
                    <a:lnTo>
                      <a:pt x="146" y="63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50" y="72"/>
                    </a:lnTo>
                    <a:lnTo>
                      <a:pt x="152" y="74"/>
                    </a:lnTo>
                    <a:lnTo>
                      <a:pt x="152" y="76"/>
                    </a:lnTo>
                    <a:lnTo>
                      <a:pt x="152" y="78"/>
                    </a:lnTo>
                    <a:lnTo>
                      <a:pt x="150" y="78"/>
                    </a:lnTo>
                    <a:lnTo>
                      <a:pt x="152" y="78"/>
                    </a:lnTo>
                    <a:lnTo>
                      <a:pt x="150" y="78"/>
                    </a:lnTo>
                    <a:lnTo>
                      <a:pt x="150" y="80"/>
                    </a:lnTo>
                    <a:lnTo>
                      <a:pt x="152" y="80"/>
                    </a:lnTo>
                    <a:lnTo>
                      <a:pt x="152" y="82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5"/>
                    </a:lnTo>
                    <a:lnTo>
                      <a:pt x="150" y="87"/>
                    </a:lnTo>
                    <a:lnTo>
                      <a:pt x="152" y="89"/>
                    </a:lnTo>
                    <a:lnTo>
                      <a:pt x="152" y="91"/>
                    </a:lnTo>
                    <a:lnTo>
                      <a:pt x="152" y="93"/>
                    </a:lnTo>
                    <a:lnTo>
                      <a:pt x="152" y="95"/>
                    </a:lnTo>
                    <a:lnTo>
                      <a:pt x="156" y="97"/>
                    </a:lnTo>
                    <a:lnTo>
                      <a:pt x="154" y="99"/>
                    </a:lnTo>
                    <a:lnTo>
                      <a:pt x="156" y="99"/>
                    </a:lnTo>
                    <a:lnTo>
                      <a:pt x="156" y="101"/>
                    </a:lnTo>
                    <a:lnTo>
                      <a:pt x="156" y="103"/>
                    </a:lnTo>
                    <a:lnTo>
                      <a:pt x="158" y="105"/>
                    </a:lnTo>
                    <a:lnTo>
                      <a:pt x="160" y="105"/>
                    </a:lnTo>
                    <a:lnTo>
                      <a:pt x="158" y="105"/>
                    </a:lnTo>
                    <a:lnTo>
                      <a:pt x="156" y="106"/>
                    </a:lnTo>
                    <a:lnTo>
                      <a:pt x="158" y="106"/>
                    </a:lnTo>
                    <a:lnTo>
                      <a:pt x="158" y="108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6"/>
                    </a:lnTo>
                    <a:lnTo>
                      <a:pt x="154" y="116"/>
                    </a:lnTo>
                    <a:lnTo>
                      <a:pt x="152" y="116"/>
                    </a:lnTo>
                    <a:lnTo>
                      <a:pt x="152" y="118"/>
                    </a:lnTo>
                    <a:lnTo>
                      <a:pt x="150" y="120"/>
                    </a:lnTo>
                    <a:lnTo>
                      <a:pt x="148" y="120"/>
                    </a:lnTo>
                    <a:lnTo>
                      <a:pt x="146" y="124"/>
                    </a:lnTo>
                    <a:lnTo>
                      <a:pt x="135" y="137"/>
                    </a:lnTo>
                    <a:lnTo>
                      <a:pt x="135" y="139"/>
                    </a:lnTo>
                    <a:lnTo>
                      <a:pt x="137" y="139"/>
                    </a:lnTo>
                    <a:lnTo>
                      <a:pt x="137" y="141"/>
                    </a:lnTo>
                    <a:lnTo>
                      <a:pt x="137" y="145"/>
                    </a:lnTo>
                    <a:lnTo>
                      <a:pt x="137" y="146"/>
                    </a:lnTo>
                    <a:lnTo>
                      <a:pt x="139" y="146"/>
                    </a:lnTo>
                    <a:lnTo>
                      <a:pt x="139" y="148"/>
                    </a:lnTo>
                    <a:lnTo>
                      <a:pt x="139" y="150"/>
                    </a:lnTo>
                    <a:lnTo>
                      <a:pt x="137" y="148"/>
                    </a:lnTo>
                    <a:lnTo>
                      <a:pt x="137" y="150"/>
                    </a:lnTo>
                    <a:lnTo>
                      <a:pt x="135" y="148"/>
                    </a:lnTo>
                    <a:lnTo>
                      <a:pt x="133" y="148"/>
                    </a:lnTo>
                    <a:lnTo>
                      <a:pt x="131" y="146"/>
                    </a:lnTo>
                    <a:lnTo>
                      <a:pt x="129" y="146"/>
                    </a:lnTo>
                    <a:lnTo>
                      <a:pt x="127" y="146"/>
                    </a:lnTo>
                    <a:lnTo>
                      <a:pt x="125" y="145"/>
                    </a:lnTo>
                    <a:lnTo>
                      <a:pt x="125" y="143"/>
                    </a:lnTo>
                    <a:lnTo>
                      <a:pt x="124" y="143"/>
                    </a:lnTo>
                    <a:lnTo>
                      <a:pt x="124" y="141"/>
                    </a:lnTo>
                    <a:lnTo>
                      <a:pt x="122" y="143"/>
                    </a:lnTo>
                    <a:lnTo>
                      <a:pt x="122" y="141"/>
                    </a:lnTo>
                    <a:lnTo>
                      <a:pt x="120" y="141"/>
                    </a:lnTo>
                    <a:lnTo>
                      <a:pt x="120" y="139"/>
                    </a:lnTo>
                    <a:lnTo>
                      <a:pt x="116" y="141"/>
                    </a:lnTo>
                    <a:lnTo>
                      <a:pt x="114" y="139"/>
                    </a:lnTo>
                    <a:lnTo>
                      <a:pt x="112" y="141"/>
                    </a:lnTo>
                    <a:lnTo>
                      <a:pt x="110" y="141"/>
                    </a:lnTo>
                    <a:lnTo>
                      <a:pt x="112" y="141"/>
                    </a:lnTo>
                    <a:lnTo>
                      <a:pt x="110" y="141"/>
                    </a:lnTo>
                    <a:lnTo>
                      <a:pt x="110" y="143"/>
                    </a:lnTo>
                    <a:lnTo>
                      <a:pt x="108" y="143"/>
                    </a:lnTo>
                    <a:lnTo>
                      <a:pt x="106" y="143"/>
                    </a:lnTo>
                    <a:lnTo>
                      <a:pt x="106" y="141"/>
                    </a:lnTo>
                    <a:lnTo>
                      <a:pt x="104" y="141"/>
                    </a:lnTo>
                    <a:lnTo>
                      <a:pt x="103" y="141"/>
                    </a:lnTo>
                    <a:lnTo>
                      <a:pt x="101" y="141"/>
                    </a:lnTo>
                    <a:lnTo>
                      <a:pt x="99" y="141"/>
                    </a:lnTo>
                    <a:lnTo>
                      <a:pt x="99" y="143"/>
                    </a:lnTo>
                    <a:lnTo>
                      <a:pt x="97" y="143"/>
                    </a:lnTo>
                    <a:lnTo>
                      <a:pt x="95" y="146"/>
                    </a:lnTo>
                    <a:lnTo>
                      <a:pt x="93" y="145"/>
                    </a:lnTo>
                    <a:lnTo>
                      <a:pt x="91" y="145"/>
                    </a:lnTo>
                    <a:lnTo>
                      <a:pt x="91" y="146"/>
                    </a:lnTo>
                    <a:lnTo>
                      <a:pt x="89" y="145"/>
                    </a:lnTo>
                    <a:lnTo>
                      <a:pt x="91" y="145"/>
                    </a:lnTo>
                    <a:lnTo>
                      <a:pt x="91" y="143"/>
                    </a:lnTo>
                    <a:lnTo>
                      <a:pt x="91" y="141"/>
                    </a:lnTo>
                    <a:lnTo>
                      <a:pt x="89" y="141"/>
                    </a:lnTo>
                    <a:lnTo>
                      <a:pt x="87" y="141"/>
                    </a:lnTo>
                    <a:lnTo>
                      <a:pt x="87" y="139"/>
                    </a:lnTo>
                    <a:lnTo>
                      <a:pt x="85" y="137"/>
                    </a:lnTo>
                    <a:lnTo>
                      <a:pt x="85" y="135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2" y="139"/>
                    </a:lnTo>
                    <a:lnTo>
                      <a:pt x="82" y="141"/>
                    </a:lnTo>
                    <a:lnTo>
                      <a:pt x="80" y="141"/>
                    </a:lnTo>
                    <a:lnTo>
                      <a:pt x="78" y="141"/>
                    </a:lnTo>
                    <a:lnTo>
                      <a:pt x="78" y="139"/>
                    </a:lnTo>
                    <a:lnTo>
                      <a:pt x="76" y="137"/>
                    </a:lnTo>
                    <a:lnTo>
                      <a:pt x="74" y="133"/>
                    </a:lnTo>
                    <a:lnTo>
                      <a:pt x="72" y="133"/>
                    </a:lnTo>
                    <a:lnTo>
                      <a:pt x="70" y="129"/>
                    </a:lnTo>
                    <a:lnTo>
                      <a:pt x="72" y="129"/>
                    </a:lnTo>
                    <a:lnTo>
                      <a:pt x="70" y="129"/>
                    </a:lnTo>
                    <a:lnTo>
                      <a:pt x="70" y="127"/>
                    </a:lnTo>
                    <a:lnTo>
                      <a:pt x="70" y="129"/>
                    </a:lnTo>
                    <a:lnTo>
                      <a:pt x="70" y="127"/>
                    </a:lnTo>
                    <a:lnTo>
                      <a:pt x="68" y="127"/>
                    </a:lnTo>
                    <a:lnTo>
                      <a:pt x="66" y="127"/>
                    </a:lnTo>
                    <a:lnTo>
                      <a:pt x="68" y="127"/>
                    </a:lnTo>
                    <a:lnTo>
                      <a:pt x="66" y="127"/>
                    </a:lnTo>
                    <a:lnTo>
                      <a:pt x="64" y="127"/>
                    </a:lnTo>
                    <a:lnTo>
                      <a:pt x="64" y="126"/>
                    </a:lnTo>
                    <a:lnTo>
                      <a:pt x="62" y="126"/>
                    </a:lnTo>
                    <a:lnTo>
                      <a:pt x="62" y="124"/>
                    </a:lnTo>
                    <a:lnTo>
                      <a:pt x="62" y="126"/>
                    </a:lnTo>
                    <a:lnTo>
                      <a:pt x="61" y="127"/>
                    </a:lnTo>
                    <a:lnTo>
                      <a:pt x="59" y="126"/>
                    </a:lnTo>
                    <a:lnTo>
                      <a:pt x="59" y="124"/>
                    </a:lnTo>
                    <a:lnTo>
                      <a:pt x="57" y="124"/>
                    </a:lnTo>
                    <a:lnTo>
                      <a:pt x="55" y="122"/>
                    </a:lnTo>
                    <a:lnTo>
                      <a:pt x="57" y="122"/>
                    </a:lnTo>
                    <a:lnTo>
                      <a:pt x="59" y="122"/>
                    </a:lnTo>
                    <a:lnTo>
                      <a:pt x="59" y="120"/>
                    </a:lnTo>
                    <a:lnTo>
                      <a:pt x="57" y="120"/>
                    </a:lnTo>
                    <a:lnTo>
                      <a:pt x="59" y="118"/>
                    </a:lnTo>
                    <a:lnTo>
                      <a:pt x="57" y="118"/>
                    </a:lnTo>
                    <a:lnTo>
                      <a:pt x="55" y="120"/>
                    </a:lnTo>
                    <a:lnTo>
                      <a:pt x="53" y="120"/>
                    </a:lnTo>
                    <a:lnTo>
                      <a:pt x="51" y="120"/>
                    </a:lnTo>
                    <a:lnTo>
                      <a:pt x="51" y="118"/>
                    </a:lnTo>
                    <a:lnTo>
                      <a:pt x="49" y="116"/>
                    </a:lnTo>
                    <a:lnTo>
                      <a:pt x="47" y="116"/>
                    </a:lnTo>
                    <a:lnTo>
                      <a:pt x="45" y="116"/>
                    </a:lnTo>
                    <a:lnTo>
                      <a:pt x="45" y="114"/>
                    </a:lnTo>
                    <a:lnTo>
                      <a:pt x="43" y="114"/>
                    </a:lnTo>
                    <a:lnTo>
                      <a:pt x="43" y="116"/>
                    </a:lnTo>
                    <a:lnTo>
                      <a:pt x="45" y="116"/>
                    </a:lnTo>
                    <a:lnTo>
                      <a:pt x="45" y="118"/>
                    </a:lnTo>
                    <a:lnTo>
                      <a:pt x="45" y="120"/>
                    </a:lnTo>
                    <a:lnTo>
                      <a:pt x="47" y="120"/>
                    </a:lnTo>
                    <a:lnTo>
                      <a:pt x="45" y="120"/>
                    </a:lnTo>
                    <a:lnTo>
                      <a:pt x="43" y="120"/>
                    </a:lnTo>
                    <a:lnTo>
                      <a:pt x="43" y="122"/>
                    </a:lnTo>
                    <a:lnTo>
                      <a:pt x="42" y="124"/>
                    </a:lnTo>
                    <a:lnTo>
                      <a:pt x="40" y="124"/>
                    </a:lnTo>
                    <a:lnTo>
                      <a:pt x="40" y="122"/>
                    </a:lnTo>
                    <a:lnTo>
                      <a:pt x="40" y="120"/>
                    </a:lnTo>
                    <a:lnTo>
                      <a:pt x="38" y="118"/>
                    </a:lnTo>
                    <a:lnTo>
                      <a:pt x="36" y="118"/>
                    </a:lnTo>
                    <a:lnTo>
                      <a:pt x="36" y="116"/>
                    </a:lnTo>
                    <a:lnTo>
                      <a:pt x="34" y="116"/>
                    </a:lnTo>
                    <a:lnTo>
                      <a:pt x="34" y="114"/>
                    </a:lnTo>
                    <a:lnTo>
                      <a:pt x="36" y="114"/>
                    </a:lnTo>
                    <a:lnTo>
                      <a:pt x="36" y="112"/>
                    </a:lnTo>
                    <a:lnTo>
                      <a:pt x="38" y="112"/>
                    </a:lnTo>
                    <a:lnTo>
                      <a:pt x="36" y="110"/>
                    </a:lnTo>
                    <a:lnTo>
                      <a:pt x="34" y="108"/>
                    </a:lnTo>
                    <a:lnTo>
                      <a:pt x="34" y="110"/>
                    </a:lnTo>
                    <a:lnTo>
                      <a:pt x="32" y="110"/>
                    </a:lnTo>
                    <a:lnTo>
                      <a:pt x="30" y="110"/>
                    </a:lnTo>
                    <a:lnTo>
                      <a:pt x="30" y="108"/>
                    </a:lnTo>
                    <a:lnTo>
                      <a:pt x="28" y="108"/>
                    </a:lnTo>
                    <a:lnTo>
                      <a:pt x="26" y="106"/>
                    </a:lnTo>
                    <a:lnTo>
                      <a:pt x="24" y="108"/>
                    </a:lnTo>
                    <a:lnTo>
                      <a:pt x="24" y="106"/>
                    </a:lnTo>
                    <a:lnTo>
                      <a:pt x="22" y="106"/>
                    </a:lnTo>
                    <a:lnTo>
                      <a:pt x="21" y="106"/>
                    </a:lnTo>
                    <a:lnTo>
                      <a:pt x="21" y="105"/>
                    </a:lnTo>
                    <a:lnTo>
                      <a:pt x="19" y="105"/>
                    </a:lnTo>
                    <a:lnTo>
                      <a:pt x="19" y="103"/>
                    </a:lnTo>
                    <a:lnTo>
                      <a:pt x="19" y="101"/>
                    </a:lnTo>
                    <a:lnTo>
                      <a:pt x="17" y="101"/>
                    </a:lnTo>
                    <a:lnTo>
                      <a:pt x="15" y="101"/>
                    </a:lnTo>
                    <a:lnTo>
                      <a:pt x="13" y="101"/>
                    </a:lnTo>
                    <a:lnTo>
                      <a:pt x="15" y="101"/>
                    </a:lnTo>
                    <a:lnTo>
                      <a:pt x="15" y="103"/>
                    </a:lnTo>
                    <a:lnTo>
                      <a:pt x="15" y="105"/>
                    </a:lnTo>
                    <a:lnTo>
                      <a:pt x="11" y="105"/>
                    </a:lnTo>
                    <a:lnTo>
                      <a:pt x="13" y="103"/>
                    </a:lnTo>
                    <a:lnTo>
                      <a:pt x="15" y="97"/>
                    </a:lnTo>
                    <a:lnTo>
                      <a:pt x="15" y="93"/>
                    </a:lnTo>
                    <a:lnTo>
                      <a:pt x="13" y="91"/>
                    </a:lnTo>
                    <a:lnTo>
                      <a:pt x="13" y="89"/>
                    </a:lnTo>
                    <a:lnTo>
                      <a:pt x="11" y="89"/>
                    </a:lnTo>
                    <a:lnTo>
                      <a:pt x="9" y="87"/>
                    </a:lnTo>
                    <a:lnTo>
                      <a:pt x="11" y="85"/>
                    </a:lnTo>
                    <a:lnTo>
                      <a:pt x="11" y="84"/>
                    </a:lnTo>
                    <a:lnTo>
                      <a:pt x="9" y="82"/>
                    </a:lnTo>
                    <a:lnTo>
                      <a:pt x="9" y="80"/>
                    </a:lnTo>
                    <a:lnTo>
                      <a:pt x="7" y="80"/>
                    </a:lnTo>
                    <a:lnTo>
                      <a:pt x="9" y="78"/>
                    </a:lnTo>
                    <a:lnTo>
                      <a:pt x="9" y="76"/>
                    </a:lnTo>
                    <a:lnTo>
                      <a:pt x="11" y="74"/>
                    </a:lnTo>
                    <a:lnTo>
                      <a:pt x="9" y="72"/>
                    </a:lnTo>
                    <a:lnTo>
                      <a:pt x="9" y="70"/>
                    </a:lnTo>
                    <a:lnTo>
                      <a:pt x="9" y="68"/>
                    </a:lnTo>
                    <a:lnTo>
                      <a:pt x="7" y="68"/>
                    </a:lnTo>
                    <a:lnTo>
                      <a:pt x="7" y="64"/>
                    </a:lnTo>
                    <a:lnTo>
                      <a:pt x="9" y="63"/>
                    </a:lnTo>
                    <a:lnTo>
                      <a:pt x="7" y="61"/>
                    </a:lnTo>
                    <a:lnTo>
                      <a:pt x="9" y="61"/>
                    </a:lnTo>
                    <a:lnTo>
                      <a:pt x="7" y="59"/>
                    </a:lnTo>
                    <a:lnTo>
                      <a:pt x="5" y="59"/>
                    </a:lnTo>
                    <a:lnTo>
                      <a:pt x="3" y="55"/>
                    </a:lnTo>
                    <a:lnTo>
                      <a:pt x="1" y="55"/>
                    </a:lnTo>
                    <a:lnTo>
                      <a:pt x="0" y="53"/>
                    </a:lnTo>
                    <a:lnTo>
                      <a:pt x="1" y="53"/>
                    </a:lnTo>
                    <a:lnTo>
                      <a:pt x="0" y="51"/>
                    </a:lnTo>
                    <a:lnTo>
                      <a:pt x="3" y="47"/>
                    </a:lnTo>
                    <a:lnTo>
                      <a:pt x="3" y="43"/>
                    </a:lnTo>
                    <a:lnTo>
                      <a:pt x="5" y="43"/>
                    </a:lnTo>
                    <a:lnTo>
                      <a:pt x="5" y="42"/>
                    </a:lnTo>
                    <a:lnTo>
                      <a:pt x="3" y="38"/>
                    </a:lnTo>
                    <a:lnTo>
                      <a:pt x="3" y="34"/>
                    </a:lnTo>
                    <a:lnTo>
                      <a:pt x="3" y="32"/>
                    </a:lnTo>
                    <a:lnTo>
                      <a:pt x="1" y="30"/>
                    </a:lnTo>
                    <a:lnTo>
                      <a:pt x="3" y="30"/>
                    </a:lnTo>
                    <a:lnTo>
                      <a:pt x="5" y="30"/>
                    </a:lnTo>
                    <a:lnTo>
                      <a:pt x="7" y="32"/>
                    </a:lnTo>
                    <a:lnTo>
                      <a:pt x="7" y="34"/>
                    </a:lnTo>
                    <a:lnTo>
                      <a:pt x="7" y="32"/>
                    </a:lnTo>
                    <a:lnTo>
                      <a:pt x="7" y="30"/>
                    </a:lnTo>
                    <a:lnTo>
                      <a:pt x="7" y="28"/>
                    </a:lnTo>
                    <a:lnTo>
                      <a:pt x="7" y="26"/>
                    </a:lnTo>
                    <a:lnTo>
                      <a:pt x="9" y="24"/>
                    </a:lnTo>
                    <a:lnTo>
                      <a:pt x="11" y="24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2" y="17"/>
                    </a:lnTo>
                    <a:lnTo>
                      <a:pt x="24" y="17"/>
                    </a:lnTo>
                    <a:lnTo>
                      <a:pt x="28" y="17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4" y="15"/>
                    </a:lnTo>
                    <a:lnTo>
                      <a:pt x="32" y="15"/>
                    </a:lnTo>
                    <a:lnTo>
                      <a:pt x="34" y="13"/>
                    </a:lnTo>
                    <a:lnTo>
                      <a:pt x="38" y="9"/>
                    </a:lnTo>
                    <a:lnTo>
                      <a:pt x="38" y="7"/>
                    </a:lnTo>
                    <a:lnTo>
                      <a:pt x="43" y="7"/>
                    </a:lnTo>
                    <a:lnTo>
                      <a:pt x="47" y="3"/>
                    </a:lnTo>
                    <a:lnTo>
                      <a:pt x="49" y="3"/>
                    </a:lnTo>
                    <a:lnTo>
                      <a:pt x="55" y="1"/>
                    </a:lnTo>
                    <a:lnTo>
                      <a:pt x="61" y="0"/>
                    </a:lnTo>
                    <a:lnTo>
                      <a:pt x="66" y="0"/>
                    </a:lnTo>
                    <a:lnTo>
                      <a:pt x="72" y="3"/>
                    </a:lnTo>
                    <a:lnTo>
                      <a:pt x="74" y="5"/>
                    </a:lnTo>
                    <a:lnTo>
                      <a:pt x="76" y="5"/>
                    </a:lnTo>
                    <a:lnTo>
                      <a:pt x="74" y="7"/>
                    </a:lnTo>
                    <a:lnTo>
                      <a:pt x="74" y="3"/>
                    </a:lnTo>
                    <a:lnTo>
                      <a:pt x="72" y="3"/>
                    </a:lnTo>
                    <a:lnTo>
                      <a:pt x="68" y="1"/>
                    </a:lnTo>
                    <a:lnTo>
                      <a:pt x="68" y="3"/>
                    </a:lnTo>
                    <a:lnTo>
                      <a:pt x="70" y="3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0" y="11"/>
                    </a:lnTo>
                    <a:lnTo>
                      <a:pt x="72" y="11"/>
                    </a:lnTo>
                    <a:lnTo>
                      <a:pt x="74" y="11"/>
                    </a:lnTo>
                    <a:lnTo>
                      <a:pt x="72" y="11"/>
                    </a:lnTo>
                    <a:lnTo>
                      <a:pt x="74" y="13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82" y="13"/>
                    </a:lnTo>
                    <a:lnTo>
                      <a:pt x="85" y="11"/>
                    </a:lnTo>
                    <a:lnTo>
                      <a:pt x="87" y="9"/>
                    </a:lnTo>
                    <a:close/>
                    <a:moveTo>
                      <a:pt x="11" y="22"/>
                    </a:moveTo>
                    <a:lnTo>
                      <a:pt x="9" y="22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7" y="28"/>
                    </a:lnTo>
                    <a:lnTo>
                      <a:pt x="7" y="26"/>
                    </a:lnTo>
                    <a:lnTo>
                      <a:pt x="5" y="26"/>
                    </a:lnTo>
                    <a:lnTo>
                      <a:pt x="5" y="24"/>
                    </a:lnTo>
                    <a:lnTo>
                      <a:pt x="5" y="26"/>
                    </a:lnTo>
                    <a:lnTo>
                      <a:pt x="3" y="26"/>
                    </a:lnTo>
                    <a:lnTo>
                      <a:pt x="1" y="24"/>
                    </a:lnTo>
                    <a:lnTo>
                      <a:pt x="3" y="24"/>
                    </a:lnTo>
                    <a:lnTo>
                      <a:pt x="5" y="24"/>
                    </a:lnTo>
                    <a:lnTo>
                      <a:pt x="9" y="22"/>
                    </a:lnTo>
                    <a:lnTo>
                      <a:pt x="11" y="22"/>
                    </a:lnTo>
                    <a:close/>
                    <a:moveTo>
                      <a:pt x="1" y="24"/>
                    </a:moveTo>
                    <a:lnTo>
                      <a:pt x="3" y="24"/>
                    </a:lnTo>
                    <a:lnTo>
                      <a:pt x="3" y="28"/>
                    </a:lnTo>
                    <a:lnTo>
                      <a:pt x="1" y="28"/>
                    </a:lnTo>
                    <a:lnTo>
                      <a:pt x="1" y="24"/>
                    </a:lnTo>
                    <a:close/>
                    <a:moveTo>
                      <a:pt x="3" y="26"/>
                    </a:moveTo>
                    <a:lnTo>
                      <a:pt x="5" y="26"/>
                    </a:lnTo>
                    <a:lnTo>
                      <a:pt x="5" y="28"/>
                    </a:lnTo>
                    <a:lnTo>
                      <a:pt x="3" y="28"/>
                    </a:lnTo>
                    <a:lnTo>
                      <a:pt x="3" y="26"/>
                    </a:lnTo>
                    <a:close/>
                    <a:moveTo>
                      <a:pt x="9" y="22"/>
                    </a:moveTo>
                    <a:lnTo>
                      <a:pt x="11" y="22"/>
                    </a:lnTo>
                    <a:lnTo>
                      <a:pt x="11" y="24"/>
                    </a:lnTo>
                    <a:lnTo>
                      <a:pt x="9" y="24"/>
                    </a:lnTo>
                    <a:lnTo>
                      <a:pt x="9" y="22"/>
                    </a:lnTo>
                    <a:close/>
                    <a:moveTo>
                      <a:pt x="3" y="26"/>
                    </a:moveTo>
                    <a:lnTo>
                      <a:pt x="5" y="26"/>
                    </a:lnTo>
                    <a:lnTo>
                      <a:pt x="3" y="26"/>
                    </a:lnTo>
                    <a:close/>
                    <a:moveTo>
                      <a:pt x="1" y="26"/>
                    </a:moveTo>
                    <a:lnTo>
                      <a:pt x="3" y="26"/>
                    </a:lnTo>
                    <a:lnTo>
                      <a:pt x="1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4" name="Freeform 137">
                <a:extLst>
                  <a:ext uri="{FF2B5EF4-FFF2-40B4-BE49-F238E27FC236}">
                    <a16:creationId xmlns:a16="http://schemas.microsoft.com/office/drawing/2014/main" id="{72B75225-579E-EC24-30F6-A37A7CBF830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47450" y="-3458304"/>
                <a:ext cx="453769" cy="301502"/>
              </a:xfrm>
              <a:custGeom>
                <a:avLst/>
                <a:gdLst>
                  <a:gd name="T0" fmla="*/ 239 w 288"/>
                  <a:gd name="T1" fmla="*/ 134 h 191"/>
                  <a:gd name="T2" fmla="*/ 222 w 288"/>
                  <a:gd name="T3" fmla="*/ 140 h 191"/>
                  <a:gd name="T4" fmla="*/ 202 w 288"/>
                  <a:gd name="T5" fmla="*/ 151 h 191"/>
                  <a:gd name="T6" fmla="*/ 197 w 288"/>
                  <a:gd name="T7" fmla="*/ 153 h 191"/>
                  <a:gd name="T8" fmla="*/ 193 w 288"/>
                  <a:gd name="T9" fmla="*/ 151 h 191"/>
                  <a:gd name="T10" fmla="*/ 197 w 288"/>
                  <a:gd name="T11" fmla="*/ 159 h 191"/>
                  <a:gd name="T12" fmla="*/ 206 w 288"/>
                  <a:gd name="T13" fmla="*/ 170 h 191"/>
                  <a:gd name="T14" fmla="*/ 202 w 288"/>
                  <a:gd name="T15" fmla="*/ 153 h 191"/>
                  <a:gd name="T16" fmla="*/ 222 w 288"/>
                  <a:gd name="T17" fmla="*/ 168 h 191"/>
                  <a:gd name="T18" fmla="*/ 220 w 288"/>
                  <a:gd name="T19" fmla="*/ 178 h 191"/>
                  <a:gd name="T20" fmla="*/ 197 w 288"/>
                  <a:gd name="T21" fmla="*/ 184 h 191"/>
                  <a:gd name="T22" fmla="*/ 181 w 288"/>
                  <a:gd name="T23" fmla="*/ 185 h 191"/>
                  <a:gd name="T24" fmla="*/ 170 w 288"/>
                  <a:gd name="T25" fmla="*/ 170 h 191"/>
                  <a:gd name="T26" fmla="*/ 176 w 288"/>
                  <a:gd name="T27" fmla="*/ 159 h 191"/>
                  <a:gd name="T28" fmla="*/ 178 w 288"/>
                  <a:gd name="T29" fmla="*/ 153 h 191"/>
                  <a:gd name="T30" fmla="*/ 159 w 288"/>
                  <a:gd name="T31" fmla="*/ 151 h 191"/>
                  <a:gd name="T32" fmla="*/ 157 w 288"/>
                  <a:gd name="T33" fmla="*/ 145 h 191"/>
                  <a:gd name="T34" fmla="*/ 168 w 288"/>
                  <a:gd name="T35" fmla="*/ 142 h 191"/>
                  <a:gd name="T36" fmla="*/ 157 w 288"/>
                  <a:gd name="T37" fmla="*/ 138 h 191"/>
                  <a:gd name="T38" fmla="*/ 149 w 288"/>
                  <a:gd name="T39" fmla="*/ 140 h 191"/>
                  <a:gd name="T40" fmla="*/ 120 w 288"/>
                  <a:gd name="T41" fmla="*/ 166 h 191"/>
                  <a:gd name="T42" fmla="*/ 98 w 288"/>
                  <a:gd name="T43" fmla="*/ 168 h 191"/>
                  <a:gd name="T44" fmla="*/ 111 w 288"/>
                  <a:gd name="T45" fmla="*/ 151 h 191"/>
                  <a:gd name="T46" fmla="*/ 117 w 288"/>
                  <a:gd name="T47" fmla="*/ 143 h 191"/>
                  <a:gd name="T48" fmla="*/ 126 w 288"/>
                  <a:gd name="T49" fmla="*/ 143 h 191"/>
                  <a:gd name="T50" fmla="*/ 119 w 288"/>
                  <a:gd name="T51" fmla="*/ 128 h 191"/>
                  <a:gd name="T52" fmla="*/ 115 w 288"/>
                  <a:gd name="T53" fmla="*/ 111 h 191"/>
                  <a:gd name="T54" fmla="*/ 99 w 288"/>
                  <a:gd name="T55" fmla="*/ 103 h 191"/>
                  <a:gd name="T56" fmla="*/ 79 w 288"/>
                  <a:gd name="T57" fmla="*/ 100 h 191"/>
                  <a:gd name="T58" fmla="*/ 65 w 288"/>
                  <a:gd name="T59" fmla="*/ 107 h 191"/>
                  <a:gd name="T60" fmla="*/ 40 w 288"/>
                  <a:gd name="T61" fmla="*/ 109 h 191"/>
                  <a:gd name="T62" fmla="*/ 17 w 288"/>
                  <a:gd name="T63" fmla="*/ 105 h 191"/>
                  <a:gd name="T64" fmla="*/ 4 w 288"/>
                  <a:gd name="T65" fmla="*/ 100 h 191"/>
                  <a:gd name="T66" fmla="*/ 10 w 288"/>
                  <a:gd name="T67" fmla="*/ 82 h 191"/>
                  <a:gd name="T68" fmla="*/ 31 w 288"/>
                  <a:gd name="T69" fmla="*/ 50 h 191"/>
                  <a:gd name="T70" fmla="*/ 25 w 288"/>
                  <a:gd name="T71" fmla="*/ 25 h 191"/>
                  <a:gd name="T72" fmla="*/ 42 w 288"/>
                  <a:gd name="T73" fmla="*/ 12 h 191"/>
                  <a:gd name="T74" fmla="*/ 67 w 288"/>
                  <a:gd name="T75" fmla="*/ 14 h 191"/>
                  <a:gd name="T76" fmla="*/ 90 w 288"/>
                  <a:gd name="T77" fmla="*/ 19 h 191"/>
                  <a:gd name="T78" fmla="*/ 103 w 288"/>
                  <a:gd name="T79" fmla="*/ 21 h 191"/>
                  <a:gd name="T80" fmla="*/ 122 w 288"/>
                  <a:gd name="T81" fmla="*/ 21 h 191"/>
                  <a:gd name="T82" fmla="*/ 134 w 288"/>
                  <a:gd name="T83" fmla="*/ 27 h 191"/>
                  <a:gd name="T84" fmla="*/ 140 w 288"/>
                  <a:gd name="T85" fmla="*/ 10 h 191"/>
                  <a:gd name="T86" fmla="*/ 159 w 288"/>
                  <a:gd name="T87" fmla="*/ 8 h 191"/>
                  <a:gd name="T88" fmla="*/ 176 w 288"/>
                  <a:gd name="T89" fmla="*/ 0 h 191"/>
                  <a:gd name="T90" fmla="*/ 191 w 288"/>
                  <a:gd name="T91" fmla="*/ 10 h 191"/>
                  <a:gd name="T92" fmla="*/ 193 w 288"/>
                  <a:gd name="T93" fmla="*/ 25 h 191"/>
                  <a:gd name="T94" fmla="*/ 208 w 288"/>
                  <a:gd name="T95" fmla="*/ 29 h 191"/>
                  <a:gd name="T96" fmla="*/ 212 w 288"/>
                  <a:gd name="T97" fmla="*/ 46 h 191"/>
                  <a:gd name="T98" fmla="*/ 231 w 288"/>
                  <a:gd name="T99" fmla="*/ 54 h 191"/>
                  <a:gd name="T100" fmla="*/ 254 w 288"/>
                  <a:gd name="T101" fmla="*/ 63 h 191"/>
                  <a:gd name="T102" fmla="*/ 269 w 288"/>
                  <a:gd name="T103" fmla="*/ 65 h 191"/>
                  <a:gd name="T104" fmla="*/ 286 w 288"/>
                  <a:gd name="T105" fmla="*/ 75 h 191"/>
                  <a:gd name="T106" fmla="*/ 284 w 288"/>
                  <a:gd name="T107" fmla="*/ 88 h 191"/>
                  <a:gd name="T108" fmla="*/ 284 w 288"/>
                  <a:gd name="T109" fmla="*/ 101 h 191"/>
                  <a:gd name="T110" fmla="*/ 271 w 288"/>
                  <a:gd name="T111" fmla="*/ 113 h 191"/>
                  <a:gd name="T112" fmla="*/ 258 w 288"/>
                  <a:gd name="T113" fmla="*/ 126 h 191"/>
                  <a:gd name="T114" fmla="*/ 120 w 288"/>
                  <a:gd name="T115" fmla="*/ 170 h 191"/>
                  <a:gd name="T116" fmla="*/ 149 w 288"/>
                  <a:gd name="T117" fmla="*/ 147 h 191"/>
                  <a:gd name="T118" fmla="*/ 162 w 288"/>
                  <a:gd name="T119" fmla="*/ 143 h 191"/>
                  <a:gd name="T120" fmla="*/ 120 w 288"/>
                  <a:gd name="T121" fmla="*/ 168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8" h="191">
                    <a:moveTo>
                      <a:pt x="256" y="130"/>
                    </a:moveTo>
                    <a:lnTo>
                      <a:pt x="254" y="132"/>
                    </a:lnTo>
                    <a:lnTo>
                      <a:pt x="256" y="130"/>
                    </a:lnTo>
                    <a:lnTo>
                      <a:pt x="254" y="130"/>
                    </a:lnTo>
                    <a:lnTo>
                      <a:pt x="252" y="130"/>
                    </a:lnTo>
                    <a:lnTo>
                      <a:pt x="250" y="130"/>
                    </a:lnTo>
                    <a:lnTo>
                      <a:pt x="248" y="130"/>
                    </a:lnTo>
                    <a:lnTo>
                      <a:pt x="246" y="130"/>
                    </a:lnTo>
                    <a:lnTo>
                      <a:pt x="244" y="130"/>
                    </a:lnTo>
                    <a:lnTo>
                      <a:pt x="244" y="132"/>
                    </a:lnTo>
                    <a:lnTo>
                      <a:pt x="242" y="134"/>
                    </a:lnTo>
                    <a:lnTo>
                      <a:pt x="242" y="136"/>
                    </a:lnTo>
                    <a:lnTo>
                      <a:pt x="241" y="136"/>
                    </a:lnTo>
                    <a:lnTo>
                      <a:pt x="242" y="134"/>
                    </a:lnTo>
                    <a:lnTo>
                      <a:pt x="241" y="134"/>
                    </a:lnTo>
                    <a:lnTo>
                      <a:pt x="239" y="134"/>
                    </a:lnTo>
                    <a:lnTo>
                      <a:pt x="237" y="136"/>
                    </a:lnTo>
                    <a:lnTo>
                      <a:pt x="235" y="136"/>
                    </a:lnTo>
                    <a:lnTo>
                      <a:pt x="233" y="140"/>
                    </a:lnTo>
                    <a:lnTo>
                      <a:pt x="233" y="142"/>
                    </a:lnTo>
                    <a:lnTo>
                      <a:pt x="233" y="140"/>
                    </a:lnTo>
                    <a:lnTo>
                      <a:pt x="235" y="140"/>
                    </a:lnTo>
                    <a:lnTo>
                      <a:pt x="233" y="138"/>
                    </a:lnTo>
                    <a:lnTo>
                      <a:pt x="231" y="138"/>
                    </a:lnTo>
                    <a:lnTo>
                      <a:pt x="227" y="138"/>
                    </a:lnTo>
                    <a:lnTo>
                      <a:pt x="227" y="140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5" y="142"/>
                    </a:lnTo>
                    <a:lnTo>
                      <a:pt x="225" y="140"/>
                    </a:lnTo>
                    <a:lnTo>
                      <a:pt x="223" y="140"/>
                    </a:lnTo>
                    <a:lnTo>
                      <a:pt x="222" y="140"/>
                    </a:lnTo>
                    <a:lnTo>
                      <a:pt x="220" y="140"/>
                    </a:lnTo>
                    <a:lnTo>
                      <a:pt x="216" y="142"/>
                    </a:lnTo>
                    <a:lnTo>
                      <a:pt x="214" y="143"/>
                    </a:lnTo>
                    <a:lnTo>
                      <a:pt x="212" y="145"/>
                    </a:lnTo>
                    <a:lnTo>
                      <a:pt x="208" y="151"/>
                    </a:lnTo>
                    <a:lnTo>
                      <a:pt x="208" y="153"/>
                    </a:lnTo>
                    <a:lnTo>
                      <a:pt x="204" y="153"/>
                    </a:lnTo>
                    <a:lnTo>
                      <a:pt x="206" y="151"/>
                    </a:lnTo>
                    <a:lnTo>
                      <a:pt x="208" y="151"/>
                    </a:lnTo>
                    <a:lnTo>
                      <a:pt x="208" y="149"/>
                    </a:lnTo>
                    <a:lnTo>
                      <a:pt x="210" y="149"/>
                    </a:lnTo>
                    <a:lnTo>
                      <a:pt x="210" y="147"/>
                    </a:lnTo>
                    <a:lnTo>
                      <a:pt x="208" y="147"/>
                    </a:lnTo>
                    <a:lnTo>
                      <a:pt x="206" y="149"/>
                    </a:lnTo>
                    <a:lnTo>
                      <a:pt x="204" y="149"/>
                    </a:lnTo>
                    <a:lnTo>
                      <a:pt x="202" y="151"/>
                    </a:lnTo>
                    <a:lnTo>
                      <a:pt x="201" y="151"/>
                    </a:lnTo>
                    <a:lnTo>
                      <a:pt x="199" y="151"/>
                    </a:lnTo>
                    <a:lnTo>
                      <a:pt x="199" y="153"/>
                    </a:lnTo>
                    <a:lnTo>
                      <a:pt x="199" y="155"/>
                    </a:lnTo>
                    <a:lnTo>
                      <a:pt x="197" y="155"/>
                    </a:lnTo>
                    <a:lnTo>
                      <a:pt x="197" y="157"/>
                    </a:lnTo>
                    <a:lnTo>
                      <a:pt x="197" y="155"/>
                    </a:lnTo>
                    <a:lnTo>
                      <a:pt x="197" y="157"/>
                    </a:lnTo>
                    <a:lnTo>
                      <a:pt x="197" y="155"/>
                    </a:lnTo>
                    <a:lnTo>
                      <a:pt x="195" y="155"/>
                    </a:lnTo>
                    <a:lnTo>
                      <a:pt x="197" y="155"/>
                    </a:lnTo>
                    <a:lnTo>
                      <a:pt x="197" y="153"/>
                    </a:lnTo>
                    <a:lnTo>
                      <a:pt x="195" y="153"/>
                    </a:lnTo>
                    <a:lnTo>
                      <a:pt x="197" y="153"/>
                    </a:lnTo>
                    <a:lnTo>
                      <a:pt x="195" y="153"/>
                    </a:lnTo>
                    <a:lnTo>
                      <a:pt x="197" y="153"/>
                    </a:lnTo>
                    <a:lnTo>
                      <a:pt x="199" y="153"/>
                    </a:lnTo>
                    <a:lnTo>
                      <a:pt x="199" y="151"/>
                    </a:lnTo>
                    <a:lnTo>
                      <a:pt x="197" y="151"/>
                    </a:lnTo>
                    <a:lnTo>
                      <a:pt x="197" y="153"/>
                    </a:lnTo>
                    <a:lnTo>
                      <a:pt x="197" y="151"/>
                    </a:lnTo>
                    <a:lnTo>
                      <a:pt x="195" y="151"/>
                    </a:lnTo>
                    <a:lnTo>
                      <a:pt x="195" y="149"/>
                    </a:lnTo>
                    <a:lnTo>
                      <a:pt x="195" y="151"/>
                    </a:lnTo>
                    <a:lnTo>
                      <a:pt x="195" y="153"/>
                    </a:lnTo>
                    <a:lnTo>
                      <a:pt x="195" y="151"/>
                    </a:lnTo>
                    <a:lnTo>
                      <a:pt x="193" y="151"/>
                    </a:lnTo>
                    <a:lnTo>
                      <a:pt x="193" y="153"/>
                    </a:lnTo>
                    <a:lnTo>
                      <a:pt x="193" y="151"/>
                    </a:lnTo>
                    <a:lnTo>
                      <a:pt x="193" y="153"/>
                    </a:lnTo>
                    <a:lnTo>
                      <a:pt x="191" y="153"/>
                    </a:lnTo>
                    <a:lnTo>
                      <a:pt x="193" y="151"/>
                    </a:lnTo>
                    <a:lnTo>
                      <a:pt x="191" y="151"/>
                    </a:lnTo>
                    <a:lnTo>
                      <a:pt x="191" y="153"/>
                    </a:lnTo>
                    <a:lnTo>
                      <a:pt x="191" y="151"/>
                    </a:lnTo>
                    <a:lnTo>
                      <a:pt x="189" y="153"/>
                    </a:lnTo>
                    <a:lnTo>
                      <a:pt x="191" y="153"/>
                    </a:lnTo>
                    <a:lnTo>
                      <a:pt x="193" y="153"/>
                    </a:lnTo>
                    <a:lnTo>
                      <a:pt x="193" y="155"/>
                    </a:lnTo>
                    <a:lnTo>
                      <a:pt x="195" y="155"/>
                    </a:lnTo>
                    <a:lnTo>
                      <a:pt x="197" y="157"/>
                    </a:lnTo>
                    <a:lnTo>
                      <a:pt x="197" y="159"/>
                    </a:lnTo>
                    <a:lnTo>
                      <a:pt x="197" y="157"/>
                    </a:lnTo>
                    <a:lnTo>
                      <a:pt x="199" y="157"/>
                    </a:lnTo>
                    <a:lnTo>
                      <a:pt x="199" y="155"/>
                    </a:lnTo>
                    <a:lnTo>
                      <a:pt x="199" y="157"/>
                    </a:lnTo>
                    <a:lnTo>
                      <a:pt x="199" y="159"/>
                    </a:lnTo>
                    <a:lnTo>
                      <a:pt x="197" y="159"/>
                    </a:lnTo>
                    <a:lnTo>
                      <a:pt x="197" y="161"/>
                    </a:lnTo>
                    <a:lnTo>
                      <a:pt x="201" y="159"/>
                    </a:lnTo>
                    <a:lnTo>
                      <a:pt x="201" y="157"/>
                    </a:lnTo>
                    <a:lnTo>
                      <a:pt x="202" y="157"/>
                    </a:lnTo>
                    <a:lnTo>
                      <a:pt x="201" y="159"/>
                    </a:lnTo>
                    <a:lnTo>
                      <a:pt x="201" y="161"/>
                    </a:lnTo>
                    <a:lnTo>
                      <a:pt x="201" y="159"/>
                    </a:lnTo>
                    <a:lnTo>
                      <a:pt x="202" y="161"/>
                    </a:lnTo>
                    <a:lnTo>
                      <a:pt x="201" y="161"/>
                    </a:lnTo>
                    <a:lnTo>
                      <a:pt x="202" y="161"/>
                    </a:lnTo>
                    <a:lnTo>
                      <a:pt x="204" y="163"/>
                    </a:lnTo>
                    <a:lnTo>
                      <a:pt x="206" y="163"/>
                    </a:lnTo>
                    <a:lnTo>
                      <a:pt x="206" y="164"/>
                    </a:lnTo>
                    <a:lnTo>
                      <a:pt x="206" y="166"/>
                    </a:lnTo>
                    <a:lnTo>
                      <a:pt x="206" y="168"/>
                    </a:lnTo>
                    <a:lnTo>
                      <a:pt x="206" y="170"/>
                    </a:lnTo>
                    <a:lnTo>
                      <a:pt x="208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0" y="170"/>
                    </a:lnTo>
                    <a:lnTo>
                      <a:pt x="210" y="168"/>
                    </a:lnTo>
                    <a:lnTo>
                      <a:pt x="208" y="166"/>
                    </a:lnTo>
                    <a:lnTo>
                      <a:pt x="206" y="164"/>
                    </a:lnTo>
                    <a:lnTo>
                      <a:pt x="206" y="163"/>
                    </a:lnTo>
                    <a:lnTo>
                      <a:pt x="204" y="163"/>
                    </a:lnTo>
                    <a:lnTo>
                      <a:pt x="204" y="159"/>
                    </a:lnTo>
                    <a:lnTo>
                      <a:pt x="202" y="159"/>
                    </a:lnTo>
                    <a:lnTo>
                      <a:pt x="202" y="157"/>
                    </a:lnTo>
                    <a:lnTo>
                      <a:pt x="202" y="155"/>
                    </a:lnTo>
                    <a:lnTo>
                      <a:pt x="201" y="155"/>
                    </a:lnTo>
                    <a:lnTo>
                      <a:pt x="201" y="153"/>
                    </a:lnTo>
                    <a:lnTo>
                      <a:pt x="202" y="153"/>
                    </a:lnTo>
                    <a:lnTo>
                      <a:pt x="202" y="151"/>
                    </a:lnTo>
                    <a:lnTo>
                      <a:pt x="202" y="157"/>
                    </a:lnTo>
                    <a:lnTo>
                      <a:pt x="206" y="163"/>
                    </a:lnTo>
                    <a:lnTo>
                      <a:pt x="210" y="168"/>
                    </a:lnTo>
                    <a:lnTo>
                      <a:pt x="212" y="170"/>
                    </a:lnTo>
                    <a:lnTo>
                      <a:pt x="214" y="172"/>
                    </a:lnTo>
                    <a:lnTo>
                      <a:pt x="214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68"/>
                    </a:lnTo>
                    <a:lnTo>
                      <a:pt x="218" y="166"/>
                    </a:lnTo>
                    <a:lnTo>
                      <a:pt x="220" y="166"/>
                    </a:lnTo>
                    <a:lnTo>
                      <a:pt x="218" y="168"/>
                    </a:lnTo>
                    <a:lnTo>
                      <a:pt x="220" y="168"/>
                    </a:lnTo>
                    <a:lnTo>
                      <a:pt x="222" y="170"/>
                    </a:lnTo>
                    <a:lnTo>
                      <a:pt x="222" y="168"/>
                    </a:lnTo>
                    <a:lnTo>
                      <a:pt x="223" y="168"/>
                    </a:lnTo>
                    <a:lnTo>
                      <a:pt x="225" y="166"/>
                    </a:lnTo>
                    <a:lnTo>
                      <a:pt x="227" y="166"/>
                    </a:lnTo>
                    <a:lnTo>
                      <a:pt x="227" y="168"/>
                    </a:lnTo>
                    <a:lnTo>
                      <a:pt x="229" y="168"/>
                    </a:lnTo>
                    <a:lnTo>
                      <a:pt x="231" y="168"/>
                    </a:lnTo>
                    <a:lnTo>
                      <a:pt x="231" y="170"/>
                    </a:lnTo>
                    <a:lnTo>
                      <a:pt x="229" y="170"/>
                    </a:lnTo>
                    <a:lnTo>
                      <a:pt x="227" y="172"/>
                    </a:lnTo>
                    <a:lnTo>
                      <a:pt x="227" y="174"/>
                    </a:lnTo>
                    <a:lnTo>
                      <a:pt x="229" y="176"/>
                    </a:lnTo>
                    <a:lnTo>
                      <a:pt x="227" y="176"/>
                    </a:lnTo>
                    <a:lnTo>
                      <a:pt x="225" y="176"/>
                    </a:lnTo>
                    <a:lnTo>
                      <a:pt x="225" y="178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18" y="178"/>
                    </a:lnTo>
                    <a:lnTo>
                      <a:pt x="218" y="176"/>
                    </a:lnTo>
                    <a:lnTo>
                      <a:pt x="216" y="176"/>
                    </a:lnTo>
                    <a:lnTo>
                      <a:pt x="214" y="174"/>
                    </a:lnTo>
                    <a:lnTo>
                      <a:pt x="214" y="176"/>
                    </a:lnTo>
                    <a:lnTo>
                      <a:pt x="212" y="176"/>
                    </a:lnTo>
                    <a:lnTo>
                      <a:pt x="212" y="178"/>
                    </a:lnTo>
                    <a:lnTo>
                      <a:pt x="210" y="178"/>
                    </a:lnTo>
                    <a:lnTo>
                      <a:pt x="212" y="180"/>
                    </a:lnTo>
                    <a:lnTo>
                      <a:pt x="210" y="178"/>
                    </a:lnTo>
                    <a:lnTo>
                      <a:pt x="208" y="180"/>
                    </a:lnTo>
                    <a:lnTo>
                      <a:pt x="206" y="182"/>
                    </a:lnTo>
                    <a:lnTo>
                      <a:pt x="204" y="182"/>
                    </a:lnTo>
                    <a:lnTo>
                      <a:pt x="201" y="182"/>
                    </a:lnTo>
                    <a:lnTo>
                      <a:pt x="199" y="184"/>
                    </a:lnTo>
                    <a:lnTo>
                      <a:pt x="197" y="184"/>
                    </a:lnTo>
                    <a:lnTo>
                      <a:pt x="195" y="187"/>
                    </a:lnTo>
                    <a:lnTo>
                      <a:pt x="193" y="189"/>
                    </a:lnTo>
                    <a:lnTo>
                      <a:pt x="191" y="189"/>
                    </a:lnTo>
                    <a:lnTo>
                      <a:pt x="191" y="191"/>
                    </a:lnTo>
                    <a:lnTo>
                      <a:pt x="189" y="191"/>
                    </a:lnTo>
                    <a:lnTo>
                      <a:pt x="187" y="191"/>
                    </a:lnTo>
                    <a:lnTo>
                      <a:pt x="185" y="191"/>
                    </a:lnTo>
                    <a:lnTo>
                      <a:pt x="183" y="191"/>
                    </a:lnTo>
                    <a:lnTo>
                      <a:pt x="183" y="189"/>
                    </a:lnTo>
                    <a:lnTo>
                      <a:pt x="181" y="189"/>
                    </a:lnTo>
                    <a:lnTo>
                      <a:pt x="180" y="187"/>
                    </a:lnTo>
                    <a:lnTo>
                      <a:pt x="181" y="187"/>
                    </a:lnTo>
                    <a:lnTo>
                      <a:pt x="181" y="185"/>
                    </a:lnTo>
                    <a:lnTo>
                      <a:pt x="181" y="187"/>
                    </a:lnTo>
                    <a:lnTo>
                      <a:pt x="183" y="187"/>
                    </a:lnTo>
                    <a:lnTo>
                      <a:pt x="181" y="185"/>
                    </a:lnTo>
                    <a:lnTo>
                      <a:pt x="181" y="182"/>
                    </a:lnTo>
                    <a:lnTo>
                      <a:pt x="183" y="182"/>
                    </a:lnTo>
                    <a:lnTo>
                      <a:pt x="183" y="178"/>
                    </a:lnTo>
                    <a:lnTo>
                      <a:pt x="181" y="176"/>
                    </a:lnTo>
                    <a:lnTo>
                      <a:pt x="180" y="174"/>
                    </a:lnTo>
                    <a:lnTo>
                      <a:pt x="178" y="174"/>
                    </a:lnTo>
                    <a:lnTo>
                      <a:pt x="176" y="174"/>
                    </a:lnTo>
                    <a:lnTo>
                      <a:pt x="174" y="170"/>
                    </a:lnTo>
                    <a:lnTo>
                      <a:pt x="176" y="170"/>
                    </a:lnTo>
                    <a:lnTo>
                      <a:pt x="176" y="168"/>
                    </a:lnTo>
                    <a:lnTo>
                      <a:pt x="174" y="168"/>
                    </a:lnTo>
                    <a:lnTo>
                      <a:pt x="174" y="170"/>
                    </a:lnTo>
                    <a:lnTo>
                      <a:pt x="172" y="170"/>
                    </a:lnTo>
                    <a:lnTo>
                      <a:pt x="174" y="170"/>
                    </a:lnTo>
                    <a:lnTo>
                      <a:pt x="172" y="170"/>
                    </a:lnTo>
                    <a:lnTo>
                      <a:pt x="170" y="170"/>
                    </a:lnTo>
                    <a:lnTo>
                      <a:pt x="168" y="170"/>
                    </a:lnTo>
                    <a:lnTo>
                      <a:pt x="164" y="170"/>
                    </a:lnTo>
                    <a:lnTo>
                      <a:pt x="166" y="170"/>
                    </a:lnTo>
                    <a:lnTo>
                      <a:pt x="164" y="168"/>
                    </a:lnTo>
                    <a:lnTo>
                      <a:pt x="166" y="168"/>
                    </a:lnTo>
                    <a:lnTo>
                      <a:pt x="166" y="166"/>
                    </a:lnTo>
                    <a:lnTo>
                      <a:pt x="168" y="166"/>
                    </a:lnTo>
                    <a:lnTo>
                      <a:pt x="170" y="164"/>
                    </a:lnTo>
                    <a:lnTo>
                      <a:pt x="170" y="166"/>
                    </a:lnTo>
                    <a:lnTo>
                      <a:pt x="170" y="164"/>
                    </a:lnTo>
                    <a:lnTo>
                      <a:pt x="170" y="166"/>
                    </a:lnTo>
                    <a:lnTo>
                      <a:pt x="170" y="164"/>
                    </a:lnTo>
                    <a:lnTo>
                      <a:pt x="172" y="164"/>
                    </a:lnTo>
                    <a:lnTo>
                      <a:pt x="174" y="163"/>
                    </a:lnTo>
                    <a:lnTo>
                      <a:pt x="176" y="161"/>
                    </a:lnTo>
                    <a:lnTo>
                      <a:pt x="176" y="159"/>
                    </a:lnTo>
                    <a:lnTo>
                      <a:pt x="176" y="161"/>
                    </a:lnTo>
                    <a:lnTo>
                      <a:pt x="178" y="161"/>
                    </a:lnTo>
                    <a:lnTo>
                      <a:pt x="180" y="161"/>
                    </a:lnTo>
                    <a:lnTo>
                      <a:pt x="180" y="159"/>
                    </a:lnTo>
                    <a:lnTo>
                      <a:pt x="181" y="159"/>
                    </a:lnTo>
                    <a:lnTo>
                      <a:pt x="183" y="157"/>
                    </a:lnTo>
                    <a:lnTo>
                      <a:pt x="183" y="159"/>
                    </a:lnTo>
                    <a:lnTo>
                      <a:pt x="183" y="157"/>
                    </a:lnTo>
                    <a:lnTo>
                      <a:pt x="185" y="157"/>
                    </a:lnTo>
                    <a:lnTo>
                      <a:pt x="183" y="157"/>
                    </a:lnTo>
                    <a:lnTo>
                      <a:pt x="183" y="153"/>
                    </a:lnTo>
                    <a:lnTo>
                      <a:pt x="183" y="151"/>
                    </a:lnTo>
                    <a:lnTo>
                      <a:pt x="181" y="153"/>
                    </a:lnTo>
                    <a:lnTo>
                      <a:pt x="181" y="155"/>
                    </a:lnTo>
                    <a:lnTo>
                      <a:pt x="180" y="155"/>
                    </a:lnTo>
                    <a:lnTo>
                      <a:pt x="178" y="153"/>
                    </a:lnTo>
                    <a:lnTo>
                      <a:pt x="176" y="153"/>
                    </a:lnTo>
                    <a:lnTo>
                      <a:pt x="178" y="151"/>
                    </a:lnTo>
                    <a:lnTo>
                      <a:pt x="176" y="151"/>
                    </a:lnTo>
                    <a:lnTo>
                      <a:pt x="176" y="153"/>
                    </a:lnTo>
                    <a:lnTo>
                      <a:pt x="174" y="151"/>
                    </a:lnTo>
                    <a:lnTo>
                      <a:pt x="174" y="153"/>
                    </a:lnTo>
                    <a:lnTo>
                      <a:pt x="172" y="153"/>
                    </a:lnTo>
                    <a:lnTo>
                      <a:pt x="170" y="153"/>
                    </a:lnTo>
                    <a:lnTo>
                      <a:pt x="168" y="153"/>
                    </a:lnTo>
                    <a:lnTo>
                      <a:pt x="166" y="153"/>
                    </a:lnTo>
                    <a:lnTo>
                      <a:pt x="170" y="155"/>
                    </a:lnTo>
                    <a:lnTo>
                      <a:pt x="172" y="155"/>
                    </a:lnTo>
                    <a:lnTo>
                      <a:pt x="174" y="155"/>
                    </a:lnTo>
                    <a:lnTo>
                      <a:pt x="172" y="155"/>
                    </a:lnTo>
                    <a:lnTo>
                      <a:pt x="166" y="153"/>
                    </a:lnTo>
                    <a:lnTo>
                      <a:pt x="159" y="151"/>
                    </a:lnTo>
                    <a:lnTo>
                      <a:pt x="160" y="153"/>
                    </a:lnTo>
                    <a:lnTo>
                      <a:pt x="160" y="151"/>
                    </a:lnTo>
                    <a:lnTo>
                      <a:pt x="159" y="149"/>
                    </a:lnTo>
                    <a:lnTo>
                      <a:pt x="157" y="149"/>
                    </a:lnTo>
                    <a:lnTo>
                      <a:pt x="155" y="147"/>
                    </a:lnTo>
                    <a:lnTo>
                      <a:pt x="157" y="147"/>
                    </a:lnTo>
                    <a:lnTo>
                      <a:pt x="155" y="147"/>
                    </a:lnTo>
                    <a:lnTo>
                      <a:pt x="157" y="149"/>
                    </a:lnTo>
                    <a:lnTo>
                      <a:pt x="155" y="149"/>
                    </a:lnTo>
                    <a:lnTo>
                      <a:pt x="153" y="149"/>
                    </a:lnTo>
                    <a:lnTo>
                      <a:pt x="155" y="147"/>
                    </a:lnTo>
                    <a:lnTo>
                      <a:pt x="157" y="147"/>
                    </a:lnTo>
                    <a:lnTo>
                      <a:pt x="159" y="145"/>
                    </a:lnTo>
                    <a:lnTo>
                      <a:pt x="157" y="145"/>
                    </a:lnTo>
                    <a:lnTo>
                      <a:pt x="157" y="143"/>
                    </a:lnTo>
                    <a:lnTo>
                      <a:pt x="157" y="145"/>
                    </a:lnTo>
                    <a:lnTo>
                      <a:pt x="155" y="145"/>
                    </a:lnTo>
                    <a:lnTo>
                      <a:pt x="157" y="145"/>
                    </a:lnTo>
                    <a:lnTo>
                      <a:pt x="153" y="143"/>
                    </a:lnTo>
                    <a:lnTo>
                      <a:pt x="153" y="145"/>
                    </a:lnTo>
                    <a:lnTo>
                      <a:pt x="149" y="142"/>
                    </a:lnTo>
                    <a:lnTo>
                      <a:pt x="151" y="143"/>
                    </a:lnTo>
                    <a:lnTo>
                      <a:pt x="153" y="143"/>
                    </a:lnTo>
                    <a:lnTo>
                      <a:pt x="159" y="143"/>
                    </a:lnTo>
                    <a:lnTo>
                      <a:pt x="160" y="143"/>
                    </a:lnTo>
                    <a:lnTo>
                      <a:pt x="162" y="145"/>
                    </a:lnTo>
                    <a:lnTo>
                      <a:pt x="164" y="143"/>
                    </a:lnTo>
                    <a:lnTo>
                      <a:pt x="166" y="143"/>
                    </a:lnTo>
                    <a:lnTo>
                      <a:pt x="166" y="142"/>
                    </a:lnTo>
                    <a:lnTo>
                      <a:pt x="166" y="143"/>
                    </a:lnTo>
                    <a:lnTo>
                      <a:pt x="166" y="142"/>
                    </a:lnTo>
                    <a:lnTo>
                      <a:pt x="168" y="142"/>
                    </a:lnTo>
                    <a:lnTo>
                      <a:pt x="166" y="143"/>
                    </a:lnTo>
                    <a:lnTo>
                      <a:pt x="166" y="142"/>
                    </a:lnTo>
                    <a:lnTo>
                      <a:pt x="168" y="142"/>
                    </a:lnTo>
                    <a:lnTo>
                      <a:pt x="168" y="140"/>
                    </a:lnTo>
                    <a:lnTo>
                      <a:pt x="168" y="142"/>
                    </a:lnTo>
                    <a:lnTo>
                      <a:pt x="168" y="140"/>
                    </a:lnTo>
                    <a:lnTo>
                      <a:pt x="166" y="142"/>
                    </a:lnTo>
                    <a:lnTo>
                      <a:pt x="164" y="142"/>
                    </a:lnTo>
                    <a:lnTo>
                      <a:pt x="164" y="140"/>
                    </a:lnTo>
                    <a:lnTo>
                      <a:pt x="164" y="142"/>
                    </a:lnTo>
                    <a:lnTo>
                      <a:pt x="164" y="143"/>
                    </a:lnTo>
                    <a:lnTo>
                      <a:pt x="162" y="142"/>
                    </a:lnTo>
                    <a:lnTo>
                      <a:pt x="160" y="142"/>
                    </a:lnTo>
                    <a:lnTo>
                      <a:pt x="159" y="142"/>
                    </a:lnTo>
                    <a:lnTo>
                      <a:pt x="157" y="140"/>
                    </a:lnTo>
                    <a:lnTo>
                      <a:pt x="157" y="138"/>
                    </a:lnTo>
                    <a:lnTo>
                      <a:pt x="157" y="136"/>
                    </a:lnTo>
                    <a:lnTo>
                      <a:pt x="157" y="134"/>
                    </a:lnTo>
                    <a:lnTo>
                      <a:pt x="155" y="136"/>
                    </a:lnTo>
                    <a:lnTo>
                      <a:pt x="155" y="138"/>
                    </a:lnTo>
                    <a:lnTo>
                      <a:pt x="157" y="138"/>
                    </a:lnTo>
                    <a:lnTo>
                      <a:pt x="157" y="140"/>
                    </a:lnTo>
                    <a:lnTo>
                      <a:pt x="155" y="142"/>
                    </a:lnTo>
                    <a:lnTo>
                      <a:pt x="151" y="140"/>
                    </a:lnTo>
                    <a:lnTo>
                      <a:pt x="151" y="142"/>
                    </a:lnTo>
                    <a:lnTo>
                      <a:pt x="149" y="142"/>
                    </a:lnTo>
                    <a:lnTo>
                      <a:pt x="149" y="140"/>
                    </a:lnTo>
                    <a:lnTo>
                      <a:pt x="151" y="138"/>
                    </a:lnTo>
                    <a:lnTo>
                      <a:pt x="149" y="138"/>
                    </a:lnTo>
                    <a:lnTo>
                      <a:pt x="149" y="136"/>
                    </a:lnTo>
                    <a:lnTo>
                      <a:pt x="149" y="138"/>
                    </a:lnTo>
                    <a:lnTo>
                      <a:pt x="149" y="140"/>
                    </a:lnTo>
                    <a:lnTo>
                      <a:pt x="147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1" y="140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8" y="143"/>
                    </a:lnTo>
                    <a:lnTo>
                      <a:pt x="138" y="145"/>
                    </a:lnTo>
                    <a:lnTo>
                      <a:pt x="138" y="147"/>
                    </a:lnTo>
                    <a:lnTo>
                      <a:pt x="136" y="147"/>
                    </a:lnTo>
                    <a:lnTo>
                      <a:pt x="136" y="145"/>
                    </a:lnTo>
                    <a:lnTo>
                      <a:pt x="136" y="147"/>
                    </a:lnTo>
                    <a:lnTo>
                      <a:pt x="134" y="153"/>
                    </a:lnTo>
                    <a:lnTo>
                      <a:pt x="130" y="159"/>
                    </a:lnTo>
                    <a:lnTo>
                      <a:pt x="120" y="166"/>
                    </a:lnTo>
                    <a:lnTo>
                      <a:pt x="119" y="166"/>
                    </a:lnTo>
                    <a:lnTo>
                      <a:pt x="120" y="166"/>
                    </a:lnTo>
                    <a:lnTo>
                      <a:pt x="120" y="168"/>
                    </a:lnTo>
                    <a:lnTo>
                      <a:pt x="119" y="168"/>
                    </a:lnTo>
                    <a:lnTo>
                      <a:pt x="117" y="168"/>
                    </a:lnTo>
                    <a:lnTo>
                      <a:pt x="115" y="168"/>
                    </a:lnTo>
                    <a:lnTo>
                      <a:pt x="113" y="168"/>
                    </a:lnTo>
                    <a:lnTo>
                      <a:pt x="109" y="170"/>
                    </a:lnTo>
                    <a:lnTo>
                      <a:pt x="109" y="172"/>
                    </a:lnTo>
                    <a:lnTo>
                      <a:pt x="107" y="170"/>
                    </a:lnTo>
                    <a:lnTo>
                      <a:pt x="105" y="172"/>
                    </a:lnTo>
                    <a:lnTo>
                      <a:pt x="107" y="172"/>
                    </a:lnTo>
                    <a:lnTo>
                      <a:pt x="105" y="172"/>
                    </a:lnTo>
                    <a:lnTo>
                      <a:pt x="103" y="172"/>
                    </a:lnTo>
                    <a:lnTo>
                      <a:pt x="99" y="170"/>
                    </a:lnTo>
                    <a:lnTo>
                      <a:pt x="98" y="168"/>
                    </a:lnTo>
                    <a:lnTo>
                      <a:pt x="98" y="166"/>
                    </a:lnTo>
                    <a:lnTo>
                      <a:pt x="99" y="166"/>
                    </a:lnTo>
                    <a:lnTo>
                      <a:pt x="101" y="166"/>
                    </a:lnTo>
                    <a:lnTo>
                      <a:pt x="101" y="164"/>
                    </a:lnTo>
                    <a:lnTo>
                      <a:pt x="103" y="164"/>
                    </a:lnTo>
                    <a:lnTo>
                      <a:pt x="101" y="163"/>
                    </a:lnTo>
                    <a:lnTo>
                      <a:pt x="101" y="161"/>
                    </a:lnTo>
                    <a:lnTo>
                      <a:pt x="103" y="161"/>
                    </a:lnTo>
                    <a:lnTo>
                      <a:pt x="105" y="161"/>
                    </a:lnTo>
                    <a:lnTo>
                      <a:pt x="105" y="159"/>
                    </a:lnTo>
                    <a:lnTo>
                      <a:pt x="107" y="159"/>
                    </a:lnTo>
                    <a:lnTo>
                      <a:pt x="105" y="157"/>
                    </a:lnTo>
                    <a:lnTo>
                      <a:pt x="105" y="155"/>
                    </a:lnTo>
                    <a:lnTo>
                      <a:pt x="109" y="155"/>
                    </a:lnTo>
                    <a:lnTo>
                      <a:pt x="109" y="153"/>
                    </a:lnTo>
                    <a:lnTo>
                      <a:pt x="111" y="151"/>
                    </a:lnTo>
                    <a:lnTo>
                      <a:pt x="109" y="149"/>
                    </a:lnTo>
                    <a:lnTo>
                      <a:pt x="109" y="147"/>
                    </a:lnTo>
                    <a:lnTo>
                      <a:pt x="109" y="145"/>
                    </a:lnTo>
                    <a:lnTo>
                      <a:pt x="111" y="145"/>
                    </a:lnTo>
                    <a:lnTo>
                      <a:pt x="111" y="143"/>
                    </a:lnTo>
                    <a:lnTo>
                      <a:pt x="109" y="143"/>
                    </a:lnTo>
                    <a:lnTo>
                      <a:pt x="111" y="143"/>
                    </a:lnTo>
                    <a:lnTo>
                      <a:pt x="113" y="143"/>
                    </a:lnTo>
                    <a:lnTo>
                      <a:pt x="113" y="142"/>
                    </a:lnTo>
                    <a:lnTo>
                      <a:pt x="115" y="143"/>
                    </a:lnTo>
                    <a:lnTo>
                      <a:pt x="113" y="145"/>
                    </a:lnTo>
                    <a:lnTo>
                      <a:pt x="113" y="147"/>
                    </a:lnTo>
                    <a:lnTo>
                      <a:pt x="115" y="145"/>
                    </a:lnTo>
                    <a:lnTo>
                      <a:pt x="115" y="143"/>
                    </a:lnTo>
                    <a:lnTo>
                      <a:pt x="117" y="145"/>
                    </a:lnTo>
                    <a:lnTo>
                      <a:pt x="117" y="143"/>
                    </a:lnTo>
                    <a:lnTo>
                      <a:pt x="119" y="145"/>
                    </a:lnTo>
                    <a:lnTo>
                      <a:pt x="117" y="145"/>
                    </a:lnTo>
                    <a:lnTo>
                      <a:pt x="119" y="145"/>
                    </a:lnTo>
                    <a:lnTo>
                      <a:pt x="119" y="147"/>
                    </a:lnTo>
                    <a:lnTo>
                      <a:pt x="120" y="147"/>
                    </a:lnTo>
                    <a:lnTo>
                      <a:pt x="120" y="145"/>
                    </a:lnTo>
                    <a:lnTo>
                      <a:pt x="122" y="143"/>
                    </a:lnTo>
                    <a:lnTo>
                      <a:pt x="122" y="145"/>
                    </a:lnTo>
                    <a:lnTo>
                      <a:pt x="124" y="147"/>
                    </a:lnTo>
                    <a:lnTo>
                      <a:pt x="124" y="145"/>
                    </a:lnTo>
                    <a:lnTo>
                      <a:pt x="126" y="147"/>
                    </a:lnTo>
                    <a:lnTo>
                      <a:pt x="126" y="145"/>
                    </a:lnTo>
                    <a:lnTo>
                      <a:pt x="126" y="147"/>
                    </a:lnTo>
                    <a:lnTo>
                      <a:pt x="128" y="145"/>
                    </a:lnTo>
                    <a:lnTo>
                      <a:pt x="126" y="145"/>
                    </a:lnTo>
                    <a:lnTo>
                      <a:pt x="126" y="143"/>
                    </a:lnTo>
                    <a:lnTo>
                      <a:pt x="124" y="143"/>
                    </a:lnTo>
                    <a:lnTo>
                      <a:pt x="124" y="142"/>
                    </a:lnTo>
                    <a:lnTo>
                      <a:pt x="124" y="140"/>
                    </a:lnTo>
                    <a:lnTo>
                      <a:pt x="126" y="138"/>
                    </a:lnTo>
                    <a:lnTo>
                      <a:pt x="124" y="136"/>
                    </a:lnTo>
                    <a:lnTo>
                      <a:pt x="126" y="136"/>
                    </a:lnTo>
                    <a:lnTo>
                      <a:pt x="124" y="136"/>
                    </a:lnTo>
                    <a:lnTo>
                      <a:pt x="124" y="134"/>
                    </a:lnTo>
                    <a:lnTo>
                      <a:pt x="122" y="136"/>
                    </a:lnTo>
                    <a:lnTo>
                      <a:pt x="120" y="134"/>
                    </a:lnTo>
                    <a:lnTo>
                      <a:pt x="119" y="134"/>
                    </a:lnTo>
                    <a:lnTo>
                      <a:pt x="119" y="132"/>
                    </a:lnTo>
                    <a:lnTo>
                      <a:pt x="120" y="130"/>
                    </a:lnTo>
                    <a:lnTo>
                      <a:pt x="119" y="130"/>
                    </a:lnTo>
                    <a:lnTo>
                      <a:pt x="117" y="130"/>
                    </a:lnTo>
                    <a:lnTo>
                      <a:pt x="119" y="128"/>
                    </a:lnTo>
                    <a:lnTo>
                      <a:pt x="119" y="126"/>
                    </a:lnTo>
                    <a:lnTo>
                      <a:pt x="119" y="124"/>
                    </a:lnTo>
                    <a:lnTo>
                      <a:pt x="117" y="124"/>
                    </a:lnTo>
                    <a:lnTo>
                      <a:pt x="117" y="122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3" y="121"/>
                    </a:lnTo>
                    <a:lnTo>
                      <a:pt x="113" y="122"/>
                    </a:lnTo>
                    <a:lnTo>
                      <a:pt x="113" y="121"/>
                    </a:lnTo>
                    <a:lnTo>
                      <a:pt x="111" y="119"/>
                    </a:lnTo>
                    <a:lnTo>
                      <a:pt x="113" y="119"/>
                    </a:lnTo>
                    <a:lnTo>
                      <a:pt x="113" y="117"/>
                    </a:lnTo>
                    <a:lnTo>
                      <a:pt x="113" y="115"/>
                    </a:lnTo>
                    <a:lnTo>
                      <a:pt x="115" y="113"/>
                    </a:lnTo>
                    <a:lnTo>
                      <a:pt x="113" y="113"/>
                    </a:lnTo>
                    <a:lnTo>
                      <a:pt x="115" y="111"/>
                    </a:lnTo>
                    <a:lnTo>
                      <a:pt x="113" y="111"/>
                    </a:lnTo>
                    <a:lnTo>
                      <a:pt x="113" y="109"/>
                    </a:lnTo>
                    <a:lnTo>
                      <a:pt x="111" y="109"/>
                    </a:lnTo>
                    <a:lnTo>
                      <a:pt x="109" y="109"/>
                    </a:lnTo>
                    <a:lnTo>
                      <a:pt x="107" y="107"/>
                    </a:lnTo>
                    <a:lnTo>
                      <a:pt x="107" y="105"/>
                    </a:lnTo>
                    <a:lnTo>
                      <a:pt x="105" y="105"/>
                    </a:lnTo>
                    <a:lnTo>
                      <a:pt x="103" y="105"/>
                    </a:lnTo>
                    <a:lnTo>
                      <a:pt x="103" y="103"/>
                    </a:lnTo>
                    <a:lnTo>
                      <a:pt x="101" y="105"/>
                    </a:lnTo>
                    <a:lnTo>
                      <a:pt x="101" y="107"/>
                    </a:lnTo>
                    <a:lnTo>
                      <a:pt x="101" y="105"/>
                    </a:lnTo>
                    <a:lnTo>
                      <a:pt x="101" y="103"/>
                    </a:lnTo>
                    <a:lnTo>
                      <a:pt x="99" y="103"/>
                    </a:lnTo>
                    <a:lnTo>
                      <a:pt x="99" y="105"/>
                    </a:lnTo>
                    <a:lnTo>
                      <a:pt x="99" y="103"/>
                    </a:lnTo>
                    <a:lnTo>
                      <a:pt x="98" y="103"/>
                    </a:lnTo>
                    <a:lnTo>
                      <a:pt x="96" y="101"/>
                    </a:lnTo>
                    <a:lnTo>
                      <a:pt x="96" y="103"/>
                    </a:lnTo>
                    <a:lnTo>
                      <a:pt x="96" y="101"/>
                    </a:lnTo>
                    <a:lnTo>
                      <a:pt x="94" y="101"/>
                    </a:lnTo>
                    <a:lnTo>
                      <a:pt x="92" y="100"/>
                    </a:lnTo>
                    <a:lnTo>
                      <a:pt x="90" y="98"/>
                    </a:lnTo>
                    <a:lnTo>
                      <a:pt x="88" y="98"/>
                    </a:lnTo>
                    <a:lnTo>
                      <a:pt x="86" y="98"/>
                    </a:lnTo>
                    <a:lnTo>
                      <a:pt x="84" y="100"/>
                    </a:lnTo>
                    <a:lnTo>
                      <a:pt x="84" y="98"/>
                    </a:lnTo>
                    <a:lnTo>
                      <a:pt x="82" y="98"/>
                    </a:lnTo>
                    <a:lnTo>
                      <a:pt x="82" y="100"/>
                    </a:lnTo>
                    <a:lnTo>
                      <a:pt x="80" y="100"/>
                    </a:lnTo>
                    <a:lnTo>
                      <a:pt x="79" y="98"/>
                    </a:lnTo>
                    <a:lnTo>
                      <a:pt x="79" y="100"/>
                    </a:lnTo>
                    <a:lnTo>
                      <a:pt x="77" y="100"/>
                    </a:lnTo>
                    <a:lnTo>
                      <a:pt x="77" y="98"/>
                    </a:lnTo>
                    <a:lnTo>
                      <a:pt x="75" y="98"/>
                    </a:lnTo>
                    <a:lnTo>
                      <a:pt x="75" y="100"/>
                    </a:lnTo>
                    <a:lnTo>
                      <a:pt x="73" y="100"/>
                    </a:lnTo>
                    <a:lnTo>
                      <a:pt x="75" y="100"/>
                    </a:lnTo>
                    <a:lnTo>
                      <a:pt x="75" y="101"/>
                    </a:lnTo>
                    <a:lnTo>
                      <a:pt x="73" y="100"/>
                    </a:lnTo>
                    <a:lnTo>
                      <a:pt x="73" y="101"/>
                    </a:lnTo>
                    <a:lnTo>
                      <a:pt x="73" y="103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7" y="105"/>
                    </a:lnTo>
                    <a:lnTo>
                      <a:pt x="67" y="107"/>
                    </a:lnTo>
                    <a:lnTo>
                      <a:pt x="65" y="107"/>
                    </a:lnTo>
                    <a:lnTo>
                      <a:pt x="65" y="109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59" y="109"/>
                    </a:lnTo>
                    <a:lnTo>
                      <a:pt x="58" y="109"/>
                    </a:lnTo>
                    <a:lnTo>
                      <a:pt x="56" y="109"/>
                    </a:lnTo>
                    <a:lnTo>
                      <a:pt x="52" y="111"/>
                    </a:lnTo>
                    <a:lnTo>
                      <a:pt x="50" y="111"/>
                    </a:lnTo>
                    <a:lnTo>
                      <a:pt x="48" y="113"/>
                    </a:lnTo>
                    <a:lnTo>
                      <a:pt x="48" y="115"/>
                    </a:lnTo>
                    <a:lnTo>
                      <a:pt x="46" y="115"/>
                    </a:lnTo>
                    <a:lnTo>
                      <a:pt x="44" y="115"/>
                    </a:lnTo>
                    <a:lnTo>
                      <a:pt x="44" y="113"/>
                    </a:lnTo>
                    <a:lnTo>
                      <a:pt x="42" y="113"/>
                    </a:lnTo>
                    <a:lnTo>
                      <a:pt x="40" y="111"/>
                    </a:lnTo>
                    <a:lnTo>
                      <a:pt x="40" y="109"/>
                    </a:lnTo>
                    <a:lnTo>
                      <a:pt x="38" y="109"/>
                    </a:lnTo>
                    <a:lnTo>
                      <a:pt x="37" y="109"/>
                    </a:lnTo>
                    <a:lnTo>
                      <a:pt x="37" y="111"/>
                    </a:lnTo>
                    <a:lnTo>
                      <a:pt x="35" y="111"/>
                    </a:lnTo>
                    <a:lnTo>
                      <a:pt x="33" y="111"/>
                    </a:lnTo>
                    <a:lnTo>
                      <a:pt x="31" y="109"/>
                    </a:lnTo>
                    <a:lnTo>
                      <a:pt x="29" y="109"/>
                    </a:lnTo>
                    <a:lnTo>
                      <a:pt x="29" y="111"/>
                    </a:lnTo>
                    <a:lnTo>
                      <a:pt x="27" y="109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1" y="109"/>
                    </a:lnTo>
                    <a:lnTo>
                      <a:pt x="19" y="107"/>
                    </a:lnTo>
                    <a:lnTo>
                      <a:pt x="19" y="105"/>
                    </a:lnTo>
                    <a:lnTo>
                      <a:pt x="17" y="105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4" y="109"/>
                    </a:lnTo>
                    <a:lnTo>
                      <a:pt x="14" y="107"/>
                    </a:lnTo>
                    <a:lnTo>
                      <a:pt x="14" y="109"/>
                    </a:lnTo>
                    <a:lnTo>
                      <a:pt x="12" y="109"/>
                    </a:lnTo>
                    <a:lnTo>
                      <a:pt x="12" y="107"/>
                    </a:lnTo>
                    <a:lnTo>
                      <a:pt x="12" y="105"/>
                    </a:lnTo>
                    <a:lnTo>
                      <a:pt x="10" y="105"/>
                    </a:lnTo>
                    <a:lnTo>
                      <a:pt x="10" y="107"/>
                    </a:lnTo>
                    <a:lnTo>
                      <a:pt x="8" y="105"/>
                    </a:lnTo>
                    <a:lnTo>
                      <a:pt x="8" y="103"/>
                    </a:lnTo>
                    <a:lnTo>
                      <a:pt x="6" y="103"/>
                    </a:lnTo>
                    <a:lnTo>
                      <a:pt x="4" y="103"/>
                    </a:lnTo>
                    <a:lnTo>
                      <a:pt x="4" y="101"/>
                    </a:lnTo>
                    <a:lnTo>
                      <a:pt x="4" y="100"/>
                    </a:lnTo>
                    <a:lnTo>
                      <a:pt x="2" y="100"/>
                    </a:lnTo>
                    <a:lnTo>
                      <a:pt x="2" y="98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4"/>
                    </a:lnTo>
                    <a:lnTo>
                      <a:pt x="4" y="92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8" y="84"/>
                    </a:lnTo>
                    <a:lnTo>
                      <a:pt x="8" y="82"/>
                    </a:lnTo>
                    <a:lnTo>
                      <a:pt x="10" y="84"/>
                    </a:lnTo>
                    <a:lnTo>
                      <a:pt x="10" y="82"/>
                    </a:lnTo>
                    <a:lnTo>
                      <a:pt x="12" y="84"/>
                    </a:lnTo>
                    <a:lnTo>
                      <a:pt x="12" y="82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10" y="79"/>
                    </a:lnTo>
                    <a:lnTo>
                      <a:pt x="10" y="75"/>
                    </a:lnTo>
                    <a:lnTo>
                      <a:pt x="10" y="73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19" y="58"/>
                    </a:lnTo>
                    <a:lnTo>
                      <a:pt x="21" y="54"/>
                    </a:lnTo>
                    <a:lnTo>
                      <a:pt x="23" y="54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31" y="50"/>
                    </a:lnTo>
                    <a:lnTo>
                      <a:pt x="31" y="48"/>
                    </a:lnTo>
                    <a:lnTo>
                      <a:pt x="31" y="44"/>
                    </a:lnTo>
                    <a:lnTo>
                      <a:pt x="31" y="42"/>
                    </a:lnTo>
                    <a:lnTo>
                      <a:pt x="31" y="40"/>
                    </a:lnTo>
                    <a:lnTo>
                      <a:pt x="29" y="40"/>
                    </a:lnTo>
                    <a:lnTo>
                      <a:pt x="31" y="39"/>
                    </a:lnTo>
                    <a:lnTo>
                      <a:pt x="33" y="39"/>
                    </a:lnTo>
                    <a:lnTo>
                      <a:pt x="31" y="39"/>
                    </a:lnTo>
                    <a:lnTo>
                      <a:pt x="29" y="37"/>
                    </a:lnTo>
                    <a:lnTo>
                      <a:pt x="29" y="35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29" y="31"/>
                    </a:lnTo>
                    <a:lnTo>
                      <a:pt x="25" y="29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5" y="18"/>
                    </a:lnTo>
                    <a:lnTo>
                      <a:pt x="27" y="18"/>
                    </a:lnTo>
                    <a:lnTo>
                      <a:pt x="27" y="19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35" y="14"/>
                    </a:lnTo>
                    <a:lnTo>
                      <a:pt x="37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8" y="12"/>
                    </a:lnTo>
                    <a:lnTo>
                      <a:pt x="59" y="12"/>
                    </a:lnTo>
                    <a:lnTo>
                      <a:pt x="58" y="10"/>
                    </a:lnTo>
                    <a:lnTo>
                      <a:pt x="59" y="10"/>
                    </a:lnTo>
                    <a:lnTo>
                      <a:pt x="59" y="12"/>
                    </a:lnTo>
                    <a:lnTo>
                      <a:pt x="61" y="12"/>
                    </a:lnTo>
                    <a:lnTo>
                      <a:pt x="63" y="12"/>
                    </a:lnTo>
                    <a:lnTo>
                      <a:pt x="65" y="12"/>
                    </a:lnTo>
                    <a:lnTo>
                      <a:pt x="65" y="14"/>
                    </a:lnTo>
                    <a:lnTo>
                      <a:pt x="67" y="14"/>
                    </a:lnTo>
                    <a:lnTo>
                      <a:pt x="69" y="12"/>
                    </a:lnTo>
                    <a:lnTo>
                      <a:pt x="69" y="14"/>
                    </a:lnTo>
                    <a:lnTo>
                      <a:pt x="71" y="14"/>
                    </a:lnTo>
                    <a:lnTo>
                      <a:pt x="73" y="14"/>
                    </a:lnTo>
                    <a:lnTo>
                      <a:pt x="75" y="14"/>
                    </a:lnTo>
                    <a:lnTo>
                      <a:pt x="75" y="16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2" y="19"/>
                    </a:lnTo>
                    <a:lnTo>
                      <a:pt x="84" y="19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88" y="21"/>
                    </a:lnTo>
                    <a:lnTo>
                      <a:pt x="90" y="23"/>
                    </a:lnTo>
                    <a:lnTo>
                      <a:pt x="90" y="21"/>
                    </a:lnTo>
                    <a:lnTo>
                      <a:pt x="92" y="21"/>
                    </a:lnTo>
                    <a:lnTo>
                      <a:pt x="92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6" y="19"/>
                    </a:lnTo>
                    <a:lnTo>
                      <a:pt x="98" y="18"/>
                    </a:lnTo>
                    <a:lnTo>
                      <a:pt x="98" y="19"/>
                    </a:lnTo>
                    <a:lnTo>
                      <a:pt x="99" y="19"/>
                    </a:lnTo>
                    <a:lnTo>
                      <a:pt x="99" y="21"/>
                    </a:lnTo>
                    <a:lnTo>
                      <a:pt x="101" y="19"/>
                    </a:lnTo>
                    <a:lnTo>
                      <a:pt x="105" y="21"/>
                    </a:lnTo>
                    <a:lnTo>
                      <a:pt x="103" y="21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1"/>
                    </a:lnTo>
                    <a:lnTo>
                      <a:pt x="109" y="19"/>
                    </a:lnTo>
                    <a:lnTo>
                      <a:pt x="111" y="18"/>
                    </a:lnTo>
                    <a:lnTo>
                      <a:pt x="113" y="18"/>
                    </a:lnTo>
                    <a:lnTo>
                      <a:pt x="113" y="19"/>
                    </a:lnTo>
                    <a:lnTo>
                      <a:pt x="113" y="21"/>
                    </a:lnTo>
                    <a:lnTo>
                      <a:pt x="115" y="23"/>
                    </a:lnTo>
                    <a:lnTo>
                      <a:pt x="115" y="25"/>
                    </a:lnTo>
                    <a:lnTo>
                      <a:pt x="117" y="25"/>
                    </a:lnTo>
                    <a:lnTo>
                      <a:pt x="119" y="23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2" y="23"/>
                    </a:lnTo>
                    <a:lnTo>
                      <a:pt x="124" y="23"/>
                    </a:lnTo>
                    <a:lnTo>
                      <a:pt x="126" y="23"/>
                    </a:lnTo>
                    <a:lnTo>
                      <a:pt x="126" y="21"/>
                    </a:lnTo>
                    <a:lnTo>
                      <a:pt x="128" y="23"/>
                    </a:lnTo>
                    <a:lnTo>
                      <a:pt x="128" y="21"/>
                    </a:lnTo>
                    <a:lnTo>
                      <a:pt x="128" y="23"/>
                    </a:lnTo>
                    <a:lnTo>
                      <a:pt x="128" y="21"/>
                    </a:lnTo>
                    <a:lnTo>
                      <a:pt x="132" y="25"/>
                    </a:lnTo>
                    <a:lnTo>
                      <a:pt x="130" y="25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4" y="29"/>
                    </a:lnTo>
                    <a:lnTo>
                      <a:pt x="134" y="27"/>
                    </a:lnTo>
                    <a:lnTo>
                      <a:pt x="134" y="29"/>
                    </a:lnTo>
                    <a:lnTo>
                      <a:pt x="136" y="27"/>
                    </a:lnTo>
                    <a:lnTo>
                      <a:pt x="136" y="25"/>
                    </a:lnTo>
                    <a:lnTo>
                      <a:pt x="136" y="23"/>
                    </a:lnTo>
                    <a:lnTo>
                      <a:pt x="134" y="21"/>
                    </a:lnTo>
                    <a:lnTo>
                      <a:pt x="136" y="21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8"/>
                    </a:lnTo>
                    <a:lnTo>
                      <a:pt x="136" y="18"/>
                    </a:lnTo>
                    <a:lnTo>
                      <a:pt x="136" y="16"/>
                    </a:lnTo>
                    <a:lnTo>
                      <a:pt x="136" y="14"/>
                    </a:lnTo>
                    <a:lnTo>
                      <a:pt x="138" y="12"/>
                    </a:lnTo>
                    <a:lnTo>
                      <a:pt x="140" y="12"/>
                    </a:lnTo>
                    <a:lnTo>
                      <a:pt x="138" y="10"/>
                    </a:lnTo>
                    <a:lnTo>
                      <a:pt x="140" y="10"/>
                    </a:lnTo>
                    <a:lnTo>
                      <a:pt x="140" y="8"/>
                    </a:lnTo>
                    <a:lnTo>
                      <a:pt x="141" y="8"/>
                    </a:lnTo>
                    <a:lnTo>
                      <a:pt x="140" y="8"/>
                    </a:lnTo>
                    <a:lnTo>
                      <a:pt x="141" y="8"/>
                    </a:lnTo>
                    <a:lnTo>
                      <a:pt x="140" y="8"/>
                    </a:lnTo>
                    <a:lnTo>
                      <a:pt x="141" y="8"/>
                    </a:lnTo>
                    <a:lnTo>
                      <a:pt x="143" y="6"/>
                    </a:lnTo>
                    <a:lnTo>
                      <a:pt x="143" y="8"/>
                    </a:lnTo>
                    <a:lnTo>
                      <a:pt x="145" y="8"/>
                    </a:lnTo>
                    <a:lnTo>
                      <a:pt x="147" y="8"/>
                    </a:lnTo>
                    <a:lnTo>
                      <a:pt x="147" y="6"/>
                    </a:lnTo>
                    <a:lnTo>
                      <a:pt x="149" y="6"/>
                    </a:lnTo>
                    <a:lnTo>
                      <a:pt x="153" y="6"/>
                    </a:lnTo>
                    <a:lnTo>
                      <a:pt x="155" y="6"/>
                    </a:lnTo>
                    <a:lnTo>
                      <a:pt x="157" y="8"/>
                    </a:lnTo>
                    <a:lnTo>
                      <a:pt x="159" y="8"/>
                    </a:lnTo>
                    <a:lnTo>
                      <a:pt x="160" y="8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2" y="2"/>
                    </a:lnTo>
                    <a:lnTo>
                      <a:pt x="164" y="2"/>
                    </a:lnTo>
                    <a:lnTo>
                      <a:pt x="162" y="2"/>
                    </a:lnTo>
                    <a:lnTo>
                      <a:pt x="162" y="0"/>
                    </a:lnTo>
                    <a:lnTo>
                      <a:pt x="164" y="0"/>
                    </a:lnTo>
                    <a:lnTo>
                      <a:pt x="166" y="0"/>
                    </a:lnTo>
                    <a:lnTo>
                      <a:pt x="168" y="2"/>
                    </a:lnTo>
                    <a:lnTo>
                      <a:pt x="170" y="2"/>
                    </a:lnTo>
                    <a:lnTo>
                      <a:pt x="172" y="2"/>
                    </a:lnTo>
                    <a:lnTo>
                      <a:pt x="174" y="2"/>
                    </a:lnTo>
                    <a:lnTo>
                      <a:pt x="174" y="0"/>
                    </a:lnTo>
                    <a:lnTo>
                      <a:pt x="174" y="2"/>
                    </a:lnTo>
                    <a:lnTo>
                      <a:pt x="176" y="0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1" y="0"/>
                    </a:lnTo>
                    <a:lnTo>
                      <a:pt x="181" y="2"/>
                    </a:lnTo>
                    <a:lnTo>
                      <a:pt x="181" y="0"/>
                    </a:lnTo>
                    <a:lnTo>
                      <a:pt x="183" y="2"/>
                    </a:lnTo>
                    <a:lnTo>
                      <a:pt x="183" y="0"/>
                    </a:lnTo>
                    <a:lnTo>
                      <a:pt x="185" y="0"/>
                    </a:lnTo>
                    <a:lnTo>
                      <a:pt x="187" y="0"/>
                    </a:lnTo>
                    <a:lnTo>
                      <a:pt x="187" y="2"/>
                    </a:lnTo>
                    <a:lnTo>
                      <a:pt x="189" y="2"/>
                    </a:lnTo>
                    <a:lnTo>
                      <a:pt x="189" y="4"/>
                    </a:lnTo>
                    <a:lnTo>
                      <a:pt x="191" y="4"/>
                    </a:lnTo>
                    <a:lnTo>
                      <a:pt x="191" y="6"/>
                    </a:lnTo>
                    <a:lnTo>
                      <a:pt x="191" y="8"/>
                    </a:lnTo>
                    <a:lnTo>
                      <a:pt x="191" y="10"/>
                    </a:lnTo>
                    <a:lnTo>
                      <a:pt x="193" y="10"/>
                    </a:lnTo>
                    <a:lnTo>
                      <a:pt x="193" y="12"/>
                    </a:lnTo>
                    <a:lnTo>
                      <a:pt x="195" y="12"/>
                    </a:lnTo>
                    <a:lnTo>
                      <a:pt x="195" y="14"/>
                    </a:lnTo>
                    <a:lnTo>
                      <a:pt x="195" y="16"/>
                    </a:lnTo>
                    <a:lnTo>
                      <a:pt x="197" y="16"/>
                    </a:lnTo>
                    <a:lnTo>
                      <a:pt x="195" y="18"/>
                    </a:lnTo>
                    <a:lnTo>
                      <a:pt x="193" y="18"/>
                    </a:lnTo>
                    <a:lnTo>
                      <a:pt x="191" y="18"/>
                    </a:lnTo>
                    <a:lnTo>
                      <a:pt x="191" y="19"/>
                    </a:lnTo>
                    <a:lnTo>
                      <a:pt x="193" y="19"/>
                    </a:lnTo>
                    <a:lnTo>
                      <a:pt x="193" y="21"/>
                    </a:lnTo>
                    <a:lnTo>
                      <a:pt x="195" y="21"/>
                    </a:lnTo>
                    <a:lnTo>
                      <a:pt x="195" y="23"/>
                    </a:lnTo>
                    <a:lnTo>
                      <a:pt x="193" y="23"/>
                    </a:lnTo>
                    <a:lnTo>
                      <a:pt x="193" y="25"/>
                    </a:lnTo>
                    <a:lnTo>
                      <a:pt x="195" y="25"/>
                    </a:lnTo>
                    <a:lnTo>
                      <a:pt x="195" y="27"/>
                    </a:lnTo>
                    <a:lnTo>
                      <a:pt x="193" y="27"/>
                    </a:lnTo>
                    <a:lnTo>
                      <a:pt x="193" y="29"/>
                    </a:lnTo>
                    <a:lnTo>
                      <a:pt x="195" y="29"/>
                    </a:lnTo>
                    <a:lnTo>
                      <a:pt x="195" y="27"/>
                    </a:lnTo>
                    <a:lnTo>
                      <a:pt x="197" y="29"/>
                    </a:lnTo>
                    <a:lnTo>
                      <a:pt x="199" y="29"/>
                    </a:lnTo>
                    <a:lnTo>
                      <a:pt x="201" y="29"/>
                    </a:lnTo>
                    <a:lnTo>
                      <a:pt x="201" y="31"/>
                    </a:lnTo>
                    <a:lnTo>
                      <a:pt x="202" y="31"/>
                    </a:lnTo>
                    <a:lnTo>
                      <a:pt x="202" y="29"/>
                    </a:lnTo>
                    <a:lnTo>
                      <a:pt x="204" y="31"/>
                    </a:lnTo>
                    <a:lnTo>
                      <a:pt x="204" y="29"/>
                    </a:lnTo>
                    <a:lnTo>
                      <a:pt x="206" y="29"/>
                    </a:lnTo>
                    <a:lnTo>
                      <a:pt x="208" y="29"/>
                    </a:lnTo>
                    <a:lnTo>
                      <a:pt x="206" y="31"/>
                    </a:lnTo>
                    <a:lnTo>
                      <a:pt x="208" y="31"/>
                    </a:lnTo>
                    <a:lnTo>
                      <a:pt x="208" y="33"/>
                    </a:lnTo>
                    <a:lnTo>
                      <a:pt x="208" y="35"/>
                    </a:lnTo>
                    <a:lnTo>
                      <a:pt x="210" y="33"/>
                    </a:lnTo>
                    <a:lnTo>
                      <a:pt x="212" y="33"/>
                    </a:lnTo>
                    <a:lnTo>
                      <a:pt x="212" y="35"/>
                    </a:lnTo>
                    <a:lnTo>
                      <a:pt x="210" y="35"/>
                    </a:lnTo>
                    <a:lnTo>
                      <a:pt x="210" y="37"/>
                    </a:lnTo>
                    <a:lnTo>
                      <a:pt x="212" y="37"/>
                    </a:lnTo>
                    <a:lnTo>
                      <a:pt x="212" y="39"/>
                    </a:lnTo>
                    <a:lnTo>
                      <a:pt x="212" y="40"/>
                    </a:lnTo>
                    <a:lnTo>
                      <a:pt x="212" y="42"/>
                    </a:lnTo>
                    <a:lnTo>
                      <a:pt x="214" y="42"/>
                    </a:lnTo>
                    <a:lnTo>
                      <a:pt x="212" y="44"/>
                    </a:lnTo>
                    <a:lnTo>
                      <a:pt x="212" y="46"/>
                    </a:lnTo>
                    <a:lnTo>
                      <a:pt x="212" y="48"/>
                    </a:lnTo>
                    <a:lnTo>
                      <a:pt x="214" y="48"/>
                    </a:lnTo>
                    <a:lnTo>
                      <a:pt x="214" y="50"/>
                    </a:lnTo>
                    <a:lnTo>
                      <a:pt x="216" y="52"/>
                    </a:lnTo>
                    <a:lnTo>
                      <a:pt x="218" y="52"/>
                    </a:lnTo>
                    <a:lnTo>
                      <a:pt x="218" y="50"/>
                    </a:lnTo>
                    <a:lnTo>
                      <a:pt x="220" y="50"/>
                    </a:lnTo>
                    <a:lnTo>
                      <a:pt x="222" y="48"/>
                    </a:lnTo>
                    <a:lnTo>
                      <a:pt x="223" y="50"/>
                    </a:lnTo>
                    <a:lnTo>
                      <a:pt x="225" y="52"/>
                    </a:lnTo>
                    <a:lnTo>
                      <a:pt x="227" y="52"/>
                    </a:lnTo>
                    <a:lnTo>
                      <a:pt x="229" y="52"/>
                    </a:lnTo>
                    <a:lnTo>
                      <a:pt x="229" y="54"/>
                    </a:lnTo>
                    <a:lnTo>
                      <a:pt x="231" y="54"/>
                    </a:lnTo>
                    <a:lnTo>
                      <a:pt x="229" y="54"/>
                    </a:lnTo>
                    <a:lnTo>
                      <a:pt x="231" y="54"/>
                    </a:lnTo>
                    <a:lnTo>
                      <a:pt x="233" y="54"/>
                    </a:lnTo>
                    <a:lnTo>
                      <a:pt x="235" y="52"/>
                    </a:lnTo>
                    <a:lnTo>
                      <a:pt x="239" y="52"/>
                    </a:lnTo>
                    <a:lnTo>
                      <a:pt x="242" y="50"/>
                    </a:lnTo>
                    <a:lnTo>
                      <a:pt x="244" y="50"/>
                    </a:lnTo>
                    <a:lnTo>
                      <a:pt x="244" y="48"/>
                    </a:lnTo>
                    <a:lnTo>
                      <a:pt x="244" y="50"/>
                    </a:lnTo>
                    <a:lnTo>
                      <a:pt x="246" y="52"/>
                    </a:lnTo>
                    <a:lnTo>
                      <a:pt x="246" y="54"/>
                    </a:lnTo>
                    <a:lnTo>
                      <a:pt x="246" y="56"/>
                    </a:lnTo>
                    <a:lnTo>
                      <a:pt x="248" y="58"/>
                    </a:lnTo>
                    <a:lnTo>
                      <a:pt x="250" y="58"/>
                    </a:lnTo>
                    <a:lnTo>
                      <a:pt x="252" y="60"/>
                    </a:lnTo>
                    <a:lnTo>
                      <a:pt x="252" y="61"/>
                    </a:lnTo>
                    <a:lnTo>
                      <a:pt x="254" y="61"/>
                    </a:lnTo>
                    <a:lnTo>
                      <a:pt x="254" y="63"/>
                    </a:lnTo>
                    <a:lnTo>
                      <a:pt x="254" y="61"/>
                    </a:lnTo>
                    <a:lnTo>
                      <a:pt x="256" y="61"/>
                    </a:lnTo>
                    <a:lnTo>
                      <a:pt x="256" y="60"/>
                    </a:lnTo>
                    <a:lnTo>
                      <a:pt x="256" y="58"/>
                    </a:lnTo>
                    <a:lnTo>
                      <a:pt x="258" y="58"/>
                    </a:lnTo>
                    <a:lnTo>
                      <a:pt x="258" y="60"/>
                    </a:lnTo>
                    <a:lnTo>
                      <a:pt x="260" y="60"/>
                    </a:lnTo>
                    <a:lnTo>
                      <a:pt x="260" y="61"/>
                    </a:lnTo>
                    <a:lnTo>
                      <a:pt x="262" y="61"/>
                    </a:lnTo>
                    <a:lnTo>
                      <a:pt x="263" y="61"/>
                    </a:lnTo>
                    <a:lnTo>
                      <a:pt x="263" y="60"/>
                    </a:lnTo>
                    <a:lnTo>
                      <a:pt x="263" y="61"/>
                    </a:lnTo>
                    <a:lnTo>
                      <a:pt x="265" y="63"/>
                    </a:lnTo>
                    <a:lnTo>
                      <a:pt x="267" y="63"/>
                    </a:lnTo>
                    <a:lnTo>
                      <a:pt x="267" y="65"/>
                    </a:lnTo>
                    <a:lnTo>
                      <a:pt x="269" y="65"/>
                    </a:lnTo>
                    <a:lnTo>
                      <a:pt x="271" y="63"/>
                    </a:lnTo>
                    <a:lnTo>
                      <a:pt x="273" y="65"/>
                    </a:lnTo>
                    <a:lnTo>
                      <a:pt x="275" y="67"/>
                    </a:lnTo>
                    <a:lnTo>
                      <a:pt x="275" y="65"/>
                    </a:lnTo>
                    <a:lnTo>
                      <a:pt x="279" y="67"/>
                    </a:lnTo>
                    <a:lnTo>
                      <a:pt x="279" y="69"/>
                    </a:lnTo>
                    <a:lnTo>
                      <a:pt x="281" y="69"/>
                    </a:lnTo>
                    <a:lnTo>
                      <a:pt x="281" y="71"/>
                    </a:lnTo>
                    <a:lnTo>
                      <a:pt x="283" y="71"/>
                    </a:lnTo>
                    <a:lnTo>
                      <a:pt x="284" y="71"/>
                    </a:lnTo>
                    <a:lnTo>
                      <a:pt x="284" y="69"/>
                    </a:lnTo>
                    <a:lnTo>
                      <a:pt x="286" y="69"/>
                    </a:lnTo>
                    <a:lnTo>
                      <a:pt x="288" y="71"/>
                    </a:lnTo>
                    <a:lnTo>
                      <a:pt x="284" y="71"/>
                    </a:lnTo>
                    <a:lnTo>
                      <a:pt x="284" y="73"/>
                    </a:lnTo>
                    <a:lnTo>
                      <a:pt x="286" y="75"/>
                    </a:lnTo>
                    <a:lnTo>
                      <a:pt x="288" y="77"/>
                    </a:lnTo>
                    <a:lnTo>
                      <a:pt x="288" y="79"/>
                    </a:lnTo>
                    <a:lnTo>
                      <a:pt x="286" y="79"/>
                    </a:lnTo>
                    <a:lnTo>
                      <a:pt x="286" y="80"/>
                    </a:lnTo>
                    <a:lnTo>
                      <a:pt x="284" y="80"/>
                    </a:lnTo>
                    <a:lnTo>
                      <a:pt x="284" y="82"/>
                    </a:lnTo>
                    <a:lnTo>
                      <a:pt x="281" y="82"/>
                    </a:lnTo>
                    <a:lnTo>
                      <a:pt x="281" y="84"/>
                    </a:lnTo>
                    <a:lnTo>
                      <a:pt x="281" y="82"/>
                    </a:lnTo>
                    <a:lnTo>
                      <a:pt x="279" y="84"/>
                    </a:lnTo>
                    <a:lnTo>
                      <a:pt x="281" y="84"/>
                    </a:lnTo>
                    <a:lnTo>
                      <a:pt x="281" y="86"/>
                    </a:lnTo>
                    <a:lnTo>
                      <a:pt x="283" y="86"/>
                    </a:lnTo>
                    <a:lnTo>
                      <a:pt x="283" y="88"/>
                    </a:lnTo>
                    <a:lnTo>
                      <a:pt x="283" y="86"/>
                    </a:lnTo>
                    <a:lnTo>
                      <a:pt x="284" y="88"/>
                    </a:lnTo>
                    <a:lnTo>
                      <a:pt x="284" y="86"/>
                    </a:lnTo>
                    <a:lnTo>
                      <a:pt x="286" y="86"/>
                    </a:lnTo>
                    <a:lnTo>
                      <a:pt x="286" y="88"/>
                    </a:lnTo>
                    <a:lnTo>
                      <a:pt x="284" y="90"/>
                    </a:lnTo>
                    <a:lnTo>
                      <a:pt x="281" y="88"/>
                    </a:lnTo>
                    <a:lnTo>
                      <a:pt x="281" y="90"/>
                    </a:lnTo>
                    <a:lnTo>
                      <a:pt x="281" y="92"/>
                    </a:lnTo>
                    <a:lnTo>
                      <a:pt x="279" y="94"/>
                    </a:lnTo>
                    <a:lnTo>
                      <a:pt x="281" y="94"/>
                    </a:lnTo>
                    <a:lnTo>
                      <a:pt x="283" y="96"/>
                    </a:lnTo>
                    <a:lnTo>
                      <a:pt x="283" y="98"/>
                    </a:lnTo>
                    <a:lnTo>
                      <a:pt x="283" y="100"/>
                    </a:lnTo>
                    <a:lnTo>
                      <a:pt x="284" y="100"/>
                    </a:lnTo>
                    <a:lnTo>
                      <a:pt x="283" y="100"/>
                    </a:lnTo>
                    <a:lnTo>
                      <a:pt x="283" y="101"/>
                    </a:lnTo>
                    <a:lnTo>
                      <a:pt x="284" y="101"/>
                    </a:lnTo>
                    <a:lnTo>
                      <a:pt x="284" y="103"/>
                    </a:lnTo>
                    <a:lnTo>
                      <a:pt x="283" y="103"/>
                    </a:lnTo>
                    <a:lnTo>
                      <a:pt x="283" y="105"/>
                    </a:lnTo>
                    <a:lnTo>
                      <a:pt x="283" y="107"/>
                    </a:lnTo>
                    <a:lnTo>
                      <a:pt x="281" y="107"/>
                    </a:lnTo>
                    <a:lnTo>
                      <a:pt x="283" y="109"/>
                    </a:lnTo>
                    <a:lnTo>
                      <a:pt x="281" y="111"/>
                    </a:lnTo>
                    <a:lnTo>
                      <a:pt x="281" y="113"/>
                    </a:lnTo>
                    <a:lnTo>
                      <a:pt x="279" y="113"/>
                    </a:lnTo>
                    <a:lnTo>
                      <a:pt x="277" y="113"/>
                    </a:lnTo>
                    <a:lnTo>
                      <a:pt x="277" y="111"/>
                    </a:lnTo>
                    <a:lnTo>
                      <a:pt x="275" y="111"/>
                    </a:lnTo>
                    <a:lnTo>
                      <a:pt x="275" y="113"/>
                    </a:lnTo>
                    <a:lnTo>
                      <a:pt x="275" y="111"/>
                    </a:lnTo>
                    <a:lnTo>
                      <a:pt x="273" y="111"/>
                    </a:lnTo>
                    <a:lnTo>
                      <a:pt x="271" y="113"/>
                    </a:lnTo>
                    <a:lnTo>
                      <a:pt x="269" y="113"/>
                    </a:lnTo>
                    <a:lnTo>
                      <a:pt x="269" y="111"/>
                    </a:lnTo>
                    <a:lnTo>
                      <a:pt x="267" y="111"/>
                    </a:lnTo>
                    <a:lnTo>
                      <a:pt x="265" y="111"/>
                    </a:lnTo>
                    <a:lnTo>
                      <a:pt x="265" y="113"/>
                    </a:lnTo>
                    <a:lnTo>
                      <a:pt x="265" y="117"/>
                    </a:lnTo>
                    <a:lnTo>
                      <a:pt x="265" y="115"/>
                    </a:lnTo>
                    <a:lnTo>
                      <a:pt x="263" y="115"/>
                    </a:lnTo>
                    <a:lnTo>
                      <a:pt x="263" y="117"/>
                    </a:lnTo>
                    <a:lnTo>
                      <a:pt x="260" y="117"/>
                    </a:lnTo>
                    <a:lnTo>
                      <a:pt x="258" y="117"/>
                    </a:lnTo>
                    <a:lnTo>
                      <a:pt x="258" y="119"/>
                    </a:lnTo>
                    <a:lnTo>
                      <a:pt x="258" y="122"/>
                    </a:lnTo>
                    <a:lnTo>
                      <a:pt x="256" y="124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6" y="126"/>
                    </a:lnTo>
                    <a:lnTo>
                      <a:pt x="256" y="130"/>
                    </a:lnTo>
                    <a:close/>
                    <a:moveTo>
                      <a:pt x="119" y="168"/>
                    </a:moveTo>
                    <a:lnTo>
                      <a:pt x="122" y="168"/>
                    </a:lnTo>
                    <a:lnTo>
                      <a:pt x="122" y="170"/>
                    </a:lnTo>
                    <a:lnTo>
                      <a:pt x="119" y="170"/>
                    </a:lnTo>
                    <a:lnTo>
                      <a:pt x="119" y="168"/>
                    </a:lnTo>
                    <a:close/>
                    <a:moveTo>
                      <a:pt x="164" y="142"/>
                    </a:moveTo>
                    <a:lnTo>
                      <a:pt x="166" y="142"/>
                    </a:lnTo>
                    <a:lnTo>
                      <a:pt x="166" y="143"/>
                    </a:lnTo>
                    <a:lnTo>
                      <a:pt x="164" y="143"/>
                    </a:lnTo>
                    <a:lnTo>
                      <a:pt x="162" y="143"/>
                    </a:lnTo>
                    <a:lnTo>
                      <a:pt x="164" y="143"/>
                    </a:lnTo>
                    <a:lnTo>
                      <a:pt x="162" y="143"/>
                    </a:lnTo>
                    <a:lnTo>
                      <a:pt x="164" y="142"/>
                    </a:lnTo>
                    <a:close/>
                    <a:moveTo>
                      <a:pt x="120" y="170"/>
                    </a:moveTo>
                    <a:lnTo>
                      <a:pt x="122" y="170"/>
                    </a:lnTo>
                    <a:lnTo>
                      <a:pt x="122" y="172"/>
                    </a:lnTo>
                    <a:lnTo>
                      <a:pt x="120" y="172"/>
                    </a:lnTo>
                    <a:lnTo>
                      <a:pt x="120" y="170"/>
                    </a:lnTo>
                    <a:close/>
                    <a:moveTo>
                      <a:pt x="120" y="170"/>
                    </a:moveTo>
                    <a:lnTo>
                      <a:pt x="122" y="170"/>
                    </a:lnTo>
                    <a:lnTo>
                      <a:pt x="120" y="170"/>
                    </a:lnTo>
                    <a:close/>
                    <a:moveTo>
                      <a:pt x="151" y="149"/>
                    </a:moveTo>
                    <a:lnTo>
                      <a:pt x="153" y="149"/>
                    </a:lnTo>
                    <a:lnTo>
                      <a:pt x="151" y="149"/>
                    </a:lnTo>
                    <a:lnTo>
                      <a:pt x="153" y="149"/>
                    </a:lnTo>
                    <a:lnTo>
                      <a:pt x="159" y="151"/>
                    </a:lnTo>
                    <a:lnTo>
                      <a:pt x="155" y="151"/>
                    </a:lnTo>
                    <a:lnTo>
                      <a:pt x="153" y="149"/>
                    </a:lnTo>
                    <a:lnTo>
                      <a:pt x="151" y="149"/>
                    </a:lnTo>
                    <a:lnTo>
                      <a:pt x="149" y="147"/>
                    </a:lnTo>
                    <a:lnTo>
                      <a:pt x="151" y="149"/>
                    </a:lnTo>
                    <a:close/>
                    <a:moveTo>
                      <a:pt x="164" y="142"/>
                    </a:moveTo>
                    <a:lnTo>
                      <a:pt x="166" y="142"/>
                    </a:lnTo>
                    <a:lnTo>
                      <a:pt x="164" y="142"/>
                    </a:lnTo>
                    <a:close/>
                    <a:moveTo>
                      <a:pt x="164" y="142"/>
                    </a:moveTo>
                    <a:lnTo>
                      <a:pt x="166" y="142"/>
                    </a:lnTo>
                    <a:lnTo>
                      <a:pt x="164" y="142"/>
                    </a:lnTo>
                    <a:close/>
                    <a:moveTo>
                      <a:pt x="120" y="172"/>
                    </a:moveTo>
                    <a:lnTo>
                      <a:pt x="120" y="174"/>
                    </a:lnTo>
                    <a:lnTo>
                      <a:pt x="120" y="172"/>
                    </a:lnTo>
                    <a:close/>
                    <a:moveTo>
                      <a:pt x="201" y="155"/>
                    </a:moveTo>
                    <a:lnTo>
                      <a:pt x="201" y="157"/>
                    </a:lnTo>
                    <a:lnTo>
                      <a:pt x="201" y="155"/>
                    </a:lnTo>
                    <a:close/>
                    <a:moveTo>
                      <a:pt x="162" y="143"/>
                    </a:moveTo>
                    <a:lnTo>
                      <a:pt x="164" y="143"/>
                    </a:lnTo>
                    <a:lnTo>
                      <a:pt x="162" y="143"/>
                    </a:lnTo>
                    <a:close/>
                    <a:moveTo>
                      <a:pt x="223" y="142"/>
                    </a:moveTo>
                    <a:lnTo>
                      <a:pt x="225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3" y="142"/>
                    </a:lnTo>
                    <a:close/>
                    <a:moveTo>
                      <a:pt x="120" y="166"/>
                    </a:moveTo>
                    <a:lnTo>
                      <a:pt x="122" y="166"/>
                    </a:lnTo>
                    <a:lnTo>
                      <a:pt x="122" y="168"/>
                    </a:lnTo>
                    <a:lnTo>
                      <a:pt x="120" y="168"/>
                    </a:lnTo>
                    <a:lnTo>
                      <a:pt x="120" y="166"/>
                    </a:lnTo>
                    <a:close/>
                    <a:moveTo>
                      <a:pt x="166" y="142"/>
                    </a:moveTo>
                    <a:lnTo>
                      <a:pt x="168" y="142"/>
                    </a:lnTo>
                    <a:lnTo>
                      <a:pt x="166" y="142"/>
                    </a:lnTo>
                    <a:close/>
                    <a:moveTo>
                      <a:pt x="120" y="168"/>
                    </a:moveTo>
                    <a:lnTo>
                      <a:pt x="122" y="168"/>
                    </a:lnTo>
                    <a:lnTo>
                      <a:pt x="120" y="168"/>
                    </a:lnTo>
                    <a:close/>
                    <a:moveTo>
                      <a:pt x="162" y="142"/>
                    </a:moveTo>
                    <a:lnTo>
                      <a:pt x="164" y="142"/>
                    </a:lnTo>
                    <a:lnTo>
                      <a:pt x="164" y="143"/>
                    </a:lnTo>
                    <a:lnTo>
                      <a:pt x="162" y="143"/>
                    </a:lnTo>
                    <a:lnTo>
                      <a:pt x="162" y="142"/>
                    </a:lnTo>
                    <a:close/>
                    <a:moveTo>
                      <a:pt x="120" y="172"/>
                    </a:moveTo>
                    <a:lnTo>
                      <a:pt x="122" y="172"/>
                    </a:lnTo>
                    <a:lnTo>
                      <a:pt x="120" y="172"/>
                    </a:lnTo>
                    <a:close/>
                    <a:moveTo>
                      <a:pt x="201" y="157"/>
                    </a:moveTo>
                    <a:lnTo>
                      <a:pt x="202" y="157"/>
                    </a:lnTo>
                    <a:lnTo>
                      <a:pt x="201" y="157"/>
                    </a:lnTo>
                    <a:close/>
                    <a:moveTo>
                      <a:pt x="120" y="166"/>
                    </a:moveTo>
                    <a:lnTo>
                      <a:pt x="122" y="166"/>
                    </a:lnTo>
                    <a:lnTo>
                      <a:pt x="120" y="16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5" name="Freeform 138">
                <a:extLst>
                  <a:ext uri="{FF2B5EF4-FFF2-40B4-BE49-F238E27FC236}">
                    <a16:creationId xmlns:a16="http://schemas.microsoft.com/office/drawing/2014/main" id="{B5E4708A-F4CE-F73C-CD28-2C14E09B6FF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17516" y="-3635101"/>
                <a:ext cx="148105" cy="110499"/>
              </a:xfrm>
              <a:custGeom>
                <a:avLst/>
                <a:gdLst>
                  <a:gd name="T0" fmla="*/ 90 w 94"/>
                  <a:gd name="T1" fmla="*/ 28 h 70"/>
                  <a:gd name="T2" fmla="*/ 92 w 94"/>
                  <a:gd name="T3" fmla="*/ 32 h 70"/>
                  <a:gd name="T4" fmla="*/ 90 w 94"/>
                  <a:gd name="T5" fmla="*/ 38 h 70"/>
                  <a:gd name="T6" fmla="*/ 84 w 94"/>
                  <a:gd name="T7" fmla="*/ 38 h 70"/>
                  <a:gd name="T8" fmla="*/ 82 w 94"/>
                  <a:gd name="T9" fmla="*/ 42 h 70"/>
                  <a:gd name="T10" fmla="*/ 77 w 94"/>
                  <a:gd name="T11" fmla="*/ 46 h 70"/>
                  <a:gd name="T12" fmla="*/ 75 w 94"/>
                  <a:gd name="T13" fmla="*/ 57 h 70"/>
                  <a:gd name="T14" fmla="*/ 75 w 94"/>
                  <a:gd name="T15" fmla="*/ 59 h 70"/>
                  <a:gd name="T16" fmla="*/ 77 w 94"/>
                  <a:gd name="T17" fmla="*/ 63 h 70"/>
                  <a:gd name="T18" fmla="*/ 77 w 94"/>
                  <a:gd name="T19" fmla="*/ 65 h 70"/>
                  <a:gd name="T20" fmla="*/ 75 w 94"/>
                  <a:gd name="T21" fmla="*/ 63 h 70"/>
                  <a:gd name="T22" fmla="*/ 69 w 94"/>
                  <a:gd name="T23" fmla="*/ 61 h 70"/>
                  <a:gd name="T24" fmla="*/ 61 w 94"/>
                  <a:gd name="T25" fmla="*/ 65 h 70"/>
                  <a:gd name="T26" fmla="*/ 63 w 94"/>
                  <a:gd name="T27" fmla="*/ 68 h 70"/>
                  <a:gd name="T28" fmla="*/ 56 w 94"/>
                  <a:gd name="T29" fmla="*/ 70 h 70"/>
                  <a:gd name="T30" fmla="*/ 52 w 94"/>
                  <a:gd name="T31" fmla="*/ 70 h 70"/>
                  <a:gd name="T32" fmla="*/ 48 w 94"/>
                  <a:gd name="T33" fmla="*/ 70 h 70"/>
                  <a:gd name="T34" fmla="*/ 40 w 94"/>
                  <a:gd name="T35" fmla="*/ 68 h 70"/>
                  <a:gd name="T36" fmla="*/ 40 w 94"/>
                  <a:gd name="T37" fmla="*/ 63 h 70"/>
                  <a:gd name="T38" fmla="*/ 35 w 94"/>
                  <a:gd name="T39" fmla="*/ 61 h 70"/>
                  <a:gd name="T40" fmla="*/ 31 w 94"/>
                  <a:gd name="T41" fmla="*/ 57 h 70"/>
                  <a:gd name="T42" fmla="*/ 29 w 94"/>
                  <a:gd name="T43" fmla="*/ 51 h 70"/>
                  <a:gd name="T44" fmla="*/ 31 w 94"/>
                  <a:gd name="T45" fmla="*/ 46 h 70"/>
                  <a:gd name="T46" fmla="*/ 27 w 94"/>
                  <a:gd name="T47" fmla="*/ 42 h 70"/>
                  <a:gd name="T48" fmla="*/ 19 w 94"/>
                  <a:gd name="T49" fmla="*/ 40 h 70"/>
                  <a:gd name="T50" fmla="*/ 14 w 94"/>
                  <a:gd name="T51" fmla="*/ 38 h 70"/>
                  <a:gd name="T52" fmla="*/ 6 w 94"/>
                  <a:gd name="T53" fmla="*/ 34 h 70"/>
                  <a:gd name="T54" fmla="*/ 6 w 94"/>
                  <a:gd name="T55" fmla="*/ 30 h 70"/>
                  <a:gd name="T56" fmla="*/ 2 w 94"/>
                  <a:gd name="T57" fmla="*/ 15 h 70"/>
                  <a:gd name="T58" fmla="*/ 6 w 94"/>
                  <a:gd name="T59" fmla="*/ 7 h 70"/>
                  <a:gd name="T60" fmla="*/ 14 w 94"/>
                  <a:gd name="T61" fmla="*/ 4 h 70"/>
                  <a:gd name="T62" fmla="*/ 21 w 94"/>
                  <a:gd name="T63" fmla="*/ 2 h 70"/>
                  <a:gd name="T64" fmla="*/ 29 w 94"/>
                  <a:gd name="T65" fmla="*/ 4 h 70"/>
                  <a:gd name="T66" fmla="*/ 35 w 94"/>
                  <a:gd name="T67" fmla="*/ 4 h 70"/>
                  <a:gd name="T68" fmla="*/ 40 w 94"/>
                  <a:gd name="T69" fmla="*/ 2 h 70"/>
                  <a:gd name="T70" fmla="*/ 46 w 94"/>
                  <a:gd name="T71" fmla="*/ 2 h 70"/>
                  <a:gd name="T72" fmla="*/ 52 w 94"/>
                  <a:gd name="T73" fmla="*/ 6 h 70"/>
                  <a:gd name="T74" fmla="*/ 57 w 94"/>
                  <a:gd name="T75" fmla="*/ 6 h 70"/>
                  <a:gd name="T76" fmla="*/ 61 w 94"/>
                  <a:gd name="T77" fmla="*/ 2 h 70"/>
                  <a:gd name="T78" fmla="*/ 65 w 94"/>
                  <a:gd name="T79" fmla="*/ 2 h 70"/>
                  <a:gd name="T80" fmla="*/ 69 w 94"/>
                  <a:gd name="T81" fmla="*/ 7 h 70"/>
                  <a:gd name="T82" fmla="*/ 75 w 94"/>
                  <a:gd name="T83" fmla="*/ 9 h 70"/>
                  <a:gd name="T84" fmla="*/ 78 w 94"/>
                  <a:gd name="T85" fmla="*/ 13 h 70"/>
                  <a:gd name="T86" fmla="*/ 86 w 94"/>
                  <a:gd name="T87" fmla="*/ 19 h 70"/>
                  <a:gd name="T88" fmla="*/ 92 w 94"/>
                  <a:gd name="T89" fmla="*/ 23 h 70"/>
                  <a:gd name="T90" fmla="*/ 4 w 94"/>
                  <a:gd name="T91" fmla="*/ 23 h 70"/>
                  <a:gd name="T92" fmla="*/ 2 w 94"/>
                  <a:gd name="T93" fmla="*/ 28 h 70"/>
                  <a:gd name="T94" fmla="*/ 0 w 94"/>
                  <a:gd name="T95" fmla="*/ 3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4" h="70">
                    <a:moveTo>
                      <a:pt x="92" y="23"/>
                    </a:moveTo>
                    <a:lnTo>
                      <a:pt x="92" y="25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30"/>
                    </a:lnTo>
                    <a:lnTo>
                      <a:pt x="88" y="32"/>
                    </a:lnTo>
                    <a:lnTo>
                      <a:pt x="90" y="32"/>
                    </a:lnTo>
                    <a:lnTo>
                      <a:pt x="92" y="32"/>
                    </a:lnTo>
                    <a:lnTo>
                      <a:pt x="94" y="32"/>
                    </a:lnTo>
                    <a:lnTo>
                      <a:pt x="92" y="34"/>
                    </a:lnTo>
                    <a:lnTo>
                      <a:pt x="92" y="36"/>
                    </a:lnTo>
                    <a:lnTo>
                      <a:pt x="90" y="38"/>
                    </a:lnTo>
                    <a:lnTo>
                      <a:pt x="90" y="36"/>
                    </a:lnTo>
                    <a:lnTo>
                      <a:pt x="88" y="38"/>
                    </a:lnTo>
                    <a:lnTo>
                      <a:pt x="86" y="36"/>
                    </a:lnTo>
                    <a:lnTo>
                      <a:pt x="84" y="38"/>
                    </a:lnTo>
                    <a:lnTo>
                      <a:pt x="86" y="38"/>
                    </a:lnTo>
                    <a:lnTo>
                      <a:pt x="84" y="40"/>
                    </a:lnTo>
                    <a:lnTo>
                      <a:pt x="84" y="42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78" y="44"/>
                    </a:lnTo>
                    <a:lnTo>
                      <a:pt x="78" y="46"/>
                    </a:lnTo>
                    <a:lnTo>
                      <a:pt x="77" y="46"/>
                    </a:lnTo>
                    <a:lnTo>
                      <a:pt x="77" y="49"/>
                    </a:lnTo>
                    <a:lnTo>
                      <a:pt x="77" y="53"/>
                    </a:lnTo>
                    <a:lnTo>
                      <a:pt x="75" y="55"/>
                    </a:lnTo>
                    <a:lnTo>
                      <a:pt x="75" y="57"/>
                    </a:lnTo>
                    <a:lnTo>
                      <a:pt x="75" y="59"/>
                    </a:lnTo>
                    <a:lnTo>
                      <a:pt x="73" y="59"/>
                    </a:lnTo>
                    <a:lnTo>
                      <a:pt x="75" y="61"/>
                    </a:lnTo>
                    <a:lnTo>
                      <a:pt x="75" y="59"/>
                    </a:lnTo>
                    <a:lnTo>
                      <a:pt x="75" y="61"/>
                    </a:lnTo>
                    <a:lnTo>
                      <a:pt x="77" y="59"/>
                    </a:lnTo>
                    <a:lnTo>
                      <a:pt x="77" y="61"/>
                    </a:lnTo>
                    <a:lnTo>
                      <a:pt x="77" y="63"/>
                    </a:lnTo>
                    <a:lnTo>
                      <a:pt x="78" y="63"/>
                    </a:lnTo>
                    <a:lnTo>
                      <a:pt x="77" y="63"/>
                    </a:lnTo>
                    <a:lnTo>
                      <a:pt x="78" y="65"/>
                    </a:lnTo>
                    <a:lnTo>
                      <a:pt x="77" y="65"/>
                    </a:lnTo>
                    <a:lnTo>
                      <a:pt x="75" y="65"/>
                    </a:lnTo>
                    <a:lnTo>
                      <a:pt x="73" y="65"/>
                    </a:lnTo>
                    <a:lnTo>
                      <a:pt x="73" y="63"/>
                    </a:lnTo>
                    <a:lnTo>
                      <a:pt x="75" y="63"/>
                    </a:lnTo>
                    <a:lnTo>
                      <a:pt x="75" y="61"/>
                    </a:lnTo>
                    <a:lnTo>
                      <a:pt x="73" y="61"/>
                    </a:lnTo>
                    <a:lnTo>
                      <a:pt x="71" y="61"/>
                    </a:lnTo>
                    <a:lnTo>
                      <a:pt x="69" y="61"/>
                    </a:lnTo>
                    <a:lnTo>
                      <a:pt x="69" y="63"/>
                    </a:lnTo>
                    <a:lnTo>
                      <a:pt x="67" y="65"/>
                    </a:lnTo>
                    <a:lnTo>
                      <a:pt x="65" y="65"/>
                    </a:lnTo>
                    <a:lnTo>
                      <a:pt x="61" y="65"/>
                    </a:lnTo>
                    <a:lnTo>
                      <a:pt x="63" y="65"/>
                    </a:lnTo>
                    <a:lnTo>
                      <a:pt x="61" y="65"/>
                    </a:lnTo>
                    <a:lnTo>
                      <a:pt x="63" y="67"/>
                    </a:lnTo>
                    <a:lnTo>
                      <a:pt x="63" y="68"/>
                    </a:lnTo>
                    <a:lnTo>
                      <a:pt x="61" y="68"/>
                    </a:lnTo>
                    <a:lnTo>
                      <a:pt x="59" y="70"/>
                    </a:lnTo>
                    <a:lnTo>
                      <a:pt x="59" y="68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2" y="70"/>
                    </a:lnTo>
                    <a:lnTo>
                      <a:pt x="52" y="68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8"/>
                    </a:lnTo>
                    <a:lnTo>
                      <a:pt x="48" y="70"/>
                    </a:lnTo>
                    <a:lnTo>
                      <a:pt x="46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0" y="68"/>
                    </a:lnTo>
                    <a:lnTo>
                      <a:pt x="42" y="68"/>
                    </a:lnTo>
                    <a:lnTo>
                      <a:pt x="42" y="67"/>
                    </a:lnTo>
                    <a:lnTo>
                      <a:pt x="40" y="65"/>
                    </a:lnTo>
                    <a:lnTo>
                      <a:pt x="40" y="63"/>
                    </a:lnTo>
                    <a:lnTo>
                      <a:pt x="38" y="63"/>
                    </a:lnTo>
                    <a:lnTo>
                      <a:pt x="38" y="61"/>
                    </a:lnTo>
                    <a:lnTo>
                      <a:pt x="36" y="61"/>
                    </a:lnTo>
                    <a:lnTo>
                      <a:pt x="35" y="61"/>
                    </a:lnTo>
                    <a:lnTo>
                      <a:pt x="35" y="59"/>
                    </a:lnTo>
                    <a:lnTo>
                      <a:pt x="33" y="59"/>
                    </a:lnTo>
                    <a:lnTo>
                      <a:pt x="33" y="57"/>
                    </a:lnTo>
                    <a:lnTo>
                      <a:pt x="31" y="57"/>
                    </a:lnTo>
                    <a:lnTo>
                      <a:pt x="31" y="59"/>
                    </a:lnTo>
                    <a:lnTo>
                      <a:pt x="29" y="57"/>
                    </a:lnTo>
                    <a:lnTo>
                      <a:pt x="29" y="53"/>
                    </a:lnTo>
                    <a:lnTo>
                      <a:pt x="29" y="51"/>
                    </a:lnTo>
                    <a:lnTo>
                      <a:pt x="29" y="49"/>
                    </a:lnTo>
                    <a:lnTo>
                      <a:pt x="29" y="47"/>
                    </a:lnTo>
                    <a:lnTo>
                      <a:pt x="31" y="47"/>
                    </a:lnTo>
                    <a:lnTo>
                      <a:pt x="31" y="46"/>
                    </a:lnTo>
                    <a:lnTo>
                      <a:pt x="31" y="44"/>
                    </a:lnTo>
                    <a:lnTo>
                      <a:pt x="29" y="44"/>
                    </a:lnTo>
                    <a:lnTo>
                      <a:pt x="29" y="42"/>
                    </a:lnTo>
                    <a:lnTo>
                      <a:pt x="27" y="42"/>
                    </a:lnTo>
                    <a:lnTo>
                      <a:pt x="27" y="40"/>
                    </a:lnTo>
                    <a:lnTo>
                      <a:pt x="25" y="40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7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8" y="32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2" y="15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7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5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7" y="6"/>
                    </a:lnTo>
                    <a:lnTo>
                      <a:pt x="57" y="4"/>
                    </a:lnTo>
                    <a:lnTo>
                      <a:pt x="59" y="4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5" y="6"/>
                    </a:lnTo>
                    <a:lnTo>
                      <a:pt x="67" y="7"/>
                    </a:lnTo>
                    <a:lnTo>
                      <a:pt x="69" y="7"/>
                    </a:lnTo>
                    <a:lnTo>
                      <a:pt x="71" y="9"/>
                    </a:lnTo>
                    <a:lnTo>
                      <a:pt x="73" y="9"/>
                    </a:lnTo>
                    <a:lnTo>
                      <a:pt x="73" y="7"/>
                    </a:lnTo>
                    <a:lnTo>
                      <a:pt x="75" y="9"/>
                    </a:lnTo>
                    <a:lnTo>
                      <a:pt x="77" y="9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8" y="13"/>
                    </a:lnTo>
                    <a:lnTo>
                      <a:pt x="82" y="15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6" y="19"/>
                    </a:lnTo>
                    <a:lnTo>
                      <a:pt x="86" y="21"/>
                    </a:lnTo>
                    <a:lnTo>
                      <a:pt x="88" y="21"/>
                    </a:lnTo>
                    <a:lnTo>
                      <a:pt x="90" y="23"/>
                    </a:lnTo>
                    <a:lnTo>
                      <a:pt x="92" y="23"/>
                    </a:lnTo>
                    <a:close/>
                    <a:moveTo>
                      <a:pt x="0" y="34"/>
                    </a:moveTo>
                    <a:lnTo>
                      <a:pt x="2" y="30"/>
                    </a:lnTo>
                    <a:lnTo>
                      <a:pt x="2" y="26"/>
                    </a:lnTo>
                    <a:lnTo>
                      <a:pt x="4" y="23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6" name="Freeform 139">
                <a:extLst>
                  <a:ext uri="{FF2B5EF4-FFF2-40B4-BE49-F238E27FC236}">
                    <a16:creationId xmlns:a16="http://schemas.microsoft.com/office/drawing/2014/main" id="{23030881-83D1-4FBA-795C-67C1E979B70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9571" y="-3789799"/>
                <a:ext cx="162285" cy="105763"/>
              </a:xfrm>
              <a:custGeom>
                <a:avLst/>
                <a:gdLst>
                  <a:gd name="T0" fmla="*/ 97 w 103"/>
                  <a:gd name="T1" fmla="*/ 14 h 67"/>
                  <a:gd name="T2" fmla="*/ 85 w 103"/>
                  <a:gd name="T3" fmla="*/ 23 h 67"/>
                  <a:gd name="T4" fmla="*/ 87 w 103"/>
                  <a:gd name="T5" fmla="*/ 37 h 67"/>
                  <a:gd name="T6" fmla="*/ 93 w 103"/>
                  <a:gd name="T7" fmla="*/ 50 h 67"/>
                  <a:gd name="T8" fmla="*/ 93 w 103"/>
                  <a:gd name="T9" fmla="*/ 56 h 67"/>
                  <a:gd name="T10" fmla="*/ 91 w 103"/>
                  <a:gd name="T11" fmla="*/ 62 h 67"/>
                  <a:gd name="T12" fmla="*/ 85 w 103"/>
                  <a:gd name="T13" fmla="*/ 65 h 67"/>
                  <a:gd name="T14" fmla="*/ 78 w 103"/>
                  <a:gd name="T15" fmla="*/ 65 h 67"/>
                  <a:gd name="T16" fmla="*/ 70 w 103"/>
                  <a:gd name="T17" fmla="*/ 63 h 67"/>
                  <a:gd name="T18" fmla="*/ 66 w 103"/>
                  <a:gd name="T19" fmla="*/ 58 h 67"/>
                  <a:gd name="T20" fmla="*/ 59 w 103"/>
                  <a:gd name="T21" fmla="*/ 54 h 67"/>
                  <a:gd name="T22" fmla="*/ 55 w 103"/>
                  <a:gd name="T23" fmla="*/ 50 h 67"/>
                  <a:gd name="T24" fmla="*/ 45 w 103"/>
                  <a:gd name="T25" fmla="*/ 54 h 67"/>
                  <a:gd name="T26" fmla="*/ 42 w 103"/>
                  <a:gd name="T27" fmla="*/ 48 h 67"/>
                  <a:gd name="T28" fmla="*/ 40 w 103"/>
                  <a:gd name="T29" fmla="*/ 41 h 67"/>
                  <a:gd name="T30" fmla="*/ 34 w 103"/>
                  <a:gd name="T31" fmla="*/ 42 h 67"/>
                  <a:gd name="T32" fmla="*/ 28 w 103"/>
                  <a:gd name="T33" fmla="*/ 35 h 67"/>
                  <a:gd name="T34" fmla="*/ 30 w 103"/>
                  <a:gd name="T35" fmla="*/ 29 h 67"/>
                  <a:gd name="T36" fmla="*/ 28 w 103"/>
                  <a:gd name="T37" fmla="*/ 29 h 67"/>
                  <a:gd name="T38" fmla="*/ 30 w 103"/>
                  <a:gd name="T39" fmla="*/ 21 h 67"/>
                  <a:gd name="T40" fmla="*/ 26 w 103"/>
                  <a:gd name="T41" fmla="*/ 21 h 67"/>
                  <a:gd name="T42" fmla="*/ 30 w 103"/>
                  <a:gd name="T43" fmla="*/ 14 h 67"/>
                  <a:gd name="T44" fmla="*/ 36 w 103"/>
                  <a:gd name="T45" fmla="*/ 14 h 67"/>
                  <a:gd name="T46" fmla="*/ 40 w 103"/>
                  <a:gd name="T47" fmla="*/ 10 h 67"/>
                  <a:gd name="T48" fmla="*/ 45 w 103"/>
                  <a:gd name="T49" fmla="*/ 8 h 67"/>
                  <a:gd name="T50" fmla="*/ 47 w 103"/>
                  <a:gd name="T51" fmla="*/ 6 h 67"/>
                  <a:gd name="T52" fmla="*/ 53 w 103"/>
                  <a:gd name="T53" fmla="*/ 8 h 67"/>
                  <a:gd name="T54" fmla="*/ 61 w 103"/>
                  <a:gd name="T55" fmla="*/ 4 h 67"/>
                  <a:gd name="T56" fmla="*/ 63 w 103"/>
                  <a:gd name="T57" fmla="*/ 0 h 67"/>
                  <a:gd name="T58" fmla="*/ 66 w 103"/>
                  <a:gd name="T59" fmla="*/ 4 h 67"/>
                  <a:gd name="T60" fmla="*/ 76 w 103"/>
                  <a:gd name="T61" fmla="*/ 6 h 67"/>
                  <a:gd name="T62" fmla="*/ 95 w 103"/>
                  <a:gd name="T63" fmla="*/ 10 h 67"/>
                  <a:gd name="T64" fmla="*/ 26 w 103"/>
                  <a:gd name="T65" fmla="*/ 35 h 67"/>
                  <a:gd name="T66" fmla="*/ 24 w 103"/>
                  <a:gd name="T67" fmla="*/ 37 h 67"/>
                  <a:gd name="T68" fmla="*/ 24 w 103"/>
                  <a:gd name="T69" fmla="*/ 41 h 67"/>
                  <a:gd name="T70" fmla="*/ 19 w 103"/>
                  <a:gd name="T71" fmla="*/ 42 h 67"/>
                  <a:gd name="T72" fmla="*/ 17 w 103"/>
                  <a:gd name="T73" fmla="*/ 44 h 67"/>
                  <a:gd name="T74" fmla="*/ 11 w 103"/>
                  <a:gd name="T75" fmla="*/ 44 h 67"/>
                  <a:gd name="T76" fmla="*/ 7 w 103"/>
                  <a:gd name="T77" fmla="*/ 48 h 67"/>
                  <a:gd name="T78" fmla="*/ 5 w 103"/>
                  <a:gd name="T79" fmla="*/ 50 h 67"/>
                  <a:gd name="T80" fmla="*/ 2 w 103"/>
                  <a:gd name="T81" fmla="*/ 44 h 67"/>
                  <a:gd name="T82" fmla="*/ 3 w 103"/>
                  <a:gd name="T83" fmla="*/ 42 h 67"/>
                  <a:gd name="T84" fmla="*/ 3 w 103"/>
                  <a:gd name="T85" fmla="*/ 37 h 67"/>
                  <a:gd name="T86" fmla="*/ 7 w 103"/>
                  <a:gd name="T87" fmla="*/ 37 h 67"/>
                  <a:gd name="T88" fmla="*/ 15 w 103"/>
                  <a:gd name="T89" fmla="*/ 35 h 67"/>
                  <a:gd name="T90" fmla="*/ 21 w 103"/>
                  <a:gd name="T91" fmla="*/ 37 h 67"/>
                  <a:gd name="T92" fmla="*/ 22 w 103"/>
                  <a:gd name="T93" fmla="*/ 31 h 67"/>
                  <a:gd name="T94" fmla="*/ 19 w 103"/>
                  <a:gd name="T95" fmla="*/ 23 h 67"/>
                  <a:gd name="T96" fmla="*/ 15 w 103"/>
                  <a:gd name="T97" fmla="*/ 29 h 67"/>
                  <a:gd name="T98" fmla="*/ 13 w 103"/>
                  <a:gd name="T99" fmla="*/ 31 h 67"/>
                  <a:gd name="T100" fmla="*/ 3 w 103"/>
                  <a:gd name="T101" fmla="*/ 23 h 67"/>
                  <a:gd name="T102" fmla="*/ 11 w 103"/>
                  <a:gd name="T103" fmla="*/ 23 h 67"/>
                  <a:gd name="T104" fmla="*/ 26 w 103"/>
                  <a:gd name="T105" fmla="*/ 21 h 67"/>
                  <a:gd name="T106" fmla="*/ 43 w 103"/>
                  <a:gd name="T107" fmla="*/ 6 h 67"/>
                  <a:gd name="T108" fmla="*/ 34 w 103"/>
                  <a:gd name="T109" fmla="*/ 48 h 67"/>
                  <a:gd name="T110" fmla="*/ 22 w 103"/>
                  <a:gd name="T111" fmla="*/ 58 h 67"/>
                  <a:gd name="T112" fmla="*/ 2 w 103"/>
                  <a:gd name="T113" fmla="*/ 41 h 67"/>
                  <a:gd name="T114" fmla="*/ 91 w 103"/>
                  <a:gd name="T115" fmla="*/ 42 h 67"/>
                  <a:gd name="T116" fmla="*/ 24 w 103"/>
                  <a:gd name="T117" fmla="*/ 12 h 67"/>
                  <a:gd name="T118" fmla="*/ 19 w 103"/>
                  <a:gd name="T119" fmla="*/ 33 h 67"/>
                  <a:gd name="T120" fmla="*/ 19 w 103"/>
                  <a:gd name="T121" fmla="*/ 27 h 67"/>
                  <a:gd name="T122" fmla="*/ 53 w 103"/>
                  <a:gd name="T123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" h="67">
                    <a:moveTo>
                      <a:pt x="99" y="8"/>
                    </a:moveTo>
                    <a:lnTo>
                      <a:pt x="103" y="10"/>
                    </a:lnTo>
                    <a:lnTo>
                      <a:pt x="103" y="12"/>
                    </a:lnTo>
                    <a:lnTo>
                      <a:pt x="101" y="14"/>
                    </a:lnTo>
                    <a:lnTo>
                      <a:pt x="99" y="14"/>
                    </a:lnTo>
                    <a:lnTo>
                      <a:pt x="97" y="14"/>
                    </a:lnTo>
                    <a:lnTo>
                      <a:pt x="97" y="16"/>
                    </a:lnTo>
                    <a:lnTo>
                      <a:pt x="95" y="18"/>
                    </a:lnTo>
                    <a:lnTo>
                      <a:pt x="95" y="23"/>
                    </a:lnTo>
                    <a:lnTo>
                      <a:pt x="93" y="21"/>
                    </a:lnTo>
                    <a:lnTo>
                      <a:pt x="89" y="21"/>
                    </a:lnTo>
                    <a:lnTo>
                      <a:pt x="85" y="23"/>
                    </a:lnTo>
                    <a:lnTo>
                      <a:pt x="84" y="23"/>
                    </a:lnTo>
                    <a:lnTo>
                      <a:pt x="82" y="25"/>
                    </a:lnTo>
                    <a:lnTo>
                      <a:pt x="82" y="27"/>
                    </a:lnTo>
                    <a:lnTo>
                      <a:pt x="84" y="29"/>
                    </a:lnTo>
                    <a:lnTo>
                      <a:pt x="85" y="31"/>
                    </a:lnTo>
                    <a:lnTo>
                      <a:pt x="87" y="37"/>
                    </a:lnTo>
                    <a:lnTo>
                      <a:pt x="87" y="41"/>
                    </a:lnTo>
                    <a:lnTo>
                      <a:pt x="89" y="42"/>
                    </a:lnTo>
                    <a:lnTo>
                      <a:pt x="89" y="44"/>
                    </a:lnTo>
                    <a:lnTo>
                      <a:pt x="91" y="46"/>
                    </a:lnTo>
                    <a:lnTo>
                      <a:pt x="91" y="50"/>
                    </a:lnTo>
                    <a:lnTo>
                      <a:pt x="93" y="50"/>
                    </a:lnTo>
                    <a:lnTo>
                      <a:pt x="93" y="52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3" y="54"/>
                    </a:lnTo>
                    <a:lnTo>
                      <a:pt x="95" y="56"/>
                    </a:lnTo>
                    <a:lnTo>
                      <a:pt x="93" y="56"/>
                    </a:lnTo>
                    <a:lnTo>
                      <a:pt x="95" y="56"/>
                    </a:lnTo>
                    <a:lnTo>
                      <a:pt x="95" y="58"/>
                    </a:lnTo>
                    <a:lnTo>
                      <a:pt x="93" y="58"/>
                    </a:lnTo>
                    <a:lnTo>
                      <a:pt x="91" y="58"/>
                    </a:lnTo>
                    <a:lnTo>
                      <a:pt x="91" y="60"/>
                    </a:lnTo>
                    <a:lnTo>
                      <a:pt x="91" y="62"/>
                    </a:lnTo>
                    <a:lnTo>
                      <a:pt x="89" y="62"/>
                    </a:lnTo>
                    <a:lnTo>
                      <a:pt x="89" y="63"/>
                    </a:lnTo>
                    <a:lnTo>
                      <a:pt x="87" y="65"/>
                    </a:lnTo>
                    <a:lnTo>
                      <a:pt x="89" y="67"/>
                    </a:lnTo>
                    <a:lnTo>
                      <a:pt x="87" y="65"/>
                    </a:lnTo>
                    <a:lnTo>
                      <a:pt x="85" y="65"/>
                    </a:lnTo>
                    <a:lnTo>
                      <a:pt x="84" y="65"/>
                    </a:lnTo>
                    <a:lnTo>
                      <a:pt x="84" y="63"/>
                    </a:lnTo>
                    <a:lnTo>
                      <a:pt x="82" y="63"/>
                    </a:lnTo>
                    <a:lnTo>
                      <a:pt x="82" y="65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6" y="67"/>
                    </a:lnTo>
                    <a:lnTo>
                      <a:pt x="76" y="65"/>
                    </a:lnTo>
                    <a:lnTo>
                      <a:pt x="76" y="67"/>
                    </a:lnTo>
                    <a:lnTo>
                      <a:pt x="74" y="65"/>
                    </a:lnTo>
                    <a:lnTo>
                      <a:pt x="72" y="65"/>
                    </a:lnTo>
                    <a:lnTo>
                      <a:pt x="70" y="63"/>
                    </a:lnTo>
                    <a:lnTo>
                      <a:pt x="70" y="62"/>
                    </a:lnTo>
                    <a:lnTo>
                      <a:pt x="70" y="60"/>
                    </a:lnTo>
                    <a:lnTo>
                      <a:pt x="68" y="60"/>
                    </a:lnTo>
                    <a:lnTo>
                      <a:pt x="68" y="58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3" y="54"/>
                    </a:lnTo>
                    <a:lnTo>
                      <a:pt x="63" y="56"/>
                    </a:lnTo>
                    <a:lnTo>
                      <a:pt x="61" y="54"/>
                    </a:lnTo>
                    <a:lnTo>
                      <a:pt x="59" y="54"/>
                    </a:lnTo>
                    <a:lnTo>
                      <a:pt x="59" y="52"/>
                    </a:lnTo>
                    <a:lnTo>
                      <a:pt x="57" y="52"/>
                    </a:lnTo>
                    <a:lnTo>
                      <a:pt x="55" y="50"/>
                    </a:lnTo>
                    <a:lnTo>
                      <a:pt x="57" y="52"/>
                    </a:lnTo>
                    <a:lnTo>
                      <a:pt x="55" y="52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51" y="52"/>
                    </a:lnTo>
                    <a:lnTo>
                      <a:pt x="49" y="54"/>
                    </a:lnTo>
                    <a:lnTo>
                      <a:pt x="47" y="52"/>
                    </a:lnTo>
                    <a:lnTo>
                      <a:pt x="47" y="54"/>
                    </a:lnTo>
                    <a:lnTo>
                      <a:pt x="45" y="54"/>
                    </a:lnTo>
                    <a:lnTo>
                      <a:pt x="43" y="54"/>
                    </a:lnTo>
                    <a:lnTo>
                      <a:pt x="42" y="56"/>
                    </a:lnTo>
                    <a:lnTo>
                      <a:pt x="43" y="50"/>
                    </a:lnTo>
                    <a:lnTo>
                      <a:pt x="42" y="50"/>
                    </a:lnTo>
                    <a:lnTo>
                      <a:pt x="43" y="48"/>
                    </a:lnTo>
                    <a:lnTo>
                      <a:pt x="42" y="48"/>
                    </a:lnTo>
                    <a:lnTo>
                      <a:pt x="43" y="46"/>
                    </a:lnTo>
                    <a:lnTo>
                      <a:pt x="43" y="44"/>
                    </a:lnTo>
                    <a:lnTo>
                      <a:pt x="45" y="42"/>
                    </a:lnTo>
                    <a:lnTo>
                      <a:pt x="43" y="42"/>
                    </a:lnTo>
                    <a:lnTo>
                      <a:pt x="42" y="41"/>
                    </a:lnTo>
                    <a:lnTo>
                      <a:pt x="40" y="41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6" y="42"/>
                    </a:lnTo>
                    <a:lnTo>
                      <a:pt x="36" y="44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30" y="41"/>
                    </a:lnTo>
                    <a:lnTo>
                      <a:pt x="30" y="39"/>
                    </a:lnTo>
                    <a:lnTo>
                      <a:pt x="30" y="37"/>
                    </a:lnTo>
                    <a:lnTo>
                      <a:pt x="28" y="37"/>
                    </a:lnTo>
                    <a:lnTo>
                      <a:pt x="28" y="35"/>
                    </a:lnTo>
                    <a:lnTo>
                      <a:pt x="28" y="37"/>
                    </a:lnTo>
                    <a:lnTo>
                      <a:pt x="28" y="35"/>
                    </a:lnTo>
                    <a:lnTo>
                      <a:pt x="26" y="31"/>
                    </a:lnTo>
                    <a:lnTo>
                      <a:pt x="28" y="31"/>
                    </a:lnTo>
                    <a:lnTo>
                      <a:pt x="30" y="31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0" y="29"/>
                    </a:lnTo>
                    <a:lnTo>
                      <a:pt x="28" y="29"/>
                    </a:lnTo>
                    <a:lnTo>
                      <a:pt x="26" y="29"/>
                    </a:lnTo>
                    <a:lnTo>
                      <a:pt x="26" y="27"/>
                    </a:lnTo>
                    <a:lnTo>
                      <a:pt x="28" y="29"/>
                    </a:lnTo>
                    <a:lnTo>
                      <a:pt x="28" y="27"/>
                    </a:lnTo>
                    <a:lnTo>
                      <a:pt x="26" y="25"/>
                    </a:lnTo>
                    <a:lnTo>
                      <a:pt x="26" y="23"/>
                    </a:lnTo>
                    <a:lnTo>
                      <a:pt x="28" y="23"/>
                    </a:lnTo>
                    <a:lnTo>
                      <a:pt x="30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30" y="23"/>
                    </a:lnTo>
                    <a:lnTo>
                      <a:pt x="28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6" y="21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28" y="18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3" y="8"/>
                    </a:lnTo>
                    <a:lnTo>
                      <a:pt x="45" y="8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5" y="8"/>
                    </a:lnTo>
                    <a:lnTo>
                      <a:pt x="47" y="8"/>
                    </a:lnTo>
                    <a:lnTo>
                      <a:pt x="49" y="6"/>
                    </a:lnTo>
                    <a:lnTo>
                      <a:pt x="47" y="6"/>
                    </a:lnTo>
                    <a:lnTo>
                      <a:pt x="47" y="4"/>
                    </a:lnTo>
                    <a:lnTo>
                      <a:pt x="49" y="4"/>
                    </a:lnTo>
                    <a:lnTo>
                      <a:pt x="49" y="6"/>
                    </a:lnTo>
                    <a:lnTo>
                      <a:pt x="51" y="6"/>
                    </a:lnTo>
                    <a:lnTo>
                      <a:pt x="53" y="6"/>
                    </a:lnTo>
                    <a:lnTo>
                      <a:pt x="53" y="8"/>
                    </a:lnTo>
                    <a:lnTo>
                      <a:pt x="53" y="6"/>
                    </a:lnTo>
                    <a:lnTo>
                      <a:pt x="53" y="4"/>
                    </a:lnTo>
                    <a:lnTo>
                      <a:pt x="55" y="6"/>
                    </a:lnTo>
                    <a:lnTo>
                      <a:pt x="57" y="6"/>
                    </a:lnTo>
                    <a:lnTo>
                      <a:pt x="59" y="6"/>
                    </a:lnTo>
                    <a:lnTo>
                      <a:pt x="61" y="4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3" y="4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6" y="4"/>
                    </a:lnTo>
                    <a:lnTo>
                      <a:pt x="66" y="2"/>
                    </a:lnTo>
                    <a:lnTo>
                      <a:pt x="68" y="2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6" y="4"/>
                    </a:lnTo>
                    <a:lnTo>
                      <a:pt x="78" y="4"/>
                    </a:lnTo>
                    <a:lnTo>
                      <a:pt x="82" y="8"/>
                    </a:lnTo>
                    <a:lnTo>
                      <a:pt x="89" y="8"/>
                    </a:lnTo>
                    <a:lnTo>
                      <a:pt x="93" y="10"/>
                    </a:lnTo>
                    <a:lnTo>
                      <a:pt x="95" y="10"/>
                    </a:lnTo>
                    <a:lnTo>
                      <a:pt x="97" y="10"/>
                    </a:lnTo>
                    <a:lnTo>
                      <a:pt x="99" y="8"/>
                    </a:lnTo>
                    <a:close/>
                    <a:moveTo>
                      <a:pt x="22" y="31"/>
                    </a:moveTo>
                    <a:lnTo>
                      <a:pt x="24" y="33"/>
                    </a:lnTo>
                    <a:lnTo>
                      <a:pt x="24" y="35"/>
                    </a:lnTo>
                    <a:lnTo>
                      <a:pt x="26" y="35"/>
                    </a:lnTo>
                    <a:lnTo>
                      <a:pt x="26" y="37"/>
                    </a:lnTo>
                    <a:lnTo>
                      <a:pt x="24" y="37"/>
                    </a:lnTo>
                    <a:lnTo>
                      <a:pt x="26" y="37"/>
                    </a:lnTo>
                    <a:lnTo>
                      <a:pt x="24" y="37"/>
                    </a:lnTo>
                    <a:lnTo>
                      <a:pt x="24" y="35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22" y="35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4" y="39"/>
                    </a:lnTo>
                    <a:lnTo>
                      <a:pt x="24" y="41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21" y="39"/>
                    </a:lnTo>
                    <a:lnTo>
                      <a:pt x="21" y="41"/>
                    </a:lnTo>
                    <a:lnTo>
                      <a:pt x="21" y="42"/>
                    </a:lnTo>
                    <a:lnTo>
                      <a:pt x="19" y="42"/>
                    </a:lnTo>
                    <a:lnTo>
                      <a:pt x="19" y="41"/>
                    </a:lnTo>
                    <a:lnTo>
                      <a:pt x="19" y="42"/>
                    </a:lnTo>
                    <a:lnTo>
                      <a:pt x="19" y="44"/>
                    </a:lnTo>
                    <a:lnTo>
                      <a:pt x="17" y="44"/>
                    </a:lnTo>
                    <a:lnTo>
                      <a:pt x="17" y="42"/>
                    </a:lnTo>
                    <a:lnTo>
                      <a:pt x="17" y="44"/>
                    </a:lnTo>
                    <a:lnTo>
                      <a:pt x="15" y="44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3" y="46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7" y="48"/>
                    </a:lnTo>
                    <a:lnTo>
                      <a:pt x="7" y="50"/>
                    </a:lnTo>
                    <a:lnTo>
                      <a:pt x="7" y="52"/>
                    </a:lnTo>
                    <a:lnTo>
                      <a:pt x="7" y="54"/>
                    </a:lnTo>
                    <a:lnTo>
                      <a:pt x="3" y="56"/>
                    </a:lnTo>
                    <a:lnTo>
                      <a:pt x="3" y="54"/>
                    </a:lnTo>
                    <a:lnTo>
                      <a:pt x="5" y="50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5" y="46"/>
                    </a:lnTo>
                    <a:lnTo>
                      <a:pt x="3" y="44"/>
                    </a:lnTo>
                    <a:lnTo>
                      <a:pt x="3" y="46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3" y="42"/>
                    </a:lnTo>
                    <a:lnTo>
                      <a:pt x="2" y="42"/>
                    </a:lnTo>
                    <a:lnTo>
                      <a:pt x="3" y="42"/>
                    </a:lnTo>
                    <a:lnTo>
                      <a:pt x="3" y="41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3" y="37"/>
                    </a:lnTo>
                    <a:lnTo>
                      <a:pt x="5" y="41"/>
                    </a:lnTo>
                    <a:lnTo>
                      <a:pt x="5" y="39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9" y="37"/>
                    </a:lnTo>
                    <a:lnTo>
                      <a:pt x="7" y="37"/>
                    </a:lnTo>
                    <a:lnTo>
                      <a:pt x="7" y="35"/>
                    </a:lnTo>
                    <a:lnTo>
                      <a:pt x="11" y="35"/>
                    </a:lnTo>
                    <a:lnTo>
                      <a:pt x="11" y="33"/>
                    </a:lnTo>
                    <a:lnTo>
                      <a:pt x="13" y="33"/>
                    </a:lnTo>
                    <a:lnTo>
                      <a:pt x="13" y="35"/>
                    </a:lnTo>
                    <a:lnTo>
                      <a:pt x="15" y="35"/>
                    </a:lnTo>
                    <a:lnTo>
                      <a:pt x="17" y="33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21" y="35"/>
                    </a:lnTo>
                    <a:lnTo>
                      <a:pt x="21" y="37"/>
                    </a:lnTo>
                    <a:lnTo>
                      <a:pt x="22" y="35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2" y="33"/>
                    </a:lnTo>
                    <a:lnTo>
                      <a:pt x="21" y="33"/>
                    </a:lnTo>
                    <a:lnTo>
                      <a:pt x="22" y="31"/>
                    </a:lnTo>
                    <a:close/>
                    <a:moveTo>
                      <a:pt x="13" y="20"/>
                    </a:moveTo>
                    <a:lnTo>
                      <a:pt x="15" y="20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19" y="25"/>
                    </a:lnTo>
                    <a:lnTo>
                      <a:pt x="21" y="27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11" y="27"/>
                    </a:lnTo>
                    <a:lnTo>
                      <a:pt x="9" y="25"/>
                    </a:lnTo>
                    <a:lnTo>
                      <a:pt x="5" y="25"/>
                    </a:lnTo>
                    <a:lnTo>
                      <a:pt x="3" y="23"/>
                    </a:lnTo>
                    <a:lnTo>
                      <a:pt x="5" y="23"/>
                    </a:lnTo>
                    <a:lnTo>
                      <a:pt x="7" y="23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3" y="20"/>
                    </a:lnTo>
                    <a:close/>
                    <a:moveTo>
                      <a:pt x="22" y="21"/>
                    </a:moveTo>
                    <a:lnTo>
                      <a:pt x="24" y="21"/>
                    </a:lnTo>
                    <a:lnTo>
                      <a:pt x="26" y="21"/>
                    </a:lnTo>
                    <a:lnTo>
                      <a:pt x="24" y="23"/>
                    </a:lnTo>
                    <a:lnTo>
                      <a:pt x="22" y="23"/>
                    </a:lnTo>
                    <a:lnTo>
                      <a:pt x="21" y="21"/>
                    </a:lnTo>
                    <a:lnTo>
                      <a:pt x="22" y="21"/>
                    </a:lnTo>
                    <a:close/>
                    <a:moveTo>
                      <a:pt x="43" y="2"/>
                    </a:moveTo>
                    <a:lnTo>
                      <a:pt x="43" y="6"/>
                    </a:lnTo>
                    <a:lnTo>
                      <a:pt x="43" y="2"/>
                    </a:lnTo>
                    <a:close/>
                    <a:moveTo>
                      <a:pt x="34" y="48"/>
                    </a:moveTo>
                    <a:lnTo>
                      <a:pt x="36" y="48"/>
                    </a:lnTo>
                    <a:lnTo>
                      <a:pt x="36" y="50"/>
                    </a:lnTo>
                    <a:lnTo>
                      <a:pt x="34" y="50"/>
                    </a:lnTo>
                    <a:lnTo>
                      <a:pt x="34" y="48"/>
                    </a:lnTo>
                    <a:close/>
                    <a:moveTo>
                      <a:pt x="34" y="10"/>
                    </a:moveTo>
                    <a:lnTo>
                      <a:pt x="36" y="10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0"/>
                    </a:lnTo>
                    <a:close/>
                    <a:moveTo>
                      <a:pt x="22" y="58"/>
                    </a:moveTo>
                    <a:lnTo>
                      <a:pt x="24" y="58"/>
                    </a:lnTo>
                    <a:lnTo>
                      <a:pt x="24" y="60"/>
                    </a:lnTo>
                    <a:lnTo>
                      <a:pt x="22" y="60"/>
                    </a:lnTo>
                    <a:lnTo>
                      <a:pt x="22" y="58"/>
                    </a:lnTo>
                    <a:close/>
                    <a:moveTo>
                      <a:pt x="0" y="41"/>
                    </a:moveTo>
                    <a:lnTo>
                      <a:pt x="2" y="41"/>
                    </a:lnTo>
                    <a:lnTo>
                      <a:pt x="0" y="41"/>
                    </a:lnTo>
                    <a:close/>
                    <a:moveTo>
                      <a:pt x="11" y="46"/>
                    </a:moveTo>
                    <a:lnTo>
                      <a:pt x="11" y="48"/>
                    </a:lnTo>
                    <a:lnTo>
                      <a:pt x="11" y="46"/>
                    </a:lnTo>
                    <a:close/>
                    <a:moveTo>
                      <a:pt x="91" y="41"/>
                    </a:moveTo>
                    <a:lnTo>
                      <a:pt x="91" y="42"/>
                    </a:lnTo>
                    <a:lnTo>
                      <a:pt x="91" y="41"/>
                    </a:lnTo>
                    <a:close/>
                    <a:moveTo>
                      <a:pt x="24" y="12"/>
                    </a:moveTo>
                    <a:lnTo>
                      <a:pt x="26" y="12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2"/>
                    </a:lnTo>
                    <a:close/>
                    <a:moveTo>
                      <a:pt x="19" y="23"/>
                    </a:moveTo>
                    <a:lnTo>
                      <a:pt x="21" y="23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9" y="23"/>
                    </a:lnTo>
                    <a:close/>
                    <a:moveTo>
                      <a:pt x="19" y="33"/>
                    </a:moveTo>
                    <a:lnTo>
                      <a:pt x="21" y="33"/>
                    </a:lnTo>
                    <a:lnTo>
                      <a:pt x="19" y="33"/>
                    </a:lnTo>
                    <a:close/>
                    <a:moveTo>
                      <a:pt x="36" y="46"/>
                    </a:moveTo>
                    <a:lnTo>
                      <a:pt x="38" y="46"/>
                    </a:lnTo>
                    <a:lnTo>
                      <a:pt x="36" y="46"/>
                    </a:lnTo>
                    <a:close/>
                    <a:moveTo>
                      <a:pt x="19" y="27"/>
                    </a:moveTo>
                    <a:lnTo>
                      <a:pt x="19" y="29"/>
                    </a:lnTo>
                    <a:lnTo>
                      <a:pt x="19" y="27"/>
                    </a:lnTo>
                    <a:close/>
                    <a:moveTo>
                      <a:pt x="24" y="23"/>
                    </a:moveTo>
                    <a:lnTo>
                      <a:pt x="26" y="23"/>
                    </a:lnTo>
                    <a:lnTo>
                      <a:pt x="24" y="23"/>
                    </a:lnTo>
                    <a:close/>
                    <a:moveTo>
                      <a:pt x="53" y="2"/>
                    </a:moveTo>
                    <a:lnTo>
                      <a:pt x="53" y="4"/>
                    </a:lnTo>
                    <a:lnTo>
                      <a:pt x="5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77" name="Group 1776">
                <a:extLst>
                  <a:ext uri="{FF2B5EF4-FFF2-40B4-BE49-F238E27FC236}">
                    <a16:creationId xmlns:a16="http://schemas.microsoft.com/office/drawing/2014/main" id="{C269A282-6D2A-AA1D-18E6-EAAC9796276E}"/>
                  </a:ext>
                </a:extLst>
              </p:cNvPr>
              <p:cNvGrpSpPr/>
              <p:nvPr/>
            </p:nvGrpSpPr>
            <p:grpSpPr>
              <a:xfrm>
                <a:off x="4209435" y="-4496985"/>
                <a:ext cx="3869638" cy="3810599"/>
                <a:chOff x="4209435" y="2018184"/>
                <a:chExt cx="3869638" cy="3810599"/>
              </a:xfrm>
              <a:grpFill/>
            </p:grpSpPr>
            <p:sp>
              <p:nvSpPr>
                <p:cNvPr id="2031" name="Freeform 146">
                  <a:extLst>
                    <a:ext uri="{FF2B5EF4-FFF2-40B4-BE49-F238E27FC236}">
                      <a16:creationId xmlns:a16="http://schemas.microsoft.com/office/drawing/2014/main" id="{B40C111F-F0D5-BE0F-0DBC-D2B85F809DC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209435" y="2018184"/>
                  <a:ext cx="663321" cy="792427"/>
                </a:xfrm>
                <a:custGeom>
                  <a:avLst/>
                  <a:gdLst>
                    <a:gd name="T0" fmla="*/ 57 w 421"/>
                    <a:gd name="T1" fmla="*/ 496 h 502"/>
                    <a:gd name="T2" fmla="*/ 15 w 421"/>
                    <a:gd name="T3" fmla="*/ 471 h 502"/>
                    <a:gd name="T4" fmla="*/ 15 w 421"/>
                    <a:gd name="T5" fmla="*/ 460 h 502"/>
                    <a:gd name="T6" fmla="*/ 32 w 421"/>
                    <a:gd name="T7" fmla="*/ 426 h 502"/>
                    <a:gd name="T8" fmla="*/ 17 w 421"/>
                    <a:gd name="T9" fmla="*/ 422 h 502"/>
                    <a:gd name="T10" fmla="*/ 17 w 421"/>
                    <a:gd name="T11" fmla="*/ 403 h 502"/>
                    <a:gd name="T12" fmla="*/ 11 w 421"/>
                    <a:gd name="T13" fmla="*/ 403 h 502"/>
                    <a:gd name="T14" fmla="*/ 21 w 421"/>
                    <a:gd name="T15" fmla="*/ 382 h 502"/>
                    <a:gd name="T16" fmla="*/ 30 w 421"/>
                    <a:gd name="T17" fmla="*/ 365 h 502"/>
                    <a:gd name="T18" fmla="*/ 40 w 421"/>
                    <a:gd name="T19" fmla="*/ 345 h 502"/>
                    <a:gd name="T20" fmla="*/ 70 w 421"/>
                    <a:gd name="T21" fmla="*/ 323 h 502"/>
                    <a:gd name="T22" fmla="*/ 107 w 421"/>
                    <a:gd name="T23" fmla="*/ 300 h 502"/>
                    <a:gd name="T24" fmla="*/ 93 w 421"/>
                    <a:gd name="T25" fmla="*/ 292 h 502"/>
                    <a:gd name="T26" fmla="*/ 124 w 421"/>
                    <a:gd name="T27" fmla="*/ 271 h 502"/>
                    <a:gd name="T28" fmla="*/ 122 w 421"/>
                    <a:gd name="T29" fmla="*/ 256 h 502"/>
                    <a:gd name="T30" fmla="*/ 137 w 421"/>
                    <a:gd name="T31" fmla="*/ 220 h 502"/>
                    <a:gd name="T32" fmla="*/ 145 w 421"/>
                    <a:gd name="T33" fmla="*/ 197 h 502"/>
                    <a:gd name="T34" fmla="*/ 160 w 421"/>
                    <a:gd name="T35" fmla="*/ 178 h 502"/>
                    <a:gd name="T36" fmla="*/ 162 w 421"/>
                    <a:gd name="T37" fmla="*/ 157 h 502"/>
                    <a:gd name="T38" fmla="*/ 189 w 421"/>
                    <a:gd name="T39" fmla="*/ 141 h 502"/>
                    <a:gd name="T40" fmla="*/ 193 w 421"/>
                    <a:gd name="T41" fmla="*/ 118 h 502"/>
                    <a:gd name="T42" fmla="*/ 234 w 421"/>
                    <a:gd name="T43" fmla="*/ 92 h 502"/>
                    <a:gd name="T44" fmla="*/ 265 w 421"/>
                    <a:gd name="T45" fmla="*/ 61 h 502"/>
                    <a:gd name="T46" fmla="*/ 297 w 421"/>
                    <a:gd name="T47" fmla="*/ 59 h 502"/>
                    <a:gd name="T48" fmla="*/ 339 w 421"/>
                    <a:gd name="T49" fmla="*/ 15 h 502"/>
                    <a:gd name="T50" fmla="*/ 355 w 421"/>
                    <a:gd name="T51" fmla="*/ 31 h 502"/>
                    <a:gd name="T52" fmla="*/ 376 w 421"/>
                    <a:gd name="T53" fmla="*/ 34 h 502"/>
                    <a:gd name="T54" fmla="*/ 393 w 421"/>
                    <a:gd name="T55" fmla="*/ 57 h 502"/>
                    <a:gd name="T56" fmla="*/ 360 w 421"/>
                    <a:gd name="T57" fmla="*/ 59 h 502"/>
                    <a:gd name="T58" fmla="*/ 147 w 421"/>
                    <a:gd name="T59" fmla="*/ 284 h 502"/>
                    <a:gd name="T60" fmla="*/ 97 w 421"/>
                    <a:gd name="T61" fmla="*/ 443 h 502"/>
                    <a:gd name="T62" fmla="*/ 179 w 421"/>
                    <a:gd name="T63" fmla="*/ 128 h 502"/>
                    <a:gd name="T64" fmla="*/ 213 w 421"/>
                    <a:gd name="T65" fmla="*/ 86 h 502"/>
                    <a:gd name="T66" fmla="*/ 294 w 421"/>
                    <a:gd name="T67" fmla="*/ 27 h 502"/>
                    <a:gd name="T68" fmla="*/ 172 w 421"/>
                    <a:gd name="T69" fmla="*/ 109 h 502"/>
                    <a:gd name="T70" fmla="*/ 227 w 421"/>
                    <a:gd name="T71" fmla="*/ 76 h 502"/>
                    <a:gd name="T72" fmla="*/ 295 w 421"/>
                    <a:gd name="T73" fmla="*/ 36 h 502"/>
                    <a:gd name="T74" fmla="*/ 337 w 421"/>
                    <a:gd name="T75" fmla="*/ 2 h 502"/>
                    <a:gd name="T76" fmla="*/ 152 w 421"/>
                    <a:gd name="T77" fmla="*/ 136 h 502"/>
                    <a:gd name="T78" fmla="*/ 284 w 421"/>
                    <a:gd name="T79" fmla="*/ 42 h 502"/>
                    <a:gd name="T80" fmla="*/ 55 w 421"/>
                    <a:gd name="T81" fmla="*/ 326 h 502"/>
                    <a:gd name="T82" fmla="*/ 404 w 421"/>
                    <a:gd name="T83" fmla="*/ 65 h 502"/>
                    <a:gd name="T84" fmla="*/ 67 w 421"/>
                    <a:gd name="T85" fmla="*/ 309 h 502"/>
                    <a:gd name="T86" fmla="*/ 59 w 421"/>
                    <a:gd name="T87" fmla="*/ 328 h 502"/>
                    <a:gd name="T88" fmla="*/ 116 w 421"/>
                    <a:gd name="T89" fmla="*/ 242 h 502"/>
                    <a:gd name="T90" fmla="*/ 116 w 421"/>
                    <a:gd name="T91" fmla="*/ 261 h 502"/>
                    <a:gd name="T92" fmla="*/ 6 w 421"/>
                    <a:gd name="T93" fmla="*/ 420 h 502"/>
                    <a:gd name="T94" fmla="*/ 151 w 421"/>
                    <a:gd name="T95" fmla="*/ 134 h 502"/>
                    <a:gd name="T96" fmla="*/ 156 w 421"/>
                    <a:gd name="T97" fmla="*/ 178 h 502"/>
                    <a:gd name="T98" fmla="*/ 309 w 421"/>
                    <a:gd name="T99" fmla="*/ 6 h 502"/>
                    <a:gd name="T100" fmla="*/ 6 w 421"/>
                    <a:gd name="T101" fmla="*/ 410 h 502"/>
                    <a:gd name="T102" fmla="*/ 183 w 421"/>
                    <a:gd name="T103" fmla="*/ 132 h 502"/>
                    <a:gd name="T104" fmla="*/ 2 w 421"/>
                    <a:gd name="T105" fmla="*/ 418 h 502"/>
                    <a:gd name="T106" fmla="*/ 229 w 421"/>
                    <a:gd name="T107" fmla="*/ 52 h 502"/>
                    <a:gd name="T108" fmla="*/ 99 w 421"/>
                    <a:gd name="T109" fmla="*/ 267 h 502"/>
                    <a:gd name="T110" fmla="*/ 8 w 421"/>
                    <a:gd name="T111" fmla="*/ 386 h 502"/>
                    <a:gd name="T112" fmla="*/ 25 w 421"/>
                    <a:gd name="T113" fmla="*/ 357 h 502"/>
                    <a:gd name="T114" fmla="*/ 67 w 421"/>
                    <a:gd name="T115" fmla="*/ 311 h 502"/>
                    <a:gd name="T116" fmla="*/ 126 w 421"/>
                    <a:gd name="T117" fmla="*/ 216 h 502"/>
                    <a:gd name="T118" fmla="*/ 4 w 421"/>
                    <a:gd name="T119" fmla="*/ 401 h 502"/>
                    <a:gd name="T120" fmla="*/ 376 w 421"/>
                    <a:gd name="T121" fmla="*/ 36 h 502"/>
                    <a:gd name="T122" fmla="*/ 8 w 421"/>
                    <a:gd name="T123" fmla="*/ 443 h 502"/>
                    <a:gd name="T124" fmla="*/ 280 w 421"/>
                    <a:gd name="T125" fmla="*/ 33 h 5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421" h="502">
                      <a:moveTo>
                        <a:pt x="90" y="468"/>
                      </a:moveTo>
                      <a:lnTo>
                        <a:pt x="90" y="466"/>
                      </a:lnTo>
                      <a:lnTo>
                        <a:pt x="90" y="469"/>
                      </a:lnTo>
                      <a:lnTo>
                        <a:pt x="90" y="468"/>
                      </a:lnTo>
                      <a:lnTo>
                        <a:pt x="90" y="466"/>
                      </a:lnTo>
                      <a:lnTo>
                        <a:pt x="90" y="468"/>
                      </a:lnTo>
                      <a:lnTo>
                        <a:pt x="90" y="469"/>
                      </a:lnTo>
                      <a:lnTo>
                        <a:pt x="88" y="469"/>
                      </a:lnTo>
                      <a:lnTo>
                        <a:pt x="88" y="468"/>
                      </a:lnTo>
                      <a:lnTo>
                        <a:pt x="88" y="469"/>
                      </a:lnTo>
                      <a:lnTo>
                        <a:pt x="86" y="469"/>
                      </a:lnTo>
                      <a:lnTo>
                        <a:pt x="86" y="471"/>
                      </a:lnTo>
                      <a:lnTo>
                        <a:pt x="84" y="471"/>
                      </a:lnTo>
                      <a:lnTo>
                        <a:pt x="82" y="471"/>
                      </a:lnTo>
                      <a:lnTo>
                        <a:pt x="84" y="469"/>
                      </a:lnTo>
                      <a:lnTo>
                        <a:pt x="82" y="469"/>
                      </a:lnTo>
                      <a:lnTo>
                        <a:pt x="82" y="468"/>
                      </a:lnTo>
                      <a:lnTo>
                        <a:pt x="82" y="469"/>
                      </a:lnTo>
                      <a:lnTo>
                        <a:pt x="82" y="468"/>
                      </a:lnTo>
                      <a:lnTo>
                        <a:pt x="80" y="468"/>
                      </a:lnTo>
                      <a:lnTo>
                        <a:pt x="80" y="469"/>
                      </a:lnTo>
                      <a:lnTo>
                        <a:pt x="80" y="468"/>
                      </a:lnTo>
                      <a:lnTo>
                        <a:pt x="80" y="466"/>
                      </a:lnTo>
                      <a:lnTo>
                        <a:pt x="78" y="466"/>
                      </a:lnTo>
                      <a:lnTo>
                        <a:pt x="78" y="468"/>
                      </a:lnTo>
                      <a:lnTo>
                        <a:pt x="80" y="468"/>
                      </a:lnTo>
                      <a:lnTo>
                        <a:pt x="80" y="469"/>
                      </a:lnTo>
                      <a:lnTo>
                        <a:pt x="82" y="469"/>
                      </a:lnTo>
                      <a:lnTo>
                        <a:pt x="82" y="471"/>
                      </a:lnTo>
                      <a:lnTo>
                        <a:pt x="82" y="469"/>
                      </a:lnTo>
                      <a:lnTo>
                        <a:pt x="80" y="471"/>
                      </a:lnTo>
                      <a:lnTo>
                        <a:pt x="80" y="469"/>
                      </a:lnTo>
                      <a:lnTo>
                        <a:pt x="80" y="471"/>
                      </a:lnTo>
                      <a:lnTo>
                        <a:pt x="78" y="471"/>
                      </a:lnTo>
                      <a:lnTo>
                        <a:pt x="80" y="471"/>
                      </a:lnTo>
                      <a:lnTo>
                        <a:pt x="78" y="473"/>
                      </a:lnTo>
                      <a:lnTo>
                        <a:pt x="78" y="471"/>
                      </a:lnTo>
                      <a:lnTo>
                        <a:pt x="76" y="471"/>
                      </a:lnTo>
                      <a:lnTo>
                        <a:pt x="78" y="473"/>
                      </a:lnTo>
                      <a:lnTo>
                        <a:pt x="76" y="473"/>
                      </a:lnTo>
                      <a:lnTo>
                        <a:pt x="76" y="475"/>
                      </a:lnTo>
                      <a:lnTo>
                        <a:pt x="76" y="473"/>
                      </a:lnTo>
                      <a:lnTo>
                        <a:pt x="74" y="473"/>
                      </a:lnTo>
                      <a:lnTo>
                        <a:pt x="74" y="475"/>
                      </a:lnTo>
                      <a:lnTo>
                        <a:pt x="76" y="475"/>
                      </a:lnTo>
                      <a:lnTo>
                        <a:pt x="76" y="477"/>
                      </a:lnTo>
                      <a:lnTo>
                        <a:pt x="76" y="475"/>
                      </a:lnTo>
                      <a:lnTo>
                        <a:pt x="76" y="477"/>
                      </a:lnTo>
                      <a:lnTo>
                        <a:pt x="74" y="477"/>
                      </a:lnTo>
                      <a:lnTo>
                        <a:pt x="72" y="477"/>
                      </a:lnTo>
                      <a:lnTo>
                        <a:pt x="72" y="479"/>
                      </a:lnTo>
                      <a:lnTo>
                        <a:pt x="70" y="477"/>
                      </a:lnTo>
                      <a:lnTo>
                        <a:pt x="70" y="479"/>
                      </a:lnTo>
                      <a:lnTo>
                        <a:pt x="72" y="479"/>
                      </a:lnTo>
                      <a:lnTo>
                        <a:pt x="70" y="479"/>
                      </a:lnTo>
                      <a:lnTo>
                        <a:pt x="72" y="479"/>
                      </a:lnTo>
                      <a:lnTo>
                        <a:pt x="74" y="479"/>
                      </a:lnTo>
                      <a:lnTo>
                        <a:pt x="70" y="479"/>
                      </a:lnTo>
                      <a:lnTo>
                        <a:pt x="70" y="481"/>
                      </a:lnTo>
                      <a:lnTo>
                        <a:pt x="70" y="479"/>
                      </a:lnTo>
                      <a:lnTo>
                        <a:pt x="69" y="481"/>
                      </a:lnTo>
                      <a:lnTo>
                        <a:pt x="70" y="481"/>
                      </a:lnTo>
                      <a:lnTo>
                        <a:pt x="72" y="479"/>
                      </a:lnTo>
                      <a:lnTo>
                        <a:pt x="72" y="481"/>
                      </a:lnTo>
                      <a:lnTo>
                        <a:pt x="70" y="481"/>
                      </a:lnTo>
                      <a:lnTo>
                        <a:pt x="70" y="483"/>
                      </a:lnTo>
                      <a:lnTo>
                        <a:pt x="70" y="481"/>
                      </a:lnTo>
                      <a:lnTo>
                        <a:pt x="69" y="483"/>
                      </a:lnTo>
                      <a:lnTo>
                        <a:pt x="70" y="483"/>
                      </a:lnTo>
                      <a:lnTo>
                        <a:pt x="69" y="483"/>
                      </a:lnTo>
                      <a:lnTo>
                        <a:pt x="69" y="481"/>
                      </a:lnTo>
                      <a:lnTo>
                        <a:pt x="69" y="483"/>
                      </a:lnTo>
                      <a:lnTo>
                        <a:pt x="69" y="485"/>
                      </a:lnTo>
                      <a:lnTo>
                        <a:pt x="67" y="485"/>
                      </a:lnTo>
                      <a:lnTo>
                        <a:pt x="69" y="485"/>
                      </a:lnTo>
                      <a:lnTo>
                        <a:pt x="67" y="485"/>
                      </a:lnTo>
                      <a:lnTo>
                        <a:pt x="67" y="487"/>
                      </a:lnTo>
                      <a:lnTo>
                        <a:pt x="67" y="485"/>
                      </a:lnTo>
                      <a:lnTo>
                        <a:pt x="67" y="487"/>
                      </a:lnTo>
                      <a:lnTo>
                        <a:pt x="65" y="487"/>
                      </a:lnTo>
                      <a:lnTo>
                        <a:pt x="65" y="489"/>
                      </a:lnTo>
                      <a:lnTo>
                        <a:pt x="65" y="490"/>
                      </a:lnTo>
                      <a:lnTo>
                        <a:pt x="63" y="490"/>
                      </a:lnTo>
                      <a:lnTo>
                        <a:pt x="63" y="492"/>
                      </a:lnTo>
                      <a:lnTo>
                        <a:pt x="63" y="490"/>
                      </a:lnTo>
                      <a:lnTo>
                        <a:pt x="63" y="492"/>
                      </a:lnTo>
                      <a:lnTo>
                        <a:pt x="63" y="490"/>
                      </a:lnTo>
                      <a:lnTo>
                        <a:pt x="63" y="492"/>
                      </a:lnTo>
                      <a:lnTo>
                        <a:pt x="61" y="492"/>
                      </a:lnTo>
                      <a:lnTo>
                        <a:pt x="63" y="492"/>
                      </a:lnTo>
                      <a:lnTo>
                        <a:pt x="61" y="492"/>
                      </a:lnTo>
                      <a:lnTo>
                        <a:pt x="59" y="492"/>
                      </a:lnTo>
                      <a:lnTo>
                        <a:pt x="59" y="494"/>
                      </a:lnTo>
                      <a:lnTo>
                        <a:pt x="57" y="494"/>
                      </a:lnTo>
                      <a:lnTo>
                        <a:pt x="59" y="494"/>
                      </a:lnTo>
                      <a:lnTo>
                        <a:pt x="57" y="496"/>
                      </a:lnTo>
                      <a:lnTo>
                        <a:pt x="57" y="494"/>
                      </a:lnTo>
                      <a:lnTo>
                        <a:pt x="57" y="496"/>
                      </a:lnTo>
                      <a:lnTo>
                        <a:pt x="55" y="496"/>
                      </a:lnTo>
                      <a:lnTo>
                        <a:pt x="57" y="496"/>
                      </a:lnTo>
                      <a:lnTo>
                        <a:pt x="55" y="498"/>
                      </a:lnTo>
                      <a:lnTo>
                        <a:pt x="55" y="496"/>
                      </a:lnTo>
                      <a:lnTo>
                        <a:pt x="55" y="498"/>
                      </a:lnTo>
                      <a:lnTo>
                        <a:pt x="55" y="496"/>
                      </a:lnTo>
                      <a:lnTo>
                        <a:pt x="55" y="494"/>
                      </a:lnTo>
                      <a:lnTo>
                        <a:pt x="53" y="494"/>
                      </a:lnTo>
                      <a:lnTo>
                        <a:pt x="55" y="494"/>
                      </a:lnTo>
                      <a:lnTo>
                        <a:pt x="55" y="496"/>
                      </a:lnTo>
                      <a:lnTo>
                        <a:pt x="53" y="496"/>
                      </a:lnTo>
                      <a:lnTo>
                        <a:pt x="53" y="498"/>
                      </a:lnTo>
                      <a:lnTo>
                        <a:pt x="51" y="498"/>
                      </a:lnTo>
                      <a:lnTo>
                        <a:pt x="49" y="498"/>
                      </a:lnTo>
                      <a:lnTo>
                        <a:pt x="48" y="498"/>
                      </a:lnTo>
                      <a:lnTo>
                        <a:pt x="49" y="498"/>
                      </a:lnTo>
                      <a:lnTo>
                        <a:pt x="49" y="500"/>
                      </a:lnTo>
                      <a:lnTo>
                        <a:pt x="48" y="498"/>
                      </a:lnTo>
                      <a:lnTo>
                        <a:pt x="49" y="500"/>
                      </a:lnTo>
                      <a:lnTo>
                        <a:pt x="48" y="500"/>
                      </a:lnTo>
                      <a:lnTo>
                        <a:pt x="49" y="500"/>
                      </a:lnTo>
                      <a:lnTo>
                        <a:pt x="48" y="500"/>
                      </a:lnTo>
                      <a:lnTo>
                        <a:pt x="46" y="500"/>
                      </a:lnTo>
                      <a:lnTo>
                        <a:pt x="44" y="500"/>
                      </a:lnTo>
                      <a:lnTo>
                        <a:pt x="46" y="500"/>
                      </a:lnTo>
                      <a:lnTo>
                        <a:pt x="44" y="500"/>
                      </a:lnTo>
                      <a:lnTo>
                        <a:pt x="42" y="500"/>
                      </a:lnTo>
                      <a:lnTo>
                        <a:pt x="42" y="498"/>
                      </a:lnTo>
                      <a:lnTo>
                        <a:pt x="42" y="500"/>
                      </a:lnTo>
                      <a:lnTo>
                        <a:pt x="40" y="498"/>
                      </a:lnTo>
                      <a:lnTo>
                        <a:pt x="40" y="500"/>
                      </a:lnTo>
                      <a:lnTo>
                        <a:pt x="40" y="496"/>
                      </a:lnTo>
                      <a:lnTo>
                        <a:pt x="40" y="498"/>
                      </a:lnTo>
                      <a:lnTo>
                        <a:pt x="38" y="500"/>
                      </a:lnTo>
                      <a:lnTo>
                        <a:pt x="38" y="498"/>
                      </a:lnTo>
                      <a:lnTo>
                        <a:pt x="38" y="496"/>
                      </a:lnTo>
                      <a:lnTo>
                        <a:pt x="38" y="500"/>
                      </a:lnTo>
                      <a:lnTo>
                        <a:pt x="36" y="498"/>
                      </a:lnTo>
                      <a:lnTo>
                        <a:pt x="38" y="498"/>
                      </a:lnTo>
                      <a:lnTo>
                        <a:pt x="36" y="498"/>
                      </a:lnTo>
                      <a:lnTo>
                        <a:pt x="38" y="498"/>
                      </a:lnTo>
                      <a:lnTo>
                        <a:pt x="36" y="498"/>
                      </a:lnTo>
                      <a:lnTo>
                        <a:pt x="34" y="498"/>
                      </a:lnTo>
                      <a:lnTo>
                        <a:pt x="36" y="496"/>
                      </a:lnTo>
                      <a:lnTo>
                        <a:pt x="36" y="498"/>
                      </a:lnTo>
                      <a:lnTo>
                        <a:pt x="38" y="496"/>
                      </a:lnTo>
                      <a:lnTo>
                        <a:pt x="36" y="496"/>
                      </a:lnTo>
                      <a:lnTo>
                        <a:pt x="34" y="496"/>
                      </a:lnTo>
                      <a:lnTo>
                        <a:pt x="36" y="494"/>
                      </a:lnTo>
                      <a:lnTo>
                        <a:pt x="34" y="494"/>
                      </a:lnTo>
                      <a:lnTo>
                        <a:pt x="34" y="496"/>
                      </a:lnTo>
                      <a:lnTo>
                        <a:pt x="36" y="496"/>
                      </a:lnTo>
                      <a:lnTo>
                        <a:pt x="34" y="498"/>
                      </a:lnTo>
                      <a:lnTo>
                        <a:pt x="34" y="496"/>
                      </a:lnTo>
                      <a:lnTo>
                        <a:pt x="34" y="498"/>
                      </a:lnTo>
                      <a:lnTo>
                        <a:pt x="34" y="496"/>
                      </a:lnTo>
                      <a:lnTo>
                        <a:pt x="34" y="494"/>
                      </a:lnTo>
                      <a:lnTo>
                        <a:pt x="34" y="496"/>
                      </a:lnTo>
                      <a:lnTo>
                        <a:pt x="34" y="498"/>
                      </a:lnTo>
                      <a:lnTo>
                        <a:pt x="32" y="498"/>
                      </a:lnTo>
                      <a:lnTo>
                        <a:pt x="30" y="496"/>
                      </a:lnTo>
                      <a:lnTo>
                        <a:pt x="32" y="496"/>
                      </a:lnTo>
                      <a:lnTo>
                        <a:pt x="32" y="494"/>
                      </a:lnTo>
                      <a:lnTo>
                        <a:pt x="34" y="496"/>
                      </a:lnTo>
                      <a:lnTo>
                        <a:pt x="32" y="494"/>
                      </a:lnTo>
                      <a:lnTo>
                        <a:pt x="36" y="492"/>
                      </a:lnTo>
                      <a:lnTo>
                        <a:pt x="34" y="492"/>
                      </a:lnTo>
                      <a:lnTo>
                        <a:pt x="34" y="494"/>
                      </a:lnTo>
                      <a:lnTo>
                        <a:pt x="32" y="492"/>
                      </a:lnTo>
                      <a:lnTo>
                        <a:pt x="32" y="490"/>
                      </a:lnTo>
                      <a:lnTo>
                        <a:pt x="32" y="492"/>
                      </a:lnTo>
                      <a:lnTo>
                        <a:pt x="32" y="494"/>
                      </a:lnTo>
                      <a:lnTo>
                        <a:pt x="30" y="492"/>
                      </a:lnTo>
                      <a:lnTo>
                        <a:pt x="29" y="492"/>
                      </a:lnTo>
                      <a:lnTo>
                        <a:pt x="27" y="492"/>
                      </a:lnTo>
                      <a:lnTo>
                        <a:pt x="27" y="490"/>
                      </a:lnTo>
                      <a:lnTo>
                        <a:pt x="25" y="490"/>
                      </a:lnTo>
                      <a:lnTo>
                        <a:pt x="23" y="490"/>
                      </a:lnTo>
                      <a:lnTo>
                        <a:pt x="23" y="489"/>
                      </a:lnTo>
                      <a:lnTo>
                        <a:pt x="23" y="487"/>
                      </a:lnTo>
                      <a:lnTo>
                        <a:pt x="21" y="489"/>
                      </a:lnTo>
                      <a:lnTo>
                        <a:pt x="23" y="487"/>
                      </a:lnTo>
                      <a:lnTo>
                        <a:pt x="21" y="487"/>
                      </a:lnTo>
                      <a:lnTo>
                        <a:pt x="23" y="487"/>
                      </a:lnTo>
                      <a:lnTo>
                        <a:pt x="19" y="487"/>
                      </a:lnTo>
                      <a:lnTo>
                        <a:pt x="19" y="485"/>
                      </a:lnTo>
                      <a:lnTo>
                        <a:pt x="17" y="485"/>
                      </a:lnTo>
                      <a:lnTo>
                        <a:pt x="15" y="481"/>
                      </a:lnTo>
                      <a:lnTo>
                        <a:pt x="15" y="479"/>
                      </a:lnTo>
                      <a:lnTo>
                        <a:pt x="13" y="477"/>
                      </a:lnTo>
                      <a:lnTo>
                        <a:pt x="15" y="477"/>
                      </a:lnTo>
                      <a:lnTo>
                        <a:pt x="15" y="475"/>
                      </a:lnTo>
                      <a:lnTo>
                        <a:pt x="15" y="473"/>
                      </a:lnTo>
                      <a:lnTo>
                        <a:pt x="15" y="471"/>
                      </a:lnTo>
                      <a:lnTo>
                        <a:pt x="17" y="471"/>
                      </a:lnTo>
                      <a:lnTo>
                        <a:pt x="15" y="473"/>
                      </a:lnTo>
                      <a:lnTo>
                        <a:pt x="17" y="471"/>
                      </a:lnTo>
                      <a:lnTo>
                        <a:pt x="15" y="471"/>
                      </a:lnTo>
                      <a:lnTo>
                        <a:pt x="15" y="469"/>
                      </a:lnTo>
                      <a:lnTo>
                        <a:pt x="17" y="471"/>
                      </a:lnTo>
                      <a:lnTo>
                        <a:pt x="19" y="471"/>
                      </a:lnTo>
                      <a:lnTo>
                        <a:pt x="17" y="471"/>
                      </a:lnTo>
                      <a:lnTo>
                        <a:pt x="17" y="475"/>
                      </a:lnTo>
                      <a:lnTo>
                        <a:pt x="19" y="473"/>
                      </a:lnTo>
                      <a:lnTo>
                        <a:pt x="19" y="471"/>
                      </a:lnTo>
                      <a:lnTo>
                        <a:pt x="19" y="473"/>
                      </a:lnTo>
                      <a:lnTo>
                        <a:pt x="19" y="471"/>
                      </a:lnTo>
                      <a:lnTo>
                        <a:pt x="21" y="471"/>
                      </a:lnTo>
                      <a:lnTo>
                        <a:pt x="21" y="473"/>
                      </a:lnTo>
                      <a:lnTo>
                        <a:pt x="23" y="473"/>
                      </a:lnTo>
                      <a:lnTo>
                        <a:pt x="25" y="475"/>
                      </a:lnTo>
                      <a:lnTo>
                        <a:pt x="27" y="475"/>
                      </a:lnTo>
                      <a:lnTo>
                        <a:pt x="25" y="475"/>
                      </a:lnTo>
                      <a:lnTo>
                        <a:pt x="25" y="473"/>
                      </a:lnTo>
                      <a:lnTo>
                        <a:pt x="23" y="473"/>
                      </a:lnTo>
                      <a:lnTo>
                        <a:pt x="25" y="471"/>
                      </a:lnTo>
                      <a:lnTo>
                        <a:pt x="27" y="469"/>
                      </a:lnTo>
                      <a:lnTo>
                        <a:pt x="30" y="469"/>
                      </a:lnTo>
                      <a:lnTo>
                        <a:pt x="32" y="468"/>
                      </a:lnTo>
                      <a:lnTo>
                        <a:pt x="27" y="469"/>
                      </a:lnTo>
                      <a:lnTo>
                        <a:pt x="23" y="471"/>
                      </a:lnTo>
                      <a:lnTo>
                        <a:pt x="23" y="473"/>
                      </a:lnTo>
                      <a:lnTo>
                        <a:pt x="21" y="471"/>
                      </a:lnTo>
                      <a:lnTo>
                        <a:pt x="23" y="471"/>
                      </a:lnTo>
                      <a:lnTo>
                        <a:pt x="23" y="469"/>
                      </a:lnTo>
                      <a:lnTo>
                        <a:pt x="23" y="471"/>
                      </a:lnTo>
                      <a:lnTo>
                        <a:pt x="23" y="469"/>
                      </a:lnTo>
                      <a:lnTo>
                        <a:pt x="21" y="469"/>
                      </a:lnTo>
                      <a:lnTo>
                        <a:pt x="21" y="468"/>
                      </a:lnTo>
                      <a:lnTo>
                        <a:pt x="21" y="466"/>
                      </a:lnTo>
                      <a:lnTo>
                        <a:pt x="23" y="466"/>
                      </a:lnTo>
                      <a:lnTo>
                        <a:pt x="25" y="466"/>
                      </a:lnTo>
                      <a:lnTo>
                        <a:pt x="23" y="466"/>
                      </a:lnTo>
                      <a:lnTo>
                        <a:pt x="23" y="464"/>
                      </a:lnTo>
                      <a:lnTo>
                        <a:pt x="25" y="464"/>
                      </a:lnTo>
                      <a:lnTo>
                        <a:pt x="25" y="462"/>
                      </a:lnTo>
                      <a:lnTo>
                        <a:pt x="27" y="462"/>
                      </a:lnTo>
                      <a:lnTo>
                        <a:pt x="29" y="460"/>
                      </a:lnTo>
                      <a:lnTo>
                        <a:pt x="30" y="460"/>
                      </a:lnTo>
                      <a:lnTo>
                        <a:pt x="29" y="460"/>
                      </a:lnTo>
                      <a:lnTo>
                        <a:pt x="25" y="462"/>
                      </a:lnTo>
                      <a:lnTo>
                        <a:pt x="25" y="460"/>
                      </a:lnTo>
                      <a:lnTo>
                        <a:pt x="27" y="460"/>
                      </a:lnTo>
                      <a:lnTo>
                        <a:pt x="25" y="458"/>
                      </a:lnTo>
                      <a:lnTo>
                        <a:pt x="25" y="460"/>
                      </a:lnTo>
                      <a:lnTo>
                        <a:pt x="23" y="460"/>
                      </a:lnTo>
                      <a:lnTo>
                        <a:pt x="25" y="458"/>
                      </a:lnTo>
                      <a:lnTo>
                        <a:pt x="23" y="460"/>
                      </a:lnTo>
                      <a:lnTo>
                        <a:pt x="23" y="458"/>
                      </a:lnTo>
                      <a:lnTo>
                        <a:pt x="25" y="458"/>
                      </a:lnTo>
                      <a:lnTo>
                        <a:pt x="25" y="456"/>
                      </a:lnTo>
                      <a:lnTo>
                        <a:pt x="25" y="458"/>
                      </a:lnTo>
                      <a:lnTo>
                        <a:pt x="27" y="454"/>
                      </a:lnTo>
                      <a:lnTo>
                        <a:pt x="29" y="452"/>
                      </a:lnTo>
                      <a:lnTo>
                        <a:pt x="32" y="452"/>
                      </a:lnTo>
                      <a:lnTo>
                        <a:pt x="29" y="452"/>
                      </a:lnTo>
                      <a:lnTo>
                        <a:pt x="27" y="454"/>
                      </a:lnTo>
                      <a:lnTo>
                        <a:pt x="27" y="452"/>
                      </a:lnTo>
                      <a:lnTo>
                        <a:pt x="27" y="450"/>
                      </a:lnTo>
                      <a:lnTo>
                        <a:pt x="29" y="450"/>
                      </a:lnTo>
                      <a:lnTo>
                        <a:pt x="27" y="450"/>
                      </a:lnTo>
                      <a:lnTo>
                        <a:pt x="27" y="452"/>
                      </a:lnTo>
                      <a:lnTo>
                        <a:pt x="25" y="454"/>
                      </a:lnTo>
                      <a:lnTo>
                        <a:pt x="25" y="456"/>
                      </a:lnTo>
                      <a:lnTo>
                        <a:pt x="25" y="458"/>
                      </a:lnTo>
                      <a:lnTo>
                        <a:pt x="23" y="458"/>
                      </a:lnTo>
                      <a:lnTo>
                        <a:pt x="21" y="460"/>
                      </a:lnTo>
                      <a:lnTo>
                        <a:pt x="21" y="458"/>
                      </a:lnTo>
                      <a:lnTo>
                        <a:pt x="21" y="456"/>
                      </a:lnTo>
                      <a:lnTo>
                        <a:pt x="23" y="456"/>
                      </a:lnTo>
                      <a:lnTo>
                        <a:pt x="25" y="454"/>
                      </a:lnTo>
                      <a:lnTo>
                        <a:pt x="23" y="456"/>
                      </a:lnTo>
                      <a:lnTo>
                        <a:pt x="23" y="454"/>
                      </a:lnTo>
                      <a:lnTo>
                        <a:pt x="21" y="456"/>
                      </a:lnTo>
                      <a:lnTo>
                        <a:pt x="19" y="452"/>
                      </a:lnTo>
                      <a:lnTo>
                        <a:pt x="19" y="454"/>
                      </a:lnTo>
                      <a:lnTo>
                        <a:pt x="19" y="456"/>
                      </a:lnTo>
                      <a:lnTo>
                        <a:pt x="17" y="456"/>
                      </a:lnTo>
                      <a:lnTo>
                        <a:pt x="17" y="458"/>
                      </a:lnTo>
                      <a:lnTo>
                        <a:pt x="19" y="456"/>
                      </a:lnTo>
                      <a:lnTo>
                        <a:pt x="21" y="458"/>
                      </a:lnTo>
                      <a:lnTo>
                        <a:pt x="21" y="460"/>
                      </a:lnTo>
                      <a:lnTo>
                        <a:pt x="19" y="460"/>
                      </a:lnTo>
                      <a:lnTo>
                        <a:pt x="17" y="460"/>
                      </a:lnTo>
                      <a:lnTo>
                        <a:pt x="17" y="462"/>
                      </a:lnTo>
                      <a:lnTo>
                        <a:pt x="17" y="460"/>
                      </a:lnTo>
                      <a:lnTo>
                        <a:pt x="17" y="458"/>
                      </a:lnTo>
                      <a:lnTo>
                        <a:pt x="15" y="458"/>
                      </a:lnTo>
                      <a:lnTo>
                        <a:pt x="17" y="458"/>
                      </a:lnTo>
                      <a:lnTo>
                        <a:pt x="15" y="456"/>
                      </a:lnTo>
                      <a:lnTo>
                        <a:pt x="15" y="454"/>
                      </a:lnTo>
                      <a:lnTo>
                        <a:pt x="15" y="456"/>
                      </a:lnTo>
                      <a:lnTo>
                        <a:pt x="13" y="456"/>
                      </a:lnTo>
                      <a:lnTo>
                        <a:pt x="15" y="456"/>
                      </a:lnTo>
                      <a:lnTo>
                        <a:pt x="15" y="458"/>
                      </a:lnTo>
                      <a:lnTo>
                        <a:pt x="15" y="460"/>
                      </a:lnTo>
                      <a:lnTo>
                        <a:pt x="15" y="462"/>
                      </a:lnTo>
                      <a:lnTo>
                        <a:pt x="13" y="462"/>
                      </a:lnTo>
                      <a:lnTo>
                        <a:pt x="13" y="460"/>
                      </a:lnTo>
                      <a:lnTo>
                        <a:pt x="13" y="458"/>
                      </a:lnTo>
                      <a:lnTo>
                        <a:pt x="13" y="460"/>
                      </a:lnTo>
                      <a:lnTo>
                        <a:pt x="13" y="462"/>
                      </a:lnTo>
                      <a:lnTo>
                        <a:pt x="11" y="460"/>
                      </a:lnTo>
                      <a:lnTo>
                        <a:pt x="13" y="460"/>
                      </a:lnTo>
                      <a:lnTo>
                        <a:pt x="11" y="458"/>
                      </a:lnTo>
                      <a:lnTo>
                        <a:pt x="13" y="458"/>
                      </a:lnTo>
                      <a:lnTo>
                        <a:pt x="11" y="456"/>
                      </a:lnTo>
                      <a:lnTo>
                        <a:pt x="11" y="458"/>
                      </a:lnTo>
                      <a:lnTo>
                        <a:pt x="11" y="460"/>
                      </a:lnTo>
                      <a:lnTo>
                        <a:pt x="11" y="458"/>
                      </a:lnTo>
                      <a:lnTo>
                        <a:pt x="9" y="456"/>
                      </a:lnTo>
                      <a:lnTo>
                        <a:pt x="9" y="454"/>
                      </a:lnTo>
                      <a:lnTo>
                        <a:pt x="11" y="454"/>
                      </a:lnTo>
                      <a:lnTo>
                        <a:pt x="9" y="454"/>
                      </a:lnTo>
                      <a:lnTo>
                        <a:pt x="11" y="454"/>
                      </a:lnTo>
                      <a:lnTo>
                        <a:pt x="9" y="454"/>
                      </a:lnTo>
                      <a:lnTo>
                        <a:pt x="9" y="452"/>
                      </a:lnTo>
                      <a:lnTo>
                        <a:pt x="11" y="452"/>
                      </a:lnTo>
                      <a:lnTo>
                        <a:pt x="11" y="450"/>
                      </a:lnTo>
                      <a:lnTo>
                        <a:pt x="11" y="452"/>
                      </a:lnTo>
                      <a:lnTo>
                        <a:pt x="11" y="450"/>
                      </a:lnTo>
                      <a:lnTo>
                        <a:pt x="13" y="450"/>
                      </a:lnTo>
                      <a:lnTo>
                        <a:pt x="13" y="452"/>
                      </a:lnTo>
                      <a:lnTo>
                        <a:pt x="13" y="450"/>
                      </a:lnTo>
                      <a:lnTo>
                        <a:pt x="13" y="448"/>
                      </a:lnTo>
                      <a:lnTo>
                        <a:pt x="13" y="450"/>
                      </a:lnTo>
                      <a:lnTo>
                        <a:pt x="13" y="448"/>
                      </a:lnTo>
                      <a:lnTo>
                        <a:pt x="15" y="447"/>
                      </a:lnTo>
                      <a:lnTo>
                        <a:pt x="15" y="448"/>
                      </a:lnTo>
                      <a:lnTo>
                        <a:pt x="13" y="450"/>
                      </a:lnTo>
                      <a:lnTo>
                        <a:pt x="15" y="450"/>
                      </a:lnTo>
                      <a:lnTo>
                        <a:pt x="15" y="452"/>
                      </a:lnTo>
                      <a:lnTo>
                        <a:pt x="13" y="452"/>
                      </a:lnTo>
                      <a:lnTo>
                        <a:pt x="13" y="454"/>
                      </a:lnTo>
                      <a:lnTo>
                        <a:pt x="13" y="452"/>
                      </a:lnTo>
                      <a:lnTo>
                        <a:pt x="13" y="454"/>
                      </a:lnTo>
                      <a:lnTo>
                        <a:pt x="15" y="454"/>
                      </a:lnTo>
                      <a:lnTo>
                        <a:pt x="15" y="452"/>
                      </a:lnTo>
                      <a:lnTo>
                        <a:pt x="15" y="450"/>
                      </a:lnTo>
                      <a:lnTo>
                        <a:pt x="15" y="448"/>
                      </a:lnTo>
                      <a:lnTo>
                        <a:pt x="17" y="448"/>
                      </a:lnTo>
                      <a:lnTo>
                        <a:pt x="19" y="450"/>
                      </a:lnTo>
                      <a:lnTo>
                        <a:pt x="17" y="452"/>
                      </a:lnTo>
                      <a:lnTo>
                        <a:pt x="19" y="450"/>
                      </a:lnTo>
                      <a:lnTo>
                        <a:pt x="21" y="450"/>
                      </a:lnTo>
                      <a:lnTo>
                        <a:pt x="21" y="448"/>
                      </a:lnTo>
                      <a:lnTo>
                        <a:pt x="19" y="450"/>
                      </a:lnTo>
                      <a:lnTo>
                        <a:pt x="19" y="448"/>
                      </a:lnTo>
                      <a:lnTo>
                        <a:pt x="19" y="447"/>
                      </a:lnTo>
                      <a:lnTo>
                        <a:pt x="21" y="447"/>
                      </a:lnTo>
                      <a:lnTo>
                        <a:pt x="23" y="447"/>
                      </a:lnTo>
                      <a:lnTo>
                        <a:pt x="25" y="445"/>
                      </a:lnTo>
                      <a:lnTo>
                        <a:pt x="27" y="445"/>
                      </a:lnTo>
                      <a:lnTo>
                        <a:pt x="29" y="443"/>
                      </a:lnTo>
                      <a:lnTo>
                        <a:pt x="27" y="443"/>
                      </a:lnTo>
                      <a:lnTo>
                        <a:pt x="25" y="445"/>
                      </a:lnTo>
                      <a:lnTo>
                        <a:pt x="25" y="447"/>
                      </a:lnTo>
                      <a:lnTo>
                        <a:pt x="23" y="445"/>
                      </a:lnTo>
                      <a:lnTo>
                        <a:pt x="23" y="447"/>
                      </a:lnTo>
                      <a:lnTo>
                        <a:pt x="21" y="445"/>
                      </a:lnTo>
                      <a:lnTo>
                        <a:pt x="21" y="443"/>
                      </a:lnTo>
                      <a:lnTo>
                        <a:pt x="21" y="445"/>
                      </a:lnTo>
                      <a:lnTo>
                        <a:pt x="21" y="447"/>
                      </a:lnTo>
                      <a:lnTo>
                        <a:pt x="19" y="445"/>
                      </a:lnTo>
                      <a:lnTo>
                        <a:pt x="17" y="445"/>
                      </a:lnTo>
                      <a:lnTo>
                        <a:pt x="17" y="443"/>
                      </a:lnTo>
                      <a:lnTo>
                        <a:pt x="17" y="445"/>
                      </a:lnTo>
                      <a:lnTo>
                        <a:pt x="17" y="443"/>
                      </a:lnTo>
                      <a:lnTo>
                        <a:pt x="19" y="443"/>
                      </a:lnTo>
                      <a:lnTo>
                        <a:pt x="19" y="441"/>
                      </a:lnTo>
                      <a:lnTo>
                        <a:pt x="21" y="441"/>
                      </a:lnTo>
                      <a:lnTo>
                        <a:pt x="23" y="439"/>
                      </a:lnTo>
                      <a:lnTo>
                        <a:pt x="21" y="439"/>
                      </a:lnTo>
                      <a:lnTo>
                        <a:pt x="23" y="437"/>
                      </a:lnTo>
                      <a:lnTo>
                        <a:pt x="25" y="435"/>
                      </a:lnTo>
                      <a:lnTo>
                        <a:pt x="27" y="435"/>
                      </a:lnTo>
                      <a:lnTo>
                        <a:pt x="27" y="433"/>
                      </a:lnTo>
                      <a:lnTo>
                        <a:pt x="27" y="435"/>
                      </a:lnTo>
                      <a:lnTo>
                        <a:pt x="25" y="435"/>
                      </a:lnTo>
                      <a:lnTo>
                        <a:pt x="23" y="433"/>
                      </a:lnTo>
                      <a:lnTo>
                        <a:pt x="25" y="431"/>
                      </a:lnTo>
                      <a:lnTo>
                        <a:pt x="27" y="429"/>
                      </a:lnTo>
                      <a:lnTo>
                        <a:pt x="25" y="429"/>
                      </a:lnTo>
                      <a:lnTo>
                        <a:pt x="29" y="427"/>
                      </a:lnTo>
                      <a:lnTo>
                        <a:pt x="27" y="427"/>
                      </a:lnTo>
                      <a:lnTo>
                        <a:pt x="30" y="426"/>
                      </a:lnTo>
                      <a:lnTo>
                        <a:pt x="32" y="426"/>
                      </a:lnTo>
                      <a:lnTo>
                        <a:pt x="30" y="431"/>
                      </a:lnTo>
                      <a:lnTo>
                        <a:pt x="30" y="435"/>
                      </a:lnTo>
                      <a:lnTo>
                        <a:pt x="30" y="437"/>
                      </a:lnTo>
                      <a:lnTo>
                        <a:pt x="32" y="429"/>
                      </a:lnTo>
                      <a:lnTo>
                        <a:pt x="32" y="426"/>
                      </a:lnTo>
                      <a:lnTo>
                        <a:pt x="34" y="427"/>
                      </a:lnTo>
                      <a:lnTo>
                        <a:pt x="32" y="426"/>
                      </a:lnTo>
                      <a:lnTo>
                        <a:pt x="36" y="424"/>
                      </a:lnTo>
                      <a:lnTo>
                        <a:pt x="38" y="424"/>
                      </a:lnTo>
                      <a:lnTo>
                        <a:pt x="40" y="424"/>
                      </a:lnTo>
                      <a:lnTo>
                        <a:pt x="38" y="424"/>
                      </a:lnTo>
                      <a:lnTo>
                        <a:pt x="38" y="422"/>
                      </a:lnTo>
                      <a:lnTo>
                        <a:pt x="36" y="424"/>
                      </a:lnTo>
                      <a:lnTo>
                        <a:pt x="38" y="420"/>
                      </a:lnTo>
                      <a:lnTo>
                        <a:pt x="36" y="422"/>
                      </a:lnTo>
                      <a:lnTo>
                        <a:pt x="36" y="420"/>
                      </a:lnTo>
                      <a:lnTo>
                        <a:pt x="36" y="424"/>
                      </a:lnTo>
                      <a:lnTo>
                        <a:pt x="34" y="424"/>
                      </a:lnTo>
                      <a:lnTo>
                        <a:pt x="32" y="426"/>
                      </a:lnTo>
                      <a:lnTo>
                        <a:pt x="32" y="424"/>
                      </a:lnTo>
                      <a:lnTo>
                        <a:pt x="32" y="422"/>
                      </a:lnTo>
                      <a:lnTo>
                        <a:pt x="32" y="424"/>
                      </a:lnTo>
                      <a:lnTo>
                        <a:pt x="30" y="424"/>
                      </a:lnTo>
                      <a:lnTo>
                        <a:pt x="27" y="426"/>
                      </a:lnTo>
                      <a:lnTo>
                        <a:pt x="25" y="426"/>
                      </a:lnTo>
                      <a:lnTo>
                        <a:pt x="25" y="424"/>
                      </a:lnTo>
                      <a:lnTo>
                        <a:pt x="25" y="426"/>
                      </a:lnTo>
                      <a:lnTo>
                        <a:pt x="27" y="426"/>
                      </a:lnTo>
                      <a:lnTo>
                        <a:pt x="27" y="427"/>
                      </a:lnTo>
                      <a:lnTo>
                        <a:pt x="25" y="426"/>
                      </a:lnTo>
                      <a:lnTo>
                        <a:pt x="25" y="427"/>
                      </a:lnTo>
                      <a:lnTo>
                        <a:pt x="25" y="429"/>
                      </a:lnTo>
                      <a:lnTo>
                        <a:pt x="25" y="431"/>
                      </a:lnTo>
                      <a:lnTo>
                        <a:pt x="23" y="431"/>
                      </a:lnTo>
                      <a:lnTo>
                        <a:pt x="23" y="429"/>
                      </a:lnTo>
                      <a:lnTo>
                        <a:pt x="23" y="431"/>
                      </a:lnTo>
                      <a:lnTo>
                        <a:pt x="21" y="431"/>
                      </a:lnTo>
                      <a:lnTo>
                        <a:pt x="21" y="433"/>
                      </a:lnTo>
                      <a:lnTo>
                        <a:pt x="21" y="437"/>
                      </a:lnTo>
                      <a:lnTo>
                        <a:pt x="19" y="439"/>
                      </a:lnTo>
                      <a:lnTo>
                        <a:pt x="17" y="439"/>
                      </a:lnTo>
                      <a:lnTo>
                        <a:pt x="17" y="437"/>
                      </a:lnTo>
                      <a:lnTo>
                        <a:pt x="19" y="437"/>
                      </a:lnTo>
                      <a:lnTo>
                        <a:pt x="17" y="437"/>
                      </a:lnTo>
                      <a:lnTo>
                        <a:pt x="19" y="437"/>
                      </a:lnTo>
                      <a:lnTo>
                        <a:pt x="19" y="435"/>
                      </a:lnTo>
                      <a:lnTo>
                        <a:pt x="19" y="437"/>
                      </a:lnTo>
                      <a:lnTo>
                        <a:pt x="19" y="435"/>
                      </a:lnTo>
                      <a:lnTo>
                        <a:pt x="19" y="437"/>
                      </a:lnTo>
                      <a:lnTo>
                        <a:pt x="17" y="435"/>
                      </a:lnTo>
                      <a:lnTo>
                        <a:pt x="19" y="435"/>
                      </a:lnTo>
                      <a:lnTo>
                        <a:pt x="17" y="433"/>
                      </a:lnTo>
                      <a:lnTo>
                        <a:pt x="19" y="433"/>
                      </a:lnTo>
                      <a:lnTo>
                        <a:pt x="17" y="433"/>
                      </a:lnTo>
                      <a:lnTo>
                        <a:pt x="15" y="435"/>
                      </a:lnTo>
                      <a:lnTo>
                        <a:pt x="15" y="433"/>
                      </a:lnTo>
                      <a:lnTo>
                        <a:pt x="15" y="431"/>
                      </a:lnTo>
                      <a:lnTo>
                        <a:pt x="17" y="431"/>
                      </a:lnTo>
                      <a:lnTo>
                        <a:pt x="15" y="431"/>
                      </a:lnTo>
                      <a:lnTo>
                        <a:pt x="17" y="429"/>
                      </a:lnTo>
                      <a:lnTo>
                        <a:pt x="15" y="431"/>
                      </a:lnTo>
                      <a:lnTo>
                        <a:pt x="17" y="429"/>
                      </a:lnTo>
                      <a:lnTo>
                        <a:pt x="17" y="427"/>
                      </a:lnTo>
                      <a:lnTo>
                        <a:pt x="19" y="427"/>
                      </a:lnTo>
                      <a:lnTo>
                        <a:pt x="19" y="426"/>
                      </a:lnTo>
                      <a:lnTo>
                        <a:pt x="17" y="426"/>
                      </a:lnTo>
                      <a:lnTo>
                        <a:pt x="17" y="427"/>
                      </a:lnTo>
                      <a:lnTo>
                        <a:pt x="15" y="427"/>
                      </a:lnTo>
                      <a:lnTo>
                        <a:pt x="15" y="429"/>
                      </a:lnTo>
                      <a:lnTo>
                        <a:pt x="15" y="431"/>
                      </a:lnTo>
                      <a:lnTo>
                        <a:pt x="15" y="433"/>
                      </a:lnTo>
                      <a:lnTo>
                        <a:pt x="13" y="433"/>
                      </a:lnTo>
                      <a:lnTo>
                        <a:pt x="13" y="435"/>
                      </a:lnTo>
                      <a:lnTo>
                        <a:pt x="13" y="433"/>
                      </a:lnTo>
                      <a:lnTo>
                        <a:pt x="11" y="433"/>
                      </a:lnTo>
                      <a:lnTo>
                        <a:pt x="11" y="431"/>
                      </a:lnTo>
                      <a:lnTo>
                        <a:pt x="11" y="433"/>
                      </a:lnTo>
                      <a:lnTo>
                        <a:pt x="11" y="431"/>
                      </a:lnTo>
                      <a:lnTo>
                        <a:pt x="9" y="431"/>
                      </a:lnTo>
                      <a:lnTo>
                        <a:pt x="11" y="431"/>
                      </a:lnTo>
                      <a:lnTo>
                        <a:pt x="11" y="429"/>
                      </a:lnTo>
                      <a:lnTo>
                        <a:pt x="11" y="431"/>
                      </a:lnTo>
                      <a:lnTo>
                        <a:pt x="9" y="429"/>
                      </a:lnTo>
                      <a:lnTo>
                        <a:pt x="11" y="427"/>
                      </a:lnTo>
                      <a:lnTo>
                        <a:pt x="11" y="429"/>
                      </a:lnTo>
                      <a:lnTo>
                        <a:pt x="11" y="427"/>
                      </a:lnTo>
                      <a:lnTo>
                        <a:pt x="11" y="429"/>
                      </a:lnTo>
                      <a:lnTo>
                        <a:pt x="9" y="427"/>
                      </a:lnTo>
                      <a:lnTo>
                        <a:pt x="11" y="427"/>
                      </a:lnTo>
                      <a:lnTo>
                        <a:pt x="9" y="427"/>
                      </a:lnTo>
                      <a:lnTo>
                        <a:pt x="9" y="429"/>
                      </a:lnTo>
                      <a:lnTo>
                        <a:pt x="9" y="427"/>
                      </a:lnTo>
                      <a:lnTo>
                        <a:pt x="9" y="426"/>
                      </a:lnTo>
                      <a:lnTo>
                        <a:pt x="11" y="426"/>
                      </a:lnTo>
                      <a:lnTo>
                        <a:pt x="11" y="424"/>
                      </a:lnTo>
                      <a:lnTo>
                        <a:pt x="11" y="426"/>
                      </a:lnTo>
                      <a:lnTo>
                        <a:pt x="11" y="424"/>
                      </a:lnTo>
                      <a:lnTo>
                        <a:pt x="9" y="424"/>
                      </a:lnTo>
                      <a:lnTo>
                        <a:pt x="9" y="422"/>
                      </a:lnTo>
                      <a:lnTo>
                        <a:pt x="11" y="422"/>
                      </a:lnTo>
                      <a:lnTo>
                        <a:pt x="13" y="426"/>
                      </a:lnTo>
                      <a:lnTo>
                        <a:pt x="13" y="424"/>
                      </a:lnTo>
                      <a:lnTo>
                        <a:pt x="15" y="426"/>
                      </a:lnTo>
                      <a:lnTo>
                        <a:pt x="17" y="424"/>
                      </a:lnTo>
                      <a:lnTo>
                        <a:pt x="17" y="422"/>
                      </a:lnTo>
                      <a:lnTo>
                        <a:pt x="19" y="420"/>
                      </a:lnTo>
                      <a:lnTo>
                        <a:pt x="17" y="422"/>
                      </a:lnTo>
                      <a:lnTo>
                        <a:pt x="17" y="420"/>
                      </a:lnTo>
                      <a:lnTo>
                        <a:pt x="17" y="418"/>
                      </a:lnTo>
                      <a:lnTo>
                        <a:pt x="19" y="418"/>
                      </a:lnTo>
                      <a:lnTo>
                        <a:pt x="19" y="420"/>
                      </a:lnTo>
                      <a:lnTo>
                        <a:pt x="19" y="418"/>
                      </a:lnTo>
                      <a:lnTo>
                        <a:pt x="21" y="418"/>
                      </a:lnTo>
                      <a:lnTo>
                        <a:pt x="19" y="418"/>
                      </a:lnTo>
                      <a:lnTo>
                        <a:pt x="17" y="418"/>
                      </a:lnTo>
                      <a:lnTo>
                        <a:pt x="17" y="416"/>
                      </a:lnTo>
                      <a:lnTo>
                        <a:pt x="19" y="416"/>
                      </a:lnTo>
                      <a:lnTo>
                        <a:pt x="19" y="414"/>
                      </a:lnTo>
                      <a:lnTo>
                        <a:pt x="17" y="416"/>
                      </a:lnTo>
                      <a:lnTo>
                        <a:pt x="17" y="414"/>
                      </a:lnTo>
                      <a:lnTo>
                        <a:pt x="19" y="414"/>
                      </a:lnTo>
                      <a:lnTo>
                        <a:pt x="19" y="412"/>
                      </a:lnTo>
                      <a:lnTo>
                        <a:pt x="17" y="416"/>
                      </a:lnTo>
                      <a:lnTo>
                        <a:pt x="15" y="416"/>
                      </a:lnTo>
                      <a:lnTo>
                        <a:pt x="15" y="418"/>
                      </a:lnTo>
                      <a:lnTo>
                        <a:pt x="13" y="418"/>
                      </a:lnTo>
                      <a:lnTo>
                        <a:pt x="13" y="420"/>
                      </a:lnTo>
                      <a:lnTo>
                        <a:pt x="11" y="420"/>
                      </a:lnTo>
                      <a:lnTo>
                        <a:pt x="13" y="420"/>
                      </a:lnTo>
                      <a:lnTo>
                        <a:pt x="11" y="420"/>
                      </a:lnTo>
                      <a:lnTo>
                        <a:pt x="11" y="422"/>
                      </a:lnTo>
                      <a:lnTo>
                        <a:pt x="9" y="420"/>
                      </a:lnTo>
                      <a:lnTo>
                        <a:pt x="9" y="418"/>
                      </a:lnTo>
                      <a:lnTo>
                        <a:pt x="8" y="418"/>
                      </a:lnTo>
                      <a:lnTo>
                        <a:pt x="8" y="416"/>
                      </a:lnTo>
                      <a:lnTo>
                        <a:pt x="9" y="418"/>
                      </a:lnTo>
                      <a:lnTo>
                        <a:pt x="11" y="418"/>
                      </a:lnTo>
                      <a:lnTo>
                        <a:pt x="9" y="418"/>
                      </a:lnTo>
                      <a:lnTo>
                        <a:pt x="8" y="416"/>
                      </a:lnTo>
                      <a:lnTo>
                        <a:pt x="9" y="416"/>
                      </a:lnTo>
                      <a:lnTo>
                        <a:pt x="8" y="416"/>
                      </a:lnTo>
                      <a:lnTo>
                        <a:pt x="9" y="416"/>
                      </a:lnTo>
                      <a:lnTo>
                        <a:pt x="8" y="414"/>
                      </a:lnTo>
                      <a:lnTo>
                        <a:pt x="8" y="416"/>
                      </a:lnTo>
                      <a:lnTo>
                        <a:pt x="8" y="414"/>
                      </a:lnTo>
                      <a:lnTo>
                        <a:pt x="6" y="412"/>
                      </a:lnTo>
                      <a:lnTo>
                        <a:pt x="8" y="414"/>
                      </a:lnTo>
                      <a:lnTo>
                        <a:pt x="9" y="414"/>
                      </a:lnTo>
                      <a:lnTo>
                        <a:pt x="11" y="416"/>
                      </a:lnTo>
                      <a:lnTo>
                        <a:pt x="11" y="418"/>
                      </a:lnTo>
                      <a:lnTo>
                        <a:pt x="13" y="418"/>
                      </a:lnTo>
                      <a:lnTo>
                        <a:pt x="11" y="416"/>
                      </a:lnTo>
                      <a:lnTo>
                        <a:pt x="13" y="418"/>
                      </a:lnTo>
                      <a:lnTo>
                        <a:pt x="11" y="416"/>
                      </a:lnTo>
                      <a:lnTo>
                        <a:pt x="13" y="416"/>
                      </a:lnTo>
                      <a:lnTo>
                        <a:pt x="13" y="418"/>
                      </a:lnTo>
                      <a:lnTo>
                        <a:pt x="13" y="416"/>
                      </a:lnTo>
                      <a:lnTo>
                        <a:pt x="13" y="414"/>
                      </a:lnTo>
                      <a:lnTo>
                        <a:pt x="11" y="416"/>
                      </a:lnTo>
                      <a:lnTo>
                        <a:pt x="11" y="414"/>
                      </a:lnTo>
                      <a:lnTo>
                        <a:pt x="9" y="414"/>
                      </a:lnTo>
                      <a:lnTo>
                        <a:pt x="11" y="412"/>
                      </a:lnTo>
                      <a:lnTo>
                        <a:pt x="11" y="410"/>
                      </a:lnTo>
                      <a:lnTo>
                        <a:pt x="13" y="410"/>
                      </a:lnTo>
                      <a:lnTo>
                        <a:pt x="15" y="410"/>
                      </a:lnTo>
                      <a:lnTo>
                        <a:pt x="13" y="410"/>
                      </a:lnTo>
                      <a:lnTo>
                        <a:pt x="15" y="408"/>
                      </a:lnTo>
                      <a:lnTo>
                        <a:pt x="13" y="410"/>
                      </a:lnTo>
                      <a:lnTo>
                        <a:pt x="11" y="410"/>
                      </a:lnTo>
                      <a:lnTo>
                        <a:pt x="11" y="412"/>
                      </a:lnTo>
                      <a:lnTo>
                        <a:pt x="9" y="412"/>
                      </a:lnTo>
                      <a:lnTo>
                        <a:pt x="9" y="410"/>
                      </a:lnTo>
                      <a:lnTo>
                        <a:pt x="9" y="412"/>
                      </a:lnTo>
                      <a:lnTo>
                        <a:pt x="8" y="412"/>
                      </a:lnTo>
                      <a:lnTo>
                        <a:pt x="8" y="410"/>
                      </a:lnTo>
                      <a:lnTo>
                        <a:pt x="6" y="410"/>
                      </a:lnTo>
                      <a:lnTo>
                        <a:pt x="8" y="408"/>
                      </a:lnTo>
                      <a:lnTo>
                        <a:pt x="6" y="408"/>
                      </a:lnTo>
                      <a:lnTo>
                        <a:pt x="8" y="408"/>
                      </a:lnTo>
                      <a:lnTo>
                        <a:pt x="8" y="410"/>
                      </a:lnTo>
                      <a:lnTo>
                        <a:pt x="8" y="408"/>
                      </a:lnTo>
                      <a:lnTo>
                        <a:pt x="9" y="408"/>
                      </a:lnTo>
                      <a:lnTo>
                        <a:pt x="9" y="406"/>
                      </a:lnTo>
                      <a:lnTo>
                        <a:pt x="11" y="406"/>
                      </a:lnTo>
                      <a:lnTo>
                        <a:pt x="9" y="408"/>
                      </a:lnTo>
                      <a:lnTo>
                        <a:pt x="9" y="406"/>
                      </a:lnTo>
                      <a:lnTo>
                        <a:pt x="8" y="408"/>
                      </a:lnTo>
                      <a:lnTo>
                        <a:pt x="8" y="406"/>
                      </a:lnTo>
                      <a:lnTo>
                        <a:pt x="6" y="406"/>
                      </a:lnTo>
                      <a:lnTo>
                        <a:pt x="8" y="405"/>
                      </a:lnTo>
                      <a:lnTo>
                        <a:pt x="6" y="405"/>
                      </a:lnTo>
                      <a:lnTo>
                        <a:pt x="8" y="405"/>
                      </a:lnTo>
                      <a:lnTo>
                        <a:pt x="8" y="403"/>
                      </a:lnTo>
                      <a:lnTo>
                        <a:pt x="9" y="405"/>
                      </a:lnTo>
                      <a:lnTo>
                        <a:pt x="11" y="405"/>
                      </a:lnTo>
                      <a:lnTo>
                        <a:pt x="13" y="406"/>
                      </a:lnTo>
                      <a:lnTo>
                        <a:pt x="13" y="405"/>
                      </a:lnTo>
                      <a:lnTo>
                        <a:pt x="13" y="406"/>
                      </a:lnTo>
                      <a:lnTo>
                        <a:pt x="13" y="405"/>
                      </a:lnTo>
                      <a:lnTo>
                        <a:pt x="15" y="405"/>
                      </a:lnTo>
                      <a:lnTo>
                        <a:pt x="17" y="405"/>
                      </a:lnTo>
                      <a:lnTo>
                        <a:pt x="15" y="403"/>
                      </a:lnTo>
                      <a:lnTo>
                        <a:pt x="17" y="403"/>
                      </a:lnTo>
                      <a:lnTo>
                        <a:pt x="19" y="403"/>
                      </a:lnTo>
                      <a:lnTo>
                        <a:pt x="19" y="405"/>
                      </a:lnTo>
                      <a:lnTo>
                        <a:pt x="19" y="403"/>
                      </a:lnTo>
                      <a:lnTo>
                        <a:pt x="21" y="403"/>
                      </a:lnTo>
                      <a:lnTo>
                        <a:pt x="19" y="403"/>
                      </a:lnTo>
                      <a:lnTo>
                        <a:pt x="21" y="403"/>
                      </a:lnTo>
                      <a:lnTo>
                        <a:pt x="23" y="403"/>
                      </a:lnTo>
                      <a:lnTo>
                        <a:pt x="25" y="403"/>
                      </a:lnTo>
                      <a:lnTo>
                        <a:pt x="27" y="403"/>
                      </a:lnTo>
                      <a:lnTo>
                        <a:pt x="27" y="405"/>
                      </a:lnTo>
                      <a:lnTo>
                        <a:pt x="29" y="405"/>
                      </a:lnTo>
                      <a:lnTo>
                        <a:pt x="29" y="406"/>
                      </a:lnTo>
                      <a:lnTo>
                        <a:pt x="27" y="406"/>
                      </a:lnTo>
                      <a:lnTo>
                        <a:pt x="29" y="406"/>
                      </a:lnTo>
                      <a:lnTo>
                        <a:pt x="29" y="405"/>
                      </a:lnTo>
                      <a:lnTo>
                        <a:pt x="30" y="403"/>
                      </a:lnTo>
                      <a:lnTo>
                        <a:pt x="32" y="401"/>
                      </a:lnTo>
                      <a:lnTo>
                        <a:pt x="36" y="401"/>
                      </a:lnTo>
                      <a:lnTo>
                        <a:pt x="36" y="403"/>
                      </a:lnTo>
                      <a:lnTo>
                        <a:pt x="36" y="405"/>
                      </a:lnTo>
                      <a:lnTo>
                        <a:pt x="38" y="403"/>
                      </a:lnTo>
                      <a:lnTo>
                        <a:pt x="38" y="405"/>
                      </a:lnTo>
                      <a:lnTo>
                        <a:pt x="38" y="406"/>
                      </a:lnTo>
                      <a:lnTo>
                        <a:pt x="36" y="408"/>
                      </a:lnTo>
                      <a:lnTo>
                        <a:pt x="36" y="410"/>
                      </a:lnTo>
                      <a:lnTo>
                        <a:pt x="36" y="408"/>
                      </a:lnTo>
                      <a:lnTo>
                        <a:pt x="38" y="406"/>
                      </a:lnTo>
                      <a:lnTo>
                        <a:pt x="40" y="408"/>
                      </a:lnTo>
                      <a:lnTo>
                        <a:pt x="40" y="410"/>
                      </a:lnTo>
                      <a:lnTo>
                        <a:pt x="40" y="408"/>
                      </a:lnTo>
                      <a:lnTo>
                        <a:pt x="40" y="406"/>
                      </a:lnTo>
                      <a:lnTo>
                        <a:pt x="38" y="405"/>
                      </a:lnTo>
                      <a:lnTo>
                        <a:pt x="38" y="403"/>
                      </a:lnTo>
                      <a:lnTo>
                        <a:pt x="42" y="403"/>
                      </a:lnTo>
                      <a:lnTo>
                        <a:pt x="42" y="401"/>
                      </a:lnTo>
                      <a:lnTo>
                        <a:pt x="44" y="403"/>
                      </a:lnTo>
                      <a:lnTo>
                        <a:pt x="46" y="403"/>
                      </a:lnTo>
                      <a:lnTo>
                        <a:pt x="44" y="403"/>
                      </a:lnTo>
                      <a:lnTo>
                        <a:pt x="44" y="401"/>
                      </a:lnTo>
                      <a:lnTo>
                        <a:pt x="46" y="401"/>
                      </a:lnTo>
                      <a:lnTo>
                        <a:pt x="48" y="401"/>
                      </a:lnTo>
                      <a:lnTo>
                        <a:pt x="48" y="399"/>
                      </a:lnTo>
                      <a:lnTo>
                        <a:pt x="49" y="399"/>
                      </a:lnTo>
                      <a:lnTo>
                        <a:pt x="48" y="399"/>
                      </a:lnTo>
                      <a:lnTo>
                        <a:pt x="44" y="399"/>
                      </a:lnTo>
                      <a:lnTo>
                        <a:pt x="44" y="397"/>
                      </a:lnTo>
                      <a:lnTo>
                        <a:pt x="42" y="397"/>
                      </a:lnTo>
                      <a:lnTo>
                        <a:pt x="44" y="395"/>
                      </a:lnTo>
                      <a:lnTo>
                        <a:pt x="44" y="393"/>
                      </a:lnTo>
                      <a:lnTo>
                        <a:pt x="48" y="391"/>
                      </a:lnTo>
                      <a:lnTo>
                        <a:pt x="48" y="389"/>
                      </a:lnTo>
                      <a:lnTo>
                        <a:pt x="46" y="391"/>
                      </a:lnTo>
                      <a:lnTo>
                        <a:pt x="46" y="393"/>
                      </a:lnTo>
                      <a:lnTo>
                        <a:pt x="44" y="393"/>
                      </a:lnTo>
                      <a:lnTo>
                        <a:pt x="42" y="393"/>
                      </a:lnTo>
                      <a:lnTo>
                        <a:pt x="44" y="395"/>
                      </a:lnTo>
                      <a:lnTo>
                        <a:pt x="42" y="397"/>
                      </a:lnTo>
                      <a:lnTo>
                        <a:pt x="44" y="397"/>
                      </a:lnTo>
                      <a:lnTo>
                        <a:pt x="44" y="401"/>
                      </a:lnTo>
                      <a:lnTo>
                        <a:pt x="42" y="401"/>
                      </a:lnTo>
                      <a:lnTo>
                        <a:pt x="40" y="401"/>
                      </a:lnTo>
                      <a:lnTo>
                        <a:pt x="40" y="403"/>
                      </a:lnTo>
                      <a:lnTo>
                        <a:pt x="38" y="403"/>
                      </a:lnTo>
                      <a:lnTo>
                        <a:pt x="36" y="403"/>
                      </a:lnTo>
                      <a:lnTo>
                        <a:pt x="36" y="401"/>
                      </a:lnTo>
                      <a:lnTo>
                        <a:pt x="38" y="401"/>
                      </a:lnTo>
                      <a:lnTo>
                        <a:pt x="40" y="399"/>
                      </a:lnTo>
                      <a:lnTo>
                        <a:pt x="40" y="397"/>
                      </a:lnTo>
                      <a:lnTo>
                        <a:pt x="40" y="399"/>
                      </a:lnTo>
                      <a:lnTo>
                        <a:pt x="38" y="401"/>
                      </a:lnTo>
                      <a:lnTo>
                        <a:pt x="36" y="401"/>
                      </a:lnTo>
                      <a:lnTo>
                        <a:pt x="34" y="401"/>
                      </a:lnTo>
                      <a:lnTo>
                        <a:pt x="32" y="399"/>
                      </a:lnTo>
                      <a:lnTo>
                        <a:pt x="30" y="399"/>
                      </a:lnTo>
                      <a:lnTo>
                        <a:pt x="32" y="397"/>
                      </a:lnTo>
                      <a:lnTo>
                        <a:pt x="34" y="395"/>
                      </a:lnTo>
                      <a:lnTo>
                        <a:pt x="34" y="393"/>
                      </a:lnTo>
                      <a:lnTo>
                        <a:pt x="32" y="397"/>
                      </a:lnTo>
                      <a:lnTo>
                        <a:pt x="30" y="399"/>
                      </a:lnTo>
                      <a:lnTo>
                        <a:pt x="30" y="397"/>
                      </a:lnTo>
                      <a:lnTo>
                        <a:pt x="30" y="399"/>
                      </a:lnTo>
                      <a:lnTo>
                        <a:pt x="30" y="403"/>
                      </a:lnTo>
                      <a:lnTo>
                        <a:pt x="29" y="403"/>
                      </a:lnTo>
                      <a:lnTo>
                        <a:pt x="27" y="403"/>
                      </a:lnTo>
                      <a:lnTo>
                        <a:pt x="25" y="401"/>
                      </a:lnTo>
                      <a:lnTo>
                        <a:pt x="23" y="401"/>
                      </a:lnTo>
                      <a:lnTo>
                        <a:pt x="23" y="399"/>
                      </a:lnTo>
                      <a:lnTo>
                        <a:pt x="23" y="401"/>
                      </a:lnTo>
                      <a:lnTo>
                        <a:pt x="21" y="401"/>
                      </a:lnTo>
                      <a:lnTo>
                        <a:pt x="19" y="401"/>
                      </a:lnTo>
                      <a:lnTo>
                        <a:pt x="19" y="399"/>
                      </a:lnTo>
                      <a:lnTo>
                        <a:pt x="19" y="401"/>
                      </a:lnTo>
                      <a:lnTo>
                        <a:pt x="17" y="401"/>
                      </a:lnTo>
                      <a:lnTo>
                        <a:pt x="17" y="403"/>
                      </a:lnTo>
                      <a:lnTo>
                        <a:pt x="15" y="401"/>
                      </a:lnTo>
                      <a:lnTo>
                        <a:pt x="15" y="403"/>
                      </a:lnTo>
                      <a:lnTo>
                        <a:pt x="13" y="405"/>
                      </a:lnTo>
                      <a:lnTo>
                        <a:pt x="11" y="403"/>
                      </a:lnTo>
                      <a:lnTo>
                        <a:pt x="9" y="403"/>
                      </a:lnTo>
                      <a:lnTo>
                        <a:pt x="9" y="401"/>
                      </a:lnTo>
                      <a:lnTo>
                        <a:pt x="9" y="403"/>
                      </a:lnTo>
                      <a:lnTo>
                        <a:pt x="11" y="403"/>
                      </a:lnTo>
                      <a:lnTo>
                        <a:pt x="9" y="401"/>
                      </a:lnTo>
                      <a:lnTo>
                        <a:pt x="8" y="401"/>
                      </a:lnTo>
                      <a:lnTo>
                        <a:pt x="9" y="399"/>
                      </a:lnTo>
                      <a:lnTo>
                        <a:pt x="9" y="401"/>
                      </a:lnTo>
                      <a:lnTo>
                        <a:pt x="11" y="401"/>
                      </a:lnTo>
                      <a:lnTo>
                        <a:pt x="9" y="401"/>
                      </a:lnTo>
                      <a:lnTo>
                        <a:pt x="11" y="401"/>
                      </a:lnTo>
                      <a:lnTo>
                        <a:pt x="9" y="399"/>
                      </a:lnTo>
                      <a:lnTo>
                        <a:pt x="6" y="399"/>
                      </a:lnTo>
                      <a:lnTo>
                        <a:pt x="8" y="399"/>
                      </a:lnTo>
                      <a:lnTo>
                        <a:pt x="6" y="399"/>
                      </a:lnTo>
                      <a:lnTo>
                        <a:pt x="6" y="397"/>
                      </a:lnTo>
                      <a:lnTo>
                        <a:pt x="6" y="399"/>
                      </a:lnTo>
                      <a:lnTo>
                        <a:pt x="6" y="397"/>
                      </a:lnTo>
                      <a:lnTo>
                        <a:pt x="8" y="397"/>
                      </a:lnTo>
                      <a:lnTo>
                        <a:pt x="6" y="397"/>
                      </a:lnTo>
                      <a:lnTo>
                        <a:pt x="8" y="397"/>
                      </a:lnTo>
                      <a:lnTo>
                        <a:pt x="8" y="395"/>
                      </a:lnTo>
                      <a:lnTo>
                        <a:pt x="9" y="397"/>
                      </a:lnTo>
                      <a:lnTo>
                        <a:pt x="9" y="395"/>
                      </a:lnTo>
                      <a:lnTo>
                        <a:pt x="11" y="395"/>
                      </a:lnTo>
                      <a:lnTo>
                        <a:pt x="11" y="397"/>
                      </a:lnTo>
                      <a:lnTo>
                        <a:pt x="11" y="395"/>
                      </a:lnTo>
                      <a:lnTo>
                        <a:pt x="13" y="393"/>
                      </a:lnTo>
                      <a:lnTo>
                        <a:pt x="17" y="395"/>
                      </a:lnTo>
                      <a:lnTo>
                        <a:pt x="13" y="393"/>
                      </a:lnTo>
                      <a:lnTo>
                        <a:pt x="9" y="395"/>
                      </a:lnTo>
                      <a:lnTo>
                        <a:pt x="8" y="395"/>
                      </a:lnTo>
                      <a:lnTo>
                        <a:pt x="6" y="393"/>
                      </a:lnTo>
                      <a:lnTo>
                        <a:pt x="8" y="393"/>
                      </a:lnTo>
                      <a:lnTo>
                        <a:pt x="9" y="393"/>
                      </a:lnTo>
                      <a:lnTo>
                        <a:pt x="6" y="393"/>
                      </a:lnTo>
                      <a:lnTo>
                        <a:pt x="8" y="391"/>
                      </a:lnTo>
                      <a:lnTo>
                        <a:pt x="9" y="391"/>
                      </a:lnTo>
                      <a:lnTo>
                        <a:pt x="11" y="391"/>
                      </a:lnTo>
                      <a:lnTo>
                        <a:pt x="13" y="391"/>
                      </a:lnTo>
                      <a:lnTo>
                        <a:pt x="15" y="391"/>
                      </a:lnTo>
                      <a:lnTo>
                        <a:pt x="17" y="389"/>
                      </a:lnTo>
                      <a:lnTo>
                        <a:pt x="19" y="391"/>
                      </a:lnTo>
                      <a:lnTo>
                        <a:pt x="19" y="389"/>
                      </a:lnTo>
                      <a:lnTo>
                        <a:pt x="17" y="389"/>
                      </a:lnTo>
                      <a:lnTo>
                        <a:pt x="15" y="391"/>
                      </a:lnTo>
                      <a:lnTo>
                        <a:pt x="13" y="391"/>
                      </a:lnTo>
                      <a:lnTo>
                        <a:pt x="13" y="389"/>
                      </a:lnTo>
                      <a:lnTo>
                        <a:pt x="11" y="389"/>
                      </a:lnTo>
                      <a:lnTo>
                        <a:pt x="9" y="389"/>
                      </a:lnTo>
                      <a:lnTo>
                        <a:pt x="9" y="387"/>
                      </a:lnTo>
                      <a:lnTo>
                        <a:pt x="9" y="389"/>
                      </a:lnTo>
                      <a:lnTo>
                        <a:pt x="11" y="389"/>
                      </a:lnTo>
                      <a:lnTo>
                        <a:pt x="11" y="387"/>
                      </a:lnTo>
                      <a:lnTo>
                        <a:pt x="13" y="387"/>
                      </a:lnTo>
                      <a:lnTo>
                        <a:pt x="9" y="387"/>
                      </a:lnTo>
                      <a:lnTo>
                        <a:pt x="11" y="386"/>
                      </a:lnTo>
                      <a:lnTo>
                        <a:pt x="13" y="387"/>
                      </a:lnTo>
                      <a:lnTo>
                        <a:pt x="11" y="387"/>
                      </a:lnTo>
                      <a:lnTo>
                        <a:pt x="13" y="387"/>
                      </a:lnTo>
                      <a:lnTo>
                        <a:pt x="13" y="386"/>
                      </a:lnTo>
                      <a:lnTo>
                        <a:pt x="11" y="386"/>
                      </a:lnTo>
                      <a:lnTo>
                        <a:pt x="9" y="386"/>
                      </a:lnTo>
                      <a:lnTo>
                        <a:pt x="8" y="386"/>
                      </a:lnTo>
                      <a:lnTo>
                        <a:pt x="8" y="387"/>
                      </a:lnTo>
                      <a:lnTo>
                        <a:pt x="8" y="386"/>
                      </a:lnTo>
                      <a:lnTo>
                        <a:pt x="11" y="386"/>
                      </a:lnTo>
                      <a:lnTo>
                        <a:pt x="13" y="386"/>
                      </a:lnTo>
                      <a:lnTo>
                        <a:pt x="11" y="386"/>
                      </a:lnTo>
                      <a:lnTo>
                        <a:pt x="8" y="386"/>
                      </a:lnTo>
                      <a:lnTo>
                        <a:pt x="6" y="386"/>
                      </a:lnTo>
                      <a:lnTo>
                        <a:pt x="6" y="384"/>
                      </a:lnTo>
                      <a:lnTo>
                        <a:pt x="6" y="382"/>
                      </a:lnTo>
                      <a:lnTo>
                        <a:pt x="8" y="382"/>
                      </a:lnTo>
                      <a:lnTo>
                        <a:pt x="8" y="384"/>
                      </a:lnTo>
                      <a:lnTo>
                        <a:pt x="8" y="382"/>
                      </a:lnTo>
                      <a:lnTo>
                        <a:pt x="9" y="384"/>
                      </a:lnTo>
                      <a:lnTo>
                        <a:pt x="9" y="382"/>
                      </a:lnTo>
                      <a:lnTo>
                        <a:pt x="8" y="382"/>
                      </a:lnTo>
                      <a:lnTo>
                        <a:pt x="9" y="382"/>
                      </a:lnTo>
                      <a:lnTo>
                        <a:pt x="11" y="380"/>
                      </a:lnTo>
                      <a:lnTo>
                        <a:pt x="9" y="380"/>
                      </a:lnTo>
                      <a:lnTo>
                        <a:pt x="8" y="382"/>
                      </a:lnTo>
                      <a:lnTo>
                        <a:pt x="8" y="380"/>
                      </a:lnTo>
                      <a:lnTo>
                        <a:pt x="9" y="380"/>
                      </a:lnTo>
                      <a:lnTo>
                        <a:pt x="11" y="380"/>
                      </a:lnTo>
                      <a:lnTo>
                        <a:pt x="11" y="378"/>
                      </a:lnTo>
                      <a:lnTo>
                        <a:pt x="11" y="376"/>
                      </a:lnTo>
                      <a:lnTo>
                        <a:pt x="13" y="376"/>
                      </a:lnTo>
                      <a:lnTo>
                        <a:pt x="15" y="376"/>
                      </a:lnTo>
                      <a:lnTo>
                        <a:pt x="17" y="378"/>
                      </a:lnTo>
                      <a:lnTo>
                        <a:pt x="19" y="378"/>
                      </a:lnTo>
                      <a:lnTo>
                        <a:pt x="17" y="378"/>
                      </a:lnTo>
                      <a:lnTo>
                        <a:pt x="17" y="380"/>
                      </a:lnTo>
                      <a:lnTo>
                        <a:pt x="17" y="378"/>
                      </a:lnTo>
                      <a:lnTo>
                        <a:pt x="19" y="378"/>
                      </a:lnTo>
                      <a:lnTo>
                        <a:pt x="21" y="378"/>
                      </a:lnTo>
                      <a:lnTo>
                        <a:pt x="21" y="382"/>
                      </a:lnTo>
                      <a:lnTo>
                        <a:pt x="21" y="378"/>
                      </a:lnTo>
                      <a:lnTo>
                        <a:pt x="23" y="378"/>
                      </a:lnTo>
                      <a:lnTo>
                        <a:pt x="25" y="380"/>
                      </a:lnTo>
                      <a:lnTo>
                        <a:pt x="25" y="382"/>
                      </a:lnTo>
                      <a:lnTo>
                        <a:pt x="25" y="380"/>
                      </a:lnTo>
                      <a:lnTo>
                        <a:pt x="23" y="378"/>
                      </a:lnTo>
                      <a:lnTo>
                        <a:pt x="25" y="378"/>
                      </a:lnTo>
                      <a:lnTo>
                        <a:pt x="27" y="378"/>
                      </a:lnTo>
                      <a:lnTo>
                        <a:pt x="29" y="380"/>
                      </a:lnTo>
                      <a:lnTo>
                        <a:pt x="30" y="380"/>
                      </a:lnTo>
                      <a:lnTo>
                        <a:pt x="32" y="378"/>
                      </a:lnTo>
                      <a:lnTo>
                        <a:pt x="30" y="378"/>
                      </a:lnTo>
                      <a:lnTo>
                        <a:pt x="34" y="378"/>
                      </a:lnTo>
                      <a:lnTo>
                        <a:pt x="36" y="378"/>
                      </a:lnTo>
                      <a:lnTo>
                        <a:pt x="32" y="378"/>
                      </a:lnTo>
                      <a:lnTo>
                        <a:pt x="34" y="376"/>
                      </a:lnTo>
                      <a:lnTo>
                        <a:pt x="32" y="376"/>
                      </a:lnTo>
                      <a:lnTo>
                        <a:pt x="30" y="378"/>
                      </a:lnTo>
                      <a:lnTo>
                        <a:pt x="29" y="378"/>
                      </a:lnTo>
                      <a:lnTo>
                        <a:pt x="27" y="378"/>
                      </a:lnTo>
                      <a:lnTo>
                        <a:pt x="25" y="378"/>
                      </a:lnTo>
                      <a:lnTo>
                        <a:pt x="23" y="378"/>
                      </a:lnTo>
                      <a:lnTo>
                        <a:pt x="21" y="378"/>
                      </a:lnTo>
                      <a:lnTo>
                        <a:pt x="19" y="378"/>
                      </a:lnTo>
                      <a:lnTo>
                        <a:pt x="17" y="376"/>
                      </a:lnTo>
                      <a:lnTo>
                        <a:pt x="21" y="376"/>
                      </a:lnTo>
                      <a:lnTo>
                        <a:pt x="17" y="376"/>
                      </a:lnTo>
                      <a:lnTo>
                        <a:pt x="13" y="376"/>
                      </a:lnTo>
                      <a:lnTo>
                        <a:pt x="11" y="376"/>
                      </a:lnTo>
                      <a:lnTo>
                        <a:pt x="9" y="376"/>
                      </a:lnTo>
                      <a:lnTo>
                        <a:pt x="8" y="376"/>
                      </a:lnTo>
                      <a:lnTo>
                        <a:pt x="9" y="376"/>
                      </a:lnTo>
                      <a:lnTo>
                        <a:pt x="8" y="376"/>
                      </a:lnTo>
                      <a:lnTo>
                        <a:pt x="9" y="374"/>
                      </a:lnTo>
                      <a:lnTo>
                        <a:pt x="9" y="376"/>
                      </a:lnTo>
                      <a:lnTo>
                        <a:pt x="9" y="374"/>
                      </a:lnTo>
                      <a:lnTo>
                        <a:pt x="11" y="374"/>
                      </a:lnTo>
                      <a:lnTo>
                        <a:pt x="9" y="374"/>
                      </a:lnTo>
                      <a:lnTo>
                        <a:pt x="11" y="374"/>
                      </a:lnTo>
                      <a:lnTo>
                        <a:pt x="11" y="372"/>
                      </a:lnTo>
                      <a:lnTo>
                        <a:pt x="13" y="372"/>
                      </a:lnTo>
                      <a:lnTo>
                        <a:pt x="11" y="372"/>
                      </a:lnTo>
                      <a:lnTo>
                        <a:pt x="11" y="370"/>
                      </a:lnTo>
                      <a:lnTo>
                        <a:pt x="9" y="370"/>
                      </a:lnTo>
                      <a:lnTo>
                        <a:pt x="8" y="370"/>
                      </a:lnTo>
                      <a:lnTo>
                        <a:pt x="8" y="368"/>
                      </a:lnTo>
                      <a:lnTo>
                        <a:pt x="9" y="368"/>
                      </a:lnTo>
                      <a:lnTo>
                        <a:pt x="8" y="368"/>
                      </a:lnTo>
                      <a:lnTo>
                        <a:pt x="8" y="366"/>
                      </a:lnTo>
                      <a:lnTo>
                        <a:pt x="9" y="366"/>
                      </a:lnTo>
                      <a:lnTo>
                        <a:pt x="11" y="368"/>
                      </a:lnTo>
                      <a:lnTo>
                        <a:pt x="11" y="366"/>
                      </a:lnTo>
                      <a:lnTo>
                        <a:pt x="11" y="368"/>
                      </a:lnTo>
                      <a:lnTo>
                        <a:pt x="13" y="370"/>
                      </a:lnTo>
                      <a:lnTo>
                        <a:pt x="13" y="372"/>
                      </a:lnTo>
                      <a:lnTo>
                        <a:pt x="15" y="372"/>
                      </a:lnTo>
                      <a:lnTo>
                        <a:pt x="15" y="370"/>
                      </a:lnTo>
                      <a:lnTo>
                        <a:pt x="15" y="372"/>
                      </a:lnTo>
                      <a:lnTo>
                        <a:pt x="15" y="370"/>
                      </a:lnTo>
                      <a:lnTo>
                        <a:pt x="13" y="370"/>
                      </a:lnTo>
                      <a:lnTo>
                        <a:pt x="13" y="368"/>
                      </a:lnTo>
                      <a:lnTo>
                        <a:pt x="13" y="366"/>
                      </a:lnTo>
                      <a:lnTo>
                        <a:pt x="15" y="368"/>
                      </a:lnTo>
                      <a:lnTo>
                        <a:pt x="17" y="366"/>
                      </a:lnTo>
                      <a:lnTo>
                        <a:pt x="17" y="368"/>
                      </a:lnTo>
                      <a:lnTo>
                        <a:pt x="17" y="370"/>
                      </a:lnTo>
                      <a:lnTo>
                        <a:pt x="17" y="368"/>
                      </a:lnTo>
                      <a:lnTo>
                        <a:pt x="17" y="366"/>
                      </a:lnTo>
                      <a:lnTo>
                        <a:pt x="19" y="366"/>
                      </a:lnTo>
                      <a:lnTo>
                        <a:pt x="21" y="366"/>
                      </a:lnTo>
                      <a:lnTo>
                        <a:pt x="21" y="368"/>
                      </a:lnTo>
                      <a:lnTo>
                        <a:pt x="19" y="372"/>
                      </a:lnTo>
                      <a:lnTo>
                        <a:pt x="21" y="370"/>
                      </a:lnTo>
                      <a:lnTo>
                        <a:pt x="21" y="368"/>
                      </a:lnTo>
                      <a:lnTo>
                        <a:pt x="23" y="370"/>
                      </a:lnTo>
                      <a:lnTo>
                        <a:pt x="23" y="372"/>
                      </a:lnTo>
                      <a:lnTo>
                        <a:pt x="23" y="370"/>
                      </a:lnTo>
                      <a:lnTo>
                        <a:pt x="25" y="370"/>
                      </a:lnTo>
                      <a:lnTo>
                        <a:pt x="27" y="370"/>
                      </a:lnTo>
                      <a:lnTo>
                        <a:pt x="25" y="370"/>
                      </a:lnTo>
                      <a:lnTo>
                        <a:pt x="21" y="366"/>
                      </a:lnTo>
                      <a:lnTo>
                        <a:pt x="21" y="365"/>
                      </a:lnTo>
                      <a:lnTo>
                        <a:pt x="23" y="366"/>
                      </a:lnTo>
                      <a:lnTo>
                        <a:pt x="25" y="366"/>
                      </a:lnTo>
                      <a:lnTo>
                        <a:pt x="23" y="366"/>
                      </a:lnTo>
                      <a:lnTo>
                        <a:pt x="23" y="365"/>
                      </a:lnTo>
                      <a:lnTo>
                        <a:pt x="21" y="365"/>
                      </a:lnTo>
                      <a:lnTo>
                        <a:pt x="25" y="361"/>
                      </a:lnTo>
                      <a:lnTo>
                        <a:pt x="27" y="361"/>
                      </a:lnTo>
                      <a:lnTo>
                        <a:pt x="29" y="365"/>
                      </a:lnTo>
                      <a:lnTo>
                        <a:pt x="30" y="366"/>
                      </a:lnTo>
                      <a:lnTo>
                        <a:pt x="30" y="368"/>
                      </a:lnTo>
                      <a:lnTo>
                        <a:pt x="30" y="370"/>
                      </a:lnTo>
                      <a:lnTo>
                        <a:pt x="32" y="368"/>
                      </a:lnTo>
                      <a:lnTo>
                        <a:pt x="30" y="366"/>
                      </a:lnTo>
                      <a:lnTo>
                        <a:pt x="32" y="366"/>
                      </a:lnTo>
                      <a:lnTo>
                        <a:pt x="30" y="366"/>
                      </a:lnTo>
                      <a:lnTo>
                        <a:pt x="30" y="365"/>
                      </a:lnTo>
                      <a:lnTo>
                        <a:pt x="29" y="361"/>
                      </a:lnTo>
                      <a:lnTo>
                        <a:pt x="29" y="359"/>
                      </a:lnTo>
                      <a:lnTo>
                        <a:pt x="30" y="359"/>
                      </a:lnTo>
                      <a:lnTo>
                        <a:pt x="30" y="363"/>
                      </a:lnTo>
                      <a:lnTo>
                        <a:pt x="30" y="359"/>
                      </a:lnTo>
                      <a:lnTo>
                        <a:pt x="34" y="357"/>
                      </a:lnTo>
                      <a:lnTo>
                        <a:pt x="34" y="359"/>
                      </a:lnTo>
                      <a:lnTo>
                        <a:pt x="36" y="359"/>
                      </a:lnTo>
                      <a:lnTo>
                        <a:pt x="36" y="361"/>
                      </a:lnTo>
                      <a:lnTo>
                        <a:pt x="38" y="363"/>
                      </a:lnTo>
                      <a:lnTo>
                        <a:pt x="38" y="366"/>
                      </a:lnTo>
                      <a:lnTo>
                        <a:pt x="36" y="370"/>
                      </a:lnTo>
                      <a:lnTo>
                        <a:pt x="38" y="370"/>
                      </a:lnTo>
                      <a:lnTo>
                        <a:pt x="40" y="370"/>
                      </a:lnTo>
                      <a:lnTo>
                        <a:pt x="40" y="368"/>
                      </a:lnTo>
                      <a:lnTo>
                        <a:pt x="42" y="370"/>
                      </a:lnTo>
                      <a:lnTo>
                        <a:pt x="40" y="368"/>
                      </a:lnTo>
                      <a:lnTo>
                        <a:pt x="38" y="370"/>
                      </a:lnTo>
                      <a:lnTo>
                        <a:pt x="38" y="368"/>
                      </a:lnTo>
                      <a:lnTo>
                        <a:pt x="38" y="366"/>
                      </a:lnTo>
                      <a:lnTo>
                        <a:pt x="38" y="365"/>
                      </a:lnTo>
                      <a:lnTo>
                        <a:pt x="40" y="363"/>
                      </a:lnTo>
                      <a:lnTo>
                        <a:pt x="42" y="365"/>
                      </a:lnTo>
                      <a:lnTo>
                        <a:pt x="42" y="363"/>
                      </a:lnTo>
                      <a:lnTo>
                        <a:pt x="44" y="363"/>
                      </a:lnTo>
                      <a:lnTo>
                        <a:pt x="44" y="365"/>
                      </a:lnTo>
                      <a:lnTo>
                        <a:pt x="44" y="363"/>
                      </a:lnTo>
                      <a:lnTo>
                        <a:pt x="42" y="363"/>
                      </a:lnTo>
                      <a:lnTo>
                        <a:pt x="40" y="363"/>
                      </a:lnTo>
                      <a:lnTo>
                        <a:pt x="38" y="363"/>
                      </a:lnTo>
                      <a:lnTo>
                        <a:pt x="36" y="361"/>
                      </a:lnTo>
                      <a:lnTo>
                        <a:pt x="38" y="361"/>
                      </a:lnTo>
                      <a:lnTo>
                        <a:pt x="36" y="357"/>
                      </a:lnTo>
                      <a:lnTo>
                        <a:pt x="34" y="357"/>
                      </a:lnTo>
                      <a:lnTo>
                        <a:pt x="32" y="357"/>
                      </a:lnTo>
                      <a:lnTo>
                        <a:pt x="34" y="357"/>
                      </a:lnTo>
                      <a:lnTo>
                        <a:pt x="32" y="357"/>
                      </a:lnTo>
                      <a:lnTo>
                        <a:pt x="32" y="355"/>
                      </a:lnTo>
                      <a:lnTo>
                        <a:pt x="30" y="355"/>
                      </a:lnTo>
                      <a:lnTo>
                        <a:pt x="29" y="355"/>
                      </a:lnTo>
                      <a:lnTo>
                        <a:pt x="30" y="355"/>
                      </a:lnTo>
                      <a:lnTo>
                        <a:pt x="27" y="355"/>
                      </a:lnTo>
                      <a:lnTo>
                        <a:pt x="27" y="353"/>
                      </a:lnTo>
                      <a:lnTo>
                        <a:pt x="27" y="351"/>
                      </a:lnTo>
                      <a:lnTo>
                        <a:pt x="29" y="353"/>
                      </a:lnTo>
                      <a:lnTo>
                        <a:pt x="29" y="351"/>
                      </a:lnTo>
                      <a:lnTo>
                        <a:pt x="29" y="355"/>
                      </a:lnTo>
                      <a:lnTo>
                        <a:pt x="29" y="353"/>
                      </a:lnTo>
                      <a:lnTo>
                        <a:pt x="29" y="351"/>
                      </a:lnTo>
                      <a:lnTo>
                        <a:pt x="30" y="351"/>
                      </a:lnTo>
                      <a:lnTo>
                        <a:pt x="32" y="353"/>
                      </a:lnTo>
                      <a:lnTo>
                        <a:pt x="32" y="351"/>
                      </a:lnTo>
                      <a:lnTo>
                        <a:pt x="32" y="353"/>
                      </a:lnTo>
                      <a:lnTo>
                        <a:pt x="32" y="351"/>
                      </a:lnTo>
                      <a:lnTo>
                        <a:pt x="34" y="351"/>
                      </a:lnTo>
                      <a:lnTo>
                        <a:pt x="36" y="353"/>
                      </a:lnTo>
                      <a:lnTo>
                        <a:pt x="36" y="351"/>
                      </a:lnTo>
                      <a:lnTo>
                        <a:pt x="40" y="351"/>
                      </a:lnTo>
                      <a:lnTo>
                        <a:pt x="38" y="351"/>
                      </a:lnTo>
                      <a:lnTo>
                        <a:pt x="40" y="351"/>
                      </a:lnTo>
                      <a:lnTo>
                        <a:pt x="40" y="355"/>
                      </a:lnTo>
                      <a:lnTo>
                        <a:pt x="40" y="353"/>
                      </a:lnTo>
                      <a:lnTo>
                        <a:pt x="40" y="351"/>
                      </a:lnTo>
                      <a:lnTo>
                        <a:pt x="42" y="353"/>
                      </a:lnTo>
                      <a:lnTo>
                        <a:pt x="42" y="351"/>
                      </a:lnTo>
                      <a:lnTo>
                        <a:pt x="44" y="353"/>
                      </a:lnTo>
                      <a:lnTo>
                        <a:pt x="46" y="355"/>
                      </a:lnTo>
                      <a:lnTo>
                        <a:pt x="48" y="357"/>
                      </a:lnTo>
                      <a:lnTo>
                        <a:pt x="48" y="355"/>
                      </a:lnTo>
                      <a:lnTo>
                        <a:pt x="49" y="353"/>
                      </a:lnTo>
                      <a:lnTo>
                        <a:pt x="46" y="355"/>
                      </a:lnTo>
                      <a:lnTo>
                        <a:pt x="46" y="353"/>
                      </a:lnTo>
                      <a:lnTo>
                        <a:pt x="44" y="351"/>
                      </a:lnTo>
                      <a:lnTo>
                        <a:pt x="46" y="351"/>
                      </a:lnTo>
                      <a:lnTo>
                        <a:pt x="46" y="353"/>
                      </a:lnTo>
                      <a:lnTo>
                        <a:pt x="46" y="351"/>
                      </a:lnTo>
                      <a:lnTo>
                        <a:pt x="48" y="349"/>
                      </a:lnTo>
                      <a:lnTo>
                        <a:pt x="51" y="347"/>
                      </a:lnTo>
                      <a:lnTo>
                        <a:pt x="53" y="347"/>
                      </a:lnTo>
                      <a:lnTo>
                        <a:pt x="55" y="349"/>
                      </a:lnTo>
                      <a:lnTo>
                        <a:pt x="55" y="347"/>
                      </a:lnTo>
                      <a:lnTo>
                        <a:pt x="53" y="347"/>
                      </a:lnTo>
                      <a:lnTo>
                        <a:pt x="55" y="345"/>
                      </a:lnTo>
                      <a:lnTo>
                        <a:pt x="51" y="347"/>
                      </a:lnTo>
                      <a:lnTo>
                        <a:pt x="46" y="349"/>
                      </a:lnTo>
                      <a:lnTo>
                        <a:pt x="44" y="349"/>
                      </a:lnTo>
                      <a:lnTo>
                        <a:pt x="44" y="347"/>
                      </a:lnTo>
                      <a:lnTo>
                        <a:pt x="46" y="347"/>
                      </a:lnTo>
                      <a:lnTo>
                        <a:pt x="49" y="345"/>
                      </a:lnTo>
                      <a:lnTo>
                        <a:pt x="48" y="345"/>
                      </a:lnTo>
                      <a:lnTo>
                        <a:pt x="49" y="345"/>
                      </a:lnTo>
                      <a:lnTo>
                        <a:pt x="48" y="345"/>
                      </a:lnTo>
                      <a:lnTo>
                        <a:pt x="42" y="347"/>
                      </a:lnTo>
                      <a:lnTo>
                        <a:pt x="38" y="347"/>
                      </a:lnTo>
                      <a:lnTo>
                        <a:pt x="38" y="345"/>
                      </a:lnTo>
                      <a:lnTo>
                        <a:pt x="40" y="345"/>
                      </a:lnTo>
                      <a:lnTo>
                        <a:pt x="38" y="345"/>
                      </a:lnTo>
                      <a:lnTo>
                        <a:pt x="40" y="345"/>
                      </a:lnTo>
                      <a:lnTo>
                        <a:pt x="42" y="345"/>
                      </a:lnTo>
                      <a:lnTo>
                        <a:pt x="40" y="345"/>
                      </a:lnTo>
                      <a:lnTo>
                        <a:pt x="42" y="344"/>
                      </a:lnTo>
                      <a:lnTo>
                        <a:pt x="40" y="344"/>
                      </a:lnTo>
                      <a:lnTo>
                        <a:pt x="38" y="344"/>
                      </a:lnTo>
                      <a:lnTo>
                        <a:pt x="38" y="342"/>
                      </a:lnTo>
                      <a:lnTo>
                        <a:pt x="36" y="342"/>
                      </a:lnTo>
                      <a:lnTo>
                        <a:pt x="38" y="342"/>
                      </a:lnTo>
                      <a:lnTo>
                        <a:pt x="36" y="342"/>
                      </a:lnTo>
                      <a:lnTo>
                        <a:pt x="38" y="342"/>
                      </a:lnTo>
                      <a:lnTo>
                        <a:pt x="38" y="340"/>
                      </a:lnTo>
                      <a:lnTo>
                        <a:pt x="40" y="340"/>
                      </a:lnTo>
                      <a:lnTo>
                        <a:pt x="40" y="338"/>
                      </a:lnTo>
                      <a:lnTo>
                        <a:pt x="40" y="340"/>
                      </a:lnTo>
                      <a:lnTo>
                        <a:pt x="42" y="338"/>
                      </a:lnTo>
                      <a:lnTo>
                        <a:pt x="42" y="340"/>
                      </a:lnTo>
                      <a:lnTo>
                        <a:pt x="42" y="338"/>
                      </a:lnTo>
                      <a:lnTo>
                        <a:pt x="44" y="340"/>
                      </a:lnTo>
                      <a:lnTo>
                        <a:pt x="46" y="342"/>
                      </a:lnTo>
                      <a:lnTo>
                        <a:pt x="44" y="342"/>
                      </a:lnTo>
                      <a:lnTo>
                        <a:pt x="46" y="342"/>
                      </a:lnTo>
                      <a:lnTo>
                        <a:pt x="48" y="342"/>
                      </a:lnTo>
                      <a:lnTo>
                        <a:pt x="48" y="340"/>
                      </a:lnTo>
                      <a:lnTo>
                        <a:pt x="49" y="340"/>
                      </a:lnTo>
                      <a:lnTo>
                        <a:pt x="49" y="342"/>
                      </a:lnTo>
                      <a:lnTo>
                        <a:pt x="51" y="340"/>
                      </a:lnTo>
                      <a:lnTo>
                        <a:pt x="53" y="340"/>
                      </a:lnTo>
                      <a:lnTo>
                        <a:pt x="55" y="340"/>
                      </a:lnTo>
                      <a:lnTo>
                        <a:pt x="55" y="342"/>
                      </a:lnTo>
                      <a:lnTo>
                        <a:pt x="55" y="345"/>
                      </a:lnTo>
                      <a:lnTo>
                        <a:pt x="57" y="345"/>
                      </a:lnTo>
                      <a:lnTo>
                        <a:pt x="59" y="345"/>
                      </a:lnTo>
                      <a:lnTo>
                        <a:pt x="61" y="347"/>
                      </a:lnTo>
                      <a:lnTo>
                        <a:pt x="61" y="349"/>
                      </a:lnTo>
                      <a:lnTo>
                        <a:pt x="61" y="347"/>
                      </a:lnTo>
                      <a:lnTo>
                        <a:pt x="63" y="349"/>
                      </a:lnTo>
                      <a:lnTo>
                        <a:pt x="63" y="347"/>
                      </a:lnTo>
                      <a:lnTo>
                        <a:pt x="59" y="345"/>
                      </a:lnTo>
                      <a:lnTo>
                        <a:pt x="57" y="345"/>
                      </a:lnTo>
                      <a:lnTo>
                        <a:pt x="55" y="342"/>
                      </a:lnTo>
                      <a:lnTo>
                        <a:pt x="57" y="342"/>
                      </a:lnTo>
                      <a:lnTo>
                        <a:pt x="55" y="342"/>
                      </a:lnTo>
                      <a:lnTo>
                        <a:pt x="55" y="340"/>
                      </a:lnTo>
                      <a:lnTo>
                        <a:pt x="53" y="338"/>
                      </a:lnTo>
                      <a:lnTo>
                        <a:pt x="53" y="336"/>
                      </a:lnTo>
                      <a:lnTo>
                        <a:pt x="55" y="334"/>
                      </a:lnTo>
                      <a:lnTo>
                        <a:pt x="55" y="336"/>
                      </a:lnTo>
                      <a:lnTo>
                        <a:pt x="55" y="338"/>
                      </a:lnTo>
                      <a:lnTo>
                        <a:pt x="57" y="338"/>
                      </a:lnTo>
                      <a:lnTo>
                        <a:pt x="57" y="340"/>
                      </a:lnTo>
                      <a:lnTo>
                        <a:pt x="59" y="340"/>
                      </a:lnTo>
                      <a:lnTo>
                        <a:pt x="59" y="342"/>
                      </a:lnTo>
                      <a:lnTo>
                        <a:pt x="59" y="344"/>
                      </a:lnTo>
                      <a:lnTo>
                        <a:pt x="59" y="342"/>
                      </a:lnTo>
                      <a:lnTo>
                        <a:pt x="61" y="344"/>
                      </a:lnTo>
                      <a:lnTo>
                        <a:pt x="63" y="344"/>
                      </a:lnTo>
                      <a:lnTo>
                        <a:pt x="61" y="342"/>
                      </a:lnTo>
                      <a:lnTo>
                        <a:pt x="63" y="344"/>
                      </a:lnTo>
                      <a:lnTo>
                        <a:pt x="65" y="345"/>
                      </a:lnTo>
                      <a:lnTo>
                        <a:pt x="65" y="344"/>
                      </a:lnTo>
                      <a:lnTo>
                        <a:pt x="63" y="344"/>
                      </a:lnTo>
                      <a:lnTo>
                        <a:pt x="61" y="342"/>
                      </a:lnTo>
                      <a:lnTo>
                        <a:pt x="61" y="340"/>
                      </a:lnTo>
                      <a:lnTo>
                        <a:pt x="65" y="340"/>
                      </a:lnTo>
                      <a:lnTo>
                        <a:pt x="61" y="340"/>
                      </a:lnTo>
                      <a:lnTo>
                        <a:pt x="63" y="338"/>
                      </a:lnTo>
                      <a:lnTo>
                        <a:pt x="59" y="340"/>
                      </a:lnTo>
                      <a:lnTo>
                        <a:pt x="59" y="338"/>
                      </a:lnTo>
                      <a:lnTo>
                        <a:pt x="61" y="338"/>
                      </a:lnTo>
                      <a:lnTo>
                        <a:pt x="59" y="338"/>
                      </a:lnTo>
                      <a:lnTo>
                        <a:pt x="57" y="338"/>
                      </a:lnTo>
                      <a:lnTo>
                        <a:pt x="57" y="336"/>
                      </a:lnTo>
                      <a:lnTo>
                        <a:pt x="57" y="334"/>
                      </a:lnTo>
                      <a:lnTo>
                        <a:pt x="59" y="336"/>
                      </a:lnTo>
                      <a:lnTo>
                        <a:pt x="59" y="334"/>
                      </a:lnTo>
                      <a:lnTo>
                        <a:pt x="57" y="334"/>
                      </a:lnTo>
                      <a:lnTo>
                        <a:pt x="59" y="334"/>
                      </a:lnTo>
                      <a:lnTo>
                        <a:pt x="63" y="334"/>
                      </a:lnTo>
                      <a:lnTo>
                        <a:pt x="63" y="336"/>
                      </a:lnTo>
                      <a:lnTo>
                        <a:pt x="63" y="334"/>
                      </a:lnTo>
                      <a:lnTo>
                        <a:pt x="63" y="332"/>
                      </a:lnTo>
                      <a:lnTo>
                        <a:pt x="69" y="332"/>
                      </a:lnTo>
                      <a:lnTo>
                        <a:pt x="65" y="332"/>
                      </a:lnTo>
                      <a:lnTo>
                        <a:pt x="63" y="332"/>
                      </a:lnTo>
                      <a:lnTo>
                        <a:pt x="63" y="330"/>
                      </a:lnTo>
                      <a:lnTo>
                        <a:pt x="63" y="328"/>
                      </a:lnTo>
                      <a:lnTo>
                        <a:pt x="61" y="328"/>
                      </a:lnTo>
                      <a:lnTo>
                        <a:pt x="63" y="328"/>
                      </a:lnTo>
                      <a:lnTo>
                        <a:pt x="65" y="328"/>
                      </a:lnTo>
                      <a:lnTo>
                        <a:pt x="67" y="326"/>
                      </a:lnTo>
                      <a:lnTo>
                        <a:pt x="65" y="326"/>
                      </a:lnTo>
                      <a:lnTo>
                        <a:pt x="65" y="324"/>
                      </a:lnTo>
                      <a:lnTo>
                        <a:pt x="67" y="323"/>
                      </a:lnTo>
                      <a:lnTo>
                        <a:pt x="67" y="324"/>
                      </a:lnTo>
                      <a:lnTo>
                        <a:pt x="69" y="324"/>
                      </a:lnTo>
                      <a:lnTo>
                        <a:pt x="70" y="324"/>
                      </a:lnTo>
                      <a:lnTo>
                        <a:pt x="69" y="324"/>
                      </a:lnTo>
                      <a:lnTo>
                        <a:pt x="70" y="323"/>
                      </a:lnTo>
                      <a:lnTo>
                        <a:pt x="69" y="323"/>
                      </a:lnTo>
                      <a:lnTo>
                        <a:pt x="70" y="323"/>
                      </a:lnTo>
                      <a:lnTo>
                        <a:pt x="70" y="324"/>
                      </a:lnTo>
                      <a:lnTo>
                        <a:pt x="72" y="324"/>
                      </a:lnTo>
                      <a:lnTo>
                        <a:pt x="72" y="326"/>
                      </a:lnTo>
                      <a:lnTo>
                        <a:pt x="70" y="328"/>
                      </a:lnTo>
                      <a:lnTo>
                        <a:pt x="72" y="326"/>
                      </a:lnTo>
                      <a:lnTo>
                        <a:pt x="74" y="326"/>
                      </a:lnTo>
                      <a:lnTo>
                        <a:pt x="76" y="326"/>
                      </a:lnTo>
                      <a:lnTo>
                        <a:pt x="78" y="324"/>
                      </a:lnTo>
                      <a:lnTo>
                        <a:pt x="76" y="324"/>
                      </a:lnTo>
                      <a:lnTo>
                        <a:pt x="72" y="326"/>
                      </a:lnTo>
                      <a:lnTo>
                        <a:pt x="74" y="324"/>
                      </a:lnTo>
                      <a:lnTo>
                        <a:pt x="72" y="324"/>
                      </a:lnTo>
                      <a:lnTo>
                        <a:pt x="72" y="323"/>
                      </a:lnTo>
                      <a:lnTo>
                        <a:pt x="78" y="323"/>
                      </a:lnTo>
                      <a:lnTo>
                        <a:pt x="78" y="321"/>
                      </a:lnTo>
                      <a:lnTo>
                        <a:pt x="74" y="323"/>
                      </a:lnTo>
                      <a:lnTo>
                        <a:pt x="74" y="321"/>
                      </a:lnTo>
                      <a:lnTo>
                        <a:pt x="74" y="323"/>
                      </a:lnTo>
                      <a:lnTo>
                        <a:pt x="72" y="323"/>
                      </a:lnTo>
                      <a:lnTo>
                        <a:pt x="72" y="321"/>
                      </a:lnTo>
                      <a:lnTo>
                        <a:pt x="74" y="321"/>
                      </a:lnTo>
                      <a:lnTo>
                        <a:pt x="76" y="319"/>
                      </a:lnTo>
                      <a:lnTo>
                        <a:pt x="76" y="321"/>
                      </a:lnTo>
                      <a:lnTo>
                        <a:pt x="78" y="319"/>
                      </a:lnTo>
                      <a:lnTo>
                        <a:pt x="78" y="321"/>
                      </a:lnTo>
                      <a:lnTo>
                        <a:pt x="78" y="319"/>
                      </a:lnTo>
                      <a:lnTo>
                        <a:pt x="80" y="317"/>
                      </a:lnTo>
                      <a:lnTo>
                        <a:pt x="82" y="315"/>
                      </a:lnTo>
                      <a:lnTo>
                        <a:pt x="82" y="317"/>
                      </a:lnTo>
                      <a:lnTo>
                        <a:pt x="82" y="319"/>
                      </a:lnTo>
                      <a:lnTo>
                        <a:pt x="82" y="321"/>
                      </a:lnTo>
                      <a:lnTo>
                        <a:pt x="84" y="321"/>
                      </a:lnTo>
                      <a:lnTo>
                        <a:pt x="86" y="323"/>
                      </a:lnTo>
                      <a:lnTo>
                        <a:pt x="84" y="324"/>
                      </a:lnTo>
                      <a:lnTo>
                        <a:pt x="82" y="326"/>
                      </a:lnTo>
                      <a:lnTo>
                        <a:pt x="82" y="328"/>
                      </a:lnTo>
                      <a:lnTo>
                        <a:pt x="84" y="328"/>
                      </a:lnTo>
                      <a:lnTo>
                        <a:pt x="86" y="326"/>
                      </a:lnTo>
                      <a:lnTo>
                        <a:pt x="88" y="326"/>
                      </a:lnTo>
                      <a:lnTo>
                        <a:pt x="88" y="328"/>
                      </a:lnTo>
                      <a:lnTo>
                        <a:pt x="90" y="326"/>
                      </a:lnTo>
                      <a:lnTo>
                        <a:pt x="88" y="326"/>
                      </a:lnTo>
                      <a:lnTo>
                        <a:pt x="86" y="324"/>
                      </a:lnTo>
                      <a:lnTo>
                        <a:pt x="88" y="324"/>
                      </a:lnTo>
                      <a:lnTo>
                        <a:pt x="88" y="323"/>
                      </a:lnTo>
                      <a:lnTo>
                        <a:pt x="90" y="323"/>
                      </a:lnTo>
                      <a:lnTo>
                        <a:pt x="91" y="323"/>
                      </a:lnTo>
                      <a:lnTo>
                        <a:pt x="93" y="323"/>
                      </a:lnTo>
                      <a:lnTo>
                        <a:pt x="95" y="323"/>
                      </a:lnTo>
                      <a:lnTo>
                        <a:pt x="97" y="323"/>
                      </a:lnTo>
                      <a:lnTo>
                        <a:pt x="99" y="324"/>
                      </a:lnTo>
                      <a:lnTo>
                        <a:pt x="99" y="323"/>
                      </a:lnTo>
                      <a:lnTo>
                        <a:pt x="97" y="321"/>
                      </a:lnTo>
                      <a:lnTo>
                        <a:pt x="97" y="319"/>
                      </a:lnTo>
                      <a:lnTo>
                        <a:pt x="99" y="319"/>
                      </a:lnTo>
                      <a:lnTo>
                        <a:pt x="101" y="319"/>
                      </a:lnTo>
                      <a:lnTo>
                        <a:pt x="99" y="319"/>
                      </a:lnTo>
                      <a:lnTo>
                        <a:pt x="99" y="317"/>
                      </a:lnTo>
                      <a:lnTo>
                        <a:pt x="101" y="319"/>
                      </a:lnTo>
                      <a:lnTo>
                        <a:pt x="99" y="317"/>
                      </a:lnTo>
                      <a:lnTo>
                        <a:pt x="101" y="317"/>
                      </a:lnTo>
                      <a:lnTo>
                        <a:pt x="99" y="317"/>
                      </a:lnTo>
                      <a:lnTo>
                        <a:pt x="97" y="319"/>
                      </a:lnTo>
                      <a:lnTo>
                        <a:pt x="95" y="319"/>
                      </a:lnTo>
                      <a:lnTo>
                        <a:pt x="97" y="317"/>
                      </a:lnTo>
                      <a:lnTo>
                        <a:pt x="99" y="317"/>
                      </a:lnTo>
                      <a:lnTo>
                        <a:pt x="99" y="315"/>
                      </a:lnTo>
                      <a:lnTo>
                        <a:pt x="101" y="313"/>
                      </a:lnTo>
                      <a:lnTo>
                        <a:pt x="103" y="313"/>
                      </a:lnTo>
                      <a:lnTo>
                        <a:pt x="105" y="313"/>
                      </a:lnTo>
                      <a:lnTo>
                        <a:pt x="105" y="311"/>
                      </a:lnTo>
                      <a:lnTo>
                        <a:pt x="107" y="311"/>
                      </a:lnTo>
                      <a:lnTo>
                        <a:pt x="105" y="313"/>
                      </a:lnTo>
                      <a:lnTo>
                        <a:pt x="107" y="313"/>
                      </a:lnTo>
                      <a:lnTo>
                        <a:pt x="107" y="311"/>
                      </a:lnTo>
                      <a:lnTo>
                        <a:pt x="109" y="311"/>
                      </a:lnTo>
                      <a:lnTo>
                        <a:pt x="109" y="309"/>
                      </a:lnTo>
                      <a:lnTo>
                        <a:pt x="107" y="309"/>
                      </a:lnTo>
                      <a:lnTo>
                        <a:pt x="107" y="307"/>
                      </a:lnTo>
                      <a:lnTo>
                        <a:pt x="107" y="305"/>
                      </a:lnTo>
                      <a:lnTo>
                        <a:pt x="107" y="307"/>
                      </a:lnTo>
                      <a:lnTo>
                        <a:pt x="105" y="307"/>
                      </a:lnTo>
                      <a:lnTo>
                        <a:pt x="105" y="309"/>
                      </a:lnTo>
                      <a:lnTo>
                        <a:pt x="103" y="309"/>
                      </a:lnTo>
                      <a:lnTo>
                        <a:pt x="103" y="307"/>
                      </a:lnTo>
                      <a:lnTo>
                        <a:pt x="103" y="305"/>
                      </a:lnTo>
                      <a:lnTo>
                        <a:pt x="105" y="305"/>
                      </a:lnTo>
                      <a:lnTo>
                        <a:pt x="107" y="303"/>
                      </a:lnTo>
                      <a:lnTo>
                        <a:pt x="109" y="303"/>
                      </a:lnTo>
                      <a:lnTo>
                        <a:pt x="109" y="302"/>
                      </a:lnTo>
                      <a:lnTo>
                        <a:pt x="107" y="302"/>
                      </a:lnTo>
                      <a:lnTo>
                        <a:pt x="105" y="302"/>
                      </a:lnTo>
                      <a:lnTo>
                        <a:pt x="105" y="300"/>
                      </a:lnTo>
                      <a:lnTo>
                        <a:pt x="107" y="300"/>
                      </a:lnTo>
                      <a:lnTo>
                        <a:pt x="107" y="298"/>
                      </a:lnTo>
                      <a:lnTo>
                        <a:pt x="107" y="300"/>
                      </a:lnTo>
                      <a:lnTo>
                        <a:pt x="105" y="300"/>
                      </a:lnTo>
                      <a:lnTo>
                        <a:pt x="105" y="303"/>
                      </a:lnTo>
                      <a:lnTo>
                        <a:pt x="101" y="305"/>
                      </a:lnTo>
                      <a:lnTo>
                        <a:pt x="101" y="307"/>
                      </a:lnTo>
                      <a:lnTo>
                        <a:pt x="97" y="309"/>
                      </a:lnTo>
                      <a:lnTo>
                        <a:pt x="95" y="309"/>
                      </a:lnTo>
                      <a:lnTo>
                        <a:pt x="95" y="311"/>
                      </a:lnTo>
                      <a:lnTo>
                        <a:pt x="95" y="309"/>
                      </a:lnTo>
                      <a:lnTo>
                        <a:pt x="97" y="309"/>
                      </a:lnTo>
                      <a:lnTo>
                        <a:pt x="99" y="307"/>
                      </a:lnTo>
                      <a:lnTo>
                        <a:pt x="101" y="305"/>
                      </a:lnTo>
                      <a:lnTo>
                        <a:pt x="101" y="307"/>
                      </a:lnTo>
                      <a:lnTo>
                        <a:pt x="103" y="307"/>
                      </a:lnTo>
                      <a:lnTo>
                        <a:pt x="103" y="309"/>
                      </a:lnTo>
                      <a:lnTo>
                        <a:pt x="101" y="309"/>
                      </a:lnTo>
                      <a:lnTo>
                        <a:pt x="101" y="313"/>
                      </a:lnTo>
                      <a:lnTo>
                        <a:pt x="95" y="315"/>
                      </a:lnTo>
                      <a:lnTo>
                        <a:pt x="91" y="317"/>
                      </a:lnTo>
                      <a:lnTo>
                        <a:pt x="91" y="319"/>
                      </a:lnTo>
                      <a:lnTo>
                        <a:pt x="90" y="319"/>
                      </a:lnTo>
                      <a:lnTo>
                        <a:pt x="88" y="321"/>
                      </a:lnTo>
                      <a:lnTo>
                        <a:pt x="86" y="321"/>
                      </a:lnTo>
                      <a:lnTo>
                        <a:pt x="84" y="321"/>
                      </a:lnTo>
                      <a:lnTo>
                        <a:pt x="84" y="319"/>
                      </a:lnTo>
                      <a:lnTo>
                        <a:pt x="84" y="317"/>
                      </a:lnTo>
                      <a:lnTo>
                        <a:pt x="86" y="317"/>
                      </a:lnTo>
                      <a:lnTo>
                        <a:pt x="84" y="319"/>
                      </a:lnTo>
                      <a:lnTo>
                        <a:pt x="82" y="317"/>
                      </a:lnTo>
                      <a:lnTo>
                        <a:pt x="84" y="315"/>
                      </a:lnTo>
                      <a:lnTo>
                        <a:pt x="82" y="315"/>
                      </a:lnTo>
                      <a:lnTo>
                        <a:pt x="84" y="315"/>
                      </a:lnTo>
                      <a:lnTo>
                        <a:pt x="84" y="313"/>
                      </a:lnTo>
                      <a:lnTo>
                        <a:pt x="86" y="313"/>
                      </a:lnTo>
                      <a:lnTo>
                        <a:pt x="84" y="313"/>
                      </a:lnTo>
                      <a:lnTo>
                        <a:pt x="86" y="313"/>
                      </a:lnTo>
                      <a:lnTo>
                        <a:pt x="88" y="311"/>
                      </a:lnTo>
                      <a:lnTo>
                        <a:pt x="86" y="313"/>
                      </a:lnTo>
                      <a:lnTo>
                        <a:pt x="88" y="311"/>
                      </a:lnTo>
                      <a:lnTo>
                        <a:pt x="84" y="311"/>
                      </a:lnTo>
                      <a:lnTo>
                        <a:pt x="84" y="313"/>
                      </a:lnTo>
                      <a:lnTo>
                        <a:pt x="82" y="313"/>
                      </a:lnTo>
                      <a:lnTo>
                        <a:pt x="80" y="313"/>
                      </a:lnTo>
                      <a:lnTo>
                        <a:pt x="80" y="315"/>
                      </a:lnTo>
                      <a:lnTo>
                        <a:pt x="78" y="315"/>
                      </a:lnTo>
                      <a:lnTo>
                        <a:pt x="78" y="313"/>
                      </a:lnTo>
                      <a:lnTo>
                        <a:pt x="82" y="311"/>
                      </a:lnTo>
                      <a:lnTo>
                        <a:pt x="80" y="311"/>
                      </a:lnTo>
                      <a:lnTo>
                        <a:pt x="78" y="311"/>
                      </a:lnTo>
                      <a:lnTo>
                        <a:pt x="80" y="309"/>
                      </a:lnTo>
                      <a:lnTo>
                        <a:pt x="82" y="309"/>
                      </a:lnTo>
                      <a:lnTo>
                        <a:pt x="82" y="307"/>
                      </a:lnTo>
                      <a:lnTo>
                        <a:pt x="82" y="309"/>
                      </a:lnTo>
                      <a:lnTo>
                        <a:pt x="82" y="307"/>
                      </a:lnTo>
                      <a:lnTo>
                        <a:pt x="82" y="309"/>
                      </a:lnTo>
                      <a:lnTo>
                        <a:pt x="80" y="309"/>
                      </a:lnTo>
                      <a:lnTo>
                        <a:pt x="82" y="309"/>
                      </a:lnTo>
                      <a:lnTo>
                        <a:pt x="84" y="309"/>
                      </a:lnTo>
                      <a:lnTo>
                        <a:pt x="84" y="307"/>
                      </a:lnTo>
                      <a:lnTo>
                        <a:pt x="82" y="307"/>
                      </a:lnTo>
                      <a:lnTo>
                        <a:pt x="84" y="307"/>
                      </a:lnTo>
                      <a:lnTo>
                        <a:pt x="86" y="307"/>
                      </a:lnTo>
                      <a:lnTo>
                        <a:pt x="84" y="307"/>
                      </a:lnTo>
                      <a:lnTo>
                        <a:pt x="88" y="305"/>
                      </a:lnTo>
                      <a:lnTo>
                        <a:pt x="90" y="305"/>
                      </a:lnTo>
                      <a:lnTo>
                        <a:pt x="90" y="303"/>
                      </a:lnTo>
                      <a:lnTo>
                        <a:pt x="88" y="305"/>
                      </a:lnTo>
                      <a:lnTo>
                        <a:pt x="90" y="303"/>
                      </a:lnTo>
                      <a:lnTo>
                        <a:pt x="88" y="305"/>
                      </a:lnTo>
                      <a:lnTo>
                        <a:pt x="86" y="305"/>
                      </a:lnTo>
                      <a:lnTo>
                        <a:pt x="86" y="307"/>
                      </a:lnTo>
                      <a:lnTo>
                        <a:pt x="84" y="305"/>
                      </a:lnTo>
                      <a:lnTo>
                        <a:pt x="90" y="303"/>
                      </a:lnTo>
                      <a:lnTo>
                        <a:pt x="88" y="303"/>
                      </a:lnTo>
                      <a:lnTo>
                        <a:pt x="86" y="303"/>
                      </a:lnTo>
                      <a:lnTo>
                        <a:pt x="86" y="305"/>
                      </a:lnTo>
                      <a:lnTo>
                        <a:pt x="84" y="305"/>
                      </a:lnTo>
                      <a:lnTo>
                        <a:pt x="86" y="303"/>
                      </a:lnTo>
                      <a:lnTo>
                        <a:pt x="86" y="302"/>
                      </a:lnTo>
                      <a:lnTo>
                        <a:pt x="88" y="302"/>
                      </a:lnTo>
                      <a:lnTo>
                        <a:pt x="86" y="300"/>
                      </a:lnTo>
                      <a:lnTo>
                        <a:pt x="88" y="300"/>
                      </a:lnTo>
                      <a:lnTo>
                        <a:pt x="90" y="300"/>
                      </a:lnTo>
                      <a:lnTo>
                        <a:pt x="90" y="298"/>
                      </a:lnTo>
                      <a:lnTo>
                        <a:pt x="90" y="300"/>
                      </a:lnTo>
                      <a:lnTo>
                        <a:pt x="88" y="298"/>
                      </a:lnTo>
                      <a:lnTo>
                        <a:pt x="90" y="298"/>
                      </a:lnTo>
                      <a:lnTo>
                        <a:pt x="88" y="298"/>
                      </a:lnTo>
                      <a:lnTo>
                        <a:pt x="90" y="298"/>
                      </a:lnTo>
                      <a:lnTo>
                        <a:pt x="90" y="296"/>
                      </a:lnTo>
                      <a:lnTo>
                        <a:pt x="88" y="296"/>
                      </a:lnTo>
                      <a:lnTo>
                        <a:pt x="90" y="296"/>
                      </a:lnTo>
                      <a:lnTo>
                        <a:pt x="91" y="296"/>
                      </a:lnTo>
                      <a:lnTo>
                        <a:pt x="90" y="294"/>
                      </a:lnTo>
                      <a:lnTo>
                        <a:pt x="91" y="294"/>
                      </a:lnTo>
                      <a:lnTo>
                        <a:pt x="91" y="292"/>
                      </a:lnTo>
                      <a:lnTo>
                        <a:pt x="91" y="294"/>
                      </a:lnTo>
                      <a:lnTo>
                        <a:pt x="91" y="292"/>
                      </a:lnTo>
                      <a:lnTo>
                        <a:pt x="93" y="292"/>
                      </a:lnTo>
                      <a:lnTo>
                        <a:pt x="93" y="290"/>
                      </a:lnTo>
                      <a:lnTo>
                        <a:pt x="95" y="290"/>
                      </a:lnTo>
                      <a:lnTo>
                        <a:pt x="93" y="290"/>
                      </a:lnTo>
                      <a:lnTo>
                        <a:pt x="95" y="290"/>
                      </a:lnTo>
                      <a:lnTo>
                        <a:pt x="97" y="290"/>
                      </a:lnTo>
                      <a:lnTo>
                        <a:pt x="95" y="290"/>
                      </a:lnTo>
                      <a:lnTo>
                        <a:pt x="95" y="288"/>
                      </a:lnTo>
                      <a:lnTo>
                        <a:pt x="93" y="288"/>
                      </a:lnTo>
                      <a:lnTo>
                        <a:pt x="93" y="286"/>
                      </a:lnTo>
                      <a:lnTo>
                        <a:pt x="95" y="288"/>
                      </a:lnTo>
                      <a:lnTo>
                        <a:pt x="95" y="286"/>
                      </a:lnTo>
                      <a:lnTo>
                        <a:pt x="95" y="288"/>
                      </a:lnTo>
                      <a:lnTo>
                        <a:pt x="93" y="286"/>
                      </a:lnTo>
                      <a:lnTo>
                        <a:pt x="95" y="286"/>
                      </a:lnTo>
                      <a:lnTo>
                        <a:pt x="97" y="288"/>
                      </a:lnTo>
                      <a:lnTo>
                        <a:pt x="99" y="288"/>
                      </a:lnTo>
                      <a:lnTo>
                        <a:pt x="99" y="290"/>
                      </a:lnTo>
                      <a:lnTo>
                        <a:pt x="97" y="288"/>
                      </a:lnTo>
                      <a:lnTo>
                        <a:pt x="99" y="288"/>
                      </a:lnTo>
                      <a:lnTo>
                        <a:pt x="99" y="286"/>
                      </a:lnTo>
                      <a:lnTo>
                        <a:pt x="97" y="286"/>
                      </a:lnTo>
                      <a:lnTo>
                        <a:pt x="97" y="288"/>
                      </a:lnTo>
                      <a:lnTo>
                        <a:pt x="95" y="286"/>
                      </a:lnTo>
                      <a:lnTo>
                        <a:pt x="97" y="286"/>
                      </a:lnTo>
                      <a:lnTo>
                        <a:pt x="97" y="284"/>
                      </a:lnTo>
                      <a:lnTo>
                        <a:pt x="99" y="286"/>
                      </a:lnTo>
                      <a:lnTo>
                        <a:pt x="97" y="284"/>
                      </a:lnTo>
                      <a:lnTo>
                        <a:pt x="99" y="284"/>
                      </a:lnTo>
                      <a:lnTo>
                        <a:pt x="99" y="286"/>
                      </a:lnTo>
                      <a:lnTo>
                        <a:pt x="101" y="286"/>
                      </a:lnTo>
                      <a:lnTo>
                        <a:pt x="99" y="284"/>
                      </a:lnTo>
                      <a:lnTo>
                        <a:pt x="101" y="284"/>
                      </a:lnTo>
                      <a:lnTo>
                        <a:pt x="99" y="284"/>
                      </a:lnTo>
                      <a:lnTo>
                        <a:pt x="101" y="284"/>
                      </a:lnTo>
                      <a:lnTo>
                        <a:pt x="101" y="282"/>
                      </a:lnTo>
                      <a:lnTo>
                        <a:pt x="99" y="282"/>
                      </a:lnTo>
                      <a:lnTo>
                        <a:pt x="101" y="281"/>
                      </a:lnTo>
                      <a:lnTo>
                        <a:pt x="103" y="282"/>
                      </a:lnTo>
                      <a:lnTo>
                        <a:pt x="103" y="284"/>
                      </a:lnTo>
                      <a:lnTo>
                        <a:pt x="105" y="284"/>
                      </a:lnTo>
                      <a:lnTo>
                        <a:pt x="105" y="286"/>
                      </a:lnTo>
                      <a:lnTo>
                        <a:pt x="105" y="288"/>
                      </a:lnTo>
                      <a:lnTo>
                        <a:pt x="105" y="286"/>
                      </a:lnTo>
                      <a:lnTo>
                        <a:pt x="107" y="286"/>
                      </a:lnTo>
                      <a:lnTo>
                        <a:pt x="107" y="288"/>
                      </a:lnTo>
                      <a:lnTo>
                        <a:pt x="105" y="290"/>
                      </a:lnTo>
                      <a:lnTo>
                        <a:pt x="105" y="292"/>
                      </a:lnTo>
                      <a:lnTo>
                        <a:pt x="105" y="290"/>
                      </a:lnTo>
                      <a:lnTo>
                        <a:pt x="107" y="290"/>
                      </a:lnTo>
                      <a:lnTo>
                        <a:pt x="107" y="288"/>
                      </a:lnTo>
                      <a:lnTo>
                        <a:pt x="109" y="288"/>
                      </a:lnTo>
                      <a:lnTo>
                        <a:pt x="107" y="288"/>
                      </a:lnTo>
                      <a:lnTo>
                        <a:pt x="107" y="290"/>
                      </a:lnTo>
                      <a:lnTo>
                        <a:pt x="109" y="290"/>
                      </a:lnTo>
                      <a:lnTo>
                        <a:pt x="107" y="288"/>
                      </a:lnTo>
                      <a:lnTo>
                        <a:pt x="109" y="286"/>
                      </a:lnTo>
                      <a:lnTo>
                        <a:pt x="111" y="286"/>
                      </a:lnTo>
                      <a:lnTo>
                        <a:pt x="109" y="286"/>
                      </a:lnTo>
                      <a:lnTo>
                        <a:pt x="109" y="284"/>
                      </a:lnTo>
                      <a:lnTo>
                        <a:pt x="111" y="284"/>
                      </a:lnTo>
                      <a:lnTo>
                        <a:pt x="109" y="282"/>
                      </a:lnTo>
                      <a:lnTo>
                        <a:pt x="111" y="282"/>
                      </a:lnTo>
                      <a:lnTo>
                        <a:pt x="111" y="284"/>
                      </a:lnTo>
                      <a:lnTo>
                        <a:pt x="111" y="282"/>
                      </a:lnTo>
                      <a:lnTo>
                        <a:pt x="114" y="281"/>
                      </a:lnTo>
                      <a:lnTo>
                        <a:pt x="112" y="281"/>
                      </a:lnTo>
                      <a:lnTo>
                        <a:pt x="111" y="282"/>
                      </a:lnTo>
                      <a:lnTo>
                        <a:pt x="111" y="281"/>
                      </a:lnTo>
                      <a:lnTo>
                        <a:pt x="111" y="282"/>
                      </a:lnTo>
                      <a:lnTo>
                        <a:pt x="109" y="281"/>
                      </a:lnTo>
                      <a:lnTo>
                        <a:pt x="109" y="279"/>
                      </a:lnTo>
                      <a:lnTo>
                        <a:pt x="107" y="279"/>
                      </a:lnTo>
                      <a:lnTo>
                        <a:pt x="109" y="279"/>
                      </a:lnTo>
                      <a:lnTo>
                        <a:pt x="109" y="277"/>
                      </a:lnTo>
                      <a:lnTo>
                        <a:pt x="111" y="277"/>
                      </a:lnTo>
                      <a:lnTo>
                        <a:pt x="111" y="275"/>
                      </a:lnTo>
                      <a:lnTo>
                        <a:pt x="112" y="275"/>
                      </a:lnTo>
                      <a:lnTo>
                        <a:pt x="111" y="275"/>
                      </a:lnTo>
                      <a:lnTo>
                        <a:pt x="112" y="275"/>
                      </a:lnTo>
                      <a:lnTo>
                        <a:pt x="111" y="275"/>
                      </a:lnTo>
                      <a:lnTo>
                        <a:pt x="112" y="275"/>
                      </a:lnTo>
                      <a:lnTo>
                        <a:pt x="114" y="273"/>
                      </a:lnTo>
                      <a:lnTo>
                        <a:pt x="112" y="273"/>
                      </a:lnTo>
                      <a:lnTo>
                        <a:pt x="114" y="273"/>
                      </a:lnTo>
                      <a:lnTo>
                        <a:pt x="112" y="273"/>
                      </a:lnTo>
                      <a:lnTo>
                        <a:pt x="111" y="273"/>
                      </a:lnTo>
                      <a:lnTo>
                        <a:pt x="114" y="271"/>
                      </a:lnTo>
                      <a:lnTo>
                        <a:pt x="114" y="273"/>
                      </a:lnTo>
                      <a:lnTo>
                        <a:pt x="114" y="271"/>
                      </a:lnTo>
                      <a:lnTo>
                        <a:pt x="112" y="273"/>
                      </a:lnTo>
                      <a:lnTo>
                        <a:pt x="112" y="271"/>
                      </a:lnTo>
                      <a:lnTo>
                        <a:pt x="114" y="269"/>
                      </a:lnTo>
                      <a:lnTo>
                        <a:pt x="116" y="269"/>
                      </a:lnTo>
                      <a:lnTo>
                        <a:pt x="118" y="269"/>
                      </a:lnTo>
                      <a:lnTo>
                        <a:pt x="120" y="267"/>
                      </a:lnTo>
                      <a:lnTo>
                        <a:pt x="120" y="269"/>
                      </a:lnTo>
                      <a:lnTo>
                        <a:pt x="122" y="269"/>
                      </a:lnTo>
                      <a:lnTo>
                        <a:pt x="124" y="271"/>
                      </a:lnTo>
                      <a:lnTo>
                        <a:pt x="122" y="267"/>
                      </a:lnTo>
                      <a:lnTo>
                        <a:pt x="120" y="267"/>
                      </a:lnTo>
                      <a:lnTo>
                        <a:pt x="118" y="267"/>
                      </a:lnTo>
                      <a:lnTo>
                        <a:pt x="116" y="267"/>
                      </a:lnTo>
                      <a:lnTo>
                        <a:pt x="116" y="269"/>
                      </a:lnTo>
                      <a:lnTo>
                        <a:pt x="111" y="271"/>
                      </a:lnTo>
                      <a:lnTo>
                        <a:pt x="112" y="271"/>
                      </a:lnTo>
                      <a:lnTo>
                        <a:pt x="112" y="273"/>
                      </a:lnTo>
                      <a:lnTo>
                        <a:pt x="109" y="273"/>
                      </a:lnTo>
                      <a:lnTo>
                        <a:pt x="109" y="275"/>
                      </a:lnTo>
                      <a:lnTo>
                        <a:pt x="105" y="277"/>
                      </a:lnTo>
                      <a:lnTo>
                        <a:pt x="107" y="275"/>
                      </a:lnTo>
                      <a:lnTo>
                        <a:pt x="105" y="277"/>
                      </a:lnTo>
                      <a:lnTo>
                        <a:pt x="105" y="275"/>
                      </a:lnTo>
                      <a:lnTo>
                        <a:pt x="107" y="275"/>
                      </a:lnTo>
                      <a:lnTo>
                        <a:pt x="107" y="273"/>
                      </a:lnTo>
                      <a:lnTo>
                        <a:pt x="109" y="273"/>
                      </a:lnTo>
                      <a:lnTo>
                        <a:pt x="107" y="273"/>
                      </a:lnTo>
                      <a:lnTo>
                        <a:pt x="105" y="273"/>
                      </a:lnTo>
                      <a:lnTo>
                        <a:pt x="107" y="273"/>
                      </a:lnTo>
                      <a:lnTo>
                        <a:pt x="105" y="273"/>
                      </a:lnTo>
                      <a:lnTo>
                        <a:pt x="107" y="271"/>
                      </a:lnTo>
                      <a:lnTo>
                        <a:pt x="107" y="273"/>
                      </a:lnTo>
                      <a:lnTo>
                        <a:pt x="107" y="271"/>
                      </a:lnTo>
                      <a:lnTo>
                        <a:pt x="105" y="273"/>
                      </a:lnTo>
                      <a:lnTo>
                        <a:pt x="107" y="271"/>
                      </a:lnTo>
                      <a:lnTo>
                        <a:pt x="109" y="271"/>
                      </a:lnTo>
                      <a:lnTo>
                        <a:pt x="111" y="271"/>
                      </a:lnTo>
                      <a:lnTo>
                        <a:pt x="112" y="269"/>
                      </a:lnTo>
                      <a:lnTo>
                        <a:pt x="111" y="271"/>
                      </a:lnTo>
                      <a:lnTo>
                        <a:pt x="111" y="269"/>
                      </a:lnTo>
                      <a:lnTo>
                        <a:pt x="109" y="269"/>
                      </a:lnTo>
                      <a:lnTo>
                        <a:pt x="111" y="267"/>
                      </a:lnTo>
                      <a:lnTo>
                        <a:pt x="111" y="269"/>
                      </a:lnTo>
                      <a:lnTo>
                        <a:pt x="112" y="269"/>
                      </a:lnTo>
                      <a:lnTo>
                        <a:pt x="112" y="267"/>
                      </a:lnTo>
                      <a:lnTo>
                        <a:pt x="111" y="267"/>
                      </a:lnTo>
                      <a:lnTo>
                        <a:pt x="112" y="267"/>
                      </a:lnTo>
                      <a:lnTo>
                        <a:pt x="114" y="267"/>
                      </a:lnTo>
                      <a:lnTo>
                        <a:pt x="111" y="267"/>
                      </a:lnTo>
                      <a:lnTo>
                        <a:pt x="111" y="265"/>
                      </a:lnTo>
                      <a:lnTo>
                        <a:pt x="112" y="265"/>
                      </a:lnTo>
                      <a:lnTo>
                        <a:pt x="114" y="265"/>
                      </a:lnTo>
                      <a:lnTo>
                        <a:pt x="116" y="263"/>
                      </a:lnTo>
                      <a:lnTo>
                        <a:pt x="118" y="261"/>
                      </a:lnTo>
                      <a:lnTo>
                        <a:pt x="118" y="263"/>
                      </a:lnTo>
                      <a:lnTo>
                        <a:pt x="118" y="261"/>
                      </a:lnTo>
                      <a:lnTo>
                        <a:pt x="120" y="261"/>
                      </a:lnTo>
                      <a:lnTo>
                        <a:pt x="118" y="261"/>
                      </a:lnTo>
                      <a:lnTo>
                        <a:pt x="120" y="260"/>
                      </a:lnTo>
                      <a:lnTo>
                        <a:pt x="122" y="258"/>
                      </a:lnTo>
                      <a:lnTo>
                        <a:pt x="122" y="260"/>
                      </a:lnTo>
                      <a:lnTo>
                        <a:pt x="122" y="261"/>
                      </a:lnTo>
                      <a:lnTo>
                        <a:pt x="122" y="263"/>
                      </a:lnTo>
                      <a:lnTo>
                        <a:pt x="120" y="263"/>
                      </a:lnTo>
                      <a:lnTo>
                        <a:pt x="118" y="263"/>
                      </a:lnTo>
                      <a:lnTo>
                        <a:pt x="116" y="263"/>
                      </a:lnTo>
                      <a:lnTo>
                        <a:pt x="118" y="263"/>
                      </a:lnTo>
                      <a:lnTo>
                        <a:pt x="120" y="263"/>
                      </a:lnTo>
                      <a:lnTo>
                        <a:pt x="118" y="265"/>
                      </a:lnTo>
                      <a:lnTo>
                        <a:pt x="120" y="263"/>
                      </a:lnTo>
                      <a:lnTo>
                        <a:pt x="120" y="265"/>
                      </a:lnTo>
                      <a:lnTo>
                        <a:pt x="120" y="267"/>
                      </a:lnTo>
                      <a:lnTo>
                        <a:pt x="120" y="265"/>
                      </a:lnTo>
                      <a:lnTo>
                        <a:pt x="120" y="263"/>
                      </a:lnTo>
                      <a:lnTo>
                        <a:pt x="122" y="263"/>
                      </a:lnTo>
                      <a:lnTo>
                        <a:pt x="124" y="261"/>
                      </a:lnTo>
                      <a:lnTo>
                        <a:pt x="124" y="263"/>
                      </a:lnTo>
                      <a:lnTo>
                        <a:pt x="126" y="263"/>
                      </a:lnTo>
                      <a:lnTo>
                        <a:pt x="124" y="263"/>
                      </a:lnTo>
                      <a:lnTo>
                        <a:pt x="126" y="263"/>
                      </a:lnTo>
                      <a:lnTo>
                        <a:pt x="124" y="263"/>
                      </a:lnTo>
                      <a:lnTo>
                        <a:pt x="126" y="261"/>
                      </a:lnTo>
                      <a:lnTo>
                        <a:pt x="124" y="263"/>
                      </a:lnTo>
                      <a:lnTo>
                        <a:pt x="124" y="261"/>
                      </a:lnTo>
                      <a:lnTo>
                        <a:pt x="128" y="260"/>
                      </a:lnTo>
                      <a:lnTo>
                        <a:pt x="130" y="258"/>
                      </a:lnTo>
                      <a:lnTo>
                        <a:pt x="131" y="256"/>
                      </a:lnTo>
                      <a:lnTo>
                        <a:pt x="133" y="254"/>
                      </a:lnTo>
                      <a:lnTo>
                        <a:pt x="131" y="254"/>
                      </a:lnTo>
                      <a:lnTo>
                        <a:pt x="130" y="258"/>
                      </a:lnTo>
                      <a:lnTo>
                        <a:pt x="126" y="261"/>
                      </a:lnTo>
                      <a:lnTo>
                        <a:pt x="124" y="260"/>
                      </a:lnTo>
                      <a:lnTo>
                        <a:pt x="126" y="258"/>
                      </a:lnTo>
                      <a:lnTo>
                        <a:pt x="124" y="258"/>
                      </a:lnTo>
                      <a:lnTo>
                        <a:pt x="122" y="258"/>
                      </a:lnTo>
                      <a:lnTo>
                        <a:pt x="124" y="256"/>
                      </a:lnTo>
                      <a:lnTo>
                        <a:pt x="122" y="256"/>
                      </a:lnTo>
                      <a:lnTo>
                        <a:pt x="122" y="258"/>
                      </a:lnTo>
                      <a:lnTo>
                        <a:pt x="124" y="254"/>
                      </a:lnTo>
                      <a:lnTo>
                        <a:pt x="126" y="254"/>
                      </a:lnTo>
                      <a:lnTo>
                        <a:pt x="124" y="254"/>
                      </a:lnTo>
                      <a:lnTo>
                        <a:pt x="126" y="252"/>
                      </a:lnTo>
                      <a:lnTo>
                        <a:pt x="124" y="252"/>
                      </a:lnTo>
                      <a:lnTo>
                        <a:pt x="122" y="254"/>
                      </a:lnTo>
                      <a:lnTo>
                        <a:pt x="120" y="254"/>
                      </a:lnTo>
                      <a:lnTo>
                        <a:pt x="122" y="254"/>
                      </a:lnTo>
                      <a:lnTo>
                        <a:pt x="122" y="256"/>
                      </a:lnTo>
                      <a:lnTo>
                        <a:pt x="120" y="258"/>
                      </a:lnTo>
                      <a:lnTo>
                        <a:pt x="118" y="258"/>
                      </a:lnTo>
                      <a:lnTo>
                        <a:pt x="120" y="256"/>
                      </a:lnTo>
                      <a:lnTo>
                        <a:pt x="118" y="256"/>
                      </a:lnTo>
                      <a:lnTo>
                        <a:pt x="120" y="256"/>
                      </a:lnTo>
                      <a:lnTo>
                        <a:pt x="118" y="256"/>
                      </a:lnTo>
                      <a:lnTo>
                        <a:pt x="120" y="256"/>
                      </a:lnTo>
                      <a:lnTo>
                        <a:pt x="120" y="254"/>
                      </a:lnTo>
                      <a:lnTo>
                        <a:pt x="118" y="254"/>
                      </a:lnTo>
                      <a:lnTo>
                        <a:pt x="120" y="254"/>
                      </a:lnTo>
                      <a:lnTo>
                        <a:pt x="120" y="252"/>
                      </a:lnTo>
                      <a:lnTo>
                        <a:pt x="122" y="252"/>
                      </a:lnTo>
                      <a:lnTo>
                        <a:pt x="122" y="250"/>
                      </a:lnTo>
                      <a:lnTo>
                        <a:pt x="120" y="252"/>
                      </a:lnTo>
                      <a:lnTo>
                        <a:pt x="120" y="250"/>
                      </a:lnTo>
                      <a:lnTo>
                        <a:pt x="122" y="250"/>
                      </a:lnTo>
                      <a:lnTo>
                        <a:pt x="122" y="248"/>
                      </a:lnTo>
                      <a:lnTo>
                        <a:pt x="124" y="248"/>
                      </a:lnTo>
                      <a:lnTo>
                        <a:pt x="122" y="248"/>
                      </a:lnTo>
                      <a:lnTo>
                        <a:pt x="122" y="246"/>
                      </a:lnTo>
                      <a:lnTo>
                        <a:pt x="120" y="248"/>
                      </a:lnTo>
                      <a:lnTo>
                        <a:pt x="122" y="248"/>
                      </a:lnTo>
                      <a:lnTo>
                        <a:pt x="120" y="250"/>
                      </a:lnTo>
                      <a:lnTo>
                        <a:pt x="120" y="248"/>
                      </a:lnTo>
                      <a:lnTo>
                        <a:pt x="122" y="246"/>
                      </a:lnTo>
                      <a:lnTo>
                        <a:pt x="122" y="244"/>
                      </a:lnTo>
                      <a:lnTo>
                        <a:pt x="122" y="246"/>
                      </a:lnTo>
                      <a:lnTo>
                        <a:pt x="122" y="244"/>
                      </a:lnTo>
                      <a:lnTo>
                        <a:pt x="122" y="246"/>
                      </a:lnTo>
                      <a:lnTo>
                        <a:pt x="124" y="248"/>
                      </a:lnTo>
                      <a:lnTo>
                        <a:pt x="124" y="250"/>
                      </a:lnTo>
                      <a:lnTo>
                        <a:pt x="126" y="250"/>
                      </a:lnTo>
                      <a:lnTo>
                        <a:pt x="126" y="252"/>
                      </a:lnTo>
                      <a:lnTo>
                        <a:pt x="126" y="250"/>
                      </a:lnTo>
                      <a:lnTo>
                        <a:pt x="124" y="248"/>
                      </a:lnTo>
                      <a:lnTo>
                        <a:pt x="126" y="248"/>
                      </a:lnTo>
                      <a:lnTo>
                        <a:pt x="126" y="250"/>
                      </a:lnTo>
                      <a:lnTo>
                        <a:pt x="126" y="248"/>
                      </a:lnTo>
                      <a:lnTo>
                        <a:pt x="126" y="250"/>
                      </a:lnTo>
                      <a:lnTo>
                        <a:pt x="128" y="250"/>
                      </a:lnTo>
                      <a:lnTo>
                        <a:pt x="126" y="250"/>
                      </a:lnTo>
                      <a:lnTo>
                        <a:pt x="128" y="250"/>
                      </a:lnTo>
                      <a:lnTo>
                        <a:pt x="130" y="252"/>
                      </a:lnTo>
                      <a:lnTo>
                        <a:pt x="128" y="250"/>
                      </a:lnTo>
                      <a:lnTo>
                        <a:pt x="128" y="248"/>
                      </a:lnTo>
                      <a:lnTo>
                        <a:pt x="130" y="248"/>
                      </a:lnTo>
                      <a:lnTo>
                        <a:pt x="128" y="248"/>
                      </a:lnTo>
                      <a:lnTo>
                        <a:pt x="126" y="246"/>
                      </a:lnTo>
                      <a:lnTo>
                        <a:pt x="128" y="246"/>
                      </a:lnTo>
                      <a:lnTo>
                        <a:pt x="126" y="246"/>
                      </a:lnTo>
                      <a:lnTo>
                        <a:pt x="126" y="244"/>
                      </a:lnTo>
                      <a:lnTo>
                        <a:pt x="126" y="246"/>
                      </a:lnTo>
                      <a:lnTo>
                        <a:pt x="124" y="246"/>
                      </a:lnTo>
                      <a:lnTo>
                        <a:pt x="126" y="244"/>
                      </a:lnTo>
                      <a:lnTo>
                        <a:pt x="124" y="246"/>
                      </a:lnTo>
                      <a:lnTo>
                        <a:pt x="124" y="244"/>
                      </a:lnTo>
                      <a:lnTo>
                        <a:pt x="124" y="242"/>
                      </a:lnTo>
                      <a:lnTo>
                        <a:pt x="122" y="242"/>
                      </a:lnTo>
                      <a:lnTo>
                        <a:pt x="126" y="239"/>
                      </a:lnTo>
                      <a:lnTo>
                        <a:pt x="128" y="239"/>
                      </a:lnTo>
                      <a:lnTo>
                        <a:pt x="126" y="240"/>
                      </a:lnTo>
                      <a:lnTo>
                        <a:pt x="128" y="239"/>
                      </a:lnTo>
                      <a:lnTo>
                        <a:pt x="128" y="240"/>
                      </a:lnTo>
                      <a:lnTo>
                        <a:pt x="130" y="242"/>
                      </a:lnTo>
                      <a:lnTo>
                        <a:pt x="128" y="240"/>
                      </a:lnTo>
                      <a:lnTo>
                        <a:pt x="126" y="237"/>
                      </a:lnTo>
                      <a:lnTo>
                        <a:pt x="128" y="235"/>
                      </a:lnTo>
                      <a:lnTo>
                        <a:pt x="128" y="237"/>
                      </a:lnTo>
                      <a:lnTo>
                        <a:pt x="130" y="237"/>
                      </a:lnTo>
                      <a:lnTo>
                        <a:pt x="128" y="235"/>
                      </a:lnTo>
                      <a:lnTo>
                        <a:pt x="130" y="235"/>
                      </a:lnTo>
                      <a:lnTo>
                        <a:pt x="128" y="235"/>
                      </a:lnTo>
                      <a:lnTo>
                        <a:pt x="128" y="233"/>
                      </a:lnTo>
                      <a:lnTo>
                        <a:pt x="128" y="235"/>
                      </a:lnTo>
                      <a:lnTo>
                        <a:pt x="128" y="233"/>
                      </a:lnTo>
                      <a:lnTo>
                        <a:pt x="128" y="231"/>
                      </a:lnTo>
                      <a:lnTo>
                        <a:pt x="131" y="229"/>
                      </a:lnTo>
                      <a:lnTo>
                        <a:pt x="131" y="231"/>
                      </a:lnTo>
                      <a:lnTo>
                        <a:pt x="133" y="231"/>
                      </a:lnTo>
                      <a:lnTo>
                        <a:pt x="135" y="231"/>
                      </a:lnTo>
                      <a:lnTo>
                        <a:pt x="135" y="233"/>
                      </a:lnTo>
                      <a:lnTo>
                        <a:pt x="137" y="233"/>
                      </a:lnTo>
                      <a:lnTo>
                        <a:pt x="135" y="229"/>
                      </a:lnTo>
                      <a:lnTo>
                        <a:pt x="135" y="231"/>
                      </a:lnTo>
                      <a:lnTo>
                        <a:pt x="131" y="229"/>
                      </a:lnTo>
                      <a:lnTo>
                        <a:pt x="133" y="227"/>
                      </a:lnTo>
                      <a:lnTo>
                        <a:pt x="131" y="225"/>
                      </a:lnTo>
                      <a:lnTo>
                        <a:pt x="133" y="225"/>
                      </a:lnTo>
                      <a:lnTo>
                        <a:pt x="128" y="227"/>
                      </a:lnTo>
                      <a:lnTo>
                        <a:pt x="131" y="225"/>
                      </a:lnTo>
                      <a:lnTo>
                        <a:pt x="130" y="225"/>
                      </a:lnTo>
                      <a:lnTo>
                        <a:pt x="128" y="225"/>
                      </a:lnTo>
                      <a:lnTo>
                        <a:pt x="130" y="225"/>
                      </a:lnTo>
                      <a:lnTo>
                        <a:pt x="128" y="225"/>
                      </a:lnTo>
                      <a:lnTo>
                        <a:pt x="130" y="223"/>
                      </a:lnTo>
                      <a:lnTo>
                        <a:pt x="131" y="223"/>
                      </a:lnTo>
                      <a:lnTo>
                        <a:pt x="135" y="221"/>
                      </a:lnTo>
                      <a:lnTo>
                        <a:pt x="137" y="220"/>
                      </a:lnTo>
                      <a:lnTo>
                        <a:pt x="139" y="220"/>
                      </a:lnTo>
                      <a:lnTo>
                        <a:pt x="141" y="218"/>
                      </a:lnTo>
                      <a:lnTo>
                        <a:pt x="143" y="218"/>
                      </a:lnTo>
                      <a:lnTo>
                        <a:pt x="143" y="220"/>
                      </a:lnTo>
                      <a:lnTo>
                        <a:pt x="141" y="220"/>
                      </a:lnTo>
                      <a:lnTo>
                        <a:pt x="143" y="220"/>
                      </a:lnTo>
                      <a:lnTo>
                        <a:pt x="141" y="221"/>
                      </a:lnTo>
                      <a:lnTo>
                        <a:pt x="141" y="223"/>
                      </a:lnTo>
                      <a:lnTo>
                        <a:pt x="143" y="221"/>
                      </a:lnTo>
                      <a:lnTo>
                        <a:pt x="147" y="221"/>
                      </a:lnTo>
                      <a:lnTo>
                        <a:pt x="147" y="220"/>
                      </a:lnTo>
                      <a:lnTo>
                        <a:pt x="145" y="221"/>
                      </a:lnTo>
                      <a:lnTo>
                        <a:pt x="143" y="220"/>
                      </a:lnTo>
                      <a:lnTo>
                        <a:pt x="143" y="221"/>
                      </a:lnTo>
                      <a:lnTo>
                        <a:pt x="143" y="220"/>
                      </a:lnTo>
                      <a:lnTo>
                        <a:pt x="145" y="218"/>
                      </a:lnTo>
                      <a:lnTo>
                        <a:pt x="147" y="218"/>
                      </a:lnTo>
                      <a:lnTo>
                        <a:pt x="145" y="220"/>
                      </a:lnTo>
                      <a:lnTo>
                        <a:pt x="147" y="220"/>
                      </a:lnTo>
                      <a:lnTo>
                        <a:pt x="149" y="218"/>
                      </a:lnTo>
                      <a:lnTo>
                        <a:pt x="151" y="216"/>
                      </a:lnTo>
                      <a:lnTo>
                        <a:pt x="151" y="214"/>
                      </a:lnTo>
                      <a:lnTo>
                        <a:pt x="152" y="216"/>
                      </a:lnTo>
                      <a:lnTo>
                        <a:pt x="152" y="214"/>
                      </a:lnTo>
                      <a:lnTo>
                        <a:pt x="151" y="214"/>
                      </a:lnTo>
                      <a:lnTo>
                        <a:pt x="149" y="216"/>
                      </a:lnTo>
                      <a:lnTo>
                        <a:pt x="147" y="218"/>
                      </a:lnTo>
                      <a:lnTo>
                        <a:pt x="145" y="218"/>
                      </a:lnTo>
                      <a:lnTo>
                        <a:pt x="145" y="216"/>
                      </a:lnTo>
                      <a:lnTo>
                        <a:pt x="145" y="218"/>
                      </a:lnTo>
                      <a:lnTo>
                        <a:pt x="143" y="218"/>
                      </a:lnTo>
                      <a:lnTo>
                        <a:pt x="143" y="216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39" y="218"/>
                      </a:lnTo>
                      <a:lnTo>
                        <a:pt x="135" y="220"/>
                      </a:lnTo>
                      <a:lnTo>
                        <a:pt x="133" y="221"/>
                      </a:lnTo>
                      <a:lnTo>
                        <a:pt x="133" y="220"/>
                      </a:lnTo>
                      <a:lnTo>
                        <a:pt x="135" y="218"/>
                      </a:lnTo>
                      <a:lnTo>
                        <a:pt x="137" y="216"/>
                      </a:lnTo>
                      <a:lnTo>
                        <a:pt x="139" y="216"/>
                      </a:lnTo>
                      <a:lnTo>
                        <a:pt x="143" y="216"/>
                      </a:lnTo>
                      <a:lnTo>
                        <a:pt x="141" y="216"/>
                      </a:lnTo>
                      <a:lnTo>
                        <a:pt x="141" y="214"/>
                      </a:lnTo>
                      <a:lnTo>
                        <a:pt x="137" y="216"/>
                      </a:lnTo>
                      <a:lnTo>
                        <a:pt x="135" y="216"/>
                      </a:lnTo>
                      <a:lnTo>
                        <a:pt x="135" y="214"/>
                      </a:lnTo>
                      <a:lnTo>
                        <a:pt x="135" y="216"/>
                      </a:lnTo>
                      <a:lnTo>
                        <a:pt x="133" y="214"/>
                      </a:lnTo>
                      <a:lnTo>
                        <a:pt x="135" y="212"/>
                      </a:lnTo>
                      <a:lnTo>
                        <a:pt x="135" y="210"/>
                      </a:lnTo>
                      <a:lnTo>
                        <a:pt x="135" y="208"/>
                      </a:lnTo>
                      <a:lnTo>
                        <a:pt x="133" y="208"/>
                      </a:lnTo>
                      <a:lnTo>
                        <a:pt x="133" y="206"/>
                      </a:lnTo>
                      <a:lnTo>
                        <a:pt x="135" y="206"/>
                      </a:lnTo>
                      <a:lnTo>
                        <a:pt x="137" y="206"/>
                      </a:lnTo>
                      <a:lnTo>
                        <a:pt x="137" y="208"/>
                      </a:lnTo>
                      <a:lnTo>
                        <a:pt x="137" y="210"/>
                      </a:lnTo>
                      <a:lnTo>
                        <a:pt x="139" y="208"/>
                      </a:lnTo>
                      <a:lnTo>
                        <a:pt x="137" y="210"/>
                      </a:lnTo>
                      <a:lnTo>
                        <a:pt x="137" y="208"/>
                      </a:lnTo>
                      <a:lnTo>
                        <a:pt x="137" y="206"/>
                      </a:lnTo>
                      <a:lnTo>
                        <a:pt x="141" y="206"/>
                      </a:lnTo>
                      <a:lnTo>
                        <a:pt x="143" y="208"/>
                      </a:lnTo>
                      <a:lnTo>
                        <a:pt x="143" y="206"/>
                      </a:lnTo>
                      <a:lnTo>
                        <a:pt x="141" y="204"/>
                      </a:lnTo>
                      <a:lnTo>
                        <a:pt x="143" y="204"/>
                      </a:lnTo>
                      <a:lnTo>
                        <a:pt x="145" y="204"/>
                      </a:lnTo>
                      <a:lnTo>
                        <a:pt x="143" y="204"/>
                      </a:lnTo>
                      <a:lnTo>
                        <a:pt x="141" y="206"/>
                      </a:lnTo>
                      <a:lnTo>
                        <a:pt x="137" y="206"/>
                      </a:lnTo>
                      <a:lnTo>
                        <a:pt x="135" y="204"/>
                      </a:lnTo>
                      <a:lnTo>
                        <a:pt x="137" y="204"/>
                      </a:lnTo>
                      <a:lnTo>
                        <a:pt x="137" y="202"/>
                      </a:lnTo>
                      <a:lnTo>
                        <a:pt x="137" y="204"/>
                      </a:lnTo>
                      <a:lnTo>
                        <a:pt x="137" y="202"/>
                      </a:lnTo>
                      <a:lnTo>
                        <a:pt x="139" y="202"/>
                      </a:lnTo>
                      <a:lnTo>
                        <a:pt x="137" y="202"/>
                      </a:lnTo>
                      <a:lnTo>
                        <a:pt x="135" y="202"/>
                      </a:lnTo>
                      <a:lnTo>
                        <a:pt x="137" y="200"/>
                      </a:lnTo>
                      <a:lnTo>
                        <a:pt x="139" y="200"/>
                      </a:lnTo>
                      <a:lnTo>
                        <a:pt x="139" y="202"/>
                      </a:lnTo>
                      <a:lnTo>
                        <a:pt x="139" y="200"/>
                      </a:lnTo>
                      <a:lnTo>
                        <a:pt x="143" y="202"/>
                      </a:lnTo>
                      <a:lnTo>
                        <a:pt x="141" y="200"/>
                      </a:lnTo>
                      <a:lnTo>
                        <a:pt x="139" y="200"/>
                      </a:lnTo>
                      <a:lnTo>
                        <a:pt x="137" y="200"/>
                      </a:lnTo>
                      <a:lnTo>
                        <a:pt x="137" y="199"/>
                      </a:lnTo>
                      <a:lnTo>
                        <a:pt x="139" y="199"/>
                      </a:lnTo>
                      <a:lnTo>
                        <a:pt x="141" y="199"/>
                      </a:lnTo>
                      <a:lnTo>
                        <a:pt x="143" y="200"/>
                      </a:lnTo>
                      <a:lnTo>
                        <a:pt x="145" y="200"/>
                      </a:lnTo>
                      <a:lnTo>
                        <a:pt x="145" y="199"/>
                      </a:lnTo>
                      <a:lnTo>
                        <a:pt x="147" y="199"/>
                      </a:lnTo>
                      <a:lnTo>
                        <a:pt x="145" y="199"/>
                      </a:lnTo>
                      <a:lnTo>
                        <a:pt x="143" y="199"/>
                      </a:lnTo>
                      <a:lnTo>
                        <a:pt x="141" y="199"/>
                      </a:lnTo>
                      <a:lnTo>
                        <a:pt x="145" y="197"/>
                      </a:lnTo>
                      <a:lnTo>
                        <a:pt x="141" y="197"/>
                      </a:lnTo>
                      <a:lnTo>
                        <a:pt x="141" y="195"/>
                      </a:lnTo>
                      <a:lnTo>
                        <a:pt x="145" y="195"/>
                      </a:lnTo>
                      <a:lnTo>
                        <a:pt x="147" y="197"/>
                      </a:lnTo>
                      <a:lnTo>
                        <a:pt x="149" y="197"/>
                      </a:lnTo>
                      <a:lnTo>
                        <a:pt x="147" y="195"/>
                      </a:lnTo>
                      <a:lnTo>
                        <a:pt x="145" y="195"/>
                      </a:lnTo>
                      <a:lnTo>
                        <a:pt x="145" y="193"/>
                      </a:lnTo>
                      <a:lnTo>
                        <a:pt x="143" y="193"/>
                      </a:lnTo>
                      <a:lnTo>
                        <a:pt x="143" y="191"/>
                      </a:lnTo>
                      <a:lnTo>
                        <a:pt x="141" y="191"/>
                      </a:lnTo>
                      <a:lnTo>
                        <a:pt x="141" y="189"/>
                      </a:lnTo>
                      <a:lnTo>
                        <a:pt x="143" y="191"/>
                      </a:lnTo>
                      <a:lnTo>
                        <a:pt x="143" y="189"/>
                      </a:lnTo>
                      <a:lnTo>
                        <a:pt x="145" y="189"/>
                      </a:lnTo>
                      <a:lnTo>
                        <a:pt x="147" y="189"/>
                      </a:lnTo>
                      <a:lnTo>
                        <a:pt x="145" y="189"/>
                      </a:lnTo>
                      <a:lnTo>
                        <a:pt x="147" y="189"/>
                      </a:lnTo>
                      <a:lnTo>
                        <a:pt x="147" y="187"/>
                      </a:lnTo>
                      <a:lnTo>
                        <a:pt x="149" y="187"/>
                      </a:lnTo>
                      <a:lnTo>
                        <a:pt x="149" y="189"/>
                      </a:lnTo>
                      <a:lnTo>
                        <a:pt x="147" y="189"/>
                      </a:lnTo>
                      <a:lnTo>
                        <a:pt x="149" y="189"/>
                      </a:lnTo>
                      <a:lnTo>
                        <a:pt x="151" y="189"/>
                      </a:lnTo>
                      <a:lnTo>
                        <a:pt x="149" y="189"/>
                      </a:lnTo>
                      <a:lnTo>
                        <a:pt x="151" y="187"/>
                      </a:lnTo>
                      <a:lnTo>
                        <a:pt x="149" y="187"/>
                      </a:lnTo>
                      <a:lnTo>
                        <a:pt x="149" y="185"/>
                      </a:lnTo>
                      <a:lnTo>
                        <a:pt x="151" y="185"/>
                      </a:lnTo>
                      <a:lnTo>
                        <a:pt x="151" y="187"/>
                      </a:lnTo>
                      <a:lnTo>
                        <a:pt x="152" y="187"/>
                      </a:lnTo>
                      <a:lnTo>
                        <a:pt x="151" y="189"/>
                      </a:lnTo>
                      <a:lnTo>
                        <a:pt x="152" y="189"/>
                      </a:lnTo>
                      <a:lnTo>
                        <a:pt x="152" y="187"/>
                      </a:lnTo>
                      <a:lnTo>
                        <a:pt x="154" y="185"/>
                      </a:lnTo>
                      <a:lnTo>
                        <a:pt x="152" y="185"/>
                      </a:lnTo>
                      <a:lnTo>
                        <a:pt x="154" y="185"/>
                      </a:lnTo>
                      <a:lnTo>
                        <a:pt x="156" y="183"/>
                      </a:lnTo>
                      <a:lnTo>
                        <a:pt x="156" y="185"/>
                      </a:lnTo>
                      <a:lnTo>
                        <a:pt x="156" y="183"/>
                      </a:lnTo>
                      <a:lnTo>
                        <a:pt x="156" y="185"/>
                      </a:lnTo>
                      <a:lnTo>
                        <a:pt x="158" y="185"/>
                      </a:lnTo>
                      <a:lnTo>
                        <a:pt x="158" y="187"/>
                      </a:lnTo>
                      <a:lnTo>
                        <a:pt x="158" y="185"/>
                      </a:lnTo>
                      <a:lnTo>
                        <a:pt x="156" y="185"/>
                      </a:lnTo>
                      <a:lnTo>
                        <a:pt x="156" y="183"/>
                      </a:lnTo>
                      <a:lnTo>
                        <a:pt x="154" y="185"/>
                      </a:lnTo>
                      <a:lnTo>
                        <a:pt x="154" y="183"/>
                      </a:lnTo>
                      <a:lnTo>
                        <a:pt x="152" y="183"/>
                      </a:lnTo>
                      <a:lnTo>
                        <a:pt x="154" y="183"/>
                      </a:lnTo>
                      <a:lnTo>
                        <a:pt x="154" y="181"/>
                      </a:lnTo>
                      <a:lnTo>
                        <a:pt x="156" y="181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60" y="179"/>
                      </a:lnTo>
                      <a:lnTo>
                        <a:pt x="158" y="179"/>
                      </a:lnTo>
                      <a:lnTo>
                        <a:pt x="160" y="179"/>
                      </a:lnTo>
                      <a:lnTo>
                        <a:pt x="162" y="178"/>
                      </a:lnTo>
                      <a:lnTo>
                        <a:pt x="164" y="178"/>
                      </a:lnTo>
                      <a:lnTo>
                        <a:pt x="166" y="178"/>
                      </a:lnTo>
                      <a:lnTo>
                        <a:pt x="164" y="178"/>
                      </a:lnTo>
                      <a:lnTo>
                        <a:pt x="164" y="179"/>
                      </a:lnTo>
                      <a:lnTo>
                        <a:pt x="164" y="181"/>
                      </a:lnTo>
                      <a:lnTo>
                        <a:pt x="164" y="183"/>
                      </a:lnTo>
                      <a:lnTo>
                        <a:pt x="166" y="183"/>
                      </a:lnTo>
                      <a:lnTo>
                        <a:pt x="166" y="181"/>
                      </a:lnTo>
                      <a:lnTo>
                        <a:pt x="164" y="181"/>
                      </a:lnTo>
                      <a:lnTo>
                        <a:pt x="166" y="179"/>
                      </a:lnTo>
                      <a:lnTo>
                        <a:pt x="166" y="178"/>
                      </a:lnTo>
                      <a:lnTo>
                        <a:pt x="168" y="179"/>
                      </a:lnTo>
                      <a:lnTo>
                        <a:pt x="170" y="179"/>
                      </a:lnTo>
                      <a:lnTo>
                        <a:pt x="172" y="179"/>
                      </a:lnTo>
                      <a:lnTo>
                        <a:pt x="172" y="183"/>
                      </a:lnTo>
                      <a:lnTo>
                        <a:pt x="172" y="181"/>
                      </a:lnTo>
                      <a:lnTo>
                        <a:pt x="172" y="183"/>
                      </a:lnTo>
                      <a:lnTo>
                        <a:pt x="173" y="183"/>
                      </a:lnTo>
                      <a:lnTo>
                        <a:pt x="172" y="183"/>
                      </a:lnTo>
                      <a:lnTo>
                        <a:pt x="173" y="179"/>
                      </a:lnTo>
                      <a:lnTo>
                        <a:pt x="172" y="179"/>
                      </a:lnTo>
                      <a:lnTo>
                        <a:pt x="172" y="178"/>
                      </a:lnTo>
                      <a:lnTo>
                        <a:pt x="170" y="178"/>
                      </a:lnTo>
                      <a:lnTo>
                        <a:pt x="170" y="176"/>
                      </a:lnTo>
                      <a:lnTo>
                        <a:pt x="168" y="178"/>
                      </a:lnTo>
                      <a:lnTo>
                        <a:pt x="168" y="176"/>
                      </a:lnTo>
                      <a:lnTo>
                        <a:pt x="166" y="176"/>
                      </a:lnTo>
                      <a:lnTo>
                        <a:pt x="168" y="176"/>
                      </a:lnTo>
                      <a:lnTo>
                        <a:pt x="170" y="176"/>
                      </a:lnTo>
                      <a:lnTo>
                        <a:pt x="170" y="174"/>
                      </a:lnTo>
                      <a:lnTo>
                        <a:pt x="168" y="176"/>
                      </a:lnTo>
                      <a:lnTo>
                        <a:pt x="168" y="174"/>
                      </a:lnTo>
                      <a:lnTo>
                        <a:pt x="166" y="174"/>
                      </a:lnTo>
                      <a:lnTo>
                        <a:pt x="164" y="176"/>
                      </a:lnTo>
                      <a:lnTo>
                        <a:pt x="166" y="176"/>
                      </a:lnTo>
                      <a:lnTo>
                        <a:pt x="164" y="176"/>
                      </a:lnTo>
                      <a:lnTo>
                        <a:pt x="162" y="176"/>
                      </a:lnTo>
                      <a:lnTo>
                        <a:pt x="164" y="176"/>
                      </a:lnTo>
                      <a:lnTo>
                        <a:pt x="162" y="176"/>
                      </a:lnTo>
                      <a:lnTo>
                        <a:pt x="160" y="178"/>
                      </a:lnTo>
                      <a:lnTo>
                        <a:pt x="160" y="176"/>
                      </a:lnTo>
                      <a:lnTo>
                        <a:pt x="158" y="176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6" y="176"/>
                      </a:lnTo>
                      <a:lnTo>
                        <a:pt x="154" y="176"/>
                      </a:lnTo>
                      <a:lnTo>
                        <a:pt x="156" y="176"/>
                      </a:lnTo>
                      <a:lnTo>
                        <a:pt x="156" y="174"/>
                      </a:lnTo>
                      <a:lnTo>
                        <a:pt x="160" y="172"/>
                      </a:lnTo>
                      <a:lnTo>
                        <a:pt x="158" y="172"/>
                      </a:lnTo>
                      <a:lnTo>
                        <a:pt x="160" y="170"/>
                      </a:lnTo>
                      <a:lnTo>
                        <a:pt x="162" y="170"/>
                      </a:lnTo>
                      <a:lnTo>
                        <a:pt x="162" y="172"/>
                      </a:lnTo>
                      <a:lnTo>
                        <a:pt x="164" y="170"/>
                      </a:lnTo>
                      <a:lnTo>
                        <a:pt x="166" y="170"/>
                      </a:lnTo>
                      <a:lnTo>
                        <a:pt x="162" y="168"/>
                      </a:lnTo>
                      <a:lnTo>
                        <a:pt x="160" y="170"/>
                      </a:lnTo>
                      <a:lnTo>
                        <a:pt x="160" y="168"/>
                      </a:lnTo>
                      <a:lnTo>
                        <a:pt x="164" y="164"/>
                      </a:lnTo>
                      <a:lnTo>
                        <a:pt x="166" y="162"/>
                      </a:lnTo>
                      <a:lnTo>
                        <a:pt x="168" y="164"/>
                      </a:lnTo>
                      <a:lnTo>
                        <a:pt x="166" y="166"/>
                      </a:lnTo>
                      <a:lnTo>
                        <a:pt x="166" y="164"/>
                      </a:lnTo>
                      <a:lnTo>
                        <a:pt x="166" y="166"/>
                      </a:lnTo>
                      <a:lnTo>
                        <a:pt x="166" y="168"/>
                      </a:lnTo>
                      <a:lnTo>
                        <a:pt x="164" y="168"/>
                      </a:lnTo>
                      <a:lnTo>
                        <a:pt x="166" y="168"/>
                      </a:lnTo>
                      <a:lnTo>
                        <a:pt x="168" y="166"/>
                      </a:lnTo>
                      <a:lnTo>
                        <a:pt x="170" y="166"/>
                      </a:lnTo>
                      <a:lnTo>
                        <a:pt x="168" y="168"/>
                      </a:lnTo>
                      <a:lnTo>
                        <a:pt x="168" y="170"/>
                      </a:lnTo>
                      <a:lnTo>
                        <a:pt x="168" y="168"/>
                      </a:lnTo>
                      <a:lnTo>
                        <a:pt x="170" y="166"/>
                      </a:lnTo>
                      <a:lnTo>
                        <a:pt x="170" y="168"/>
                      </a:lnTo>
                      <a:lnTo>
                        <a:pt x="170" y="166"/>
                      </a:lnTo>
                      <a:lnTo>
                        <a:pt x="172" y="168"/>
                      </a:lnTo>
                      <a:lnTo>
                        <a:pt x="175" y="174"/>
                      </a:lnTo>
                      <a:lnTo>
                        <a:pt x="175" y="172"/>
                      </a:lnTo>
                      <a:lnTo>
                        <a:pt x="175" y="170"/>
                      </a:lnTo>
                      <a:lnTo>
                        <a:pt x="173" y="170"/>
                      </a:lnTo>
                      <a:lnTo>
                        <a:pt x="175" y="168"/>
                      </a:lnTo>
                      <a:lnTo>
                        <a:pt x="173" y="168"/>
                      </a:lnTo>
                      <a:lnTo>
                        <a:pt x="175" y="164"/>
                      </a:lnTo>
                      <a:lnTo>
                        <a:pt x="179" y="164"/>
                      </a:lnTo>
                      <a:lnTo>
                        <a:pt x="175" y="164"/>
                      </a:lnTo>
                      <a:lnTo>
                        <a:pt x="173" y="166"/>
                      </a:lnTo>
                      <a:lnTo>
                        <a:pt x="172" y="166"/>
                      </a:lnTo>
                      <a:lnTo>
                        <a:pt x="170" y="166"/>
                      </a:lnTo>
                      <a:lnTo>
                        <a:pt x="168" y="164"/>
                      </a:lnTo>
                      <a:lnTo>
                        <a:pt x="170" y="164"/>
                      </a:lnTo>
                      <a:lnTo>
                        <a:pt x="168" y="164"/>
                      </a:lnTo>
                      <a:lnTo>
                        <a:pt x="170" y="164"/>
                      </a:lnTo>
                      <a:lnTo>
                        <a:pt x="168" y="162"/>
                      </a:lnTo>
                      <a:lnTo>
                        <a:pt x="170" y="162"/>
                      </a:lnTo>
                      <a:lnTo>
                        <a:pt x="172" y="162"/>
                      </a:lnTo>
                      <a:lnTo>
                        <a:pt x="172" y="164"/>
                      </a:lnTo>
                      <a:lnTo>
                        <a:pt x="172" y="162"/>
                      </a:lnTo>
                      <a:lnTo>
                        <a:pt x="170" y="160"/>
                      </a:lnTo>
                      <a:lnTo>
                        <a:pt x="170" y="162"/>
                      </a:lnTo>
                      <a:lnTo>
                        <a:pt x="168" y="162"/>
                      </a:lnTo>
                      <a:lnTo>
                        <a:pt x="170" y="158"/>
                      </a:lnTo>
                      <a:lnTo>
                        <a:pt x="170" y="157"/>
                      </a:lnTo>
                      <a:lnTo>
                        <a:pt x="173" y="160"/>
                      </a:lnTo>
                      <a:lnTo>
                        <a:pt x="173" y="158"/>
                      </a:lnTo>
                      <a:lnTo>
                        <a:pt x="175" y="158"/>
                      </a:lnTo>
                      <a:lnTo>
                        <a:pt x="173" y="158"/>
                      </a:lnTo>
                      <a:lnTo>
                        <a:pt x="172" y="157"/>
                      </a:lnTo>
                      <a:lnTo>
                        <a:pt x="173" y="157"/>
                      </a:lnTo>
                      <a:lnTo>
                        <a:pt x="175" y="157"/>
                      </a:lnTo>
                      <a:lnTo>
                        <a:pt x="177" y="157"/>
                      </a:lnTo>
                      <a:lnTo>
                        <a:pt x="177" y="158"/>
                      </a:lnTo>
                      <a:lnTo>
                        <a:pt x="179" y="158"/>
                      </a:lnTo>
                      <a:lnTo>
                        <a:pt x="177" y="158"/>
                      </a:lnTo>
                      <a:lnTo>
                        <a:pt x="177" y="157"/>
                      </a:lnTo>
                      <a:lnTo>
                        <a:pt x="175" y="155"/>
                      </a:lnTo>
                      <a:lnTo>
                        <a:pt x="173" y="155"/>
                      </a:lnTo>
                      <a:lnTo>
                        <a:pt x="172" y="155"/>
                      </a:lnTo>
                      <a:lnTo>
                        <a:pt x="172" y="153"/>
                      </a:lnTo>
                      <a:lnTo>
                        <a:pt x="172" y="151"/>
                      </a:lnTo>
                      <a:lnTo>
                        <a:pt x="172" y="153"/>
                      </a:lnTo>
                      <a:lnTo>
                        <a:pt x="172" y="151"/>
                      </a:lnTo>
                      <a:lnTo>
                        <a:pt x="172" y="155"/>
                      </a:lnTo>
                      <a:lnTo>
                        <a:pt x="168" y="157"/>
                      </a:lnTo>
                      <a:lnTo>
                        <a:pt x="168" y="158"/>
                      </a:lnTo>
                      <a:lnTo>
                        <a:pt x="164" y="160"/>
                      </a:lnTo>
                      <a:lnTo>
                        <a:pt x="162" y="160"/>
                      </a:lnTo>
                      <a:lnTo>
                        <a:pt x="160" y="160"/>
                      </a:lnTo>
                      <a:lnTo>
                        <a:pt x="164" y="158"/>
                      </a:lnTo>
                      <a:lnTo>
                        <a:pt x="162" y="158"/>
                      </a:lnTo>
                      <a:lnTo>
                        <a:pt x="162" y="157"/>
                      </a:lnTo>
                      <a:lnTo>
                        <a:pt x="162" y="158"/>
                      </a:lnTo>
                      <a:lnTo>
                        <a:pt x="162" y="157"/>
                      </a:lnTo>
                      <a:lnTo>
                        <a:pt x="164" y="157"/>
                      </a:lnTo>
                      <a:lnTo>
                        <a:pt x="166" y="157"/>
                      </a:lnTo>
                      <a:lnTo>
                        <a:pt x="168" y="157"/>
                      </a:lnTo>
                      <a:lnTo>
                        <a:pt x="166" y="157"/>
                      </a:lnTo>
                      <a:lnTo>
                        <a:pt x="166" y="155"/>
                      </a:lnTo>
                      <a:lnTo>
                        <a:pt x="162" y="157"/>
                      </a:lnTo>
                      <a:lnTo>
                        <a:pt x="164" y="155"/>
                      </a:lnTo>
                      <a:lnTo>
                        <a:pt x="162" y="155"/>
                      </a:lnTo>
                      <a:lnTo>
                        <a:pt x="162" y="153"/>
                      </a:lnTo>
                      <a:lnTo>
                        <a:pt x="164" y="153"/>
                      </a:lnTo>
                      <a:lnTo>
                        <a:pt x="166" y="151"/>
                      </a:lnTo>
                      <a:lnTo>
                        <a:pt x="166" y="153"/>
                      </a:lnTo>
                      <a:lnTo>
                        <a:pt x="168" y="151"/>
                      </a:lnTo>
                      <a:lnTo>
                        <a:pt x="166" y="151"/>
                      </a:lnTo>
                      <a:lnTo>
                        <a:pt x="162" y="153"/>
                      </a:lnTo>
                      <a:lnTo>
                        <a:pt x="164" y="151"/>
                      </a:lnTo>
                      <a:lnTo>
                        <a:pt x="162" y="151"/>
                      </a:lnTo>
                      <a:lnTo>
                        <a:pt x="166" y="151"/>
                      </a:lnTo>
                      <a:lnTo>
                        <a:pt x="168" y="151"/>
                      </a:lnTo>
                      <a:lnTo>
                        <a:pt x="170" y="151"/>
                      </a:lnTo>
                      <a:lnTo>
                        <a:pt x="168" y="151"/>
                      </a:lnTo>
                      <a:lnTo>
                        <a:pt x="170" y="151"/>
                      </a:lnTo>
                      <a:lnTo>
                        <a:pt x="168" y="153"/>
                      </a:lnTo>
                      <a:lnTo>
                        <a:pt x="170" y="151"/>
                      </a:lnTo>
                      <a:lnTo>
                        <a:pt x="170" y="149"/>
                      </a:lnTo>
                      <a:lnTo>
                        <a:pt x="172" y="149"/>
                      </a:lnTo>
                      <a:lnTo>
                        <a:pt x="170" y="151"/>
                      </a:lnTo>
                      <a:lnTo>
                        <a:pt x="173" y="149"/>
                      </a:lnTo>
                      <a:lnTo>
                        <a:pt x="173" y="151"/>
                      </a:lnTo>
                      <a:lnTo>
                        <a:pt x="175" y="149"/>
                      </a:lnTo>
                      <a:lnTo>
                        <a:pt x="173" y="149"/>
                      </a:lnTo>
                      <a:lnTo>
                        <a:pt x="177" y="147"/>
                      </a:lnTo>
                      <a:lnTo>
                        <a:pt x="179" y="151"/>
                      </a:lnTo>
                      <a:lnTo>
                        <a:pt x="179" y="149"/>
                      </a:lnTo>
                      <a:lnTo>
                        <a:pt x="179" y="147"/>
                      </a:lnTo>
                      <a:lnTo>
                        <a:pt x="181" y="147"/>
                      </a:lnTo>
                      <a:lnTo>
                        <a:pt x="181" y="145"/>
                      </a:lnTo>
                      <a:lnTo>
                        <a:pt x="179" y="145"/>
                      </a:lnTo>
                      <a:lnTo>
                        <a:pt x="179" y="143"/>
                      </a:lnTo>
                      <a:lnTo>
                        <a:pt x="177" y="145"/>
                      </a:lnTo>
                      <a:lnTo>
                        <a:pt x="173" y="145"/>
                      </a:lnTo>
                      <a:lnTo>
                        <a:pt x="175" y="143"/>
                      </a:lnTo>
                      <a:lnTo>
                        <a:pt x="173" y="143"/>
                      </a:lnTo>
                      <a:lnTo>
                        <a:pt x="175" y="143"/>
                      </a:lnTo>
                      <a:lnTo>
                        <a:pt x="173" y="141"/>
                      </a:lnTo>
                      <a:lnTo>
                        <a:pt x="173" y="143"/>
                      </a:lnTo>
                      <a:lnTo>
                        <a:pt x="172" y="145"/>
                      </a:lnTo>
                      <a:lnTo>
                        <a:pt x="172" y="147"/>
                      </a:lnTo>
                      <a:lnTo>
                        <a:pt x="172" y="145"/>
                      </a:lnTo>
                      <a:lnTo>
                        <a:pt x="170" y="145"/>
                      </a:lnTo>
                      <a:lnTo>
                        <a:pt x="170" y="143"/>
                      </a:lnTo>
                      <a:lnTo>
                        <a:pt x="172" y="143"/>
                      </a:lnTo>
                      <a:lnTo>
                        <a:pt x="170" y="143"/>
                      </a:lnTo>
                      <a:lnTo>
                        <a:pt x="170" y="141"/>
                      </a:lnTo>
                      <a:lnTo>
                        <a:pt x="172" y="141"/>
                      </a:lnTo>
                      <a:lnTo>
                        <a:pt x="172" y="139"/>
                      </a:lnTo>
                      <a:lnTo>
                        <a:pt x="173" y="139"/>
                      </a:lnTo>
                      <a:lnTo>
                        <a:pt x="173" y="141"/>
                      </a:lnTo>
                      <a:lnTo>
                        <a:pt x="173" y="139"/>
                      </a:lnTo>
                      <a:lnTo>
                        <a:pt x="173" y="141"/>
                      </a:lnTo>
                      <a:lnTo>
                        <a:pt x="175" y="141"/>
                      </a:lnTo>
                      <a:lnTo>
                        <a:pt x="173" y="139"/>
                      </a:lnTo>
                      <a:lnTo>
                        <a:pt x="175" y="139"/>
                      </a:lnTo>
                      <a:lnTo>
                        <a:pt x="175" y="137"/>
                      </a:lnTo>
                      <a:lnTo>
                        <a:pt x="175" y="139"/>
                      </a:lnTo>
                      <a:lnTo>
                        <a:pt x="177" y="139"/>
                      </a:lnTo>
                      <a:lnTo>
                        <a:pt x="175" y="139"/>
                      </a:lnTo>
                      <a:lnTo>
                        <a:pt x="177" y="141"/>
                      </a:lnTo>
                      <a:lnTo>
                        <a:pt x="175" y="141"/>
                      </a:lnTo>
                      <a:lnTo>
                        <a:pt x="175" y="143"/>
                      </a:lnTo>
                      <a:lnTo>
                        <a:pt x="177" y="143"/>
                      </a:lnTo>
                      <a:lnTo>
                        <a:pt x="177" y="141"/>
                      </a:lnTo>
                      <a:lnTo>
                        <a:pt x="179" y="141"/>
                      </a:lnTo>
                      <a:lnTo>
                        <a:pt x="179" y="139"/>
                      </a:lnTo>
                      <a:lnTo>
                        <a:pt x="179" y="137"/>
                      </a:lnTo>
                      <a:lnTo>
                        <a:pt x="181" y="137"/>
                      </a:lnTo>
                      <a:lnTo>
                        <a:pt x="181" y="136"/>
                      </a:lnTo>
                      <a:lnTo>
                        <a:pt x="179" y="136"/>
                      </a:lnTo>
                      <a:lnTo>
                        <a:pt x="181" y="136"/>
                      </a:lnTo>
                      <a:lnTo>
                        <a:pt x="183" y="137"/>
                      </a:lnTo>
                      <a:lnTo>
                        <a:pt x="181" y="137"/>
                      </a:lnTo>
                      <a:lnTo>
                        <a:pt x="181" y="139"/>
                      </a:lnTo>
                      <a:lnTo>
                        <a:pt x="183" y="139"/>
                      </a:lnTo>
                      <a:lnTo>
                        <a:pt x="183" y="137"/>
                      </a:lnTo>
                      <a:lnTo>
                        <a:pt x="183" y="143"/>
                      </a:lnTo>
                      <a:lnTo>
                        <a:pt x="181" y="143"/>
                      </a:lnTo>
                      <a:lnTo>
                        <a:pt x="183" y="145"/>
                      </a:lnTo>
                      <a:lnTo>
                        <a:pt x="185" y="147"/>
                      </a:lnTo>
                      <a:lnTo>
                        <a:pt x="185" y="151"/>
                      </a:lnTo>
                      <a:lnTo>
                        <a:pt x="189" y="153"/>
                      </a:lnTo>
                      <a:lnTo>
                        <a:pt x="189" y="155"/>
                      </a:lnTo>
                      <a:lnTo>
                        <a:pt x="189" y="153"/>
                      </a:lnTo>
                      <a:lnTo>
                        <a:pt x="185" y="151"/>
                      </a:lnTo>
                      <a:lnTo>
                        <a:pt x="185" y="147"/>
                      </a:lnTo>
                      <a:lnTo>
                        <a:pt x="185" y="145"/>
                      </a:lnTo>
                      <a:lnTo>
                        <a:pt x="187" y="147"/>
                      </a:lnTo>
                      <a:lnTo>
                        <a:pt x="189" y="149"/>
                      </a:lnTo>
                      <a:lnTo>
                        <a:pt x="187" y="149"/>
                      </a:lnTo>
                      <a:lnTo>
                        <a:pt x="187" y="145"/>
                      </a:lnTo>
                      <a:lnTo>
                        <a:pt x="189" y="147"/>
                      </a:lnTo>
                      <a:lnTo>
                        <a:pt x="189" y="145"/>
                      </a:lnTo>
                      <a:lnTo>
                        <a:pt x="187" y="145"/>
                      </a:lnTo>
                      <a:lnTo>
                        <a:pt x="187" y="143"/>
                      </a:lnTo>
                      <a:lnTo>
                        <a:pt x="189" y="141"/>
                      </a:lnTo>
                      <a:lnTo>
                        <a:pt x="191" y="143"/>
                      </a:lnTo>
                      <a:lnTo>
                        <a:pt x="193" y="143"/>
                      </a:lnTo>
                      <a:lnTo>
                        <a:pt x="191" y="143"/>
                      </a:lnTo>
                      <a:lnTo>
                        <a:pt x="193" y="143"/>
                      </a:lnTo>
                      <a:lnTo>
                        <a:pt x="191" y="141"/>
                      </a:lnTo>
                      <a:lnTo>
                        <a:pt x="189" y="141"/>
                      </a:lnTo>
                      <a:lnTo>
                        <a:pt x="187" y="141"/>
                      </a:lnTo>
                      <a:lnTo>
                        <a:pt x="185" y="141"/>
                      </a:lnTo>
                      <a:lnTo>
                        <a:pt x="185" y="139"/>
                      </a:lnTo>
                      <a:lnTo>
                        <a:pt x="187" y="139"/>
                      </a:lnTo>
                      <a:lnTo>
                        <a:pt x="189" y="139"/>
                      </a:lnTo>
                      <a:lnTo>
                        <a:pt x="189" y="137"/>
                      </a:lnTo>
                      <a:lnTo>
                        <a:pt x="187" y="137"/>
                      </a:lnTo>
                      <a:lnTo>
                        <a:pt x="191" y="139"/>
                      </a:lnTo>
                      <a:lnTo>
                        <a:pt x="191" y="137"/>
                      </a:lnTo>
                      <a:lnTo>
                        <a:pt x="189" y="137"/>
                      </a:lnTo>
                      <a:lnTo>
                        <a:pt x="189" y="136"/>
                      </a:lnTo>
                      <a:lnTo>
                        <a:pt x="185" y="137"/>
                      </a:lnTo>
                      <a:lnTo>
                        <a:pt x="183" y="136"/>
                      </a:lnTo>
                      <a:lnTo>
                        <a:pt x="187" y="136"/>
                      </a:lnTo>
                      <a:lnTo>
                        <a:pt x="185" y="136"/>
                      </a:lnTo>
                      <a:lnTo>
                        <a:pt x="183" y="134"/>
                      </a:lnTo>
                      <a:lnTo>
                        <a:pt x="183" y="132"/>
                      </a:lnTo>
                      <a:lnTo>
                        <a:pt x="185" y="132"/>
                      </a:lnTo>
                      <a:lnTo>
                        <a:pt x="185" y="134"/>
                      </a:lnTo>
                      <a:lnTo>
                        <a:pt x="187" y="132"/>
                      </a:lnTo>
                      <a:lnTo>
                        <a:pt x="187" y="134"/>
                      </a:lnTo>
                      <a:lnTo>
                        <a:pt x="187" y="132"/>
                      </a:lnTo>
                      <a:lnTo>
                        <a:pt x="189" y="134"/>
                      </a:lnTo>
                      <a:lnTo>
                        <a:pt x="187" y="134"/>
                      </a:lnTo>
                      <a:lnTo>
                        <a:pt x="189" y="134"/>
                      </a:lnTo>
                      <a:lnTo>
                        <a:pt x="191" y="136"/>
                      </a:lnTo>
                      <a:lnTo>
                        <a:pt x="191" y="137"/>
                      </a:lnTo>
                      <a:lnTo>
                        <a:pt x="193" y="139"/>
                      </a:lnTo>
                      <a:lnTo>
                        <a:pt x="194" y="139"/>
                      </a:lnTo>
                      <a:lnTo>
                        <a:pt x="191" y="137"/>
                      </a:lnTo>
                      <a:lnTo>
                        <a:pt x="191" y="136"/>
                      </a:lnTo>
                      <a:lnTo>
                        <a:pt x="191" y="134"/>
                      </a:lnTo>
                      <a:lnTo>
                        <a:pt x="189" y="132"/>
                      </a:lnTo>
                      <a:lnTo>
                        <a:pt x="187" y="132"/>
                      </a:lnTo>
                      <a:lnTo>
                        <a:pt x="185" y="132"/>
                      </a:lnTo>
                      <a:lnTo>
                        <a:pt x="187" y="132"/>
                      </a:lnTo>
                      <a:lnTo>
                        <a:pt x="187" y="130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7" y="130"/>
                      </a:lnTo>
                      <a:lnTo>
                        <a:pt x="189" y="128"/>
                      </a:lnTo>
                      <a:lnTo>
                        <a:pt x="191" y="128"/>
                      </a:lnTo>
                      <a:lnTo>
                        <a:pt x="189" y="130"/>
                      </a:lnTo>
                      <a:lnTo>
                        <a:pt x="191" y="128"/>
                      </a:lnTo>
                      <a:lnTo>
                        <a:pt x="193" y="128"/>
                      </a:lnTo>
                      <a:lnTo>
                        <a:pt x="194" y="130"/>
                      </a:lnTo>
                      <a:lnTo>
                        <a:pt x="194" y="132"/>
                      </a:lnTo>
                      <a:lnTo>
                        <a:pt x="196" y="132"/>
                      </a:lnTo>
                      <a:lnTo>
                        <a:pt x="198" y="130"/>
                      </a:lnTo>
                      <a:lnTo>
                        <a:pt x="200" y="130"/>
                      </a:lnTo>
                      <a:lnTo>
                        <a:pt x="200" y="134"/>
                      </a:lnTo>
                      <a:lnTo>
                        <a:pt x="202" y="134"/>
                      </a:lnTo>
                      <a:lnTo>
                        <a:pt x="202" y="137"/>
                      </a:lnTo>
                      <a:lnTo>
                        <a:pt x="202" y="136"/>
                      </a:lnTo>
                      <a:lnTo>
                        <a:pt x="204" y="136"/>
                      </a:lnTo>
                      <a:lnTo>
                        <a:pt x="202" y="134"/>
                      </a:lnTo>
                      <a:lnTo>
                        <a:pt x="202" y="132"/>
                      </a:lnTo>
                      <a:lnTo>
                        <a:pt x="200" y="132"/>
                      </a:lnTo>
                      <a:lnTo>
                        <a:pt x="202" y="132"/>
                      </a:lnTo>
                      <a:lnTo>
                        <a:pt x="200" y="130"/>
                      </a:lnTo>
                      <a:lnTo>
                        <a:pt x="202" y="128"/>
                      </a:lnTo>
                      <a:lnTo>
                        <a:pt x="204" y="128"/>
                      </a:lnTo>
                      <a:lnTo>
                        <a:pt x="206" y="130"/>
                      </a:lnTo>
                      <a:lnTo>
                        <a:pt x="204" y="128"/>
                      </a:lnTo>
                      <a:lnTo>
                        <a:pt x="202" y="128"/>
                      </a:lnTo>
                      <a:lnTo>
                        <a:pt x="204" y="126"/>
                      </a:lnTo>
                      <a:lnTo>
                        <a:pt x="206" y="126"/>
                      </a:lnTo>
                      <a:lnTo>
                        <a:pt x="208" y="128"/>
                      </a:lnTo>
                      <a:lnTo>
                        <a:pt x="210" y="128"/>
                      </a:lnTo>
                      <a:lnTo>
                        <a:pt x="212" y="128"/>
                      </a:lnTo>
                      <a:lnTo>
                        <a:pt x="210" y="128"/>
                      </a:lnTo>
                      <a:lnTo>
                        <a:pt x="208" y="126"/>
                      </a:lnTo>
                      <a:lnTo>
                        <a:pt x="206" y="126"/>
                      </a:lnTo>
                      <a:lnTo>
                        <a:pt x="204" y="126"/>
                      </a:lnTo>
                      <a:lnTo>
                        <a:pt x="206" y="124"/>
                      </a:lnTo>
                      <a:lnTo>
                        <a:pt x="206" y="122"/>
                      </a:lnTo>
                      <a:lnTo>
                        <a:pt x="200" y="126"/>
                      </a:lnTo>
                      <a:lnTo>
                        <a:pt x="198" y="126"/>
                      </a:lnTo>
                      <a:lnTo>
                        <a:pt x="196" y="126"/>
                      </a:lnTo>
                      <a:lnTo>
                        <a:pt x="198" y="126"/>
                      </a:lnTo>
                      <a:lnTo>
                        <a:pt x="196" y="124"/>
                      </a:lnTo>
                      <a:lnTo>
                        <a:pt x="194" y="126"/>
                      </a:lnTo>
                      <a:lnTo>
                        <a:pt x="193" y="126"/>
                      </a:lnTo>
                      <a:lnTo>
                        <a:pt x="191" y="126"/>
                      </a:lnTo>
                      <a:lnTo>
                        <a:pt x="189" y="128"/>
                      </a:lnTo>
                      <a:lnTo>
                        <a:pt x="189" y="126"/>
                      </a:lnTo>
                      <a:lnTo>
                        <a:pt x="189" y="124"/>
                      </a:lnTo>
                      <a:lnTo>
                        <a:pt x="189" y="122"/>
                      </a:lnTo>
                      <a:lnTo>
                        <a:pt x="191" y="122"/>
                      </a:lnTo>
                      <a:lnTo>
                        <a:pt x="191" y="120"/>
                      </a:lnTo>
                      <a:lnTo>
                        <a:pt x="191" y="118"/>
                      </a:lnTo>
                      <a:lnTo>
                        <a:pt x="193" y="118"/>
                      </a:lnTo>
                      <a:lnTo>
                        <a:pt x="193" y="116"/>
                      </a:lnTo>
                      <a:lnTo>
                        <a:pt x="194" y="116"/>
                      </a:lnTo>
                      <a:lnTo>
                        <a:pt x="196" y="115"/>
                      </a:lnTo>
                      <a:lnTo>
                        <a:pt x="198" y="115"/>
                      </a:lnTo>
                      <a:lnTo>
                        <a:pt x="198" y="116"/>
                      </a:lnTo>
                      <a:lnTo>
                        <a:pt x="198" y="118"/>
                      </a:lnTo>
                      <a:lnTo>
                        <a:pt x="200" y="118"/>
                      </a:lnTo>
                      <a:lnTo>
                        <a:pt x="198" y="116"/>
                      </a:lnTo>
                      <a:lnTo>
                        <a:pt x="198" y="115"/>
                      </a:lnTo>
                      <a:lnTo>
                        <a:pt x="200" y="115"/>
                      </a:lnTo>
                      <a:lnTo>
                        <a:pt x="204" y="115"/>
                      </a:lnTo>
                      <a:lnTo>
                        <a:pt x="204" y="116"/>
                      </a:lnTo>
                      <a:lnTo>
                        <a:pt x="206" y="116"/>
                      </a:lnTo>
                      <a:lnTo>
                        <a:pt x="208" y="116"/>
                      </a:lnTo>
                      <a:lnTo>
                        <a:pt x="204" y="116"/>
                      </a:lnTo>
                      <a:lnTo>
                        <a:pt x="204" y="115"/>
                      </a:lnTo>
                      <a:lnTo>
                        <a:pt x="202" y="115"/>
                      </a:lnTo>
                      <a:lnTo>
                        <a:pt x="200" y="113"/>
                      </a:lnTo>
                      <a:lnTo>
                        <a:pt x="204" y="111"/>
                      </a:lnTo>
                      <a:lnTo>
                        <a:pt x="208" y="113"/>
                      </a:lnTo>
                      <a:lnTo>
                        <a:pt x="210" y="115"/>
                      </a:lnTo>
                      <a:lnTo>
                        <a:pt x="210" y="113"/>
                      </a:lnTo>
                      <a:lnTo>
                        <a:pt x="208" y="111"/>
                      </a:lnTo>
                      <a:lnTo>
                        <a:pt x="204" y="111"/>
                      </a:lnTo>
                      <a:lnTo>
                        <a:pt x="206" y="107"/>
                      </a:lnTo>
                      <a:lnTo>
                        <a:pt x="208" y="107"/>
                      </a:lnTo>
                      <a:lnTo>
                        <a:pt x="208" y="109"/>
                      </a:lnTo>
                      <a:lnTo>
                        <a:pt x="210" y="109"/>
                      </a:lnTo>
                      <a:lnTo>
                        <a:pt x="210" y="107"/>
                      </a:lnTo>
                      <a:lnTo>
                        <a:pt x="208" y="107"/>
                      </a:lnTo>
                      <a:lnTo>
                        <a:pt x="208" y="105"/>
                      </a:lnTo>
                      <a:lnTo>
                        <a:pt x="204" y="107"/>
                      </a:lnTo>
                      <a:lnTo>
                        <a:pt x="204" y="105"/>
                      </a:lnTo>
                      <a:lnTo>
                        <a:pt x="206" y="105"/>
                      </a:lnTo>
                      <a:lnTo>
                        <a:pt x="206" y="103"/>
                      </a:lnTo>
                      <a:lnTo>
                        <a:pt x="204" y="103"/>
                      </a:lnTo>
                      <a:lnTo>
                        <a:pt x="208" y="99"/>
                      </a:lnTo>
                      <a:lnTo>
                        <a:pt x="208" y="97"/>
                      </a:lnTo>
                      <a:lnTo>
                        <a:pt x="206" y="99"/>
                      </a:lnTo>
                      <a:lnTo>
                        <a:pt x="208" y="97"/>
                      </a:lnTo>
                      <a:lnTo>
                        <a:pt x="210" y="97"/>
                      </a:lnTo>
                      <a:lnTo>
                        <a:pt x="212" y="95"/>
                      </a:lnTo>
                      <a:lnTo>
                        <a:pt x="213" y="95"/>
                      </a:lnTo>
                      <a:lnTo>
                        <a:pt x="213" y="97"/>
                      </a:lnTo>
                      <a:lnTo>
                        <a:pt x="215" y="95"/>
                      </a:lnTo>
                      <a:lnTo>
                        <a:pt x="215" y="97"/>
                      </a:lnTo>
                      <a:lnTo>
                        <a:pt x="215" y="95"/>
                      </a:lnTo>
                      <a:lnTo>
                        <a:pt x="213" y="95"/>
                      </a:lnTo>
                      <a:lnTo>
                        <a:pt x="213" y="94"/>
                      </a:lnTo>
                      <a:lnTo>
                        <a:pt x="213" y="92"/>
                      </a:lnTo>
                      <a:lnTo>
                        <a:pt x="212" y="92"/>
                      </a:lnTo>
                      <a:lnTo>
                        <a:pt x="213" y="92"/>
                      </a:lnTo>
                      <a:lnTo>
                        <a:pt x="212" y="90"/>
                      </a:lnTo>
                      <a:lnTo>
                        <a:pt x="213" y="88"/>
                      </a:lnTo>
                      <a:lnTo>
                        <a:pt x="213" y="86"/>
                      </a:lnTo>
                      <a:lnTo>
                        <a:pt x="215" y="86"/>
                      </a:lnTo>
                      <a:lnTo>
                        <a:pt x="215" y="82"/>
                      </a:lnTo>
                      <a:lnTo>
                        <a:pt x="217" y="80"/>
                      </a:lnTo>
                      <a:lnTo>
                        <a:pt x="219" y="82"/>
                      </a:lnTo>
                      <a:lnTo>
                        <a:pt x="219" y="84"/>
                      </a:lnTo>
                      <a:lnTo>
                        <a:pt x="217" y="86"/>
                      </a:lnTo>
                      <a:lnTo>
                        <a:pt x="219" y="84"/>
                      </a:lnTo>
                      <a:lnTo>
                        <a:pt x="221" y="86"/>
                      </a:lnTo>
                      <a:lnTo>
                        <a:pt x="221" y="90"/>
                      </a:lnTo>
                      <a:lnTo>
                        <a:pt x="221" y="92"/>
                      </a:lnTo>
                      <a:lnTo>
                        <a:pt x="221" y="90"/>
                      </a:lnTo>
                      <a:lnTo>
                        <a:pt x="221" y="88"/>
                      </a:lnTo>
                      <a:lnTo>
                        <a:pt x="221" y="86"/>
                      </a:lnTo>
                      <a:lnTo>
                        <a:pt x="221" y="88"/>
                      </a:lnTo>
                      <a:lnTo>
                        <a:pt x="223" y="90"/>
                      </a:lnTo>
                      <a:lnTo>
                        <a:pt x="223" y="92"/>
                      </a:lnTo>
                      <a:lnTo>
                        <a:pt x="225" y="90"/>
                      </a:lnTo>
                      <a:lnTo>
                        <a:pt x="223" y="88"/>
                      </a:lnTo>
                      <a:lnTo>
                        <a:pt x="227" y="88"/>
                      </a:lnTo>
                      <a:lnTo>
                        <a:pt x="227" y="90"/>
                      </a:lnTo>
                      <a:lnTo>
                        <a:pt x="229" y="90"/>
                      </a:lnTo>
                      <a:lnTo>
                        <a:pt x="227" y="88"/>
                      </a:lnTo>
                      <a:lnTo>
                        <a:pt x="225" y="88"/>
                      </a:lnTo>
                      <a:lnTo>
                        <a:pt x="223" y="86"/>
                      </a:lnTo>
                      <a:lnTo>
                        <a:pt x="221" y="84"/>
                      </a:lnTo>
                      <a:lnTo>
                        <a:pt x="219" y="82"/>
                      </a:lnTo>
                      <a:lnTo>
                        <a:pt x="221" y="82"/>
                      </a:lnTo>
                      <a:lnTo>
                        <a:pt x="219" y="80"/>
                      </a:lnTo>
                      <a:lnTo>
                        <a:pt x="225" y="78"/>
                      </a:lnTo>
                      <a:lnTo>
                        <a:pt x="227" y="76"/>
                      </a:lnTo>
                      <a:lnTo>
                        <a:pt x="227" y="78"/>
                      </a:lnTo>
                      <a:lnTo>
                        <a:pt x="227" y="80"/>
                      </a:lnTo>
                      <a:lnTo>
                        <a:pt x="227" y="82"/>
                      </a:lnTo>
                      <a:lnTo>
                        <a:pt x="229" y="84"/>
                      </a:lnTo>
                      <a:lnTo>
                        <a:pt x="229" y="86"/>
                      </a:lnTo>
                      <a:lnTo>
                        <a:pt x="231" y="88"/>
                      </a:lnTo>
                      <a:lnTo>
                        <a:pt x="233" y="88"/>
                      </a:lnTo>
                      <a:lnTo>
                        <a:pt x="234" y="88"/>
                      </a:lnTo>
                      <a:lnTo>
                        <a:pt x="234" y="90"/>
                      </a:lnTo>
                      <a:lnTo>
                        <a:pt x="233" y="90"/>
                      </a:lnTo>
                      <a:lnTo>
                        <a:pt x="233" y="92"/>
                      </a:lnTo>
                      <a:lnTo>
                        <a:pt x="233" y="94"/>
                      </a:lnTo>
                      <a:lnTo>
                        <a:pt x="234" y="92"/>
                      </a:lnTo>
                      <a:lnTo>
                        <a:pt x="238" y="94"/>
                      </a:lnTo>
                      <a:lnTo>
                        <a:pt x="234" y="92"/>
                      </a:lnTo>
                      <a:lnTo>
                        <a:pt x="234" y="88"/>
                      </a:lnTo>
                      <a:lnTo>
                        <a:pt x="234" y="86"/>
                      </a:lnTo>
                      <a:lnTo>
                        <a:pt x="231" y="86"/>
                      </a:lnTo>
                      <a:lnTo>
                        <a:pt x="229" y="84"/>
                      </a:lnTo>
                      <a:lnTo>
                        <a:pt x="229" y="82"/>
                      </a:lnTo>
                      <a:lnTo>
                        <a:pt x="229" y="80"/>
                      </a:lnTo>
                      <a:lnTo>
                        <a:pt x="231" y="78"/>
                      </a:lnTo>
                      <a:lnTo>
                        <a:pt x="233" y="80"/>
                      </a:lnTo>
                      <a:lnTo>
                        <a:pt x="231" y="76"/>
                      </a:lnTo>
                      <a:lnTo>
                        <a:pt x="229" y="78"/>
                      </a:lnTo>
                      <a:lnTo>
                        <a:pt x="227" y="78"/>
                      </a:lnTo>
                      <a:lnTo>
                        <a:pt x="227" y="74"/>
                      </a:lnTo>
                      <a:lnTo>
                        <a:pt x="231" y="73"/>
                      </a:lnTo>
                      <a:lnTo>
                        <a:pt x="231" y="69"/>
                      </a:lnTo>
                      <a:lnTo>
                        <a:pt x="233" y="67"/>
                      </a:lnTo>
                      <a:lnTo>
                        <a:pt x="234" y="67"/>
                      </a:lnTo>
                      <a:lnTo>
                        <a:pt x="238" y="65"/>
                      </a:lnTo>
                      <a:lnTo>
                        <a:pt x="240" y="67"/>
                      </a:lnTo>
                      <a:lnTo>
                        <a:pt x="240" y="69"/>
                      </a:lnTo>
                      <a:lnTo>
                        <a:pt x="238" y="73"/>
                      </a:lnTo>
                      <a:lnTo>
                        <a:pt x="240" y="74"/>
                      </a:lnTo>
                      <a:lnTo>
                        <a:pt x="238" y="78"/>
                      </a:lnTo>
                      <a:lnTo>
                        <a:pt x="238" y="80"/>
                      </a:lnTo>
                      <a:lnTo>
                        <a:pt x="240" y="80"/>
                      </a:lnTo>
                      <a:lnTo>
                        <a:pt x="236" y="84"/>
                      </a:lnTo>
                      <a:lnTo>
                        <a:pt x="236" y="86"/>
                      </a:lnTo>
                      <a:lnTo>
                        <a:pt x="236" y="84"/>
                      </a:lnTo>
                      <a:lnTo>
                        <a:pt x="238" y="84"/>
                      </a:lnTo>
                      <a:lnTo>
                        <a:pt x="238" y="82"/>
                      </a:lnTo>
                      <a:lnTo>
                        <a:pt x="240" y="80"/>
                      </a:lnTo>
                      <a:lnTo>
                        <a:pt x="240" y="76"/>
                      </a:lnTo>
                      <a:lnTo>
                        <a:pt x="240" y="74"/>
                      </a:lnTo>
                      <a:lnTo>
                        <a:pt x="242" y="74"/>
                      </a:lnTo>
                      <a:lnTo>
                        <a:pt x="244" y="76"/>
                      </a:lnTo>
                      <a:lnTo>
                        <a:pt x="248" y="76"/>
                      </a:lnTo>
                      <a:lnTo>
                        <a:pt x="242" y="74"/>
                      </a:lnTo>
                      <a:lnTo>
                        <a:pt x="240" y="73"/>
                      </a:lnTo>
                      <a:lnTo>
                        <a:pt x="242" y="69"/>
                      </a:lnTo>
                      <a:lnTo>
                        <a:pt x="242" y="67"/>
                      </a:lnTo>
                      <a:lnTo>
                        <a:pt x="244" y="67"/>
                      </a:lnTo>
                      <a:lnTo>
                        <a:pt x="244" y="65"/>
                      </a:lnTo>
                      <a:lnTo>
                        <a:pt x="244" y="69"/>
                      </a:lnTo>
                      <a:lnTo>
                        <a:pt x="246" y="59"/>
                      </a:lnTo>
                      <a:lnTo>
                        <a:pt x="248" y="59"/>
                      </a:lnTo>
                      <a:lnTo>
                        <a:pt x="248" y="61"/>
                      </a:lnTo>
                      <a:lnTo>
                        <a:pt x="248" y="63"/>
                      </a:lnTo>
                      <a:lnTo>
                        <a:pt x="248" y="61"/>
                      </a:lnTo>
                      <a:lnTo>
                        <a:pt x="248" y="59"/>
                      </a:lnTo>
                      <a:lnTo>
                        <a:pt x="250" y="59"/>
                      </a:lnTo>
                      <a:lnTo>
                        <a:pt x="252" y="63"/>
                      </a:lnTo>
                      <a:lnTo>
                        <a:pt x="250" y="71"/>
                      </a:lnTo>
                      <a:lnTo>
                        <a:pt x="248" y="73"/>
                      </a:lnTo>
                      <a:lnTo>
                        <a:pt x="250" y="73"/>
                      </a:lnTo>
                      <a:lnTo>
                        <a:pt x="250" y="74"/>
                      </a:lnTo>
                      <a:lnTo>
                        <a:pt x="250" y="76"/>
                      </a:lnTo>
                      <a:lnTo>
                        <a:pt x="248" y="76"/>
                      </a:lnTo>
                      <a:lnTo>
                        <a:pt x="248" y="78"/>
                      </a:lnTo>
                      <a:lnTo>
                        <a:pt x="250" y="78"/>
                      </a:lnTo>
                      <a:lnTo>
                        <a:pt x="248" y="78"/>
                      </a:lnTo>
                      <a:lnTo>
                        <a:pt x="248" y="80"/>
                      </a:lnTo>
                      <a:lnTo>
                        <a:pt x="248" y="82"/>
                      </a:lnTo>
                      <a:lnTo>
                        <a:pt x="248" y="80"/>
                      </a:lnTo>
                      <a:lnTo>
                        <a:pt x="246" y="84"/>
                      </a:lnTo>
                      <a:lnTo>
                        <a:pt x="244" y="88"/>
                      </a:lnTo>
                      <a:lnTo>
                        <a:pt x="242" y="90"/>
                      </a:lnTo>
                      <a:lnTo>
                        <a:pt x="244" y="92"/>
                      </a:lnTo>
                      <a:lnTo>
                        <a:pt x="246" y="88"/>
                      </a:lnTo>
                      <a:lnTo>
                        <a:pt x="248" y="86"/>
                      </a:lnTo>
                      <a:lnTo>
                        <a:pt x="248" y="84"/>
                      </a:lnTo>
                      <a:lnTo>
                        <a:pt x="250" y="82"/>
                      </a:lnTo>
                      <a:lnTo>
                        <a:pt x="252" y="76"/>
                      </a:lnTo>
                      <a:lnTo>
                        <a:pt x="254" y="76"/>
                      </a:lnTo>
                      <a:lnTo>
                        <a:pt x="254" y="78"/>
                      </a:lnTo>
                      <a:lnTo>
                        <a:pt x="255" y="80"/>
                      </a:lnTo>
                      <a:lnTo>
                        <a:pt x="257" y="80"/>
                      </a:lnTo>
                      <a:lnTo>
                        <a:pt x="257" y="78"/>
                      </a:lnTo>
                      <a:lnTo>
                        <a:pt x="255" y="78"/>
                      </a:lnTo>
                      <a:lnTo>
                        <a:pt x="252" y="74"/>
                      </a:lnTo>
                      <a:lnTo>
                        <a:pt x="254" y="71"/>
                      </a:lnTo>
                      <a:lnTo>
                        <a:pt x="252" y="69"/>
                      </a:lnTo>
                      <a:lnTo>
                        <a:pt x="255" y="67"/>
                      </a:lnTo>
                      <a:lnTo>
                        <a:pt x="257" y="65"/>
                      </a:lnTo>
                      <a:lnTo>
                        <a:pt x="257" y="63"/>
                      </a:lnTo>
                      <a:lnTo>
                        <a:pt x="261" y="59"/>
                      </a:lnTo>
                      <a:lnTo>
                        <a:pt x="259" y="61"/>
                      </a:lnTo>
                      <a:lnTo>
                        <a:pt x="257" y="63"/>
                      </a:lnTo>
                      <a:lnTo>
                        <a:pt x="259" y="65"/>
                      </a:lnTo>
                      <a:lnTo>
                        <a:pt x="259" y="67"/>
                      </a:lnTo>
                      <a:lnTo>
                        <a:pt x="261" y="67"/>
                      </a:lnTo>
                      <a:lnTo>
                        <a:pt x="261" y="65"/>
                      </a:lnTo>
                      <a:lnTo>
                        <a:pt x="261" y="63"/>
                      </a:lnTo>
                      <a:lnTo>
                        <a:pt x="263" y="63"/>
                      </a:lnTo>
                      <a:lnTo>
                        <a:pt x="263" y="67"/>
                      </a:lnTo>
                      <a:lnTo>
                        <a:pt x="265" y="65"/>
                      </a:lnTo>
                      <a:lnTo>
                        <a:pt x="263" y="61"/>
                      </a:lnTo>
                      <a:lnTo>
                        <a:pt x="265" y="61"/>
                      </a:lnTo>
                      <a:lnTo>
                        <a:pt x="263" y="61"/>
                      </a:lnTo>
                      <a:lnTo>
                        <a:pt x="265" y="57"/>
                      </a:lnTo>
                      <a:lnTo>
                        <a:pt x="265" y="55"/>
                      </a:lnTo>
                      <a:lnTo>
                        <a:pt x="267" y="57"/>
                      </a:lnTo>
                      <a:lnTo>
                        <a:pt x="269" y="59"/>
                      </a:lnTo>
                      <a:lnTo>
                        <a:pt x="269" y="61"/>
                      </a:lnTo>
                      <a:lnTo>
                        <a:pt x="275" y="65"/>
                      </a:lnTo>
                      <a:lnTo>
                        <a:pt x="275" y="67"/>
                      </a:lnTo>
                      <a:lnTo>
                        <a:pt x="276" y="67"/>
                      </a:lnTo>
                      <a:lnTo>
                        <a:pt x="276" y="69"/>
                      </a:lnTo>
                      <a:lnTo>
                        <a:pt x="276" y="71"/>
                      </a:lnTo>
                      <a:lnTo>
                        <a:pt x="278" y="69"/>
                      </a:lnTo>
                      <a:lnTo>
                        <a:pt x="276" y="69"/>
                      </a:lnTo>
                      <a:lnTo>
                        <a:pt x="278" y="67"/>
                      </a:lnTo>
                      <a:lnTo>
                        <a:pt x="275" y="65"/>
                      </a:lnTo>
                      <a:lnTo>
                        <a:pt x="276" y="65"/>
                      </a:lnTo>
                      <a:lnTo>
                        <a:pt x="275" y="63"/>
                      </a:lnTo>
                      <a:lnTo>
                        <a:pt x="275" y="59"/>
                      </a:lnTo>
                      <a:lnTo>
                        <a:pt x="275" y="57"/>
                      </a:lnTo>
                      <a:lnTo>
                        <a:pt x="276" y="57"/>
                      </a:lnTo>
                      <a:lnTo>
                        <a:pt x="276" y="59"/>
                      </a:lnTo>
                      <a:lnTo>
                        <a:pt x="276" y="61"/>
                      </a:lnTo>
                      <a:lnTo>
                        <a:pt x="276" y="57"/>
                      </a:lnTo>
                      <a:lnTo>
                        <a:pt x="278" y="55"/>
                      </a:lnTo>
                      <a:lnTo>
                        <a:pt x="275" y="57"/>
                      </a:lnTo>
                      <a:lnTo>
                        <a:pt x="273" y="55"/>
                      </a:lnTo>
                      <a:lnTo>
                        <a:pt x="275" y="53"/>
                      </a:lnTo>
                      <a:lnTo>
                        <a:pt x="276" y="53"/>
                      </a:lnTo>
                      <a:lnTo>
                        <a:pt x="278" y="52"/>
                      </a:lnTo>
                      <a:lnTo>
                        <a:pt x="276" y="53"/>
                      </a:lnTo>
                      <a:lnTo>
                        <a:pt x="275" y="53"/>
                      </a:lnTo>
                      <a:lnTo>
                        <a:pt x="273" y="53"/>
                      </a:lnTo>
                      <a:lnTo>
                        <a:pt x="273" y="55"/>
                      </a:lnTo>
                      <a:lnTo>
                        <a:pt x="271" y="53"/>
                      </a:lnTo>
                      <a:lnTo>
                        <a:pt x="271" y="52"/>
                      </a:lnTo>
                      <a:lnTo>
                        <a:pt x="269" y="53"/>
                      </a:lnTo>
                      <a:lnTo>
                        <a:pt x="267" y="52"/>
                      </a:lnTo>
                      <a:lnTo>
                        <a:pt x="267" y="50"/>
                      </a:lnTo>
                      <a:lnTo>
                        <a:pt x="269" y="50"/>
                      </a:lnTo>
                      <a:lnTo>
                        <a:pt x="265" y="50"/>
                      </a:lnTo>
                      <a:lnTo>
                        <a:pt x="263" y="48"/>
                      </a:lnTo>
                      <a:lnTo>
                        <a:pt x="265" y="46"/>
                      </a:lnTo>
                      <a:lnTo>
                        <a:pt x="267" y="44"/>
                      </a:lnTo>
                      <a:lnTo>
                        <a:pt x="267" y="46"/>
                      </a:lnTo>
                      <a:lnTo>
                        <a:pt x="269" y="48"/>
                      </a:lnTo>
                      <a:lnTo>
                        <a:pt x="269" y="44"/>
                      </a:lnTo>
                      <a:lnTo>
                        <a:pt x="269" y="42"/>
                      </a:lnTo>
                      <a:lnTo>
                        <a:pt x="269" y="44"/>
                      </a:lnTo>
                      <a:lnTo>
                        <a:pt x="273" y="46"/>
                      </a:lnTo>
                      <a:lnTo>
                        <a:pt x="273" y="48"/>
                      </a:lnTo>
                      <a:lnTo>
                        <a:pt x="275" y="52"/>
                      </a:lnTo>
                      <a:lnTo>
                        <a:pt x="273" y="48"/>
                      </a:lnTo>
                      <a:lnTo>
                        <a:pt x="275" y="48"/>
                      </a:lnTo>
                      <a:lnTo>
                        <a:pt x="273" y="46"/>
                      </a:lnTo>
                      <a:lnTo>
                        <a:pt x="276" y="42"/>
                      </a:lnTo>
                      <a:lnTo>
                        <a:pt x="276" y="44"/>
                      </a:lnTo>
                      <a:lnTo>
                        <a:pt x="276" y="42"/>
                      </a:lnTo>
                      <a:lnTo>
                        <a:pt x="278" y="42"/>
                      </a:lnTo>
                      <a:lnTo>
                        <a:pt x="278" y="46"/>
                      </a:lnTo>
                      <a:lnTo>
                        <a:pt x="278" y="44"/>
                      </a:lnTo>
                      <a:lnTo>
                        <a:pt x="280" y="44"/>
                      </a:lnTo>
                      <a:lnTo>
                        <a:pt x="280" y="46"/>
                      </a:lnTo>
                      <a:lnTo>
                        <a:pt x="280" y="48"/>
                      </a:lnTo>
                      <a:lnTo>
                        <a:pt x="280" y="52"/>
                      </a:lnTo>
                      <a:lnTo>
                        <a:pt x="282" y="52"/>
                      </a:lnTo>
                      <a:lnTo>
                        <a:pt x="284" y="52"/>
                      </a:lnTo>
                      <a:lnTo>
                        <a:pt x="284" y="50"/>
                      </a:lnTo>
                      <a:lnTo>
                        <a:pt x="280" y="50"/>
                      </a:lnTo>
                      <a:lnTo>
                        <a:pt x="282" y="46"/>
                      </a:lnTo>
                      <a:lnTo>
                        <a:pt x="284" y="46"/>
                      </a:lnTo>
                      <a:lnTo>
                        <a:pt x="286" y="46"/>
                      </a:lnTo>
                      <a:lnTo>
                        <a:pt x="286" y="48"/>
                      </a:lnTo>
                      <a:lnTo>
                        <a:pt x="292" y="48"/>
                      </a:lnTo>
                      <a:lnTo>
                        <a:pt x="292" y="50"/>
                      </a:lnTo>
                      <a:lnTo>
                        <a:pt x="290" y="52"/>
                      </a:lnTo>
                      <a:lnTo>
                        <a:pt x="286" y="53"/>
                      </a:lnTo>
                      <a:lnTo>
                        <a:pt x="284" y="53"/>
                      </a:lnTo>
                      <a:lnTo>
                        <a:pt x="280" y="55"/>
                      </a:lnTo>
                      <a:lnTo>
                        <a:pt x="282" y="55"/>
                      </a:lnTo>
                      <a:lnTo>
                        <a:pt x="290" y="53"/>
                      </a:lnTo>
                      <a:lnTo>
                        <a:pt x="292" y="52"/>
                      </a:lnTo>
                      <a:lnTo>
                        <a:pt x="292" y="53"/>
                      </a:lnTo>
                      <a:lnTo>
                        <a:pt x="292" y="55"/>
                      </a:lnTo>
                      <a:lnTo>
                        <a:pt x="294" y="57"/>
                      </a:lnTo>
                      <a:lnTo>
                        <a:pt x="294" y="55"/>
                      </a:lnTo>
                      <a:lnTo>
                        <a:pt x="294" y="57"/>
                      </a:lnTo>
                      <a:lnTo>
                        <a:pt x="295" y="59"/>
                      </a:lnTo>
                      <a:lnTo>
                        <a:pt x="294" y="59"/>
                      </a:lnTo>
                      <a:lnTo>
                        <a:pt x="292" y="61"/>
                      </a:lnTo>
                      <a:lnTo>
                        <a:pt x="294" y="59"/>
                      </a:lnTo>
                      <a:lnTo>
                        <a:pt x="294" y="61"/>
                      </a:lnTo>
                      <a:lnTo>
                        <a:pt x="295" y="59"/>
                      </a:lnTo>
                      <a:lnTo>
                        <a:pt x="297" y="57"/>
                      </a:lnTo>
                      <a:lnTo>
                        <a:pt x="297" y="59"/>
                      </a:lnTo>
                      <a:lnTo>
                        <a:pt x="299" y="57"/>
                      </a:lnTo>
                      <a:lnTo>
                        <a:pt x="297" y="57"/>
                      </a:lnTo>
                      <a:lnTo>
                        <a:pt x="299" y="59"/>
                      </a:lnTo>
                      <a:lnTo>
                        <a:pt x="297" y="59"/>
                      </a:lnTo>
                      <a:lnTo>
                        <a:pt x="299" y="59"/>
                      </a:lnTo>
                      <a:lnTo>
                        <a:pt x="299" y="57"/>
                      </a:lnTo>
                      <a:lnTo>
                        <a:pt x="301" y="55"/>
                      </a:lnTo>
                      <a:lnTo>
                        <a:pt x="297" y="55"/>
                      </a:lnTo>
                      <a:lnTo>
                        <a:pt x="294" y="53"/>
                      </a:lnTo>
                      <a:lnTo>
                        <a:pt x="295" y="52"/>
                      </a:lnTo>
                      <a:lnTo>
                        <a:pt x="297" y="53"/>
                      </a:lnTo>
                      <a:lnTo>
                        <a:pt x="299" y="52"/>
                      </a:lnTo>
                      <a:lnTo>
                        <a:pt x="297" y="50"/>
                      </a:lnTo>
                      <a:lnTo>
                        <a:pt x="295" y="48"/>
                      </a:lnTo>
                      <a:lnTo>
                        <a:pt x="301" y="46"/>
                      </a:lnTo>
                      <a:lnTo>
                        <a:pt x="299" y="46"/>
                      </a:lnTo>
                      <a:lnTo>
                        <a:pt x="297" y="46"/>
                      </a:lnTo>
                      <a:lnTo>
                        <a:pt x="295" y="46"/>
                      </a:lnTo>
                      <a:lnTo>
                        <a:pt x="297" y="44"/>
                      </a:lnTo>
                      <a:lnTo>
                        <a:pt x="299" y="46"/>
                      </a:lnTo>
                      <a:lnTo>
                        <a:pt x="297" y="44"/>
                      </a:lnTo>
                      <a:lnTo>
                        <a:pt x="299" y="44"/>
                      </a:lnTo>
                      <a:lnTo>
                        <a:pt x="301" y="44"/>
                      </a:lnTo>
                      <a:lnTo>
                        <a:pt x="299" y="44"/>
                      </a:lnTo>
                      <a:lnTo>
                        <a:pt x="301" y="42"/>
                      </a:lnTo>
                      <a:lnTo>
                        <a:pt x="299" y="42"/>
                      </a:lnTo>
                      <a:lnTo>
                        <a:pt x="303" y="38"/>
                      </a:lnTo>
                      <a:lnTo>
                        <a:pt x="305" y="36"/>
                      </a:lnTo>
                      <a:lnTo>
                        <a:pt x="305" y="34"/>
                      </a:lnTo>
                      <a:lnTo>
                        <a:pt x="309" y="33"/>
                      </a:lnTo>
                      <a:lnTo>
                        <a:pt x="311" y="34"/>
                      </a:lnTo>
                      <a:lnTo>
                        <a:pt x="313" y="34"/>
                      </a:lnTo>
                      <a:lnTo>
                        <a:pt x="313" y="36"/>
                      </a:lnTo>
                      <a:lnTo>
                        <a:pt x="313" y="33"/>
                      </a:lnTo>
                      <a:lnTo>
                        <a:pt x="309" y="33"/>
                      </a:lnTo>
                      <a:lnTo>
                        <a:pt x="311" y="29"/>
                      </a:lnTo>
                      <a:lnTo>
                        <a:pt x="313" y="29"/>
                      </a:lnTo>
                      <a:lnTo>
                        <a:pt x="313" y="27"/>
                      </a:lnTo>
                      <a:lnTo>
                        <a:pt x="313" y="25"/>
                      </a:lnTo>
                      <a:lnTo>
                        <a:pt x="315" y="25"/>
                      </a:lnTo>
                      <a:lnTo>
                        <a:pt x="316" y="25"/>
                      </a:lnTo>
                      <a:lnTo>
                        <a:pt x="318" y="29"/>
                      </a:lnTo>
                      <a:lnTo>
                        <a:pt x="318" y="27"/>
                      </a:lnTo>
                      <a:lnTo>
                        <a:pt x="318" y="25"/>
                      </a:lnTo>
                      <a:lnTo>
                        <a:pt x="318" y="23"/>
                      </a:lnTo>
                      <a:lnTo>
                        <a:pt x="316" y="23"/>
                      </a:lnTo>
                      <a:lnTo>
                        <a:pt x="316" y="21"/>
                      </a:lnTo>
                      <a:lnTo>
                        <a:pt x="315" y="21"/>
                      </a:lnTo>
                      <a:lnTo>
                        <a:pt x="313" y="21"/>
                      </a:lnTo>
                      <a:lnTo>
                        <a:pt x="313" y="19"/>
                      </a:lnTo>
                      <a:lnTo>
                        <a:pt x="313" y="17"/>
                      </a:lnTo>
                      <a:lnTo>
                        <a:pt x="315" y="17"/>
                      </a:lnTo>
                      <a:lnTo>
                        <a:pt x="313" y="15"/>
                      </a:lnTo>
                      <a:lnTo>
                        <a:pt x="315" y="15"/>
                      </a:lnTo>
                      <a:lnTo>
                        <a:pt x="315" y="17"/>
                      </a:lnTo>
                      <a:lnTo>
                        <a:pt x="318" y="19"/>
                      </a:lnTo>
                      <a:lnTo>
                        <a:pt x="316" y="17"/>
                      </a:lnTo>
                      <a:lnTo>
                        <a:pt x="318" y="17"/>
                      </a:lnTo>
                      <a:lnTo>
                        <a:pt x="316" y="15"/>
                      </a:lnTo>
                      <a:lnTo>
                        <a:pt x="320" y="15"/>
                      </a:lnTo>
                      <a:lnTo>
                        <a:pt x="316" y="13"/>
                      </a:lnTo>
                      <a:lnTo>
                        <a:pt x="318" y="13"/>
                      </a:lnTo>
                      <a:lnTo>
                        <a:pt x="316" y="13"/>
                      </a:lnTo>
                      <a:lnTo>
                        <a:pt x="316" y="12"/>
                      </a:lnTo>
                      <a:lnTo>
                        <a:pt x="318" y="12"/>
                      </a:lnTo>
                      <a:lnTo>
                        <a:pt x="316" y="12"/>
                      </a:lnTo>
                      <a:lnTo>
                        <a:pt x="318" y="10"/>
                      </a:lnTo>
                      <a:lnTo>
                        <a:pt x="318" y="12"/>
                      </a:lnTo>
                      <a:lnTo>
                        <a:pt x="320" y="10"/>
                      </a:lnTo>
                      <a:lnTo>
                        <a:pt x="320" y="12"/>
                      </a:lnTo>
                      <a:lnTo>
                        <a:pt x="322" y="13"/>
                      </a:lnTo>
                      <a:lnTo>
                        <a:pt x="320" y="13"/>
                      </a:lnTo>
                      <a:lnTo>
                        <a:pt x="322" y="13"/>
                      </a:lnTo>
                      <a:lnTo>
                        <a:pt x="324" y="13"/>
                      </a:lnTo>
                      <a:lnTo>
                        <a:pt x="322" y="13"/>
                      </a:lnTo>
                      <a:lnTo>
                        <a:pt x="324" y="12"/>
                      </a:lnTo>
                      <a:lnTo>
                        <a:pt x="324" y="13"/>
                      </a:lnTo>
                      <a:lnTo>
                        <a:pt x="322" y="15"/>
                      </a:lnTo>
                      <a:lnTo>
                        <a:pt x="324" y="15"/>
                      </a:lnTo>
                      <a:lnTo>
                        <a:pt x="326" y="13"/>
                      </a:lnTo>
                      <a:lnTo>
                        <a:pt x="328" y="15"/>
                      </a:lnTo>
                      <a:lnTo>
                        <a:pt x="328" y="19"/>
                      </a:lnTo>
                      <a:lnTo>
                        <a:pt x="328" y="17"/>
                      </a:lnTo>
                      <a:lnTo>
                        <a:pt x="330" y="19"/>
                      </a:lnTo>
                      <a:lnTo>
                        <a:pt x="330" y="17"/>
                      </a:lnTo>
                      <a:lnTo>
                        <a:pt x="330" y="15"/>
                      </a:lnTo>
                      <a:lnTo>
                        <a:pt x="330" y="17"/>
                      </a:lnTo>
                      <a:lnTo>
                        <a:pt x="330" y="15"/>
                      </a:lnTo>
                      <a:lnTo>
                        <a:pt x="330" y="12"/>
                      </a:lnTo>
                      <a:lnTo>
                        <a:pt x="330" y="10"/>
                      </a:lnTo>
                      <a:lnTo>
                        <a:pt x="332" y="12"/>
                      </a:lnTo>
                      <a:lnTo>
                        <a:pt x="334" y="13"/>
                      </a:lnTo>
                      <a:lnTo>
                        <a:pt x="330" y="17"/>
                      </a:lnTo>
                      <a:lnTo>
                        <a:pt x="332" y="17"/>
                      </a:lnTo>
                      <a:lnTo>
                        <a:pt x="332" y="15"/>
                      </a:lnTo>
                      <a:lnTo>
                        <a:pt x="332" y="17"/>
                      </a:lnTo>
                      <a:lnTo>
                        <a:pt x="334" y="13"/>
                      </a:lnTo>
                      <a:lnTo>
                        <a:pt x="336" y="13"/>
                      </a:lnTo>
                      <a:lnTo>
                        <a:pt x="336" y="15"/>
                      </a:lnTo>
                      <a:lnTo>
                        <a:pt x="337" y="13"/>
                      </a:lnTo>
                      <a:lnTo>
                        <a:pt x="337" y="15"/>
                      </a:lnTo>
                      <a:lnTo>
                        <a:pt x="339" y="15"/>
                      </a:lnTo>
                      <a:lnTo>
                        <a:pt x="336" y="17"/>
                      </a:lnTo>
                      <a:lnTo>
                        <a:pt x="336" y="19"/>
                      </a:lnTo>
                      <a:lnTo>
                        <a:pt x="334" y="21"/>
                      </a:lnTo>
                      <a:lnTo>
                        <a:pt x="334" y="23"/>
                      </a:lnTo>
                      <a:lnTo>
                        <a:pt x="336" y="21"/>
                      </a:lnTo>
                      <a:lnTo>
                        <a:pt x="336" y="23"/>
                      </a:lnTo>
                      <a:lnTo>
                        <a:pt x="336" y="21"/>
                      </a:lnTo>
                      <a:lnTo>
                        <a:pt x="336" y="23"/>
                      </a:lnTo>
                      <a:lnTo>
                        <a:pt x="334" y="23"/>
                      </a:lnTo>
                      <a:lnTo>
                        <a:pt x="332" y="25"/>
                      </a:lnTo>
                      <a:lnTo>
                        <a:pt x="330" y="25"/>
                      </a:lnTo>
                      <a:lnTo>
                        <a:pt x="330" y="29"/>
                      </a:lnTo>
                      <a:lnTo>
                        <a:pt x="324" y="33"/>
                      </a:lnTo>
                      <a:lnTo>
                        <a:pt x="328" y="33"/>
                      </a:lnTo>
                      <a:lnTo>
                        <a:pt x="328" y="34"/>
                      </a:lnTo>
                      <a:lnTo>
                        <a:pt x="326" y="34"/>
                      </a:lnTo>
                      <a:lnTo>
                        <a:pt x="324" y="34"/>
                      </a:lnTo>
                      <a:lnTo>
                        <a:pt x="326" y="34"/>
                      </a:lnTo>
                      <a:lnTo>
                        <a:pt x="328" y="34"/>
                      </a:lnTo>
                      <a:lnTo>
                        <a:pt x="328" y="36"/>
                      </a:lnTo>
                      <a:lnTo>
                        <a:pt x="326" y="38"/>
                      </a:lnTo>
                      <a:lnTo>
                        <a:pt x="328" y="38"/>
                      </a:lnTo>
                      <a:lnTo>
                        <a:pt x="326" y="38"/>
                      </a:lnTo>
                      <a:lnTo>
                        <a:pt x="328" y="38"/>
                      </a:lnTo>
                      <a:lnTo>
                        <a:pt x="326" y="38"/>
                      </a:lnTo>
                      <a:lnTo>
                        <a:pt x="324" y="40"/>
                      </a:lnTo>
                      <a:lnTo>
                        <a:pt x="326" y="40"/>
                      </a:lnTo>
                      <a:lnTo>
                        <a:pt x="324" y="42"/>
                      </a:lnTo>
                      <a:lnTo>
                        <a:pt x="326" y="42"/>
                      </a:lnTo>
                      <a:lnTo>
                        <a:pt x="326" y="44"/>
                      </a:lnTo>
                      <a:lnTo>
                        <a:pt x="324" y="46"/>
                      </a:lnTo>
                      <a:lnTo>
                        <a:pt x="322" y="46"/>
                      </a:lnTo>
                      <a:lnTo>
                        <a:pt x="322" y="48"/>
                      </a:lnTo>
                      <a:lnTo>
                        <a:pt x="324" y="50"/>
                      </a:lnTo>
                      <a:lnTo>
                        <a:pt x="322" y="50"/>
                      </a:lnTo>
                      <a:lnTo>
                        <a:pt x="322" y="53"/>
                      </a:lnTo>
                      <a:lnTo>
                        <a:pt x="324" y="53"/>
                      </a:lnTo>
                      <a:lnTo>
                        <a:pt x="324" y="55"/>
                      </a:lnTo>
                      <a:lnTo>
                        <a:pt x="324" y="53"/>
                      </a:lnTo>
                      <a:lnTo>
                        <a:pt x="324" y="52"/>
                      </a:lnTo>
                      <a:lnTo>
                        <a:pt x="326" y="50"/>
                      </a:lnTo>
                      <a:lnTo>
                        <a:pt x="324" y="52"/>
                      </a:lnTo>
                      <a:lnTo>
                        <a:pt x="326" y="52"/>
                      </a:lnTo>
                      <a:lnTo>
                        <a:pt x="324" y="52"/>
                      </a:lnTo>
                      <a:lnTo>
                        <a:pt x="326" y="53"/>
                      </a:lnTo>
                      <a:lnTo>
                        <a:pt x="328" y="53"/>
                      </a:lnTo>
                      <a:lnTo>
                        <a:pt x="328" y="48"/>
                      </a:lnTo>
                      <a:lnTo>
                        <a:pt x="330" y="48"/>
                      </a:lnTo>
                      <a:lnTo>
                        <a:pt x="330" y="46"/>
                      </a:lnTo>
                      <a:lnTo>
                        <a:pt x="332" y="44"/>
                      </a:lnTo>
                      <a:lnTo>
                        <a:pt x="332" y="42"/>
                      </a:lnTo>
                      <a:lnTo>
                        <a:pt x="330" y="42"/>
                      </a:lnTo>
                      <a:lnTo>
                        <a:pt x="332" y="40"/>
                      </a:lnTo>
                      <a:lnTo>
                        <a:pt x="332" y="38"/>
                      </a:lnTo>
                      <a:lnTo>
                        <a:pt x="334" y="38"/>
                      </a:lnTo>
                      <a:lnTo>
                        <a:pt x="332" y="38"/>
                      </a:lnTo>
                      <a:lnTo>
                        <a:pt x="336" y="34"/>
                      </a:lnTo>
                      <a:lnTo>
                        <a:pt x="336" y="33"/>
                      </a:lnTo>
                      <a:lnTo>
                        <a:pt x="339" y="29"/>
                      </a:lnTo>
                      <a:lnTo>
                        <a:pt x="341" y="23"/>
                      </a:lnTo>
                      <a:lnTo>
                        <a:pt x="341" y="21"/>
                      </a:lnTo>
                      <a:lnTo>
                        <a:pt x="343" y="19"/>
                      </a:lnTo>
                      <a:lnTo>
                        <a:pt x="345" y="15"/>
                      </a:lnTo>
                      <a:lnTo>
                        <a:pt x="349" y="12"/>
                      </a:lnTo>
                      <a:lnTo>
                        <a:pt x="351" y="12"/>
                      </a:lnTo>
                      <a:lnTo>
                        <a:pt x="351" y="13"/>
                      </a:lnTo>
                      <a:lnTo>
                        <a:pt x="351" y="15"/>
                      </a:lnTo>
                      <a:lnTo>
                        <a:pt x="351" y="17"/>
                      </a:lnTo>
                      <a:lnTo>
                        <a:pt x="351" y="21"/>
                      </a:lnTo>
                      <a:lnTo>
                        <a:pt x="349" y="23"/>
                      </a:lnTo>
                      <a:lnTo>
                        <a:pt x="347" y="25"/>
                      </a:lnTo>
                      <a:lnTo>
                        <a:pt x="345" y="27"/>
                      </a:lnTo>
                      <a:lnTo>
                        <a:pt x="349" y="25"/>
                      </a:lnTo>
                      <a:lnTo>
                        <a:pt x="349" y="27"/>
                      </a:lnTo>
                      <a:lnTo>
                        <a:pt x="349" y="25"/>
                      </a:lnTo>
                      <a:lnTo>
                        <a:pt x="351" y="25"/>
                      </a:lnTo>
                      <a:lnTo>
                        <a:pt x="349" y="25"/>
                      </a:lnTo>
                      <a:lnTo>
                        <a:pt x="351" y="27"/>
                      </a:lnTo>
                      <a:lnTo>
                        <a:pt x="349" y="31"/>
                      </a:lnTo>
                      <a:lnTo>
                        <a:pt x="349" y="33"/>
                      </a:lnTo>
                      <a:lnTo>
                        <a:pt x="349" y="34"/>
                      </a:lnTo>
                      <a:lnTo>
                        <a:pt x="349" y="36"/>
                      </a:lnTo>
                      <a:lnTo>
                        <a:pt x="349" y="38"/>
                      </a:lnTo>
                      <a:lnTo>
                        <a:pt x="347" y="40"/>
                      </a:lnTo>
                      <a:lnTo>
                        <a:pt x="349" y="40"/>
                      </a:lnTo>
                      <a:lnTo>
                        <a:pt x="349" y="38"/>
                      </a:lnTo>
                      <a:lnTo>
                        <a:pt x="351" y="40"/>
                      </a:lnTo>
                      <a:lnTo>
                        <a:pt x="351" y="38"/>
                      </a:lnTo>
                      <a:lnTo>
                        <a:pt x="349" y="38"/>
                      </a:lnTo>
                      <a:lnTo>
                        <a:pt x="351" y="36"/>
                      </a:lnTo>
                      <a:lnTo>
                        <a:pt x="351" y="38"/>
                      </a:lnTo>
                      <a:lnTo>
                        <a:pt x="353" y="34"/>
                      </a:lnTo>
                      <a:lnTo>
                        <a:pt x="355" y="34"/>
                      </a:lnTo>
                      <a:lnTo>
                        <a:pt x="355" y="36"/>
                      </a:lnTo>
                      <a:lnTo>
                        <a:pt x="357" y="34"/>
                      </a:lnTo>
                      <a:lnTo>
                        <a:pt x="358" y="34"/>
                      </a:lnTo>
                      <a:lnTo>
                        <a:pt x="357" y="34"/>
                      </a:lnTo>
                      <a:lnTo>
                        <a:pt x="355" y="31"/>
                      </a:lnTo>
                      <a:lnTo>
                        <a:pt x="357" y="31"/>
                      </a:lnTo>
                      <a:lnTo>
                        <a:pt x="355" y="31"/>
                      </a:lnTo>
                      <a:lnTo>
                        <a:pt x="355" y="29"/>
                      </a:lnTo>
                      <a:lnTo>
                        <a:pt x="357" y="29"/>
                      </a:lnTo>
                      <a:lnTo>
                        <a:pt x="360" y="29"/>
                      </a:lnTo>
                      <a:lnTo>
                        <a:pt x="357" y="27"/>
                      </a:lnTo>
                      <a:lnTo>
                        <a:pt x="358" y="25"/>
                      </a:lnTo>
                      <a:lnTo>
                        <a:pt x="357" y="25"/>
                      </a:lnTo>
                      <a:lnTo>
                        <a:pt x="358" y="25"/>
                      </a:lnTo>
                      <a:lnTo>
                        <a:pt x="357" y="25"/>
                      </a:lnTo>
                      <a:lnTo>
                        <a:pt x="358" y="21"/>
                      </a:lnTo>
                      <a:lnTo>
                        <a:pt x="360" y="21"/>
                      </a:lnTo>
                      <a:lnTo>
                        <a:pt x="360" y="23"/>
                      </a:lnTo>
                      <a:lnTo>
                        <a:pt x="362" y="21"/>
                      </a:lnTo>
                      <a:lnTo>
                        <a:pt x="360" y="21"/>
                      </a:lnTo>
                      <a:lnTo>
                        <a:pt x="360" y="17"/>
                      </a:lnTo>
                      <a:lnTo>
                        <a:pt x="362" y="17"/>
                      </a:lnTo>
                      <a:lnTo>
                        <a:pt x="364" y="19"/>
                      </a:lnTo>
                      <a:lnTo>
                        <a:pt x="368" y="19"/>
                      </a:lnTo>
                      <a:lnTo>
                        <a:pt x="362" y="17"/>
                      </a:lnTo>
                      <a:lnTo>
                        <a:pt x="364" y="15"/>
                      </a:lnTo>
                      <a:lnTo>
                        <a:pt x="362" y="15"/>
                      </a:lnTo>
                      <a:lnTo>
                        <a:pt x="362" y="13"/>
                      </a:lnTo>
                      <a:lnTo>
                        <a:pt x="360" y="15"/>
                      </a:lnTo>
                      <a:lnTo>
                        <a:pt x="358" y="13"/>
                      </a:lnTo>
                      <a:lnTo>
                        <a:pt x="358" y="10"/>
                      </a:lnTo>
                      <a:lnTo>
                        <a:pt x="362" y="12"/>
                      </a:lnTo>
                      <a:lnTo>
                        <a:pt x="358" y="10"/>
                      </a:lnTo>
                      <a:lnTo>
                        <a:pt x="360" y="8"/>
                      </a:lnTo>
                      <a:lnTo>
                        <a:pt x="362" y="10"/>
                      </a:lnTo>
                      <a:lnTo>
                        <a:pt x="362" y="8"/>
                      </a:lnTo>
                      <a:lnTo>
                        <a:pt x="364" y="10"/>
                      </a:lnTo>
                      <a:lnTo>
                        <a:pt x="364" y="12"/>
                      </a:lnTo>
                      <a:lnTo>
                        <a:pt x="364" y="10"/>
                      </a:lnTo>
                      <a:lnTo>
                        <a:pt x="364" y="8"/>
                      </a:lnTo>
                      <a:lnTo>
                        <a:pt x="364" y="6"/>
                      </a:lnTo>
                      <a:lnTo>
                        <a:pt x="366" y="4"/>
                      </a:lnTo>
                      <a:lnTo>
                        <a:pt x="368" y="4"/>
                      </a:lnTo>
                      <a:lnTo>
                        <a:pt x="366" y="6"/>
                      </a:lnTo>
                      <a:lnTo>
                        <a:pt x="368" y="6"/>
                      </a:lnTo>
                      <a:lnTo>
                        <a:pt x="368" y="8"/>
                      </a:lnTo>
                      <a:lnTo>
                        <a:pt x="368" y="6"/>
                      </a:lnTo>
                      <a:lnTo>
                        <a:pt x="368" y="8"/>
                      </a:lnTo>
                      <a:lnTo>
                        <a:pt x="370" y="8"/>
                      </a:lnTo>
                      <a:lnTo>
                        <a:pt x="372" y="6"/>
                      </a:lnTo>
                      <a:lnTo>
                        <a:pt x="372" y="8"/>
                      </a:lnTo>
                      <a:lnTo>
                        <a:pt x="374" y="6"/>
                      </a:lnTo>
                      <a:lnTo>
                        <a:pt x="374" y="8"/>
                      </a:lnTo>
                      <a:lnTo>
                        <a:pt x="374" y="6"/>
                      </a:lnTo>
                      <a:lnTo>
                        <a:pt x="376" y="6"/>
                      </a:lnTo>
                      <a:lnTo>
                        <a:pt x="376" y="8"/>
                      </a:lnTo>
                      <a:lnTo>
                        <a:pt x="374" y="8"/>
                      </a:lnTo>
                      <a:lnTo>
                        <a:pt x="376" y="8"/>
                      </a:lnTo>
                      <a:lnTo>
                        <a:pt x="374" y="10"/>
                      </a:lnTo>
                      <a:lnTo>
                        <a:pt x="376" y="10"/>
                      </a:lnTo>
                      <a:lnTo>
                        <a:pt x="376" y="12"/>
                      </a:lnTo>
                      <a:lnTo>
                        <a:pt x="376" y="10"/>
                      </a:lnTo>
                      <a:lnTo>
                        <a:pt x="377" y="10"/>
                      </a:lnTo>
                      <a:lnTo>
                        <a:pt x="379" y="10"/>
                      </a:lnTo>
                      <a:lnTo>
                        <a:pt x="381" y="12"/>
                      </a:lnTo>
                      <a:lnTo>
                        <a:pt x="379" y="15"/>
                      </a:lnTo>
                      <a:lnTo>
                        <a:pt x="377" y="15"/>
                      </a:lnTo>
                      <a:lnTo>
                        <a:pt x="379" y="15"/>
                      </a:lnTo>
                      <a:lnTo>
                        <a:pt x="377" y="17"/>
                      </a:lnTo>
                      <a:lnTo>
                        <a:pt x="376" y="17"/>
                      </a:lnTo>
                      <a:lnTo>
                        <a:pt x="377" y="19"/>
                      </a:lnTo>
                      <a:lnTo>
                        <a:pt x="376" y="19"/>
                      </a:lnTo>
                      <a:lnTo>
                        <a:pt x="374" y="19"/>
                      </a:lnTo>
                      <a:lnTo>
                        <a:pt x="372" y="19"/>
                      </a:lnTo>
                      <a:lnTo>
                        <a:pt x="372" y="17"/>
                      </a:lnTo>
                      <a:lnTo>
                        <a:pt x="370" y="19"/>
                      </a:lnTo>
                      <a:lnTo>
                        <a:pt x="368" y="19"/>
                      </a:lnTo>
                      <a:lnTo>
                        <a:pt x="370" y="19"/>
                      </a:lnTo>
                      <a:lnTo>
                        <a:pt x="368" y="21"/>
                      </a:lnTo>
                      <a:lnTo>
                        <a:pt x="370" y="21"/>
                      </a:lnTo>
                      <a:lnTo>
                        <a:pt x="372" y="21"/>
                      </a:lnTo>
                      <a:lnTo>
                        <a:pt x="372" y="23"/>
                      </a:lnTo>
                      <a:lnTo>
                        <a:pt x="372" y="21"/>
                      </a:lnTo>
                      <a:lnTo>
                        <a:pt x="374" y="23"/>
                      </a:lnTo>
                      <a:lnTo>
                        <a:pt x="372" y="25"/>
                      </a:lnTo>
                      <a:lnTo>
                        <a:pt x="370" y="25"/>
                      </a:lnTo>
                      <a:lnTo>
                        <a:pt x="370" y="27"/>
                      </a:lnTo>
                      <a:lnTo>
                        <a:pt x="366" y="29"/>
                      </a:lnTo>
                      <a:lnTo>
                        <a:pt x="370" y="27"/>
                      </a:lnTo>
                      <a:lnTo>
                        <a:pt x="376" y="23"/>
                      </a:lnTo>
                      <a:lnTo>
                        <a:pt x="377" y="25"/>
                      </a:lnTo>
                      <a:lnTo>
                        <a:pt x="376" y="29"/>
                      </a:lnTo>
                      <a:lnTo>
                        <a:pt x="368" y="34"/>
                      </a:lnTo>
                      <a:lnTo>
                        <a:pt x="370" y="34"/>
                      </a:lnTo>
                      <a:lnTo>
                        <a:pt x="370" y="36"/>
                      </a:lnTo>
                      <a:lnTo>
                        <a:pt x="370" y="34"/>
                      </a:lnTo>
                      <a:lnTo>
                        <a:pt x="372" y="34"/>
                      </a:lnTo>
                      <a:lnTo>
                        <a:pt x="372" y="33"/>
                      </a:lnTo>
                      <a:lnTo>
                        <a:pt x="370" y="34"/>
                      </a:lnTo>
                      <a:lnTo>
                        <a:pt x="370" y="36"/>
                      </a:lnTo>
                      <a:lnTo>
                        <a:pt x="372" y="34"/>
                      </a:lnTo>
                      <a:lnTo>
                        <a:pt x="374" y="33"/>
                      </a:lnTo>
                      <a:lnTo>
                        <a:pt x="376" y="34"/>
                      </a:lnTo>
                      <a:lnTo>
                        <a:pt x="372" y="36"/>
                      </a:lnTo>
                      <a:lnTo>
                        <a:pt x="372" y="38"/>
                      </a:lnTo>
                      <a:lnTo>
                        <a:pt x="374" y="36"/>
                      </a:lnTo>
                      <a:lnTo>
                        <a:pt x="376" y="33"/>
                      </a:lnTo>
                      <a:lnTo>
                        <a:pt x="377" y="34"/>
                      </a:lnTo>
                      <a:lnTo>
                        <a:pt x="377" y="33"/>
                      </a:lnTo>
                      <a:lnTo>
                        <a:pt x="376" y="38"/>
                      </a:lnTo>
                      <a:lnTo>
                        <a:pt x="377" y="36"/>
                      </a:lnTo>
                      <a:lnTo>
                        <a:pt x="379" y="33"/>
                      </a:lnTo>
                      <a:lnTo>
                        <a:pt x="379" y="36"/>
                      </a:lnTo>
                      <a:lnTo>
                        <a:pt x="379" y="34"/>
                      </a:lnTo>
                      <a:lnTo>
                        <a:pt x="381" y="33"/>
                      </a:lnTo>
                      <a:lnTo>
                        <a:pt x="379" y="33"/>
                      </a:lnTo>
                      <a:lnTo>
                        <a:pt x="377" y="33"/>
                      </a:lnTo>
                      <a:lnTo>
                        <a:pt x="379" y="29"/>
                      </a:lnTo>
                      <a:lnTo>
                        <a:pt x="379" y="25"/>
                      </a:lnTo>
                      <a:lnTo>
                        <a:pt x="381" y="25"/>
                      </a:lnTo>
                      <a:lnTo>
                        <a:pt x="379" y="23"/>
                      </a:lnTo>
                      <a:lnTo>
                        <a:pt x="383" y="21"/>
                      </a:lnTo>
                      <a:lnTo>
                        <a:pt x="383" y="19"/>
                      </a:lnTo>
                      <a:lnTo>
                        <a:pt x="383" y="17"/>
                      </a:lnTo>
                      <a:lnTo>
                        <a:pt x="385" y="15"/>
                      </a:lnTo>
                      <a:lnTo>
                        <a:pt x="387" y="15"/>
                      </a:lnTo>
                      <a:lnTo>
                        <a:pt x="389" y="15"/>
                      </a:lnTo>
                      <a:lnTo>
                        <a:pt x="391" y="17"/>
                      </a:lnTo>
                      <a:lnTo>
                        <a:pt x="393" y="17"/>
                      </a:lnTo>
                      <a:lnTo>
                        <a:pt x="391" y="19"/>
                      </a:lnTo>
                      <a:lnTo>
                        <a:pt x="393" y="19"/>
                      </a:lnTo>
                      <a:lnTo>
                        <a:pt x="395" y="19"/>
                      </a:lnTo>
                      <a:lnTo>
                        <a:pt x="391" y="23"/>
                      </a:lnTo>
                      <a:lnTo>
                        <a:pt x="393" y="23"/>
                      </a:lnTo>
                      <a:lnTo>
                        <a:pt x="395" y="23"/>
                      </a:lnTo>
                      <a:lnTo>
                        <a:pt x="393" y="23"/>
                      </a:lnTo>
                      <a:lnTo>
                        <a:pt x="393" y="25"/>
                      </a:lnTo>
                      <a:lnTo>
                        <a:pt x="395" y="25"/>
                      </a:lnTo>
                      <a:lnTo>
                        <a:pt x="391" y="25"/>
                      </a:lnTo>
                      <a:lnTo>
                        <a:pt x="393" y="25"/>
                      </a:lnTo>
                      <a:lnTo>
                        <a:pt x="393" y="27"/>
                      </a:lnTo>
                      <a:lnTo>
                        <a:pt x="391" y="27"/>
                      </a:lnTo>
                      <a:lnTo>
                        <a:pt x="393" y="27"/>
                      </a:lnTo>
                      <a:lnTo>
                        <a:pt x="395" y="25"/>
                      </a:lnTo>
                      <a:lnTo>
                        <a:pt x="397" y="23"/>
                      </a:lnTo>
                      <a:lnTo>
                        <a:pt x="398" y="23"/>
                      </a:lnTo>
                      <a:lnTo>
                        <a:pt x="400" y="23"/>
                      </a:lnTo>
                      <a:lnTo>
                        <a:pt x="400" y="27"/>
                      </a:lnTo>
                      <a:lnTo>
                        <a:pt x="398" y="29"/>
                      </a:lnTo>
                      <a:lnTo>
                        <a:pt x="400" y="27"/>
                      </a:lnTo>
                      <a:lnTo>
                        <a:pt x="402" y="23"/>
                      </a:lnTo>
                      <a:lnTo>
                        <a:pt x="404" y="23"/>
                      </a:lnTo>
                      <a:lnTo>
                        <a:pt x="406" y="25"/>
                      </a:lnTo>
                      <a:lnTo>
                        <a:pt x="406" y="27"/>
                      </a:lnTo>
                      <a:lnTo>
                        <a:pt x="408" y="27"/>
                      </a:lnTo>
                      <a:lnTo>
                        <a:pt x="408" y="29"/>
                      </a:lnTo>
                      <a:lnTo>
                        <a:pt x="406" y="31"/>
                      </a:lnTo>
                      <a:lnTo>
                        <a:pt x="404" y="31"/>
                      </a:lnTo>
                      <a:lnTo>
                        <a:pt x="406" y="33"/>
                      </a:lnTo>
                      <a:lnTo>
                        <a:pt x="404" y="33"/>
                      </a:lnTo>
                      <a:lnTo>
                        <a:pt x="406" y="33"/>
                      </a:lnTo>
                      <a:lnTo>
                        <a:pt x="410" y="31"/>
                      </a:lnTo>
                      <a:lnTo>
                        <a:pt x="412" y="33"/>
                      </a:lnTo>
                      <a:lnTo>
                        <a:pt x="414" y="31"/>
                      </a:lnTo>
                      <a:lnTo>
                        <a:pt x="414" y="33"/>
                      </a:lnTo>
                      <a:lnTo>
                        <a:pt x="412" y="33"/>
                      </a:lnTo>
                      <a:lnTo>
                        <a:pt x="416" y="34"/>
                      </a:lnTo>
                      <a:lnTo>
                        <a:pt x="416" y="36"/>
                      </a:lnTo>
                      <a:lnTo>
                        <a:pt x="416" y="38"/>
                      </a:lnTo>
                      <a:lnTo>
                        <a:pt x="418" y="36"/>
                      </a:lnTo>
                      <a:lnTo>
                        <a:pt x="419" y="38"/>
                      </a:lnTo>
                      <a:lnTo>
                        <a:pt x="421" y="44"/>
                      </a:lnTo>
                      <a:lnTo>
                        <a:pt x="419" y="44"/>
                      </a:lnTo>
                      <a:lnTo>
                        <a:pt x="418" y="46"/>
                      </a:lnTo>
                      <a:lnTo>
                        <a:pt x="416" y="46"/>
                      </a:lnTo>
                      <a:lnTo>
                        <a:pt x="412" y="46"/>
                      </a:lnTo>
                      <a:lnTo>
                        <a:pt x="412" y="48"/>
                      </a:lnTo>
                      <a:lnTo>
                        <a:pt x="410" y="48"/>
                      </a:lnTo>
                      <a:lnTo>
                        <a:pt x="408" y="48"/>
                      </a:lnTo>
                      <a:lnTo>
                        <a:pt x="410" y="52"/>
                      </a:lnTo>
                      <a:lnTo>
                        <a:pt x="406" y="53"/>
                      </a:lnTo>
                      <a:lnTo>
                        <a:pt x="404" y="53"/>
                      </a:lnTo>
                      <a:lnTo>
                        <a:pt x="400" y="53"/>
                      </a:lnTo>
                      <a:lnTo>
                        <a:pt x="397" y="53"/>
                      </a:lnTo>
                      <a:lnTo>
                        <a:pt x="391" y="52"/>
                      </a:lnTo>
                      <a:lnTo>
                        <a:pt x="389" y="52"/>
                      </a:lnTo>
                      <a:lnTo>
                        <a:pt x="383" y="50"/>
                      </a:lnTo>
                      <a:lnTo>
                        <a:pt x="381" y="50"/>
                      </a:lnTo>
                      <a:lnTo>
                        <a:pt x="383" y="50"/>
                      </a:lnTo>
                      <a:lnTo>
                        <a:pt x="381" y="52"/>
                      </a:lnTo>
                      <a:lnTo>
                        <a:pt x="383" y="53"/>
                      </a:lnTo>
                      <a:lnTo>
                        <a:pt x="385" y="52"/>
                      </a:lnTo>
                      <a:lnTo>
                        <a:pt x="385" y="53"/>
                      </a:lnTo>
                      <a:lnTo>
                        <a:pt x="383" y="53"/>
                      </a:lnTo>
                      <a:lnTo>
                        <a:pt x="387" y="53"/>
                      </a:lnTo>
                      <a:lnTo>
                        <a:pt x="389" y="55"/>
                      </a:lnTo>
                      <a:lnTo>
                        <a:pt x="389" y="53"/>
                      </a:lnTo>
                      <a:lnTo>
                        <a:pt x="389" y="55"/>
                      </a:lnTo>
                      <a:lnTo>
                        <a:pt x="391" y="55"/>
                      </a:lnTo>
                      <a:lnTo>
                        <a:pt x="389" y="57"/>
                      </a:lnTo>
                      <a:lnTo>
                        <a:pt x="393" y="57"/>
                      </a:lnTo>
                      <a:lnTo>
                        <a:pt x="393" y="55"/>
                      </a:lnTo>
                      <a:lnTo>
                        <a:pt x="395" y="57"/>
                      </a:lnTo>
                      <a:lnTo>
                        <a:pt x="398" y="59"/>
                      </a:lnTo>
                      <a:lnTo>
                        <a:pt x="395" y="61"/>
                      </a:lnTo>
                      <a:lnTo>
                        <a:pt x="395" y="63"/>
                      </a:lnTo>
                      <a:lnTo>
                        <a:pt x="393" y="63"/>
                      </a:lnTo>
                      <a:lnTo>
                        <a:pt x="395" y="63"/>
                      </a:lnTo>
                      <a:lnTo>
                        <a:pt x="397" y="61"/>
                      </a:lnTo>
                      <a:lnTo>
                        <a:pt x="398" y="61"/>
                      </a:lnTo>
                      <a:lnTo>
                        <a:pt x="400" y="63"/>
                      </a:lnTo>
                      <a:lnTo>
                        <a:pt x="400" y="65"/>
                      </a:lnTo>
                      <a:lnTo>
                        <a:pt x="398" y="65"/>
                      </a:lnTo>
                      <a:lnTo>
                        <a:pt x="400" y="65"/>
                      </a:lnTo>
                      <a:lnTo>
                        <a:pt x="398" y="67"/>
                      </a:lnTo>
                      <a:lnTo>
                        <a:pt x="398" y="69"/>
                      </a:lnTo>
                      <a:lnTo>
                        <a:pt x="397" y="69"/>
                      </a:lnTo>
                      <a:lnTo>
                        <a:pt x="397" y="71"/>
                      </a:lnTo>
                      <a:lnTo>
                        <a:pt x="395" y="71"/>
                      </a:lnTo>
                      <a:lnTo>
                        <a:pt x="397" y="71"/>
                      </a:lnTo>
                      <a:lnTo>
                        <a:pt x="395" y="73"/>
                      </a:lnTo>
                      <a:lnTo>
                        <a:pt x="397" y="73"/>
                      </a:lnTo>
                      <a:lnTo>
                        <a:pt x="398" y="69"/>
                      </a:lnTo>
                      <a:lnTo>
                        <a:pt x="400" y="69"/>
                      </a:lnTo>
                      <a:lnTo>
                        <a:pt x="402" y="69"/>
                      </a:lnTo>
                      <a:lnTo>
                        <a:pt x="404" y="67"/>
                      </a:lnTo>
                      <a:lnTo>
                        <a:pt x="404" y="69"/>
                      </a:lnTo>
                      <a:lnTo>
                        <a:pt x="402" y="71"/>
                      </a:lnTo>
                      <a:lnTo>
                        <a:pt x="402" y="76"/>
                      </a:lnTo>
                      <a:lnTo>
                        <a:pt x="402" y="71"/>
                      </a:lnTo>
                      <a:lnTo>
                        <a:pt x="404" y="69"/>
                      </a:lnTo>
                      <a:lnTo>
                        <a:pt x="406" y="73"/>
                      </a:lnTo>
                      <a:lnTo>
                        <a:pt x="406" y="69"/>
                      </a:lnTo>
                      <a:lnTo>
                        <a:pt x="406" y="67"/>
                      </a:lnTo>
                      <a:lnTo>
                        <a:pt x="406" y="65"/>
                      </a:lnTo>
                      <a:lnTo>
                        <a:pt x="406" y="63"/>
                      </a:lnTo>
                      <a:lnTo>
                        <a:pt x="408" y="63"/>
                      </a:lnTo>
                      <a:lnTo>
                        <a:pt x="410" y="63"/>
                      </a:lnTo>
                      <a:lnTo>
                        <a:pt x="408" y="65"/>
                      </a:lnTo>
                      <a:lnTo>
                        <a:pt x="410" y="65"/>
                      </a:lnTo>
                      <a:lnTo>
                        <a:pt x="410" y="71"/>
                      </a:lnTo>
                      <a:lnTo>
                        <a:pt x="408" y="73"/>
                      </a:lnTo>
                      <a:lnTo>
                        <a:pt x="410" y="73"/>
                      </a:lnTo>
                      <a:lnTo>
                        <a:pt x="410" y="71"/>
                      </a:lnTo>
                      <a:lnTo>
                        <a:pt x="412" y="69"/>
                      </a:lnTo>
                      <a:lnTo>
                        <a:pt x="410" y="65"/>
                      </a:lnTo>
                      <a:lnTo>
                        <a:pt x="412" y="65"/>
                      </a:lnTo>
                      <a:lnTo>
                        <a:pt x="412" y="67"/>
                      </a:lnTo>
                      <a:lnTo>
                        <a:pt x="412" y="65"/>
                      </a:lnTo>
                      <a:lnTo>
                        <a:pt x="414" y="67"/>
                      </a:lnTo>
                      <a:lnTo>
                        <a:pt x="414" y="65"/>
                      </a:lnTo>
                      <a:lnTo>
                        <a:pt x="414" y="67"/>
                      </a:lnTo>
                      <a:lnTo>
                        <a:pt x="414" y="65"/>
                      </a:lnTo>
                      <a:lnTo>
                        <a:pt x="414" y="67"/>
                      </a:lnTo>
                      <a:lnTo>
                        <a:pt x="416" y="67"/>
                      </a:lnTo>
                      <a:lnTo>
                        <a:pt x="414" y="69"/>
                      </a:lnTo>
                      <a:lnTo>
                        <a:pt x="418" y="67"/>
                      </a:lnTo>
                      <a:lnTo>
                        <a:pt x="418" y="69"/>
                      </a:lnTo>
                      <a:lnTo>
                        <a:pt x="418" y="71"/>
                      </a:lnTo>
                      <a:lnTo>
                        <a:pt x="419" y="73"/>
                      </a:lnTo>
                      <a:lnTo>
                        <a:pt x="419" y="78"/>
                      </a:lnTo>
                      <a:lnTo>
                        <a:pt x="418" y="78"/>
                      </a:lnTo>
                      <a:lnTo>
                        <a:pt x="412" y="78"/>
                      </a:lnTo>
                      <a:lnTo>
                        <a:pt x="408" y="73"/>
                      </a:lnTo>
                      <a:lnTo>
                        <a:pt x="406" y="73"/>
                      </a:lnTo>
                      <a:lnTo>
                        <a:pt x="404" y="73"/>
                      </a:lnTo>
                      <a:lnTo>
                        <a:pt x="404" y="74"/>
                      </a:lnTo>
                      <a:lnTo>
                        <a:pt x="406" y="74"/>
                      </a:lnTo>
                      <a:lnTo>
                        <a:pt x="406" y="76"/>
                      </a:lnTo>
                      <a:lnTo>
                        <a:pt x="406" y="80"/>
                      </a:lnTo>
                      <a:lnTo>
                        <a:pt x="406" y="82"/>
                      </a:lnTo>
                      <a:lnTo>
                        <a:pt x="404" y="84"/>
                      </a:lnTo>
                      <a:lnTo>
                        <a:pt x="402" y="84"/>
                      </a:lnTo>
                      <a:lnTo>
                        <a:pt x="400" y="84"/>
                      </a:lnTo>
                      <a:lnTo>
                        <a:pt x="398" y="86"/>
                      </a:lnTo>
                      <a:lnTo>
                        <a:pt x="397" y="88"/>
                      </a:lnTo>
                      <a:lnTo>
                        <a:pt x="395" y="88"/>
                      </a:lnTo>
                      <a:lnTo>
                        <a:pt x="393" y="90"/>
                      </a:lnTo>
                      <a:lnTo>
                        <a:pt x="393" y="92"/>
                      </a:lnTo>
                      <a:lnTo>
                        <a:pt x="391" y="97"/>
                      </a:lnTo>
                      <a:lnTo>
                        <a:pt x="389" y="101"/>
                      </a:lnTo>
                      <a:lnTo>
                        <a:pt x="387" y="101"/>
                      </a:lnTo>
                      <a:lnTo>
                        <a:pt x="385" y="97"/>
                      </a:lnTo>
                      <a:lnTo>
                        <a:pt x="385" y="94"/>
                      </a:lnTo>
                      <a:lnTo>
                        <a:pt x="391" y="84"/>
                      </a:lnTo>
                      <a:lnTo>
                        <a:pt x="393" y="80"/>
                      </a:lnTo>
                      <a:lnTo>
                        <a:pt x="389" y="71"/>
                      </a:lnTo>
                      <a:lnTo>
                        <a:pt x="377" y="65"/>
                      </a:lnTo>
                      <a:lnTo>
                        <a:pt x="377" y="63"/>
                      </a:lnTo>
                      <a:lnTo>
                        <a:pt x="374" y="61"/>
                      </a:lnTo>
                      <a:lnTo>
                        <a:pt x="372" y="57"/>
                      </a:lnTo>
                      <a:lnTo>
                        <a:pt x="372" y="53"/>
                      </a:lnTo>
                      <a:lnTo>
                        <a:pt x="368" y="53"/>
                      </a:lnTo>
                      <a:lnTo>
                        <a:pt x="366" y="53"/>
                      </a:lnTo>
                      <a:lnTo>
                        <a:pt x="364" y="53"/>
                      </a:lnTo>
                      <a:lnTo>
                        <a:pt x="364" y="55"/>
                      </a:lnTo>
                      <a:lnTo>
                        <a:pt x="362" y="55"/>
                      </a:lnTo>
                      <a:lnTo>
                        <a:pt x="360" y="57"/>
                      </a:lnTo>
                      <a:lnTo>
                        <a:pt x="360" y="59"/>
                      </a:lnTo>
                      <a:lnTo>
                        <a:pt x="357" y="61"/>
                      </a:lnTo>
                      <a:lnTo>
                        <a:pt x="355" y="59"/>
                      </a:lnTo>
                      <a:lnTo>
                        <a:pt x="355" y="61"/>
                      </a:lnTo>
                      <a:lnTo>
                        <a:pt x="353" y="59"/>
                      </a:lnTo>
                      <a:lnTo>
                        <a:pt x="351" y="59"/>
                      </a:lnTo>
                      <a:lnTo>
                        <a:pt x="347" y="59"/>
                      </a:lnTo>
                      <a:lnTo>
                        <a:pt x="347" y="61"/>
                      </a:lnTo>
                      <a:lnTo>
                        <a:pt x="347" y="63"/>
                      </a:lnTo>
                      <a:lnTo>
                        <a:pt x="343" y="65"/>
                      </a:lnTo>
                      <a:lnTo>
                        <a:pt x="343" y="69"/>
                      </a:lnTo>
                      <a:lnTo>
                        <a:pt x="341" y="69"/>
                      </a:lnTo>
                      <a:lnTo>
                        <a:pt x="339" y="71"/>
                      </a:lnTo>
                      <a:lnTo>
                        <a:pt x="337" y="73"/>
                      </a:lnTo>
                      <a:lnTo>
                        <a:pt x="339" y="73"/>
                      </a:lnTo>
                      <a:lnTo>
                        <a:pt x="339" y="74"/>
                      </a:lnTo>
                      <a:lnTo>
                        <a:pt x="339" y="76"/>
                      </a:lnTo>
                      <a:lnTo>
                        <a:pt x="337" y="78"/>
                      </a:lnTo>
                      <a:lnTo>
                        <a:pt x="337" y="82"/>
                      </a:lnTo>
                      <a:lnTo>
                        <a:pt x="337" y="84"/>
                      </a:lnTo>
                      <a:lnTo>
                        <a:pt x="336" y="88"/>
                      </a:lnTo>
                      <a:lnTo>
                        <a:pt x="336" y="92"/>
                      </a:lnTo>
                      <a:lnTo>
                        <a:pt x="336" y="94"/>
                      </a:lnTo>
                      <a:lnTo>
                        <a:pt x="336" y="95"/>
                      </a:lnTo>
                      <a:lnTo>
                        <a:pt x="336" y="99"/>
                      </a:lnTo>
                      <a:lnTo>
                        <a:pt x="336" y="101"/>
                      </a:lnTo>
                      <a:lnTo>
                        <a:pt x="334" y="107"/>
                      </a:lnTo>
                      <a:lnTo>
                        <a:pt x="332" y="107"/>
                      </a:lnTo>
                      <a:lnTo>
                        <a:pt x="330" y="107"/>
                      </a:lnTo>
                      <a:lnTo>
                        <a:pt x="326" y="111"/>
                      </a:lnTo>
                      <a:lnTo>
                        <a:pt x="326" y="118"/>
                      </a:lnTo>
                      <a:lnTo>
                        <a:pt x="326" y="120"/>
                      </a:lnTo>
                      <a:lnTo>
                        <a:pt x="322" y="120"/>
                      </a:lnTo>
                      <a:lnTo>
                        <a:pt x="322" y="122"/>
                      </a:lnTo>
                      <a:lnTo>
                        <a:pt x="320" y="118"/>
                      </a:lnTo>
                      <a:lnTo>
                        <a:pt x="318" y="116"/>
                      </a:lnTo>
                      <a:lnTo>
                        <a:pt x="313" y="115"/>
                      </a:lnTo>
                      <a:lnTo>
                        <a:pt x="311" y="113"/>
                      </a:lnTo>
                      <a:lnTo>
                        <a:pt x="309" y="113"/>
                      </a:lnTo>
                      <a:lnTo>
                        <a:pt x="309" y="111"/>
                      </a:lnTo>
                      <a:lnTo>
                        <a:pt x="307" y="111"/>
                      </a:lnTo>
                      <a:lnTo>
                        <a:pt x="305" y="111"/>
                      </a:lnTo>
                      <a:lnTo>
                        <a:pt x="303" y="116"/>
                      </a:lnTo>
                      <a:lnTo>
                        <a:pt x="299" y="116"/>
                      </a:lnTo>
                      <a:lnTo>
                        <a:pt x="295" y="118"/>
                      </a:lnTo>
                      <a:lnTo>
                        <a:pt x="294" y="116"/>
                      </a:lnTo>
                      <a:lnTo>
                        <a:pt x="290" y="116"/>
                      </a:lnTo>
                      <a:lnTo>
                        <a:pt x="284" y="115"/>
                      </a:lnTo>
                      <a:lnTo>
                        <a:pt x="282" y="115"/>
                      </a:lnTo>
                      <a:lnTo>
                        <a:pt x="282" y="111"/>
                      </a:lnTo>
                      <a:lnTo>
                        <a:pt x="280" y="107"/>
                      </a:lnTo>
                      <a:lnTo>
                        <a:pt x="278" y="105"/>
                      </a:lnTo>
                      <a:lnTo>
                        <a:pt x="271" y="90"/>
                      </a:lnTo>
                      <a:lnTo>
                        <a:pt x="265" y="88"/>
                      </a:lnTo>
                      <a:lnTo>
                        <a:pt x="261" y="94"/>
                      </a:lnTo>
                      <a:lnTo>
                        <a:pt x="261" y="97"/>
                      </a:lnTo>
                      <a:lnTo>
                        <a:pt x="263" y="97"/>
                      </a:lnTo>
                      <a:lnTo>
                        <a:pt x="261" y="101"/>
                      </a:lnTo>
                      <a:lnTo>
                        <a:pt x="255" y="97"/>
                      </a:lnTo>
                      <a:lnTo>
                        <a:pt x="254" y="99"/>
                      </a:lnTo>
                      <a:lnTo>
                        <a:pt x="246" y="101"/>
                      </a:lnTo>
                      <a:lnTo>
                        <a:pt x="250" y="105"/>
                      </a:lnTo>
                      <a:lnTo>
                        <a:pt x="250" y="111"/>
                      </a:lnTo>
                      <a:lnTo>
                        <a:pt x="248" y="116"/>
                      </a:lnTo>
                      <a:lnTo>
                        <a:pt x="246" y="120"/>
                      </a:lnTo>
                      <a:lnTo>
                        <a:pt x="244" y="122"/>
                      </a:lnTo>
                      <a:lnTo>
                        <a:pt x="248" y="124"/>
                      </a:lnTo>
                      <a:lnTo>
                        <a:pt x="244" y="132"/>
                      </a:lnTo>
                      <a:lnTo>
                        <a:pt x="229" y="124"/>
                      </a:lnTo>
                      <a:lnTo>
                        <a:pt x="223" y="124"/>
                      </a:lnTo>
                      <a:lnTo>
                        <a:pt x="219" y="120"/>
                      </a:lnTo>
                      <a:lnTo>
                        <a:pt x="215" y="122"/>
                      </a:lnTo>
                      <a:lnTo>
                        <a:pt x="213" y="128"/>
                      </a:lnTo>
                      <a:lnTo>
                        <a:pt x="215" y="137"/>
                      </a:lnTo>
                      <a:lnTo>
                        <a:pt x="212" y="147"/>
                      </a:lnTo>
                      <a:lnTo>
                        <a:pt x="208" y="145"/>
                      </a:lnTo>
                      <a:lnTo>
                        <a:pt x="202" y="141"/>
                      </a:lnTo>
                      <a:lnTo>
                        <a:pt x="200" y="143"/>
                      </a:lnTo>
                      <a:lnTo>
                        <a:pt x="193" y="149"/>
                      </a:lnTo>
                      <a:lnTo>
                        <a:pt x="189" y="162"/>
                      </a:lnTo>
                      <a:lnTo>
                        <a:pt x="187" y="166"/>
                      </a:lnTo>
                      <a:lnTo>
                        <a:pt x="183" y="166"/>
                      </a:lnTo>
                      <a:lnTo>
                        <a:pt x="183" y="170"/>
                      </a:lnTo>
                      <a:lnTo>
                        <a:pt x="187" y="179"/>
                      </a:lnTo>
                      <a:lnTo>
                        <a:pt x="187" y="185"/>
                      </a:lnTo>
                      <a:lnTo>
                        <a:pt x="181" y="191"/>
                      </a:lnTo>
                      <a:lnTo>
                        <a:pt x="175" y="204"/>
                      </a:lnTo>
                      <a:lnTo>
                        <a:pt x="172" y="208"/>
                      </a:lnTo>
                      <a:lnTo>
                        <a:pt x="173" y="216"/>
                      </a:lnTo>
                      <a:lnTo>
                        <a:pt x="166" y="221"/>
                      </a:lnTo>
                      <a:lnTo>
                        <a:pt x="158" y="221"/>
                      </a:lnTo>
                      <a:lnTo>
                        <a:pt x="158" y="235"/>
                      </a:lnTo>
                      <a:lnTo>
                        <a:pt x="158" y="239"/>
                      </a:lnTo>
                      <a:lnTo>
                        <a:pt x="156" y="246"/>
                      </a:lnTo>
                      <a:lnTo>
                        <a:pt x="156" y="254"/>
                      </a:lnTo>
                      <a:lnTo>
                        <a:pt x="154" y="256"/>
                      </a:lnTo>
                      <a:lnTo>
                        <a:pt x="154" y="261"/>
                      </a:lnTo>
                      <a:lnTo>
                        <a:pt x="143" y="282"/>
                      </a:lnTo>
                      <a:lnTo>
                        <a:pt x="147" y="284"/>
                      </a:lnTo>
                      <a:lnTo>
                        <a:pt x="151" y="286"/>
                      </a:lnTo>
                      <a:lnTo>
                        <a:pt x="152" y="296"/>
                      </a:lnTo>
                      <a:lnTo>
                        <a:pt x="149" y="303"/>
                      </a:lnTo>
                      <a:lnTo>
                        <a:pt x="137" y="300"/>
                      </a:lnTo>
                      <a:lnTo>
                        <a:pt x="131" y="302"/>
                      </a:lnTo>
                      <a:lnTo>
                        <a:pt x="128" y="303"/>
                      </a:lnTo>
                      <a:lnTo>
                        <a:pt x="122" y="315"/>
                      </a:lnTo>
                      <a:lnTo>
                        <a:pt x="120" y="317"/>
                      </a:lnTo>
                      <a:lnTo>
                        <a:pt x="120" y="323"/>
                      </a:lnTo>
                      <a:lnTo>
                        <a:pt x="116" y="328"/>
                      </a:lnTo>
                      <a:lnTo>
                        <a:pt x="120" y="338"/>
                      </a:lnTo>
                      <a:lnTo>
                        <a:pt x="118" y="342"/>
                      </a:lnTo>
                      <a:lnTo>
                        <a:pt x="120" y="347"/>
                      </a:lnTo>
                      <a:lnTo>
                        <a:pt x="118" y="351"/>
                      </a:lnTo>
                      <a:lnTo>
                        <a:pt x="122" y="365"/>
                      </a:lnTo>
                      <a:lnTo>
                        <a:pt x="120" y="382"/>
                      </a:lnTo>
                      <a:lnTo>
                        <a:pt x="124" y="387"/>
                      </a:lnTo>
                      <a:lnTo>
                        <a:pt x="126" y="387"/>
                      </a:lnTo>
                      <a:lnTo>
                        <a:pt x="131" y="395"/>
                      </a:lnTo>
                      <a:lnTo>
                        <a:pt x="130" y="401"/>
                      </a:lnTo>
                      <a:lnTo>
                        <a:pt x="128" y="401"/>
                      </a:lnTo>
                      <a:lnTo>
                        <a:pt x="128" y="405"/>
                      </a:lnTo>
                      <a:lnTo>
                        <a:pt x="124" y="405"/>
                      </a:lnTo>
                      <a:lnTo>
                        <a:pt x="120" y="406"/>
                      </a:lnTo>
                      <a:lnTo>
                        <a:pt x="122" y="410"/>
                      </a:lnTo>
                      <a:lnTo>
                        <a:pt x="124" y="416"/>
                      </a:lnTo>
                      <a:lnTo>
                        <a:pt x="126" y="418"/>
                      </a:lnTo>
                      <a:lnTo>
                        <a:pt x="126" y="420"/>
                      </a:lnTo>
                      <a:lnTo>
                        <a:pt x="128" y="422"/>
                      </a:lnTo>
                      <a:lnTo>
                        <a:pt x="128" y="426"/>
                      </a:lnTo>
                      <a:lnTo>
                        <a:pt x="126" y="427"/>
                      </a:lnTo>
                      <a:lnTo>
                        <a:pt x="126" y="433"/>
                      </a:lnTo>
                      <a:lnTo>
                        <a:pt x="126" y="437"/>
                      </a:lnTo>
                      <a:lnTo>
                        <a:pt x="122" y="439"/>
                      </a:lnTo>
                      <a:lnTo>
                        <a:pt x="120" y="443"/>
                      </a:lnTo>
                      <a:lnTo>
                        <a:pt x="118" y="443"/>
                      </a:lnTo>
                      <a:lnTo>
                        <a:pt x="116" y="443"/>
                      </a:lnTo>
                      <a:lnTo>
                        <a:pt x="114" y="445"/>
                      </a:lnTo>
                      <a:lnTo>
                        <a:pt x="116" y="445"/>
                      </a:lnTo>
                      <a:lnTo>
                        <a:pt x="116" y="448"/>
                      </a:lnTo>
                      <a:lnTo>
                        <a:pt x="114" y="450"/>
                      </a:lnTo>
                      <a:lnTo>
                        <a:pt x="112" y="450"/>
                      </a:lnTo>
                      <a:lnTo>
                        <a:pt x="112" y="452"/>
                      </a:lnTo>
                      <a:lnTo>
                        <a:pt x="114" y="460"/>
                      </a:lnTo>
                      <a:lnTo>
                        <a:pt x="114" y="462"/>
                      </a:lnTo>
                      <a:lnTo>
                        <a:pt x="114" y="464"/>
                      </a:lnTo>
                      <a:lnTo>
                        <a:pt x="114" y="468"/>
                      </a:lnTo>
                      <a:lnTo>
                        <a:pt x="112" y="469"/>
                      </a:lnTo>
                      <a:lnTo>
                        <a:pt x="112" y="473"/>
                      </a:lnTo>
                      <a:lnTo>
                        <a:pt x="111" y="473"/>
                      </a:lnTo>
                      <a:lnTo>
                        <a:pt x="109" y="473"/>
                      </a:lnTo>
                      <a:lnTo>
                        <a:pt x="109" y="471"/>
                      </a:lnTo>
                      <a:lnTo>
                        <a:pt x="109" y="469"/>
                      </a:lnTo>
                      <a:lnTo>
                        <a:pt x="109" y="468"/>
                      </a:lnTo>
                      <a:lnTo>
                        <a:pt x="107" y="468"/>
                      </a:lnTo>
                      <a:lnTo>
                        <a:pt x="107" y="466"/>
                      </a:lnTo>
                      <a:lnTo>
                        <a:pt x="107" y="468"/>
                      </a:lnTo>
                      <a:lnTo>
                        <a:pt x="107" y="466"/>
                      </a:lnTo>
                      <a:lnTo>
                        <a:pt x="105" y="468"/>
                      </a:lnTo>
                      <a:lnTo>
                        <a:pt x="105" y="466"/>
                      </a:lnTo>
                      <a:lnTo>
                        <a:pt x="105" y="468"/>
                      </a:lnTo>
                      <a:lnTo>
                        <a:pt x="105" y="466"/>
                      </a:lnTo>
                      <a:lnTo>
                        <a:pt x="105" y="464"/>
                      </a:lnTo>
                      <a:lnTo>
                        <a:pt x="103" y="464"/>
                      </a:lnTo>
                      <a:lnTo>
                        <a:pt x="105" y="466"/>
                      </a:lnTo>
                      <a:lnTo>
                        <a:pt x="103" y="466"/>
                      </a:lnTo>
                      <a:lnTo>
                        <a:pt x="103" y="464"/>
                      </a:lnTo>
                      <a:lnTo>
                        <a:pt x="103" y="466"/>
                      </a:lnTo>
                      <a:lnTo>
                        <a:pt x="101" y="466"/>
                      </a:lnTo>
                      <a:lnTo>
                        <a:pt x="103" y="466"/>
                      </a:lnTo>
                      <a:lnTo>
                        <a:pt x="101" y="466"/>
                      </a:lnTo>
                      <a:lnTo>
                        <a:pt x="101" y="464"/>
                      </a:lnTo>
                      <a:lnTo>
                        <a:pt x="99" y="464"/>
                      </a:lnTo>
                      <a:lnTo>
                        <a:pt x="99" y="466"/>
                      </a:lnTo>
                      <a:lnTo>
                        <a:pt x="99" y="464"/>
                      </a:lnTo>
                      <a:lnTo>
                        <a:pt x="97" y="464"/>
                      </a:lnTo>
                      <a:lnTo>
                        <a:pt x="99" y="464"/>
                      </a:lnTo>
                      <a:lnTo>
                        <a:pt x="97" y="464"/>
                      </a:lnTo>
                      <a:lnTo>
                        <a:pt x="99" y="462"/>
                      </a:lnTo>
                      <a:lnTo>
                        <a:pt x="97" y="464"/>
                      </a:lnTo>
                      <a:lnTo>
                        <a:pt x="97" y="462"/>
                      </a:lnTo>
                      <a:lnTo>
                        <a:pt x="99" y="460"/>
                      </a:lnTo>
                      <a:lnTo>
                        <a:pt x="97" y="460"/>
                      </a:lnTo>
                      <a:lnTo>
                        <a:pt x="95" y="460"/>
                      </a:lnTo>
                      <a:lnTo>
                        <a:pt x="95" y="456"/>
                      </a:lnTo>
                      <a:lnTo>
                        <a:pt x="97" y="456"/>
                      </a:lnTo>
                      <a:lnTo>
                        <a:pt x="97" y="454"/>
                      </a:lnTo>
                      <a:lnTo>
                        <a:pt x="95" y="454"/>
                      </a:lnTo>
                      <a:lnTo>
                        <a:pt x="95" y="452"/>
                      </a:lnTo>
                      <a:lnTo>
                        <a:pt x="95" y="450"/>
                      </a:lnTo>
                      <a:lnTo>
                        <a:pt x="95" y="448"/>
                      </a:lnTo>
                      <a:lnTo>
                        <a:pt x="95" y="447"/>
                      </a:lnTo>
                      <a:lnTo>
                        <a:pt x="95" y="443"/>
                      </a:lnTo>
                      <a:lnTo>
                        <a:pt x="97" y="445"/>
                      </a:lnTo>
                      <a:lnTo>
                        <a:pt x="97" y="448"/>
                      </a:lnTo>
                      <a:lnTo>
                        <a:pt x="97" y="447"/>
                      </a:lnTo>
                      <a:lnTo>
                        <a:pt x="97" y="445"/>
                      </a:lnTo>
                      <a:lnTo>
                        <a:pt x="97" y="443"/>
                      </a:lnTo>
                      <a:lnTo>
                        <a:pt x="97" y="441"/>
                      </a:lnTo>
                      <a:lnTo>
                        <a:pt x="97" y="443"/>
                      </a:lnTo>
                      <a:lnTo>
                        <a:pt x="97" y="441"/>
                      </a:lnTo>
                      <a:lnTo>
                        <a:pt x="95" y="441"/>
                      </a:lnTo>
                      <a:lnTo>
                        <a:pt x="95" y="443"/>
                      </a:lnTo>
                      <a:lnTo>
                        <a:pt x="95" y="441"/>
                      </a:lnTo>
                      <a:lnTo>
                        <a:pt x="93" y="443"/>
                      </a:lnTo>
                      <a:lnTo>
                        <a:pt x="93" y="445"/>
                      </a:lnTo>
                      <a:lnTo>
                        <a:pt x="93" y="447"/>
                      </a:lnTo>
                      <a:lnTo>
                        <a:pt x="93" y="448"/>
                      </a:lnTo>
                      <a:lnTo>
                        <a:pt x="95" y="450"/>
                      </a:lnTo>
                      <a:lnTo>
                        <a:pt x="95" y="452"/>
                      </a:lnTo>
                      <a:lnTo>
                        <a:pt x="93" y="454"/>
                      </a:lnTo>
                      <a:lnTo>
                        <a:pt x="91" y="454"/>
                      </a:lnTo>
                      <a:lnTo>
                        <a:pt x="93" y="450"/>
                      </a:lnTo>
                      <a:lnTo>
                        <a:pt x="91" y="450"/>
                      </a:lnTo>
                      <a:lnTo>
                        <a:pt x="93" y="450"/>
                      </a:lnTo>
                      <a:lnTo>
                        <a:pt x="91" y="448"/>
                      </a:lnTo>
                      <a:lnTo>
                        <a:pt x="90" y="447"/>
                      </a:lnTo>
                      <a:lnTo>
                        <a:pt x="90" y="448"/>
                      </a:lnTo>
                      <a:lnTo>
                        <a:pt x="91" y="448"/>
                      </a:lnTo>
                      <a:lnTo>
                        <a:pt x="91" y="452"/>
                      </a:lnTo>
                      <a:lnTo>
                        <a:pt x="91" y="454"/>
                      </a:lnTo>
                      <a:lnTo>
                        <a:pt x="90" y="452"/>
                      </a:lnTo>
                      <a:lnTo>
                        <a:pt x="91" y="456"/>
                      </a:lnTo>
                      <a:lnTo>
                        <a:pt x="93" y="456"/>
                      </a:lnTo>
                      <a:lnTo>
                        <a:pt x="93" y="458"/>
                      </a:lnTo>
                      <a:lnTo>
                        <a:pt x="93" y="460"/>
                      </a:lnTo>
                      <a:lnTo>
                        <a:pt x="93" y="462"/>
                      </a:lnTo>
                      <a:lnTo>
                        <a:pt x="91" y="462"/>
                      </a:lnTo>
                      <a:lnTo>
                        <a:pt x="91" y="464"/>
                      </a:lnTo>
                      <a:lnTo>
                        <a:pt x="90" y="466"/>
                      </a:lnTo>
                      <a:lnTo>
                        <a:pt x="91" y="466"/>
                      </a:lnTo>
                      <a:lnTo>
                        <a:pt x="90" y="466"/>
                      </a:lnTo>
                      <a:lnTo>
                        <a:pt x="90" y="468"/>
                      </a:lnTo>
                      <a:close/>
                      <a:moveTo>
                        <a:pt x="177" y="103"/>
                      </a:moveTo>
                      <a:lnTo>
                        <a:pt x="177" y="105"/>
                      </a:lnTo>
                      <a:lnTo>
                        <a:pt x="179" y="105"/>
                      </a:lnTo>
                      <a:lnTo>
                        <a:pt x="181" y="107"/>
                      </a:lnTo>
                      <a:lnTo>
                        <a:pt x="179" y="113"/>
                      </a:lnTo>
                      <a:lnTo>
                        <a:pt x="177" y="115"/>
                      </a:lnTo>
                      <a:lnTo>
                        <a:pt x="179" y="115"/>
                      </a:lnTo>
                      <a:lnTo>
                        <a:pt x="181" y="111"/>
                      </a:lnTo>
                      <a:lnTo>
                        <a:pt x="181" y="113"/>
                      </a:lnTo>
                      <a:lnTo>
                        <a:pt x="181" y="115"/>
                      </a:lnTo>
                      <a:lnTo>
                        <a:pt x="179" y="118"/>
                      </a:lnTo>
                      <a:lnTo>
                        <a:pt x="177" y="118"/>
                      </a:lnTo>
                      <a:lnTo>
                        <a:pt x="177" y="122"/>
                      </a:lnTo>
                      <a:lnTo>
                        <a:pt x="179" y="122"/>
                      </a:lnTo>
                      <a:lnTo>
                        <a:pt x="177" y="120"/>
                      </a:lnTo>
                      <a:lnTo>
                        <a:pt x="179" y="118"/>
                      </a:lnTo>
                      <a:lnTo>
                        <a:pt x="181" y="116"/>
                      </a:lnTo>
                      <a:lnTo>
                        <a:pt x="181" y="118"/>
                      </a:lnTo>
                      <a:lnTo>
                        <a:pt x="183" y="118"/>
                      </a:lnTo>
                      <a:lnTo>
                        <a:pt x="183" y="116"/>
                      </a:lnTo>
                      <a:lnTo>
                        <a:pt x="181" y="116"/>
                      </a:lnTo>
                      <a:lnTo>
                        <a:pt x="183" y="115"/>
                      </a:lnTo>
                      <a:lnTo>
                        <a:pt x="185" y="115"/>
                      </a:lnTo>
                      <a:lnTo>
                        <a:pt x="185" y="113"/>
                      </a:lnTo>
                      <a:lnTo>
                        <a:pt x="183" y="113"/>
                      </a:lnTo>
                      <a:lnTo>
                        <a:pt x="183" y="111"/>
                      </a:lnTo>
                      <a:lnTo>
                        <a:pt x="185" y="109"/>
                      </a:lnTo>
                      <a:lnTo>
                        <a:pt x="187" y="111"/>
                      </a:lnTo>
                      <a:lnTo>
                        <a:pt x="187" y="109"/>
                      </a:lnTo>
                      <a:lnTo>
                        <a:pt x="185" y="107"/>
                      </a:lnTo>
                      <a:lnTo>
                        <a:pt x="187" y="107"/>
                      </a:lnTo>
                      <a:lnTo>
                        <a:pt x="189" y="109"/>
                      </a:lnTo>
                      <a:lnTo>
                        <a:pt x="189" y="111"/>
                      </a:lnTo>
                      <a:lnTo>
                        <a:pt x="191" y="111"/>
                      </a:lnTo>
                      <a:lnTo>
                        <a:pt x="189" y="111"/>
                      </a:lnTo>
                      <a:lnTo>
                        <a:pt x="189" y="113"/>
                      </a:lnTo>
                      <a:lnTo>
                        <a:pt x="191" y="111"/>
                      </a:lnTo>
                      <a:lnTo>
                        <a:pt x="191" y="113"/>
                      </a:lnTo>
                      <a:lnTo>
                        <a:pt x="191" y="115"/>
                      </a:lnTo>
                      <a:lnTo>
                        <a:pt x="189" y="115"/>
                      </a:lnTo>
                      <a:lnTo>
                        <a:pt x="191" y="115"/>
                      </a:lnTo>
                      <a:lnTo>
                        <a:pt x="189" y="116"/>
                      </a:lnTo>
                      <a:lnTo>
                        <a:pt x="191" y="116"/>
                      </a:lnTo>
                      <a:lnTo>
                        <a:pt x="191" y="118"/>
                      </a:lnTo>
                      <a:lnTo>
                        <a:pt x="189" y="120"/>
                      </a:lnTo>
                      <a:lnTo>
                        <a:pt x="189" y="122"/>
                      </a:lnTo>
                      <a:lnTo>
                        <a:pt x="187" y="122"/>
                      </a:lnTo>
                      <a:lnTo>
                        <a:pt x="185" y="122"/>
                      </a:lnTo>
                      <a:lnTo>
                        <a:pt x="183" y="124"/>
                      </a:lnTo>
                      <a:lnTo>
                        <a:pt x="183" y="122"/>
                      </a:lnTo>
                      <a:lnTo>
                        <a:pt x="183" y="124"/>
                      </a:lnTo>
                      <a:lnTo>
                        <a:pt x="183" y="126"/>
                      </a:lnTo>
                      <a:lnTo>
                        <a:pt x="181" y="126"/>
                      </a:lnTo>
                      <a:lnTo>
                        <a:pt x="181" y="128"/>
                      </a:lnTo>
                      <a:lnTo>
                        <a:pt x="179" y="130"/>
                      </a:lnTo>
                      <a:lnTo>
                        <a:pt x="179" y="128"/>
                      </a:lnTo>
                      <a:lnTo>
                        <a:pt x="179" y="126"/>
                      </a:lnTo>
                      <a:lnTo>
                        <a:pt x="179" y="124"/>
                      </a:lnTo>
                      <a:lnTo>
                        <a:pt x="179" y="126"/>
                      </a:lnTo>
                      <a:lnTo>
                        <a:pt x="179" y="128"/>
                      </a:lnTo>
                      <a:lnTo>
                        <a:pt x="177" y="126"/>
                      </a:lnTo>
                      <a:lnTo>
                        <a:pt x="177" y="128"/>
                      </a:lnTo>
                      <a:lnTo>
                        <a:pt x="179" y="128"/>
                      </a:lnTo>
                      <a:lnTo>
                        <a:pt x="177" y="128"/>
                      </a:lnTo>
                      <a:lnTo>
                        <a:pt x="177" y="130"/>
                      </a:lnTo>
                      <a:lnTo>
                        <a:pt x="175" y="130"/>
                      </a:lnTo>
                      <a:lnTo>
                        <a:pt x="177" y="130"/>
                      </a:lnTo>
                      <a:lnTo>
                        <a:pt x="177" y="132"/>
                      </a:lnTo>
                      <a:lnTo>
                        <a:pt x="175" y="132"/>
                      </a:lnTo>
                      <a:lnTo>
                        <a:pt x="175" y="134"/>
                      </a:lnTo>
                      <a:lnTo>
                        <a:pt x="175" y="132"/>
                      </a:lnTo>
                      <a:lnTo>
                        <a:pt x="173" y="134"/>
                      </a:lnTo>
                      <a:lnTo>
                        <a:pt x="175" y="132"/>
                      </a:lnTo>
                      <a:lnTo>
                        <a:pt x="173" y="132"/>
                      </a:lnTo>
                      <a:lnTo>
                        <a:pt x="173" y="134"/>
                      </a:lnTo>
                      <a:lnTo>
                        <a:pt x="173" y="132"/>
                      </a:lnTo>
                      <a:lnTo>
                        <a:pt x="175" y="132"/>
                      </a:lnTo>
                      <a:lnTo>
                        <a:pt x="173" y="132"/>
                      </a:lnTo>
                      <a:lnTo>
                        <a:pt x="173" y="130"/>
                      </a:lnTo>
                      <a:lnTo>
                        <a:pt x="173" y="132"/>
                      </a:lnTo>
                      <a:lnTo>
                        <a:pt x="172" y="132"/>
                      </a:lnTo>
                      <a:lnTo>
                        <a:pt x="172" y="130"/>
                      </a:lnTo>
                      <a:lnTo>
                        <a:pt x="172" y="132"/>
                      </a:lnTo>
                      <a:lnTo>
                        <a:pt x="170" y="132"/>
                      </a:lnTo>
                      <a:lnTo>
                        <a:pt x="172" y="130"/>
                      </a:lnTo>
                      <a:lnTo>
                        <a:pt x="172" y="132"/>
                      </a:lnTo>
                      <a:lnTo>
                        <a:pt x="172" y="130"/>
                      </a:lnTo>
                      <a:lnTo>
                        <a:pt x="173" y="128"/>
                      </a:lnTo>
                      <a:lnTo>
                        <a:pt x="173" y="126"/>
                      </a:lnTo>
                      <a:lnTo>
                        <a:pt x="175" y="126"/>
                      </a:lnTo>
                      <a:lnTo>
                        <a:pt x="173" y="124"/>
                      </a:lnTo>
                      <a:lnTo>
                        <a:pt x="172" y="128"/>
                      </a:lnTo>
                      <a:lnTo>
                        <a:pt x="170" y="130"/>
                      </a:lnTo>
                      <a:lnTo>
                        <a:pt x="168" y="130"/>
                      </a:lnTo>
                      <a:lnTo>
                        <a:pt x="170" y="130"/>
                      </a:lnTo>
                      <a:lnTo>
                        <a:pt x="168" y="132"/>
                      </a:lnTo>
                      <a:lnTo>
                        <a:pt x="168" y="134"/>
                      </a:lnTo>
                      <a:lnTo>
                        <a:pt x="166" y="134"/>
                      </a:lnTo>
                      <a:lnTo>
                        <a:pt x="164" y="132"/>
                      </a:lnTo>
                      <a:lnTo>
                        <a:pt x="166" y="132"/>
                      </a:lnTo>
                      <a:lnTo>
                        <a:pt x="166" y="130"/>
                      </a:lnTo>
                      <a:lnTo>
                        <a:pt x="168" y="130"/>
                      </a:lnTo>
                      <a:lnTo>
                        <a:pt x="168" y="128"/>
                      </a:lnTo>
                      <a:lnTo>
                        <a:pt x="168" y="126"/>
                      </a:lnTo>
                      <a:lnTo>
                        <a:pt x="170" y="126"/>
                      </a:lnTo>
                      <a:lnTo>
                        <a:pt x="172" y="126"/>
                      </a:lnTo>
                      <a:lnTo>
                        <a:pt x="170" y="126"/>
                      </a:lnTo>
                      <a:lnTo>
                        <a:pt x="170" y="124"/>
                      </a:lnTo>
                      <a:lnTo>
                        <a:pt x="168" y="124"/>
                      </a:lnTo>
                      <a:lnTo>
                        <a:pt x="170" y="124"/>
                      </a:lnTo>
                      <a:lnTo>
                        <a:pt x="172" y="124"/>
                      </a:lnTo>
                      <a:lnTo>
                        <a:pt x="170" y="124"/>
                      </a:lnTo>
                      <a:lnTo>
                        <a:pt x="168" y="122"/>
                      </a:lnTo>
                      <a:lnTo>
                        <a:pt x="170" y="122"/>
                      </a:lnTo>
                      <a:lnTo>
                        <a:pt x="170" y="120"/>
                      </a:lnTo>
                      <a:lnTo>
                        <a:pt x="172" y="120"/>
                      </a:lnTo>
                      <a:lnTo>
                        <a:pt x="173" y="120"/>
                      </a:lnTo>
                      <a:lnTo>
                        <a:pt x="172" y="118"/>
                      </a:lnTo>
                      <a:lnTo>
                        <a:pt x="173" y="118"/>
                      </a:lnTo>
                      <a:lnTo>
                        <a:pt x="173" y="120"/>
                      </a:lnTo>
                      <a:lnTo>
                        <a:pt x="175" y="120"/>
                      </a:lnTo>
                      <a:lnTo>
                        <a:pt x="172" y="118"/>
                      </a:lnTo>
                      <a:lnTo>
                        <a:pt x="172" y="115"/>
                      </a:lnTo>
                      <a:lnTo>
                        <a:pt x="173" y="115"/>
                      </a:lnTo>
                      <a:lnTo>
                        <a:pt x="175" y="115"/>
                      </a:lnTo>
                      <a:lnTo>
                        <a:pt x="175" y="116"/>
                      </a:lnTo>
                      <a:lnTo>
                        <a:pt x="177" y="116"/>
                      </a:lnTo>
                      <a:lnTo>
                        <a:pt x="175" y="115"/>
                      </a:lnTo>
                      <a:lnTo>
                        <a:pt x="173" y="115"/>
                      </a:lnTo>
                      <a:lnTo>
                        <a:pt x="172" y="113"/>
                      </a:lnTo>
                      <a:lnTo>
                        <a:pt x="173" y="113"/>
                      </a:lnTo>
                      <a:lnTo>
                        <a:pt x="172" y="111"/>
                      </a:lnTo>
                      <a:lnTo>
                        <a:pt x="173" y="111"/>
                      </a:lnTo>
                      <a:lnTo>
                        <a:pt x="175" y="111"/>
                      </a:lnTo>
                      <a:lnTo>
                        <a:pt x="173" y="109"/>
                      </a:lnTo>
                      <a:lnTo>
                        <a:pt x="173" y="107"/>
                      </a:lnTo>
                      <a:lnTo>
                        <a:pt x="175" y="107"/>
                      </a:lnTo>
                      <a:lnTo>
                        <a:pt x="175" y="105"/>
                      </a:lnTo>
                      <a:lnTo>
                        <a:pt x="177" y="103"/>
                      </a:lnTo>
                      <a:close/>
                      <a:moveTo>
                        <a:pt x="204" y="76"/>
                      </a:moveTo>
                      <a:lnTo>
                        <a:pt x="206" y="76"/>
                      </a:lnTo>
                      <a:lnTo>
                        <a:pt x="208" y="80"/>
                      </a:lnTo>
                      <a:lnTo>
                        <a:pt x="208" y="78"/>
                      </a:lnTo>
                      <a:lnTo>
                        <a:pt x="206" y="76"/>
                      </a:lnTo>
                      <a:lnTo>
                        <a:pt x="208" y="76"/>
                      </a:lnTo>
                      <a:lnTo>
                        <a:pt x="210" y="78"/>
                      </a:lnTo>
                      <a:lnTo>
                        <a:pt x="210" y="76"/>
                      </a:lnTo>
                      <a:lnTo>
                        <a:pt x="212" y="76"/>
                      </a:lnTo>
                      <a:lnTo>
                        <a:pt x="212" y="80"/>
                      </a:lnTo>
                      <a:lnTo>
                        <a:pt x="210" y="80"/>
                      </a:lnTo>
                      <a:lnTo>
                        <a:pt x="210" y="82"/>
                      </a:lnTo>
                      <a:lnTo>
                        <a:pt x="212" y="82"/>
                      </a:lnTo>
                      <a:lnTo>
                        <a:pt x="212" y="80"/>
                      </a:lnTo>
                      <a:lnTo>
                        <a:pt x="212" y="78"/>
                      </a:lnTo>
                      <a:lnTo>
                        <a:pt x="213" y="80"/>
                      </a:lnTo>
                      <a:lnTo>
                        <a:pt x="213" y="82"/>
                      </a:lnTo>
                      <a:lnTo>
                        <a:pt x="212" y="84"/>
                      </a:lnTo>
                      <a:lnTo>
                        <a:pt x="213" y="84"/>
                      </a:lnTo>
                      <a:lnTo>
                        <a:pt x="213" y="82"/>
                      </a:lnTo>
                      <a:lnTo>
                        <a:pt x="213" y="84"/>
                      </a:lnTo>
                      <a:lnTo>
                        <a:pt x="213" y="86"/>
                      </a:lnTo>
                      <a:lnTo>
                        <a:pt x="212" y="88"/>
                      </a:lnTo>
                      <a:lnTo>
                        <a:pt x="212" y="90"/>
                      </a:lnTo>
                      <a:lnTo>
                        <a:pt x="212" y="92"/>
                      </a:lnTo>
                      <a:lnTo>
                        <a:pt x="210" y="92"/>
                      </a:lnTo>
                      <a:lnTo>
                        <a:pt x="212" y="94"/>
                      </a:lnTo>
                      <a:lnTo>
                        <a:pt x="213" y="94"/>
                      </a:lnTo>
                      <a:lnTo>
                        <a:pt x="210" y="95"/>
                      </a:lnTo>
                      <a:lnTo>
                        <a:pt x="208" y="95"/>
                      </a:lnTo>
                      <a:lnTo>
                        <a:pt x="206" y="95"/>
                      </a:lnTo>
                      <a:lnTo>
                        <a:pt x="204" y="95"/>
                      </a:lnTo>
                      <a:lnTo>
                        <a:pt x="206" y="95"/>
                      </a:lnTo>
                      <a:lnTo>
                        <a:pt x="204" y="95"/>
                      </a:lnTo>
                      <a:lnTo>
                        <a:pt x="206" y="94"/>
                      </a:lnTo>
                      <a:lnTo>
                        <a:pt x="204" y="94"/>
                      </a:lnTo>
                      <a:lnTo>
                        <a:pt x="202" y="95"/>
                      </a:lnTo>
                      <a:lnTo>
                        <a:pt x="202" y="97"/>
                      </a:lnTo>
                      <a:lnTo>
                        <a:pt x="200" y="99"/>
                      </a:lnTo>
                      <a:lnTo>
                        <a:pt x="200" y="101"/>
                      </a:lnTo>
                      <a:lnTo>
                        <a:pt x="198" y="103"/>
                      </a:lnTo>
                      <a:lnTo>
                        <a:pt x="198" y="101"/>
                      </a:lnTo>
                      <a:lnTo>
                        <a:pt x="198" y="99"/>
                      </a:lnTo>
                      <a:lnTo>
                        <a:pt x="200" y="99"/>
                      </a:lnTo>
                      <a:lnTo>
                        <a:pt x="198" y="99"/>
                      </a:lnTo>
                      <a:lnTo>
                        <a:pt x="196" y="99"/>
                      </a:lnTo>
                      <a:lnTo>
                        <a:pt x="194" y="101"/>
                      </a:lnTo>
                      <a:lnTo>
                        <a:pt x="193" y="99"/>
                      </a:lnTo>
                      <a:lnTo>
                        <a:pt x="194" y="99"/>
                      </a:lnTo>
                      <a:lnTo>
                        <a:pt x="193" y="99"/>
                      </a:lnTo>
                      <a:lnTo>
                        <a:pt x="193" y="97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6" y="95"/>
                      </a:lnTo>
                      <a:lnTo>
                        <a:pt x="196" y="97"/>
                      </a:lnTo>
                      <a:lnTo>
                        <a:pt x="198" y="95"/>
                      </a:lnTo>
                      <a:lnTo>
                        <a:pt x="200" y="94"/>
                      </a:lnTo>
                      <a:lnTo>
                        <a:pt x="198" y="95"/>
                      </a:lnTo>
                      <a:lnTo>
                        <a:pt x="194" y="94"/>
                      </a:lnTo>
                      <a:lnTo>
                        <a:pt x="196" y="94"/>
                      </a:lnTo>
                      <a:lnTo>
                        <a:pt x="194" y="94"/>
                      </a:lnTo>
                      <a:lnTo>
                        <a:pt x="196" y="92"/>
                      </a:lnTo>
                      <a:lnTo>
                        <a:pt x="198" y="92"/>
                      </a:lnTo>
                      <a:lnTo>
                        <a:pt x="200" y="92"/>
                      </a:lnTo>
                      <a:lnTo>
                        <a:pt x="198" y="92"/>
                      </a:lnTo>
                      <a:lnTo>
                        <a:pt x="200" y="90"/>
                      </a:lnTo>
                      <a:lnTo>
                        <a:pt x="198" y="92"/>
                      </a:lnTo>
                      <a:lnTo>
                        <a:pt x="196" y="90"/>
                      </a:lnTo>
                      <a:lnTo>
                        <a:pt x="198" y="90"/>
                      </a:lnTo>
                      <a:lnTo>
                        <a:pt x="196" y="90"/>
                      </a:lnTo>
                      <a:lnTo>
                        <a:pt x="194" y="88"/>
                      </a:lnTo>
                      <a:lnTo>
                        <a:pt x="198" y="88"/>
                      </a:lnTo>
                      <a:lnTo>
                        <a:pt x="198" y="90"/>
                      </a:lnTo>
                      <a:lnTo>
                        <a:pt x="198" y="88"/>
                      </a:lnTo>
                      <a:lnTo>
                        <a:pt x="200" y="88"/>
                      </a:lnTo>
                      <a:lnTo>
                        <a:pt x="198" y="88"/>
                      </a:lnTo>
                      <a:lnTo>
                        <a:pt x="196" y="86"/>
                      </a:lnTo>
                      <a:lnTo>
                        <a:pt x="200" y="86"/>
                      </a:lnTo>
                      <a:lnTo>
                        <a:pt x="198" y="86"/>
                      </a:lnTo>
                      <a:lnTo>
                        <a:pt x="194" y="86"/>
                      </a:lnTo>
                      <a:lnTo>
                        <a:pt x="196" y="86"/>
                      </a:lnTo>
                      <a:lnTo>
                        <a:pt x="196" y="84"/>
                      </a:lnTo>
                      <a:lnTo>
                        <a:pt x="196" y="86"/>
                      </a:lnTo>
                      <a:lnTo>
                        <a:pt x="198" y="84"/>
                      </a:lnTo>
                      <a:lnTo>
                        <a:pt x="198" y="86"/>
                      </a:lnTo>
                      <a:lnTo>
                        <a:pt x="198" y="84"/>
                      </a:lnTo>
                      <a:lnTo>
                        <a:pt x="200" y="84"/>
                      </a:lnTo>
                      <a:lnTo>
                        <a:pt x="204" y="86"/>
                      </a:lnTo>
                      <a:lnTo>
                        <a:pt x="202" y="84"/>
                      </a:lnTo>
                      <a:lnTo>
                        <a:pt x="204" y="84"/>
                      </a:lnTo>
                      <a:lnTo>
                        <a:pt x="202" y="82"/>
                      </a:lnTo>
                      <a:lnTo>
                        <a:pt x="200" y="80"/>
                      </a:lnTo>
                      <a:lnTo>
                        <a:pt x="202" y="82"/>
                      </a:lnTo>
                      <a:lnTo>
                        <a:pt x="202" y="80"/>
                      </a:lnTo>
                      <a:lnTo>
                        <a:pt x="204" y="80"/>
                      </a:lnTo>
                      <a:lnTo>
                        <a:pt x="202" y="78"/>
                      </a:lnTo>
                      <a:lnTo>
                        <a:pt x="204" y="80"/>
                      </a:lnTo>
                      <a:lnTo>
                        <a:pt x="206" y="80"/>
                      </a:lnTo>
                      <a:lnTo>
                        <a:pt x="206" y="82"/>
                      </a:lnTo>
                      <a:lnTo>
                        <a:pt x="208" y="82"/>
                      </a:lnTo>
                      <a:lnTo>
                        <a:pt x="204" y="78"/>
                      </a:lnTo>
                      <a:lnTo>
                        <a:pt x="204" y="76"/>
                      </a:lnTo>
                      <a:close/>
                      <a:moveTo>
                        <a:pt x="297" y="15"/>
                      </a:moveTo>
                      <a:lnTo>
                        <a:pt x="299" y="17"/>
                      </a:lnTo>
                      <a:lnTo>
                        <a:pt x="297" y="17"/>
                      </a:lnTo>
                      <a:lnTo>
                        <a:pt x="299" y="17"/>
                      </a:lnTo>
                      <a:lnTo>
                        <a:pt x="299" y="19"/>
                      </a:lnTo>
                      <a:lnTo>
                        <a:pt x="301" y="19"/>
                      </a:lnTo>
                      <a:lnTo>
                        <a:pt x="299" y="19"/>
                      </a:lnTo>
                      <a:lnTo>
                        <a:pt x="297" y="19"/>
                      </a:lnTo>
                      <a:lnTo>
                        <a:pt x="299" y="21"/>
                      </a:lnTo>
                      <a:lnTo>
                        <a:pt x="297" y="23"/>
                      </a:lnTo>
                      <a:lnTo>
                        <a:pt x="297" y="21"/>
                      </a:lnTo>
                      <a:lnTo>
                        <a:pt x="297" y="23"/>
                      </a:lnTo>
                      <a:lnTo>
                        <a:pt x="295" y="25"/>
                      </a:lnTo>
                      <a:lnTo>
                        <a:pt x="294" y="25"/>
                      </a:lnTo>
                      <a:lnTo>
                        <a:pt x="295" y="25"/>
                      </a:lnTo>
                      <a:lnTo>
                        <a:pt x="294" y="27"/>
                      </a:lnTo>
                      <a:lnTo>
                        <a:pt x="295" y="27"/>
                      </a:lnTo>
                      <a:lnTo>
                        <a:pt x="294" y="27"/>
                      </a:lnTo>
                      <a:lnTo>
                        <a:pt x="294" y="29"/>
                      </a:lnTo>
                      <a:lnTo>
                        <a:pt x="294" y="31"/>
                      </a:lnTo>
                      <a:lnTo>
                        <a:pt x="292" y="29"/>
                      </a:lnTo>
                      <a:lnTo>
                        <a:pt x="292" y="31"/>
                      </a:lnTo>
                      <a:lnTo>
                        <a:pt x="290" y="31"/>
                      </a:lnTo>
                      <a:lnTo>
                        <a:pt x="292" y="31"/>
                      </a:lnTo>
                      <a:lnTo>
                        <a:pt x="292" y="33"/>
                      </a:lnTo>
                      <a:lnTo>
                        <a:pt x="290" y="33"/>
                      </a:lnTo>
                      <a:lnTo>
                        <a:pt x="288" y="33"/>
                      </a:lnTo>
                      <a:lnTo>
                        <a:pt x="288" y="31"/>
                      </a:lnTo>
                      <a:lnTo>
                        <a:pt x="288" y="34"/>
                      </a:lnTo>
                      <a:lnTo>
                        <a:pt x="288" y="33"/>
                      </a:lnTo>
                      <a:lnTo>
                        <a:pt x="288" y="31"/>
                      </a:lnTo>
                      <a:lnTo>
                        <a:pt x="286" y="31"/>
                      </a:lnTo>
                      <a:lnTo>
                        <a:pt x="286" y="33"/>
                      </a:lnTo>
                      <a:lnTo>
                        <a:pt x="286" y="31"/>
                      </a:lnTo>
                      <a:lnTo>
                        <a:pt x="286" y="33"/>
                      </a:lnTo>
                      <a:lnTo>
                        <a:pt x="286" y="34"/>
                      </a:lnTo>
                      <a:lnTo>
                        <a:pt x="284" y="33"/>
                      </a:lnTo>
                      <a:lnTo>
                        <a:pt x="284" y="34"/>
                      </a:lnTo>
                      <a:lnTo>
                        <a:pt x="284" y="33"/>
                      </a:lnTo>
                      <a:lnTo>
                        <a:pt x="284" y="34"/>
                      </a:lnTo>
                      <a:lnTo>
                        <a:pt x="282" y="34"/>
                      </a:lnTo>
                      <a:lnTo>
                        <a:pt x="282" y="33"/>
                      </a:lnTo>
                      <a:lnTo>
                        <a:pt x="282" y="34"/>
                      </a:lnTo>
                      <a:lnTo>
                        <a:pt x="280" y="34"/>
                      </a:lnTo>
                      <a:lnTo>
                        <a:pt x="280" y="33"/>
                      </a:lnTo>
                      <a:lnTo>
                        <a:pt x="280" y="34"/>
                      </a:lnTo>
                      <a:lnTo>
                        <a:pt x="278" y="34"/>
                      </a:lnTo>
                      <a:lnTo>
                        <a:pt x="278" y="33"/>
                      </a:lnTo>
                      <a:lnTo>
                        <a:pt x="280" y="31"/>
                      </a:lnTo>
                      <a:lnTo>
                        <a:pt x="280" y="29"/>
                      </a:lnTo>
                      <a:lnTo>
                        <a:pt x="282" y="29"/>
                      </a:lnTo>
                      <a:lnTo>
                        <a:pt x="278" y="29"/>
                      </a:lnTo>
                      <a:lnTo>
                        <a:pt x="278" y="31"/>
                      </a:lnTo>
                      <a:lnTo>
                        <a:pt x="276" y="29"/>
                      </a:lnTo>
                      <a:lnTo>
                        <a:pt x="276" y="31"/>
                      </a:lnTo>
                      <a:lnTo>
                        <a:pt x="276" y="29"/>
                      </a:lnTo>
                      <a:lnTo>
                        <a:pt x="276" y="27"/>
                      </a:lnTo>
                      <a:lnTo>
                        <a:pt x="275" y="27"/>
                      </a:lnTo>
                      <a:lnTo>
                        <a:pt x="276" y="27"/>
                      </a:lnTo>
                      <a:lnTo>
                        <a:pt x="276" y="25"/>
                      </a:lnTo>
                      <a:lnTo>
                        <a:pt x="276" y="27"/>
                      </a:lnTo>
                      <a:lnTo>
                        <a:pt x="278" y="27"/>
                      </a:lnTo>
                      <a:lnTo>
                        <a:pt x="280" y="27"/>
                      </a:lnTo>
                      <a:lnTo>
                        <a:pt x="280" y="25"/>
                      </a:lnTo>
                      <a:lnTo>
                        <a:pt x="282" y="27"/>
                      </a:lnTo>
                      <a:lnTo>
                        <a:pt x="282" y="25"/>
                      </a:lnTo>
                      <a:lnTo>
                        <a:pt x="282" y="23"/>
                      </a:lnTo>
                      <a:lnTo>
                        <a:pt x="282" y="25"/>
                      </a:lnTo>
                      <a:lnTo>
                        <a:pt x="284" y="25"/>
                      </a:lnTo>
                      <a:lnTo>
                        <a:pt x="284" y="23"/>
                      </a:lnTo>
                      <a:lnTo>
                        <a:pt x="286" y="25"/>
                      </a:lnTo>
                      <a:lnTo>
                        <a:pt x="286" y="27"/>
                      </a:lnTo>
                      <a:lnTo>
                        <a:pt x="288" y="27"/>
                      </a:lnTo>
                      <a:lnTo>
                        <a:pt x="288" y="29"/>
                      </a:lnTo>
                      <a:lnTo>
                        <a:pt x="288" y="27"/>
                      </a:lnTo>
                      <a:lnTo>
                        <a:pt x="290" y="27"/>
                      </a:lnTo>
                      <a:lnTo>
                        <a:pt x="288" y="25"/>
                      </a:lnTo>
                      <a:lnTo>
                        <a:pt x="290" y="23"/>
                      </a:lnTo>
                      <a:lnTo>
                        <a:pt x="288" y="25"/>
                      </a:lnTo>
                      <a:lnTo>
                        <a:pt x="288" y="23"/>
                      </a:lnTo>
                      <a:lnTo>
                        <a:pt x="288" y="21"/>
                      </a:lnTo>
                      <a:lnTo>
                        <a:pt x="290" y="21"/>
                      </a:lnTo>
                      <a:lnTo>
                        <a:pt x="288" y="21"/>
                      </a:lnTo>
                      <a:lnTo>
                        <a:pt x="290" y="23"/>
                      </a:lnTo>
                      <a:lnTo>
                        <a:pt x="290" y="21"/>
                      </a:lnTo>
                      <a:lnTo>
                        <a:pt x="290" y="23"/>
                      </a:lnTo>
                      <a:lnTo>
                        <a:pt x="292" y="23"/>
                      </a:lnTo>
                      <a:lnTo>
                        <a:pt x="290" y="25"/>
                      </a:lnTo>
                      <a:lnTo>
                        <a:pt x="292" y="25"/>
                      </a:lnTo>
                      <a:lnTo>
                        <a:pt x="292" y="27"/>
                      </a:lnTo>
                      <a:lnTo>
                        <a:pt x="292" y="25"/>
                      </a:lnTo>
                      <a:lnTo>
                        <a:pt x="294" y="25"/>
                      </a:lnTo>
                      <a:lnTo>
                        <a:pt x="294" y="23"/>
                      </a:lnTo>
                      <a:lnTo>
                        <a:pt x="295" y="23"/>
                      </a:lnTo>
                      <a:lnTo>
                        <a:pt x="294" y="21"/>
                      </a:lnTo>
                      <a:lnTo>
                        <a:pt x="292" y="19"/>
                      </a:lnTo>
                      <a:lnTo>
                        <a:pt x="294" y="19"/>
                      </a:lnTo>
                      <a:lnTo>
                        <a:pt x="295" y="19"/>
                      </a:lnTo>
                      <a:lnTo>
                        <a:pt x="295" y="17"/>
                      </a:lnTo>
                      <a:lnTo>
                        <a:pt x="297" y="21"/>
                      </a:lnTo>
                      <a:lnTo>
                        <a:pt x="297" y="19"/>
                      </a:lnTo>
                      <a:lnTo>
                        <a:pt x="297" y="17"/>
                      </a:lnTo>
                      <a:lnTo>
                        <a:pt x="297" y="15"/>
                      </a:lnTo>
                      <a:close/>
                      <a:moveTo>
                        <a:pt x="168" y="101"/>
                      </a:moveTo>
                      <a:lnTo>
                        <a:pt x="168" y="103"/>
                      </a:lnTo>
                      <a:lnTo>
                        <a:pt x="166" y="105"/>
                      </a:lnTo>
                      <a:lnTo>
                        <a:pt x="168" y="105"/>
                      </a:lnTo>
                      <a:lnTo>
                        <a:pt x="170" y="105"/>
                      </a:lnTo>
                      <a:lnTo>
                        <a:pt x="168" y="105"/>
                      </a:lnTo>
                      <a:lnTo>
                        <a:pt x="170" y="107"/>
                      </a:lnTo>
                      <a:lnTo>
                        <a:pt x="170" y="109"/>
                      </a:lnTo>
                      <a:lnTo>
                        <a:pt x="170" y="111"/>
                      </a:lnTo>
                      <a:lnTo>
                        <a:pt x="170" y="109"/>
                      </a:lnTo>
                      <a:lnTo>
                        <a:pt x="172" y="109"/>
                      </a:lnTo>
                      <a:lnTo>
                        <a:pt x="172" y="111"/>
                      </a:lnTo>
                      <a:lnTo>
                        <a:pt x="170" y="111"/>
                      </a:lnTo>
                      <a:lnTo>
                        <a:pt x="170" y="113"/>
                      </a:lnTo>
                      <a:lnTo>
                        <a:pt x="172" y="115"/>
                      </a:lnTo>
                      <a:lnTo>
                        <a:pt x="172" y="116"/>
                      </a:lnTo>
                      <a:lnTo>
                        <a:pt x="168" y="120"/>
                      </a:lnTo>
                      <a:lnTo>
                        <a:pt x="166" y="120"/>
                      </a:lnTo>
                      <a:lnTo>
                        <a:pt x="162" y="120"/>
                      </a:lnTo>
                      <a:lnTo>
                        <a:pt x="164" y="120"/>
                      </a:lnTo>
                      <a:lnTo>
                        <a:pt x="162" y="120"/>
                      </a:lnTo>
                      <a:lnTo>
                        <a:pt x="162" y="118"/>
                      </a:lnTo>
                      <a:lnTo>
                        <a:pt x="164" y="118"/>
                      </a:lnTo>
                      <a:lnTo>
                        <a:pt x="164" y="116"/>
                      </a:lnTo>
                      <a:lnTo>
                        <a:pt x="164" y="118"/>
                      </a:lnTo>
                      <a:lnTo>
                        <a:pt x="164" y="116"/>
                      </a:lnTo>
                      <a:lnTo>
                        <a:pt x="166" y="116"/>
                      </a:lnTo>
                      <a:lnTo>
                        <a:pt x="166" y="115"/>
                      </a:lnTo>
                      <a:lnTo>
                        <a:pt x="168" y="116"/>
                      </a:lnTo>
                      <a:lnTo>
                        <a:pt x="168" y="115"/>
                      </a:lnTo>
                      <a:lnTo>
                        <a:pt x="168" y="113"/>
                      </a:lnTo>
                      <a:lnTo>
                        <a:pt x="166" y="113"/>
                      </a:lnTo>
                      <a:lnTo>
                        <a:pt x="166" y="115"/>
                      </a:lnTo>
                      <a:lnTo>
                        <a:pt x="166" y="116"/>
                      </a:lnTo>
                      <a:lnTo>
                        <a:pt x="164" y="115"/>
                      </a:lnTo>
                      <a:lnTo>
                        <a:pt x="164" y="116"/>
                      </a:lnTo>
                      <a:lnTo>
                        <a:pt x="164" y="115"/>
                      </a:lnTo>
                      <a:lnTo>
                        <a:pt x="164" y="116"/>
                      </a:lnTo>
                      <a:lnTo>
                        <a:pt x="162" y="116"/>
                      </a:lnTo>
                      <a:lnTo>
                        <a:pt x="162" y="118"/>
                      </a:lnTo>
                      <a:lnTo>
                        <a:pt x="162" y="116"/>
                      </a:lnTo>
                      <a:lnTo>
                        <a:pt x="162" y="115"/>
                      </a:lnTo>
                      <a:lnTo>
                        <a:pt x="162" y="116"/>
                      </a:lnTo>
                      <a:lnTo>
                        <a:pt x="162" y="115"/>
                      </a:lnTo>
                      <a:lnTo>
                        <a:pt x="162" y="116"/>
                      </a:lnTo>
                      <a:lnTo>
                        <a:pt x="162" y="118"/>
                      </a:lnTo>
                      <a:lnTo>
                        <a:pt x="160" y="118"/>
                      </a:lnTo>
                      <a:lnTo>
                        <a:pt x="160" y="116"/>
                      </a:lnTo>
                      <a:lnTo>
                        <a:pt x="160" y="115"/>
                      </a:lnTo>
                      <a:lnTo>
                        <a:pt x="160" y="116"/>
                      </a:lnTo>
                      <a:lnTo>
                        <a:pt x="160" y="118"/>
                      </a:lnTo>
                      <a:lnTo>
                        <a:pt x="158" y="118"/>
                      </a:lnTo>
                      <a:lnTo>
                        <a:pt x="160" y="118"/>
                      </a:lnTo>
                      <a:lnTo>
                        <a:pt x="158" y="120"/>
                      </a:lnTo>
                      <a:lnTo>
                        <a:pt x="158" y="118"/>
                      </a:lnTo>
                      <a:lnTo>
                        <a:pt x="158" y="120"/>
                      </a:lnTo>
                      <a:lnTo>
                        <a:pt x="158" y="118"/>
                      </a:lnTo>
                      <a:lnTo>
                        <a:pt x="158" y="120"/>
                      </a:lnTo>
                      <a:lnTo>
                        <a:pt x="156" y="120"/>
                      </a:lnTo>
                      <a:lnTo>
                        <a:pt x="156" y="118"/>
                      </a:lnTo>
                      <a:lnTo>
                        <a:pt x="156" y="116"/>
                      </a:lnTo>
                      <a:lnTo>
                        <a:pt x="156" y="118"/>
                      </a:lnTo>
                      <a:lnTo>
                        <a:pt x="156" y="116"/>
                      </a:lnTo>
                      <a:lnTo>
                        <a:pt x="154" y="116"/>
                      </a:lnTo>
                      <a:lnTo>
                        <a:pt x="156" y="116"/>
                      </a:lnTo>
                      <a:lnTo>
                        <a:pt x="156" y="115"/>
                      </a:lnTo>
                      <a:lnTo>
                        <a:pt x="158" y="115"/>
                      </a:lnTo>
                      <a:lnTo>
                        <a:pt x="156" y="115"/>
                      </a:lnTo>
                      <a:lnTo>
                        <a:pt x="156" y="113"/>
                      </a:lnTo>
                      <a:lnTo>
                        <a:pt x="158" y="113"/>
                      </a:lnTo>
                      <a:lnTo>
                        <a:pt x="158" y="111"/>
                      </a:lnTo>
                      <a:lnTo>
                        <a:pt x="158" y="115"/>
                      </a:lnTo>
                      <a:lnTo>
                        <a:pt x="160" y="115"/>
                      </a:lnTo>
                      <a:lnTo>
                        <a:pt x="158" y="113"/>
                      </a:lnTo>
                      <a:lnTo>
                        <a:pt x="160" y="113"/>
                      </a:lnTo>
                      <a:lnTo>
                        <a:pt x="158" y="111"/>
                      </a:lnTo>
                      <a:lnTo>
                        <a:pt x="160" y="111"/>
                      </a:lnTo>
                      <a:lnTo>
                        <a:pt x="160" y="113"/>
                      </a:lnTo>
                      <a:lnTo>
                        <a:pt x="160" y="115"/>
                      </a:lnTo>
                      <a:lnTo>
                        <a:pt x="162" y="113"/>
                      </a:lnTo>
                      <a:lnTo>
                        <a:pt x="164" y="113"/>
                      </a:lnTo>
                      <a:lnTo>
                        <a:pt x="162" y="113"/>
                      </a:lnTo>
                      <a:lnTo>
                        <a:pt x="164" y="113"/>
                      </a:lnTo>
                      <a:lnTo>
                        <a:pt x="164" y="115"/>
                      </a:lnTo>
                      <a:lnTo>
                        <a:pt x="164" y="113"/>
                      </a:lnTo>
                      <a:lnTo>
                        <a:pt x="166" y="113"/>
                      </a:lnTo>
                      <a:lnTo>
                        <a:pt x="164" y="111"/>
                      </a:lnTo>
                      <a:lnTo>
                        <a:pt x="164" y="109"/>
                      </a:lnTo>
                      <a:lnTo>
                        <a:pt x="166" y="109"/>
                      </a:lnTo>
                      <a:lnTo>
                        <a:pt x="166" y="113"/>
                      </a:lnTo>
                      <a:lnTo>
                        <a:pt x="166" y="109"/>
                      </a:lnTo>
                      <a:lnTo>
                        <a:pt x="168" y="109"/>
                      </a:lnTo>
                      <a:lnTo>
                        <a:pt x="168" y="111"/>
                      </a:lnTo>
                      <a:lnTo>
                        <a:pt x="168" y="109"/>
                      </a:lnTo>
                      <a:lnTo>
                        <a:pt x="166" y="109"/>
                      </a:lnTo>
                      <a:lnTo>
                        <a:pt x="166" y="107"/>
                      </a:lnTo>
                      <a:lnTo>
                        <a:pt x="166" y="105"/>
                      </a:lnTo>
                      <a:lnTo>
                        <a:pt x="166" y="103"/>
                      </a:lnTo>
                      <a:lnTo>
                        <a:pt x="168" y="101"/>
                      </a:lnTo>
                      <a:close/>
                      <a:moveTo>
                        <a:pt x="225" y="63"/>
                      </a:moveTo>
                      <a:lnTo>
                        <a:pt x="227" y="63"/>
                      </a:lnTo>
                      <a:lnTo>
                        <a:pt x="225" y="65"/>
                      </a:lnTo>
                      <a:lnTo>
                        <a:pt x="227" y="65"/>
                      </a:lnTo>
                      <a:lnTo>
                        <a:pt x="229" y="65"/>
                      </a:lnTo>
                      <a:lnTo>
                        <a:pt x="229" y="67"/>
                      </a:lnTo>
                      <a:lnTo>
                        <a:pt x="227" y="71"/>
                      </a:lnTo>
                      <a:lnTo>
                        <a:pt x="225" y="73"/>
                      </a:lnTo>
                      <a:lnTo>
                        <a:pt x="225" y="74"/>
                      </a:lnTo>
                      <a:lnTo>
                        <a:pt x="227" y="76"/>
                      </a:lnTo>
                      <a:lnTo>
                        <a:pt x="225" y="76"/>
                      </a:lnTo>
                      <a:lnTo>
                        <a:pt x="223" y="78"/>
                      </a:lnTo>
                      <a:lnTo>
                        <a:pt x="223" y="76"/>
                      </a:lnTo>
                      <a:lnTo>
                        <a:pt x="221" y="78"/>
                      </a:lnTo>
                      <a:lnTo>
                        <a:pt x="215" y="80"/>
                      </a:lnTo>
                      <a:lnTo>
                        <a:pt x="213" y="78"/>
                      </a:lnTo>
                      <a:lnTo>
                        <a:pt x="213" y="76"/>
                      </a:lnTo>
                      <a:lnTo>
                        <a:pt x="213" y="74"/>
                      </a:lnTo>
                      <a:lnTo>
                        <a:pt x="215" y="74"/>
                      </a:lnTo>
                      <a:lnTo>
                        <a:pt x="217" y="74"/>
                      </a:lnTo>
                      <a:lnTo>
                        <a:pt x="217" y="76"/>
                      </a:lnTo>
                      <a:lnTo>
                        <a:pt x="219" y="74"/>
                      </a:lnTo>
                      <a:lnTo>
                        <a:pt x="217" y="74"/>
                      </a:lnTo>
                      <a:lnTo>
                        <a:pt x="215" y="71"/>
                      </a:lnTo>
                      <a:lnTo>
                        <a:pt x="217" y="73"/>
                      </a:lnTo>
                      <a:lnTo>
                        <a:pt x="219" y="71"/>
                      </a:lnTo>
                      <a:lnTo>
                        <a:pt x="223" y="71"/>
                      </a:lnTo>
                      <a:lnTo>
                        <a:pt x="221" y="71"/>
                      </a:lnTo>
                      <a:lnTo>
                        <a:pt x="217" y="71"/>
                      </a:lnTo>
                      <a:lnTo>
                        <a:pt x="217" y="67"/>
                      </a:lnTo>
                      <a:lnTo>
                        <a:pt x="219" y="67"/>
                      </a:lnTo>
                      <a:lnTo>
                        <a:pt x="221" y="67"/>
                      </a:lnTo>
                      <a:lnTo>
                        <a:pt x="221" y="69"/>
                      </a:lnTo>
                      <a:lnTo>
                        <a:pt x="221" y="67"/>
                      </a:lnTo>
                      <a:lnTo>
                        <a:pt x="223" y="67"/>
                      </a:lnTo>
                      <a:lnTo>
                        <a:pt x="223" y="69"/>
                      </a:lnTo>
                      <a:lnTo>
                        <a:pt x="223" y="71"/>
                      </a:lnTo>
                      <a:lnTo>
                        <a:pt x="225" y="73"/>
                      </a:lnTo>
                      <a:lnTo>
                        <a:pt x="223" y="71"/>
                      </a:lnTo>
                      <a:lnTo>
                        <a:pt x="225" y="67"/>
                      </a:lnTo>
                      <a:lnTo>
                        <a:pt x="223" y="65"/>
                      </a:lnTo>
                      <a:lnTo>
                        <a:pt x="223" y="63"/>
                      </a:lnTo>
                      <a:lnTo>
                        <a:pt x="225" y="63"/>
                      </a:lnTo>
                      <a:close/>
                      <a:moveTo>
                        <a:pt x="233" y="53"/>
                      </a:moveTo>
                      <a:lnTo>
                        <a:pt x="233" y="55"/>
                      </a:lnTo>
                      <a:lnTo>
                        <a:pt x="234" y="57"/>
                      </a:lnTo>
                      <a:lnTo>
                        <a:pt x="234" y="55"/>
                      </a:lnTo>
                      <a:lnTo>
                        <a:pt x="236" y="55"/>
                      </a:lnTo>
                      <a:lnTo>
                        <a:pt x="236" y="57"/>
                      </a:lnTo>
                      <a:lnTo>
                        <a:pt x="238" y="55"/>
                      </a:lnTo>
                      <a:lnTo>
                        <a:pt x="240" y="57"/>
                      </a:lnTo>
                      <a:lnTo>
                        <a:pt x="240" y="59"/>
                      </a:lnTo>
                      <a:lnTo>
                        <a:pt x="236" y="59"/>
                      </a:lnTo>
                      <a:lnTo>
                        <a:pt x="236" y="61"/>
                      </a:lnTo>
                      <a:lnTo>
                        <a:pt x="234" y="65"/>
                      </a:lnTo>
                      <a:lnTo>
                        <a:pt x="233" y="67"/>
                      </a:lnTo>
                      <a:lnTo>
                        <a:pt x="231" y="67"/>
                      </a:lnTo>
                      <a:lnTo>
                        <a:pt x="229" y="65"/>
                      </a:lnTo>
                      <a:lnTo>
                        <a:pt x="227" y="63"/>
                      </a:lnTo>
                      <a:lnTo>
                        <a:pt x="225" y="61"/>
                      </a:lnTo>
                      <a:lnTo>
                        <a:pt x="223" y="61"/>
                      </a:lnTo>
                      <a:lnTo>
                        <a:pt x="225" y="59"/>
                      </a:lnTo>
                      <a:lnTo>
                        <a:pt x="227" y="59"/>
                      </a:lnTo>
                      <a:lnTo>
                        <a:pt x="225" y="57"/>
                      </a:lnTo>
                      <a:lnTo>
                        <a:pt x="227" y="55"/>
                      </a:lnTo>
                      <a:lnTo>
                        <a:pt x="229" y="57"/>
                      </a:lnTo>
                      <a:lnTo>
                        <a:pt x="229" y="55"/>
                      </a:lnTo>
                      <a:lnTo>
                        <a:pt x="231" y="57"/>
                      </a:lnTo>
                      <a:lnTo>
                        <a:pt x="231" y="55"/>
                      </a:lnTo>
                      <a:lnTo>
                        <a:pt x="229" y="53"/>
                      </a:lnTo>
                      <a:lnTo>
                        <a:pt x="229" y="55"/>
                      </a:lnTo>
                      <a:lnTo>
                        <a:pt x="231" y="53"/>
                      </a:lnTo>
                      <a:lnTo>
                        <a:pt x="233" y="53"/>
                      </a:lnTo>
                      <a:close/>
                      <a:moveTo>
                        <a:pt x="299" y="27"/>
                      </a:moveTo>
                      <a:lnTo>
                        <a:pt x="301" y="29"/>
                      </a:lnTo>
                      <a:lnTo>
                        <a:pt x="301" y="27"/>
                      </a:lnTo>
                      <a:lnTo>
                        <a:pt x="301" y="29"/>
                      </a:lnTo>
                      <a:lnTo>
                        <a:pt x="301" y="31"/>
                      </a:lnTo>
                      <a:lnTo>
                        <a:pt x="301" y="33"/>
                      </a:lnTo>
                      <a:lnTo>
                        <a:pt x="303" y="34"/>
                      </a:lnTo>
                      <a:lnTo>
                        <a:pt x="303" y="36"/>
                      </a:lnTo>
                      <a:lnTo>
                        <a:pt x="299" y="38"/>
                      </a:lnTo>
                      <a:lnTo>
                        <a:pt x="299" y="40"/>
                      </a:lnTo>
                      <a:lnTo>
                        <a:pt x="297" y="40"/>
                      </a:lnTo>
                      <a:lnTo>
                        <a:pt x="297" y="42"/>
                      </a:lnTo>
                      <a:lnTo>
                        <a:pt x="295" y="44"/>
                      </a:lnTo>
                      <a:lnTo>
                        <a:pt x="294" y="44"/>
                      </a:lnTo>
                      <a:lnTo>
                        <a:pt x="294" y="42"/>
                      </a:lnTo>
                      <a:lnTo>
                        <a:pt x="294" y="40"/>
                      </a:lnTo>
                      <a:lnTo>
                        <a:pt x="294" y="38"/>
                      </a:lnTo>
                      <a:lnTo>
                        <a:pt x="292" y="42"/>
                      </a:lnTo>
                      <a:lnTo>
                        <a:pt x="292" y="40"/>
                      </a:lnTo>
                      <a:lnTo>
                        <a:pt x="290" y="40"/>
                      </a:lnTo>
                      <a:lnTo>
                        <a:pt x="290" y="38"/>
                      </a:lnTo>
                      <a:lnTo>
                        <a:pt x="292" y="38"/>
                      </a:lnTo>
                      <a:lnTo>
                        <a:pt x="290" y="38"/>
                      </a:lnTo>
                      <a:lnTo>
                        <a:pt x="290" y="36"/>
                      </a:lnTo>
                      <a:lnTo>
                        <a:pt x="292" y="36"/>
                      </a:lnTo>
                      <a:lnTo>
                        <a:pt x="292" y="34"/>
                      </a:lnTo>
                      <a:lnTo>
                        <a:pt x="294" y="33"/>
                      </a:lnTo>
                      <a:lnTo>
                        <a:pt x="295" y="34"/>
                      </a:lnTo>
                      <a:lnTo>
                        <a:pt x="294" y="34"/>
                      </a:lnTo>
                      <a:lnTo>
                        <a:pt x="295" y="34"/>
                      </a:lnTo>
                      <a:lnTo>
                        <a:pt x="295" y="33"/>
                      </a:lnTo>
                      <a:lnTo>
                        <a:pt x="294" y="31"/>
                      </a:lnTo>
                      <a:lnTo>
                        <a:pt x="295" y="33"/>
                      </a:lnTo>
                      <a:lnTo>
                        <a:pt x="295" y="34"/>
                      </a:lnTo>
                      <a:lnTo>
                        <a:pt x="295" y="36"/>
                      </a:lnTo>
                      <a:lnTo>
                        <a:pt x="297" y="34"/>
                      </a:lnTo>
                      <a:lnTo>
                        <a:pt x="297" y="33"/>
                      </a:lnTo>
                      <a:lnTo>
                        <a:pt x="295" y="31"/>
                      </a:lnTo>
                      <a:lnTo>
                        <a:pt x="299" y="33"/>
                      </a:lnTo>
                      <a:lnTo>
                        <a:pt x="297" y="31"/>
                      </a:lnTo>
                      <a:lnTo>
                        <a:pt x="299" y="31"/>
                      </a:lnTo>
                      <a:lnTo>
                        <a:pt x="301" y="33"/>
                      </a:lnTo>
                      <a:lnTo>
                        <a:pt x="299" y="31"/>
                      </a:lnTo>
                      <a:lnTo>
                        <a:pt x="299" y="29"/>
                      </a:lnTo>
                      <a:lnTo>
                        <a:pt x="297" y="29"/>
                      </a:lnTo>
                      <a:lnTo>
                        <a:pt x="299" y="27"/>
                      </a:lnTo>
                      <a:close/>
                      <a:moveTo>
                        <a:pt x="168" y="126"/>
                      </a:moveTo>
                      <a:lnTo>
                        <a:pt x="166" y="130"/>
                      </a:lnTo>
                      <a:lnTo>
                        <a:pt x="164" y="130"/>
                      </a:lnTo>
                      <a:lnTo>
                        <a:pt x="166" y="130"/>
                      </a:lnTo>
                      <a:lnTo>
                        <a:pt x="164" y="132"/>
                      </a:lnTo>
                      <a:lnTo>
                        <a:pt x="162" y="134"/>
                      </a:lnTo>
                      <a:lnTo>
                        <a:pt x="160" y="136"/>
                      </a:lnTo>
                      <a:lnTo>
                        <a:pt x="160" y="132"/>
                      </a:lnTo>
                      <a:lnTo>
                        <a:pt x="162" y="132"/>
                      </a:lnTo>
                      <a:lnTo>
                        <a:pt x="160" y="130"/>
                      </a:lnTo>
                      <a:lnTo>
                        <a:pt x="160" y="132"/>
                      </a:lnTo>
                      <a:lnTo>
                        <a:pt x="160" y="134"/>
                      </a:lnTo>
                      <a:lnTo>
                        <a:pt x="158" y="134"/>
                      </a:lnTo>
                      <a:lnTo>
                        <a:pt x="160" y="134"/>
                      </a:lnTo>
                      <a:lnTo>
                        <a:pt x="160" y="136"/>
                      </a:lnTo>
                      <a:lnTo>
                        <a:pt x="160" y="134"/>
                      </a:lnTo>
                      <a:lnTo>
                        <a:pt x="158" y="136"/>
                      </a:lnTo>
                      <a:lnTo>
                        <a:pt x="160" y="136"/>
                      </a:lnTo>
                      <a:lnTo>
                        <a:pt x="158" y="136"/>
                      </a:lnTo>
                      <a:lnTo>
                        <a:pt x="158" y="137"/>
                      </a:lnTo>
                      <a:lnTo>
                        <a:pt x="158" y="136"/>
                      </a:lnTo>
                      <a:lnTo>
                        <a:pt x="158" y="137"/>
                      </a:lnTo>
                      <a:lnTo>
                        <a:pt x="156" y="137"/>
                      </a:lnTo>
                      <a:lnTo>
                        <a:pt x="154" y="137"/>
                      </a:lnTo>
                      <a:lnTo>
                        <a:pt x="154" y="139"/>
                      </a:lnTo>
                      <a:lnTo>
                        <a:pt x="152" y="139"/>
                      </a:lnTo>
                      <a:lnTo>
                        <a:pt x="152" y="137"/>
                      </a:lnTo>
                      <a:lnTo>
                        <a:pt x="152" y="136"/>
                      </a:lnTo>
                      <a:lnTo>
                        <a:pt x="154" y="136"/>
                      </a:lnTo>
                      <a:lnTo>
                        <a:pt x="152" y="136"/>
                      </a:lnTo>
                      <a:lnTo>
                        <a:pt x="154" y="134"/>
                      </a:lnTo>
                      <a:lnTo>
                        <a:pt x="154" y="132"/>
                      </a:lnTo>
                      <a:lnTo>
                        <a:pt x="156" y="132"/>
                      </a:lnTo>
                      <a:lnTo>
                        <a:pt x="156" y="134"/>
                      </a:lnTo>
                      <a:lnTo>
                        <a:pt x="156" y="132"/>
                      </a:lnTo>
                      <a:lnTo>
                        <a:pt x="158" y="132"/>
                      </a:lnTo>
                      <a:lnTo>
                        <a:pt x="156" y="130"/>
                      </a:lnTo>
                      <a:lnTo>
                        <a:pt x="156" y="132"/>
                      </a:lnTo>
                      <a:lnTo>
                        <a:pt x="156" y="130"/>
                      </a:lnTo>
                      <a:lnTo>
                        <a:pt x="158" y="128"/>
                      </a:lnTo>
                      <a:lnTo>
                        <a:pt x="158" y="130"/>
                      </a:lnTo>
                      <a:lnTo>
                        <a:pt x="158" y="128"/>
                      </a:lnTo>
                      <a:lnTo>
                        <a:pt x="160" y="128"/>
                      </a:lnTo>
                      <a:lnTo>
                        <a:pt x="160" y="130"/>
                      </a:lnTo>
                      <a:lnTo>
                        <a:pt x="160" y="128"/>
                      </a:lnTo>
                      <a:lnTo>
                        <a:pt x="162" y="128"/>
                      </a:lnTo>
                      <a:lnTo>
                        <a:pt x="162" y="130"/>
                      </a:lnTo>
                      <a:lnTo>
                        <a:pt x="164" y="130"/>
                      </a:lnTo>
                      <a:lnTo>
                        <a:pt x="162" y="128"/>
                      </a:lnTo>
                      <a:lnTo>
                        <a:pt x="164" y="126"/>
                      </a:lnTo>
                      <a:lnTo>
                        <a:pt x="166" y="128"/>
                      </a:lnTo>
                      <a:lnTo>
                        <a:pt x="166" y="126"/>
                      </a:lnTo>
                      <a:lnTo>
                        <a:pt x="168" y="126"/>
                      </a:lnTo>
                      <a:close/>
                      <a:moveTo>
                        <a:pt x="183" y="88"/>
                      </a:moveTo>
                      <a:lnTo>
                        <a:pt x="183" y="90"/>
                      </a:lnTo>
                      <a:lnTo>
                        <a:pt x="183" y="94"/>
                      </a:lnTo>
                      <a:lnTo>
                        <a:pt x="183" y="95"/>
                      </a:lnTo>
                      <a:lnTo>
                        <a:pt x="181" y="97"/>
                      </a:lnTo>
                      <a:lnTo>
                        <a:pt x="179" y="99"/>
                      </a:lnTo>
                      <a:lnTo>
                        <a:pt x="179" y="101"/>
                      </a:lnTo>
                      <a:lnTo>
                        <a:pt x="175" y="103"/>
                      </a:lnTo>
                      <a:lnTo>
                        <a:pt x="175" y="105"/>
                      </a:lnTo>
                      <a:lnTo>
                        <a:pt x="175" y="103"/>
                      </a:lnTo>
                      <a:lnTo>
                        <a:pt x="173" y="103"/>
                      </a:lnTo>
                      <a:lnTo>
                        <a:pt x="175" y="103"/>
                      </a:lnTo>
                      <a:lnTo>
                        <a:pt x="173" y="105"/>
                      </a:lnTo>
                      <a:lnTo>
                        <a:pt x="173" y="107"/>
                      </a:lnTo>
                      <a:lnTo>
                        <a:pt x="173" y="109"/>
                      </a:lnTo>
                      <a:lnTo>
                        <a:pt x="172" y="107"/>
                      </a:lnTo>
                      <a:lnTo>
                        <a:pt x="172" y="103"/>
                      </a:lnTo>
                      <a:lnTo>
                        <a:pt x="172" y="101"/>
                      </a:lnTo>
                      <a:lnTo>
                        <a:pt x="173" y="101"/>
                      </a:lnTo>
                      <a:lnTo>
                        <a:pt x="173" y="99"/>
                      </a:lnTo>
                      <a:lnTo>
                        <a:pt x="173" y="97"/>
                      </a:lnTo>
                      <a:lnTo>
                        <a:pt x="175" y="97"/>
                      </a:lnTo>
                      <a:lnTo>
                        <a:pt x="175" y="95"/>
                      </a:lnTo>
                      <a:lnTo>
                        <a:pt x="175" y="97"/>
                      </a:lnTo>
                      <a:lnTo>
                        <a:pt x="177" y="97"/>
                      </a:lnTo>
                      <a:lnTo>
                        <a:pt x="177" y="95"/>
                      </a:lnTo>
                      <a:lnTo>
                        <a:pt x="177" y="94"/>
                      </a:lnTo>
                      <a:lnTo>
                        <a:pt x="179" y="94"/>
                      </a:lnTo>
                      <a:lnTo>
                        <a:pt x="179" y="92"/>
                      </a:lnTo>
                      <a:lnTo>
                        <a:pt x="181" y="90"/>
                      </a:lnTo>
                      <a:lnTo>
                        <a:pt x="183" y="88"/>
                      </a:lnTo>
                      <a:close/>
                      <a:moveTo>
                        <a:pt x="336" y="0"/>
                      </a:moveTo>
                      <a:lnTo>
                        <a:pt x="336" y="2"/>
                      </a:lnTo>
                      <a:lnTo>
                        <a:pt x="337" y="2"/>
                      </a:lnTo>
                      <a:lnTo>
                        <a:pt x="336" y="4"/>
                      </a:lnTo>
                      <a:lnTo>
                        <a:pt x="337" y="4"/>
                      </a:lnTo>
                      <a:lnTo>
                        <a:pt x="339" y="4"/>
                      </a:lnTo>
                      <a:lnTo>
                        <a:pt x="339" y="2"/>
                      </a:lnTo>
                      <a:lnTo>
                        <a:pt x="341" y="4"/>
                      </a:lnTo>
                      <a:lnTo>
                        <a:pt x="339" y="6"/>
                      </a:lnTo>
                      <a:lnTo>
                        <a:pt x="337" y="6"/>
                      </a:lnTo>
                      <a:lnTo>
                        <a:pt x="337" y="8"/>
                      </a:lnTo>
                      <a:lnTo>
                        <a:pt x="339" y="8"/>
                      </a:lnTo>
                      <a:lnTo>
                        <a:pt x="337" y="8"/>
                      </a:lnTo>
                      <a:lnTo>
                        <a:pt x="337" y="10"/>
                      </a:lnTo>
                      <a:lnTo>
                        <a:pt x="339" y="10"/>
                      </a:lnTo>
                      <a:lnTo>
                        <a:pt x="339" y="8"/>
                      </a:lnTo>
                      <a:lnTo>
                        <a:pt x="341" y="10"/>
                      </a:lnTo>
                      <a:lnTo>
                        <a:pt x="343" y="6"/>
                      </a:lnTo>
                      <a:lnTo>
                        <a:pt x="343" y="8"/>
                      </a:lnTo>
                      <a:lnTo>
                        <a:pt x="343" y="10"/>
                      </a:lnTo>
                      <a:lnTo>
                        <a:pt x="341" y="10"/>
                      </a:lnTo>
                      <a:lnTo>
                        <a:pt x="339" y="12"/>
                      </a:lnTo>
                      <a:lnTo>
                        <a:pt x="339" y="10"/>
                      </a:lnTo>
                      <a:lnTo>
                        <a:pt x="339" y="12"/>
                      </a:lnTo>
                      <a:lnTo>
                        <a:pt x="336" y="12"/>
                      </a:lnTo>
                      <a:lnTo>
                        <a:pt x="336" y="10"/>
                      </a:lnTo>
                      <a:lnTo>
                        <a:pt x="336" y="12"/>
                      </a:lnTo>
                      <a:lnTo>
                        <a:pt x="334" y="12"/>
                      </a:lnTo>
                      <a:lnTo>
                        <a:pt x="334" y="13"/>
                      </a:lnTo>
                      <a:lnTo>
                        <a:pt x="330" y="10"/>
                      </a:lnTo>
                      <a:lnTo>
                        <a:pt x="334" y="8"/>
                      </a:lnTo>
                      <a:lnTo>
                        <a:pt x="332" y="8"/>
                      </a:lnTo>
                      <a:lnTo>
                        <a:pt x="330" y="10"/>
                      </a:lnTo>
                      <a:lnTo>
                        <a:pt x="328" y="8"/>
                      </a:lnTo>
                      <a:lnTo>
                        <a:pt x="330" y="8"/>
                      </a:lnTo>
                      <a:lnTo>
                        <a:pt x="328" y="8"/>
                      </a:lnTo>
                      <a:lnTo>
                        <a:pt x="330" y="6"/>
                      </a:lnTo>
                      <a:lnTo>
                        <a:pt x="328" y="6"/>
                      </a:lnTo>
                      <a:lnTo>
                        <a:pt x="328" y="4"/>
                      </a:lnTo>
                      <a:lnTo>
                        <a:pt x="330" y="6"/>
                      </a:lnTo>
                      <a:lnTo>
                        <a:pt x="330" y="4"/>
                      </a:lnTo>
                      <a:lnTo>
                        <a:pt x="332" y="6"/>
                      </a:lnTo>
                      <a:lnTo>
                        <a:pt x="332" y="4"/>
                      </a:lnTo>
                      <a:lnTo>
                        <a:pt x="334" y="4"/>
                      </a:lnTo>
                      <a:lnTo>
                        <a:pt x="334" y="6"/>
                      </a:lnTo>
                      <a:lnTo>
                        <a:pt x="334" y="4"/>
                      </a:lnTo>
                      <a:lnTo>
                        <a:pt x="336" y="6"/>
                      </a:lnTo>
                      <a:lnTo>
                        <a:pt x="334" y="4"/>
                      </a:lnTo>
                      <a:lnTo>
                        <a:pt x="334" y="2"/>
                      </a:lnTo>
                      <a:lnTo>
                        <a:pt x="332" y="2"/>
                      </a:lnTo>
                      <a:lnTo>
                        <a:pt x="334" y="2"/>
                      </a:lnTo>
                      <a:lnTo>
                        <a:pt x="334" y="0"/>
                      </a:lnTo>
                      <a:lnTo>
                        <a:pt x="336" y="0"/>
                      </a:lnTo>
                      <a:close/>
                      <a:moveTo>
                        <a:pt x="69" y="315"/>
                      </a:moveTo>
                      <a:lnTo>
                        <a:pt x="70" y="317"/>
                      </a:lnTo>
                      <a:lnTo>
                        <a:pt x="69" y="317"/>
                      </a:lnTo>
                      <a:lnTo>
                        <a:pt x="69" y="319"/>
                      </a:lnTo>
                      <a:lnTo>
                        <a:pt x="70" y="319"/>
                      </a:lnTo>
                      <a:lnTo>
                        <a:pt x="70" y="317"/>
                      </a:lnTo>
                      <a:lnTo>
                        <a:pt x="72" y="319"/>
                      </a:lnTo>
                      <a:lnTo>
                        <a:pt x="72" y="321"/>
                      </a:lnTo>
                      <a:lnTo>
                        <a:pt x="70" y="321"/>
                      </a:lnTo>
                      <a:lnTo>
                        <a:pt x="69" y="321"/>
                      </a:lnTo>
                      <a:lnTo>
                        <a:pt x="67" y="323"/>
                      </a:lnTo>
                      <a:lnTo>
                        <a:pt x="67" y="321"/>
                      </a:lnTo>
                      <a:lnTo>
                        <a:pt x="65" y="323"/>
                      </a:lnTo>
                      <a:lnTo>
                        <a:pt x="63" y="323"/>
                      </a:lnTo>
                      <a:lnTo>
                        <a:pt x="63" y="324"/>
                      </a:lnTo>
                      <a:lnTo>
                        <a:pt x="61" y="323"/>
                      </a:lnTo>
                      <a:lnTo>
                        <a:pt x="59" y="324"/>
                      </a:lnTo>
                      <a:lnTo>
                        <a:pt x="61" y="323"/>
                      </a:lnTo>
                      <a:lnTo>
                        <a:pt x="59" y="323"/>
                      </a:lnTo>
                      <a:lnTo>
                        <a:pt x="59" y="321"/>
                      </a:lnTo>
                      <a:lnTo>
                        <a:pt x="59" y="323"/>
                      </a:lnTo>
                      <a:lnTo>
                        <a:pt x="61" y="321"/>
                      </a:lnTo>
                      <a:lnTo>
                        <a:pt x="59" y="321"/>
                      </a:lnTo>
                      <a:lnTo>
                        <a:pt x="59" y="323"/>
                      </a:lnTo>
                      <a:lnTo>
                        <a:pt x="59" y="321"/>
                      </a:lnTo>
                      <a:lnTo>
                        <a:pt x="61" y="319"/>
                      </a:lnTo>
                      <a:lnTo>
                        <a:pt x="63" y="319"/>
                      </a:lnTo>
                      <a:lnTo>
                        <a:pt x="65" y="319"/>
                      </a:lnTo>
                      <a:lnTo>
                        <a:pt x="67" y="319"/>
                      </a:lnTo>
                      <a:lnTo>
                        <a:pt x="65" y="319"/>
                      </a:lnTo>
                      <a:lnTo>
                        <a:pt x="63" y="317"/>
                      </a:lnTo>
                      <a:lnTo>
                        <a:pt x="65" y="317"/>
                      </a:lnTo>
                      <a:lnTo>
                        <a:pt x="67" y="315"/>
                      </a:lnTo>
                      <a:lnTo>
                        <a:pt x="67" y="317"/>
                      </a:lnTo>
                      <a:lnTo>
                        <a:pt x="69" y="317"/>
                      </a:lnTo>
                      <a:lnTo>
                        <a:pt x="69" y="315"/>
                      </a:lnTo>
                      <a:lnTo>
                        <a:pt x="69" y="317"/>
                      </a:lnTo>
                      <a:lnTo>
                        <a:pt x="69" y="315"/>
                      </a:lnTo>
                      <a:close/>
                      <a:moveTo>
                        <a:pt x="149" y="132"/>
                      </a:moveTo>
                      <a:lnTo>
                        <a:pt x="149" y="134"/>
                      </a:lnTo>
                      <a:lnTo>
                        <a:pt x="151" y="134"/>
                      </a:lnTo>
                      <a:lnTo>
                        <a:pt x="149" y="134"/>
                      </a:lnTo>
                      <a:lnTo>
                        <a:pt x="147" y="134"/>
                      </a:lnTo>
                      <a:lnTo>
                        <a:pt x="149" y="136"/>
                      </a:lnTo>
                      <a:lnTo>
                        <a:pt x="149" y="134"/>
                      </a:lnTo>
                      <a:lnTo>
                        <a:pt x="151" y="136"/>
                      </a:lnTo>
                      <a:lnTo>
                        <a:pt x="151" y="134"/>
                      </a:lnTo>
                      <a:lnTo>
                        <a:pt x="152" y="136"/>
                      </a:lnTo>
                      <a:lnTo>
                        <a:pt x="151" y="136"/>
                      </a:lnTo>
                      <a:lnTo>
                        <a:pt x="151" y="137"/>
                      </a:lnTo>
                      <a:lnTo>
                        <a:pt x="151" y="136"/>
                      </a:lnTo>
                      <a:lnTo>
                        <a:pt x="149" y="137"/>
                      </a:lnTo>
                      <a:lnTo>
                        <a:pt x="147" y="137"/>
                      </a:lnTo>
                      <a:lnTo>
                        <a:pt x="147" y="139"/>
                      </a:lnTo>
                      <a:lnTo>
                        <a:pt x="145" y="139"/>
                      </a:lnTo>
                      <a:lnTo>
                        <a:pt x="147" y="139"/>
                      </a:lnTo>
                      <a:lnTo>
                        <a:pt x="147" y="141"/>
                      </a:lnTo>
                      <a:lnTo>
                        <a:pt x="145" y="141"/>
                      </a:lnTo>
                      <a:lnTo>
                        <a:pt x="145" y="139"/>
                      </a:lnTo>
                      <a:lnTo>
                        <a:pt x="145" y="141"/>
                      </a:lnTo>
                      <a:lnTo>
                        <a:pt x="145" y="143"/>
                      </a:lnTo>
                      <a:lnTo>
                        <a:pt x="145" y="141"/>
                      </a:lnTo>
                      <a:lnTo>
                        <a:pt x="143" y="143"/>
                      </a:lnTo>
                      <a:lnTo>
                        <a:pt x="143" y="141"/>
                      </a:lnTo>
                      <a:lnTo>
                        <a:pt x="143" y="139"/>
                      </a:lnTo>
                      <a:lnTo>
                        <a:pt x="143" y="141"/>
                      </a:lnTo>
                      <a:lnTo>
                        <a:pt x="141" y="141"/>
                      </a:lnTo>
                      <a:lnTo>
                        <a:pt x="143" y="141"/>
                      </a:lnTo>
                      <a:lnTo>
                        <a:pt x="143" y="143"/>
                      </a:lnTo>
                      <a:lnTo>
                        <a:pt x="141" y="143"/>
                      </a:lnTo>
                      <a:lnTo>
                        <a:pt x="141" y="141"/>
                      </a:lnTo>
                      <a:lnTo>
                        <a:pt x="141" y="139"/>
                      </a:lnTo>
                      <a:lnTo>
                        <a:pt x="143" y="139"/>
                      </a:lnTo>
                      <a:lnTo>
                        <a:pt x="143" y="137"/>
                      </a:lnTo>
                      <a:lnTo>
                        <a:pt x="141" y="139"/>
                      </a:lnTo>
                      <a:lnTo>
                        <a:pt x="143" y="139"/>
                      </a:lnTo>
                      <a:lnTo>
                        <a:pt x="141" y="139"/>
                      </a:lnTo>
                      <a:lnTo>
                        <a:pt x="141" y="137"/>
                      </a:lnTo>
                      <a:lnTo>
                        <a:pt x="143" y="136"/>
                      </a:lnTo>
                      <a:lnTo>
                        <a:pt x="141" y="136"/>
                      </a:lnTo>
                      <a:lnTo>
                        <a:pt x="143" y="134"/>
                      </a:lnTo>
                      <a:lnTo>
                        <a:pt x="145" y="134"/>
                      </a:lnTo>
                      <a:lnTo>
                        <a:pt x="147" y="136"/>
                      </a:lnTo>
                      <a:lnTo>
                        <a:pt x="145" y="136"/>
                      </a:lnTo>
                      <a:lnTo>
                        <a:pt x="147" y="136"/>
                      </a:lnTo>
                      <a:lnTo>
                        <a:pt x="145" y="134"/>
                      </a:lnTo>
                      <a:lnTo>
                        <a:pt x="147" y="134"/>
                      </a:lnTo>
                      <a:lnTo>
                        <a:pt x="147" y="132"/>
                      </a:lnTo>
                      <a:lnTo>
                        <a:pt x="149" y="132"/>
                      </a:lnTo>
                      <a:lnTo>
                        <a:pt x="147" y="132"/>
                      </a:lnTo>
                      <a:lnTo>
                        <a:pt x="149" y="132"/>
                      </a:lnTo>
                      <a:close/>
                      <a:moveTo>
                        <a:pt x="303" y="21"/>
                      </a:moveTo>
                      <a:lnTo>
                        <a:pt x="305" y="21"/>
                      </a:lnTo>
                      <a:lnTo>
                        <a:pt x="305" y="23"/>
                      </a:lnTo>
                      <a:lnTo>
                        <a:pt x="305" y="25"/>
                      </a:lnTo>
                      <a:lnTo>
                        <a:pt x="305" y="23"/>
                      </a:lnTo>
                      <a:lnTo>
                        <a:pt x="307" y="23"/>
                      </a:lnTo>
                      <a:lnTo>
                        <a:pt x="309" y="25"/>
                      </a:lnTo>
                      <a:lnTo>
                        <a:pt x="309" y="27"/>
                      </a:lnTo>
                      <a:lnTo>
                        <a:pt x="311" y="27"/>
                      </a:lnTo>
                      <a:lnTo>
                        <a:pt x="311" y="29"/>
                      </a:lnTo>
                      <a:lnTo>
                        <a:pt x="309" y="31"/>
                      </a:lnTo>
                      <a:lnTo>
                        <a:pt x="309" y="33"/>
                      </a:lnTo>
                      <a:lnTo>
                        <a:pt x="307" y="33"/>
                      </a:lnTo>
                      <a:lnTo>
                        <a:pt x="305" y="33"/>
                      </a:lnTo>
                      <a:lnTo>
                        <a:pt x="303" y="31"/>
                      </a:lnTo>
                      <a:lnTo>
                        <a:pt x="303" y="29"/>
                      </a:lnTo>
                      <a:lnTo>
                        <a:pt x="301" y="29"/>
                      </a:lnTo>
                      <a:lnTo>
                        <a:pt x="303" y="27"/>
                      </a:lnTo>
                      <a:lnTo>
                        <a:pt x="301" y="27"/>
                      </a:lnTo>
                      <a:lnTo>
                        <a:pt x="303" y="25"/>
                      </a:lnTo>
                      <a:lnTo>
                        <a:pt x="303" y="21"/>
                      </a:lnTo>
                      <a:close/>
                      <a:moveTo>
                        <a:pt x="255" y="46"/>
                      </a:moveTo>
                      <a:lnTo>
                        <a:pt x="257" y="48"/>
                      </a:lnTo>
                      <a:lnTo>
                        <a:pt x="257" y="53"/>
                      </a:lnTo>
                      <a:lnTo>
                        <a:pt x="257" y="55"/>
                      </a:lnTo>
                      <a:lnTo>
                        <a:pt x="255" y="55"/>
                      </a:lnTo>
                      <a:lnTo>
                        <a:pt x="255" y="53"/>
                      </a:lnTo>
                      <a:lnTo>
                        <a:pt x="254" y="55"/>
                      </a:lnTo>
                      <a:lnTo>
                        <a:pt x="254" y="53"/>
                      </a:lnTo>
                      <a:lnTo>
                        <a:pt x="254" y="52"/>
                      </a:lnTo>
                      <a:lnTo>
                        <a:pt x="254" y="53"/>
                      </a:lnTo>
                      <a:lnTo>
                        <a:pt x="252" y="53"/>
                      </a:lnTo>
                      <a:lnTo>
                        <a:pt x="252" y="55"/>
                      </a:lnTo>
                      <a:lnTo>
                        <a:pt x="250" y="53"/>
                      </a:lnTo>
                      <a:lnTo>
                        <a:pt x="250" y="50"/>
                      </a:lnTo>
                      <a:lnTo>
                        <a:pt x="252" y="50"/>
                      </a:lnTo>
                      <a:lnTo>
                        <a:pt x="252" y="48"/>
                      </a:lnTo>
                      <a:lnTo>
                        <a:pt x="254" y="48"/>
                      </a:lnTo>
                      <a:lnTo>
                        <a:pt x="254" y="46"/>
                      </a:lnTo>
                      <a:lnTo>
                        <a:pt x="255" y="46"/>
                      </a:lnTo>
                      <a:close/>
                      <a:moveTo>
                        <a:pt x="288" y="38"/>
                      </a:moveTo>
                      <a:lnTo>
                        <a:pt x="288" y="42"/>
                      </a:lnTo>
                      <a:lnTo>
                        <a:pt x="288" y="38"/>
                      </a:lnTo>
                      <a:lnTo>
                        <a:pt x="290" y="42"/>
                      </a:lnTo>
                      <a:lnTo>
                        <a:pt x="292" y="42"/>
                      </a:lnTo>
                      <a:lnTo>
                        <a:pt x="292" y="44"/>
                      </a:lnTo>
                      <a:lnTo>
                        <a:pt x="292" y="42"/>
                      </a:lnTo>
                      <a:lnTo>
                        <a:pt x="292" y="44"/>
                      </a:lnTo>
                      <a:lnTo>
                        <a:pt x="292" y="46"/>
                      </a:lnTo>
                      <a:lnTo>
                        <a:pt x="286" y="46"/>
                      </a:lnTo>
                      <a:lnTo>
                        <a:pt x="282" y="44"/>
                      </a:lnTo>
                      <a:lnTo>
                        <a:pt x="282" y="42"/>
                      </a:lnTo>
                      <a:lnTo>
                        <a:pt x="282" y="40"/>
                      </a:lnTo>
                      <a:lnTo>
                        <a:pt x="284" y="40"/>
                      </a:lnTo>
                      <a:lnTo>
                        <a:pt x="284" y="42"/>
                      </a:lnTo>
                      <a:lnTo>
                        <a:pt x="284" y="40"/>
                      </a:lnTo>
                      <a:lnTo>
                        <a:pt x="286" y="38"/>
                      </a:lnTo>
                      <a:lnTo>
                        <a:pt x="286" y="40"/>
                      </a:lnTo>
                      <a:lnTo>
                        <a:pt x="286" y="38"/>
                      </a:lnTo>
                      <a:lnTo>
                        <a:pt x="286" y="40"/>
                      </a:lnTo>
                      <a:lnTo>
                        <a:pt x="286" y="38"/>
                      </a:lnTo>
                      <a:lnTo>
                        <a:pt x="288" y="38"/>
                      </a:lnTo>
                      <a:close/>
                      <a:moveTo>
                        <a:pt x="17" y="416"/>
                      </a:moveTo>
                      <a:lnTo>
                        <a:pt x="17" y="418"/>
                      </a:lnTo>
                      <a:lnTo>
                        <a:pt x="17" y="422"/>
                      </a:lnTo>
                      <a:lnTo>
                        <a:pt x="17" y="424"/>
                      </a:lnTo>
                      <a:lnTo>
                        <a:pt x="15" y="426"/>
                      </a:lnTo>
                      <a:lnTo>
                        <a:pt x="13" y="424"/>
                      </a:lnTo>
                      <a:lnTo>
                        <a:pt x="13" y="422"/>
                      </a:lnTo>
                      <a:lnTo>
                        <a:pt x="11" y="422"/>
                      </a:lnTo>
                      <a:lnTo>
                        <a:pt x="13" y="422"/>
                      </a:lnTo>
                      <a:lnTo>
                        <a:pt x="13" y="420"/>
                      </a:lnTo>
                      <a:lnTo>
                        <a:pt x="13" y="422"/>
                      </a:lnTo>
                      <a:lnTo>
                        <a:pt x="13" y="420"/>
                      </a:lnTo>
                      <a:lnTo>
                        <a:pt x="15" y="420"/>
                      </a:lnTo>
                      <a:lnTo>
                        <a:pt x="13" y="420"/>
                      </a:lnTo>
                      <a:lnTo>
                        <a:pt x="15" y="420"/>
                      </a:lnTo>
                      <a:lnTo>
                        <a:pt x="15" y="418"/>
                      </a:lnTo>
                      <a:lnTo>
                        <a:pt x="17" y="416"/>
                      </a:lnTo>
                      <a:lnTo>
                        <a:pt x="15" y="416"/>
                      </a:lnTo>
                      <a:lnTo>
                        <a:pt x="17" y="416"/>
                      </a:lnTo>
                      <a:close/>
                      <a:moveTo>
                        <a:pt x="238" y="44"/>
                      </a:moveTo>
                      <a:lnTo>
                        <a:pt x="240" y="46"/>
                      </a:lnTo>
                      <a:lnTo>
                        <a:pt x="240" y="50"/>
                      </a:lnTo>
                      <a:lnTo>
                        <a:pt x="242" y="50"/>
                      </a:lnTo>
                      <a:lnTo>
                        <a:pt x="242" y="48"/>
                      </a:lnTo>
                      <a:lnTo>
                        <a:pt x="244" y="48"/>
                      </a:lnTo>
                      <a:lnTo>
                        <a:pt x="242" y="50"/>
                      </a:lnTo>
                      <a:lnTo>
                        <a:pt x="244" y="52"/>
                      </a:lnTo>
                      <a:lnTo>
                        <a:pt x="244" y="50"/>
                      </a:lnTo>
                      <a:lnTo>
                        <a:pt x="244" y="52"/>
                      </a:lnTo>
                      <a:lnTo>
                        <a:pt x="246" y="52"/>
                      </a:lnTo>
                      <a:lnTo>
                        <a:pt x="246" y="53"/>
                      </a:lnTo>
                      <a:lnTo>
                        <a:pt x="244" y="53"/>
                      </a:lnTo>
                      <a:lnTo>
                        <a:pt x="244" y="55"/>
                      </a:lnTo>
                      <a:lnTo>
                        <a:pt x="242" y="55"/>
                      </a:lnTo>
                      <a:lnTo>
                        <a:pt x="240" y="53"/>
                      </a:lnTo>
                      <a:lnTo>
                        <a:pt x="240" y="50"/>
                      </a:lnTo>
                      <a:lnTo>
                        <a:pt x="236" y="46"/>
                      </a:lnTo>
                      <a:lnTo>
                        <a:pt x="238" y="46"/>
                      </a:lnTo>
                      <a:lnTo>
                        <a:pt x="236" y="46"/>
                      </a:lnTo>
                      <a:lnTo>
                        <a:pt x="238" y="46"/>
                      </a:lnTo>
                      <a:lnTo>
                        <a:pt x="238" y="44"/>
                      </a:lnTo>
                      <a:close/>
                      <a:moveTo>
                        <a:pt x="187" y="122"/>
                      </a:moveTo>
                      <a:lnTo>
                        <a:pt x="189" y="124"/>
                      </a:lnTo>
                      <a:lnTo>
                        <a:pt x="189" y="126"/>
                      </a:lnTo>
                      <a:lnTo>
                        <a:pt x="189" y="128"/>
                      </a:lnTo>
                      <a:lnTo>
                        <a:pt x="187" y="128"/>
                      </a:lnTo>
                      <a:lnTo>
                        <a:pt x="185" y="128"/>
                      </a:lnTo>
                      <a:lnTo>
                        <a:pt x="183" y="130"/>
                      </a:lnTo>
                      <a:lnTo>
                        <a:pt x="183" y="128"/>
                      </a:lnTo>
                      <a:lnTo>
                        <a:pt x="183" y="130"/>
                      </a:lnTo>
                      <a:lnTo>
                        <a:pt x="183" y="128"/>
                      </a:lnTo>
                      <a:lnTo>
                        <a:pt x="185" y="126"/>
                      </a:lnTo>
                      <a:lnTo>
                        <a:pt x="183" y="126"/>
                      </a:lnTo>
                      <a:lnTo>
                        <a:pt x="183" y="124"/>
                      </a:lnTo>
                      <a:lnTo>
                        <a:pt x="185" y="124"/>
                      </a:lnTo>
                      <a:lnTo>
                        <a:pt x="185" y="122"/>
                      </a:lnTo>
                      <a:lnTo>
                        <a:pt x="187" y="122"/>
                      </a:lnTo>
                      <a:close/>
                      <a:moveTo>
                        <a:pt x="135" y="141"/>
                      </a:moveTo>
                      <a:lnTo>
                        <a:pt x="137" y="141"/>
                      </a:lnTo>
                      <a:lnTo>
                        <a:pt x="135" y="143"/>
                      </a:lnTo>
                      <a:lnTo>
                        <a:pt x="133" y="145"/>
                      </a:lnTo>
                      <a:lnTo>
                        <a:pt x="135" y="145"/>
                      </a:lnTo>
                      <a:lnTo>
                        <a:pt x="135" y="147"/>
                      </a:lnTo>
                      <a:lnTo>
                        <a:pt x="135" y="149"/>
                      </a:lnTo>
                      <a:lnTo>
                        <a:pt x="135" y="147"/>
                      </a:lnTo>
                      <a:lnTo>
                        <a:pt x="135" y="149"/>
                      </a:lnTo>
                      <a:lnTo>
                        <a:pt x="133" y="147"/>
                      </a:lnTo>
                      <a:lnTo>
                        <a:pt x="133" y="149"/>
                      </a:lnTo>
                      <a:lnTo>
                        <a:pt x="135" y="149"/>
                      </a:lnTo>
                      <a:lnTo>
                        <a:pt x="133" y="149"/>
                      </a:lnTo>
                      <a:lnTo>
                        <a:pt x="135" y="149"/>
                      </a:lnTo>
                      <a:lnTo>
                        <a:pt x="133" y="151"/>
                      </a:lnTo>
                      <a:lnTo>
                        <a:pt x="131" y="153"/>
                      </a:lnTo>
                      <a:lnTo>
                        <a:pt x="130" y="153"/>
                      </a:lnTo>
                      <a:lnTo>
                        <a:pt x="131" y="153"/>
                      </a:lnTo>
                      <a:lnTo>
                        <a:pt x="130" y="153"/>
                      </a:lnTo>
                      <a:lnTo>
                        <a:pt x="131" y="151"/>
                      </a:lnTo>
                      <a:lnTo>
                        <a:pt x="131" y="149"/>
                      </a:lnTo>
                      <a:lnTo>
                        <a:pt x="131" y="147"/>
                      </a:lnTo>
                      <a:lnTo>
                        <a:pt x="133" y="147"/>
                      </a:lnTo>
                      <a:lnTo>
                        <a:pt x="133" y="145"/>
                      </a:lnTo>
                      <a:lnTo>
                        <a:pt x="133" y="143"/>
                      </a:lnTo>
                      <a:lnTo>
                        <a:pt x="135" y="143"/>
                      </a:lnTo>
                      <a:lnTo>
                        <a:pt x="135" y="141"/>
                      </a:lnTo>
                      <a:close/>
                      <a:moveTo>
                        <a:pt x="55" y="323"/>
                      </a:moveTo>
                      <a:lnTo>
                        <a:pt x="57" y="323"/>
                      </a:lnTo>
                      <a:lnTo>
                        <a:pt x="57" y="324"/>
                      </a:lnTo>
                      <a:lnTo>
                        <a:pt x="57" y="326"/>
                      </a:lnTo>
                      <a:lnTo>
                        <a:pt x="55" y="326"/>
                      </a:lnTo>
                      <a:lnTo>
                        <a:pt x="57" y="326"/>
                      </a:lnTo>
                      <a:lnTo>
                        <a:pt x="55" y="326"/>
                      </a:lnTo>
                      <a:lnTo>
                        <a:pt x="53" y="326"/>
                      </a:lnTo>
                      <a:lnTo>
                        <a:pt x="55" y="326"/>
                      </a:lnTo>
                      <a:lnTo>
                        <a:pt x="53" y="326"/>
                      </a:lnTo>
                      <a:lnTo>
                        <a:pt x="51" y="326"/>
                      </a:lnTo>
                      <a:lnTo>
                        <a:pt x="53" y="324"/>
                      </a:lnTo>
                      <a:lnTo>
                        <a:pt x="51" y="324"/>
                      </a:lnTo>
                      <a:lnTo>
                        <a:pt x="51" y="326"/>
                      </a:lnTo>
                      <a:lnTo>
                        <a:pt x="49" y="326"/>
                      </a:lnTo>
                      <a:lnTo>
                        <a:pt x="51" y="326"/>
                      </a:lnTo>
                      <a:lnTo>
                        <a:pt x="49" y="324"/>
                      </a:lnTo>
                      <a:lnTo>
                        <a:pt x="51" y="324"/>
                      </a:lnTo>
                      <a:lnTo>
                        <a:pt x="49" y="324"/>
                      </a:lnTo>
                      <a:lnTo>
                        <a:pt x="51" y="324"/>
                      </a:lnTo>
                      <a:lnTo>
                        <a:pt x="51" y="323"/>
                      </a:lnTo>
                      <a:lnTo>
                        <a:pt x="51" y="324"/>
                      </a:lnTo>
                      <a:lnTo>
                        <a:pt x="51" y="323"/>
                      </a:lnTo>
                      <a:lnTo>
                        <a:pt x="53" y="323"/>
                      </a:lnTo>
                      <a:lnTo>
                        <a:pt x="55" y="323"/>
                      </a:lnTo>
                      <a:close/>
                      <a:moveTo>
                        <a:pt x="11" y="439"/>
                      </a:moveTo>
                      <a:lnTo>
                        <a:pt x="11" y="441"/>
                      </a:lnTo>
                      <a:lnTo>
                        <a:pt x="11" y="439"/>
                      </a:lnTo>
                      <a:lnTo>
                        <a:pt x="13" y="441"/>
                      </a:lnTo>
                      <a:lnTo>
                        <a:pt x="15" y="443"/>
                      </a:lnTo>
                      <a:lnTo>
                        <a:pt x="15" y="445"/>
                      </a:lnTo>
                      <a:lnTo>
                        <a:pt x="13" y="445"/>
                      </a:lnTo>
                      <a:lnTo>
                        <a:pt x="13" y="447"/>
                      </a:lnTo>
                      <a:lnTo>
                        <a:pt x="11" y="447"/>
                      </a:lnTo>
                      <a:lnTo>
                        <a:pt x="11" y="445"/>
                      </a:lnTo>
                      <a:lnTo>
                        <a:pt x="11" y="443"/>
                      </a:lnTo>
                      <a:lnTo>
                        <a:pt x="11" y="445"/>
                      </a:lnTo>
                      <a:lnTo>
                        <a:pt x="11" y="443"/>
                      </a:lnTo>
                      <a:lnTo>
                        <a:pt x="11" y="441"/>
                      </a:lnTo>
                      <a:lnTo>
                        <a:pt x="9" y="443"/>
                      </a:lnTo>
                      <a:lnTo>
                        <a:pt x="11" y="441"/>
                      </a:lnTo>
                      <a:lnTo>
                        <a:pt x="11" y="439"/>
                      </a:lnTo>
                      <a:close/>
                      <a:moveTo>
                        <a:pt x="240" y="57"/>
                      </a:moveTo>
                      <a:lnTo>
                        <a:pt x="242" y="59"/>
                      </a:lnTo>
                      <a:lnTo>
                        <a:pt x="240" y="61"/>
                      </a:lnTo>
                      <a:lnTo>
                        <a:pt x="240" y="63"/>
                      </a:lnTo>
                      <a:lnTo>
                        <a:pt x="234" y="65"/>
                      </a:lnTo>
                      <a:lnTo>
                        <a:pt x="236" y="61"/>
                      </a:lnTo>
                      <a:lnTo>
                        <a:pt x="240" y="59"/>
                      </a:lnTo>
                      <a:lnTo>
                        <a:pt x="240" y="57"/>
                      </a:lnTo>
                      <a:close/>
                      <a:moveTo>
                        <a:pt x="17" y="437"/>
                      </a:moveTo>
                      <a:lnTo>
                        <a:pt x="17" y="439"/>
                      </a:lnTo>
                      <a:lnTo>
                        <a:pt x="15" y="441"/>
                      </a:lnTo>
                      <a:lnTo>
                        <a:pt x="17" y="441"/>
                      </a:lnTo>
                      <a:lnTo>
                        <a:pt x="17" y="443"/>
                      </a:lnTo>
                      <a:lnTo>
                        <a:pt x="17" y="441"/>
                      </a:lnTo>
                      <a:lnTo>
                        <a:pt x="15" y="441"/>
                      </a:lnTo>
                      <a:lnTo>
                        <a:pt x="15" y="443"/>
                      </a:lnTo>
                      <a:lnTo>
                        <a:pt x="13" y="439"/>
                      </a:lnTo>
                      <a:lnTo>
                        <a:pt x="13" y="441"/>
                      </a:lnTo>
                      <a:lnTo>
                        <a:pt x="11" y="439"/>
                      </a:lnTo>
                      <a:lnTo>
                        <a:pt x="13" y="439"/>
                      </a:lnTo>
                      <a:lnTo>
                        <a:pt x="11" y="439"/>
                      </a:lnTo>
                      <a:lnTo>
                        <a:pt x="13" y="439"/>
                      </a:lnTo>
                      <a:lnTo>
                        <a:pt x="13" y="437"/>
                      </a:lnTo>
                      <a:lnTo>
                        <a:pt x="15" y="437"/>
                      </a:lnTo>
                      <a:lnTo>
                        <a:pt x="17" y="437"/>
                      </a:lnTo>
                      <a:close/>
                      <a:moveTo>
                        <a:pt x="131" y="225"/>
                      </a:moveTo>
                      <a:lnTo>
                        <a:pt x="131" y="227"/>
                      </a:lnTo>
                      <a:lnTo>
                        <a:pt x="130" y="229"/>
                      </a:lnTo>
                      <a:lnTo>
                        <a:pt x="126" y="231"/>
                      </a:lnTo>
                      <a:lnTo>
                        <a:pt x="126" y="233"/>
                      </a:lnTo>
                      <a:lnTo>
                        <a:pt x="124" y="233"/>
                      </a:lnTo>
                      <a:lnTo>
                        <a:pt x="126" y="233"/>
                      </a:lnTo>
                      <a:lnTo>
                        <a:pt x="126" y="231"/>
                      </a:lnTo>
                      <a:lnTo>
                        <a:pt x="124" y="231"/>
                      </a:lnTo>
                      <a:lnTo>
                        <a:pt x="124" y="233"/>
                      </a:lnTo>
                      <a:lnTo>
                        <a:pt x="124" y="231"/>
                      </a:lnTo>
                      <a:lnTo>
                        <a:pt x="124" y="229"/>
                      </a:lnTo>
                      <a:lnTo>
                        <a:pt x="126" y="227"/>
                      </a:lnTo>
                      <a:lnTo>
                        <a:pt x="130" y="227"/>
                      </a:lnTo>
                      <a:lnTo>
                        <a:pt x="128" y="227"/>
                      </a:lnTo>
                      <a:lnTo>
                        <a:pt x="128" y="229"/>
                      </a:lnTo>
                      <a:lnTo>
                        <a:pt x="130" y="227"/>
                      </a:lnTo>
                      <a:lnTo>
                        <a:pt x="131" y="225"/>
                      </a:lnTo>
                      <a:close/>
                      <a:moveTo>
                        <a:pt x="200" y="105"/>
                      </a:moveTo>
                      <a:lnTo>
                        <a:pt x="202" y="107"/>
                      </a:lnTo>
                      <a:lnTo>
                        <a:pt x="204" y="109"/>
                      </a:lnTo>
                      <a:lnTo>
                        <a:pt x="202" y="111"/>
                      </a:lnTo>
                      <a:lnTo>
                        <a:pt x="200" y="111"/>
                      </a:lnTo>
                      <a:lnTo>
                        <a:pt x="198" y="107"/>
                      </a:lnTo>
                      <a:lnTo>
                        <a:pt x="198" y="105"/>
                      </a:lnTo>
                      <a:lnTo>
                        <a:pt x="200" y="107"/>
                      </a:lnTo>
                      <a:lnTo>
                        <a:pt x="200" y="109"/>
                      </a:lnTo>
                      <a:lnTo>
                        <a:pt x="202" y="109"/>
                      </a:lnTo>
                      <a:lnTo>
                        <a:pt x="200" y="107"/>
                      </a:lnTo>
                      <a:lnTo>
                        <a:pt x="200" y="105"/>
                      </a:lnTo>
                      <a:close/>
                      <a:moveTo>
                        <a:pt x="400" y="61"/>
                      </a:moveTo>
                      <a:lnTo>
                        <a:pt x="402" y="61"/>
                      </a:lnTo>
                      <a:lnTo>
                        <a:pt x="404" y="63"/>
                      </a:lnTo>
                      <a:lnTo>
                        <a:pt x="402" y="63"/>
                      </a:lnTo>
                      <a:lnTo>
                        <a:pt x="404" y="63"/>
                      </a:lnTo>
                      <a:lnTo>
                        <a:pt x="404" y="65"/>
                      </a:lnTo>
                      <a:lnTo>
                        <a:pt x="402" y="65"/>
                      </a:lnTo>
                      <a:lnTo>
                        <a:pt x="404" y="65"/>
                      </a:lnTo>
                      <a:lnTo>
                        <a:pt x="402" y="69"/>
                      </a:lnTo>
                      <a:lnTo>
                        <a:pt x="400" y="67"/>
                      </a:lnTo>
                      <a:lnTo>
                        <a:pt x="400" y="69"/>
                      </a:lnTo>
                      <a:lnTo>
                        <a:pt x="398" y="69"/>
                      </a:lnTo>
                      <a:lnTo>
                        <a:pt x="400" y="67"/>
                      </a:lnTo>
                      <a:lnTo>
                        <a:pt x="400" y="65"/>
                      </a:lnTo>
                      <a:lnTo>
                        <a:pt x="400" y="67"/>
                      </a:lnTo>
                      <a:lnTo>
                        <a:pt x="400" y="61"/>
                      </a:lnTo>
                      <a:close/>
                      <a:moveTo>
                        <a:pt x="21" y="359"/>
                      </a:moveTo>
                      <a:lnTo>
                        <a:pt x="23" y="359"/>
                      </a:lnTo>
                      <a:lnTo>
                        <a:pt x="23" y="361"/>
                      </a:lnTo>
                      <a:lnTo>
                        <a:pt x="21" y="363"/>
                      </a:lnTo>
                      <a:lnTo>
                        <a:pt x="21" y="365"/>
                      </a:lnTo>
                      <a:lnTo>
                        <a:pt x="19" y="365"/>
                      </a:lnTo>
                      <a:lnTo>
                        <a:pt x="19" y="363"/>
                      </a:lnTo>
                      <a:lnTo>
                        <a:pt x="19" y="361"/>
                      </a:lnTo>
                      <a:lnTo>
                        <a:pt x="19" y="359"/>
                      </a:lnTo>
                      <a:lnTo>
                        <a:pt x="21" y="359"/>
                      </a:lnTo>
                      <a:close/>
                      <a:moveTo>
                        <a:pt x="6" y="424"/>
                      </a:moveTo>
                      <a:lnTo>
                        <a:pt x="6" y="426"/>
                      </a:lnTo>
                      <a:lnTo>
                        <a:pt x="8" y="426"/>
                      </a:lnTo>
                      <a:lnTo>
                        <a:pt x="6" y="427"/>
                      </a:lnTo>
                      <a:lnTo>
                        <a:pt x="8" y="426"/>
                      </a:lnTo>
                      <a:lnTo>
                        <a:pt x="8" y="427"/>
                      </a:lnTo>
                      <a:lnTo>
                        <a:pt x="8" y="429"/>
                      </a:lnTo>
                      <a:lnTo>
                        <a:pt x="8" y="431"/>
                      </a:lnTo>
                      <a:lnTo>
                        <a:pt x="8" y="429"/>
                      </a:lnTo>
                      <a:lnTo>
                        <a:pt x="9" y="431"/>
                      </a:lnTo>
                      <a:lnTo>
                        <a:pt x="8" y="431"/>
                      </a:lnTo>
                      <a:lnTo>
                        <a:pt x="9" y="433"/>
                      </a:lnTo>
                      <a:lnTo>
                        <a:pt x="8" y="431"/>
                      </a:lnTo>
                      <a:lnTo>
                        <a:pt x="9" y="433"/>
                      </a:lnTo>
                      <a:lnTo>
                        <a:pt x="8" y="433"/>
                      </a:lnTo>
                      <a:lnTo>
                        <a:pt x="8" y="431"/>
                      </a:lnTo>
                      <a:lnTo>
                        <a:pt x="6" y="431"/>
                      </a:lnTo>
                      <a:lnTo>
                        <a:pt x="6" y="429"/>
                      </a:lnTo>
                      <a:lnTo>
                        <a:pt x="6" y="431"/>
                      </a:lnTo>
                      <a:lnTo>
                        <a:pt x="6" y="429"/>
                      </a:lnTo>
                      <a:lnTo>
                        <a:pt x="8" y="429"/>
                      </a:lnTo>
                      <a:lnTo>
                        <a:pt x="6" y="429"/>
                      </a:lnTo>
                      <a:lnTo>
                        <a:pt x="6" y="427"/>
                      </a:lnTo>
                      <a:lnTo>
                        <a:pt x="6" y="426"/>
                      </a:lnTo>
                      <a:lnTo>
                        <a:pt x="6" y="424"/>
                      </a:lnTo>
                      <a:lnTo>
                        <a:pt x="6" y="426"/>
                      </a:lnTo>
                      <a:lnTo>
                        <a:pt x="6" y="424"/>
                      </a:lnTo>
                      <a:close/>
                      <a:moveTo>
                        <a:pt x="48" y="334"/>
                      </a:moveTo>
                      <a:lnTo>
                        <a:pt x="48" y="338"/>
                      </a:lnTo>
                      <a:lnTo>
                        <a:pt x="49" y="338"/>
                      </a:lnTo>
                      <a:lnTo>
                        <a:pt x="46" y="342"/>
                      </a:lnTo>
                      <a:lnTo>
                        <a:pt x="46" y="340"/>
                      </a:lnTo>
                      <a:lnTo>
                        <a:pt x="44" y="340"/>
                      </a:lnTo>
                      <a:lnTo>
                        <a:pt x="46" y="338"/>
                      </a:lnTo>
                      <a:lnTo>
                        <a:pt x="44" y="338"/>
                      </a:lnTo>
                      <a:lnTo>
                        <a:pt x="46" y="338"/>
                      </a:lnTo>
                      <a:lnTo>
                        <a:pt x="44" y="338"/>
                      </a:lnTo>
                      <a:lnTo>
                        <a:pt x="46" y="338"/>
                      </a:lnTo>
                      <a:lnTo>
                        <a:pt x="44" y="338"/>
                      </a:lnTo>
                      <a:lnTo>
                        <a:pt x="46" y="336"/>
                      </a:lnTo>
                      <a:lnTo>
                        <a:pt x="46" y="338"/>
                      </a:lnTo>
                      <a:lnTo>
                        <a:pt x="48" y="338"/>
                      </a:lnTo>
                      <a:lnTo>
                        <a:pt x="48" y="336"/>
                      </a:lnTo>
                      <a:lnTo>
                        <a:pt x="48" y="334"/>
                      </a:lnTo>
                      <a:close/>
                      <a:moveTo>
                        <a:pt x="9" y="458"/>
                      </a:moveTo>
                      <a:lnTo>
                        <a:pt x="11" y="458"/>
                      </a:lnTo>
                      <a:lnTo>
                        <a:pt x="11" y="460"/>
                      </a:lnTo>
                      <a:lnTo>
                        <a:pt x="11" y="462"/>
                      </a:lnTo>
                      <a:lnTo>
                        <a:pt x="11" y="466"/>
                      </a:lnTo>
                      <a:lnTo>
                        <a:pt x="9" y="466"/>
                      </a:lnTo>
                      <a:lnTo>
                        <a:pt x="11" y="466"/>
                      </a:lnTo>
                      <a:lnTo>
                        <a:pt x="9" y="466"/>
                      </a:lnTo>
                      <a:lnTo>
                        <a:pt x="9" y="464"/>
                      </a:lnTo>
                      <a:lnTo>
                        <a:pt x="9" y="462"/>
                      </a:lnTo>
                      <a:lnTo>
                        <a:pt x="9" y="460"/>
                      </a:lnTo>
                      <a:lnTo>
                        <a:pt x="9" y="462"/>
                      </a:lnTo>
                      <a:lnTo>
                        <a:pt x="9" y="460"/>
                      </a:lnTo>
                      <a:lnTo>
                        <a:pt x="9" y="458"/>
                      </a:lnTo>
                      <a:close/>
                      <a:moveTo>
                        <a:pt x="67" y="309"/>
                      </a:moveTo>
                      <a:lnTo>
                        <a:pt x="67" y="311"/>
                      </a:lnTo>
                      <a:lnTo>
                        <a:pt x="67" y="309"/>
                      </a:lnTo>
                      <a:lnTo>
                        <a:pt x="67" y="311"/>
                      </a:lnTo>
                      <a:lnTo>
                        <a:pt x="67" y="313"/>
                      </a:lnTo>
                      <a:lnTo>
                        <a:pt x="67" y="315"/>
                      </a:lnTo>
                      <a:lnTo>
                        <a:pt x="65" y="315"/>
                      </a:lnTo>
                      <a:lnTo>
                        <a:pt x="61" y="315"/>
                      </a:lnTo>
                      <a:lnTo>
                        <a:pt x="63" y="315"/>
                      </a:lnTo>
                      <a:lnTo>
                        <a:pt x="61" y="315"/>
                      </a:lnTo>
                      <a:lnTo>
                        <a:pt x="59" y="315"/>
                      </a:lnTo>
                      <a:lnTo>
                        <a:pt x="61" y="313"/>
                      </a:lnTo>
                      <a:lnTo>
                        <a:pt x="61" y="315"/>
                      </a:lnTo>
                      <a:lnTo>
                        <a:pt x="61" y="313"/>
                      </a:lnTo>
                      <a:lnTo>
                        <a:pt x="63" y="313"/>
                      </a:lnTo>
                      <a:lnTo>
                        <a:pt x="65" y="313"/>
                      </a:lnTo>
                      <a:lnTo>
                        <a:pt x="63" y="313"/>
                      </a:lnTo>
                      <a:lnTo>
                        <a:pt x="65" y="313"/>
                      </a:lnTo>
                      <a:lnTo>
                        <a:pt x="67" y="311"/>
                      </a:lnTo>
                      <a:lnTo>
                        <a:pt x="65" y="311"/>
                      </a:lnTo>
                      <a:lnTo>
                        <a:pt x="67" y="311"/>
                      </a:lnTo>
                      <a:lnTo>
                        <a:pt x="67" y="309"/>
                      </a:lnTo>
                      <a:close/>
                      <a:moveTo>
                        <a:pt x="128" y="220"/>
                      </a:moveTo>
                      <a:lnTo>
                        <a:pt x="128" y="221"/>
                      </a:lnTo>
                      <a:lnTo>
                        <a:pt x="126" y="223"/>
                      </a:lnTo>
                      <a:lnTo>
                        <a:pt x="128" y="221"/>
                      </a:lnTo>
                      <a:lnTo>
                        <a:pt x="128" y="223"/>
                      </a:lnTo>
                      <a:lnTo>
                        <a:pt x="126" y="223"/>
                      </a:lnTo>
                      <a:lnTo>
                        <a:pt x="126" y="225"/>
                      </a:lnTo>
                      <a:lnTo>
                        <a:pt x="122" y="227"/>
                      </a:lnTo>
                      <a:lnTo>
                        <a:pt x="122" y="225"/>
                      </a:lnTo>
                      <a:lnTo>
                        <a:pt x="126" y="223"/>
                      </a:lnTo>
                      <a:lnTo>
                        <a:pt x="124" y="225"/>
                      </a:lnTo>
                      <a:lnTo>
                        <a:pt x="124" y="223"/>
                      </a:lnTo>
                      <a:lnTo>
                        <a:pt x="124" y="225"/>
                      </a:lnTo>
                      <a:lnTo>
                        <a:pt x="122" y="225"/>
                      </a:lnTo>
                      <a:lnTo>
                        <a:pt x="124" y="223"/>
                      </a:lnTo>
                      <a:lnTo>
                        <a:pt x="122" y="225"/>
                      </a:lnTo>
                      <a:lnTo>
                        <a:pt x="124" y="223"/>
                      </a:lnTo>
                      <a:lnTo>
                        <a:pt x="122" y="223"/>
                      </a:lnTo>
                      <a:lnTo>
                        <a:pt x="124" y="223"/>
                      </a:lnTo>
                      <a:lnTo>
                        <a:pt x="126" y="223"/>
                      </a:lnTo>
                      <a:lnTo>
                        <a:pt x="126" y="221"/>
                      </a:lnTo>
                      <a:lnTo>
                        <a:pt x="126" y="220"/>
                      </a:lnTo>
                      <a:lnTo>
                        <a:pt x="124" y="221"/>
                      </a:lnTo>
                      <a:lnTo>
                        <a:pt x="126" y="220"/>
                      </a:lnTo>
                      <a:lnTo>
                        <a:pt x="124" y="220"/>
                      </a:lnTo>
                      <a:lnTo>
                        <a:pt x="126" y="220"/>
                      </a:lnTo>
                      <a:lnTo>
                        <a:pt x="128" y="220"/>
                      </a:lnTo>
                      <a:close/>
                      <a:moveTo>
                        <a:pt x="103" y="279"/>
                      </a:moveTo>
                      <a:lnTo>
                        <a:pt x="105" y="281"/>
                      </a:lnTo>
                      <a:lnTo>
                        <a:pt x="107" y="281"/>
                      </a:lnTo>
                      <a:lnTo>
                        <a:pt x="107" y="282"/>
                      </a:lnTo>
                      <a:lnTo>
                        <a:pt x="109" y="284"/>
                      </a:lnTo>
                      <a:lnTo>
                        <a:pt x="109" y="286"/>
                      </a:lnTo>
                      <a:lnTo>
                        <a:pt x="109" y="284"/>
                      </a:lnTo>
                      <a:lnTo>
                        <a:pt x="107" y="284"/>
                      </a:lnTo>
                      <a:lnTo>
                        <a:pt x="105" y="284"/>
                      </a:lnTo>
                      <a:lnTo>
                        <a:pt x="103" y="282"/>
                      </a:lnTo>
                      <a:lnTo>
                        <a:pt x="105" y="282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5" y="281"/>
                      </a:lnTo>
                      <a:lnTo>
                        <a:pt x="103" y="281"/>
                      </a:lnTo>
                      <a:lnTo>
                        <a:pt x="103" y="279"/>
                      </a:lnTo>
                      <a:close/>
                      <a:moveTo>
                        <a:pt x="6" y="376"/>
                      </a:moveTo>
                      <a:lnTo>
                        <a:pt x="8" y="378"/>
                      </a:lnTo>
                      <a:lnTo>
                        <a:pt x="9" y="378"/>
                      </a:lnTo>
                      <a:lnTo>
                        <a:pt x="8" y="380"/>
                      </a:lnTo>
                      <a:lnTo>
                        <a:pt x="9" y="378"/>
                      </a:lnTo>
                      <a:lnTo>
                        <a:pt x="8" y="378"/>
                      </a:lnTo>
                      <a:lnTo>
                        <a:pt x="8" y="380"/>
                      </a:lnTo>
                      <a:lnTo>
                        <a:pt x="6" y="380"/>
                      </a:lnTo>
                      <a:lnTo>
                        <a:pt x="4" y="380"/>
                      </a:lnTo>
                      <a:lnTo>
                        <a:pt x="6" y="380"/>
                      </a:lnTo>
                      <a:lnTo>
                        <a:pt x="6" y="378"/>
                      </a:lnTo>
                      <a:lnTo>
                        <a:pt x="4" y="378"/>
                      </a:lnTo>
                      <a:lnTo>
                        <a:pt x="6" y="378"/>
                      </a:lnTo>
                      <a:lnTo>
                        <a:pt x="4" y="376"/>
                      </a:lnTo>
                      <a:lnTo>
                        <a:pt x="6" y="376"/>
                      </a:lnTo>
                      <a:close/>
                      <a:moveTo>
                        <a:pt x="105" y="267"/>
                      </a:moveTo>
                      <a:lnTo>
                        <a:pt x="103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5" y="267"/>
                      </a:lnTo>
                      <a:lnTo>
                        <a:pt x="105" y="269"/>
                      </a:lnTo>
                      <a:lnTo>
                        <a:pt x="103" y="269"/>
                      </a:lnTo>
                      <a:lnTo>
                        <a:pt x="105" y="269"/>
                      </a:lnTo>
                      <a:lnTo>
                        <a:pt x="107" y="269"/>
                      </a:lnTo>
                      <a:lnTo>
                        <a:pt x="105" y="271"/>
                      </a:lnTo>
                      <a:lnTo>
                        <a:pt x="103" y="273"/>
                      </a:lnTo>
                      <a:lnTo>
                        <a:pt x="103" y="271"/>
                      </a:lnTo>
                      <a:lnTo>
                        <a:pt x="103" y="273"/>
                      </a:lnTo>
                      <a:lnTo>
                        <a:pt x="103" y="271"/>
                      </a:lnTo>
                      <a:lnTo>
                        <a:pt x="103" y="269"/>
                      </a:lnTo>
                      <a:lnTo>
                        <a:pt x="103" y="271"/>
                      </a:lnTo>
                      <a:lnTo>
                        <a:pt x="103" y="269"/>
                      </a:lnTo>
                      <a:lnTo>
                        <a:pt x="101" y="269"/>
                      </a:lnTo>
                      <a:lnTo>
                        <a:pt x="101" y="271"/>
                      </a:lnTo>
                      <a:lnTo>
                        <a:pt x="99" y="271"/>
                      </a:lnTo>
                      <a:lnTo>
                        <a:pt x="99" y="273"/>
                      </a:lnTo>
                      <a:lnTo>
                        <a:pt x="99" y="271"/>
                      </a:lnTo>
                      <a:lnTo>
                        <a:pt x="101" y="271"/>
                      </a:lnTo>
                      <a:lnTo>
                        <a:pt x="101" y="269"/>
                      </a:lnTo>
                      <a:lnTo>
                        <a:pt x="103" y="269"/>
                      </a:lnTo>
                      <a:lnTo>
                        <a:pt x="103" y="267"/>
                      </a:lnTo>
                      <a:lnTo>
                        <a:pt x="105" y="267"/>
                      </a:lnTo>
                      <a:close/>
                      <a:moveTo>
                        <a:pt x="61" y="328"/>
                      </a:moveTo>
                      <a:lnTo>
                        <a:pt x="61" y="330"/>
                      </a:lnTo>
                      <a:lnTo>
                        <a:pt x="63" y="330"/>
                      </a:lnTo>
                      <a:lnTo>
                        <a:pt x="63" y="332"/>
                      </a:lnTo>
                      <a:lnTo>
                        <a:pt x="61" y="334"/>
                      </a:lnTo>
                      <a:lnTo>
                        <a:pt x="61" y="332"/>
                      </a:lnTo>
                      <a:lnTo>
                        <a:pt x="59" y="332"/>
                      </a:lnTo>
                      <a:lnTo>
                        <a:pt x="57" y="330"/>
                      </a:lnTo>
                      <a:lnTo>
                        <a:pt x="59" y="330"/>
                      </a:lnTo>
                      <a:lnTo>
                        <a:pt x="57" y="330"/>
                      </a:lnTo>
                      <a:lnTo>
                        <a:pt x="59" y="328"/>
                      </a:lnTo>
                      <a:lnTo>
                        <a:pt x="59" y="330"/>
                      </a:lnTo>
                      <a:lnTo>
                        <a:pt x="59" y="328"/>
                      </a:lnTo>
                      <a:lnTo>
                        <a:pt x="61" y="332"/>
                      </a:lnTo>
                      <a:lnTo>
                        <a:pt x="59" y="328"/>
                      </a:lnTo>
                      <a:lnTo>
                        <a:pt x="61" y="328"/>
                      </a:lnTo>
                      <a:close/>
                      <a:moveTo>
                        <a:pt x="187" y="103"/>
                      </a:moveTo>
                      <a:lnTo>
                        <a:pt x="189" y="105"/>
                      </a:lnTo>
                      <a:lnTo>
                        <a:pt x="191" y="105"/>
                      </a:lnTo>
                      <a:lnTo>
                        <a:pt x="191" y="103"/>
                      </a:lnTo>
                      <a:lnTo>
                        <a:pt x="191" y="105"/>
                      </a:lnTo>
                      <a:lnTo>
                        <a:pt x="191" y="107"/>
                      </a:lnTo>
                      <a:lnTo>
                        <a:pt x="191" y="109"/>
                      </a:lnTo>
                      <a:lnTo>
                        <a:pt x="189" y="107"/>
                      </a:lnTo>
                      <a:lnTo>
                        <a:pt x="187" y="105"/>
                      </a:lnTo>
                      <a:lnTo>
                        <a:pt x="185" y="105"/>
                      </a:lnTo>
                      <a:lnTo>
                        <a:pt x="185" y="103"/>
                      </a:lnTo>
                      <a:lnTo>
                        <a:pt x="187" y="103"/>
                      </a:lnTo>
                      <a:close/>
                      <a:moveTo>
                        <a:pt x="17" y="363"/>
                      </a:moveTo>
                      <a:lnTo>
                        <a:pt x="19" y="363"/>
                      </a:lnTo>
                      <a:lnTo>
                        <a:pt x="19" y="365"/>
                      </a:lnTo>
                      <a:lnTo>
                        <a:pt x="19" y="366"/>
                      </a:lnTo>
                      <a:lnTo>
                        <a:pt x="15" y="366"/>
                      </a:lnTo>
                      <a:lnTo>
                        <a:pt x="15" y="365"/>
                      </a:lnTo>
                      <a:lnTo>
                        <a:pt x="17" y="366"/>
                      </a:lnTo>
                      <a:lnTo>
                        <a:pt x="15" y="365"/>
                      </a:lnTo>
                      <a:lnTo>
                        <a:pt x="15" y="363"/>
                      </a:lnTo>
                      <a:lnTo>
                        <a:pt x="17" y="363"/>
                      </a:lnTo>
                      <a:close/>
                      <a:moveTo>
                        <a:pt x="198" y="109"/>
                      </a:moveTo>
                      <a:lnTo>
                        <a:pt x="198" y="111"/>
                      </a:lnTo>
                      <a:lnTo>
                        <a:pt x="200" y="113"/>
                      </a:lnTo>
                      <a:lnTo>
                        <a:pt x="194" y="115"/>
                      </a:lnTo>
                      <a:lnTo>
                        <a:pt x="194" y="113"/>
                      </a:lnTo>
                      <a:lnTo>
                        <a:pt x="196" y="113"/>
                      </a:lnTo>
                      <a:lnTo>
                        <a:pt x="196" y="111"/>
                      </a:lnTo>
                      <a:lnTo>
                        <a:pt x="198" y="109"/>
                      </a:lnTo>
                      <a:close/>
                      <a:moveTo>
                        <a:pt x="139" y="139"/>
                      </a:moveTo>
                      <a:lnTo>
                        <a:pt x="141" y="139"/>
                      </a:lnTo>
                      <a:lnTo>
                        <a:pt x="139" y="141"/>
                      </a:lnTo>
                      <a:lnTo>
                        <a:pt x="141" y="141"/>
                      </a:lnTo>
                      <a:lnTo>
                        <a:pt x="139" y="141"/>
                      </a:lnTo>
                      <a:lnTo>
                        <a:pt x="139" y="143"/>
                      </a:lnTo>
                      <a:lnTo>
                        <a:pt x="139" y="145"/>
                      </a:lnTo>
                      <a:lnTo>
                        <a:pt x="139" y="143"/>
                      </a:lnTo>
                      <a:lnTo>
                        <a:pt x="139" y="145"/>
                      </a:lnTo>
                      <a:lnTo>
                        <a:pt x="137" y="147"/>
                      </a:lnTo>
                      <a:lnTo>
                        <a:pt x="137" y="143"/>
                      </a:lnTo>
                      <a:lnTo>
                        <a:pt x="137" y="145"/>
                      </a:lnTo>
                      <a:lnTo>
                        <a:pt x="137" y="147"/>
                      </a:lnTo>
                      <a:lnTo>
                        <a:pt x="135" y="145"/>
                      </a:lnTo>
                      <a:lnTo>
                        <a:pt x="137" y="143"/>
                      </a:lnTo>
                      <a:lnTo>
                        <a:pt x="137" y="141"/>
                      </a:lnTo>
                      <a:lnTo>
                        <a:pt x="137" y="143"/>
                      </a:lnTo>
                      <a:lnTo>
                        <a:pt x="139" y="143"/>
                      </a:lnTo>
                      <a:lnTo>
                        <a:pt x="139" y="141"/>
                      </a:lnTo>
                      <a:lnTo>
                        <a:pt x="137" y="141"/>
                      </a:lnTo>
                      <a:lnTo>
                        <a:pt x="139" y="139"/>
                      </a:lnTo>
                      <a:close/>
                      <a:moveTo>
                        <a:pt x="160" y="120"/>
                      </a:moveTo>
                      <a:lnTo>
                        <a:pt x="164" y="122"/>
                      </a:lnTo>
                      <a:lnTo>
                        <a:pt x="166" y="122"/>
                      </a:lnTo>
                      <a:lnTo>
                        <a:pt x="166" y="124"/>
                      </a:lnTo>
                      <a:lnTo>
                        <a:pt x="164" y="124"/>
                      </a:lnTo>
                      <a:lnTo>
                        <a:pt x="162" y="124"/>
                      </a:lnTo>
                      <a:lnTo>
                        <a:pt x="160" y="124"/>
                      </a:lnTo>
                      <a:lnTo>
                        <a:pt x="160" y="122"/>
                      </a:lnTo>
                      <a:lnTo>
                        <a:pt x="158" y="122"/>
                      </a:lnTo>
                      <a:lnTo>
                        <a:pt x="160" y="122"/>
                      </a:lnTo>
                      <a:lnTo>
                        <a:pt x="160" y="120"/>
                      </a:lnTo>
                      <a:close/>
                      <a:moveTo>
                        <a:pt x="309" y="8"/>
                      </a:moveTo>
                      <a:lnTo>
                        <a:pt x="309" y="10"/>
                      </a:lnTo>
                      <a:lnTo>
                        <a:pt x="311" y="10"/>
                      </a:lnTo>
                      <a:lnTo>
                        <a:pt x="309" y="10"/>
                      </a:lnTo>
                      <a:lnTo>
                        <a:pt x="309" y="12"/>
                      </a:lnTo>
                      <a:lnTo>
                        <a:pt x="311" y="12"/>
                      </a:lnTo>
                      <a:lnTo>
                        <a:pt x="313" y="12"/>
                      </a:lnTo>
                      <a:lnTo>
                        <a:pt x="309" y="13"/>
                      </a:lnTo>
                      <a:lnTo>
                        <a:pt x="307" y="13"/>
                      </a:lnTo>
                      <a:lnTo>
                        <a:pt x="307" y="12"/>
                      </a:lnTo>
                      <a:lnTo>
                        <a:pt x="307" y="10"/>
                      </a:lnTo>
                      <a:lnTo>
                        <a:pt x="309" y="10"/>
                      </a:lnTo>
                      <a:lnTo>
                        <a:pt x="307" y="10"/>
                      </a:lnTo>
                      <a:lnTo>
                        <a:pt x="305" y="10"/>
                      </a:lnTo>
                      <a:lnTo>
                        <a:pt x="307" y="10"/>
                      </a:lnTo>
                      <a:lnTo>
                        <a:pt x="307" y="8"/>
                      </a:lnTo>
                      <a:lnTo>
                        <a:pt x="309" y="8"/>
                      </a:lnTo>
                      <a:close/>
                      <a:moveTo>
                        <a:pt x="116" y="239"/>
                      </a:moveTo>
                      <a:lnTo>
                        <a:pt x="118" y="239"/>
                      </a:lnTo>
                      <a:lnTo>
                        <a:pt x="116" y="239"/>
                      </a:lnTo>
                      <a:lnTo>
                        <a:pt x="118" y="239"/>
                      </a:lnTo>
                      <a:lnTo>
                        <a:pt x="116" y="239"/>
                      </a:lnTo>
                      <a:lnTo>
                        <a:pt x="118" y="239"/>
                      </a:lnTo>
                      <a:lnTo>
                        <a:pt x="118" y="240"/>
                      </a:lnTo>
                      <a:lnTo>
                        <a:pt x="116" y="240"/>
                      </a:lnTo>
                      <a:lnTo>
                        <a:pt x="118" y="240"/>
                      </a:lnTo>
                      <a:lnTo>
                        <a:pt x="116" y="240"/>
                      </a:lnTo>
                      <a:lnTo>
                        <a:pt x="118" y="240"/>
                      </a:lnTo>
                      <a:lnTo>
                        <a:pt x="116" y="242"/>
                      </a:lnTo>
                      <a:lnTo>
                        <a:pt x="116" y="244"/>
                      </a:lnTo>
                      <a:lnTo>
                        <a:pt x="116" y="242"/>
                      </a:lnTo>
                      <a:lnTo>
                        <a:pt x="114" y="242"/>
                      </a:lnTo>
                      <a:lnTo>
                        <a:pt x="116" y="242"/>
                      </a:lnTo>
                      <a:lnTo>
                        <a:pt x="114" y="242"/>
                      </a:lnTo>
                      <a:lnTo>
                        <a:pt x="112" y="242"/>
                      </a:lnTo>
                      <a:lnTo>
                        <a:pt x="114" y="242"/>
                      </a:lnTo>
                      <a:lnTo>
                        <a:pt x="114" y="239"/>
                      </a:lnTo>
                      <a:lnTo>
                        <a:pt x="116" y="239"/>
                      </a:lnTo>
                      <a:close/>
                      <a:moveTo>
                        <a:pt x="154" y="179"/>
                      </a:moveTo>
                      <a:lnTo>
                        <a:pt x="154" y="181"/>
                      </a:lnTo>
                      <a:lnTo>
                        <a:pt x="152" y="183"/>
                      </a:lnTo>
                      <a:lnTo>
                        <a:pt x="152" y="185"/>
                      </a:lnTo>
                      <a:lnTo>
                        <a:pt x="152" y="187"/>
                      </a:lnTo>
                      <a:lnTo>
                        <a:pt x="151" y="185"/>
                      </a:lnTo>
                      <a:lnTo>
                        <a:pt x="151" y="183"/>
                      </a:lnTo>
                      <a:lnTo>
                        <a:pt x="149" y="183"/>
                      </a:lnTo>
                      <a:lnTo>
                        <a:pt x="151" y="183"/>
                      </a:lnTo>
                      <a:lnTo>
                        <a:pt x="151" y="181"/>
                      </a:lnTo>
                      <a:lnTo>
                        <a:pt x="152" y="183"/>
                      </a:lnTo>
                      <a:lnTo>
                        <a:pt x="152" y="181"/>
                      </a:lnTo>
                      <a:lnTo>
                        <a:pt x="152" y="179"/>
                      </a:lnTo>
                      <a:lnTo>
                        <a:pt x="154" y="179"/>
                      </a:lnTo>
                      <a:close/>
                      <a:moveTo>
                        <a:pt x="233" y="46"/>
                      </a:moveTo>
                      <a:lnTo>
                        <a:pt x="233" y="48"/>
                      </a:lnTo>
                      <a:lnTo>
                        <a:pt x="233" y="50"/>
                      </a:lnTo>
                      <a:lnTo>
                        <a:pt x="233" y="52"/>
                      </a:lnTo>
                      <a:lnTo>
                        <a:pt x="231" y="52"/>
                      </a:lnTo>
                      <a:lnTo>
                        <a:pt x="229" y="52"/>
                      </a:lnTo>
                      <a:lnTo>
                        <a:pt x="229" y="50"/>
                      </a:lnTo>
                      <a:lnTo>
                        <a:pt x="231" y="50"/>
                      </a:lnTo>
                      <a:lnTo>
                        <a:pt x="231" y="48"/>
                      </a:lnTo>
                      <a:lnTo>
                        <a:pt x="231" y="46"/>
                      </a:lnTo>
                      <a:lnTo>
                        <a:pt x="233" y="46"/>
                      </a:lnTo>
                      <a:close/>
                      <a:moveTo>
                        <a:pt x="257" y="55"/>
                      </a:moveTo>
                      <a:lnTo>
                        <a:pt x="259" y="57"/>
                      </a:lnTo>
                      <a:lnTo>
                        <a:pt x="261" y="57"/>
                      </a:lnTo>
                      <a:lnTo>
                        <a:pt x="259" y="59"/>
                      </a:lnTo>
                      <a:lnTo>
                        <a:pt x="257" y="61"/>
                      </a:lnTo>
                      <a:lnTo>
                        <a:pt x="257" y="59"/>
                      </a:lnTo>
                      <a:lnTo>
                        <a:pt x="255" y="57"/>
                      </a:lnTo>
                      <a:lnTo>
                        <a:pt x="257" y="55"/>
                      </a:lnTo>
                      <a:close/>
                      <a:moveTo>
                        <a:pt x="4" y="399"/>
                      </a:moveTo>
                      <a:lnTo>
                        <a:pt x="6" y="401"/>
                      </a:lnTo>
                      <a:lnTo>
                        <a:pt x="6" y="403"/>
                      </a:lnTo>
                      <a:lnTo>
                        <a:pt x="6" y="401"/>
                      </a:lnTo>
                      <a:lnTo>
                        <a:pt x="6" y="399"/>
                      </a:lnTo>
                      <a:lnTo>
                        <a:pt x="6" y="401"/>
                      </a:lnTo>
                      <a:lnTo>
                        <a:pt x="6" y="403"/>
                      </a:lnTo>
                      <a:lnTo>
                        <a:pt x="6" y="405"/>
                      </a:lnTo>
                      <a:lnTo>
                        <a:pt x="4" y="403"/>
                      </a:lnTo>
                      <a:lnTo>
                        <a:pt x="4" y="405"/>
                      </a:lnTo>
                      <a:lnTo>
                        <a:pt x="4" y="401"/>
                      </a:lnTo>
                      <a:lnTo>
                        <a:pt x="4" y="403"/>
                      </a:lnTo>
                      <a:lnTo>
                        <a:pt x="6" y="403"/>
                      </a:lnTo>
                      <a:lnTo>
                        <a:pt x="4" y="401"/>
                      </a:lnTo>
                      <a:lnTo>
                        <a:pt x="4" y="399"/>
                      </a:lnTo>
                      <a:close/>
                      <a:moveTo>
                        <a:pt x="225" y="52"/>
                      </a:moveTo>
                      <a:lnTo>
                        <a:pt x="225" y="55"/>
                      </a:lnTo>
                      <a:lnTo>
                        <a:pt x="227" y="52"/>
                      </a:lnTo>
                      <a:lnTo>
                        <a:pt x="227" y="53"/>
                      </a:lnTo>
                      <a:lnTo>
                        <a:pt x="229" y="53"/>
                      </a:lnTo>
                      <a:lnTo>
                        <a:pt x="227" y="55"/>
                      </a:lnTo>
                      <a:lnTo>
                        <a:pt x="225" y="55"/>
                      </a:lnTo>
                      <a:lnTo>
                        <a:pt x="225" y="57"/>
                      </a:lnTo>
                      <a:lnTo>
                        <a:pt x="223" y="57"/>
                      </a:lnTo>
                      <a:lnTo>
                        <a:pt x="225" y="55"/>
                      </a:lnTo>
                      <a:lnTo>
                        <a:pt x="223" y="55"/>
                      </a:lnTo>
                      <a:lnTo>
                        <a:pt x="223" y="53"/>
                      </a:lnTo>
                      <a:lnTo>
                        <a:pt x="225" y="53"/>
                      </a:lnTo>
                      <a:lnTo>
                        <a:pt x="225" y="52"/>
                      </a:lnTo>
                      <a:close/>
                      <a:moveTo>
                        <a:pt x="30" y="355"/>
                      </a:moveTo>
                      <a:lnTo>
                        <a:pt x="30" y="357"/>
                      </a:lnTo>
                      <a:lnTo>
                        <a:pt x="32" y="357"/>
                      </a:lnTo>
                      <a:lnTo>
                        <a:pt x="32" y="355"/>
                      </a:lnTo>
                      <a:lnTo>
                        <a:pt x="32" y="357"/>
                      </a:lnTo>
                      <a:lnTo>
                        <a:pt x="34" y="357"/>
                      </a:lnTo>
                      <a:lnTo>
                        <a:pt x="32" y="357"/>
                      </a:lnTo>
                      <a:lnTo>
                        <a:pt x="30" y="359"/>
                      </a:lnTo>
                      <a:lnTo>
                        <a:pt x="29" y="359"/>
                      </a:lnTo>
                      <a:lnTo>
                        <a:pt x="27" y="359"/>
                      </a:lnTo>
                      <a:lnTo>
                        <a:pt x="29" y="357"/>
                      </a:lnTo>
                      <a:lnTo>
                        <a:pt x="25" y="357"/>
                      </a:lnTo>
                      <a:lnTo>
                        <a:pt x="29" y="357"/>
                      </a:lnTo>
                      <a:lnTo>
                        <a:pt x="30" y="355"/>
                      </a:lnTo>
                      <a:close/>
                      <a:moveTo>
                        <a:pt x="255" y="61"/>
                      </a:moveTo>
                      <a:lnTo>
                        <a:pt x="255" y="63"/>
                      </a:lnTo>
                      <a:lnTo>
                        <a:pt x="255" y="65"/>
                      </a:lnTo>
                      <a:lnTo>
                        <a:pt x="254" y="67"/>
                      </a:lnTo>
                      <a:lnTo>
                        <a:pt x="254" y="65"/>
                      </a:lnTo>
                      <a:lnTo>
                        <a:pt x="254" y="63"/>
                      </a:lnTo>
                      <a:lnTo>
                        <a:pt x="254" y="61"/>
                      </a:lnTo>
                      <a:lnTo>
                        <a:pt x="255" y="61"/>
                      </a:lnTo>
                      <a:close/>
                      <a:moveTo>
                        <a:pt x="118" y="260"/>
                      </a:moveTo>
                      <a:lnTo>
                        <a:pt x="118" y="261"/>
                      </a:lnTo>
                      <a:lnTo>
                        <a:pt x="116" y="261"/>
                      </a:lnTo>
                      <a:lnTo>
                        <a:pt x="118" y="261"/>
                      </a:lnTo>
                      <a:lnTo>
                        <a:pt x="112" y="265"/>
                      </a:lnTo>
                      <a:lnTo>
                        <a:pt x="112" y="263"/>
                      </a:lnTo>
                      <a:lnTo>
                        <a:pt x="114" y="263"/>
                      </a:lnTo>
                      <a:lnTo>
                        <a:pt x="114" y="261"/>
                      </a:lnTo>
                      <a:lnTo>
                        <a:pt x="116" y="261"/>
                      </a:lnTo>
                      <a:lnTo>
                        <a:pt x="116" y="260"/>
                      </a:lnTo>
                      <a:lnTo>
                        <a:pt x="118" y="260"/>
                      </a:lnTo>
                      <a:close/>
                      <a:moveTo>
                        <a:pt x="4" y="414"/>
                      </a:moveTo>
                      <a:lnTo>
                        <a:pt x="6" y="416"/>
                      </a:lnTo>
                      <a:lnTo>
                        <a:pt x="8" y="416"/>
                      </a:lnTo>
                      <a:lnTo>
                        <a:pt x="8" y="418"/>
                      </a:lnTo>
                      <a:lnTo>
                        <a:pt x="8" y="416"/>
                      </a:lnTo>
                      <a:lnTo>
                        <a:pt x="8" y="418"/>
                      </a:lnTo>
                      <a:lnTo>
                        <a:pt x="9" y="418"/>
                      </a:lnTo>
                      <a:lnTo>
                        <a:pt x="9" y="420"/>
                      </a:lnTo>
                      <a:lnTo>
                        <a:pt x="8" y="420"/>
                      </a:lnTo>
                      <a:lnTo>
                        <a:pt x="8" y="418"/>
                      </a:lnTo>
                      <a:lnTo>
                        <a:pt x="6" y="418"/>
                      </a:lnTo>
                      <a:lnTo>
                        <a:pt x="4" y="416"/>
                      </a:lnTo>
                      <a:lnTo>
                        <a:pt x="6" y="416"/>
                      </a:lnTo>
                      <a:lnTo>
                        <a:pt x="4" y="416"/>
                      </a:lnTo>
                      <a:lnTo>
                        <a:pt x="6" y="416"/>
                      </a:lnTo>
                      <a:lnTo>
                        <a:pt x="4" y="414"/>
                      </a:lnTo>
                      <a:lnTo>
                        <a:pt x="6" y="416"/>
                      </a:lnTo>
                      <a:lnTo>
                        <a:pt x="4" y="416"/>
                      </a:lnTo>
                      <a:lnTo>
                        <a:pt x="4" y="414"/>
                      </a:lnTo>
                      <a:close/>
                      <a:moveTo>
                        <a:pt x="9" y="443"/>
                      </a:moveTo>
                      <a:lnTo>
                        <a:pt x="9" y="445"/>
                      </a:lnTo>
                      <a:lnTo>
                        <a:pt x="11" y="445"/>
                      </a:lnTo>
                      <a:lnTo>
                        <a:pt x="9" y="445"/>
                      </a:lnTo>
                      <a:lnTo>
                        <a:pt x="11" y="445"/>
                      </a:lnTo>
                      <a:lnTo>
                        <a:pt x="11" y="447"/>
                      </a:lnTo>
                      <a:lnTo>
                        <a:pt x="9" y="447"/>
                      </a:lnTo>
                      <a:lnTo>
                        <a:pt x="9" y="445"/>
                      </a:lnTo>
                      <a:lnTo>
                        <a:pt x="8" y="447"/>
                      </a:lnTo>
                      <a:lnTo>
                        <a:pt x="8" y="445"/>
                      </a:lnTo>
                      <a:lnTo>
                        <a:pt x="9" y="445"/>
                      </a:lnTo>
                      <a:lnTo>
                        <a:pt x="9" y="443"/>
                      </a:lnTo>
                      <a:lnTo>
                        <a:pt x="8" y="443"/>
                      </a:lnTo>
                      <a:lnTo>
                        <a:pt x="9" y="443"/>
                      </a:lnTo>
                      <a:close/>
                      <a:moveTo>
                        <a:pt x="103" y="267"/>
                      </a:move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3" y="269"/>
                      </a:lnTo>
                      <a:lnTo>
                        <a:pt x="101" y="269"/>
                      </a:lnTo>
                      <a:lnTo>
                        <a:pt x="99" y="271"/>
                      </a:lnTo>
                      <a:lnTo>
                        <a:pt x="97" y="271"/>
                      </a:lnTo>
                      <a:lnTo>
                        <a:pt x="99" y="271"/>
                      </a:lnTo>
                      <a:lnTo>
                        <a:pt x="97" y="271"/>
                      </a:lnTo>
                      <a:lnTo>
                        <a:pt x="99" y="269"/>
                      </a:lnTo>
                      <a:lnTo>
                        <a:pt x="97" y="271"/>
                      </a:lnTo>
                      <a:lnTo>
                        <a:pt x="99" y="269"/>
                      </a:lnTo>
                      <a:lnTo>
                        <a:pt x="97" y="271"/>
                      </a:lnTo>
                      <a:lnTo>
                        <a:pt x="97" y="269"/>
                      </a:lnTo>
                      <a:lnTo>
                        <a:pt x="99" y="269"/>
                      </a:lnTo>
                      <a:lnTo>
                        <a:pt x="97" y="269"/>
                      </a:lnTo>
                      <a:lnTo>
                        <a:pt x="99" y="269"/>
                      </a:lnTo>
                      <a:lnTo>
                        <a:pt x="101" y="267"/>
                      </a:lnTo>
                      <a:lnTo>
                        <a:pt x="103" y="267"/>
                      </a:lnTo>
                      <a:close/>
                      <a:moveTo>
                        <a:pt x="55" y="330"/>
                      </a:moveTo>
                      <a:lnTo>
                        <a:pt x="57" y="334"/>
                      </a:lnTo>
                      <a:lnTo>
                        <a:pt x="53" y="334"/>
                      </a:lnTo>
                      <a:lnTo>
                        <a:pt x="53" y="332"/>
                      </a:lnTo>
                      <a:lnTo>
                        <a:pt x="55" y="330"/>
                      </a:lnTo>
                      <a:close/>
                      <a:moveTo>
                        <a:pt x="166" y="145"/>
                      </a:moveTo>
                      <a:lnTo>
                        <a:pt x="168" y="147"/>
                      </a:lnTo>
                      <a:lnTo>
                        <a:pt x="166" y="147"/>
                      </a:lnTo>
                      <a:lnTo>
                        <a:pt x="168" y="147"/>
                      </a:lnTo>
                      <a:lnTo>
                        <a:pt x="170" y="149"/>
                      </a:lnTo>
                      <a:lnTo>
                        <a:pt x="168" y="149"/>
                      </a:lnTo>
                      <a:lnTo>
                        <a:pt x="170" y="149"/>
                      </a:lnTo>
                      <a:lnTo>
                        <a:pt x="168" y="151"/>
                      </a:lnTo>
                      <a:lnTo>
                        <a:pt x="166" y="149"/>
                      </a:lnTo>
                      <a:lnTo>
                        <a:pt x="164" y="149"/>
                      </a:lnTo>
                      <a:lnTo>
                        <a:pt x="164" y="151"/>
                      </a:lnTo>
                      <a:lnTo>
                        <a:pt x="164" y="149"/>
                      </a:lnTo>
                      <a:lnTo>
                        <a:pt x="164" y="147"/>
                      </a:lnTo>
                      <a:lnTo>
                        <a:pt x="166" y="147"/>
                      </a:lnTo>
                      <a:lnTo>
                        <a:pt x="166" y="145"/>
                      </a:lnTo>
                      <a:close/>
                      <a:moveTo>
                        <a:pt x="6" y="420"/>
                      </a:moveTo>
                      <a:lnTo>
                        <a:pt x="8" y="420"/>
                      </a:lnTo>
                      <a:lnTo>
                        <a:pt x="9" y="422"/>
                      </a:lnTo>
                      <a:lnTo>
                        <a:pt x="8" y="422"/>
                      </a:lnTo>
                      <a:lnTo>
                        <a:pt x="6" y="422"/>
                      </a:lnTo>
                      <a:lnTo>
                        <a:pt x="8" y="420"/>
                      </a:lnTo>
                      <a:lnTo>
                        <a:pt x="6" y="420"/>
                      </a:lnTo>
                      <a:lnTo>
                        <a:pt x="6" y="422"/>
                      </a:lnTo>
                      <a:lnTo>
                        <a:pt x="6" y="420"/>
                      </a:lnTo>
                      <a:close/>
                      <a:moveTo>
                        <a:pt x="6" y="420"/>
                      </a:moveTo>
                      <a:lnTo>
                        <a:pt x="8" y="422"/>
                      </a:lnTo>
                      <a:lnTo>
                        <a:pt x="9" y="424"/>
                      </a:lnTo>
                      <a:lnTo>
                        <a:pt x="9" y="426"/>
                      </a:lnTo>
                      <a:lnTo>
                        <a:pt x="8" y="426"/>
                      </a:lnTo>
                      <a:lnTo>
                        <a:pt x="9" y="426"/>
                      </a:lnTo>
                      <a:lnTo>
                        <a:pt x="9" y="424"/>
                      </a:lnTo>
                      <a:lnTo>
                        <a:pt x="8" y="424"/>
                      </a:lnTo>
                      <a:lnTo>
                        <a:pt x="8" y="426"/>
                      </a:lnTo>
                      <a:lnTo>
                        <a:pt x="8" y="424"/>
                      </a:lnTo>
                      <a:lnTo>
                        <a:pt x="8" y="422"/>
                      </a:lnTo>
                      <a:lnTo>
                        <a:pt x="8" y="424"/>
                      </a:lnTo>
                      <a:lnTo>
                        <a:pt x="8" y="422"/>
                      </a:lnTo>
                      <a:lnTo>
                        <a:pt x="6" y="422"/>
                      </a:lnTo>
                      <a:lnTo>
                        <a:pt x="6" y="420"/>
                      </a:lnTo>
                      <a:close/>
                      <a:moveTo>
                        <a:pt x="175" y="145"/>
                      </a:moveTo>
                      <a:lnTo>
                        <a:pt x="179" y="145"/>
                      </a:lnTo>
                      <a:lnTo>
                        <a:pt x="179" y="147"/>
                      </a:lnTo>
                      <a:lnTo>
                        <a:pt x="177" y="145"/>
                      </a:lnTo>
                      <a:lnTo>
                        <a:pt x="175" y="145"/>
                      </a:lnTo>
                      <a:lnTo>
                        <a:pt x="177" y="145"/>
                      </a:lnTo>
                      <a:lnTo>
                        <a:pt x="175" y="147"/>
                      </a:lnTo>
                      <a:lnTo>
                        <a:pt x="173" y="147"/>
                      </a:lnTo>
                      <a:lnTo>
                        <a:pt x="173" y="145"/>
                      </a:lnTo>
                      <a:lnTo>
                        <a:pt x="175" y="145"/>
                      </a:lnTo>
                      <a:close/>
                      <a:moveTo>
                        <a:pt x="36" y="347"/>
                      </a:moveTo>
                      <a:lnTo>
                        <a:pt x="36" y="349"/>
                      </a:lnTo>
                      <a:lnTo>
                        <a:pt x="32" y="351"/>
                      </a:lnTo>
                      <a:lnTo>
                        <a:pt x="32" y="349"/>
                      </a:lnTo>
                      <a:lnTo>
                        <a:pt x="32" y="347"/>
                      </a:lnTo>
                      <a:lnTo>
                        <a:pt x="34" y="347"/>
                      </a:lnTo>
                      <a:lnTo>
                        <a:pt x="34" y="349"/>
                      </a:lnTo>
                      <a:lnTo>
                        <a:pt x="34" y="347"/>
                      </a:lnTo>
                      <a:lnTo>
                        <a:pt x="36" y="347"/>
                      </a:lnTo>
                      <a:close/>
                      <a:moveTo>
                        <a:pt x="206" y="99"/>
                      </a:moveTo>
                      <a:lnTo>
                        <a:pt x="206" y="101"/>
                      </a:lnTo>
                      <a:lnTo>
                        <a:pt x="204" y="101"/>
                      </a:lnTo>
                      <a:lnTo>
                        <a:pt x="204" y="103"/>
                      </a:lnTo>
                      <a:lnTo>
                        <a:pt x="202" y="103"/>
                      </a:lnTo>
                      <a:lnTo>
                        <a:pt x="202" y="101"/>
                      </a:lnTo>
                      <a:lnTo>
                        <a:pt x="204" y="99"/>
                      </a:lnTo>
                      <a:lnTo>
                        <a:pt x="206" y="99"/>
                      </a:lnTo>
                      <a:close/>
                      <a:moveTo>
                        <a:pt x="51" y="334"/>
                      </a:moveTo>
                      <a:lnTo>
                        <a:pt x="51" y="336"/>
                      </a:lnTo>
                      <a:lnTo>
                        <a:pt x="51" y="338"/>
                      </a:lnTo>
                      <a:lnTo>
                        <a:pt x="49" y="338"/>
                      </a:lnTo>
                      <a:lnTo>
                        <a:pt x="49" y="336"/>
                      </a:lnTo>
                      <a:lnTo>
                        <a:pt x="49" y="338"/>
                      </a:lnTo>
                      <a:lnTo>
                        <a:pt x="49" y="336"/>
                      </a:lnTo>
                      <a:lnTo>
                        <a:pt x="51" y="336"/>
                      </a:lnTo>
                      <a:lnTo>
                        <a:pt x="51" y="334"/>
                      </a:lnTo>
                      <a:close/>
                      <a:moveTo>
                        <a:pt x="63" y="324"/>
                      </a:moveTo>
                      <a:lnTo>
                        <a:pt x="65" y="324"/>
                      </a:lnTo>
                      <a:lnTo>
                        <a:pt x="65" y="326"/>
                      </a:lnTo>
                      <a:lnTo>
                        <a:pt x="63" y="328"/>
                      </a:lnTo>
                      <a:lnTo>
                        <a:pt x="63" y="326"/>
                      </a:lnTo>
                      <a:lnTo>
                        <a:pt x="61" y="326"/>
                      </a:lnTo>
                      <a:lnTo>
                        <a:pt x="63" y="326"/>
                      </a:lnTo>
                      <a:lnTo>
                        <a:pt x="61" y="326"/>
                      </a:lnTo>
                      <a:lnTo>
                        <a:pt x="61" y="324"/>
                      </a:lnTo>
                      <a:lnTo>
                        <a:pt x="63" y="324"/>
                      </a:lnTo>
                      <a:close/>
                      <a:moveTo>
                        <a:pt x="109" y="269"/>
                      </a:moveTo>
                      <a:lnTo>
                        <a:pt x="111" y="271"/>
                      </a:lnTo>
                      <a:lnTo>
                        <a:pt x="107" y="271"/>
                      </a:lnTo>
                      <a:lnTo>
                        <a:pt x="109" y="269"/>
                      </a:lnTo>
                      <a:close/>
                      <a:moveTo>
                        <a:pt x="8" y="447"/>
                      </a:moveTo>
                      <a:lnTo>
                        <a:pt x="9" y="447"/>
                      </a:lnTo>
                      <a:lnTo>
                        <a:pt x="9" y="452"/>
                      </a:lnTo>
                      <a:lnTo>
                        <a:pt x="8" y="452"/>
                      </a:lnTo>
                      <a:lnTo>
                        <a:pt x="8" y="447"/>
                      </a:lnTo>
                      <a:close/>
                      <a:moveTo>
                        <a:pt x="114" y="261"/>
                      </a:moveTo>
                      <a:lnTo>
                        <a:pt x="112" y="263"/>
                      </a:lnTo>
                      <a:lnTo>
                        <a:pt x="111" y="265"/>
                      </a:lnTo>
                      <a:lnTo>
                        <a:pt x="111" y="263"/>
                      </a:lnTo>
                      <a:lnTo>
                        <a:pt x="111" y="261"/>
                      </a:lnTo>
                      <a:lnTo>
                        <a:pt x="112" y="261"/>
                      </a:lnTo>
                      <a:lnTo>
                        <a:pt x="114" y="261"/>
                      </a:lnTo>
                      <a:close/>
                      <a:moveTo>
                        <a:pt x="6" y="372"/>
                      </a:moveTo>
                      <a:lnTo>
                        <a:pt x="9" y="372"/>
                      </a:lnTo>
                      <a:lnTo>
                        <a:pt x="9" y="376"/>
                      </a:lnTo>
                      <a:lnTo>
                        <a:pt x="6" y="376"/>
                      </a:lnTo>
                      <a:lnTo>
                        <a:pt x="6" y="372"/>
                      </a:lnTo>
                      <a:close/>
                      <a:moveTo>
                        <a:pt x="107" y="277"/>
                      </a:moveTo>
                      <a:lnTo>
                        <a:pt x="107" y="279"/>
                      </a:lnTo>
                      <a:lnTo>
                        <a:pt x="107" y="281"/>
                      </a:lnTo>
                      <a:lnTo>
                        <a:pt x="105" y="279"/>
                      </a:lnTo>
                      <a:lnTo>
                        <a:pt x="105" y="281"/>
                      </a:lnTo>
                      <a:lnTo>
                        <a:pt x="105" y="279"/>
                      </a:lnTo>
                      <a:lnTo>
                        <a:pt x="107" y="277"/>
                      </a:lnTo>
                      <a:close/>
                      <a:moveTo>
                        <a:pt x="271" y="38"/>
                      </a:moveTo>
                      <a:lnTo>
                        <a:pt x="273" y="38"/>
                      </a:lnTo>
                      <a:lnTo>
                        <a:pt x="273" y="46"/>
                      </a:lnTo>
                      <a:lnTo>
                        <a:pt x="271" y="46"/>
                      </a:lnTo>
                      <a:lnTo>
                        <a:pt x="271" y="38"/>
                      </a:lnTo>
                      <a:close/>
                      <a:moveTo>
                        <a:pt x="234" y="50"/>
                      </a:moveTo>
                      <a:lnTo>
                        <a:pt x="238" y="52"/>
                      </a:lnTo>
                      <a:lnTo>
                        <a:pt x="238" y="53"/>
                      </a:lnTo>
                      <a:lnTo>
                        <a:pt x="234" y="52"/>
                      </a:lnTo>
                      <a:lnTo>
                        <a:pt x="234" y="50"/>
                      </a:lnTo>
                      <a:close/>
                      <a:moveTo>
                        <a:pt x="25" y="357"/>
                      </a:moveTo>
                      <a:lnTo>
                        <a:pt x="27" y="359"/>
                      </a:lnTo>
                      <a:lnTo>
                        <a:pt x="29" y="359"/>
                      </a:lnTo>
                      <a:lnTo>
                        <a:pt x="27" y="359"/>
                      </a:lnTo>
                      <a:lnTo>
                        <a:pt x="25" y="359"/>
                      </a:lnTo>
                      <a:lnTo>
                        <a:pt x="23" y="359"/>
                      </a:lnTo>
                      <a:lnTo>
                        <a:pt x="25" y="359"/>
                      </a:lnTo>
                      <a:lnTo>
                        <a:pt x="25" y="357"/>
                      </a:lnTo>
                      <a:close/>
                      <a:moveTo>
                        <a:pt x="152" y="132"/>
                      </a:moveTo>
                      <a:lnTo>
                        <a:pt x="154" y="134"/>
                      </a:lnTo>
                      <a:lnTo>
                        <a:pt x="152" y="136"/>
                      </a:lnTo>
                      <a:lnTo>
                        <a:pt x="151" y="134"/>
                      </a:lnTo>
                      <a:lnTo>
                        <a:pt x="152" y="134"/>
                      </a:lnTo>
                      <a:lnTo>
                        <a:pt x="151" y="134"/>
                      </a:lnTo>
                      <a:lnTo>
                        <a:pt x="151" y="132"/>
                      </a:lnTo>
                      <a:lnTo>
                        <a:pt x="152" y="132"/>
                      </a:lnTo>
                      <a:close/>
                      <a:moveTo>
                        <a:pt x="130" y="216"/>
                      </a:moveTo>
                      <a:lnTo>
                        <a:pt x="131" y="216"/>
                      </a:lnTo>
                      <a:lnTo>
                        <a:pt x="131" y="218"/>
                      </a:lnTo>
                      <a:lnTo>
                        <a:pt x="130" y="220"/>
                      </a:lnTo>
                      <a:lnTo>
                        <a:pt x="131" y="218"/>
                      </a:lnTo>
                      <a:lnTo>
                        <a:pt x="130" y="220"/>
                      </a:lnTo>
                      <a:lnTo>
                        <a:pt x="130" y="218"/>
                      </a:lnTo>
                      <a:lnTo>
                        <a:pt x="128" y="218"/>
                      </a:lnTo>
                      <a:lnTo>
                        <a:pt x="130" y="216"/>
                      </a:lnTo>
                      <a:close/>
                      <a:moveTo>
                        <a:pt x="320" y="4"/>
                      </a:moveTo>
                      <a:lnTo>
                        <a:pt x="320" y="6"/>
                      </a:lnTo>
                      <a:lnTo>
                        <a:pt x="322" y="4"/>
                      </a:lnTo>
                      <a:lnTo>
                        <a:pt x="320" y="6"/>
                      </a:lnTo>
                      <a:lnTo>
                        <a:pt x="322" y="6"/>
                      </a:lnTo>
                      <a:lnTo>
                        <a:pt x="320" y="6"/>
                      </a:lnTo>
                      <a:lnTo>
                        <a:pt x="320" y="8"/>
                      </a:lnTo>
                      <a:lnTo>
                        <a:pt x="318" y="6"/>
                      </a:lnTo>
                      <a:lnTo>
                        <a:pt x="320" y="6"/>
                      </a:lnTo>
                      <a:lnTo>
                        <a:pt x="320" y="4"/>
                      </a:lnTo>
                      <a:close/>
                      <a:moveTo>
                        <a:pt x="21" y="460"/>
                      </a:moveTo>
                      <a:lnTo>
                        <a:pt x="23" y="460"/>
                      </a:lnTo>
                      <a:lnTo>
                        <a:pt x="23" y="464"/>
                      </a:lnTo>
                      <a:lnTo>
                        <a:pt x="21" y="464"/>
                      </a:lnTo>
                      <a:lnTo>
                        <a:pt x="21" y="460"/>
                      </a:lnTo>
                      <a:close/>
                      <a:moveTo>
                        <a:pt x="257" y="50"/>
                      </a:moveTo>
                      <a:lnTo>
                        <a:pt x="259" y="50"/>
                      </a:lnTo>
                      <a:lnTo>
                        <a:pt x="259" y="53"/>
                      </a:lnTo>
                      <a:lnTo>
                        <a:pt x="257" y="53"/>
                      </a:lnTo>
                      <a:lnTo>
                        <a:pt x="257" y="50"/>
                      </a:lnTo>
                      <a:close/>
                      <a:moveTo>
                        <a:pt x="36" y="344"/>
                      </a:moveTo>
                      <a:lnTo>
                        <a:pt x="38" y="344"/>
                      </a:lnTo>
                      <a:lnTo>
                        <a:pt x="38" y="345"/>
                      </a:lnTo>
                      <a:lnTo>
                        <a:pt x="36" y="345"/>
                      </a:lnTo>
                      <a:lnTo>
                        <a:pt x="36" y="347"/>
                      </a:lnTo>
                      <a:lnTo>
                        <a:pt x="34" y="345"/>
                      </a:lnTo>
                      <a:lnTo>
                        <a:pt x="34" y="344"/>
                      </a:lnTo>
                      <a:lnTo>
                        <a:pt x="36" y="344"/>
                      </a:lnTo>
                      <a:close/>
                      <a:moveTo>
                        <a:pt x="9" y="435"/>
                      </a:moveTo>
                      <a:lnTo>
                        <a:pt x="11" y="435"/>
                      </a:lnTo>
                      <a:lnTo>
                        <a:pt x="11" y="439"/>
                      </a:lnTo>
                      <a:lnTo>
                        <a:pt x="9" y="439"/>
                      </a:lnTo>
                      <a:lnTo>
                        <a:pt x="9" y="435"/>
                      </a:lnTo>
                      <a:close/>
                      <a:moveTo>
                        <a:pt x="162" y="134"/>
                      </a:moveTo>
                      <a:lnTo>
                        <a:pt x="164" y="134"/>
                      </a:lnTo>
                      <a:lnTo>
                        <a:pt x="164" y="137"/>
                      </a:lnTo>
                      <a:lnTo>
                        <a:pt x="162" y="137"/>
                      </a:lnTo>
                      <a:lnTo>
                        <a:pt x="162" y="134"/>
                      </a:lnTo>
                      <a:close/>
                      <a:moveTo>
                        <a:pt x="21" y="433"/>
                      </a:moveTo>
                      <a:lnTo>
                        <a:pt x="23" y="433"/>
                      </a:lnTo>
                      <a:lnTo>
                        <a:pt x="23" y="437"/>
                      </a:lnTo>
                      <a:lnTo>
                        <a:pt x="21" y="437"/>
                      </a:lnTo>
                      <a:lnTo>
                        <a:pt x="21" y="433"/>
                      </a:lnTo>
                      <a:close/>
                      <a:moveTo>
                        <a:pt x="162" y="105"/>
                      </a:moveTo>
                      <a:lnTo>
                        <a:pt x="166" y="105"/>
                      </a:lnTo>
                      <a:lnTo>
                        <a:pt x="166" y="109"/>
                      </a:lnTo>
                      <a:lnTo>
                        <a:pt x="162" y="109"/>
                      </a:lnTo>
                      <a:lnTo>
                        <a:pt x="162" y="105"/>
                      </a:lnTo>
                      <a:close/>
                      <a:moveTo>
                        <a:pt x="107" y="279"/>
                      </a:moveTo>
                      <a:lnTo>
                        <a:pt x="109" y="279"/>
                      </a:lnTo>
                      <a:lnTo>
                        <a:pt x="109" y="282"/>
                      </a:lnTo>
                      <a:lnTo>
                        <a:pt x="107" y="282"/>
                      </a:lnTo>
                      <a:lnTo>
                        <a:pt x="107" y="279"/>
                      </a:lnTo>
                      <a:close/>
                      <a:moveTo>
                        <a:pt x="91" y="462"/>
                      </a:moveTo>
                      <a:lnTo>
                        <a:pt x="93" y="462"/>
                      </a:lnTo>
                      <a:lnTo>
                        <a:pt x="93" y="466"/>
                      </a:lnTo>
                      <a:lnTo>
                        <a:pt x="91" y="466"/>
                      </a:lnTo>
                      <a:lnTo>
                        <a:pt x="91" y="462"/>
                      </a:lnTo>
                      <a:close/>
                      <a:moveTo>
                        <a:pt x="135" y="216"/>
                      </a:moveTo>
                      <a:lnTo>
                        <a:pt x="133" y="218"/>
                      </a:lnTo>
                      <a:lnTo>
                        <a:pt x="131" y="220"/>
                      </a:lnTo>
                      <a:lnTo>
                        <a:pt x="133" y="218"/>
                      </a:lnTo>
                      <a:lnTo>
                        <a:pt x="135" y="216"/>
                      </a:lnTo>
                      <a:close/>
                      <a:moveTo>
                        <a:pt x="57" y="330"/>
                      </a:moveTo>
                      <a:lnTo>
                        <a:pt x="59" y="330"/>
                      </a:lnTo>
                      <a:lnTo>
                        <a:pt x="59" y="332"/>
                      </a:lnTo>
                      <a:lnTo>
                        <a:pt x="57" y="332"/>
                      </a:lnTo>
                      <a:lnTo>
                        <a:pt x="57" y="330"/>
                      </a:lnTo>
                      <a:close/>
                      <a:moveTo>
                        <a:pt x="154" y="170"/>
                      </a:moveTo>
                      <a:lnTo>
                        <a:pt x="156" y="170"/>
                      </a:lnTo>
                      <a:lnTo>
                        <a:pt x="154" y="172"/>
                      </a:lnTo>
                      <a:lnTo>
                        <a:pt x="152" y="172"/>
                      </a:lnTo>
                      <a:lnTo>
                        <a:pt x="154" y="170"/>
                      </a:lnTo>
                      <a:close/>
                      <a:moveTo>
                        <a:pt x="4" y="393"/>
                      </a:moveTo>
                      <a:lnTo>
                        <a:pt x="6" y="393"/>
                      </a:lnTo>
                      <a:lnTo>
                        <a:pt x="6" y="397"/>
                      </a:lnTo>
                      <a:lnTo>
                        <a:pt x="4" y="397"/>
                      </a:lnTo>
                      <a:lnTo>
                        <a:pt x="4" y="393"/>
                      </a:lnTo>
                      <a:close/>
                      <a:moveTo>
                        <a:pt x="15" y="466"/>
                      </a:moveTo>
                      <a:lnTo>
                        <a:pt x="17" y="466"/>
                      </a:lnTo>
                      <a:lnTo>
                        <a:pt x="19" y="466"/>
                      </a:lnTo>
                      <a:lnTo>
                        <a:pt x="19" y="468"/>
                      </a:lnTo>
                      <a:lnTo>
                        <a:pt x="17" y="468"/>
                      </a:lnTo>
                      <a:lnTo>
                        <a:pt x="15" y="466"/>
                      </a:lnTo>
                      <a:close/>
                      <a:moveTo>
                        <a:pt x="158" y="178"/>
                      </a:moveTo>
                      <a:lnTo>
                        <a:pt x="154" y="179"/>
                      </a:lnTo>
                      <a:lnTo>
                        <a:pt x="156" y="178"/>
                      </a:lnTo>
                      <a:lnTo>
                        <a:pt x="158" y="178"/>
                      </a:lnTo>
                      <a:close/>
                      <a:moveTo>
                        <a:pt x="17" y="445"/>
                      </a:moveTo>
                      <a:lnTo>
                        <a:pt x="19" y="445"/>
                      </a:lnTo>
                      <a:lnTo>
                        <a:pt x="19" y="447"/>
                      </a:lnTo>
                      <a:lnTo>
                        <a:pt x="17" y="447"/>
                      </a:lnTo>
                      <a:lnTo>
                        <a:pt x="17" y="445"/>
                      </a:lnTo>
                      <a:lnTo>
                        <a:pt x="17" y="447"/>
                      </a:lnTo>
                      <a:lnTo>
                        <a:pt x="17" y="445"/>
                      </a:lnTo>
                      <a:lnTo>
                        <a:pt x="15" y="445"/>
                      </a:lnTo>
                      <a:lnTo>
                        <a:pt x="17" y="445"/>
                      </a:lnTo>
                      <a:close/>
                      <a:moveTo>
                        <a:pt x="11" y="435"/>
                      </a:moveTo>
                      <a:lnTo>
                        <a:pt x="13" y="435"/>
                      </a:lnTo>
                      <a:lnTo>
                        <a:pt x="13" y="439"/>
                      </a:lnTo>
                      <a:lnTo>
                        <a:pt x="11" y="439"/>
                      </a:lnTo>
                      <a:lnTo>
                        <a:pt x="11" y="435"/>
                      </a:lnTo>
                      <a:close/>
                      <a:moveTo>
                        <a:pt x="168" y="143"/>
                      </a:moveTo>
                      <a:lnTo>
                        <a:pt x="170" y="143"/>
                      </a:lnTo>
                      <a:lnTo>
                        <a:pt x="170" y="147"/>
                      </a:lnTo>
                      <a:lnTo>
                        <a:pt x="168" y="147"/>
                      </a:lnTo>
                      <a:lnTo>
                        <a:pt x="168" y="143"/>
                      </a:lnTo>
                      <a:close/>
                      <a:moveTo>
                        <a:pt x="0" y="405"/>
                      </a:moveTo>
                      <a:lnTo>
                        <a:pt x="2" y="405"/>
                      </a:lnTo>
                      <a:lnTo>
                        <a:pt x="2" y="406"/>
                      </a:lnTo>
                      <a:lnTo>
                        <a:pt x="0" y="406"/>
                      </a:lnTo>
                      <a:lnTo>
                        <a:pt x="0" y="405"/>
                      </a:lnTo>
                      <a:close/>
                      <a:moveTo>
                        <a:pt x="227" y="71"/>
                      </a:moveTo>
                      <a:lnTo>
                        <a:pt x="229" y="71"/>
                      </a:lnTo>
                      <a:lnTo>
                        <a:pt x="229" y="74"/>
                      </a:lnTo>
                      <a:lnTo>
                        <a:pt x="227" y="74"/>
                      </a:lnTo>
                      <a:lnTo>
                        <a:pt x="227" y="71"/>
                      </a:lnTo>
                      <a:close/>
                      <a:moveTo>
                        <a:pt x="6" y="408"/>
                      </a:moveTo>
                      <a:lnTo>
                        <a:pt x="8" y="408"/>
                      </a:lnTo>
                      <a:lnTo>
                        <a:pt x="8" y="412"/>
                      </a:lnTo>
                      <a:lnTo>
                        <a:pt x="6" y="412"/>
                      </a:lnTo>
                      <a:lnTo>
                        <a:pt x="6" y="408"/>
                      </a:lnTo>
                      <a:close/>
                      <a:moveTo>
                        <a:pt x="38" y="498"/>
                      </a:moveTo>
                      <a:lnTo>
                        <a:pt x="40" y="498"/>
                      </a:lnTo>
                      <a:lnTo>
                        <a:pt x="40" y="502"/>
                      </a:lnTo>
                      <a:lnTo>
                        <a:pt x="38" y="502"/>
                      </a:lnTo>
                      <a:lnTo>
                        <a:pt x="38" y="498"/>
                      </a:lnTo>
                      <a:close/>
                      <a:moveTo>
                        <a:pt x="105" y="309"/>
                      </a:moveTo>
                      <a:lnTo>
                        <a:pt x="105" y="311"/>
                      </a:lnTo>
                      <a:lnTo>
                        <a:pt x="105" y="309"/>
                      </a:lnTo>
                      <a:lnTo>
                        <a:pt x="103" y="313"/>
                      </a:lnTo>
                      <a:lnTo>
                        <a:pt x="101" y="313"/>
                      </a:lnTo>
                      <a:lnTo>
                        <a:pt x="103" y="309"/>
                      </a:lnTo>
                      <a:lnTo>
                        <a:pt x="105" y="309"/>
                      </a:lnTo>
                      <a:close/>
                      <a:moveTo>
                        <a:pt x="248" y="42"/>
                      </a:moveTo>
                      <a:lnTo>
                        <a:pt x="250" y="42"/>
                      </a:lnTo>
                      <a:lnTo>
                        <a:pt x="250" y="48"/>
                      </a:lnTo>
                      <a:lnTo>
                        <a:pt x="248" y="48"/>
                      </a:lnTo>
                      <a:lnTo>
                        <a:pt x="248" y="42"/>
                      </a:lnTo>
                      <a:close/>
                      <a:moveTo>
                        <a:pt x="11" y="462"/>
                      </a:moveTo>
                      <a:lnTo>
                        <a:pt x="13" y="462"/>
                      </a:lnTo>
                      <a:lnTo>
                        <a:pt x="13" y="466"/>
                      </a:lnTo>
                      <a:lnTo>
                        <a:pt x="11" y="466"/>
                      </a:lnTo>
                      <a:lnTo>
                        <a:pt x="11" y="462"/>
                      </a:lnTo>
                      <a:close/>
                      <a:moveTo>
                        <a:pt x="139" y="197"/>
                      </a:moveTo>
                      <a:lnTo>
                        <a:pt x="141" y="197"/>
                      </a:lnTo>
                      <a:lnTo>
                        <a:pt x="137" y="199"/>
                      </a:lnTo>
                      <a:lnTo>
                        <a:pt x="139" y="197"/>
                      </a:lnTo>
                      <a:close/>
                      <a:moveTo>
                        <a:pt x="70" y="315"/>
                      </a:moveTo>
                      <a:lnTo>
                        <a:pt x="72" y="315"/>
                      </a:lnTo>
                      <a:lnTo>
                        <a:pt x="72" y="317"/>
                      </a:lnTo>
                      <a:lnTo>
                        <a:pt x="70" y="317"/>
                      </a:lnTo>
                      <a:lnTo>
                        <a:pt x="70" y="315"/>
                      </a:lnTo>
                      <a:close/>
                      <a:moveTo>
                        <a:pt x="183" y="141"/>
                      </a:moveTo>
                      <a:lnTo>
                        <a:pt x="187" y="141"/>
                      </a:lnTo>
                      <a:lnTo>
                        <a:pt x="187" y="145"/>
                      </a:lnTo>
                      <a:lnTo>
                        <a:pt x="183" y="145"/>
                      </a:lnTo>
                      <a:lnTo>
                        <a:pt x="183" y="141"/>
                      </a:lnTo>
                      <a:close/>
                      <a:moveTo>
                        <a:pt x="271" y="55"/>
                      </a:moveTo>
                      <a:lnTo>
                        <a:pt x="273" y="57"/>
                      </a:lnTo>
                      <a:lnTo>
                        <a:pt x="271" y="57"/>
                      </a:lnTo>
                      <a:lnTo>
                        <a:pt x="269" y="55"/>
                      </a:lnTo>
                      <a:lnTo>
                        <a:pt x="269" y="57"/>
                      </a:lnTo>
                      <a:lnTo>
                        <a:pt x="269" y="55"/>
                      </a:lnTo>
                      <a:lnTo>
                        <a:pt x="271" y="55"/>
                      </a:lnTo>
                      <a:close/>
                      <a:moveTo>
                        <a:pt x="101" y="468"/>
                      </a:moveTo>
                      <a:lnTo>
                        <a:pt x="103" y="468"/>
                      </a:lnTo>
                      <a:lnTo>
                        <a:pt x="103" y="469"/>
                      </a:lnTo>
                      <a:lnTo>
                        <a:pt x="101" y="469"/>
                      </a:lnTo>
                      <a:lnTo>
                        <a:pt x="101" y="468"/>
                      </a:lnTo>
                      <a:close/>
                      <a:moveTo>
                        <a:pt x="130" y="210"/>
                      </a:moveTo>
                      <a:lnTo>
                        <a:pt x="131" y="210"/>
                      </a:lnTo>
                      <a:lnTo>
                        <a:pt x="131" y="214"/>
                      </a:lnTo>
                      <a:lnTo>
                        <a:pt x="130" y="214"/>
                      </a:lnTo>
                      <a:lnTo>
                        <a:pt x="130" y="210"/>
                      </a:lnTo>
                      <a:close/>
                      <a:moveTo>
                        <a:pt x="133" y="210"/>
                      </a:moveTo>
                      <a:lnTo>
                        <a:pt x="135" y="210"/>
                      </a:lnTo>
                      <a:lnTo>
                        <a:pt x="135" y="212"/>
                      </a:lnTo>
                      <a:lnTo>
                        <a:pt x="133" y="212"/>
                      </a:lnTo>
                      <a:lnTo>
                        <a:pt x="133" y="210"/>
                      </a:lnTo>
                      <a:close/>
                      <a:moveTo>
                        <a:pt x="141" y="195"/>
                      </a:moveTo>
                      <a:lnTo>
                        <a:pt x="143" y="195"/>
                      </a:lnTo>
                      <a:lnTo>
                        <a:pt x="139" y="195"/>
                      </a:lnTo>
                      <a:lnTo>
                        <a:pt x="141" y="195"/>
                      </a:lnTo>
                      <a:close/>
                      <a:moveTo>
                        <a:pt x="309" y="6"/>
                      </a:moveTo>
                      <a:lnTo>
                        <a:pt x="311" y="6"/>
                      </a:lnTo>
                      <a:lnTo>
                        <a:pt x="309" y="6"/>
                      </a:lnTo>
                      <a:lnTo>
                        <a:pt x="311" y="8"/>
                      </a:lnTo>
                      <a:lnTo>
                        <a:pt x="307" y="8"/>
                      </a:lnTo>
                      <a:lnTo>
                        <a:pt x="307" y="6"/>
                      </a:lnTo>
                      <a:lnTo>
                        <a:pt x="309" y="6"/>
                      </a:lnTo>
                      <a:lnTo>
                        <a:pt x="309" y="8"/>
                      </a:lnTo>
                      <a:lnTo>
                        <a:pt x="309" y="6"/>
                      </a:lnTo>
                      <a:close/>
                      <a:moveTo>
                        <a:pt x="4" y="412"/>
                      </a:moveTo>
                      <a:lnTo>
                        <a:pt x="6" y="412"/>
                      </a:lnTo>
                      <a:lnTo>
                        <a:pt x="6" y="416"/>
                      </a:lnTo>
                      <a:lnTo>
                        <a:pt x="4" y="416"/>
                      </a:lnTo>
                      <a:lnTo>
                        <a:pt x="4" y="412"/>
                      </a:lnTo>
                      <a:close/>
                      <a:moveTo>
                        <a:pt x="67" y="485"/>
                      </a:moveTo>
                      <a:lnTo>
                        <a:pt x="69" y="485"/>
                      </a:lnTo>
                      <a:lnTo>
                        <a:pt x="69" y="487"/>
                      </a:lnTo>
                      <a:lnTo>
                        <a:pt x="67" y="487"/>
                      </a:lnTo>
                      <a:lnTo>
                        <a:pt x="67" y="485"/>
                      </a:lnTo>
                      <a:close/>
                      <a:moveTo>
                        <a:pt x="219" y="63"/>
                      </a:moveTo>
                      <a:lnTo>
                        <a:pt x="223" y="63"/>
                      </a:lnTo>
                      <a:lnTo>
                        <a:pt x="223" y="65"/>
                      </a:lnTo>
                      <a:lnTo>
                        <a:pt x="219" y="65"/>
                      </a:lnTo>
                      <a:lnTo>
                        <a:pt x="219" y="63"/>
                      </a:lnTo>
                      <a:close/>
                      <a:moveTo>
                        <a:pt x="118" y="248"/>
                      </a:moveTo>
                      <a:lnTo>
                        <a:pt x="120" y="248"/>
                      </a:lnTo>
                      <a:lnTo>
                        <a:pt x="120" y="252"/>
                      </a:lnTo>
                      <a:lnTo>
                        <a:pt x="118" y="252"/>
                      </a:lnTo>
                      <a:lnTo>
                        <a:pt x="118" y="248"/>
                      </a:lnTo>
                      <a:close/>
                      <a:moveTo>
                        <a:pt x="19" y="464"/>
                      </a:moveTo>
                      <a:lnTo>
                        <a:pt x="21" y="464"/>
                      </a:lnTo>
                      <a:lnTo>
                        <a:pt x="21" y="466"/>
                      </a:lnTo>
                      <a:lnTo>
                        <a:pt x="19" y="466"/>
                      </a:lnTo>
                      <a:lnTo>
                        <a:pt x="19" y="464"/>
                      </a:lnTo>
                      <a:close/>
                      <a:moveTo>
                        <a:pt x="225" y="48"/>
                      </a:moveTo>
                      <a:lnTo>
                        <a:pt x="227" y="48"/>
                      </a:lnTo>
                      <a:lnTo>
                        <a:pt x="227" y="50"/>
                      </a:lnTo>
                      <a:lnTo>
                        <a:pt x="225" y="50"/>
                      </a:lnTo>
                      <a:lnTo>
                        <a:pt x="225" y="48"/>
                      </a:lnTo>
                      <a:close/>
                      <a:moveTo>
                        <a:pt x="91" y="466"/>
                      </a:moveTo>
                      <a:lnTo>
                        <a:pt x="93" y="466"/>
                      </a:lnTo>
                      <a:lnTo>
                        <a:pt x="93" y="468"/>
                      </a:lnTo>
                      <a:lnTo>
                        <a:pt x="91" y="468"/>
                      </a:lnTo>
                      <a:lnTo>
                        <a:pt x="91" y="466"/>
                      </a:lnTo>
                      <a:close/>
                      <a:moveTo>
                        <a:pt x="29" y="355"/>
                      </a:moveTo>
                      <a:lnTo>
                        <a:pt x="29" y="357"/>
                      </a:lnTo>
                      <a:lnTo>
                        <a:pt x="25" y="355"/>
                      </a:lnTo>
                      <a:lnTo>
                        <a:pt x="25" y="357"/>
                      </a:lnTo>
                      <a:lnTo>
                        <a:pt x="27" y="355"/>
                      </a:lnTo>
                      <a:lnTo>
                        <a:pt x="29" y="355"/>
                      </a:lnTo>
                      <a:close/>
                      <a:moveTo>
                        <a:pt x="8" y="439"/>
                      </a:moveTo>
                      <a:lnTo>
                        <a:pt x="9" y="439"/>
                      </a:lnTo>
                      <a:lnTo>
                        <a:pt x="8" y="439"/>
                      </a:lnTo>
                      <a:close/>
                      <a:moveTo>
                        <a:pt x="131" y="220"/>
                      </a:moveTo>
                      <a:lnTo>
                        <a:pt x="133" y="220"/>
                      </a:lnTo>
                      <a:lnTo>
                        <a:pt x="133" y="221"/>
                      </a:lnTo>
                      <a:lnTo>
                        <a:pt x="131" y="221"/>
                      </a:lnTo>
                      <a:lnTo>
                        <a:pt x="131" y="220"/>
                      </a:lnTo>
                      <a:close/>
                      <a:moveTo>
                        <a:pt x="126" y="158"/>
                      </a:moveTo>
                      <a:lnTo>
                        <a:pt x="130" y="158"/>
                      </a:lnTo>
                      <a:lnTo>
                        <a:pt x="130" y="162"/>
                      </a:lnTo>
                      <a:lnTo>
                        <a:pt x="126" y="162"/>
                      </a:lnTo>
                      <a:lnTo>
                        <a:pt x="126" y="158"/>
                      </a:lnTo>
                      <a:close/>
                      <a:moveTo>
                        <a:pt x="128" y="220"/>
                      </a:moveTo>
                      <a:lnTo>
                        <a:pt x="130" y="220"/>
                      </a:lnTo>
                      <a:lnTo>
                        <a:pt x="130" y="221"/>
                      </a:lnTo>
                      <a:lnTo>
                        <a:pt x="128" y="221"/>
                      </a:lnTo>
                      <a:lnTo>
                        <a:pt x="128" y="220"/>
                      </a:lnTo>
                      <a:close/>
                      <a:moveTo>
                        <a:pt x="23" y="353"/>
                      </a:moveTo>
                      <a:lnTo>
                        <a:pt x="25" y="353"/>
                      </a:lnTo>
                      <a:lnTo>
                        <a:pt x="25" y="355"/>
                      </a:lnTo>
                      <a:lnTo>
                        <a:pt x="23" y="355"/>
                      </a:lnTo>
                      <a:lnTo>
                        <a:pt x="23" y="353"/>
                      </a:lnTo>
                      <a:close/>
                      <a:moveTo>
                        <a:pt x="322" y="8"/>
                      </a:moveTo>
                      <a:lnTo>
                        <a:pt x="324" y="8"/>
                      </a:lnTo>
                      <a:lnTo>
                        <a:pt x="324" y="10"/>
                      </a:lnTo>
                      <a:lnTo>
                        <a:pt x="322" y="10"/>
                      </a:lnTo>
                      <a:lnTo>
                        <a:pt x="322" y="8"/>
                      </a:lnTo>
                      <a:close/>
                      <a:moveTo>
                        <a:pt x="337" y="23"/>
                      </a:moveTo>
                      <a:lnTo>
                        <a:pt x="337" y="25"/>
                      </a:lnTo>
                      <a:lnTo>
                        <a:pt x="337" y="23"/>
                      </a:lnTo>
                      <a:close/>
                      <a:moveTo>
                        <a:pt x="51" y="338"/>
                      </a:moveTo>
                      <a:lnTo>
                        <a:pt x="53" y="338"/>
                      </a:lnTo>
                      <a:lnTo>
                        <a:pt x="53" y="340"/>
                      </a:lnTo>
                      <a:lnTo>
                        <a:pt x="51" y="340"/>
                      </a:lnTo>
                      <a:lnTo>
                        <a:pt x="51" y="338"/>
                      </a:lnTo>
                      <a:close/>
                      <a:moveTo>
                        <a:pt x="42" y="349"/>
                      </a:moveTo>
                      <a:lnTo>
                        <a:pt x="44" y="349"/>
                      </a:lnTo>
                      <a:lnTo>
                        <a:pt x="44" y="351"/>
                      </a:lnTo>
                      <a:lnTo>
                        <a:pt x="42" y="351"/>
                      </a:lnTo>
                      <a:lnTo>
                        <a:pt x="42" y="349"/>
                      </a:lnTo>
                      <a:close/>
                      <a:moveTo>
                        <a:pt x="189" y="101"/>
                      </a:moveTo>
                      <a:lnTo>
                        <a:pt x="191" y="101"/>
                      </a:lnTo>
                      <a:lnTo>
                        <a:pt x="191" y="103"/>
                      </a:lnTo>
                      <a:lnTo>
                        <a:pt x="189" y="103"/>
                      </a:lnTo>
                      <a:lnTo>
                        <a:pt x="189" y="101"/>
                      </a:lnTo>
                      <a:close/>
                      <a:moveTo>
                        <a:pt x="4" y="408"/>
                      </a:moveTo>
                      <a:lnTo>
                        <a:pt x="6" y="408"/>
                      </a:lnTo>
                      <a:lnTo>
                        <a:pt x="6" y="410"/>
                      </a:lnTo>
                      <a:lnTo>
                        <a:pt x="4" y="410"/>
                      </a:lnTo>
                      <a:lnTo>
                        <a:pt x="4" y="408"/>
                      </a:lnTo>
                      <a:close/>
                      <a:moveTo>
                        <a:pt x="99" y="464"/>
                      </a:moveTo>
                      <a:lnTo>
                        <a:pt x="101" y="464"/>
                      </a:lnTo>
                      <a:lnTo>
                        <a:pt x="101" y="466"/>
                      </a:lnTo>
                      <a:lnTo>
                        <a:pt x="99" y="466"/>
                      </a:lnTo>
                      <a:lnTo>
                        <a:pt x="99" y="464"/>
                      </a:lnTo>
                      <a:close/>
                      <a:moveTo>
                        <a:pt x="122" y="239"/>
                      </a:moveTo>
                      <a:lnTo>
                        <a:pt x="124" y="239"/>
                      </a:lnTo>
                      <a:lnTo>
                        <a:pt x="124" y="240"/>
                      </a:lnTo>
                      <a:lnTo>
                        <a:pt x="122" y="240"/>
                      </a:lnTo>
                      <a:lnTo>
                        <a:pt x="122" y="239"/>
                      </a:lnTo>
                      <a:close/>
                      <a:moveTo>
                        <a:pt x="95" y="454"/>
                      </a:moveTo>
                      <a:lnTo>
                        <a:pt x="97" y="454"/>
                      </a:lnTo>
                      <a:lnTo>
                        <a:pt x="97" y="458"/>
                      </a:lnTo>
                      <a:lnTo>
                        <a:pt x="95" y="458"/>
                      </a:lnTo>
                      <a:lnTo>
                        <a:pt x="95" y="454"/>
                      </a:lnTo>
                      <a:close/>
                      <a:moveTo>
                        <a:pt x="6" y="406"/>
                      </a:moveTo>
                      <a:lnTo>
                        <a:pt x="8" y="406"/>
                      </a:lnTo>
                      <a:lnTo>
                        <a:pt x="6" y="406"/>
                      </a:lnTo>
                      <a:close/>
                      <a:moveTo>
                        <a:pt x="21" y="487"/>
                      </a:moveTo>
                      <a:lnTo>
                        <a:pt x="21" y="489"/>
                      </a:lnTo>
                      <a:lnTo>
                        <a:pt x="21" y="487"/>
                      </a:lnTo>
                      <a:close/>
                      <a:moveTo>
                        <a:pt x="84" y="300"/>
                      </a:moveTo>
                      <a:lnTo>
                        <a:pt x="86" y="300"/>
                      </a:lnTo>
                      <a:lnTo>
                        <a:pt x="86" y="302"/>
                      </a:lnTo>
                      <a:lnTo>
                        <a:pt x="84" y="302"/>
                      </a:lnTo>
                      <a:lnTo>
                        <a:pt x="84" y="300"/>
                      </a:lnTo>
                      <a:close/>
                      <a:moveTo>
                        <a:pt x="2" y="403"/>
                      </a:moveTo>
                      <a:lnTo>
                        <a:pt x="4" y="403"/>
                      </a:lnTo>
                      <a:lnTo>
                        <a:pt x="4" y="406"/>
                      </a:lnTo>
                      <a:lnTo>
                        <a:pt x="2" y="406"/>
                      </a:lnTo>
                      <a:lnTo>
                        <a:pt x="2" y="403"/>
                      </a:lnTo>
                      <a:close/>
                      <a:moveTo>
                        <a:pt x="328" y="44"/>
                      </a:moveTo>
                      <a:lnTo>
                        <a:pt x="330" y="44"/>
                      </a:lnTo>
                      <a:lnTo>
                        <a:pt x="330" y="46"/>
                      </a:lnTo>
                      <a:lnTo>
                        <a:pt x="328" y="46"/>
                      </a:lnTo>
                      <a:lnTo>
                        <a:pt x="328" y="44"/>
                      </a:lnTo>
                      <a:close/>
                      <a:moveTo>
                        <a:pt x="84" y="302"/>
                      </a:moveTo>
                      <a:lnTo>
                        <a:pt x="86" y="302"/>
                      </a:lnTo>
                      <a:lnTo>
                        <a:pt x="86" y="303"/>
                      </a:lnTo>
                      <a:lnTo>
                        <a:pt x="84" y="303"/>
                      </a:lnTo>
                      <a:lnTo>
                        <a:pt x="84" y="302"/>
                      </a:lnTo>
                      <a:close/>
                      <a:moveTo>
                        <a:pt x="2" y="380"/>
                      </a:moveTo>
                      <a:lnTo>
                        <a:pt x="4" y="380"/>
                      </a:lnTo>
                      <a:lnTo>
                        <a:pt x="4" y="382"/>
                      </a:lnTo>
                      <a:lnTo>
                        <a:pt x="2" y="382"/>
                      </a:lnTo>
                      <a:lnTo>
                        <a:pt x="2" y="380"/>
                      </a:lnTo>
                      <a:close/>
                      <a:moveTo>
                        <a:pt x="128" y="204"/>
                      </a:moveTo>
                      <a:lnTo>
                        <a:pt x="128" y="206"/>
                      </a:lnTo>
                      <a:lnTo>
                        <a:pt x="128" y="204"/>
                      </a:lnTo>
                      <a:close/>
                      <a:moveTo>
                        <a:pt x="259" y="53"/>
                      </a:moveTo>
                      <a:lnTo>
                        <a:pt x="261" y="53"/>
                      </a:lnTo>
                      <a:lnTo>
                        <a:pt x="261" y="57"/>
                      </a:lnTo>
                      <a:lnTo>
                        <a:pt x="259" y="57"/>
                      </a:lnTo>
                      <a:lnTo>
                        <a:pt x="259" y="53"/>
                      </a:lnTo>
                      <a:close/>
                      <a:moveTo>
                        <a:pt x="8" y="426"/>
                      </a:moveTo>
                      <a:lnTo>
                        <a:pt x="9" y="426"/>
                      </a:lnTo>
                      <a:lnTo>
                        <a:pt x="9" y="427"/>
                      </a:lnTo>
                      <a:lnTo>
                        <a:pt x="8" y="427"/>
                      </a:lnTo>
                      <a:lnTo>
                        <a:pt x="8" y="426"/>
                      </a:lnTo>
                      <a:close/>
                      <a:moveTo>
                        <a:pt x="131" y="210"/>
                      </a:moveTo>
                      <a:lnTo>
                        <a:pt x="133" y="210"/>
                      </a:lnTo>
                      <a:lnTo>
                        <a:pt x="133" y="212"/>
                      </a:lnTo>
                      <a:lnTo>
                        <a:pt x="131" y="212"/>
                      </a:lnTo>
                      <a:lnTo>
                        <a:pt x="131" y="210"/>
                      </a:lnTo>
                      <a:close/>
                      <a:moveTo>
                        <a:pt x="145" y="183"/>
                      </a:moveTo>
                      <a:lnTo>
                        <a:pt x="147" y="183"/>
                      </a:lnTo>
                      <a:lnTo>
                        <a:pt x="147" y="185"/>
                      </a:lnTo>
                      <a:lnTo>
                        <a:pt x="145" y="185"/>
                      </a:lnTo>
                      <a:lnTo>
                        <a:pt x="145" y="183"/>
                      </a:lnTo>
                      <a:close/>
                      <a:moveTo>
                        <a:pt x="124" y="235"/>
                      </a:moveTo>
                      <a:lnTo>
                        <a:pt x="126" y="235"/>
                      </a:lnTo>
                      <a:lnTo>
                        <a:pt x="126" y="239"/>
                      </a:lnTo>
                      <a:lnTo>
                        <a:pt x="124" y="239"/>
                      </a:lnTo>
                      <a:lnTo>
                        <a:pt x="124" y="235"/>
                      </a:lnTo>
                      <a:close/>
                      <a:moveTo>
                        <a:pt x="67" y="315"/>
                      </a:moveTo>
                      <a:lnTo>
                        <a:pt x="65" y="317"/>
                      </a:lnTo>
                      <a:lnTo>
                        <a:pt x="67" y="315"/>
                      </a:lnTo>
                      <a:close/>
                      <a:moveTo>
                        <a:pt x="21" y="464"/>
                      </a:moveTo>
                      <a:lnTo>
                        <a:pt x="23" y="464"/>
                      </a:lnTo>
                      <a:lnTo>
                        <a:pt x="21" y="464"/>
                      </a:lnTo>
                      <a:close/>
                      <a:moveTo>
                        <a:pt x="130" y="204"/>
                      </a:moveTo>
                      <a:lnTo>
                        <a:pt x="131" y="204"/>
                      </a:lnTo>
                      <a:lnTo>
                        <a:pt x="131" y="208"/>
                      </a:lnTo>
                      <a:lnTo>
                        <a:pt x="130" y="208"/>
                      </a:lnTo>
                      <a:lnTo>
                        <a:pt x="130" y="204"/>
                      </a:lnTo>
                      <a:close/>
                      <a:moveTo>
                        <a:pt x="49" y="334"/>
                      </a:moveTo>
                      <a:lnTo>
                        <a:pt x="51" y="334"/>
                      </a:lnTo>
                      <a:lnTo>
                        <a:pt x="49" y="334"/>
                      </a:lnTo>
                      <a:close/>
                      <a:moveTo>
                        <a:pt x="6" y="401"/>
                      </a:moveTo>
                      <a:lnTo>
                        <a:pt x="8" y="401"/>
                      </a:lnTo>
                      <a:lnTo>
                        <a:pt x="8" y="403"/>
                      </a:lnTo>
                      <a:lnTo>
                        <a:pt x="6" y="403"/>
                      </a:lnTo>
                      <a:lnTo>
                        <a:pt x="6" y="401"/>
                      </a:lnTo>
                      <a:close/>
                      <a:moveTo>
                        <a:pt x="181" y="130"/>
                      </a:moveTo>
                      <a:lnTo>
                        <a:pt x="183" y="130"/>
                      </a:lnTo>
                      <a:lnTo>
                        <a:pt x="183" y="132"/>
                      </a:lnTo>
                      <a:lnTo>
                        <a:pt x="181" y="132"/>
                      </a:lnTo>
                      <a:lnTo>
                        <a:pt x="181" y="130"/>
                      </a:lnTo>
                      <a:close/>
                      <a:moveTo>
                        <a:pt x="25" y="349"/>
                      </a:moveTo>
                      <a:lnTo>
                        <a:pt x="27" y="349"/>
                      </a:lnTo>
                      <a:lnTo>
                        <a:pt x="27" y="351"/>
                      </a:lnTo>
                      <a:lnTo>
                        <a:pt x="25" y="351"/>
                      </a:lnTo>
                      <a:lnTo>
                        <a:pt x="25" y="349"/>
                      </a:lnTo>
                      <a:close/>
                      <a:moveTo>
                        <a:pt x="13" y="361"/>
                      </a:moveTo>
                      <a:lnTo>
                        <a:pt x="15" y="361"/>
                      </a:lnTo>
                      <a:lnTo>
                        <a:pt x="15" y="363"/>
                      </a:lnTo>
                      <a:lnTo>
                        <a:pt x="13" y="363"/>
                      </a:lnTo>
                      <a:lnTo>
                        <a:pt x="13" y="361"/>
                      </a:lnTo>
                      <a:close/>
                      <a:moveTo>
                        <a:pt x="17" y="361"/>
                      </a:moveTo>
                      <a:lnTo>
                        <a:pt x="17" y="363"/>
                      </a:lnTo>
                      <a:lnTo>
                        <a:pt x="17" y="361"/>
                      </a:lnTo>
                      <a:close/>
                      <a:moveTo>
                        <a:pt x="267" y="38"/>
                      </a:moveTo>
                      <a:lnTo>
                        <a:pt x="269" y="38"/>
                      </a:lnTo>
                      <a:lnTo>
                        <a:pt x="269" y="42"/>
                      </a:lnTo>
                      <a:lnTo>
                        <a:pt x="267" y="42"/>
                      </a:lnTo>
                      <a:lnTo>
                        <a:pt x="267" y="38"/>
                      </a:lnTo>
                      <a:close/>
                      <a:moveTo>
                        <a:pt x="4" y="382"/>
                      </a:moveTo>
                      <a:lnTo>
                        <a:pt x="4" y="386"/>
                      </a:lnTo>
                      <a:lnTo>
                        <a:pt x="4" y="382"/>
                      </a:lnTo>
                      <a:close/>
                      <a:moveTo>
                        <a:pt x="99" y="466"/>
                      </a:moveTo>
                      <a:lnTo>
                        <a:pt x="101" y="466"/>
                      </a:lnTo>
                      <a:lnTo>
                        <a:pt x="101" y="468"/>
                      </a:lnTo>
                      <a:lnTo>
                        <a:pt x="99" y="468"/>
                      </a:lnTo>
                      <a:lnTo>
                        <a:pt x="99" y="466"/>
                      </a:lnTo>
                      <a:close/>
                      <a:moveTo>
                        <a:pt x="59" y="326"/>
                      </a:moveTo>
                      <a:lnTo>
                        <a:pt x="61" y="326"/>
                      </a:lnTo>
                      <a:lnTo>
                        <a:pt x="61" y="328"/>
                      </a:lnTo>
                      <a:lnTo>
                        <a:pt x="59" y="328"/>
                      </a:lnTo>
                      <a:lnTo>
                        <a:pt x="59" y="326"/>
                      </a:lnTo>
                      <a:close/>
                      <a:moveTo>
                        <a:pt x="29" y="345"/>
                      </a:moveTo>
                      <a:lnTo>
                        <a:pt x="30" y="345"/>
                      </a:lnTo>
                      <a:lnTo>
                        <a:pt x="30" y="347"/>
                      </a:lnTo>
                      <a:lnTo>
                        <a:pt x="29" y="347"/>
                      </a:lnTo>
                      <a:lnTo>
                        <a:pt x="29" y="345"/>
                      </a:lnTo>
                      <a:close/>
                      <a:moveTo>
                        <a:pt x="30" y="349"/>
                      </a:moveTo>
                      <a:lnTo>
                        <a:pt x="32" y="349"/>
                      </a:lnTo>
                      <a:lnTo>
                        <a:pt x="32" y="351"/>
                      </a:lnTo>
                      <a:lnTo>
                        <a:pt x="30" y="351"/>
                      </a:lnTo>
                      <a:lnTo>
                        <a:pt x="30" y="349"/>
                      </a:lnTo>
                      <a:close/>
                      <a:moveTo>
                        <a:pt x="191" y="103"/>
                      </a:moveTo>
                      <a:lnTo>
                        <a:pt x="193" y="103"/>
                      </a:lnTo>
                      <a:lnTo>
                        <a:pt x="193" y="105"/>
                      </a:lnTo>
                      <a:lnTo>
                        <a:pt x="191" y="105"/>
                      </a:lnTo>
                      <a:lnTo>
                        <a:pt x="191" y="103"/>
                      </a:lnTo>
                      <a:close/>
                      <a:moveTo>
                        <a:pt x="254" y="57"/>
                      </a:moveTo>
                      <a:lnTo>
                        <a:pt x="255" y="57"/>
                      </a:lnTo>
                      <a:lnTo>
                        <a:pt x="255" y="59"/>
                      </a:lnTo>
                      <a:lnTo>
                        <a:pt x="254" y="59"/>
                      </a:lnTo>
                      <a:lnTo>
                        <a:pt x="254" y="57"/>
                      </a:lnTo>
                      <a:close/>
                      <a:moveTo>
                        <a:pt x="25" y="349"/>
                      </a:moveTo>
                      <a:lnTo>
                        <a:pt x="27" y="349"/>
                      </a:lnTo>
                      <a:lnTo>
                        <a:pt x="27" y="351"/>
                      </a:lnTo>
                      <a:lnTo>
                        <a:pt x="25" y="351"/>
                      </a:lnTo>
                      <a:lnTo>
                        <a:pt x="25" y="349"/>
                      </a:lnTo>
                      <a:close/>
                      <a:moveTo>
                        <a:pt x="61" y="317"/>
                      </a:moveTo>
                      <a:lnTo>
                        <a:pt x="63" y="317"/>
                      </a:lnTo>
                      <a:lnTo>
                        <a:pt x="63" y="319"/>
                      </a:lnTo>
                      <a:lnTo>
                        <a:pt x="61" y="319"/>
                      </a:lnTo>
                      <a:lnTo>
                        <a:pt x="61" y="317"/>
                      </a:lnTo>
                      <a:close/>
                      <a:moveTo>
                        <a:pt x="124" y="233"/>
                      </a:moveTo>
                      <a:lnTo>
                        <a:pt x="126" y="233"/>
                      </a:lnTo>
                      <a:lnTo>
                        <a:pt x="126" y="235"/>
                      </a:lnTo>
                      <a:lnTo>
                        <a:pt x="124" y="235"/>
                      </a:lnTo>
                      <a:lnTo>
                        <a:pt x="124" y="233"/>
                      </a:lnTo>
                      <a:close/>
                      <a:moveTo>
                        <a:pt x="166" y="134"/>
                      </a:moveTo>
                      <a:lnTo>
                        <a:pt x="166" y="136"/>
                      </a:lnTo>
                      <a:lnTo>
                        <a:pt x="166" y="134"/>
                      </a:lnTo>
                      <a:close/>
                      <a:moveTo>
                        <a:pt x="8" y="443"/>
                      </a:moveTo>
                      <a:lnTo>
                        <a:pt x="9" y="443"/>
                      </a:lnTo>
                      <a:lnTo>
                        <a:pt x="9" y="445"/>
                      </a:lnTo>
                      <a:lnTo>
                        <a:pt x="8" y="445"/>
                      </a:lnTo>
                      <a:lnTo>
                        <a:pt x="8" y="443"/>
                      </a:lnTo>
                      <a:close/>
                      <a:moveTo>
                        <a:pt x="30" y="492"/>
                      </a:moveTo>
                      <a:lnTo>
                        <a:pt x="32" y="492"/>
                      </a:lnTo>
                      <a:lnTo>
                        <a:pt x="32" y="494"/>
                      </a:lnTo>
                      <a:lnTo>
                        <a:pt x="30" y="494"/>
                      </a:lnTo>
                      <a:lnTo>
                        <a:pt x="30" y="492"/>
                      </a:lnTo>
                      <a:close/>
                      <a:moveTo>
                        <a:pt x="244" y="48"/>
                      </a:moveTo>
                      <a:lnTo>
                        <a:pt x="246" y="48"/>
                      </a:lnTo>
                      <a:lnTo>
                        <a:pt x="246" y="50"/>
                      </a:lnTo>
                      <a:lnTo>
                        <a:pt x="244" y="50"/>
                      </a:lnTo>
                      <a:lnTo>
                        <a:pt x="244" y="48"/>
                      </a:lnTo>
                      <a:close/>
                      <a:moveTo>
                        <a:pt x="15" y="443"/>
                      </a:moveTo>
                      <a:lnTo>
                        <a:pt x="15" y="445"/>
                      </a:lnTo>
                      <a:lnTo>
                        <a:pt x="15" y="443"/>
                      </a:lnTo>
                      <a:close/>
                      <a:moveTo>
                        <a:pt x="25" y="351"/>
                      </a:moveTo>
                      <a:lnTo>
                        <a:pt x="25" y="353"/>
                      </a:lnTo>
                      <a:lnTo>
                        <a:pt x="25" y="351"/>
                      </a:lnTo>
                      <a:close/>
                      <a:moveTo>
                        <a:pt x="213" y="73"/>
                      </a:moveTo>
                      <a:lnTo>
                        <a:pt x="215" y="73"/>
                      </a:lnTo>
                      <a:lnTo>
                        <a:pt x="215" y="74"/>
                      </a:lnTo>
                      <a:lnTo>
                        <a:pt x="213" y="74"/>
                      </a:lnTo>
                      <a:lnTo>
                        <a:pt x="213" y="73"/>
                      </a:lnTo>
                      <a:close/>
                      <a:moveTo>
                        <a:pt x="2" y="418"/>
                      </a:moveTo>
                      <a:lnTo>
                        <a:pt x="4" y="418"/>
                      </a:lnTo>
                      <a:lnTo>
                        <a:pt x="4" y="420"/>
                      </a:lnTo>
                      <a:lnTo>
                        <a:pt x="2" y="420"/>
                      </a:lnTo>
                      <a:lnTo>
                        <a:pt x="2" y="418"/>
                      </a:lnTo>
                      <a:close/>
                      <a:moveTo>
                        <a:pt x="215" y="69"/>
                      </a:moveTo>
                      <a:lnTo>
                        <a:pt x="217" y="69"/>
                      </a:lnTo>
                      <a:lnTo>
                        <a:pt x="217" y="71"/>
                      </a:lnTo>
                      <a:lnTo>
                        <a:pt x="215" y="71"/>
                      </a:lnTo>
                      <a:lnTo>
                        <a:pt x="215" y="69"/>
                      </a:lnTo>
                      <a:close/>
                      <a:moveTo>
                        <a:pt x="316" y="8"/>
                      </a:moveTo>
                      <a:lnTo>
                        <a:pt x="320" y="8"/>
                      </a:lnTo>
                      <a:lnTo>
                        <a:pt x="320" y="10"/>
                      </a:lnTo>
                      <a:lnTo>
                        <a:pt x="316" y="10"/>
                      </a:lnTo>
                      <a:lnTo>
                        <a:pt x="316" y="8"/>
                      </a:lnTo>
                      <a:close/>
                      <a:moveTo>
                        <a:pt x="160" y="137"/>
                      </a:moveTo>
                      <a:lnTo>
                        <a:pt x="162" y="137"/>
                      </a:lnTo>
                      <a:lnTo>
                        <a:pt x="160" y="137"/>
                      </a:lnTo>
                      <a:close/>
                      <a:moveTo>
                        <a:pt x="225" y="52"/>
                      </a:moveTo>
                      <a:lnTo>
                        <a:pt x="227" y="52"/>
                      </a:lnTo>
                      <a:lnTo>
                        <a:pt x="227" y="53"/>
                      </a:lnTo>
                      <a:lnTo>
                        <a:pt x="225" y="53"/>
                      </a:lnTo>
                      <a:lnTo>
                        <a:pt x="225" y="52"/>
                      </a:lnTo>
                      <a:close/>
                      <a:moveTo>
                        <a:pt x="177" y="139"/>
                      </a:moveTo>
                      <a:lnTo>
                        <a:pt x="179" y="139"/>
                      </a:lnTo>
                      <a:lnTo>
                        <a:pt x="179" y="141"/>
                      </a:lnTo>
                      <a:lnTo>
                        <a:pt x="177" y="141"/>
                      </a:lnTo>
                      <a:lnTo>
                        <a:pt x="177" y="139"/>
                      </a:lnTo>
                      <a:close/>
                      <a:moveTo>
                        <a:pt x="11" y="365"/>
                      </a:moveTo>
                      <a:lnTo>
                        <a:pt x="13" y="365"/>
                      </a:lnTo>
                      <a:lnTo>
                        <a:pt x="11" y="365"/>
                      </a:lnTo>
                      <a:close/>
                      <a:moveTo>
                        <a:pt x="76" y="315"/>
                      </a:moveTo>
                      <a:lnTo>
                        <a:pt x="76" y="317"/>
                      </a:lnTo>
                      <a:lnTo>
                        <a:pt x="76" y="315"/>
                      </a:lnTo>
                      <a:close/>
                      <a:moveTo>
                        <a:pt x="105" y="284"/>
                      </a:moveTo>
                      <a:lnTo>
                        <a:pt x="107" y="284"/>
                      </a:lnTo>
                      <a:lnTo>
                        <a:pt x="107" y="286"/>
                      </a:lnTo>
                      <a:lnTo>
                        <a:pt x="105" y="286"/>
                      </a:lnTo>
                      <a:lnTo>
                        <a:pt x="105" y="284"/>
                      </a:lnTo>
                      <a:close/>
                      <a:moveTo>
                        <a:pt x="271" y="59"/>
                      </a:moveTo>
                      <a:lnTo>
                        <a:pt x="273" y="59"/>
                      </a:lnTo>
                      <a:lnTo>
                        <a:pt x="273" y="61"/>
                      </a:lnTo>
                      <a:lnTo>
                        <a:pt x="271" y="61"/>
                      </a:lnTo>
                      <a:lnTo>
                        <a:pt x="271" y="59"/>
                      </a:lnTo>
                      <a:close/>
                      <a:moveTo>
                        <a:pt x="11" y="460"/>
                      </a:moveTo>
                      <a:lnTo>
                        <a:pt x="11" y="462"/>
                      </a:lnTo>
                      <a:lnTo>
                        <a:pt x="11" y="460"/>
                      </a:lnTo>
                      <a:close/>
                      <a:moveTo>
                        <a:pt x="11" y="447"/>
                      </a:moveTo>
                      <a:lnTo>
                        <a:pt x="11" y="448"/>
                      </a:lnTo>
                      <a:lnTo>
                        <a:pt x="11" y="447"/>
                      </a:lnTo>
                      <a:close/>
                      <a:moveTo>
                        <a:pt x="122" y="231"/>
                      </a:moveTo>
                      <a:lnTo>
                        <a:pt x="124" y="231"/>
                      </a:lnTo>
                      <a:lnTo>
                        <a:pt x="124" y="235"/>
                      </a:lnTo>
                      <a:lnTo>
                        <a:pt x="122" y="235"/>
                      </a:lnTo>
                      <a:lnTo>
                        <a:pt x="122" y="231"/>
                      </a:lnTo>
                      <a:close/>
                      <a:moveTo>
                        <a:pt x="122" y="227"/>
                      </a:moveTo>
                      <a:lnTo>
                        <a:pt x="124" y="227"/>
                      </a:lnTo>
                      <a:lnTo>
                        <a:pt x="124" y="229"/>
                      </a:lnTo>
                      <a:lnTo>
                        <a:pt x="122" y="229"/>
                      </a:lnTo>
                      <a:lnTo>
                        <a:pt x="122" y="227"/>
                      </a:lnTo>
                      <a:close/>
                      <a:moveTo>
                        <a:pt x="21" y="357"/>
                      </a:moveTo>
                      <a:lnTo>
                        <a:pt x="23" y="357"/>
                      </a:lnTo>
                      <a:lnTo>
                        <a:pt x="21" y="357"/>
                      </a:lnTo>
                      <a:close/>
                      <a:moveTo>
                        <a:pt x="15" y="468"/>
                      </a:moveTo>
                      <a:lnTo>
                        <a:pt x="17" y="468"/>
                      </a:lnTo>
                      <a:lnTo>
                        <a:pt x="15" y="468"/>
                      </a:lnTo>
                      <a:close/>
                      <a:moveTo>
                        <a:pt x="133" y="202"/>
                      </a:moveTo>
                      <a:lnTo>
                        <a:pt x="133" y="204"/>
                      </a:lnTo>
                      <a:lnTo>
                        <a:pt x="133" y="202"/>
                      </a:lnTo>
                      <a:close/>
                      <a:moveTo>
                        <a:pt x="242" y="55"/>
                      </a:moveTo>
                      <a:lnTo>
                        <a:pt x="244" y="55"/>
                      </a:lnTo>
                      <a:lnTo>
                        <a:pt x="244" y="57"/>
                      </a:lnTo>
                      <a:lnTo>
                        <a:pt x="242" y="57"/>
                      </a:lnTo>
                      <a:lnTo>
                        <a:pt x="242" y="55"/>
                      </a:lnTo>
                      <a:close/>
                      <a:moveTo>
                        <a:pt x="8" y="387"/>
                      </a:moveTo>
                      <a:lnTo>
                        <a:pt x="9" y="387"/>
                      </a:lnTo>
                      <a:lnTo>
                        <a:pt x="8" y="387"/>
                      </a:lnTo>
                      <a:close/>
                      <a:moveTo>
                        <a:pt x="116" y="258"/>
                      </a:moveTo>
                      <a:lnTo>
                        <a:pt x="118" y="258"/>
                      </a:lnTo>
                      <a:lnTo>
                        <a:pt x="116" y="258"/>
                      </a:lnTo>
                      <a:close/>
                      <a:moveTo>
                        <a:pt x="9" y="376"/>
                      </a:moveTo>
                      <a:lnTo>
                        <a:pt x="11" y="376"/>
                      </a:lnTo>
                      <a:lnTo>
                        <a:pt x="11" y="378"/>
                      </a:lnTo>
                      <a:lnTo>
                        <a:pt x="9" y="378"/>
                      </a:lnTo>
                      <a:lnTo>
                        <a:pt x="9" y="376"/>
                      </a:lnTo>
                      <a:close/>
                      <a:moveTo>
                        <a:pt x="166" y="160"/>
                      </a:moveTo>
                      <a:lnTo>
                        <a:pt x="168" y="160"/>
                      </a:lnTo>
                      <a:lnTo>
                        <a:pt x="168" y="162"/>
                      </a:lnTo>
                      <a:lnTo>
                        <a:pt x="166" y="162"/>
                      </a:lnTo>
                      <a:lnTo>
                        <a:pt x="166" y="160"/>
                      </a:lnTo>
                      <a:close/>
                      <a:moveTo>
                        <a:pt x="133" y="200"/>
                      </a:moveTo>
                      <a:lnTo>
                        <a:pt x="135" y="200"/>
                      </a:lnTo>
                      <a:lnTo>
                        <a:pt x="135" y="202"/>
                      </a:lnTo>
                      <a:lnTo>
                        <a:pt x="133" y="202"/>
                      </a:lnTo>
                      <a:lnTo>
                        <a:pt x="133" y="200"/>
                      </a:lnTo>
                      <a:close/>
                      <a:moveTo>
                        <a:pt x="17" y="447"/>
                      </a:moveTo>
                      <a:lnTo>
                        <a:pt x="17" y="448"/>
                      </a:lnTo>
                      <a:lnTo>
                        <a:pt x="17" y="447"/>
                      </a:lnTo>
                      <a:close/>
                      <a:moveTo>
                        <a:pt x="229" y="52"/>
                      </a:moveTo>
                      <a:lnTo>
                        <a:pt x="229" y="53"/>
                      </a:lnTo>
                      <a:lnTo>
                        <a:pt x="229" y="52"/>
                      </a:lnTo>
                      <a:close/>
                      <a:moveTo>
                        <a:pt x="240" y="44"/>
                      </a:moveTo>
                      <a:lnTo>
                        <a:pt x="240" y="46"/>
                      </a:lnTo>
                      <a:lnTo>
                        <a:pt x="240" y="44"/>
                      </a:lnTo>
                      <a:close/>
                      <a:moveTo>
                        <a:pt x="8" y="433"/>
                      </a:moveTo>
                      <a:lnTo>
                        <a:pt x="9" y="433"/>
                      </a:lnTo>
                      <a:lnTo>
                        <a:pt x="9" y="435"/>
                      </a:lnTo>
                      <a:lnTo>
                        <a:pt x="8" y="435"/>
                      </a:lnTo>
                      <a:lnTo>
                        <a:pt x="8" y="433"/>
                      </a:lnTo>
                      <a:close/>
                      <a:moveTo>
                        <a:pt x="8" y="389"/>
                      </a:moveTo>
                      <a:lnTo>
                        <a:pt x="9" y="389"/>
                      </a:lnTo>
                      <a:lnTo>
                        <a:pt x="9" y="391"/>
                      </a:lnTo>
                      <a:lnTo>
                        <a:pt x="8" y="391"/>
                      </a:lnTo>
                      <a:lnTo>
                        <a:pt x="8" y="389"/>
                      </a:lnTo>
                      <a:close/>
                      <a:moveTo>
                        <a:pt x="4" y="408"/>
                      </a:moveTo>
                      <a:lnTo>
                        <a:pt x="6" y="408"/>
                      </a:lnTo>
                      <a:lnTo>
                        <a:pt x="6" y="410"/>
                      </a:lnTo>
                      <a:lnTo>
                        <a:pt x="4" y="410"/>
                      </a:lnTo>
                      <a:lnTo>
                        <a:pt x="4" y="408"/>
                      </a:lnTo>
                      <a:close/>
                      <a:moveTo>
                        <a:pt x="65" y="309"/>
                      </a:moveTo>
                      <a:lnTo>
                        <a:pt x="67" y="309"/>
                      </a:lnTo>
                      <a:lnTo>
                        <a:pt x="67" y="311"/>
                      </a:lnTo>
                      <a:lnTo>
                        <a:pt x="65" y="311"/>
                      </a:lnTo>
                      <a:lnTo>
                        <a:pt x="65" y="309"/>
                      </a:lnTo>
                      <a:close/>
                      <a:moveTo>
                        <a:pt x="118" y="239"/>
                      </a:moveTo>
                      <a:lnTo>
                        <a:pt x="120" y="239"/>
                      </a:lnTo>
                      <a:lnTo>
                        <a:pt x="120" y="240"/>
                      </a:lnTo>
                      <a:lnTo>
                        <a:pt x="118" y="240"/>
                      </a:lnTo>
                      <a:lnTo>
                        <a:pt x="118" y="239"/>
                      </a:lnTo>
                      <a:close/>
                      <a:moveTo>
                        <a:pt x="122" y="261"/>
                      </a:moveTo>
                      <a:lnTo>
                        <a:pt x="124" y="261"/>
                      </a:lnTo>
                      <a:lnTo>
                        <a:pt x="122" y="261"/>
                      </a:lnTo>
                      <a:close/>
                      <a:moveTo>
                        <a:pt x="19" y="466"/>
                      </a:moveTo>
                      <a:lnTo>
                        <a:pt x="21" y="466"/>
                      </a:lnTo>
                      <a:lnTo>
                        <a:pt x="21" y="468"/>
                      </a:lnTo>
                      <a:lnTo>
                        <a:pt x="19" y="468"/>
                      </a:lnTo>
                      <a:lnTo>
                        <a:pt x="19" y="466"/>
                      </a:lnTo>
                      <a:close/>
                      <a:moveTo>
                        <a:pt x="2" y="395"/>
                      </a:moveTo>
                      <a:lnTo>
                        <a:pt x="2" y="397"/>
                      </a:lnTo>
                      <a:lnTo>
                        <a:pt x="2" y="395"/>
                      </a:lnTo>
                      <a:close/>
                      <a:moveTo>
                        <a:pt x="143" y="193"/>
                      </a:moveTo>
                      <a:lnTo>
                        <a:pt x="145" y="193"/>
                      </a:lnTo>
                      <a:lnTo>
                        <a:pt x="145" y="195"/>
                      </a:lnTo>
                      <a:lnTo>
                        <a:pt x="143" y="195"/>
                      </a:lnTo>
                      <a:lnTo>
                        <a:pt x="143" y="193"/>
                      </a:lnTo>
                      <a:close/>
                      <a:moveTo>
                        <a:pt x="4" y="420"/>
                      </a:moveTo>
                      <a:lnTo>
                        <a:pt x="6" y="420"/>
                      </a:lnTo>
                      <a:lnTo>
                        <a:pt x="6" y="422"/>
                      </a:lnTo>
                      <a:lnTo>
                        <a:pt x="4" y="422"/>
                      </a:lnTo>
                      <a:lnTo>
                        <a:pt x="4" y="420"/>
                      </a:lnTo>
                      <a:close/>
                      <a:moveTo>
                        <a:pt x="183" y="113"/>
                      </a:moveTo>
                      <a:lnTo>
                        <a:pt x="185" y="113"/>
                      </a:lnTo>
                      <a:lnTo>
                        <a:pt x="185" y="115"/>
                      </a:lnTo>
                      <a:lnTo>
                        <a:pt x="183" y="115"/>
                      </a:lnTo>
                      <a:lnTo>
                        <a:pt x="183" y="113"/>
                      </a:lnTo>
                      <a:close/>
                      <a:moveTo>
                        <a:pt x="27" y="349"/>
                      </a:moveTo>
                      <a:lnTo>
                        <a:pt x="29" y="349"/>
                      </a:lnTo>
                      <a:lnTo>
                        <a:pt x="27" y="349"/>
                      </a:lnTo>
                      <a:close/>
                      <a:moveTo>
                        <a:pt x="6" y="376"/>
                      </a:moveTo>
                      <a:lnTo>
                        <a:pt x="8" y="376"/>
                      </a:lnTo>
                      <a:lnTo>
                        <a:pt x="6" y="376"/>
                      </a:lnTo>
                      <a:close/>
                      <a:moveTo>
                        <a:pt x="49" y="338"/>
                      </a:moveTo>
                      <a:lnTo>
                        <a:pt x="51" y="338"/>
                      </a:lnTo>
                      <a:lnTo>
                        <a:pt x="51" y="340"/>
                      </a:lnTo>
                      <a:lnTo>
                        <a:pt x="49" y="340"/>
                      </a:lnTo>
                      <a:lnTo>
                        <a:pt x="49" y="338"/>
                      </a:lnTo>
                      <a:close/>
                      <a:moveTo>
                        <a:pt x="133" y="204"/>
                      </a:moveTo>
                      <a:lnTo>
                        <a:pt x="133" y="206"/>
                      </a:lnTo>
                      <a:lnTo>
                        <a:pt x="133" y="204"/>
                      </a:lnTo>
                      <a:close/>
                      <a:moveTo>
                        <a:pt x="2" y="386"/>
                      </a:moveTo>
                      <a:lnTo>
                        <a:pt x="4" y="386"/>
                      </a:lnTo>
                      <a:lnTo>
                        <a:pt x="4" y="387"/>
                      </a:lnTo>
                      <a:lnTo>
                        <a:pt x="2" y="387"/>
                      </a:lnTo>
                      <a:lnTo>
                        <a:pt x="2" y="386"/>
                      </a:lnTo>
                      <a:close/>
                      <a:moveTo>
                        <a:pt x="118" y="246"/>
                      </a:moveTo>
                      <a:lnTo>
                        <a:pt x="120" y="246"/>
                      </a:lnTo>
                      <a:lnTo>
                        <a:pt x="120" y="248"/>
                      </a:lnTo>
                      <a:lnTo>
                        <a:pt x="118" y="248"/>
                      </a:lnTo>
                      <a:lnTo>
                        <a:pt x="118" y="246"/>
                      </a:lnTo>
                      <a:close/>
                      <a:moveTo>
                        <a:pt x="120" y="240"/>
                      </a:moveTo>
                      <a:lnTo>
                        <a:pt x="120" y="242"/>
                      </a:lnTo>
                      <a:lnTo>
                        <a:pt x="120" y="240"/>
                      </a:lnTo>
                      <a:close/>
                      <a:moveTo>
                        <a:pt x="295" y="50"/>
                      </a:moveTo>
                      <a:lnTo>
                        <a:pt x="297" y="50"/>
                      </a:lnTo>
                      <a:lnTo>
                        <a:pt x="297" y="52"/>
                      </a:lnTo>
                      <a:lnTo>
                        <a:pt x="295" y="52"/>
                      </a:lnTo>
                      <a:lnTo>
                        <a:pt x="295" y="50"/>
                      </a:lnTo>
                      <a:close/>
                      <a:moveTo>
                        <a:pt x="263" y="55"/>
                      </a:moveTo>
                      <a:lnTo>
                        <a:pt x="265" y="55"/>
                      </a:lnTo>
                      <a:lnTo>
                        <a:pt x="263" y="55"/>
                      </a:lnTo>
                      <a:close/>
                      <a:moveTo>
                        <a:pt x="126" y="235"/>
                      </a:moveTo>
                      <a:lnTo>
                        <a:pt x="126" y="237"/>
                      </a:lnTo>
                      <a:lnTo>
                        <a:pt x="126" y="235"/>
                      </a:lnTo>
                      <a:close/>
                      <a:moveTo>
                        <a:pt x="99" y="265"/>
                      </a:moveTo>
                      <a:lnTo>
                        <a:pt x="101" y="265"/>
                      </a:lnTo>
                      <a:lnTo>
                        <a:pt x="101" y="267"/>
                      </a:lnTo>
                      <a:lnTo>
                        <a:pt x="99" y="267"/>
                      </a:lnTo>
                      <a:lnTo>
                        <a:pt x="99" y="265"/>
                      </a:lnTo>
                      <a:close/>
                      <a:moveTo>
                        <a:pt x="147" y="183"/>
                      </a:moveTo>
                      <a:lnTo>
                        <a:pt x="149" y="183"/>
                      </a:lnTo>
                      <a:lnTo>
                        <a:pt x="147" y="183"/>
                      </a:lnTo>
                      <a:close/>
                      <a:moveTo>
                        <a:pt x="101" y="468"/>
                      </a:moveTo>
                      <a:lnTo>
                        <a:pt x="101" y="469"/>
                      </a:lnTo>
                      <a:lnTo>
                        <a:pt x="101" y="468"/>
                      </a:lnTo>
                      <a:close/>
                      <a:moveTo>
                        <a:pt x="9" y="372"/>
                      </a:moveTo>
                      <a:lnTo>
                        <a:pt x="11" y="372"/>
                      </a:lnTo>
                      <a:lnTo>
                        <a:pt x="11" y="374"/>
                      </a:lnTo>
                      <a:lnTo>
                        <a:pt x="9" y="374"/>
                      </a:lnTo>
                      <a:lnTo>
                        <a:pt x="9" y="372"/>
                      </a:lnTo>
                      <a:close/>
                      <a:moveTo>
                        <a:pt x="107" y="267"/>
                      </a:moveTo>
                      <a:lnTo>
                        <a:pt x="107" y="269"/>
                      </a:lnTo>
                      <a:lnTo>
                        <a:pt x="107" y="267"/>
                      </a:lnTo>
                      <a:close/>
                      <a:moveTo>
                        <a:pt x="15" y="441"/>
                      </a:moveTo>
                      <a:lnTo>
                        <a:pt x="15" y="443"/>
                      </a:lnTo>
                      <a:lnTo>
                        <a:pt x="15" y="441"/>
                      </a:lnTo>
                      <a:close/>
                      <a:moveTo>
                        <a:pt x="76" y="309"/>
                      </a:moveTo>
                      <a:lnTo>
                        <a:pt x="76" y="311"/>
                      </a:lnTo>
                      <a:lnTo>
                        <a:pt x="76" y="309"/>
                      </a:lnTo>
                      <a:close/>
                      <a:moveTo>
                        <a:pt x="70" y="477"/>
                      </a:moveTo>
                      <a:lnTo>
                        <a:pt x="72" y="477"/>
                      </a:lnTo>
                      <a:lnTo>
                        <a:pt x="72" y="479"/>
                      </a:lnTo>
                      <a:lnTo>
                        <a:pt x="70" y="479"/>
                      </a:lnTo>
                      <a:lnTo>
                        <a:pt x="70" y="477"/>
                      </a:lnTo>
                      <a:close/>
                      <a:moveTo>
                        <a:pt x="158" y="178"/>
                      </a:moveTo>
                      <a:lnTo>
                        <a:pt x="160" y="178"/>
                      </a:lnTo>
                      <a:lnTo>
                        <a:pt x="158" y="178"/>
                      </a:lnTo>
                      <a:close/>
                      <a:moveTo>
                        <a:pt x="265" y="52"/>
                      </a:moveTo>
                      <a:lnTo>
                        <a:pt x="267" y="52"/>
                      </a:lnTo>
                      <a:lnTo>
                        <a:pt x="267" y="53"/>
                      </a:lnTo>
                      <a:lnTo>
                        <a:pt x="265" y="53"/>
                      </a:lnTo>
                      <a:lnTo>
                        <a:pt x="265" y="52"/>
                      </a:lnTo>
                      <a:close/>
                      <a:moveTo>
                        <a:pt x="15" y="361"/>
                      </a:moveTo>
                      <a:lnTo>
                        <a:pt x="17" y="361"/>
                      </a:lnTo>
                      <a:lnTo>
                        <a:pt x="17" y="363"/>
                      </a:lnTo>
                      <a:lnTo>
                        <a:pt x="15" y="363"/>
                      </a:lnTo>
                      <a:lnTo>
                        <a:pt x="15" y="361"/>
                      </a:lnTo>
                      <a:close/>
                      <a:moveTo>
                        <a:pt x="55" y="326"/>
                      </a:moveTo>
                      <a:lnTo>
                        <a:pt x="57" y="326"/>
                      </a:lnTo>
                      <a:lnTo>
                        <a:pt x="57" y="328"/>
                      </a:lnTo>
                      <a:lnTo>
                        <a:pt x="55" y="328"/>
                      </a:lnTo>
                      <a:lnTo>
                        <a:pt x="55" y="326"/>
                      </a:lnTo>
                      <a:close/>
                      <a:moveTo>
                        <a:pt x="11" y="365"/>
                      </a:moveTo>
                      <a:lnTo>
                        <a:pt x="13" y="365"/>
                      </a:lnTo>
                      <a:lnTo>
                        <a:pt x="13" y="366"/>
                      </a:lnTo>
                      <a:lnTo>
                        <a:pt x="11" y="366"/>
                      </a:lnTo>
                      <a:lnTo>
                        <a:pt x="11" y="365"/>
                      </a:lnTo>
                      <a:close/>
                      <a:moveTo>
                        <a:pt x="122" y="221"/>
                      </a:moveTo>
                      <a:lnTo>
                        <a:pt x="122" y="223"/>
                      </a:lnTo>
                      <a:lnTo>
                        <a:pt x="122" y="221"/>
                      </a:lnTo>
                      <a:close/>
                      <a:moveTo>
                        <a:pt x="4" y="389"/>
                      </a:moveTo>
                      <a:lnTo>
                        <a:pt x="6" y="389"/>
                      </a:lnTo>
                      <a:lnTo>
                        <a:pt x="4" y="389"/>
                      </a:lnTo>
                      <a:close/>
                      <a:moveTo>
                        <a:pt x="99" y="468"/>
                      </a:moveTo>
                      <a:lnTo>
                        <a:pt x="101" y="468"/>
                      </a:lnTo>
                      <a:lnTo>
                        <a:pt x="99" y="468"/>
                      </a:lnTo>
                      <a:close/>
                      <a:moveTo>
                        <a:pt x="6" y="439"/>
                      </a:moveTo>
                      <a:lnTo>
                        <a:pt x="8" y="439"/>
                      </a:lnTo>
                      <a:lnTo>
                        <a:pt x="6" y="439"/>
                      </a:lnTo>
                      <a:close/>
                      <a:moveTo>
                        <a:pt x="8" y="431"/>
                      </a:moveTo>
                      <a:lnTo>
                        <a:pt x="8" y="433"/>
                      </a:lnTo>
                      <a:lnTo>
                        <a:pt x="8" y="431"/>
                      </a:lnTo>
                      <a:close/>
                      <a:moveTo>
                        <a:pt x="120" y="227"/>
                      </a:moveTo>
                      <a:lnTo>
                        <a:pt x="122" y="227"/>
                      </a:lnTo>
                      <a:lnTo>
                        <a:pt x="122" y="229"/>
                      </a:lnTo>
                      <a:lnTo>
                        <a:pt x="120" y="229"/>
                      </a:lnTo>
                      <a:lnTo>
                        <a:pt x="120" y="227"/>
                      </a:lnTo>
                      <a:close/>
                      <a:moveTo>
                        <a:pt x="99" y="267"/>
                      </a:moveTo>
                      <a:lnTo>
                        <a:pt x="101" y="267"/>
                      </a:lnTo>
                      <a:lnTo>
                        <a:pt x="99" y="267"/>
                      </a:lnTo>
                      <a:close/>
                      <a:moveTo>
                        <a:pt x="65" y="487"/>
                      </a:moveTo>
                      <a:lnTo>
                        <a:pt x="67" y="487"/>
                      </a:lnTo>
                      <a:lnTo>
                        <a:pt x="67" y="489"/>
                      </a:lnTo>
                      <a:lnTo>
                        <a:pt x="65" y="489"/>
                      </a:lnTo>
                      <a:lnTo>
                        <a:pt x="65" y="487"/>
                      </a:lnTo>
                      <a:close/>
                      <a:moveTo>
                        <a:pt x="6" y="422"/>
                      </a:moveTo>
                      <a:lnTo>
                        <a:pt x="6" y="424"/>
                      </a:lnTo>
                      <a:lnTo>
                        <a:pt x="6" y="422"/>
                      </a:lnTo>
                      <a:close/>
                      <a:moveTo>
                        <a:pt x="2" y="418"/>
                      </a:moveTo>
                      <a:lnTo>
                        <a:pt x="4" y="418"/>
                      </a:lnTo>
                      <a:lnTo>
                        <a:pt x="2" y="418"/>
                      </a:lnTo>
                      <a:close/>
                      <a:moveTo>
                        <a:pt x="149" y="176"/>
                      </a:moveTo>
                      <a:lnTo>
                        <a:pt x="149" y="178"/>
                      </a:lnTo>
                      <a:lnTo>
                        <a:pt x="149" y="176"/>
                      </a:lnTo>
                      <a:close/>
                      <a:moveTo>
                        <a:pt x="13" y="462"/>
                      </a:moveTo>
                      <a:lnTo>
                        <a:pt x="13" y="464"/>
                      </a:lnTo>
                      <a:lnTo>
                        <a:pt x="13" y="462"/>
                      </a:lnTo>
                      <a:close/>
                      <a:moveTo>
                        <a:pt x="135" y="202"/>
                      </a:moveTo>
                      <a:lnTo>
                        <a:pt x="135" y="204"/>
                      </a:lnTo>
                      <a:lnTo>
                        <a:pt x="135" y="202"/>
                      </a:lnTo>
                      <a:close/>
                      <a:moveTo>
                        <a:pt x="23" y="355"/>
                      </a:moveTo>
                      <a:lnTo>
                        <a:pt x="25" y="355"/>
                      </a:lnTo>
                      <a:lnTo>
                        <a:pt x="25" y="357"/>
                      </a:lnTo>
                      <a:lnTo>
                        <a:pt x="23" y="357"/>
                      </a:lnTo>
                      <a:lnTo>
                        <a:pt x="23" y="355"/>
                      </a:lnTo>
                      <a:close/>
                      <a:moveTo>
                        <a:pt x="8" y="386"/>
                      </a:moveTo>
                      <a:lnTo>
                        <a:pt x="8" y="387"/>
                      </a:lnTo>
                      <a:lnTo>
                        <a:pt x="8" y="386"/>
                      </a:lnTo>
                      <a:close/>
                      <a:moveTo>
                        <a:pt x="4" y="420"/>
                      </a:moveTo>
                      <a:lnTo>
                        <a:pt x="4" y="422"/>
                      </a:lnTo>
                      <a:lnTo>
                        <a:pt x="4" y="420"/>
                      </a:lnTo>
                      <a:close/>
                      <a:moveTo>
                        <a:pt x="76" y="473"/>
                      </a:moveTo>
                      <a:lnTo>
                        <a:pt x="78" y="473"/>
                      </a:lnTo>
                      <a:lnTo>
                        <a:pt x="78" y="475"/>
                      </a:lnTo>
                      <a:lnTo>
                        <a:pt x="76" y="475"/>
                      </a:lnTo>
                      <a:lnTo>
                        <a:pt x="76" y="473"/>
                      </a:lnTo>
                      <a:close/>
                      <a:moveTo>
                        <a:pt x="15" y="359"/>
                      </a:moveTo>
                      <a:lnTo>
                        <a:pt x="17" y="359"/>
                      </a:lnTo>
                      <a:lnTo>
                        <a:pt x="17" y="361"/>
                      </a:lnTo>
                      <a:lnTo>
                        <a:pt x="15" y="361"/>
                      </a:lnTo>
                      <a:lnTo>
                        <a:pt x="15" y="359"/>
                      </a:lnTo>
                      <a:close/>
                      <a:moveTo>
                        <a:pt x="11" y="433"/>
                      </a:moveTo>
                      <a:lnTo>
                        <a:pt x="11" y="435"/>
                      </a:lnTo>
                      <a:lnTo>
                        <a:pt x="11" y="433"/>
                      </a:lnTo>
                      <a:close/>
                      <a:moveTo>
                        <a:pt x="160" y="111"/>
                      </a:moveTo>
                      <a:lnTo>
                        <a:pt x="162" y="111"/>
                      </a:lnTo>
                      <a:lnTo>
                        <a:pt x="162" y="113"/>
                      </a:lnTo>
                      <a:lnTo>
                        <a:pt x="160" y="113"/>
                      </a:lnTo>
                      <a:lnTo>
                        <a:pt x="160" y="111"/>
                      </a:lnTo>
                      <a:close/>
                      <a:moveTo>
                        <a:pt x="181" y="109"/>
                      </a:moveTo>
                      <a:lnTo>
                        <a:pt x="181" y="111"/>
                      </a:lnTo>
                      <a:lnTo>
                        <a:pt x="181" y="109"/>
                      </a:lnTo>
                      <a:close/>
                      <a:moveTo>
                        <a:pt x="9" y="441"/>
                      </a:moveTo>
                      <a:lnTo>
                        <a:pt x="9" y="443"/>
                      </a:lnTo>
                      <a:lnTo>
                        <a:pt x="9" y="441"/>
                      </a:lnTo>
                      <a:close/>
                      <a:moveTo>
                        <a:pt x="160" y="109"/>
                      </a:moveTo>
                      <a:lnTo>
                        <a:pt x="162" y="109"/>
                      </a:lnTo>
                      <a:lnTo>
                        <a:pt x="162" y="111"/>
                      </a:lnTo>
                      <a:lnTo>
                        <a:pt x="160" y="111"/>
                      </a:lnTo>
                      <a:lnTo>
                        <a:pt x="160" y="109"/>
                      </a:lnTo>
                      <a:close/>
                      <a:moveTo>
                        <a:pt x="292" y="17"/>
                      </a:moveTo>
                      <a:lnTo>
                        <a:pt x="294" y="17"/>
                      </a:lnTo>
                      <a:lnTo>
                        <a:pt x="292" y="17"/>
                      </a:lnTo>
                      <a:close/>
                      <a:moveTo>
                        <a:pt x="6" y="412"/>
                      </a:moveTo>
                      <a:lnTo>
                        <a:pt x="6" y="414"/>
                      </a:lnTo>
                      <a:lnTo>
                        <a:pt x="6" y="412"/>
                      </a:lnTo>
                      <a:close/>
                      <a:moveTo>
                        <a:pt x="19" y="439"/>
                      </a:moveTo>
                      <a:lnTo>
                        <a:pt x="21" y="439"/>
                      </a:lnTo>
                      <a:lnTo>
                        <a:pt x="21" y="441"/>
                      </a:lnTo>
                      <a:lnTo>
                        <a:pt x="19" y="441"/>
                      </a:lnTo>
                      <a:lnTo>
                        <a:pt x="19" y="439"/>
                      </a:lnTo>
                      <a:close/>
                      <a:moveTo>
                        <a:pt x="6" y="401"/>
                      </a:moveTo>
                      <a:lnTo>
                        <a:pt x="8" y="401"/>
                      </a:lnTo>
                      <a:lnTo>
                        <a:pt x="6" y="401"/>
                      </a:lnTo>
                      <a:close/>
                      <a:moveTo>
                        <a:pt x="358" y="19"/>
                      </a:moveTo>
                      <a:lnTo>
                        <a:pt x="358" y="21"/>
                      </a:lnTo>
                      <a:lnTo>
                        <a:pt x="358" y="19"/>
                      </a:lnTo>
                      <a:close/>
                      <a:moveTo>
                        <a:pt x="122" y="212"/>
                      </a:moveTo>
                      <a:lnTo>
                        <a:pt x="124" y="212"/>
                      </a:lnTo>
                      <a:lnTo>
                        <a:pt x="124" y="214"/>
                      </a:lnTo>
                      <a:lnTo>
                        <a:pt x="122" y="214"/>
                      </a:lnTo>
                      <a:lnTo>
                        <a:pt x="122" y="212"/>
                      </a:lnTo>
                      <a:close/>
                      <a:moveTo>
                        <a:pt x="120" y="227"/>
                      </a:moveTo>
                      <a:lnTo>
                        <a:pt x="122" y="227"/>
                      </a:lnTo>
                      <a:lnTo>
                        <a:pt x="122" y="229"/>
                      </a:lnTo>
                      <a:lnTo>
                        <a:pt x="120" y="229"/>
                      </a:lnTo>
                      <a:lnTo>
                        <a:pt x="120" y="227"/>
                      </a:lnTo>
                      <a:close/>
                      <a:moveTo>
                        <a:pt x="273" y="61"/>
                      </a:moveTo>
                      <a:lnTo>
                        <a:pt x="275" y="61"/>
                      </a:lnTo>
                      <a:lnTo>
                        <a:pt x="275" y="63"/>
                      </a:lnTo>
                      <a:lnTo>
                        <a:pt x="273" y="63"/>
                      </a:lnTo>
                      <a:lnTo>
                        <a:pt x="273" y="61"/>
                      </a:lnTo>
                      <a:close/>
                      <a:moveTo>
                        <a:pt x="112" y="263"/>
                      </a:moveTo>
                      <a:lnTo>
                        <a:pt x="112" y="265"/>
                      </a:lnTo>
                      <a:lnTo>
                        <a:pt x="112" y="263"/>
                      </a:lnTo>
                      <a:close/>
                      <a:moveTo>
                        <a:pt x="229" y="48"/>
                      </a:moveTo>
                      <a:lnTo>
                        <a:pt x="229" y="50"/>
                      </a:lnTo>
                      <a:lnTo>
                        <a:pt x="229" y="48"/>
                      </a:lnTo>
                      <a:close/>
                      <a:moveTo>
                        <a:pt x="109" y="267"/>
                      </a:moveTo>
                      <a:lnTo>
                        <a:pt x="109" y="269"/>
                      </a:lnTo>
                      <a:lnTo>
                        <a:pt x="109" y="267"/>
                      </a:lnTo>
                      <a:close/>
                      <a:moveTo>
                        <a:pt x="2" y="387"/>
                      </a:moveTo>
                      <a:lnTo>
                        <a:pt x="4" y="387"/>
                      </a:lnTo>
                      <a:lnTo>
                        <a:pt x="2" y="387"/>
                      </a:lnTo>
                      <a:close/>
                      <a:moveTo>
                        <a:pt x="97" y="282"/>
                      </a:moveTo>
                      <a:lnTo>
                        <a:pt x="99" y="282"/>
                      </a:lnTo>
                      <a:lnTo>
                        <a:pt x="99" y="284"/>
                      </a:lnTo>
                      <a:lnTo>
                        <a:pt x="97" y="284"/>
                      </a:lnTo>
                      <a:lnTo>
                        <a:pt x="97" y="282"/>
                      </a:lnTo>
                      <a:close/>
                      <a:moveTo>
                        <a:pt x="8" y="433"/>
                      </a:moveTo>
                      <a:lnTo>
                        <a:pt x="8" y="435"/>
                      </a:lnTo>
                      <a:lnTo>
                        <a:pt x="8" y="433"/>
                      </a:lnTo>
                      <a:close/>
                      <a:moveTo>
                        <a:pt x="149" y="185"/>
                      </a:moveTo>
                      <a:lnTo>
                        <a:pt x="149" y="187"/>
                      </a:lnTo>
                      <a:lnTo>
                        <a:pt x="149" y="185"/>
                      </a:lnTo>
                      <a:close/>
                      <a:moveTo>
                        <a:pt x="97" y="282"/>
                      </a:moveTo>
                      <a:lnTo>
                        <a:pt x="97" y="284"/>
                      </a:lnTo>
                      <a:lnTo>
                        <a:pt x="97" y="282"/>
                      </a:lnTo>
                      <a:close/>
                      <a:moveTo>
                        <a:pt x="149" y="181"/>
                      </a:moveTo>
                      <a:lnTo>
                        <a:pt x="149" y="183"/>
                      </a:lnTo>
                      <a:lnTo>
                        <a:pt x="149" y="181"/>
                      </a:lnTo>
                      <a:close/>
                      <a:moveTo>
                        <a:pt x="25" y="357"/>
                      </a:moveTo>
                      <a:lnTo>
                        <a:pt x="27" y="357"/>
                      </a:lnTo>
                      <a:lnTo>
                        <a:pt x="25" y="357"/>
                      </a:lnTo>
                      <a:close/>
                      <a:moveTo>
                        <a:pt x="6" y="386"/>
                      </a:moveTo>
                      <a:lnTo>
                        <a:pt x="8" y="386"/>
                      </a:lnTo>
                      <a:lnTo>
                        <a:pt x="8" y="387"/>
                      </a:lnTo>
                      <a:lnTo>
                        <a:pt x="6" y="387"/>
                      </a:lnTo>
                      <a:lnTo>
                        <a:pt x="6" y="386"/>
                      </a:lnTo>
                      <a:close/>
                      <a:moveTo>
                        <a:pt x="311" y="15"/>
                      </a:moveTo>
                      <a:lnTo>
                        <a:pt x="313" y="15"/>
                      </a:lnTo>
                      <a:lnTo>
                        <a:pt x="313" y="17"/>
                      </a:lnTo>
                      <a:lnTo>
                        <a:pt x="311" y="17"/>
                      </a:lnTo>
                      <a:lnTo>
                        <a:pt x="311" y="15"/>
                      </a:lnTo>
                      <a:close/>
                      <a:moveTo>
                        <a:pt x="349" y="36"/>
                      </a:moveTo>
                      <a:lnTo>
                        <a:pt x="351" y="36"/>
                      </a:lnTo>
                      <a:lnTo>
                        <a:pt x="351" y="38"/>
                      </a:lnTo>
                      <a:lnTo>
                        <a:pt x="349" y="38"/>
                      </a:lnTo>
                      <a:lnTo>
                        <a:pt x="349" y="36"/>
                      </a:lnTo>
                      <a:close/>
                      <a:moveTo>
                        <a:pt x="55" y="330"/>
                      </a:moveTo>
                      <a:lnTo>
                        <a:pt x="57" y="330"/>
                      </a:lnTo>
                      <a:lnTo>
                        <a:pt x="55" y="330"/>
                      </a:lnTo>
                      <a:close/>
                      <a:moveTo>
                        <a:pt x="194" y="124"/>
                      </a:moveTo>
                      <a:lnTo>
                        <a:pt x="196" y="124"/>
                      </a:lnTo>
                      <a:lnTo>
                        <a:pt x="196" y="126"/>
                      </a:lnTo>
                      <a:lnTo>
                        <a:pt x="194" y="126"/>
                      </a:lnTo>
                      <a:lnTo>
                        <a:pt x="194" y="124"/>
                      </a:lnTo>
                      <a:close/>
                      <a:moveTo>
                        <a:pt x="30" y="492"/>
                      </a:moveTo>
                      <a:lnTo>
                        <a:pt x="30" y="494"/>
                      </a:lnTo>
                      <a:lnTo>
                        <a:pt x="30" y="492"/>
                      </a:lnTo>
                      <a:close/>
                      <a:moveTo>
                        <a:pt x="421" y="38"/>
                      </a:moveTo>
                      <a:lnTo>
                        <a:pt x="421" y="40"/>
                      </a:lnTo>
                      <a:lnTo>
                        <a:pt x="421" y="38"/>
                      </a:lnTo>
                      <a:close/>
                      <a:moveTo>
                        <a:pt x="42" y="347"/>
                      </a:moveTo>
                      <a:lnTo>
                        <a:pt x="44" y="347"/>
                      </a:lnTo>
                      <a:lnTo>
                        <a:pt x="44" y="349"/>
                      </a:lnTo>
                      <a:lnTo>
                        <a:pt x="42" y="349"/>
                      </a:lnTo>
                      <a:lnTo>
                        <a:pt x="42" y="347"/>
                      </a:lnTo>
                      <a:close/>
                      <a:moveTo>
                        <a:pt x="19" y="462"/>
                      </a:moveTo>
                      <a:lnTo>
                        <a:pt x="21" y="462"/>
                      </a:lnTo>
                      <a:lnTo>
                        <a:pt x="19" y="462"/>
                      </a:lnTo>
                      <a:close/>
                      <a:moveTo>
                        <a:pt x="46" y="500"/>
                      </a:moveTo>
                      <a:lnTo>
                        <a:pt x="46" y="502"/>
                      </a:lnTo>
                      <a:lnTo>
                        <a:pt x="46" y="500"/>
                      </a:lnTo>
                      <a:close/>
                      <a:moveTo>
                        <a:pt x="17" y="469"/>
                      </a:moveTo>
                      <a:lnTo>
                        <a:pt x="17" y="471"/>
                      </a:lnTo>
                      <a:lnTo>
                        <a:pt x="17" y="469"/>
                      </a:lnTo>
                      <a:close/>
                      <a:moveTo>
                        <a:pt x="234" y="53"/>
                      </a:moveTo>
                      <a:lnTo>
                        <a:pt x="234" y="55"/>
                      </a:lnTo>
                      <a:lnTo>
                        <a:pt x="234" y="53"/>
                      </a:lnTo>
                      <a:close/>
                      <a:moveTo>
                        <a:pt x="70" y="321"/>
                      </a:moveTo>
                      <a:lnTo>
                        <a:pt x="72" y="321"/>
                      </a:lnTo>
                      <a:lnTo>
                        <a:pt x="70" y="321"/>
                      </a:lnTo>
                      <a:close/>
                      <a:moveTo>
                        <a:pt x="17" y="469"/>
                      </a:moveTo>
                      <a:lnTo>
                        <a:pt x="19" y="469"/>
                      </a:lnTo>
                      <a:lnTo>
                        <a:pt x="17" y="469"/>
                      </a:lnTo>
                      <a:close/>
                      <a:moveTo>
                        <a:pt x="93" y="448"/>
                      </a:moveTo>
                      <a:lnTo>
                        <a:pt x="95" y="448"/>
                      </a:lnTo>
                      <a:lnTo>
                        <a:pt x="93" y="448"/>
                      </a:lnTo>
                      <a:close/>
                      <a:moveTo>
                        <a:pt x="4" y="418"/>
                      </a:moveTo>
                      <a:lnTo>
                        <a:pt x="6" y="418"/>
                      </a:lnTo>
                      <a:lnTo>
                        <a:pt x="4" y="418"/>
                      </a:lnTo>
                      <a:close/>
                      <a:moveTo>
                        <a:pt x="118" y="166"/>
                      </a:moveTo>
                      <a:lnTo>
                        <a:pt x="120" y="166"/>
                      </a:lnTo>
                      <a:lnTo>
                        <a:pt x="118" y="166"/>
                      </a:lnTo>
                      <a:close/>
                      <a:moveTo>
                        <a:pt x="74" y="317"/>
                      </a:moveTo>
                      <a:lnTo>
                        <a:pt x="76" y="317"/>
                      </a:lnTo>
                      <a:lnTo>
                        <a:pt x="76" y="319"/>
                      </a:lnTo>
                      <a:lnTo>
                        <a:pt x="74" y="319"/>
                      </a:lnTo>
                      <a:lnTo>
                        <a:pt x="74" y="317"/>
                      </a:lnTo>
                      <a:close/>
                      <a:moveTo>
                        <a:pt x="2" y="403"/>
                      </a:moveTo>
                      <a:lnTo>
                        <a:pt x="2" y="405"/>
                      </a:lnTo>
                      <a:lnTo>
                        <a:pt x="2" y="403"/>
                      </a:lnTo>
                      <a:close/>
                      <a:moveTo>
                        <a:pt x="297" y="29"/>
                      </a:moveTo>
                      <a:lnTo>
                        <a:pt x="299" y="29"/>
                      </a:lnTo>
                      <a:lnTo>
                        <a:pt x="299" y="31"/>
                      </a:lnTo>
                      <a:lnTo>
                        <a:pt x="297" y="31"/>
                      </a:lnTo>
                      <a:lnTo>
                        <a:pt x="297" y="29"/>
                      </a:lnTo>
                      <a:close/>
                      <a:moveTo>
                        <a:pt x="105" y="273"/>
                      </a:moveTo>
                      <a:lnTo>
                        <a:pt x="107" y="273"/>
                      </a:lnTo>
                      <a:lnTo>
                        <a:pt x="107" y="275"/>
                      </a:lnTo>
                      <a:lnTo>
                        <a:pt x="105" y="275"/>
                      </a:lnTo>
                      <a:lnTo>
                        <a:pt x="105" y="273"/>
                      </a:lnTo>
                      <a:close/>
                      <a:moveTo>
                        <a:pt x="9" y="412"/>
                      </a:moveTo>
                      <a:lnTo>
                        <a:pt x="11" y="412"/>
                      </a:lnTo>
                      <a:lnTo>
                        <a:pt x="11" y="414"/>
                      </a:lnTo>
                      <a:lnTo>
                        <a:pt x="9" y="414"/>
                      </a:lnTo>
                      <a:lnTo>
                        <a:pt x="9" y="412"/>
                      </a:lnTo>
                      <a:close/>
                      <a:moveTo>
                        <a:pt x="67" y="313"/>
                      </a:moveTo>
                      <a:lnTo>
                        <a:pt x="69" y="313"/>
                      </a:lnTo>
                      <a:lnTo>
                        <a:pt x="67" y="313"/>
                      </a:lnTo>
                      <a:close/>
                      <a:moveTo>
                        <a:pt x="9" y="429"/>
                      </a:moveTo>
                      <a:lnTo>
                        <a:pt x="11" y="429"/>
                      </a:lnTo>
                      <a:lnTo>
                        <a:pt x="11" y="431"/>
                      </a:lnTo>
                      <a:lnTo>
                        <a:pt x="9" y="431"/>
                      </a:lnTo>
                      <a:lnTo>
                        <a:pt x="9" y="429"/>
                      </a:lnTo>
                      <a:close/>
                      <a:moveTo>
                        <a:pt x="126" y="225"/>
                      </a:moveTo>
                      <a:lnTo>
                        <a:pt x="126" y="227"/>
                      </a:lnTo>
                      <a:lnTo>
                        <a:pt x="126" y="225"/>
                      </a:lnTo>
                      <a:close/>
                      <a:moveTo>
                        <a:pt x="67" y="311"/>
                      </a:moveTo>
                      <a:lnTo>
                        <a:pt x="69" y="311"/>
                      </a:lnTo>
                      <a:lnTo>
                        <a:pt x="67" y="311"/>
                      </a:lnTo>
                      <a:close/>
                      <a:moveTo>
                        <a:pt x="122" y="258"/>
                      </a:moveTo>
                      <a:lnTo>
                        <a:pt x="124" y="258"/>
                      </a:lnTo>
                      <a:lnTo>
                        <a:pt x="124" y="260"/>
                      </a:lnTo>
                      <a:lnTo>
                        <a:pt x="122" y="260"/>
                      </a:lnTo>
                      <a:lnTo>
                        <a:pt x="122" y="258"/>
                      </a:lnTo>
                      <a:close/>
                      <a:moveTo>
                        <a:pt x="21" y="469"/>
                      </a:moveTo>
                      <a:lnTo>
                        <a:pt x="21" y="471"/>
                      </a:lnTo>
                      <a:lnTo>
                        <a:pt x="21" y="469"/>
                      </a:lnTo>
                      <a:close/>
                      <a:moveTo>
                        <a:pt x="53" y="328"/>
                      </a:moveTo>
                      <a:lnTo>
                        <a:pt x="55" y="328"/>
                      </a:lnTo>
                      <a:lnTo>
                        <a:pt x="53" y="328"/>
                      </a:lnTo>
                      <a:close/>
                      <a:moveTo>
                        <a:pt x="139" y="197"/>
                      </a:moveTo>
                      <a:lnTo>
                        <a:pt x="141" y="197"/>
                      </a:lnTo>
                      <a:lnTo>
                        <a:pt x="139" y="197"/>
                      </a:lnTo>
                      <a:close/>
                      <a:moveTo>
                        <a:pt x="53" y="326"/>
                      </a:moveTo>
                      <a:lnTo>
                        <a:pt x="55" y="326"/>
                      </a:lnTo>
                      <a:lnTo>
                        <a:pt x="55" y="328"/>
                      </a:lnTo>
                      <a:lnTo>
                        <a:pt x="53" y="328"/>
                      </a:lnTo>
                      <a:lnTo>
                        <a:pt x="53" y="326"/>
                      </a:lnTo>
                      <a:close/>
                      <a:moveTo>
                        <a:pt x="120" y="229"/>
                      </a:moveTo>
                      <a:lnTo>
                        <a:pt x="122" y="229"/>
                      </a:lnTo>
                      <a:lnTo>
                        <a:pt x="122" y="231"/>
                      </a:lnTo>
                      <a:lnTo>
                        <a:pt x="120" y="231"/>
                      </a:lnTo>
                      <a:lnTo>
                        <a:pt x="120" y="229"/>
                      </a:lnTo>
                      <a:close/>
                      <a:moveTo>
                        <a:pt x="15" y="458"/>
                      </a:moveTo>
                      <a:lnTo>
                        <a:pt x="17" y="458"/>
                      </a:lnTo>
                      <a:lnTo>
                        <a:pt x="17" y="460"/>
                      </a:lnTo>
                      <a:lnTo>
                        <a:pt x="15" y="460"/>
                      </a:lnTo>
                      <a:lnTo>
                        <a:pt x="15" y="458"/>
                      </a:lnTo>
                      <a:close/>
                      <a:moveTo>
                        <a:pt x="2" y="399"/>
                      </a:moveTo>
                      <a:lnTo>
                        <a:pt x="2" y="401"/>
                      </a:lnTo>
                      <a:lnTo>
                        <a:pt x="2" y="399"/>
                      </a:lnTo>
                      <a:close/>
                      <a:moveTo>
                        <a:pt x="122" y="221"/>
                      </a:moveTo>
                      <a:lnTo>
                        <a:pt x="124" y="221"/>
                      </a:lnTo>
                      <a:lnTo>
                        <a:pt x="124" y="223"/>
                      </a:lnTo>
                      <a:lnTo>
                        <a:pt x="122" y="223"/>
                      </a:lnTo>
                      <a:lnTo>
                        <a:pt x="122" y="221"/>
                      </a:lnTo>
                      <a:close/>
                      <a:moveTo>
                        <a:pt x="61" y="330"/>
                      </a:moveTo>
                      <a:lnTo>
                        <a:pt x="63" y="330"/>
                      </a:lnTo>
                      <a:lnTo>
                        <a:pt x="61" y="330"/>
                      </a:lnTo>
                      <a:close/>
                      <a:moveTo>
                        <a:pt x="59" y="317"/>
                      </a:moveTo>
                      <a:lnTo>
                        <a:pt x="61" y="317"/>
                      </a:lnTo>
                      <a:lnTo>
                        <a:pt x="61" y="319"/>
                      </a:lnTo>
                      <a:lnTo>
                        <a:pt x="59" y="319"/>
                      </a:lnTo>
                      <a:lnTo>
                        <a:pt x="59" y="317"/>
                      </a:lnTo>
                      <a:close/>
                      <a:moveTo>
                        <a:pt x="23" y="357"/>
                      </a:moveTo>
                      <a:lnTo>
                        <a:pt x="25" y="357"/>
                      </a:lnTo>
                      <a:lnTo>
                        <a:pt x="23" y="357"/>
                      </a:lnTo>
                      <a:close/>
                      <a:moveTo>
                        <a:pt x="11" y="464"/>
                      </a:moveTo>
                      <a:lnTo>
                        <a:pt x="13" y="464"/>
                      </a:lnTo>
                      <a:lnTo>
                        <a:pt x="13" y="466"/>
                      </a:lnTo>
                      <a:lnTo>
                        <a:pt x="11" y="466"/>
                      </a:lnTo>
                      <a:lnTo>
                        <a:pt x="11" y="464"/>
                      </a:lnTo>
                      <a:close/>
                      <a:moveTo>
                        <a:pt x="122" y="225"/>
                      </a:moveTo>
                      <a:lnTo>
                        <a:pt x="122" y="227"/>
                      </a:lnTo>
                      <a:lnTo>
                        <a:pt x="122" y="225"/>
                      </a:lnTo>
                      <a:close/>
                      <a:moveTo>
                        <a:pt x="267" y="42"/>
                      </a:moveTo>
                      <a:lnTo>
                        <a:pt x="267" y="44"/>
                      </a:lnTo>
                      <a:lnTo>
                        <a:pt x="267" y="42"/>
                      </a:lnTo>
                      <a:close/>
                      <a:moveTo>
                        <a:pt x="126" y="214"/>
                      </a:moveTo>
                      <a:lnTo>
                        <a:pt x="128" y="214"/>
                      </a:lnTo>
                      <a:lnTo>
                        <a:pt x="126" y="214"/>
                      </a:lnTo>
                      <a:close/>
                      <a:moveTo>
                        <a:pt x="9" y="427"/>
                      </a:moveTo>
                      <a:lnTo>
                        <a:pt x="9" y="429"/>
                      </a:lnTo>
                      <a:lnTo>
                        <a:pt x="9" y="427"/>
                      </a:lnTo>
                      <a:close/>
                      <a:moveTo>
                        <a:pt x="97" y="284"/>
                      </a:moveTo>
                      <a:lnTo>
                        <a:pt x="99" y="284"/>
                      </a:lnTo>
                      <a:lnTo>
                        <a:pt x="97" y="284"/>
                      </a:lnTo>
                      <a:close/>
                      <a:moveTo>
                        <a:pt x="19" y="466"/>
                      </a:moveTo>
                      <a:lnTo>
                        <a:pt x="19" y="468"/>
                      </a:lnTo>
                      <a:lnTo>
                        <a:pt x="19" y="466"/>
                      </a:lnTo>
                      <a:close/>
                      <a:moveTo>
                        <a:pt x="9" y="441"/>
                      </a:moveTo>
                      <a:lnTo>
                        <a:pt x="11" y="441"/>
                      </a:lnTo>
                      <a:lnTo>
                        <a:pt x="9" y="441"/>
                      </a:lnTo>
                      <a:close/>
                      <a:moveTo>
                        <a:pt x="97" y="464"/>
                      </a:moveTo>
                      <a:lnTo>
                        <a:pt x="99" y="464"/>
                      </a:lnTo>
                      <a:lnTo>
                        <a:pt x="97" y="464"/>
                      </a:lnTo>
                      <a:close/>
                      <a:moveTo>
                        <a:pt x="15" y="361"/>
                      </a:moveTo>
                      <a:lnTo>
                        <a:pt x="17" y="361"/>
                      </a:lnTo>
                      <a:lnTo>
                        <a:pt x="15" y="361"/>
                      </a:lnTo>
                      <a:close/>
                      <a:moveTo>
                        <a:pt x="15" y="416"/>
                      </a:moveTo>
                      <a:lnTo>
                        <a:pt x="15" y="418"/>
                      </a:lnTo>
                      <a:lnTo>
                        <a:pt x="15" y="416"/>
                      </a:lnTo>
                      <a:close/>
                      <a:moveTo>
                        <a:pt x="168" y="124"/>
                      </a:moveTo>
                      <a:lnTo>
                        <a:pt x="168" y="126"/>
                      </a:lnTo>
                      <a:lnTo>
                        <a:pt x="168" y="124"/>
                      </a:lnTo>
                      <a:close/>
                      <a:moveTo>
                        <a:pt x="189" y="101"/>
                      </a:moveTo>
                      <a:lnTo>
                        <a:pt x="191" y="101"/>
                      </a:lnTo>
                      <a:lnTo>
                        <a:pt x="189" y="101"/>
                      </a:lnTo>
                      <a:close/>
                      <a:moveTo>
                        <a:pt x="51" y="332"/>
                      </a:moveTo>
                      <a:lnTo>
                        <a:pt x="53" y="332"/>
                      </a:lnTo>
                      <a:lnTo>
                        <a:pt x="53" y="334"/>
                      </a:lnTo>
                      <a:lnTo>
                        <a:pt x="51" y="334"/>
                      </a:lnTo>
                      <a:lnTo>
                        <a:pt x="51" y="332"/>
                      </a:lnTo>
                      <a:close/>
                      <a:moveTo>
                        <a:pt x="126" y="214"/>
                      </a:moveTo>
                      <a:lnTo>
                        <a:pt x="128" y="214"/>
                      </a:lnTo>
                      <a:lnTo>
                        <a:pt x="128" y="216"/>
                      </a:lnTo>
                      <a:lnTo>
                        <a:pt x="126" y="216"/>
                      </a:lnTo>
                      <a:lnTo>
                        <a:pt x="126" y="214"/>
                      </a:lnTo>
                      <a:close/>
                      <a:moveTo>
                        <a:pt x="105" y="271"/>
                      </a:moveTo>
                      <a:lnTo>
                        <a:pt x="105" y="273"/>
                      </a:lnTo>
                      <a:lnTo>
                        <a:pt x="105" y="271"/>
                      </a:lnTo>
                      <a:close/>
                      <a:moveTo>
                        <a:pt x="91" y="468"/>
                      </a:moveTo>
                      <a:lnTo>
                        <a:pt x="93" y="468"/>
                      </a:lnTo>
                      <a:lnTo>
                        <a:pt x="91" y="468"/>
                      </a:lnTo>
                      <a:close/>
                      <a:moveTo>
                        <a:pt x="6" y="414"/>
                      </a:moveTo>
                      <a:lnTo>
                        <a:pt x="8" y="414"/>
                      </a:lnTo>
                      <a:lnTo>
                        <a:pt x="6" y="414"/>
                      </a:lnTo>
                      <a:close/>
                      <a:moveTo>
                        <a:pt x="76" y="309"/>
                      </a:moveTo>
                      <a:lnTo>
                        <a:pt x="78" y="309"/>
                      </a:lnTo>
                      <a:lnTo>
                        <a:pt x="76" y="309"/>
                      </a:lnTo>
                      <a:close/>
                      <a:moveTo>
                        <a:pt x="2" y="395"/>
                      </a:moveTo>
                      <a:lnTo>
                        <a:pt x="2" y="397"/>
                      </a:lnTo>
                      <a:lnTo>
                        <a:pt x="2" y="395"/>
                      </a:lnTo>
                      <a:close/>
                      <a:moveTo>
                        <a:pt x="112" y="240"/>
                      </a:moveTo>
                      <a:lnTo>
                        <a:pt x="114" y="240"/>
                      </a:lnTo>
                      <a:lnTo>
                        <a:pt x="112" y="240"/>
                      </a:lnTo>
                      <a:close/>
                      <a:moveTo>
                        <a:pt x="69" y="483"/>
                      </a:moveTo>
                      <a:lnTo>
                        <a:pt x="70" y="483"/>
                      </a:lnTo>
                      <a:lnTo>
                        <a:pt x="70" y="485"/>
                      </a:lnTo>
                      <a:lnTo>
                        <a:pt x="69" y="485"/>
                      </a:lnTo>
                      <a:lnTo>
                        <a:pt x="69" y="483"/>
                      </a:lnTo>
                      <a:close/>
                      <a:moveTo>
                        <a:pt x="2" y="384"/>
                      </a:moveTo>
                      <a:lnTo>
                        <a:pt x="4" y="384"/>
                      </a:lnTo>
                      <a:lnTo>
                        <a:pt x="4" y="386"/>
                      </a:lnTo>
                      <a:lnTo>
                        <a:pt x="2" y="386"/>
                      </a:lnTo>
                      <a:lnTo>
                        <a:pt x="2" y="384"/>
                      </a:lnTo>
                      <a:close/>
                      <a:moveTo>
                        <a:pt x="8" y="441"/>
                      </a:moveTo>
                      <a:lnTo>
                        <a:pt x="8" y="443"/>
                      </a:lnTo>
                      <a:lnTo>
                        <a:pt x="8" y="441"/>
                      </a:lnTo>
                      <a:close/>
                      <a:moveTo>
                        <a:pt x="118" y="246"/>
                      </a:moveTo>
                      <a:lnTo>
                        <a:pt x="120" y="246"/>
                      </a:lnTo>
                      <a:lnTo>
                        <a:pt x="120" y="248"/>
                      </a:lnTo>
                      <a:lnTo>
                        <a:pt x="118" y="248"/>
                      </a:lnTo>
                      <a:lnTo>
                        <a:pt x="118" y="246"/>
                      </a:lnTo>
                      <a:close/>
                      <a:moveTo>
                        <a:pt x="8" y="412"/>
                      </a:moveTo>
                      <a:lnTo>
                        <a:pt x="9" y="412"/>
                      </a:lnTo>
                      <a:lnTo>
                        <a:pt x="8" y="412"/>
                      </a:lnTo>
                      <a:close/>
                      <a:moveTo>
                        <a:pt x="137" y="195"/>
                      </a:moveTo>
                      <a:lnTo>
                        <a:pt x="137" y="197"/>
                      </a:lnTo>
                      <a:lnTo>
                        <a:pt x="137" y="195"/>
                      </a:lnTo>
                      <a:close/>
                      <a:moveTo>
                        <a:pt x="170" y="132"/>
                      </a:moveTo>
                      <a:lnTo>
                        <a:pt x="170" y="134"/>
                      </a:lnTo>
                      <a:lnTo>
                        <a:pt x="170" y="132"/>
                      </a:lnTo>
                      <a:close/>
                      <a:moveTo>
                        <a:pt x="111" y="265"/>
                      </a:moveTo>
                      <a:lnTo>
                        <a:pt x="112" y="265"/>
                      </a:lnTo>
                      <a:lnTo>
                        <a:pt x="111" y="265"/>
                      </a:lnTo>
                      <a:close/>
                      <a:moveTo>
                        <a:pt x="215" y="71"/>
                      </a:moveTo>
                      <a:lnTo>
                        <a:pt x="215" y="73"/>
                      </a:lnTo>
                      <a:lnTo>
                        <a:pt x="215" y="71"/>
                      </a:lnTo>
                      <a:close/>
                      <a:moveTo>
                        <a:pt x="6" y="397"/>
                      </a:moveTo>
                      <a:lnTo>
                        <a:pt x="6" y="399"/>
                      </a:lnTo>
                      <a:lnTo>
                        <a:pt x="6" y="397"/>
                      </a:lnTo>
                      <a:close/>
                      <a:moveTo>
                        <a:pt x="9" y="441"/>
                      </a:moveTo>
                      <a:lnTo>
                        <a:pt x="9" y="443"/>
                      </a:lnTo>
                      <a:lnTo>
                        <a:pt x="9" y="441"/>
                      </a:lnTo>
                      <a:close/>
                      <a:moveTo>
                        <a:pt x="6" y="406"/>
                      </a:moveTo>
                      <a:lnTo>
                        <a:pt x="6" y="408"/>
                      </a:lnTo>
                      <a:lnTo>
                        <a:pt x="6" y="406"/>
                      </a:lnTo>
                      <a:close/>
                      <a:moveTo>
                        <a:pt x="13" y="361"/>
                      </a:moveTo>
                      <a:lnTo>
                        <a:pt x="15" y="361"/>
                      </a:lnTo>
                      <a:lnTo>
                        <a:pt x="15" y="363"/>
                      </a:lnTo>
                      <a:lnTo>
                        <a:pt x="13" y="363"/>
                      </a:lnTo>
                      <a:lnTo>
                        <a:pt x="13" y="361"/>
                      </a:lnTo>
                      <a:close/>
                      <a:moveTo>
                        <a:pt x="126" y="212"/>
                      </a:moveTo>
                      <a:lnTo>
                        <a:pt x="126" y="214"/>
                      </a:lnTo>
                      <a:lnTo>
                        <a:pt x="126" y="212"/>
                      </a:lnTo>
                      <a:close/>
                      <a:moveTo>
                        <a:pt x="8" y="416"/>
                      </a:moveTo>
                      <a:lnTo>
                        <a:pt x="8" y="418"/>
                      </a:lnTo>
                      <a:lnTo>
                        <a:pt x="8" y="416"/>
                      </a:lnTo>
                      <a:close/>
                      <a:moveTo>
                        <a:pt x="91" y="290"/>
                      </a:moveTo>
                      <a:lnTo>
                        <a:pt x="93" y="290"/>
                      </a:lnTo>
                      <a:lnTo>
                        <a:pt x="91" y="290"/>
                      </a:lnTo>
                      <a:close/>
                      <a:moveTo>
                        <a:pt x="97" y="462"/>
                      </a:moveTo>
                      <a:lnTo>
                        <a:pt x="97" y="464"/>
                      </a:lnTo>
                      <a:lnTo>
                        <a:pt x="97" y="462"/>
                      </a:lnTo>
                      <a:close/>
                      <a:moveTo>
                        <a:pt x="21" y="469"/>
                      </a:moveTo>
                      <a:lnTo>
                        <a:pt x="21" y="471"/>
                      </a:lnTo>
                      <a:lnTo>
                        <a:pt x="21" y="469"/>
                      </a:lnTo>
                      <a:close/>
                      <a:moveTo>
                        <a:pt x="212" y="73"/>
                      </a:moveTo>
                      <a:lnTo>
                        <a:pt x="213" y="73"/>
                      </a:lnTo>
                      <a:lnTo>
                        <a:pt x="213" y="74"/>
                      </a:lnTo>
                      <a:lnTo>
                        <a:pt x="212" y="74"/>
                      </a:lnTo>
                      <a:lnTo>
                        <a:pt x="212" y="73"/>
                      </a:lnTo>
                      <a:close/>
                      <a:moveTo>
                        <a:pt x="15" y="468"/>
                      </a:moveTo>
                      <a:lnTo>
                        <a:pt x="17" y="468"/>
                      </a:lnTo>
                      <a:lnTo>
                        <a:pt x="17" y="469"/>
                      </a:lnTo>
                      <a:lnTo>
                        <a:pt x="15" y="469"/>
                      </a:lnTo>
                      <a:lnTo>
                        <a:pt x="15" y="468"/>
                      </a:lnTo>
                      <a:close/>
                      <a:moveTo>
                        <a:pt x="78" y="473"/>
                      </a:moveTo>
                      <a:lnTo>
                        <a:pt x="80" y="473"/>
                      </a:lnTo>
                      <a:lnTo>
                        <a:pt x="80" y="475"/>
                      </a:lnTo>
                      <a:lnTo>
                        <a:pt x="78" y="475"/>
                      </a:lnTo>
                      <a:lnTo>
                        <a:pt x="78" y="473"/>
                      </a:lnTo>
                      <a:close/>
                      <a:moveTo>
                        <a:pt x="4" y="399"/>
                      </a:moveTo>
                      <a:lnTo>
                        <a:pt x="4" y="401"/>
                      </a:lnTo>
                      <a:lnTo>
                        <a:pt x="4" y="399"/>
                      </a:lnTo>
                      <a:close/>
                      <a:moveTo>
                        <a:pt x="2" y="408"/>
                      </a:moveTo>
                      <a:lnTo>
                        <a:pt x="4" y="408"/>
                      </a:lnTo>
                      <a:lnTo>
                        <a:pt x="2" y="408"/>
                      </a:lnTo>
                      <a:close/>
                      <a:moveTo>
                        <a:pt x="4" y="422"/>
                      </a:moveTo>
                      <a:lnTo>
                        <a:pt x="6" y="422"/>
                      </a:lnTo>
                      <a:lnTo>
                        <a:pt x="6" y="424"/>
                      </a:lnTo>
                      <a:lnTo>
                        <a:pt x="4" y="424"/>
                      </a:lnTo>
                      <a:lnTo>
                        <a:pt x="4" y="422"/>
                      </a:lnTo>
                      <a:close/>
                      <a:moveTo>
                        <a:pt x="23" y="355"/>
                      </a:moveTo>
                      <a:lnTo>
                        <a:pt x="23" y="357"/>
                      </a:lnTo>
                      <a:lnTo>
                        <a:pt x="23" y="355"/>
                      </a:lnTo>
                      <a:close/>
                      <a:moveTo>
                        <a:pt x="21" y="473"/>
                      </a:moveTo>
                      <a:lnTo>
                        <a:pt x="23" y="473"/>
                      </a:lnTo>
                      <a:lnTo>
                        <a:pt x="21" y="473"/>
                      </a:lnTo>
                      <a:close/>
                      <a:moveTo>
                        <a:pt x="101" y="265"/>
                      </a:moveTo>
                      <a:lnTo>
                        <a:pt x="103" y="265"/>
                      </a:lnTo>
                      <a:lnTo>
                        <a:pt x="101" y="265"/>
                      </a:lnTo>
                      <a:close/>
                      <a:moveTo>
                        <a:pt x="160" y="153"/>
                      </a:moveTo>
                      <a:lnTo>
                        <a:pt x="160" y="155"/>
                      </a:lnTo>
                      <a:lnTo>
                        <a:pt x="160" y="153"/>
                      </a:lnTo>
                      <a:close/>
                      <a:moveTo>
                        <a:pt x="82" y="307"/>
                      </a:moveTo>
                      <a:lnTo>
                        <a:pt x="84" y="307"/>
                      </a:lnTo>
                      <a:lnTo>
                        <a:pt x="82" y="307"/>
                      </a:lnTo>
                      <a:close/>
                      <a:moveTo>
                        <a:pt x="166" y="130"/>
                      </a:moveTo>
                      <a:lnTo>
                        <a:pt x="166" y="132"/>
                      </a:lnTo>
                      <a:lnTo>
                        <a:pt x="166" y="130"/>
                      </a:lnTo>
                      <a:close/>
                      <a:moveTo>
                        <a:pt x="9" y="443"/>
                      </a:moveTo>
                      <a:lnTo>
                        <a:pt x="9" y="445"/>
                      </a:lnTo>
                      <a:lnTo>
                        <a:pt x="9" y="443"/>
                      </a:lnTo>
                      <a:close/>
                      <a:moveTo>
                        <a:pt x="19" y="365"/>
                      </a:moveTo>
                      <a:lnTo>
                        <a:pt x="21" y="365"/>
                      </a:lnTo>
                      <a:lnTo>
                        <a:pt x="19" y="365"/>
                      </a:lnTo>
                      <a:close/>
                      <a:moveTo>
                        <a:pt x="131" y="208"/>
                      </a:moveTo>
                      <a:lnTo>
                        <a:pt x="133" y="208"/>
                      </a:lnTo>
                      <a:lnTo>
                        <a:pt x="131" y="208"/>
                      </a:lnTo>
                      <a:close/>
                      <a:moveTo>
                        <a:pt x="76" y="473"/>
                      </a:moveTo>
                      <a:lnTo>
                        <a:pt x="78" y="473"/>
                      </a:lnTo>
                      <a:lnTo>
                        <a:pt x="76" y="473"/>
                      </a:lnTo>
                      <a:close/>
                      <a:moveTo>
                        <a:pt x="215" y="67"/>
                      </a:moveTo>
                      <a:lnTo>
                        <a:pt x="215" y="69"/>
                      </a:lnTo>
                      <a:lnTo>
                        <a:pt x="215" y="67"/>
                      </a:lnTo>
                      <a:close/>
                      <a:moveTo>
                        <a:pt x="103" y="468"/>
                      </a:moveTo>
                      <a:lnTo>
                        <a:pt x="103" y="469"/>
                      </a:lnTo>
                      <a:lnTo>
                        <a:pt x="103" y="468"/>
                      </a:lnTo>
                      <a:close/>
                      <a:moveTo>
                        <a:pt x="156" y="179"/>
                      </a:moveTo>
                      <a:lnTo>
                        <a:pt x="158" y="179"/>
                      </a:lnTo>
                      <a:lnTo>
                        <a:pt x="156" y="179"/>
                      </a:lnTo>
                      <a:close/>
                      <a:moveTo>
                        <a:pt x="122" y="233"/>
                      </a:moveTo>
                      <a:lnTo>
                        <a:pt x="124" y="233"/>
                      </a:lnTo>
                      <a:lnTo>
                        <a:pt x="124" y="235"/>
                      </a:lnTo>
                      <a:lnTo>
                        <a:pt x="122" y="235"/>
                      </a:lnTo>
                      <a:lnTo>
                        <a:pt x="122" y="233"/>
                      </a:lnTo>
                      <a:close/>
                      <a:moveTo>
                        <a:pt x="88" y="296"/>
                      </a:moveTo>
                      <a:lnTo>
                        <a:pt x="88" y="298"/>
                      </a:lnTo>
                      <a:lnTo>
                        <a:pt x="88" y="296"/>
                      </a:lnTo>
                      <a:close/>
                      <a:moveTo>
                        <a:pt x="70" y="481"/>
                      </a:moveTo>
                      <a:lnTo>
                        <a:pt x="72" y="481"/>
                      </a:lnTo>
                      <a:lnTo>
                        <a:pt x="72" y="483"/>
                      </a:lnTo>
                      <a:lnTo>
                        <a:pt x="70" y="483"/>
                      </a:lnTo>
                      <a:lnTo>
                        <a:pt x="70" y="481"/>
                      </a:lnTo>
                      <a:close/>
                      <a:moveTo>
                        <a:pt x="61" y="334"/>
                      </a:moveTo>
                      <a:lnTo>
                        <a:pt x="63" y="334"/>
                      </a:lnTo>
                      <a:lnTo>
                        <a:pt x="61" y="334"/>
                      </a:lnTo>
                      <a:close/>
                      <a:moveTo>
                        <a:pt x="101" y="271"/>
                      </a:moveTo>
                      <a:lnTo>
                        <a:pt x="103" y="271"/>
                      </a:lnTo>
                      <a:lnTo>
                        <a:pt x="101" y="271"/>
                      </a:lnTo>
                      <a:close/>
                      <a:moveTo>
                        <a:pt x="91" y="290"/>
                      </a:moveTo>
                      <a:lnTo>
                        <a:pt x="91" y="292"/>
                      </a:lnTo>
                      <a:lnTo>
                        <a:pt x="91" y="290"/>
                      </a:lnTo>
                      <a:close/>
                      <a:moveTo>
                        <a:pt x="353" y="33"/>
                      </a:moveTo>
                      <a:lnTo>
                        <a:pt x="355" y="33"/>
                      </a:lnTo>
                      <a:lnTo>
                        <a:pt x="353" y="33"/>
                      </a:lnTo>
                      <a:close/>
                      <a:moveTo>
                        <a:pt x="63" y="311"/>
                      </a:moveTo>
                      <a:lnTo>
                        <a:pt x="65" y="311"/>
                      </a:lnTo>
                      <a:lnTo>
                        <a:pt x="63" y="311"/>
                      </a:lnTo>
                      <a:close/>
                      <a:moveTo>
                        <a:pt x="11" y="468"/>
                      </a:moveTo>
                      <a:lnTo>
                        <a:pt x="13" y="468"/>
                      </a:lnTo>
                      <a:lnTo>
                        <a:pt x="11" y="468"/>
                      </a:lnTo>
                      <a:close/>
                      <a:moveTo>
                        <a:pt x="65" y="309"/>
                      </a:moveTo>
                      <a:lnTo>
                        <a:pt x="65" y="311"/>
                      </a:lnTo>
                      <a:lnTo>
                        <a:pt x="65" y="309"/>
                      </a:lnTo>
                      <a:close/>
                      <a:moveTo>
                        <a:pt x="103" y="466"/>
                      </a:moveTo>
                      <a:lnTo>
                        <a:pt x="103" y="468"/>
                      </a:lnTo>
                      <a:lnTo>
                        <a:pt x="103" y="466"/>
                      </a:lnTo>
                      <a:close/>
                      <a:moveTo>
                        <a:pt x="6" y="427"/>
                      </a:moveTo>
                      <a:lnTo>
                        <a:pt x="6" y="429"/>
                      </a:lnTo>
                      <a:lnTo>
                        <a:pt x="6" y="427"/>
                      </a:lnTo>
                      <a:close/>
                      <a:moveTo>
                        <a:pt x="9" y="447"/>
                      </a:moveTo>
                      <a:lnTo>
                        <a:pt x="9" y="448"/>
                      </a:lnTo>
                      <a:lnTo>
                        <a:pt x="9" y="447"/>
                      </a:lnTo>
                      <a:close/>
                      <a:moveTo>
                        <a:pt x="101" y="267"/>
                      </a:moveTo>
                      <a:lnTo>
                        <a:pt x="103" y="267"/>
                      </a:lnTo>
                      <a:lnTo>
                        <a:pt x="101" y="267"/>
                      </a:lnTo>
                      <a:close/>
                      <a:moveTo>
                        <a:pt x="99" y="282"/>
                      </a:moveTo>
                      <a:lnTo>
                        <a:pt x="101" y="282"/>
                      </a:lnTo>
                      <a:lnTo>
                        <a:pt x="99" y="282"/>
                      </a:lnTo>
                      <a:close/>
                      <a:moveTo>
                        <a:pt x="376" y="36"/>
                      </a:moveTo>
                      <a:lnTo>
                        <a:pt x="377" y="36"/>
                      </a:lnTo>
                      <a:lnTo>
                        <a:pt x="376" y="36"/>
                      </a:lnTo>
                      <a:close/>
                      <a:moveTo>
                        <a:pt x="4" y="401"/>
                      </a:moveTo>
                      <a:lnTo>
                        <a:pt x="4" y="403"/>
                      </a:lnTo>
                      <a:lnTo>
                        <a:pt x="4" y="401"/>
                      </a:lnTo>
                      <a:close/>
                      <a:moveTo>
                        <a:pt x="95" y="284"/>
                      </a:moveTo>
                      <a:lnTo>
                        <a:pt x="97" y="284"/>
                      </a:lnTo>
                      <a:lnTo>
                        <a:pt x="97" y="286"/>
                      </a:lnTo>
                      <a:lnTo>
                        <a:pt x="95" y="286"/>
                      </a:lnTo>
                      <a:lnTo>
                        <a:pt x="95" y="284"/>
                      </a:lnTo>
                      <a:close/>
                      <a:moveTo>
                        <a:pt x="93" y="462"/>
                      </a:moveTo>
                      <a:lnTo>
                        <a:pt x="93" y="464"/>
                      </a:lnTo>
                      <a:lnTo>
                        <a:pt x="93" y="462"/>
                      </a:lnTo>
                      <a:close/>
                      <a:moveTo>
                        <a:pt x="6" y="380"/>
                      </a:moveTo>
                      <a:lnTo>
                        <a:pt x="6" y="382"/>
                      </a:lnTo>
                      <a:lnTo>
                        <a:pt x="6" y="380"/>
                      </a:lnTo>
                      <a:close/>
                      <a:moveTo>
                        <a:pt x="139" y="191"/>
                      </a:moveTo>
                      <a:lnTo>
                        <a:pt x="141" y="191"/>
                      </a:lnTo>
                      <a:lnTo>
                        <a:pt x="139" y="191"/>
                      </a:lnTo>
                      <a:close/>
                      <a:moveTo>
                        <a:pt x="99" y="466"/>
                      </a:moveTo>
                      <a:lnTo>
                        <a:pt x="99" y="468"/>
                      </a:lnTo>
                      <a:lnTo>
                        <a:pt x="99" y="466"/>
                      </a:lnTo>
                      <a:close/>
                      <a:moveTo>
                        <a:pt x="8" y="387"/>
                      </a:moveTo>
                      <a:lnTo>
                        <a:pt x="9" y="387"/>
                      </a:lnTo>
                      <a:lnTo>
                        <a:pt x="8" y="387"/>
                      </a:lnTo>
                      <a:close/>
                      <a:moveTo>
                        <a:pt x="25" y="353"/>
                      </a:moveTo>
                      <a:lnTo>
                        <a:pt x="27" y="353"/>
                      </a:lnTo>
                      <a:lnTo>
                        <a:pt x="27" y="355"/>
                      </a:lnTo>
                      <a:lnTo>
                        <a:pt x="25" y="355"/>
                      </a:lnTo>
                      <a:lnTo>
                        <a:pt x="25" y="353"/>
                      </a:lnTo>
                      <a:close/>
                      <a:moveTo>
                        <a:pt x="131" y="200"/>
                      </a:moveTo>
                      <a:lnTo>
                        <a:pt x="133" y="200"/>
                      </a:lnTo>
                      <a:lnTo>
                        <a:pt x="131" y="200"/>
                      </a:lnTo>
                      <a:close/>
                      <a:moveTo>
                        <a:pt x="74" y="315"/>
                      </a:moveTo>
                      <a:lnTo>
                        <a:pt x="74" y="317"/>
                      </a:lnTo>
                      <a:lnTo>
                        <a:pt x="74" y="315"/>
                      </a:lnTo>
                      <a:close/>
                      <a:moveTo>
                        <a:pt x="326" y="48"/>
                      </a:moveTo>
                      <a:lnTo>
                        <a:pt x="326" y="50"/>
                      </a:lnTo>
                      <a:lnTo>
                        <a:pt x="326" y="48"/>
                      </a:lnTo>
                      <a:close/>
                      <a:moveTo>
                        <a:pt x="2" y="401"/>
                      </a:moveTo>
                      <a:lnTo>
                        <a:pt x="2" y="403"/>
                      </a:lnTo>
                      <a:lnTo>
                        <a:pt x="2" y="401"/>
                      </a:lnTo>
                      <a:close/>
                      <a:moveTo>
                        <a:pt x="80" y="307"/>
                      </a:moveTo>
                      <a:lnTo>
                        <a:pt x="82" y="307"/>
                      </a:lnTo>
                      <a:lnTo>
                        <a:pt x="80" y="307"/>
                      </a:lnTo>
                      <a:close/>
                      <a:moveTo>
                        <a:pt x="103" y="469"/>
                      </a:moveTo>
                      <a:lnTo>
                        <a:pt x="103" y="471"/>
                      </a:lnTo>
                      <a:lnTo>
                        <a:pt x="103" y="469"/>
                      </a:lnTo>
                      <a:close/>
                      <a:moveTo>
                        <a:pt x="326" y="46"/>
                      </a:moveTo>
                      <a:lnTo>
                        <a:pt x="328" y="46"/>
                      </a:lnTo>
                      <a:lnTo>
                        <a:pt x="328" y="48"/>
                      </a:lnTo>
                      <a:lnTo>
                        <a:pt x="326" y="48"/>
                      </a:lnTo>
                      <a:lnTo>
                        <a:pt x="326" y="46"/>
                      </a:lnTo>
                      <a:close/>
                      <a:moveTo>
                        <a:pt x="11" y="462"/>
                      </a:moveTo>
                      <a:lnTo>
                        <a:pt x="13" y="462"/>
                      </a:lnTo>
                      <a:lnTo>
                        <a:pt x="11" y="462"/>
                      </a:lnTo>
                      <a:close/>
                      <a:moveTo>
                        <a:pt x="158" y="172"/>
                      </a:moveTo>
                      <a:lnTo>
                        <a:pt x="158" y="174"/>
                      </a:lnTo>
                      <a:lnTo>
                        <a:pt x="158" y="172"/>
                      </a:lnTo>
                      <a:close/>
                      <a:moveTo>
                        <a:pt x="103" y="275"/>
                      </a:moveTo>
                      <a:lnTo>
                        <a:pt x="105" y="275"/>
                      </a:lnTo>
                      <a:lnTo>
                        <a:pt x="105" y="277"/>
                      </a:lnTo>
                      <a:lnTo>
                        <a:pt x="103" y="277"/>
                      </a:lnTo>
                      <a:lnTo>
                        <a:pt x="103" y="275"/>
                      </a:lnTo>
                      <a:close/>
                      <a:moveTo>
                        <a:pt x="122" y="256"/>
                      </a:moveTo>
                      <a:lnTo>
                        <a:pt x="124" y="256"/>
                      </a:lnTo>
                      <a:lnTo>
                        <a:pt x="124" y="258"/>
                      </a:lnTo>
                      <a:lnTo>
                        <a:pt x="122" y="258"/>
                      </a:lnTo>
                      <a:lnTo>
                        <a:pt x="122" y="256"/>
                      </a:lnTo>
                      <a:close/>
                      <a:moveTo>
                        <a:pt x="91" y="466"/>
                      </a:moveTo>
                      <a:lnTo>
                        <a:pt x="93" y="466"/>
                      </a:lnTo>
                      <a:lnTo>
                        <a:pt x="93" y="468"/>
                      </a:lnTo>
                      <a:lnTo>
                        <a:pt x="91" y="468"/>
                      </a:lnTo>
                      <a:lnTo>
                        <a:pt x="91" y="466"/>
                      </a:lnTo>
                      <a:close/>
                      <a:moveTo>
                        <a:pt x="4" y="422"/>
                      </a:moveTo>
                      <a:lnTo>
                        <a:pt x="4" y="424"/>
                      </a:lnTo>
                      <a:lnTo>
                        <a:pt x="4" y="422"/>
                      </a:lnTo>
                      <a:close/>
                      <a:moveTo>
                        <a:pt x="8" y="435"/>
                      </a:moveTo>
                      <a:lnTo>
                        <a:pt x="8" y="437"/>
                      </a:lnTo>
                      <a:lnTo>
                        <a:pt x="8" y="435"/>
                      </a:lnTo>
                      <a:close/>
                      <a:moveTo>
                        <a:pt x="370" y="25"/>
                      </a:moveTo>
                      <a:lnTo>
                        <a:pt x="372" y="25"/>
                      </a:lnTo>
                      <a:lnTo>
                        <a:pt x="370" y="25"/>
                      </a:lnTo>
                      <a:close/>
                      <a:moveTo>
                        <a:pt x="0" y="397"/>
                      </a:moveTo>
                      <a:lnTo>
                        <a:pt x="2" y="397"/>
                      </a:lnTo>
                      <a:lnTo>
                        <a:pt x="0" y="397"/>
                      </a:lnTo>
                      <a:close/>
                      <a:moveTo>
                        <a:pt x="70" y="321"/>
                      </a:moveTo>
                      <a:lnTo>
                        <a:pt x="72" y="321"/>
                      </a:lnTo>
                      <a:lnTo>
                        <a:pt x="70" y="321"/>
                      </a:lnTo>
                      <a:close/>
                      <a:moveTo>
                        <a:pt x="383" y="52"/>
                      </a:moveTo>
                      <a:lnTo>
                        <a:pt x="385" y="52"/>
                      </a:lnTo>
                      <a:lnTo>
                        <a:pt x="383" y="52"/>
                      </a:lnTo>
                      <a:close/>
                      <a:moveTo>
                        <a:pt x="4" y="424"/>
                      </a:moveTo>
                      <a:lnTo>
                        <a:pt x="6" y="424"/>
                      </a:lnTo>
                      <a:lnTo>
                        <a:pt x="6" y="426"/>
                      </a:lnTo>
                      <a:lnTo>
                        <a:pt x="4" y="426"/>
                      </a:lnTo>
                      <a:lnTo>
                        <a:pt x="4" y="424"/>
                      </a:lnTo>
                      <a:close/>
                      <a:moveTo>
                        <a:pt x="8" y="443"/>
                      </a:moveTo>
                      <a:lnTo>
                        <a:pt x="9" y="443"/>
                      </a:lnTo>
                      <a:lnTo>
                        <a:pt x="8" y="443"/>
                      </a:lnTo>
                      <a:close/>
                      <a:moveTo>
                        <a:pt x="126" y="212"/>
                      </a:moveTo>
                      <a:lnTo>
                        <a:pt x="128" y="212"/>
                      </a:lnTo>
                      <a:lnTo>
                        <a:pt x="128" y="214"/>
                      </a:lnTo>
                      <a:lnTo>
                        <a:pt x="126" y="214"/>
                      </a:lnTo>
                      <a:lnTo>
                        <a:pt x="126" y="212"/>
                      </a:lnTo>
                      <a:close/>
                      <a:moveTo>
                        <a:pt x="78" y="315"/>
                      </a:moveTo>
                      <a:lnTo>
                        <a:pt x="78" y="317"/>
                      </a:lnTo>
                      <a:lnTo>
                        <a:pt x="78" y="315"/>
                      </a:lnTo>
                      <a:close/>
                      <a:moveTo>
                        <a:pt x="97" y="284"/>
                      </a:moveTo>
                      <a:lnTo>
                        <a:pt x="97" y="286"/>
                      </a:lnTo>
                      <a:lnTo>
                        <a:pt x="97" y="284"/>
                      </a:lnTo>
                      <a:close/>
                      <a:moveTo>
                        <a:pt x="355" y="29"/>
                      </a:moveTo>
                      <a:lnTo>
                        <a:pt x="355" y="31"/>
                      </a:lnTo>
                      <a:lnTo>
                        <a:pt x="355" y="29"/>
                      </a:lnTo>
                      <a:close/>
                      <a:moveTo>
                        <a:pt x="114" y="273"/>
                      </a:moveTo>
                      <a:lnTo>
                        <a:pt x="114" y="275"/>
                      </a:lnTo>
                      <a:lnTo>
                        <a:pt x="114" y="273"/>
                      </a:lnTo>
                      <a:close/>
                      <a:moveTo>
                        <a:pt x="4" y="420"/>
                      </a:moveTo>
                      <a:lnTo>
                        <a:pt x="4" y="422"/>
                      </a:lnTo>
                      <a:lnTo>
                        <a:pt x="4" y="420"/>
                      </a:lnTo>
                      <a:close/>
                      <a:moveTo>
                        <a:pt x="82" y="468"/>
                      </a:moveTo>
                      <a:lnTo>
                        <a:pt x="82" y="469"/>
                      </a:lnTo>
                      <a:lnTo>
                        <a:pt x="82" y="468"/>
                      </a:lnTo>
                      <a:close/>
                      <a:moveTo>
                        <a:pt x="17" y="468"/>
                      </a:moveTo>
                      <a:lnTo>
                        <a:pt x="17" y="469"/>
                      </a:lnTo>
                      <a:lnTo>
                        <a:pt x="17" y="468"/>
                      </a:lnTo>
                      <a:close/>
                      <a:moveTo>
                        <a:pt x="97" y="267"/>
                      </a:moveTo>
                      <a:lnTo>
                        <a:pt x="97" y="269"/>
                      </a:lnTo>
                      <a:lnTo>
                        <a:pt x="97" y="267"/>
                      </a:lnTo>
                      <a:close/>
                      <a:moveTo>
                        <a:pt x="99" y="468"/>
                      </a:moveTo>
                      <a:lnTo>
                        <a:pt x="99" y="469"/>
                      </a:lnTo>
                      <a:lnTo>
                        <a:pt x="99" y="468"/>
                      </a:lnTo>
                      <a:close/>
                      <a:moveTo>
                        <a:pt x="154" y="118"/>
                      </a:moveTo>
                      <a:lnTo>
                        <a:pt x="154" y="120"/>
                      </a:lnTo>
                      <a:lnTo>
                        <a:pt x="154" y="118"/>
                      </a:lnTo>
                      <a:close/>
                      <a:moveTo>
                        <a:pt x="124" y="221"/>
                      </a:moveTo>
                      <a:lnTo>
                        <a:pt x="126" y="221"/>
                      </a:lnTo>
                      <a:lnTo>
                        <a:pt x="124" y="221"/>
                      </a:lnTo>
                      <a:close/>
                      <a:moveTo>
                        <a:pt x="8" y="386"/>
                      </a:moveTo>
                      <a:lnTo>
                        <a:pt x="9" y="386"/>
                      </a:lnTo>
                      <a:lnTo>
                        <a:pt x="8" y="386"/>
                      </a:lnTo>
                      <a:close/>
                      <a:moveTo>
                        <a:pt x="116" y="168"/>
                      </a:moveTo>
                      <a:lnTo>
                        <a:pt x="116" y="170"/>
                      </a:lnTo>
                      <a:lnTo>
                        <a:pt x="116" y="168"/>
                      </a:lnTo>
                      <a:close/>
                      <a:moveTo>
                        <a:pt x="63" y="317"/>
                      </a:moveTo>
                      <a:lnTo>
                        <a:pt x="65" y="317"/>
                      </a:lnTo>
                      <a:lnTo>
                        <a:pt x="63" y="317"/>
                      </a:lnTo>
                      <a:close/>
                      <a:moveTo>
                        <a:pt x="13" y="433"/>
                      </a:moveTo>
                      <a:lnTo>
                        <a:pt x="13" y="435"/>
                      </a:lnTo>
                      <a:lnTo>
                        <a:pt x="13" y="433"/>
                      </a:lnTo>
                      <a:close/>
                      <a:moveTo>
                        <a:pt x="147" y="170"/>
                      </a:moveTo>
                      <a:lnTo>
                        <a:pt x="149" y="170"/>
                      </a:lnTo>
                      <a:lnTo>
                        <a:pt x="149" y="172"/>
                      </a:lnTo>
                      <a:lnTo>
                        <a:pt x="147" y="172"/>
                      </a:lnTo>
                      <a:lnTo>
                        <a:pt x="147" y="170"/>
                      </a:lnTo>
                      <a:close/>
                      <a:moveTo>
                        <a:pt x="116" y="225"/>
                      </a:moveTo>
                      <a:lnTo>
                        <a:pt x="118" y="225"/>
                      </a:lnTo>
                      <a:lnTo>
                        <a:pt x="116" y="225"/>
                      </a:lnTo>
                      <a:close/>
                      <a:moveTo>
                        <a:pt x="109" y="273"/>
                      </a:moveTo>
                      <a:lnTo>
                        <a:pt x="111" y="273"/>
                      </a:lnTo>
                      <a:lnTo>
                        <a:pt x="109" y="273"/>
                      </a:lnTo>
                      <a:close/>
                      <a:moveTo>
                        <a:pt x="19" y="468"/>
                      </a:moveTo>
                      <a:lnTo>
                        <a:pt x="19" y="469"/>
                      </a:lnTo>
                      <a:lnTo>
                        <a:pt x="19" y="468"/>
                      </a:lnTo>
                      <a:close/>
                      <a:moveTo>
                        <a:pt x="101" y="271"/>
                      </a:moveTo>
                      <a:lnTo>
                        <a:pt x="103" y="271"/>
                      </a:lnTo>
                      <a:lnTo>
                        <a:pt x="103" y="273"/>
                      </a:lnTo>
                      <a:lnTo>
                        <a:pt x="101" y="273"/>
                      </a:lnTo>
                      <a:lnTo>
                        <a:pt x="101" y="271"/>
                      </a:lnTo>
                      <a:close/>
                      <a:moveTo>
                        <a:pt x="19" y="487"/>
                      </a:moveTo>
                      <a:lnTo>
                        <a:pt x="21" y="487"/>
                      </a:lnTo>
                      <a:lnTo>
                        <a:pt x="19" y="487"/>
                      </a:lnTo>
                      <a:close/>
                      <a:moveTo>
                        <a:pt x="11" y="433"/>
                      </a:moveTo>
                      <a:lnTo>
                        <a:pt x="13" y="433"/>
                      </a:lnTo>
                      <a:lnTo>
                        <a:pt x="11" y="433"/>
                      </a:lnTo>
                      <a:close/>
                      <a:moveTo>
                        <a:pt x="90" y="294"/>
                      </a:moveTo>
                      <a:lnTo>
                        <a:pt x="90" y="296"/>
                      </a:lnTo>
                      <a:lnTo>
                        <a:pt x="90" y="294"/>
                      </a:lnTo>
                      <a:close/>
                      <a:moveTo>
                        <a:pt x="6" y="424"/>
                      </a:moveTo>
                      <a:lnTo>
                        <a:pt x="6" y="426"/>
                      </a:lnTo>
                      <a:lnTo>
                        <a:pt x="6" y="424"/>
                      </a:lnTo>
                      <a:close/>
                      <a:moveTo>
                        <a:pt x="4" y="399"/>
                      </a:moveTo>
                      <a:lnTo>
                        <a:pt x="4" y="401"/>
                      </a:lnTo>
                      <a:lnTo>
                        <a:pt x="4" y="399"/>
                      </a:lnTo>
                      <a:close/>
                      <a:moveTo>
                        <a:pt x="181" y="137"/>
                      </a:moveTo>
                      <a:lnTo>
                        <a:pt x="183" y="137"/>
                      </a:lnTo>
                      <a:lnTo>
                        <a:pt x="181" y="137"/>
                      </a:lnTo>
                      <a:close/>
                      <a:moveTo>
                        <a:pt x="4" y="412"/>
                      </a:moveTo>
                      <a:lnTo>
                        <a:pt x="4" y="414"/>
                      </a:lnTo>
                      <a:lnTo>
                        <a:pt x="4" y="412"/>
                      </a:lnTo>
                      <a:close/>
                      <a:moveTo>
                        <a:pt x="398" y="53"/>
                      </a:moveTo>
                      <a:lnTo>
                        <a:pt x="400" y="53"/>
                      </a:lnTo>
                      <a:lnTo>
                        <a:pt x="398" y="53"/>
                      </a:lnTo>
                      <a:close/>
                      <a:moveTo>
                        <a:pt x="280" y="33"/>
                      </a:moveTo>
                      <a:lnTo>
                        <a:pt x="280" y="34"/>
                      </a:lnTo>
                      <a:lnTo>
                        <a:pt x="280" y="33"/>
                      </a:lnTo>
                      <a:close/>
                      <a:moveTo>
                        <a:pt x="9" y="433"/>
                      </a:moveTo>
                      <a:lnTo>
                        <a:pt x="9" y="435"/>
                      </a:lnTo>
                      <a:lnTo>
                        <a:pt x="9" y="433"/>
                      </a:lnTo>
                      <a:close/>
                      <a:moveTo>
                        <a:pt x="120" y="248"/>
                      </a:moveTo>
                      <a:lnTo>
                        <a:pt x="122" y="248"/>
                      </a:lnTo>
                      <a:lnTo>
                        <a:pt x="122" y="250"/>
                      </a:lnTo>
                      <a:lnTo>
                        <a:pt x="120" y="250"/>
                      </a:lnTo>
                      <a:lnTo>
                        <a:pt x="120" y="248"/>
                      </a:lnTo>
                      <a:close/>
                      <a:moveTo>
                        <a:pt x="91" y="466"/>
                      </a:moveTo>
                      <a:lnTo>
                        <a:pt x="91" y="468"/>
                      </a:lnTo>
                      <a:lnTo>
                        <a:pt x="91" y="466"/>
                      </a:lnTo>
                      <a:close/>
                      <a:moveTo>
                        <a:pt x="15" y="416"/>
                      </a:moveTo>
                      <a:lnTo>
                        <a:pt x="15" y="418"/>
                      </a:lnTo>
                      <a:lnTo>
                        <a:pt x="15" y="416"/>
                      </a:lnTo>
                      <a:close/>
                      <a:moveTo>
                        <a:pt x="160" y="162"/>
                      </a:moveTo>
                      <a:lnTo>
                        <a:pt x="162" y="162"/>
                      </a:lnTo>
                      <a:lnTo>
                        <a:pt x="162" y="164"/>
                      </a:lnTo>
                      <a:lnTo>
                        <a:pt x="160" y="164"/>
                      </a:lnTo>
                      <a:lnTo>
                        <a:pt x="160" y="162"/>
                      </a:lnTo>
                      <a:close/>
                      <a:moveTo>
                        <a:pt x="76" y="475"/>
                      </a:moveTo>
                      <a:lnTo>
                        <a:pt x="78" y="475"/>
                      </a:lnTo>
                      <a:lnTo>
                        <a:pt x="76" y="475"/>
                      </a:lnTo>
                      <a:close/>
                      <a:moveTo>
                        <a:pt x="160" y="153"/>
                      </a:moveTo>
                      <a:lnTo>
                        <a:pt x="160" y="155"/>
                      </a:lnTo>
                      <a:lnTo>
                        <a:pt x="160" y="153"/>
                      </a:lnTo>
                      <a:close/>
                      <a:moveTo>
                        <a:pt x="97" y="267"/>
                      </a:moveTo>
                      <a:lnTo>
                        <a:pt x="99" y="267"/>
                      </a:lnTo>
                      <a:lnTo>
                        <a:pt x="97" y="267"/>
                      </a:lnTo>
                      <a:close/>
                      <a:moveTo>
                        <a:pt x="53" y="334"/>
                      </a:moveTo>
                      <a:lnTo>
                        <a:pt x="53" y="336"/>
                      </a:lnTo>
                      <a:lnTo>
                        <a:pt x="53" y="334"/>
                      </a:lnTo>
                      <a:close/>
                      <a:moveTo>
                        <a:pt x="122" y="229"/>
                      </a:moveTo>
                      <a:lnTo>
                        <a:pt x="122" y="231"/>
                      </a:lnTo>
                      <a:lnTo>
                        <a:pt x="122" y="229"/>
                      </a:lnTo>
                      <a:close/>
                      <a:moveTo>
                        <a:pt x="53" y="321"/>
                      </a:moveTo>
                      <a:lnTo>
                        <a:pt x="53" y="323"/>
                      </a:lnTo>
                      <a:lnTo>
                        <a:pt x="53" y="321"/>
                      </a:lnTo>
                      <a:close/>
                      <a:moveTo>
                        <a:pt x="147" y="170"/>
                      </a:moveTo>
                      <a:lnTo>
                        <a:pt x="147" y="172"/>
                      </a:lnTo>
                      <a:lnTo>
                        <a:pt x="147" y="170"/>
                      </a:lnTo>
                      <a:close/>
                      <a:moveTo>
                        <a:pt x="61" y="313"/>
                      </a:moveTo>
                      <a:lnTo>
                        <a:pt x="63" y="313"/>
                      </a:lnTo>
                      <a:lnTo>
                        <a:pt x="61" y="313"/>
                      </a:lnTo>
                      <a:close/>
                      <a:moveTo>
                        <a:pt x="162" y="149"/>
                      </a:moveTo>
                      <a:lnTo>
                        <a:pt x="162" y="151"/>
                      </a:lnTo>
                      <a:lnTo>
                        <a:pt x="162" y="149"/>
                      </a:lnTo>
                      <a:close/>
                      <a:moveTo>
                        <a:pt x="55" y="496"/>
                      </a:moveTo>
                      <a:lnTo>
                        <a:pt x="55" y="498"/>
                      </a:lnTo>
                      <a:lnTo>
                        <a:pt x="55" y="496"/>
                      </a:lnTo>
                      <a:close/>
                      <a:moveTo>
                        <a:pt x="124" y="197"/>
                      </a:moveTo>
                      <a:lnTo>
                        <a:pt x="126" y="197"/>
                      </a:lnTo>
                      <a:lnTo>
                        <a:pt x="126" y="199"/>
                      </a:lnTo>
                      <a:lnTo>
                        <a:pt x="124" y="199"/>
                      </a:lnTo>
                      <a:lnTo>
                        <a:pt x="124" y="197"/>
                      </a:lnTo>
                      <a:close/>
                      <a:moveTo>
                        <a:pt x="90" y="454"/>
                      </a:moveTo>
                      <a:lnTo>
                        <a:pt x="91" y="454"/>
                      </a:lnTo>
                      <a:lnTo>
                        <a:pt x="90" y="454"/>
                      </a:lnTo>
                      <a:close/>
                      <a:moveTo>
                        <a:pt x="4" y="412"/>
                      </a:moveTo>
                      <a:lnTo>
                        <a:pt x="4" y="414"/>
                      </a:lnTo>
                      <a:lnTo>
                        <a:pt x="4" y="412"/>
                      </a:lnTo>
                      <a:close/>
                      <a:moveTo>
                        <a:pt x="40" y="347"/>
                      </a:moveTo>
                      <a:lnTo>
                        <a:pt x="42" y="347"/>
                      </a:lnTo>
                      <a:lnTo>
                        <a:pt x="42" y="349"/>
                      </a:lnTo>
                      <a:lnTo>
                        <a:pt x="40" y="349"/>
                      </a:lnTo>
                      <a:lnTo>
                        <a:pt x="40" y="347"/>
                      </a:lnTo>
                      <a:close/>
                      <a:moveTo>
                        <a:pt x="143" y="185"/>
                      </a:moveTo>
                      <a:lnTo>
                        <a:pt x="143" y="187"/>
                      </a:lnTo>
                      <a:lnTo>
                        <a:pt x="143" y="185"/>
                      </a:lnTo>
                      <a:close/>
                      <a:moveTo>
                        <a:pt x="6" y="420"/>
                      </a:moveTo>
                      <a:lnTo>
                        <a:pt x="6" y="422"/>
                      </a:lnTo>
                      <a:lnTo>
                        <a:pt x="6" y="420"/>
                      </a:lnTo>
                      <a:close/>
                      <a:moveTo>
                        <a:pt x="116" y="252"/>
                      </a:moveTo>
                      <a:lnTo>
                        <a:pt x="118" y="252"/>
                      </a:lnTo>
                      <a:lnTo>
                        <a:pt x="118" y="254"/>
                      </a:lnTo>
                      <a:lnTo>
                        <a:pt x="116" y="254"/>
                      </a:lnTo>
                      <a:lnTo>
                        <a:pt x="116" y="252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alpha val="4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3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32" name="Freeform 177">
                  <a:extLst>
                    <a:ext uri="{FF2B5EF4-FFF2-40B4-BE49-F238E27FC236}">
                      <a16:creationId xmlns:a16="http://schemas.microsoft.com/office/drawing/2014/main" id="{92EF79F7-3B3F-4C88-5D96-17FECA522C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6922593" y="4837460"/>
                  <a:ext cx="1156480" cy="991323"/>
                </a:xfrm>
                <a:custGeom>
                  <a:avLst/>
                  <a:gdLst>
                    <a:gd name="T0" fmla="*/ 629 w 734"/>
                    <a:gd name="T1" fmla="*/ 399 h 628"/>
                    <a:gd name="T2" fmla="*/ 608 w 734"/>
                    <a:gd name="T3" fmla="*/ 420 h 628"/>
                    <a:gd name="T4" fmla="*/ 602 w 734"/>
                    <a:gd name="T5" fmla="*/ 445 h 628"/>
                    <a:gd name="T6" fmla="*/ 583 w 734"/>
                    <a:gd name="T7" fmla="*/ 502 h 628"/>
                    <a:gd name="T8" fmla="*/ 509 w 734"/>
                    <a:gd name="T9" fmla="*/ 517 h 628"/>
                    <a:gd name="T10" fmla="*/ 446 w 734"/>
                    <a:gd name="T11" fmla="*/ 509 h 628"/>
                    <a:gd name="T12" fmla="*/ 404 w 734"/>
                    <a:gd name="T13" fmla="*/ 456 h 628"/>
                    <a:gd name="T14" fmla="*/ 398 w 734"/>
                    <a:gd name="T15" fmla="*/ 412 h 628"/>
                    <a:gd name="T16" fmla="*/ 360 w 734"/>
                    <a:gd name="T17" fmla="*/ 445 h 628"/>
                    <a:gd name="T18" fmla="*/ 334 w 734"/>
                    <a:gd name="T19" fmla="*/ 395 h 628"/>
                    <a:gd name="T20" fmla="*/ 154 w 734"/>
                    <a:gd name="T21" fmla="*/ 427 h 628"/>
                    <a:gd name="T22" fmla="*/ 70 w 734"/>
                    <a:gd name="T23" fmla="*/ 450 h 628"/>
                    <a:gd name="T24" fmla="*/ 49 w 734"/>
                    <a:gd name="T25" fmla="*/ 389 h 628"/>
                    <a:gd name="T26" fmla="*/ 11 w 734"/>
                    <a:gd name="T27" fmla="*/ 292 h 628"/>
                    <a:gd name="T28" fmla="*/ 11 w 734"/>
                    <a:gd name="T29" fmla="*/ 240 h 628"/>
                    <a:gd name="T30" fmla="*/ 44 w 734"/>
                    <a:gd name="T31" fmla="*/ 202 h 628"/>
                    <a:gd name="T32" fmla="*/ 89 w 734"/>
                    <a:gd name="T33" fmla="*/ 185 h 628"/>
                    <a:gd name="T34" fmla="*/ 150 w 734"/>
                    <a:gd name="T35" fmla="*/ 128 h 628"/>
                    <a:gd name="T36" fmla="*/ 173 w 734"/>
                    <a:gd name="T37" fmla="*/ 130 h 628"/>
                    <a:gd name="T38" fmla="*/ 187 w 734"/>
                    <a:gd name="T39" fmla="*/ 116 h 628"/>
                    <a:gd name="T40" fmla="*/ 198 w 734"/>
                    <a:gd name="T41" fmla="*/ 107 h 628"/>
                    <a:gd name="T42" fmla="*/ 196 w 734"/>
                    <a:gd name="T43" fmla="*/ 94 h 628"/>
                    <a:gd name="T44" fmla="*/ 210 w 734"/>
                    <a:gd name="T45" fmla="*/ 78 h 628"/>
                    <a:gd name="T46" fmla="*/ 242 w 734"/>
                    <a:gd name="T47" fmla="*/ 101 h 628"/>
                    <a:gd name="T48" fmla="*/ 267 w 734"/>
                    <a:gd name="T49" fmla="*/ 94 h 628"/>
                    <a:gd name="T50" fmla="*/ 282 w 734"/>
                    <a:gd name="T51" fmla="*/ 55 h 628"/>
                    <a:gd name="T52" fmla="*/ 313 w 734"/>
                    <a:gd name="T53" fmla="*/ 57 h 628"/>
                    <a:gd name="T54" fmla="*/ 324 w 734"/>
                    <a:gd name="T55" fmla="*/ 42 h 628"/>
                    <a:gd name="T56" fmla="*/ 368 w 734"/>
                    <a:gd name="T57" fmla="*/ 53 h 628"/>
                    <a:gd name="T58" fmla="*/ 370 w 734"/>
                    <a:gd name="T59" fmla="*/ 67 h 628"/>
                    <a:gd name="T60" fmla="*/ 383 w 734"/>
                    <a:gd name="T61" fmla="*/ 111 h 628"/>
                    <a:gd name="T62" fmla="*/ 456 w 734"/>
                    <a:gd name="T63" fmla="*/ 63 h 628"/>
                    <a:gd name="T64" fmla="*/ 482 w 734"/>
                    <a:gd name="T65" fmla="*/ 53 h 628"/>
                    <a:gd name="T66" fmla="*/ 524 w 734"/>
                    <a:gd name="T67" fmla="*/ 130 h 628"/>
                    <a:gd name="T68" fmla="*/ 572 w 734"/>
                    <a:gd name="T69" fmla="*/ 185 h 628"/>
                    <a:gd name="T70" fmla="*/ 589 w 734"/>
                    <a:gd name="T71" fmla="*/ 216 h 628"/>
                    <a:gd name="T72" fmla="*/ 618 w 734"/>
                    <a:gd name="T73" fmla="*/ 248 h 628"/>
                    <a:gd name="T74" fmla="*/ 639 w 734"/>
                    <a:gd name="T75" fmla="*/ 303 h 628"/>
                    <a:gd name="T76" fmla="*/ 528 w 734"/>
                    <a:gd name="T77" fmla="*/ 574 h 628"/>
                    <a:gd name="T78" fmla="*/ 562 w 734"/>
                    <a:gd name="T79" fmla="*/ 578 h 628"/>
                    <a:gd name="T80" fmla="*/ 547 w 734"/>
                    <a:gd name="T81" fmla="*/ 607 h 628"/>
                    <a:gd name="T82" fmla="*/ 524 w 734"/>
                    <a:gd name="T83" fmla="*/ 616 h 628"/>
                    <a:gd name="T84" fmla="*/ 507 w 734"/>
                    <a:gd name="T85" fmla="*/ 571 h 628"/>
                    <a:gd name="T86" fmla="*/ 393 w 734"/>
                    <a:gd name="T87" fmla="*/ 466 h 628"/>
                    <a:gd name="T88" fmla="*/ 641 w 734"/>
                    <a:gd name="T89" fmla="*/ 261 h 628"/>
                    <a:gd name="T90" fmla="*/ 492 w 734"/>
                    <a:gd name="T91" fmla="*/ 550 h 628"/>
                    <a:gd name="T92" fmla="*/ 4 w 734"/>
                    <a:gd name="T93" fmla="*/ 280 h 628"/>
                    <a:gd name="T94" fmla="*/ 532 w 734"/>
                    <a:gd name="T95" fmla="*/ 153 h 628"/>
                    <a:gd name="T96" fmla="*/ 515 w 734"/>
                    <a:gd name="T97" fmla="*/ 513 h 628"/>
                    <a:gd name="T98" fmla="*/ 559 w 734"/>
                    <a:gd name="T99" fmla="*/ 603 h 628"/>
                    <a:gd name="T100" fmla="*/ 507 w 734"/>
                    <a:gd name="T101" fmla="*/ 557 h 628"/>
                    <a:gd name="T102" fmla="*/ 4 w 734"/>
                    <a:gd name="T103" fmla="*/ 267 h 628"/>
                    <a:gd name="T104" fmla="*/ 562 w 734"/>
                    <a:gd name="T105" fmla="*/ 597 h 628"/>
                    <a:gd name="T106" fmla="*/ 377 w 734"/>
                    <a:gd name="T107" fmla="*/ 42 h 628"/>
                    <a:gd name="T108" fmla="*/ 498 w 734"/>
                    <a:gd name="T109" fmla="*/ 82 h 628"/>
                    <a:gd name="T110" fmla="*/ 374 w 734"/>
                    <a:gd name="T111" fmla="*/ 74 h 628"/>
                    <a:gd name="T112" fmla="*/ 368 w 734"/>
                    <a:gd name="T113" fmla="*/ 44 h 628"/>
                    <a:gd name="T114" fmla="*/ 576 w 734"/>
                    <a:gd name="T115" fmla="*/ 187 h 628"/>
                    <a:gd name="T116" fmla="*/ 509 w 734"/>
                    <a:gd name="T117" fmla="*/ 86 h 628"/>
                    <a:gd name="T118" fmla="*/ 379 w 734"/>
                    <a:gd name="T119" fmla="*/ 107 h 628"/>
                    <a:gd name="T120" fmla="*/ 377 w 734"/>
                    <a:gd name="T121" fmla="*/ 42 h 628"/>
                    <a:gd name="T122" fmla="*/ 585 w 734"/>
                    <a:gd name="T123" fmla="*/ 221 h 628"/>
                    <a:gd name="T124" fmla="*/ 570 w 734"/>
                    <a:gd name="T125" fmla="*/ 185 h 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34" h="628">
                      <a:moveTo>
                        <a:pt x="646" y="321"/>
                      </a:moveTo>
                      <a:lnTo>
                        <a:pt x="646" y="322"/>
                      </a:lnTo>
                      <a:lnTo>
                        <a:pt x="646" y="321"/>
                      </a:lnTo>
                      <a:lnTo>
                        <a:pt x="646" y="322"/>
                      </a:lnTo>
                      <a:lnTo>
                        <a:pt x="646" y="321"/>
                      </a:lnTo>
                      <a:lnTo>
                        <a:pt x="646" y="322"/>
                      </a:lnTo>
                      <a:lnTo>
                        <a:pt x="646" y="328"/>
                      </a:lnTo>
                      <a:lnTo>
                        <a:pt x="646" y="330"/>
                      </a:lnTo>
                      <a:lnTo>
                        <a:pt x="648" y="330"/>
                      </a:lnTo>
                      <a:lnTo>
                        <a:pt x="646" y="332"/>
                      </a:lnTo>
                      <a:lnTo>
                        <a:pt x="648" y="334"/>
                      </a:lnTo>
                      <a:lnTo>
                        <a:pt x="646" y="334"/>
                      </a:lnTo>
                      <a:lnTo>
                        <a:pt x="644" y="336"/>
                      </a:lnTo>
                      <a:lnTo>
                        <a:pt x="646" y="334"/>
                      </a:lnTo>
                      <a:lnTo>
                        <a:pt x="644" y="336"/>
                      </a:lnTo>
                      <a:lnTo>
                        <a:pt x="644" y="338"/>
                      </a:lnTo>
                      <a:lnTo>
                        <a:pt x="642" y="342"/>
                      </a:lnTo>
                      <a:lnTo>
                        <a:pt x="644" y="343"/>
                      </a:lnTo>
                      <a:lnTo>
                        <a:pt x="642" y="343"/>
                      </a:lnTo>
                      <a:lnTo>
                        <a:pt x="644" y="343"/>
                      </a:lnTo>
                      <a:lnTo>
                        <a:pt x="642" y="345"/>
                      </a:lnTo>
                      <a:lnTo>
                        <a:pt x="644" y="345"/>
                      </a:lnTo>
                      <a:lnTo>
                        <a:pt x="642" y="347"/>
                      </a:lnTo>
                      <a:lnTo>
                        <a:pt x="642" y="349"/>
                      </a:lnTo>
                      <a:lnTo>
                        <a:pt x="642" y="347"/>
                      </a:lnTo>
                      <a:lnTo>
                        <a:pt x="642" y="349"/>
                      </a:lnTo>
                      <a:lnTo>
                        <a:pt x="642" y="351"/>
                      </a:lnTo>
                      <a:lnTo>
                        <a:pt x="642" y="353"/>
                      </a:lnTo>
                      <a:lnTo>
                        <a:pt x="641" y="355"/>
                      </a:lnTo>
                      <a:lnTo>
                        <a:pt x="641" y="357"/>
                      </a:lnTo>
                      <a:lnTo>
                        <a:pt x="641" y="359"/>
                      </a:lnTo>
                      <a:lnTo>
                        <a:pt x="641" y="361"/>
                      </a:lnTo>
                      <a:lnTo>
                        <a:pt x="639" y="361"/>
                      </a:lnTo>
                      <a:lnTo>
                        <a:pt x="639" y="363"/>
                      </a:lnTo>
                      <a:lnTo>
                        <a:pt x="639" y="364"/>
                      </a:lnTo>
                      <a:lnTo>
                        <a:pt x="637" y="366"/>
                      </a:lnTo>
                      <a:lnTo>
                        <a:pt x="639" y="364"/>
                      </a:lnTo>
                      <a:lnTo>
                        <a:pt x="639" y="366"/>
                      </a:lnTo>
                      <a:lnTo>
                        <a:pt x="637" y="366"/>
                      </a:lnTo>
                      <a:lnTo>
                        <a:pt x="637" y="368"/>
                      </a:lnTo>
                      <a:lnTo>
                        <a:pt x="637" y="366"/>
                      </a:lnTo>
                      <a:lnTo>
                        <a:pt x="639" y="366"/>
                      </a:lnTo>
                      <a:lnTo>
                        <a:pt x="637" y="368"/>
                      </a:lnTo>
                      <a:lnTo>
                        <a:pt x="639" y="370"/>
                      </a:lnTo>
                      <a:lnTo>
                        <a:pt x="639" y="372"/>
                      </a:lnTo>
                      <a:lnTo>
                        <a:pt x="639" y="374"/>
                      </a:lnTo>
                      <a:lnTo>
                        <a:pt x="637" y="376"/>
                      </a:lnTo>
                      <a:lnTo>
                        <a:pt x="637" y="378"/>
                      </a:lnTo>
                      <a:lnTo>
                        <a:pt x="637" y="380"/>
                      </a:lnTo>
                      <a:lnTo>
                        <a:pt x="635" y="380"/>
                      </a:lnTo>
                      <a:lnTo>
                        <a:pt x="637" y="380"/>
                      </a:lnTo>
                      <a:lnTo>
                        <a:pt x="635" y="380"/>
                      </a:lnTo>
                      <a:lnTo>
                        <a:pt x="637" y="382"/>
                      </a:lnTo>
                      <a:lnTo>
                        <a:pt x="635" y="384"/>
                      </a:lnTo>
                      <a:lnTo>
                        <a:pt x="635" y="385"/>
                      </a:lnTo>
                      <a:lnTo>
                        <a:pt x="633" y="387"/>
                      </a:lnTo>
                      <a:lnTo>
                        <a:pt x="633" y="389"/>
                      </a:lnTo>
                      <a:lnTo>
                        <a:pt x="631" y="391"/>
                      </a:lnTo>
                      <a:lnTo>
                        <a:pt x="631" y="389"/>
                      </a:lnTo>
                      <a:lnTo>
                        <a:pt x="631" y="391"/>
                      </a:lnTo>
                      <a:lnTo>
                        <a:pt x="631" y="393"/>
                      </a:lnTo>
                      <a:lnTo>
                        <a:pt x="629" y="393"/>
                      </a:lnTo>
                      <a:lnTo>
                        <a:pt x="629" y="395"/>
                      </a:lnTo>
                      <a:lnTo>
                        <a:pt x="627" y="395"/>
                      </a:lnTo>
                      <a:lnTo>
                        <a:pt x="629" y="395"/>
                      </a:lnTo>
                      <a:lnTo>
                        <a:pt x="629" y="397"/>
                      </a:lnTo>
                      <a:lnTo>
                        <a:pt x="631" y="397"/>
                      </a:lnTo>
                      <a:lnTo>
                        <a:pt x="629" y="397"/>
                      </a:lnTo>
                      <a:lnTo>
                        <a:pt x="631" y="397"/>
                      </a:lnTo>
                      <a:lnTo>
                        <a:pt x="629" y="395"/>
                      </a:lnTo>
                      <a:lnTo>
                        <a:pt x="631" y="395"/>
                      </a:lnTo>
                      <a:lnTo>
                        <a:pt x="629" y="395"/>
                      </a:lnTo>
                      <a:lnTo>
                        <a:pt x="631" y="395"/>
                      </a:lnTo>
                      <a:lnTo>
                        <a:pt x="629" y="395"/>
                      </a:lnTo>
                      <a:lnTo>
                        <a:pt x="631" y="395"/>
                      </a:lnTo>
                      <a:lnTo>
                        <a:pt x="631" y="397"/>
                      </a:lnTo>
                      <a:lnTo>
                        <a:pt x="629" y="399"/>
                      </a:lnTo>
                      <a:lnTo>
                        <a:pt x="631" y="399"/>
                      </a:lnTo>
                      <a:lnTo>
                        <a:pt x="627" y="401"/>
                      </a:lnTo>
                      <a:lnTo>
                        <a:pt x="627" y="403"/>
                      </a:lnTo>
                      <a:lnTo>
                        <a:pt x="625" y="405"/>
                      </a:lnTo>
                      <a:lnTo>
                        <a:pt x="623" y="405"/>
                      </a:lnTo>
                      <a:lnTo>
                        <a:pt x="623" y="403"/>
                      </a:lnTo>
                      <a:lnTo>
                        <a:pt x="623" y="405"/>
                      </a:lnTo>
                      <a:lnTo>
                        <a:pt x="621" y="405"/>
                      </a:lnTo>
                      <a:lnTo>
                        <a:pt x="623" y="405"/>
                      </a:lnTo>
                      <a:lnTo>
                        <a:pt x="621" y="405"/>
                      </a:lnTo>
                      <a:lnTo>
                        <a:pt x="621" y="406"/>
                      </a:lnTo>
                      <a:lnTo>
                        <a:pt x="621" y="405"/>
                      </a:lnTo>
                      <a:lnTo>
                        <a:pt x="621" y="406"/>
                      </a:lnTo>
                      <a:lnTo>
                        <a:pt x="623" y="405"/>
                      </a:lnTo>
                      <a:lnTo>
                        <a:pt x="625" y="405"/>
                      </a:lnTo>
                      <a:lnTo>
                        <a:pt x="625" y="406"/>
                      </a:lnTo>
                      <a:lnTo>
                        <a:pt x="623" y="406"/>
                      </a:lnTo>
                      <a:lnTo>
                        <a:pt x="620" y="406"/>
                      </a:lnTo>
                      <a:lnTo>
                        <a:pt x="620" y="408"/>
                      </a:lnTo>
                      <a:lnTo>
                        <a:pt x="618" y="408"/>
                      </a:lnTo>
                      <a:lnTo>
                        <a:pt x="620" y="406"/>
                      </a:lnTo>
                      <a:lnTo>
                        <a:pt x="618" y="406"/>
                      </a:lnTo>
                      <a:lnTo>
                        <a:pt x="618" y="408"/>
                      </a:lnTo>
                      <a:lnTo>
                        <a:pt x="618" y="406"/>
                      </a:lnTo>
                      <a:lnTo>
                        <a:pt x="618" y="408"/>
                      </a:lnTo>
                      <a:lnTo>
                        <a:pt x="620" y="408"/>
                      </a:lnTo>
                      <a:lnTo>
                        <a:pt x="618" y="410"/>
                      </a:lnTo>
                      <a:lnTo>
                        <a:pt x="616" y="412"/>
                      </a:lnTo>
                      <a:lnTo>
                        <a:pt x="616" y="410"/>
                      </a:lnTo>
                      <a:lnTo>
                        <a:pt x="616" y="412"/>
                      </a:lnTo>
                      <a:lnTo>
                        <a:pt x="616" y="410"/>
                      </a:lnTo>
                      <a:lnTo>
                        <a:pt x="616" y="412"/>
                      </a:lnTo>
                      <a:lnTo>
                        <a:pt x="614" y="412"/>
                      </a:lnTo>
                      <a:lnTo>
                        <a:pt x="616" y="412"/>
                      </a:lnTo>
                      <a:lnTo>
                        <a:pt x="614" y="412"/>
                      </a:lnTo>
                      <a:lnTo>
                        <a:pt x="614" y="414"/>
                      </a:lnTo>
                      <a:lnTo>
                        <a:pt x="614" y="412"/>
                      </a:lnTo>
                      <a:lnTo>
                        <a:pt x="616" y="414"/>
                      </a:lnTo>
                      <a:lnTo>
                        <a:pt x="614" y="412"/>
                      </a:lnTo>
                      <a:lnTo>
                        <a:pt x="616" y="412"/>
                      </a:lnTo>
                      <a:lnTo>
                        <a:pt x="616" y="414"/>
                      </a:lnTo>
                      <a:lnTo>
                        <a:pt x="616" y="412"/>
                      </a:lnTo>
                      <a:lnTo>
                        <a:pt x="616" y="414"/>
                      </a:lnTo>
                      <a:lnTo>
                        <a:pt x="616" y="416"/>
                      </a:lnTo>
                      <a:lnTo>
                        <a:pt x="614" y="416"/>
                      </a:lnTo>
                      <a:lnTo>
                        <a:pt x="616" y="414"/>
                      </a:lnTo>
                      <a:lnTo>
                        <a:pt x="614" y="414"/>
                      </a:lnTo>
                      <a:lnTo>
                        <a:pt x="616" y="414"/>
                      </a:lnTo>
                      <a:lnTo>
                        <a:pt x="614" y="414"/>
                      </a:lnTo>
                      <a:lnTo>
                        <a:pt x="614" y="416"/>
                      </a:lnTo>
                      <a:lnTo>
                        <a:pt x="612" y="416"/>
                      </a:lnTo>
                      <a:lnTo>
                        <a:pt x="614" y="416"/>
                      </a:lnTo>
                      <a:lnTo>
                        <a:pt x="614" y="418"/>
                      </a:lnTo>
                      <a:lnTo>
                        <a:pt x="614" y="416"/>
                      </a:lnTo>
                      <a:lnTo>
                        <a:pt x="614" y="418"/>
                      </a:lnTo>
                      <a:lnTo>
                        <a:pt x="614" y="420"/>
                      </a:lnTo>
                      <a:lnTo>
                        <a:pt x="612" y="420"/>
                      </a:lnTo>
                      <a:lnTo>
                        <a:pt x="614" y="420"/>
                      </a:lnTo>
                      <a:lnTo>
                        <a:pt x="612" y="420"/>
                      </a:lnTo>
                      <a:lnTo>
                        <a:pt x="612" y="418"/>
                      </a:lnTo>
                      <a:lnTo>
                        <a:pt x="612" y="420"/>
                      </a:lnTo>
                      <a:lnTo>
                        <a:pt x="612" y="418"/>
                      </a:lnTo>
                      <a:lnTo>
                        <a:pt x="610" y="418"/>
                      </a:lnTo>
                      <a:lnTo>
                        <a:pt x="612" y="418"/>
                      </a:lnTo>
                      <a:lnTo>
                        <a:pt x="612" y="420"/>
                      </a:lnTo>
                      <a:lnTo>
                        <a:pt x="610" y="420"/>
                      </a:lnTo>
                      <a:lnTo>
                        <a:pt x="612" y="420"/>
                      </a:lnTo>
                      <a:lnTo>
                        <a:pt x="610" y="420"/>
                      </a:lnTo>
                      <a:lnTo>
                        <a:pt x="612" y="420"/>
                      </a:lnTo>
                      <a:lnTo>
                        <a:pt x="610" y="420"/>
                      </a:lnTo>
                      <a:lnTo>
                        <a:pt x="610" y="422"/>
                      </a:lnTo>
                      <a:lnTo>
                        <a:pt x="610" y="420"/>
                      </a:lnTo>
                      <a:lnTo>
                        <a:pt x="608" y="420"/>
                      </a:lnTo>
                      <a:lnTo>
                        <a:pt x="610" y="420"/>
                      </a:lnTo>
                      <a:lnTo>
                        <a:pt x="608" y="420"/>
                      </a:lnTo>
                      <a:lnTo>
                        <a:pt x="608" y="418"/>
                      </a:lnTo>
                      <a:lnTo>
                        <a:pt x="608" y="420"/>
                      </a:lnTo>
                      <a:lnTo>
                        <a:pt x="608" y="418"/>
                      </a:lnTo>
                      <a:lnTo>
                        <a:pt x="606" y="418"/>
                      </a:lnTo>
                      <a:lnTo>
                        <a:pt x="606" y="420"/>
                      </a:lnTo>
                      <a:lnTo>
                        <a:pt x="606" y="418"/>
                      </a:lnTo>
                      <a:lnTo>
                        <a:pt x="608" y="420"/>
                      </a:lnTo>
                      <a:lnTo>
                        <a:pt x="608" y="422"/>
                      </a:lnTo>
                      <a:lnTo>
                        <a:pt x="608" y="420"/>
                      </a:lnTo>
                      <a:lnTo>
                        <a:pt x="610" y="420"/>
                      </a:lnTo>
                      <a:lnTo>
                        <a:pt x="610" y="422"/>
                      </a:lnTo>
                      <a:lnTo>
                        <a:pt x="608" y="422"/>
                      </a:lnTo>
                      <a:lnTo>
                        <a:pt x="610" y="422"/>
                      </a:lnTo>
                      <a:lnTo>
                        <a:pt x="608" y="422"/>
                      </a:lnTo>
                      <a:lnTo>
                        <a:pt x="608" y="424"/>
                      </a:lnTo>
                      <a:lnTo>
                        <a:pt x="608" y="422"/>
                      </a:lnTo>
                      <a:lnTo>
                        <a:pt x="610" y="424"/>
                      </a:lnTo>
                      <a:lnTo>
                        <a:pt x="610" y="422"/>
                      </a:lnTo>
                      <a:lnTo>
                        <a:pt x="608" y="422"/>
                      </a:lnTo>
                      <a:lnTo>
                        <a:pt x="610" y="422"/>
                      </a:lnTo>
                      <a:lnTo>
                        <a:pt x="610" y="424"/>
                      </a:lnTo>
                      <a:lnTo>
                        <a:pt x="610" y="422"/>
                      </a:lnTo>
                      <a:lnTo>
                        <a:pt x="610" y="424"/>
                      </a:lnTo>
                      <a:lnTo>
                        <a:pt x="610" y="422"/>
                      </a:lnTo>
                      <a:lnTo>
                        <a:pt x="612" y="422"/>
                      </a:lnTo>
                      <a:lnTo>
                        <a:pt x="610" y="424"/>
                      </a:lnTo>
                      <a:lnTo>
                        <a:pt x="610" y="426"/>
                      </a:lnTo>
                      <a:lnTo>
                        <a:pt x="610" y="427"/>
                      </a:lnTo>
                      <a:lnTo>
                        <a:pt x="610" y="426"/>
                      </a:lnTo>
                      <a:lnTo>
                        <a:pt x="610" y="427"/>
                      </a:lnTo>
                      <a:lnTo>
                        <a:pt x="608" y="426"/>
                      </a:lnTo>
                      <a:lnTo>
                        <a:pt x="606" y="426"/>
                      </a:lnTo>
                      <a:lnTo>
                        <a:pt x="608" y="426"/>
                      </a:lnTo>
                      <a:lnTo>
                        <a:pt x="606" y="426"/>
                      </a:lnTo>
                      <a:lnTo>
                        <a:pt x="608" y="426"/>
                      </a:lnTo>
                      <a:lnTo>
                        <a:pt x="608" y="427"/>
                      </a:lnTo>
                      <a:lnTo>
                        <a:pt x="608" y="426"/>
                      </a:lnTo>
                      <a:lnTo>
                        <a:pt x="608" y="427"/>
                      </a:lnTo>
                      <a:lnTo>
                        <a:pt x="608" y="426"/>
                      </a:lnTo>
                      <a:lnTo>
                        <a:pt x="608" y="427"/>
                      </a:lnTo>
                      <a:lnTo>
                        <a:pt x="608" y="426"/>
                      </a:lnTo>
                      <a:lnTo>
                        <a:pt x="608" y="427"/>
                      </a:lnTo>
                      <a:lnTo>
                        <a:pt x="610" y="427"/>
                      </a:lnTo>
                      <a:lnTo>
                        <a:pt x="610" y="426"/>
                      </a:lnTo>
                      <a:lnTo>
                        <a:pt x="610" y="427"/>
                      </a:lnTo>
                      <a:lnTo>
                        <a:pt x="610" y="429"/>
                      </a:lnTo>
                      <a:lnTo>
                        <a:pt x="608" y="429"/>
                      </a:lnTo>
                      <a:lnTo>
                        <a:pt x="610" y="429"/>
                      </a:lnTo>
                      <a:lnTo>
                        <a:pt x="608" y="429"/>
                      </a:lnTo>
                      <a:lnTo>
                        <a:pt x="608" y="427"/>
                      </a:lnTo>
                      <a:lnTo>
                        <a:pt x="608" y="429"/>
                      </a:lnTo>
                      <a:lnTo>
                        <a:pt x="606" y="429"/>
                      </a:lnTo>
                      <a:lnTo>
                        <a:pt x="606" y="427"/>
                      </a:lnTo>
                      <a:lnTo>
                        <a:pt x="606" y="429"/>
                      </a:lnTo>
                      <a:lnTo>
                        <a:pt x="608" y="429"/>
                      </a:lnTo>
                      <a:lnTo>
                        <a:pt x="606" y="429"/>
                      </a:lnTo>
                      <a:lnTo>
                        <a:pt x="608" y="429"/>
                      </a:lnTo>
                      <a:lnTo>
                        <a:pt x="610" y="429"/>
                      </a:lnTo>
                      <a:lnTo>
                        <a:pt x="608" y="429"/>
                      </a:lnTo>
                      <a:lnTo>
                        <a:pt x="608" y="431"/>
                      </a:lnTo>
                      <a:lnTo>
                        <a:pt x="608" y="429"/>
                      </a:lnTo>
                      <a:lnTo>
                        <a:pt x="608" y="431"/>
                      </a:lnTo>
                      <a:lnTo>
                        <a:pt x="608" y="429"/>
                      </a:lnTo>
                      <a:lnTo>
                        <a:pt x="606" y="431"/>
                      </a:lnTo>
                      <a:lnTo>
                        <a:pt x="608" y="431"/>
                      </a:lnTo>
                      <a:lnTo>
                        <a:pt x="606" y="431"/>
                      </a:lnTo>
                      <a:lnTo>
                        <a:pt x="608" y="431"/>
                      </a:lnTo>
                      <a:lnTo>
                        <a:pt x="606" y="431"/>
                      </a:lnTo>
                      <a:lnTo>
                        <a:pt x="608" y="431"/>
                      </a:lnTo>
                      <a:lnTo>
                        <a:pt x="606" y="433"/>
                      </a:lnTo>
                      <a:lnTo>
                        <a:pt x="604" y="435"/>
                      </a:lnTo>
                      <a:lnTo>
                        <a:pt x="604" y="437"/>
                      </a:lnTo>
                      <a:lnTo>
                        <a:pt x="604" y="439"/>
                      </a:lnTo>
                      <a:lnTo>
                        <a:pt x="602" y="439"/>
                      </a:lnTo>
                      <a:lnTo>
                        <a:pt x="602" y="441"/>
                      </a:lnTo>
                      <a:lnTo>
                        <a:pt x="604" y="439"/>
                      </a:lnTo>
                      <a:lnTo>
                        <a:pt x="604" y="441"/>
                      </a:lnTo>
                      <a:lnTo>
                        <a:pt x="604" y="443"/>
                      </a:lnTo>
                      <a:lnTo>
                        <a:pt x="602" y="445"/>
                      </a:lnTo>
                      <a:lnTo>
                        <a:pt x="602" y="446"/>
                      </a:lnTo>
                      <a:lnTo>
                        <a:pt x="601" y="446"/>
                      </a:lnTo>
                      <a:lnTo>
                        <a:pt x="602" y="446"/>
                      </a:lnTo>
                      <a:lnTo>
                        <a:pt x="602" y="448"/>
                      </a:lnTo>
                      <a:lnTo>
                        <a:pt x="604" y="448"/>
                      </a:lnTo>
                      <a:lnTo>
                        <a:pt x="602" y="450"/>
                      </a:lnTo>
                      <a:lnTo>
                        <a:pt x="602" y="448"/>
                      </a:lnTo>
                      <a:lnTo>
                        <a:pt x="601" y="448"/>
                      </a:lnTo>
                      <a:lnTo>
                        <a:pt x="601" y="450"/>
                      </a:lnTo>
                      <a:lnTo>
                        <a:pt x="601" y="448"/>
                      </a:lnTo>
                      <a:lnTo>
                        <a:pt x="601" y="450"/>
                      </a:lnTo>
                      <a:lnTo>
                        <a:pt x="602" y="452"/>
                      </a:lnTo>
                      <a:lnTo>
                        <a:pt x="602" y="450"/>
                      </a:lnTo>
                      <a:lnTo>
                        <a:pt x="602" y="452"/>
                      </a:lnTo>
                      <a:lnTo>
                        <a:pt x="601" y="452"/>
                      </a:lnTo>
                      <a:lnTo>
                        <a:pt x="599" y="452"/>
                      </a:lnTo>
                      <a:lnTo>
                        <a:pt x="599" y="454"/>
                      </a:lnTo>
                      <a:lnTo>
                        <a:pt x="597" y="454"/>
                      </a:lnTo>
                      <a:lnTo>
                        <a:pt x="599" y="454"/>
                      </a:lnTo>
                      <a:lnTo>
                        <a:pt x="597" y="456"/>
                      </a:lnTo>
                      <a:lnTo>
                        <a:pt x="599" y="456"/>
                      </a:lnTo>
                      <a:lnTo>
                        <a:pt x="597" y="456"/>
                      </a:lnTo>
                      <a:lnTo>
                        <a:pt x="597" y="458"/>
                      </a:lnTo>
                      <a:lnTo>
                        <a:pt x="597" y="460"/>
                      </a:lnTo>
                      <a:lnTo>
                        <a:pt x="595" y="460"/>
                      </a:lnTo>
                      <a:lnTo>
                        <a:pt x="595" y="462"/>
                      </a:lnTo>
                      <a:lnTo>
                        <a:pt x="595" y="464"/>
                      </a:lnTo>
                      <a:lnTo>
                        <a:pt x="593" y="462"/>
                      </a:lnTo>
                      <a:lnTo>
                        <a:pt x="591" y="462"/>
                      </a:lnTo>
                      <a:lnTo>
                        <a:pt x="593" y="464"/>
                      </a:lnTo>
                      <a:lnTo>
                        <a:pt x="593" y="462"/>
                      </a:lnTo>
                      <a:lnTo>
                        <a:pt x="593" y="464"/>
                      </a:lnTo>
                      <a:lnTo>
                        <a:pt x="593" y="466"/>
                      </a:lnTo>
                      <a:lnTo>
                        <a:pt x="591" y="466"/>
                      </a:lnTo>
                      <a:lnTo>
                        <a:pt x="593" y="466"/>
                      </a:lnTo>
                      <a:lnTo>
                        <a:pt x="593" y="467"/>
                      </a:lnTo>
                      <a:lnTo>
                        <a:pt x="593" y="469"/>
                      </a:lnTo>
                      <a:lnTo>
                        <a:pt x="591" y="469"/>
                      </a:lnTo>
                      <a:lnTo>
                        <a:pt x="593" y="469"/>
                      </a:lnTo>
                      <a:lnTo>
                        <a:pt x="593" y="471"/>
                      </a:lnTo>
                      <a:lnTo>
                        <a:pt x="591" y="471"/>
                      </a:lnTo>
                      <a:lnTo>
                        <a:pt x="593" y="471"/>
                      </a:lnTo>
                      <a:lnTo>
                        <a:pt x="593" y="473"/>
                      </a:lnTo>
                      <a:lnTo>
                        <a:pt x="591" y="473"/>
                      </a:lnTo>
                      <a:lnTo>
                        <a:pt x="591" y="471"/>
                      </a:lnTo>
                      <a:lnTo>
                        <a:pt x="591" y="473"/>
                      </a:lnTo>
                      <a:lnTo>
                        <a:pt x="591" y="471"/>
                      </a:lnTo>
                      <a:lnTo>
                        <a:pt x="591" y="473"/>
                      </a:lnTo>
                      <a:lnTo>
                        <a:pt x="593" y="473"/>
                      </a:lnTo>
                      <a:lnTo>
                        <a:pt x="591" y="473"/>
                      </a:lnTo>
                      <a:lnTo>
                        <a:pt x="593" y="475"/>
                      </a:lnTo>
                      <a:lnTo>
                        <a:pt x="591" y="475"/>
                      </a:lnTo>
                      <a:lnTo>
                        <a:pt x="591" y="477"/>
                      </a:lnTo>
                      <a:lnTo>
                        <a:pt x="591" y="479"/>
                      </a:lnTo>
                      <a:lnTo>
                        <a:pt x="589" y="481"/>
                      </a:lnTo>
                      <a:lnTo>
                        <a:pt x="589" y="483"/>
                      </a:lnTo>
                      <a:lnTo>
                        <a:pt x="589" y="485"/>
                      </a:lnTo>
                      <a:lnTo>
                        <a:pt x="589" y="487"/>
                      </a:lnTo>
                      <a:lnTo>
                        <a:pt x="589" y="488"/>
                      </a:lnTo>
                      <a:lnTo>
                        <a:pt x="589" y="490"/>
                      </a:lnTo>
                      <a:lnTo>
                        <a:pt x="589" y="488"/>
                      </a:lnTo>
                      <a:lnTo>
                        <a:pt x="587" y="490"/>
                      </a:lnTo>
                      <a:lnTo>
                        <a:pt x="589" y="490"/>
                      </a:lnTo>
                      <a:lnTo>
                        <a:pt x="591" y="490"/>
                      </a:lnTo>
                      <a:lnTo>
                        <a:pt x="591" y="492"/>
                      </a:lnTo>
                      <a:lnTo>
                        <a:pt x="589" y="492"/>
                      </a:lnTo>
                      <a:lnTo>
                        <a:pt x="589" y="494"/>
                      </a:lnTo>
                      <a:lnTo>
                        <a:pt x="589" y="496"/>
                      </a:lnTo>
                      <a:lnTo>
                        <a:pt x="589" y="498"/>
                      </a:lnTo>
                      <a:lnTo>
                        <a:pt x="587" y="500"/>
                      </a:lnTo>
                      <a:lnTo>
                        <a:pt x="587" y="498"/>
                      </a:lnTo>
                      <a:lnTo>
                        <a:pt x="585" y="498"/>
                      </a:lnTo>
                      <a:lnTo>
                        <a:pt x="585" y="500"/>
                      </a:lnTo>
                      <a:lnTo>
                        <a:pt x="587" y="500"/>
                      </a:lnTo>
                      <a:lnTo>
                        <a:pt x="585" y="500"/>
                      </a:lnTo>
                      <a:lnTo>
                        <a:pt x="585" y="502"/>
                      </a:lnTo>
                      <a:lnTo>
                        <a:pt x="583" y="502"/>
                      </a:lnTo>
                      <a:lnTo>
                        <a:pt x="581" y="504"/>
                      </a:lnTo>
                      <a:lnTo>
                        <a:pt x="580" y="504"/>
                      </a:lnTo>
                      <a:lnTo>
                        <a:pt x="578" y="504"/>
                      </a:lnTo>
                      <a:lnTo>
                        <a:pt x="576" y="504"/>
                      </a:lnTo>
                      <a:lnTo>
                        <a:pt x="574" y="504"/>
                      </a:lnTo>
                      <a:lnTo>
                        <a:pt x="572" y="504"/>
                      </a:lnTo>
                      <a:lnTo>
                        <a:pt x="570" y="504"/>
                      </a:lnTo>
                      <a:lnTo>
                        <a:pt x="566" y="504"/>
                      </a:lnTo>
                      <a:lnTo>
                        <a:pt x="568" y="504"/>
                      </a:lnTo>
                      <a:lnTo>
                        <a:pt x="566" y="504"/>
                      </a:lnTo>
                      <a:lnTo>
                        <a:pt x="564" y="504"/>
                      </a:lnTo>
                      <a:lnTo>
                        <a:pt x="562" y="504"/>
                      </a:lnTo>
                      <a:lnTo>
                        <a:pt x="557" y="506"/>
                      </a:lnTo>
                      <a:lnTo>
                        <a:pt x="555" y="508"/>
                      </a:lnTo>
                      <a:lnTo>
                        <a:pt x="549" y="511"/>
                      </a:lnTo>
                      <a:lnTo>
                        <a:pt x="541" y="521"/>
                      </a:lnTo>
                      <a:lnTo>
                        <a:pt x="539" y="521"/>
                      </a:lnTo>
                      <a:lnTo>
                        <a:pt x="538" y="521"/>
                      </a:lnTo>
                      <a:lnTo>
                        <a:pt x="536" y="521"/>
                      </a:lnTo>
                      <a:lnTo>
                        <a:pt x="536" y="523"/>
                      </a:lnTo>
                      <a:lnTo>
                        <a:pt x="536" y="521"/>
                      </a:lnTo>
                      <a:lnTo>
                        <a:pt x="536" y="523"/>
                      </a:lnTo>
                      <a:lnTo>
                        <a:pt x="536" y="521"/>
                      </a:lnTo>
                      <a:lnTo>
                        <a:pt x="536" y="523"/>
                      </a:lnTo>
                      <a:lnTo>
                        <a:pt x="534" y="523"/>
                      </a:lnTo>
                      <a:lnTo>
                        <a:pt x="534" y="521"/>
                      </a:lnTo>
                      <a:lnTo>
                        <a:pt x="534" y="523"/>
                      </a:lnTo>
                      <a:lnTo>
                        <a:pt x="532" y="523"/>
                      </a:lnTo>
                      <a:lnTo>
                        <a:pt x="532" y="521"/>
                      </a:lnTo>
                      <a:lnTo>
                        <a:pt x="532" y="523"/>
                      </a:lnTo>
                      <a:lnTo>
                        <a:pt x="530" y="523"/>
                      </a:lnTo>
                      <a:lnTo>
                        <a:pt x="530" y="525"/>
                      </a:lnTo>
                      <a:lnTo>
                        <a:pt x="532" y="527"/>
                      </a:lnTo>
                      <a:lnTo>
                        <a:pt x="534" y="525"/>
                      </a:lnTo>
                      <a:lnTo>
                        <a:pt x="534" y="527"/>
                      </a:lnTo>
                      <a:lnTo>
                        <a:pt x="534" y="529"/>
                      </a:lnTo>
                      <a:lnTo>
                        <a:pt x="534" y="530"/>
                      </a:lnTo>
                      <a:lnTo>
                        <a:pt x="532" y="530"/>
                      </a:lnTo>
                      <a:lnTo>
                        <a:pt x="532" y="529"/>
                      </a:lnTo>
                      <a:lnTo>
                        <a:pt x="530" y="529"/>
                      </a:lnTo>
                      <a:lnTo>
                        <a:pt x="530" y="525"/>
                      </a:lnTo>
                      <a:lnTo>
                        <a:pt x="528" y="525"/>
                      </a:lnTo>
                      <a:lnTo>
                        <a:pt x="530" y="527"/>
                      </a:lnTo>
                      <a:lnTo>
                        <a:pt x="528" y="525"/>
                      </a:lnTo>
                      <a:lnTo>
                        <a:pt x="526" y="525"/>
                      </a:lnTo>
                      <a:lnTo>
                        <a:pt x="526" y="527"/>
                      </a:lnTo>
                      <a:lnTo>
                        <a:pt x="524" y="527"/>
                      </a:lnTo>
                      <a:lnTo>
                        <a:pt x="524" y="523"/>
                      </a:lnTo>
                      <a:lnTo>
                        <a:pt x="522" y="521"/>
                      </a:lnTo>
                      <a:lnTo>
                        <a:pt x="524" y="523"/>
                      </a:lnTo>
                      <a:lnTo>
                        <a:pt x="524" y="521"/>
                      </a:lnTo>
                      <a:lnTo>
                        <a:pt x="522" y="521"/>
                      </a:lnTo>
                      <a:lnTo>
                        <a:pt x="520" y="521"/>
                      </a:lnTo>
                      <a:lnTo>
                        <a:pt x="520" y="523"/>
                      </a:lnTo>
                      <a:lnTo>
                        <a:pt x="519" y="521"/>
                      </a:lnTo>
                      <a:lnTo>
                        <a:pt x="519" y="519"/>
                      </a:lnTo>
                      <a:lnTo>
                        <a:pt x="517" y="519"/>
                      </a:lnTo>
                      <a:lnTo>
                        <a:pt x="517" y="517"/>
                      </a:lnTo>
                      <a:lnTo>
                        <a:pt x="519" y="517"/>
                      </a:lnTo>
                      <a:lnTo>
                        <a:pt x="519" y="515"/>
                      </a:lnTo>
                      <a:lnTo>
                        <a:pt x="519" y="513"/>
                      </a:lnTo>
                      <a:lnTo>
                        <a:pt x="517" y="513"/>
                      </a:lnTo>
                      <a:lnTo>
                        <a:pt x="517" y="511"/>
                      </a:lnTo>
                      <a:lnTo>
                        <a:pt x="517" y="513"/>
                      </a:lnTo>
                      <a:lnTo>
                        <a:pt x="515" y="513"/>
                      </a:lnTo>
                      <a:lnTo>
                        <a:pt x="515" y="511"/>
                      </a:lnTo>
                      <a:lnTo>
                        <a:pt x="515" y="513"/>
                      </a:lnTo>
                      <a:lnTo>
                        <a:pt x="515" y="515"/>
                      </a:lnTo>
                      <a:lnTo>
                        <a:pt x="513" y="513"/>
                      </a:lnTo>
                      <a:lnTo>
                        <a:pt x="515" y="515"/>
                      </a:lnTo>
                      <a:lnTo>
                        <a:pt x="513" y="515"/>
                      </a:lnTo>
                      <a:lnTo>
                        <a:pt x="515" y="515"/>
                      </a:lnTo>
                      <a:lnTo>
                        <a:pt x="515" y="517"/>
                      </a:lnTo>
                      <a:lnTo>
                        <a:pt x="513" y="515"/>
                      </a:lnTo>
                      <a:lnTo>
                        <a:pt x="511" y="517"/>
                      </a:lnTo>
                      <a:lnTo>
                        <a:pt x="509" y="519"/>
                      </a:lnTo>
                      <a:lnTo>
                        <a:pt x="509" y="517"/>
                      </a:lnTo>
                      <a:lnTo>
                        <a:pt x="509" y="519"/>
                      </a:lnTo>
                      <a:lnTo>
                        <a:pt x="509" y="517"/>
                      </a:lnTo>
                      <a:lnTo>
                        <a:pt x="507" y="517"/>
                      </a:lnTo>
                      <a:lnTo>
                        <a:pt x="507" y="515"/>
                      </a:lnTo>
                      <a:lnTo>
                        <a:pt x="505" y="513"/>
                      </a:lnTo>
                      <a:lnTo>
                        <a:pt x="507" y="515"/>
                      </a:lnTo>
                      <a:lnTo>
                        <a:pt x="509" y="515"/>
                      </a:lnTo>
                      <a:lnTo>
                        <a:pt x="511" y="515"/>
                      </a:lnTo>
                      <a:lnTo>
                        <a:pt x="511" y="513"/>
                      </a:lnTo>
                      <a:lnTo>
                        <a:pt x="513" y="511"/>
                      </a:lnTo>
                      <a:lnTo>
                        <a:pt x="513" y="509"/>
                      </a:lnTo>
                      <a:lnTo>
                        <a:pt x="511" y="508"/>
                      </a:lnTo>
                      <a:lnTo>
                        <a:pt x="511" y="506"/>
                      </a:lnTo>
                      <a:lnTo>
                        <a:pt x="509" y="506"/>
                      </a:lnTo>
                      <a:lnTo>
                        <a:pt x="509" y="504"/>
                      </a:lnTo>
                      <a:lnTo>
                        <a:pt x="509" y="506"/>
                      </a:lnTo>
                      <a:lnTo>
                        <a:pt x="507" y="506"/>
                      </a:lnTo>
                      <a:lnTo>
                        <a:pt x="507" y="508"/>
                      </a:lnTo>
                      <a:lnTo>
                        <a:pt x="505" y="508"/>
                      </a:lnTo>
                      <a:lnTo>
                        <a:pt x="503" y="508"/>
                      </a:lnTo>
                      <a:lnTo>
                        <a:pt x="503" y="509"/>
                      </a:lnTo>
                      <a:lnTo>
                        <a:pt x="501" y="509"/>
                      </a:lnTo>
                      <a:lnTo>
                        <a:pt x="499" y="509"/>
                      </a:lnTo>
                      <a:lnTo>
                        <a:pt x="499" y="511"/>
                      </a:lnTo>
                      <a:lnTo>
                        <a:pt x="501" y="511"/>
                      </a:lnTo>
                      <a:lnTo>
                        <a:pt x="503" y="511"/>
                      </a:lnTo>
                      <a:lnTo>
                        <a:pt x="505" y="509"/>
                      </a:lnTo>
                      <a:lnTo>
                        <a:pt x="505" y="511"/>
                      </a:lnTo>
                      <a:lnTo>
                        <a:pt x="505" y="513"/>
                      </a:lnTo>
                      <a:lnTo>
                        <a:pt x="505" y="511"/>
                      </a:lnTo>
                      <a:lnTo>
                        <a:pt x="505" y="513"/>
                      </a:lnTo>
                      <a:lnTo>
                        <a:pt x="503" y="513"/>
                      </a:lnTo>
                      <a:lnTo>
                        <a:pt x="501" y="513"/>
                      </a:lnTo>
                      <a:lnTo>
                        <a:pt x="499" y="515"/>
                      </a:lnTo>
                      <a:lnTo>
                        <a:pt x="498" y="517"/>
                      </a:lnTo>
                      <a:lnTo>
                        <a:pt x="496" y="517"/>
                      </a:lnTo>
                      <a:lnTo>
                        <a:pt x="494" y="519"/>
                      </a:lnTo>
                      <a:lnTo>
                        <a:pt x="494" y="521"/>
                      </a:lnTo>
                      <a:lnTo>
                        <a:pt x="492" y="521"/>
                      </a:lnTo>
                      <a:lnTo>
                        <a:pt x="492" y="523"/>
                      </a:lnTo>
                      <a:lnTo>
                        <a:pt x="490" y="523"/>
                      </a:lnTo>
                      <a:lnTo>
                        <a:pt x="490" y="525"/>
                      </a:lnTo>
                      <a:lnTo>
                        <a:pt x="488" y="525"/>
                      </a:lnTo>
                      <a:lnTo>
                        <a:pt x="486" y="525"/>
                      </a:lnTo>
                      <a:lnTo>
                        <a:pt x="484" y="523"/>
                      </a:lnTo>
                      <a:lnTo>
                        <a:pt x="482" y="523"/>
                      </a:lnTo>
                      <a:lnTo>
                        <a:pt x="480" y="521"/>
                      </a:lnTo>
                      <a:lnTo>
                        <a:pt x="478" y="521"/>
                      </a:lnTo>
                      <a:lnTo>
                        <a:pt x="477" y="521"/>
                      </a:lnTo>
                      <a:lnTo>
                        <a:pt x="477" y="519"/>
                      </a:lnTo>
                      <a:lnTo>
                        <a:pt x="477" y="521"/>
                      </a:lnTo>
                      <a:lnTo>
                        <a:pt x="471" y="517"/>
                      </a:lnTo>
                      <a:lnTo>
                        <a:pt x="471" y="515"/>
                      </a:lnTo>
                      <a:lnTo>
                        <a:pt x="471" y="517"/>
                      </a:lnTo>
                      <a:lnTo>
                        <a:pt x="469" y="515"/>
                      </a:lnTo>
                      <a:lnTo>
                        <a:pt x="467" y="515"/>
                      </a:lnTo>
                      <a:lnTo>
                        <a:pt x="465" y="515"/>
                      </a:lnTo>
                      <a:lnTo>
                        <a:pt x="463" y="515"/>
                      </a:lnTo>
                      <a:lnTo>
                        <a:pt x="461" y="513"/>
                      </a:lnTo>
                      <a:lnTo>
                        <a:pt x="459" y="513"/>
                      </a:lnTo>
                      <a:lnTo>
                        <a:pt x="458" y="513"/>
                      </a:lnTo>
                      <a:lnTo>
                        <a:pt x="456" y="515"/>
                      </a:lnTo>
                      <a:lnTo>
                        <a:pt x="458" y="515"/>
                      </a:lnTo>
                      <a:lnTo>
                        <a:pt x="456" y="515"/>
                      </a:lnTo>
                      <a:lnTo>
                        <a:pt x="458" y="515"/>
                      </a:lnTo>
                      <a:lnTo>
                        <a:pt x="458" y="517"/>
                      </a:lnTo>
                      <a:lnTo>
                        <a:pt x="458" y="515"/>
                      </a:lnTo>
                      <a:lnTo>
                        <a:pt x="456" y="515"/>
                      </a:lnTo>
                      <a:lnTo>
                        <a:pt x="456" y="517"/>
                      </a:lnTo>
                      <a:lnTo>
                        <a:pt x="456" y="515"/>
                      </a:lnTo>
                      <a:lnTo>
                        <a:pt x="454" y="515"/>
                      </a:lnTo>
                      <a:lnTo>
                        <a:pt x="452" y="515"/>
                      </a:lnTo>
                      <a:lnTo>
                        <a:pt x="454" y="515"/>
                      </a:lnTo>
                      <a:lnTo>
                        <a:pt x="452" y="513"/>
                      </a:lnTo>
                      <a:lnTo>
                        <a:pt x="450" y="511"/>
                      </a:lnTo>
                      <a:lnTo>
                        <a:pt x="448" y="509"/>
                      </a:lnTo>
                      <a:lnTo>
                        <a:pt x="446" y="509"/>
                      </a:lnTo>
                      <a:lnTo>
                        <a:pt x="444" y="509"/>
                      </a:lnTo>
                      <a:lnTo>
                        <a:pt x="442" y="509"/>
                      </a:lnTo>
                      <a:lnTo>
                        <a:pt x="440" y="509"/>
                      </a:lnTo>
                      <a:lnTo>
                        <a:pt x="440" y="508"/>
                      </a:lnTo>
                      <a:lnTo>
                        <a:pt x="438" y="508"/>
                      </a:lnTo>
                      <a:lnTo>
                        <a:pt x="437" y="506"/>
                      </a:lnTo>
                      <a:lnTo>
                        <a:pt x="435" y="502"/>
                      </a:lnTo>
                      <a:lnTo>
                        <a:pt x="435" y="500"/>
                      </a:lnTo>
                      <a:lnTo>
                        <a:pt x="433" y="500"/>
                      </a:lnTo>
                      <a:lnTo>
                        <a:pt x="433" y="498"/>
                      </a:lnTo>
                      <a:lnTo>
                        <a:pt x="431" y="498"/>
                      </a:lnTo>
                      <a:lnTo>
                        <a:pt x="431" y="496"/>
                      </a:lnTo>
                      <a:lnTo>
                        <a:pt x="429" y="494"/>
                      </a:lnTo>
                      <a:lnTo>
                        <a:pt x="427" y="492"/>
                      </a:lnTo>
                      <a:lnTo>
                        <a:pt x="427" y="490"/>
                      </a:lnTo>
                      <a:lnTo>
                        <a:pt x="427" y="488"/>
                      </a:lnTo>
                      <a:lnTo>
                        <a:pt x="425" y="487"/>
                      </a:lnTo>
                      <a:lnTo>
                        <a:pt x="427" y="487"/>
                      </a:lnTo>
                      <a:lnTo>
                        <a:pt x="429" y="485"/>
                      </a:lnTo>
                      <a:lnTo>
                        <a:pt x="429" y="483"/>
                      </a:lnTo>
                      <a:lnTo>
                        <a:pt x="427" y="477"/>
                      </a:lnTo>
                      <a:lnTo>
                        <a:pt x="425" y="473"/>
                      </a:lnTo>
                      <a:lnTo>
                        <a:pt x="423" y="467"/>
                      </a:lnTo>
                      <a:lnTo>
                        <a:pt x="419" y="466"/>
                      </a:lnTo>
                      <a:lnTo>
                        <a:pt x="416" y="462"/>
                      </a:lnTo>
                      <a:lnTo>
                        <a:pt x="414" y="460"/>
                      </a:lnTo>
                      <a:lnTo>
                        <a:pt x="416" y="460"/>
                      </a:lnTo>
                      <a:lnTo>
                        <a:pt x="421" y="466"/>
                      </a:lnTo>
                      <a:lnTo>
                        <a:pt x="423" y="469"/>
                      </a:lnTo>
                      <a:lnTo>
                        <a:pt x="427" y="473"/>
                      </a:lnTo>
                      <a:lnTo>
                        <a:pt x="425" y="471"/>
                      </a:lnTo>
                      <a:lnTo>
                        <a:pt x="425" y="469"/>
                      </a:lnTo>
                      <a:lnTo>
                        <a:pt x="423" y="467"/>
                      </a:lnTo>
                      <a:lnTo>
                        <a:pt x="421" y="466"/>
                      </a:lnTo>
                      <a:lnTo>
                        <a:pt x="421" y="467"/>
                      </a:lnTo>
                      <a:lnTo>
                        <a:pt x="421" y="466"/>
                      </a:lnTo>
                      <a:lnTo>
                        <a:pt x="419" y="464"/>
                      </a:lnTo>
                      <a:lnTo>
                        <a:pt x="416" y="460"/>
                      </a:lnTo>
                      <a:lnTo>
                        <a:pt x="417" y="460"/>
                      </a:lnTo>
                      <a:lnTo>
                        <a:pt x="416" y="460"/>
                      </a:lnTo>
                      <a:lnTo>
                        <a:pt x="417" y="458"/>
                      </a:lnTo>
                      <a:lnTo>
                        <a:pt x="419" y="458"/>
                      </a:lnTo>
                      <a:lnTo>
                        <a:pt x="421" y="458"/>
                      </a:lnTo>
                      <a:lnTo>
                        <a:pt x="421" y="456"/>
                      </a:lnTo>
                      <a:lnTo>
                        <a:pt x="419" y="456"/>
                      </a:lnTo>
                      <a:lnTo>
                        <a:pt x="421" y="456"/>
                      </a:lnTo>
                      <a:lnTo>
                        <a:pt x="419" y="456"/>
                      </a:lnTo>
                      <a:lnTo>
                        <a:pt x="417" y="454"/>
                      </a:lnTo>
                      <a:lnTo>
                        <a:pt x="417" y="456"/>
                      </a:lnTo>
                      <a:lnTo>
                        <a:pt x="419" y="454"/>
                      </a:lnTo>
                      <a:lnTo>
                        <a:pt x="417" y="456"/>
                      </a:lnTo>
                      <a:lnTo>
                        <a:pt x="416" y="456"/>
                      </a:lnTo>
                      <a:lnTo>
                        <a:pt x="414" y="458"/>
                      </a:lnTo>
                      <a:lnTo>
                        <a:pt x="416" y="458"/>
                      </a:lnTo>
                      <a:lnTo>
                        <a:pt x="414" y="458"/>
                      </a:lnTo>
                      <a:lnTo>
                        <a:pt x="412" y="456"/>
                      </a:lnTo>
                      <a:lnTo>
                        <a:pt x="412" y="458"/>
                      </a:lnTo>
                      <a:lnTo>
                        <a:pt x="414" y="458"/>
                      </a:lnTo>
                      <a:lnTo>
                        <a:pt x="412" y="458"/>
                      </a:lnTo>
                      <a:lnTo>
                        <a:pt x="414" y="460"/>
                      </a:lnTo>
                      <a:lnTo>
                        <a:pt x="412" y="458"/>
                      </a:lnTo>
                      <a:lnTo>
                        <a:pt x="414" y="458"/>
                      </a:lnTo>
                      <a:lnTo>
                        <a:pt x="414" y="460"/>
                      </a:lnTo>
                      <a:lnTo>
                        <a:pt x="416" y="458"/>
                      </a:lnTo>
                      <a:lnTo>
                        <a:pt x="414" y="460"/>
                      </a:lnTo>
                      <a:lnTo>
                        <a:pt x="410" y="458"/>
                      </a:lnTo>
                      <a:lnTo>
                        <a:pt x="410" y="460"/>
                      </a:lnTo>
                      <a:lnTo>
                        <a:pt x="408" y="460"/>
                      </a:lnTo>
                      <a:lnTo>
                        <a:pt x="408" y="462"/>
                      </a:lnTo>
                      <a:lnTo>
                        <a:pt x="406" y="462"/>
                      </a:lnTo>
                      <a:lnTo>
                        <a:pt x="404" y="462"/>
                      </a:lnTo>
                      <a:lnTo>
                        <a:pt x="402" y="462"/>
                      </a:lnTo>
                      <a:lnTo>
                        <a:pt x="400" y="462"/>
                      </a:lnTo>
                      <a:lnTo>
                        <a:pt x="400" y="460"/>
                      </a:lnTo>
                      <a:lnTo>
                        <a:pt x="402" y="458"/>
                      </a:lnTo>
                      <a:lnTo>
                        <a:pt x="404" y="458"/>
                      </a:lnTo>
                      <a:lnTo>
                        <a:pt x="404" y="456"/>
                      </a:lnTo>
                      <a:lnTo>
                        <a:pt x="406" y="456"/>
                      </a:lnTo>
                      <a:lnTo>
                        <a:pt x="406" y="454"/>
                      </a:lnTo>
                      <a:lnTo>
                        <a:pt x="406" y="450"/>
                      </a:lnTo>
                      <a:lnTo>
                        <a:pt x="408" y="448"/>
                      </a:lnTo>
                      <a:lnTo>
                        <a:pt x="406" y="446"/>
                      </a:lnTo>
                      <a:lnTo>
                        <a:pt x="406" y="445"/>
                      </a:lnTo>
                      <a:lnTo>
                        <a:pt x="408" y="445"/>
                      </a:lnTo>
                      <a:lnTo>
                        <a:pt x="408" y="446"/>
                      </a:lnTo>
                      <a:lnTo>
                        <a:pt x="408" y="445"/>
                      </a:lnTo>
                      <a:lnTo>
                        <a:pt x="408" y="443"/>
                      </a:lnTo>
                      <a:lnTo>
                        <a:pt x="406" y="443"/>
                      </a:lnTo>
                      <a:lnTo>
                        <a:pt x="406" y="441"/>
                      </a:lnTo>
                      <a:lnTo>
                        <a:pt x="404" y="441"/>
                      </a:lnTo>
                      <a:lnTo>
                        <a:pt x="404" y="439"/>
                      </a:lnTo>
                      <a:lnTo>
                        <a:pt x="402" y="437"/>
                      </a:lnTo>
                      <a:lnTo>
                        <a:pt x="402" y="435"/>
                      </a:lnTo>
                      <a:lnTo>
                        <a:pt x="402" y="433"/>
                      </a:lnTo>
                      <a:lnTo>
                        <a:pt x="400" y="431"/>
                      </a:lnTo>
                      <a:lnTo>
                        <a:pt x="398" y="433"/>
                      </a:lnTo>
                      <a:lnTo>
                        <a:pt x="398" y="435"/>
                      </a:lnTo>
                      <a:lnTo>
                        <a:pt x="400" y="435"/>
                      </a:lnTo>
                      <a:lnTo>
                        <a:pt x="398" y="437"/>
                      </a:lnTo>
                      <a:lnTo>
                        <a:pt x="396" y="439"/>
                      </a:lnTo>
                      <a:lnTo>
                        <a:pt x="396" y="441"/>
                      </a:lnTo>
                      <a:lnTo>
                        <a:pt x="398" y="441"/>
                      </a:lnTo>
                      <a:lnTo>
                        <a:pt x="396" y="443"/>
                      </a:lnTo>
                      <a:lnTo>
                        <a:pt x="396" y="445"/>
                      </a:lnTo>
                      <a:lnTo>
                        <a:pt x="396" y="446"/>
                      </a:lnTo>
                      <a:lnTo>
                        <a:pt x="395" y="448"/>
                      </a:lnTo>
                      <a:lnTo>
                        <a:pt x="395" y="450"/>
                      </a:lnTo>
                      <a:lnTo>
                        <a:pt x="395" y="452"/>
                      </a:lnTo>
                      <a:lnTo>
                        <a:pt x="393" y="452"/>
                      </a:lnTo>
                      <a:lnTo>
                        <a:pt x="393" y="450"/>
                      </a:lnTo>
                      <a:lnTo>
                        <a:pt x="391" y="450"/>
                      </a:lnTo>
                      <a:lnTo>
                        <a:pt x="389" y="450"/>
                      </a:lnTo>
                      <a:lnTo>
                        <a:pt x="389" y="452"/>
                      </a:lnTo>
                      <a:lnTo>
                        <a:pt x="387" y="452"/>
                      </a:lnTo>
                      <a:lnTo>
                        <a:pt x="387" y="454"/>
                      </a:lnTo>
                      <a:lnTo>
                        <a:pt x="385" y="454"/>
                      </a:lnTo>
                      <a:lnTo>
                        <a:pt x="383" y="452"/>
                      </a:lnTo>
                      <a:lnTo>
                        <a:pt x="383" y="454"/>
                      </a:lnTo>
                      <a:lnTo>
                        <a:pt x="381" y="454"/>
                      </a:lnTo>
                      <a:lnTo>
                        <a:pt x="381" y="452"/>
                      </a:lnTo>
                      <a:lnTo>
                        <a:pt x="383" y="450"/>
                      </a:lnTo>
                      <a:lnTo>
                        <a:pt x="381" y="448"/>
                      </a:lnTo>
                      <a:lnTo>
                        <a:pt x="383" y="448"/>
                      </a:lnTo>
                      <a:lnTo>
                        <a:pt x="383" y="446"/>
                      </a:lnTo>
                      <a:lnTo>
                        <a:pt x="385" y="446"/>
                      </a:lnTo>
                      <a:lnTo>
                        <a:pt x="387" y="446"/>
                      </a:lnTo>
                      <a:lnTo>
                        <a:pt x="389" y="446"/>
                      </a:lnTo>
                      <a:lnTo>
                        <a:pt x="389" y="448"/>
                      </a:lnTo>
                      <a:lnTo>
                        <a:pt x="391" y="446"/>
                      </a:lnTo>
                      <a:lnTo>
                        <a:pt x="391" y="445"/>
                      </a:lnTo>
                      <a:lnTo>
                        <a:pt x="391" y="441"/>
                      </a:lnTo>
                      <a:lnTo>
                        <a:pt x="391" y="439"/>
                      </a:lnTo>
                      <a:lnTo>
                        <a:pt x="391" y="437"/>
                      </a:lnTo>
                      <a:lnTo>
                        <a:pt x="391" y="439"/>
                      </a:lnTo>
                      <a:lnTo>
                        <a:pt x="391" y="437"/>
                      </a:lnTo>
                      <a:lnTo>
                        <a:pt x="391" y="435"/>
                      </a:lnTo>
                      <a:lnTo>
                        <a:pt x="391" y="433"/>
                      </a:lnTo>
                      <a:lnTo>
                        <a:pt x="391" y="431"/>
                      </a:lnTo>
                      <a:lnTo>
                        <a:pt x="393" y="429"/>
                      </a:lnTo>
                      <a:lnTo>
                        <a:pt x="391" y="429"/>
                      </a:lnTo>
                      <a:lnTo>
                        <a:pt x="393" y="429"/>
                      </a:lnTo>
                      <a:lnTo>
                        <a:pt x="393" y="427"/>
                      </a:lnTo>
                      <a:lnTo>
                        <a:pt x="395" y="426"/>
                      </a:lnTo>
                      <a:lnTo>
                        <a:pt x="395" y="424"/>
                      </a:lnTo>
                      <a:lnTo>
                        <a:pt x="396" y="422"/>
                      </a:lnTo>
                      <a:lnTo>
                        <a:pt x="398" y="422"/>
                      </a:lnTo>
                      <a:lnTo>
                        <a:pt x="398" y="420"/>
                      </a:lnTo>
                      <a:lnTo>
                        <a:pt x="396" y="418"/>
                      </a:lnTo>
                      <a:lnTo>
                        <a:pt x="396" y="416"/>
                      </a:lnTo>
                      <a:lnTo>
                        <a:pt x="396" y="414"/>
                      </a:lnTo>
                      <a:lnTo>
                        <a:pt x="398" y="414"/>
                      </a:lnTo>
                      <a:lnTo>
                        <a:pt x="396" y="414"/>
                      </a:lnTo>
                      <a:lnTo>
                        <a:pt x="398" y="414"/>
                      </a:lnTo>
                      <a:lnTo>
                        <a:pt x="398" y="412"/>
                      </a:lnTo>
                      <a:lnTo>
                        <a:pt x="398" y="414"/>
                      </a:lnTo>
                      <a:lnTo>
                        <a:pt x="398" y="412"/>
                      </a:lnTo>
                      <a:lnTo>
                        <a:pt x="400" y="412"/>
                      </a:lnTo>
                      <a:lnTo>
                        <a:pt x="400" y="414"/>
                      </a:lnTo>
                      <a:lnTo>
                        <a:pt x="400" y="412"/>
                      </a:lnTo>
                      <a:lnTo>
                        <a:pt x="400" y="410"/>
                      </a:lnTo>
                      <a:lnTo>
                        <a:pt x="398" y="410"/>
                      </a:lnTo>
                      <a:lnTo>
                        <a:pt x="398" y="406"/>
                      </a:lnTo>
                      <a:lnTo>
                        <a:pt x="396" y="405"/>
                      </a:lnTo>
                      <a:lnTo>
                        <a:pt x="396" y="403"/>
                      </a:lnTo>
                      <a:lnTo>
                        <a:pt x="396" y="401"/>
                      </a:lnTo>
                      <a:lnTo>
                        <a:pt x="395" y="401"/>
                      </a:lnTo>
                      <a:lnTo>
                        <a:pt x="395" y="399"/>
                      </a:lnTo>
                      <a:lnTo>
                        <a:pt x="395" y="401"/>
                      </a:lnTo>
                      <a:lnTo>
                        <a:pt x="395" y="403"/>
                      </a:lnTo>
                      <a:lnTo>
                        <a:pt x="395" y="401"/>
                      </a:lnTo>
                      <a:lnTo>
                        <a:pt x="395" y="403"/>
                      </a:lnTo>
                      <a:lnTo>
                        <a:pt x="395" y="405"/>
                      </a:lnTo>
                      <a:lnTo>
                        <a:pt x="396" y="405"/>
                      </a:lnTo>
                      <a:lnTo>
                        <a:pt x="396" y="406"/>
                      </a:lnTo>
                      <a:lnTo>
                        <a:pt x="396" y="408"/>
                      </a:lnTo>
                      <a:lnTo>
                        <a:pt x="395" y="408"/>
                      </a:lnTo>
                      <a:lnTo>
                        <a:pt x="396" y="410"/>
                      </a:lnTo>
                      <a:lnTo>
                        <a:pt x="395" y="410"/>
                      </a:lnTo>
                      <a:lnTo>
                        <a:pt x="393" y="410"/>
                      </a:lnTo>
                      <a:lnTo>
                        <a:pt x="393" y="412"/>
                      </a:lnTo>
                      <a:lnTo>
                        <a:pt x="391" y="412"/>
                      </a:lnTo>
                      <a:lnTo>
                        <a:pt x="391" y="414"/>
                      </a:lnTo>
                      <a:lnTo>
                        <a:pt x="389" y="416"/>
                      </a:lnTo>
                      <a:lnTo>
                        <a:pt x="389" y="418"/>
                      </a:lnTo>
                      <a:lnTo>
                        <a:pt x="389" y="420"/>
                      </a:lnTo>
                      <a:lnTo>
                        <a:pt x="387" y="422"/>
                      </a:lnTo>
                      <a:lnTo>
                        <a:pt x="387" y="424"/>
                      </a:lnTo>
                      <a:lnTo>
                        <a:pt x="385" y="424"/>
                      </a:lnTo>
                      <a:lnTo>
                        <a:pt x="383" y="424"/>
                      </a:lnTo>
                      <a:lnTo>
                        <a:pt x="381" y="424"/>
                      </a:lnTo>
                      <a:lnTo>
                        <a:pt x="381" y="426"/>
                      </a:lnTo>
                      <a:lnTo>
                        <a:pt x="381" y="424"/>
                      </a:lnTo>
                      <a:lnTo>
                        <a:pt x="383" y="424"/>
                      </a:lnTo>
                      <a:lnTo>
                        <a:pt x="383" y="426"/>
                      </a:lnTo>
                      <a:lnTo>
                        <a:pt x="381" y="426"/>
                      </a:lnTo>
                      <a:lnTo>
                        <a:pt x="379" y="426"/>
                      </a:lnTo>
                      <a:lnTo>
                        <a:pt x="377" y="427"/>
                      </a:lnTo>
                      <a:lnTo>
                        <a:pt x="376" y="427"/>
                      </a:lnTo>
                      <a:lnTo>
                        <a:pt x="377" y="427"/>
                      </a:lnTo>
                      <a:lnTo>
                        <a:pt x="376" y="429"/>
                      </a:lnTo>
                      <a:lnTo>
                        <a:pt x="374" y="429"/>
                      </a:lnTo>
                      <a:lnTo>
                        <a:pt x="374" y="431"/>
                      </a:lnTo>
                      <a:lnTo>
                        <a:pt x="372" y="433"/>
                      </a:lnTo>
                      <a:lnTo>
                        <a:pt x="372" y="435"/>
                      </a:lnTo>
                      <a:lnTo>
                        <a:pt x="370" y="435"/>
                      </a:lnTo>
                      <a:lnTo>
                        <a:pt x="370" y="437"/>
                      </a:lnTo>
                      <a:lnTo>
                        <a:pt x="370" y="439"/>
                      </a:lnTo>
                      <a:lnTo>
                        <a:pt x="368" y="439"/>
                      </a:lnTo>
                      <a:lnTo>
                        <a:pt x="366" y="439"/>
                      </a:lnTo>
                      <a:lnTo>
                        <a:pt x="366" y="441"/>
                      </a:lnTo>
                      <a:lnTo>
                        <a:pt x="366" y="443"/>
                      </a:lnTo>
                      <a:lnTo>
                        <a:pt x="366" y="441"/>
                      </a:lnTo>
                      <a:lnTo>
                        <a:pt x="366" y="443"/>
                      </a:lnTo>
                      <a:lnTo>
                        <a:pt x="366" y="445"/>
                      </a:lnTo>
                      <a:lnTo>
                        <a:pt x="364" y="445"/>
                      </a:lnTo>
                      <a:lnTo>
                        <a:pt x="366" y="445"/>
                      </a:lnTo>
                      <a:lnTo>
                        <a:pt x="368" y="445"/>
                      </a:lnTo>
                      <a:lnTo>
                        <a:pt x="368" y="443"/>
                      </a:lnTo>
                      <a:lnTo>
                        <a:pt x="368" y="445"/>
                      </a:lnTo>
                      <a:lnTo>
                        <a:pt x="366" y="446"/>
                      </a:lnTo>
                      <a:lnTo>
                        <a:pt x="368" y="448"/>
                      </a:lnTo>
                      <a:lnTo>
                        <a:pt x="366" y="448"/>
                      </a:lnTo>
                      <a:lnTo>
                        <a:pt x="366" y="446"/>
                      </a:lnTo>
                      <a:lnTo>
                        <a:pt x="364" y="446"/>
                      </a:lnTo>
                      <a:lnTo>
                        <a:pt x="362" y="446"/>
                      </a:lnTo>
                      <a:lnTo>
                        <a:pt x="362" y="448"/>
                      </a:lnTo>
                      <a:lnTo>
                        <a:pt x="362" y="446"/>
                      </a:lnTo>
                      <a:lnTo>
                        <a:pt x="362" y="448"/>
                      </a:lnTo>
                      <a:lnTo>
                        <a:pt x="362" y="446"/>
                      </a:lnTo>
                      <a:lnTo>
                        <a:pt x="360" y="446"/>
                      </a:lnTo>
                      <a:lnTo>
                        <a:pt x="360" y="445"/>
                      </a:lnTo>
                      <a:lnTo>
                        <a:pt x="358" y="445"/>
                      </a:lnTo>
                      <a:lnTo>
                        <a:pt x="358" y="443"/>
                      </a:lnTo>
                      <a:lnTo>
                        <a:pt x="356" y="443"/>
                      </a:lnTo>
                      <a:lnTo>
                        <a:pt x="356" y="441"/>
                      </a:lnTo>
                      <a:lnTo>
                        <a:pt x="355" y="441"/>
                      </a:lnTo>
                      <a:lnTo>
                        <a:pt x="355" y="439"/>
                      </a:lnTo>
                      <a:lnTo>
                        <a:pt x="355" y="441"/>
                      </a:lnTo>
                      <a:lnTo>
                        <a:pt x="353" y="441"/>
                      </a:lnTo>
                      <a:lnTo>
                        <a:pt x="355" y="439"/>
                      </a:lnTo>
                      <a:lnTo>
                        <a:pt x="355" y="437"/>
                      </a:lnTo>
                      <a:lnTo>
                        <a:pt x="355" y="439"/>
                      </a:lnTo>
                      <a:lnTo>
                        <a:pt x="356" y="439"/>
                      </a:lnTo>
                      <a:lnTo>
                        <a:pt x="356" y="441"/>
                      </a:lnTo>
                      <a:lnTo>
                        <a:pt x="358" y="441"/>
                      </a:lnTo>
                      <a:lnTo>
                        <a:pt x="356" y="441"/>
                      </a:lnTo>
                      <a:lnTo>
                        <a:pt x="358" y="441"/>
                      </a:lnTo>
                      <a:lnTo>
                        <a:pt x="360" y="441"/>
                      </a:lnTo>
                      <a:lnTo>
                        <a:pt x="358" y="441"/>
                      </a:lnTo>
                      <a:lnTo>
                        <a:pt x="358" y="439"/>
                      </a:lnTo>
                      <a:lnTo>
                        <a:pt x="358" y="441"/>
                      </a:lnTo>
                      <a:lnTo>
                        <a:pt x="358" y="439"/>
                      </a:lnTo>
                      <a:lnTo>
                        <a:pt x="358" y="437"/>
                      </a:lnTo>
                      <a:lnTo>
                        <a:pt x="356" y="437"/>
                      </a:lnTo>
                      <a:lnTo>
                        <a:pt x="356" y="435"/>
                      </a:lnTo>
                      <a:lnTo>
                        <a:pt x="356" y="433"/>
                      </a:lnTo>
                      <a:lnTo>
                        <a:pt x="355" y="433"/>
                      </a:lnTo>
                      <a:lnTo>
                        <a:pt x="356" y="431"/>
                      </a:lnTo>
                      <a:lnTo>
                        <a:pt x="356" y="429"/>
                      </a:lnTo>
                      <a:lnTo>
                        <a:pt x="355" y="427"/>
                      </a:lnTo>
                      <a:lnTo>
                        <a:pt x="353" y="424"/>
                      </a:lnTo>
                      <a:lnTo>
                        <a:pt x="349" y="424"/>
                      </a:lnTo>
                      <a:lnTo>
                        <a:pt x="349" y="422"/>
                      </a:lnTo>
                      <a:lnTo>
                        <a:pt x="349" y="420"/>
                      </a:lnTo>
                      <a:lnTo>
                        <a:pt x="349" y="418"/>
                      </a:lnTo>
                      <a:lnTo>
                        <a:pt x="349" y="416"/>
                      </a:lnTo>
                      <a:lnTo>
                        <a:pt x="347" y="416"/>
                      </a:lnTo>
                      <a:lnTo>
                        <a:pt x="347" y="414"/>
                      </a:lnTo>
                      <a:lnTo>
                        <a:pt x="345" y="414"/>
                      </a:lnTo>
                      <a:lnTo>
                        <a:pt x="345" y="412"/>
                      </a:lnTo>
                      <a:lnTo>
                        <a:pt x="345" y="414"/>
                      </a:lnTo>
                      <a:lnTo>
                        <a:pt x="347" y="414"/>
                      </a:lnTo>
                      <a:lnTo>
                        <a:pt x="345" y="414"/>
                      </a:lnTo>
                      <a:lnTo>
                        <a:pt x="343" y="412"/>
                      </a:lnTo>
                      <a:lnTo>
                        <a:pt x="341" y="414"/>
                      </a:lnTo>
                      <a:lnTo>
                        <a:pt x="341" y="412"/>
                      </a:lnTo>
                      <a:lnTo>
                        <a:pt x="339" y="412"/>
                      </a:lnTo>
                      <a:lnTo>
                        <a:pt x="341" y="412"/>
                      </a:lnTo>
                      <a:lnTo>
                        <a:pt x="339" y="410"/>
                      </a:lnTo>
                      <a:lnTo>
                        <a:pt x="339" y="412"/>
                      </a:lnTo>
                      <a:lnTo>
                        <a:pt x="341" y="412"/>
                      </a:lnTo>
                      <a:lnTo>
                        <a:pt x="341" y="414"/>
                      </a:lnTo>
                      <a:lnTo>
                        <a:pt x="339" y="414"/>
                      </a:lnTo>
                      <a:lnTo>
                        <a:pt x="339" y="412"/>
                      </a:lnTo>
                      <a:lnTo>
                        <a:pt x="339" y="410"/>
                      </a:lnTo>
                      <a:lnTo>
                        <a:pt x="337" y="412"/>
                      </a:lnTo>
                      <a:lnTo>
                        <a:pt x="337" y="410"/>
                      </a:lnTo>
                      <a:lnTo>
                        <a:pt x="339" y="410"/>
                      </a:lnTo>
                      <a:lnTo>
                        <a:pt x="339" y="408"/>
                      </a:lnTo>
                      <a:lnTo>
                        <a:pt x="337" y="408"/>
                      </a:lnTo>
                      <a:lnTo>
                        <a:pt x="337" y="406"/>
                      </a:lnTo>
                      <a:lnTo>
                        <a:pt x="337" y="405"/>
                      </a:lnTo>
                      <a:lnTo>
                        <a:pt x="339" y="405"/>
                      </a:lnTo>
                      <a:lnTo>
                        <a:pt x="337" y="405"/>
                      </a:lnTo>
                      <a:lnTo>
                        <a:pt x="339" y="405"/>
                      </a:lnTo>
                      <a:lnTo>
                        <a:pt x="339" y="406"/>
                      </a:lnTo>
                      <a:lnTo>
                        <a:pt x="339" y="405"/>
                      </a:lnTo>
                      <a:lnTo>
                        <a:pt x="339" y="403"/>
                      </a:lnTo>
                      <a:lnTo>
                        <a:pt x="339" y="401"/>
                      </a:lnTo>
                      <a:lnTo>
                        <a:pt x="337" y="401"/>
                      </a:lnTo>
                      <a:lnTo>
                        <a:pt x="337" y="399"/>
                      </a:lnTo>
                      <a:lnTo>
                        <a:pt x="337" y="401"/>
                      </a:lnTo>
                      <a:lnTo>
                        <a:pt x="335" y="401"/>
                      </a:lnTo>
                      <a:lnTo>
                        <a:pt x="334" y="401"/>
                      </a:lnTo>
                      <a:lnTo>
                        <a:pt x="334" y="399"/>
                      </a:lnTo>
                      <a:lnTo>
                        <a:pt x="335" y="399"/>
                      </a:lnTo>
                      <a:lnTo>
                        <a:pt x="334" y="397"/>
                      </a:lnTo>
                      <a:lnTo>
                        <a:pt x="334" y="395"/>
                      </a:lnTo>
                      <a:lnTo>
                        <a:pt x="332" y="397"/>
                      </a:lnTo>
                      <a:lnTo>
                        <a:pt x="332" y="395"/>
                      </a:lnTo>
                      <a:lnTo>
                        <a:pt x="330" y="395"/>
                      </a:lnTo>
                      <a:lnTo>
                        <a:pt x="330" y="393"/>
                      </a:lnTo>
                      <a:lnTo>
                        <a:pt x="328" y="393"/>
                      </a:lnTo>
                      <a:lnTo>
                        <a:pt x="330" y="395"/>
                      </a:lnTo>
                      <a:lnTo>
                        <a:pt x="328" y="395"/>
                      </a:lnTo>
                      <a:lnTo>
                        <a:pt x="328" y="393"/>
                      </a:lnTo>
                      <a:lnTo>
                        <a:pt x="328" y="395"/>
                      </a:lnTo>
                      <a:lnTo>
                        <a:pt x="328" y="393"/>
                      </a:lnTo>
                      <a:lnTo>
                        <a:pt x="326" y="393"/>
                      </a:lnTo>
                      <a:lnTo>
                        <a:pt x="326" y="395"/>
                      </a:lnTo>
                      <a:lnTo>
                        <a:pt x="328" y="395"/>
                      </a:lnTo>
                      <a:lnTo>
                        <a:pt x="326" y="395"/>
                      </a:lnTo>
                      <a:lnTo>
                        <a:pt x="324" y="395"/>
                      </a:lnTo>
                      <a:lnTo>
                        <a:pt x="322" y="395"/>
                      </a:lnTo>
                      <a:lnTo>
                        <a:pt x="320" y="393"/>
                      </a:lnTo>
                      <a:lnTo>
                        <a:pt x="318" y="393"/>
                      </a:lnTo>
                      <a:lnTo>
                        <a:pt x="316" y="391"/>
                      </a:lnTo>
                      <a:lnTo>
                        <a:pt x="314" y="391"/>
                      </a:lnTo>
                      <a:lnTo>
                        <a:pt x="313" y="389"/>
                      </a:lnTo>
                      <a:lnTo>
                        <a:pt x="311" y="391"/>
                      </a:lnTo>
                      <a:lnTo>
                        <a:pt x="309" y="391"/>
                      </a:lnTo>
                      <a:lnTo>
                        <a:pt x="307" y="391"/>
                      </a:lnTo>
                      <a:lnTo>
                        <a:pt x="305" y="389"/>
                      </a:lnTo>
                      <a:lnTo>
                        <a:pt x="299" y="385"/>
                      </a:lnTo>
                      <a:lnTo>
                        <a:pt x="295" y="384"/>
                      </a:lnTo>
                      <a:lnTo>
                        <a:pt x="290" y="382"/>
                      </a:lnTo>
                      <a:lnTo>
                        <a:pt x="288" y="384"/>
                      </a:lnTo>
                      <a:lnTo>
                        <a:pt x="284" y="384"/>
                      </a:lnTo>
                      <a:lnTo>
                        <a:pt x="280" y="384"/>
                      </a:lnTo>
                      <a:lnTo>
                        <a:pt x="274" y="384"/>
                      </a:lnTo>
                      <a:lnTo>
                        <a:pt x="265" y="384"/>
                      </a:lnTo>
                      <a:lnTo>
                        <a:pt x="257" y="385"/>
                      </a:lnTo>
                      <a:lnTo>
                        <a:pt x="253" y="385"/>
                      </a:lnTo>
                      <a:lnTo>
                        <a:pt x="250" y="389"/>
                      </a:lnTo>
                      <a:lnTo>
                        <a:pt x="244" y="391"/>
                      </a:lnTo>
                      <a:lnTo>
                        <a:pt x="240" y="393"/>
                      </a:lnTo>
                      <a:lnTo>
                        <a:pt x="236" y="393"/>
                      </a:lnTo>
                      <a:lnTo>
                        <a:pt x="234" y="395"/>
                      </a:lnTo>
                      <a:lnTo>
                        <a:pt x="232" y="395"/>
                      </a:lnTo>
                      <a:lnTo>
                        <a:pt x="229" y="397"/>
                      </a:lnTo>
                      <a:lnTo>
                        <a:pt x="223" y="397"/>
                      </a:lnTo>
                      <a:lnTo>
                        <a:pt x="221" y="397"/>
                      </a:lnTo>
                      <a:lnTo>
                        <a:pt x="219" y="397"/>
                      </a:lnTo>
                      <a:lnTo>
                        <a:pt x="215" y="397"/>
                      </a:lnTo>
                      <a:lnTo>
                        <a:pt x="212" y="395"/>
                      </a:lnTo>
                      <a:lnTo>
                        <a:pt x="210" y="397"/>
                      </a:lnTo>
                      <a:lnTo>
                        <a:pt x="208" y="397"/>
                      </a:lnTo>
                      <a:lnTo>
                        <a:pt x="206" y="399"/>
                      </a:lnTo>
                      <a:lnTo>
                        <a:pt x="200" y="403"/>
                      </a:lnTo>
                      <a:lnTo>
                        <a:pt x="198" y="403"/>
                      </a:lnTo>
                      <a:lnTo>
                        <a:pt x="194" y="405"/>
                      </a:lnTo>
                      <a:lnTo>
                        <a:pt x="192" y="405"/>
                      </a:lnTo>
                      <a:lnTo>
                        <a:pt x="191" y="406"/>
                      </a:lnTo>
                      <a:lnTo>
                        <a:pt x="189" y="408"/>
                      </a:lnTo>
                      <a:lnTo>
                        <a:pt x="183" y="410"/>
                      </a:lnTo>
                      <a:lnTo>
                        <a:pt x="181" y="410"/>
                      </a:lnTo>
                      <a:lnTo>
                        <a:pt x="179" y="412"/>
                      </a:lnTo>
                      <a:lnTo>
                        <a:pt x="177" y="414"/>
                      </a:lnTo>
                      <a:lnTo>
                        <a:pt x="177" y="418"/>
                      </a:lnTo>
                      <a:lnTo>
                        <a:pt x="175" y="422"/>
                      </a:lnTo>
                      <a:lnTo>
                        <a:pt x="173" y="424"/>
                      </a:lnTo>
                      <a:lnTo>
                        <a:pt x="173" y="426"/>
                      </a:lnTo>
                      <a:lnTo>
                        <a:pt x="171" y="426"/>
                      </a:lnTo>
                      <a:lnTo>
                        <a:pt x="171" y="427"/>
                      </a:lnTo>
                      <a:lnTo>
                        <a:pt x="170" y="427"/>
                      </a:lnTo>
                      <a:lnTo>
                        <a:pt x="168" y="427"/>
                      </a:lnTo>
                      <a:lnTo>
                        <a:pt x="166" y="427"/>
                      </a:lnTo>
                      <a:lnTo>
                        <a:pt x="166" y="429"/>
                      </a:lnTo>
                      <a:lnTo>
                        <a:pt x="164" y="429"/>
                      </a:lnTo>
                      <a:lnTo>
                        <a:pt x="164" y="427"/>
                      </a:lnTo>
                      <a:lnTo>
                        <a:pt x="162" y="427"/>
                      </a:lnTo>
                      <a:lnTo>
                        <a:pt x="160" y="427"/>
                      </a:lnTo>
                      <a:lnTo>
                        <a:pt x="158" y="427"/>
                      </a:lnTo>
                      <a:lnTo>
                        <a:pt x="156" y="427"/>
                      </a:lnTo>
                      <a:lnTo>
                        <a:pt x="154" y="427"/>
                      </a:lnTo>
                      <a:lnTo>
                        <a:pt x="154" y="429"/>
                      </a:lnTo>
                      <a:lnTo>
                        <a:pt x="154" y="427"/>
                      </a:lnTo>
                      <a:lnTo>
                        <a:pt x="152" y="429"/>
                      </a:lnTo>
                      <a:lnTo>
                        <a:pt x="152" y="427"/>
                      </a:lnTo>
                      <a:lnTo>
                        <a:pt x="150" y="427"/>
                      </a:lnTo>
                      <a:lnTo>
                        <a:pt x="149" y="429"/>
                      </a:lnTo>
                      <a:lnTo>
                        <a:pt x="147" y="429"/>
                      </a:lnTo>
                      <a:lnTo>
                        <a:pt x="147" y="427"/>
                      </a:lnTo>
                      <a:lnTo>
                        <a:pt x="145" y="426"/>
                      </a:lnTo>
                      <a:lnTo>
                        <a:pt x="143" y="426"/>
                      </a:lnTo>
                      <a:lnTo>
                        <a:pt x="143" y="427"/>
                      </a:lnTo>
                      <a:lnTo>
                        <a:pt x="141" y="427"/>
                      </a:lnTo>
                      <a:lnTo>
                        <a:pt x="139" y="427"/>
                      </a:lnTo>
                      <a:lnTo>
                        <a:pt x="137" y="426"/>
                      </a:lnTo>
                      <a:lnTo>
                        <a:pt x="135" y="426"/>
                      </a:lnTo>
                      <a:lnTo>
                        <a:pt x="133" y="426"/>
                      </a:lnTo>
                      <a:lnTo>
                        <a:pt x="135" y="426"/>
                      </a:lnTo>
                      <a:lnTo>
                        <a:pt x="133" y="426"/>
                      </a:lnTo>
                      <a:lnTo>
                        <a:pt x="133" y="427"/>
                      </a:lnTo>
                      <a:lnTo>
                        <a:pt x="131" y="426"/>
                      </a:lnTo>
                      <a:lnTo>
                        <a:pt x="131" y="427"/>
                      </a:lnTo>
                      <a:lnTo>
                        <a:pt x="131" y="426"/>
                      </a:lnTo>
                      <a:lnTo>
                        <a:pt x="131" y="427"/>
                      </a:lnTo>
                      <a:lnTo>
                        <a:pt x="130" y="427"/>
                      </a:lnTo>
                      <a:lnTo>
                        <a:pt x="128" y="427"/>
                      </a:lnTo>
                      <a:lnTo>
                        <a:pt x="126" y="427"/>
                      </a:lnTo>
                      <a:lnTo>
                        <a:pt x="122" y="427"/>
                      </a:lnTo>
                      <a:lnTo>
                        <a:pt x="120" y="429"/>
                      </a:lnTo>
                      <a:lnTo>
                        <a:pt x="116" y="427"/>
                      </a:lnTo>
                      <a:lnTo>
                        <a:pt x="114" y="429"/>
                      </a:lnTo>
                      <a:lnTo>
                        <a:pt x="114" y="427"/>
                      </a:lnTo>
                      <a:lnTo>
                        <a:pt x="112" y="427"/>
                      </a:lnTo>
                      <a:lnTo>
                        <a:pt x="112" y="429"/>
                      </a:lnTo>
                      <a:lnTo>
                        <a:pt x="110" y="429"/>
                      </a:lnTo>
                      <a:lnTo>
                        <a:pt x="109" y="431"/>
                      </a:lnTo>
                      <a:lnTo>
                        <a:pt x="107" y="431"/>
                      </a:lnTo>
                      <a:lnTo>
                        <a:pt x="107" y="433"/>
                      </a:lnTo>
                      <a:lnTo>
                        <a:pt x="105" y="433"/>
                      </a:lnTo>
                      <a:lnTo>
                        <a:pt x="105" y="435"/>
                      </a:lnTo>
                      <a:lnTo>
                        <a:pt x="105" y="437"/>
                      </a:lnTo>
                      <a:lnTo>
                        <a:pt x="107" y="437"/>
                      </a:lnTo>
                      <a:lnTo>
                        <a:pt x="105" y="437"/>
                      </a:lnTo>
                      <a:lnTo>
                        <a:pt x="103" y="437"/>
                      </a:lnTo>
                      <a:lnTo>
                        <a:pt x="103" y="439"/>
                      </a:lnTo>
                      <a:lnTo>
                        <a:pt x="101" y="439"/>
                      </a:lnTo>
                      <a:lnTo>
                        <a:pt x="99" y="439"/>
                      </a:lnTo>
                      <a:lnTo>
                        <a:pt x="97" y="439"/>
                      </a:lnTo>
                      <a:lnTo>
                        <a:pt x="95" y="439"/>
                      </a:lnTo>
                      <a:lnTo>
                        <a:pt x="93" y="439"/>
                      </a:lnTo>
                      <a:lnTo>
                        <a:pt x="93" y="441"/>
                      </a:lnTo>
                      <a:lnTo>
                        <a:pt x="93" y="443"/>
                      </a:lnTo>
                      <a:lnTo>
                        <a:pt x="91" y="443"/>
                      </a:lnTo>
                      <a:lnTo>
                        <a:pt x="89" y="443"/>
                      </a:lnTo>
                      <a:lnTo>
                        <a:pt x="88" y="445"/>
                      </a:lnTo>
                      <a:lnTo>
                        <a:pt x="88" y="446"/>
                      </a:lnTo>
                      <a:lnTo>
                        <a:pt x="86" y="446"/>
                      </a:lnTo>
                      <a:lnTo>
                        <a:pt x="84" y="446"/>
                      </a:lnTo>
                      <a:lnTo>
                        <a:pt x="84" y="448"/>
                      </a:lnTo>
                      <a:lnTo>
                        <a:pt x="82" y="448"/>
                      </a:lnTo>
                      <a:lnTo>
                        <a:pt x="80" y="448"/>
                      </a:lnTo>
                      <a:lnTo>
                        <a:pt x="78" y="448"/>
                      </a:lnTo>
                      <a:lnTo>
                        <a:pt x="78" y="450"/>
                      </a:lnTo>
                      <a:lnTo>
                        <a:pt x="80" y="450"/>
                      </a:lnTo>
                      <a:lnTo>
                        <a:pt x="82" y="450"/>
                      </a:lnTo>
                      <a:lnTo>
                        <a:pt x="80" y="450"/>
                      </a:lnTo>
                      <a:lnTo>
                        <a:pt x="78" y="450"/>
                      </a:lnTo>
                      <a:lnTo>
                        <a:pt x="76" y="450"/>
                      </a:lnTo>
                      <a:lnTo>
                        <a:pt x="76" y="448"/>
                      </a:lnTo>
                      <a:lnTo>
                        <a:pt x="76" y="450"/>
                      </a:lnTo>
                      <a:lnTo>
                        <a:pt x="76" y="452"/>
                      </a:lnTo>
                      <a:lnTo>
                        <a:pt x="74" y="450"/>
                      </a:lnTo>
                      <a:lnTo>
                        <a:pt x="72" y="450"/>
                      </a:lnTo>
                      <a:lnTo>
                        <a:pt x="72" y="448"/>
                      </a:lnTo>
                      <a:lnTo>
                        <a:pt x="70" y="448"/>
                      </a:lnTo>
                      <a:lnTo>
                        <a:pt x="72" y="448"/>
                      </a:lnTo>
                      <a:lnTo>
                        <a:pt x="70" y="448"/>
                      </a:lnTo>
                      <a:lnTo>
                        <a:pt x="70" y="450"/>
                      </a:lnTo>
                      <a:lnTo>
                        <a:pt x="70" y="448"/>
                      </a:lnTo>
                      <a:lnTo>
                        <a:pt x="68" y="448"/>
                      </a:lnTo>
                      <a:lnTo>
                        <a:pt x="68" y="450"/>
                      </a:lnTo>
                      <a:lnTo>
                        <a:pt x="67" y="448"/>
                      </a:lnTo>
                      <a:lnTo>
                        <a:pt x="65" y="448"/>
                      </a:lnTo>
                      <a:lnTo>
                        <a:pt x="65" y="450"/>
                      </a:lnTo>
                      <a:lnTo>
                        <a:pt x="63" y="450"/>
                      </a:lnTo>
                      <a:lnTo>
                        <a:pt x="61" y="448"/>
                      </a:lnTo>
                      <a:lnTo>
                        <a:pt x="61" y="450"/>
                      </a:lnTo>
                      <a:lnTo>
                        <a:pt x="61" y="448"/>
                      </a:lnTo>
                      <a:lnTo>
                        <a:pt x="59" y="450"/>
                      </a:lnTo>
                      <a:lnTo>
                        <a:pt x="59" y="448"/>
                      </a:lnTo>
                      <a:lnTo>
                        <a:pt x="57" y="448"/>
                      </a:lnTo>
                      <a:lnTo>
                        <a:pt x="55" y="448"/>
                      </a:lnTo>
                      <a:lnTo>
                        <a:pt x="55" y="446"/>
                      </a:lnTo>
                      <a:lnTo>
                        <a:pt x="55" y="448"/>
                      </a:lnTo>
                      <a:lnTo>
                        <a:pt x="57" y="448"/>
                      </a:lnTo>
                      <a:lnTo>
                        <a:pt x="57" y="446"/>
                      </a:lnTo>
                      <a:lnTo>
                        <a:pt x="55" y="446"/>
                      </a:lnTo>
                      <a:lnTo>
                        <a:pt x="57" y="446"/>
                      </a:lnTo>
                      <a:lnTo>
                        <a:pt x="55" y="446"/>
                      </a:lnTo>
                      <a:lnTo>
                        <a:pt x="53" y="446"/>
                      </a:lnTo>
                      <a:lnTo>
                        <a:pt x="51" y="446"/>
                      </a:lnTo>
                      <a:lnTo>
                        <a:pt x="49" y="446"/>
                      </a:lnTo>
                      <a:lnTo>
                        <a:pt x="49" y="445"/>
                      </a:lnTo>
                      <a:lnTo>
                        <a:pt x="48" y="443"/>
                      </a:lnTo>
                      <a:lnTo>
                        <a:pt x="46" y="439"/>
                      </a:lnTo>
                      <a:lnTo>
                        <a:pt x="42" y="437"/>
                      </a:lnTo>
                      <a:lnTo>
                        <a:pt x="38" y="435"/>
                      </a:lnTo>
                      <a:lnTo>
                        <a:pt x="36" y="435"/>
                      </a:lnTo>
                      <a:lnTo>
                        <a:pt x="36" y="437"/>
                      </a:lnTo>
                      <a:lnTo>
                        <a:pt x="36" y="435"/>
                      </a:lnTo>
                      <a:lnTo>
                        <a:pt x="34" y="435"/>
                      </a:lnTo>
                      <a:lnTo>
                        <a:pt x="34" y="433"/>
                      </a:lnTo>
                      <a:lnTo>
                        <a:pt x="34" y="431"/>
                      </a:lnTo>
                      <a:lnTo>
                        <a:pt x="34" y="429"/>
                      </a:lnTo>
                      <a:lnTo>
                        <a:pt x="32" y="429"/>
                      </a:lnTo>
                      <a:lnTo>
                        <a:pt x="34" y="427"/>
                      </a:lnTo>
                      <a:lnTo>
                        <a:pt x="32" y="427"/>
                      </a:lnTo>
                      <a:lnTo>
                        <a:pt x="34" y="426"/>
                      </a:lnTo>
                      <a:lnTo>
                        <a:pt x="32" y="424"/>
                      </a:lnTo>
                      <a:lnTo>
                        <a:pt x="34" y="424"/>
                      </a:lnTo>
                      <a:lnTo>
                        <a:pt x="34" y="422"/>
                      </a:lnTo>
                      <a:lnTo>
                        <a:pt x="34" y="420"/>
                      </a:lnTo>
                      <a:lnTo>
                        <a:pt x="36" y="422"/>
                      </a:lnTo>
                      <a:lnTo>
                        <a:pt x="36" y="424"/>
                      </a:lnTo>
                      <a:lnTo>
                        <a:pt x="40" y="422"/>
                      </a:lnTo>
                      <a:lnTo>
                        <a:pt x="42" y="420"/>
                      </a:lnTo>
                      <a:lnTo>
                        <a:pt x="44" y="416"/>
                      </a:lnTo>
                      <a:lnTo>
                        <a:pt x="46" y="416"/>
                      </a:lnTo>
                      <a:lnTo>
                        <a:pt x="46" y="414"/>
                      </a:lnTo>
                      <a:lnTo>
                        <a:pt x="44" y="414"/>
                      </a:lnTo>
                      <a:lnTo>
                        <a:pt x="44" y="416"/>
                      </a:lnTo>
                      <a:lnTo>
                        <a:pt x="44" y="412"/>
                      </a:lnTo>
                      <a:lnTo>
                        <a:pt x="44" y="405"/>
                      </a:lnTo>
                      <a:lnTo>
                        <a:pt x="44" y="403"/>
                      </a:lnTo>
                      <a:lnTo>
                        <a:pt x="44" y="406"/>
                      </a:lnTo>
                      <a:lnTo>
                        <a:pt x="46" y="406"/>
                      </a:lnTo>
                      <a:lnTo>
                        <a:pt x="44" y="403"/>
                      </a:lnTo>
                      <a:lnTo>
                        <a:pt x="46" y="403"/>
                      </a:lnTo>
                      <a:lnTo>
                        <a:pt x="46" y="405"/>
                      </a:lnTo>
                      <a:lnTo>
                        <a:pt x="46" y="403"/>
                      </a:lnTo>
                      <a:lnTo>
                        <a:pt x="46" y="401"/>
                      </a:lnTo>
                      <a:lnTo>
                        <a:pt x="46" y="403"/>
                      </a:lnTo>
                      <a:lnTo>
                        <a:pt x="46" y="401"/>
                      </a:lnTo>
                      <a:lnTo>
                        <a:pt x="46" y="399"/>
                      </a:lnTo>
                      <a:lnTo>
                        <a:pt x="46" y="397"/>
                      </a:lnTo>
                      <a:lnTo>
                        <a:pt x="44" y="397"/>
                      </a:lnTo>
                      <a:lnTo>
                        <a:pt x="46" y="397"/>
                      </a:lnTo>
                      <a:lnTo>
                        <a:pt x="46" y="395"/>
                      </a:lnTo>
                      <a:lnTo>
                        <a:pt x="46" y="393"/>
                      </a:lnTo>
                      <a:lnTo>
                        <a:pt x="46" y="391"/>
                      </a:lnTo>
                      <a:lnTo>
                        <a:pt x="48" y="391"/>
                      </a:lnTo>
                      <a:lnTo>
                        <a:pt x="48" y="393"/>
                      </a:lnTo>
                      <a:lnTo>
                        <a:pt x="48" y="391"/>
                      </a:lnTo>
                      <a:lnTo>
                        <a:pt x="48" y="389"/>
                      </a:lnTo>
                      <a:lnTo>
                        <a:pt x="49" y="389"/>
                      </a:lnTo>
                      <a:lnTo>
                        <a:pt x="48" y="389"/>
                      </a:lnTo>
                      <a:lnTo>
                        <a:pt x="48" y="391"/>
                      </a:lnTo>
                      <a:lnTo>
                        <a:pt x="48" y="389"/>
                      </a:lnTo>
                      <a:lnTo>
                        <a:pt x="48" y="391"/>
                      </a:lnTo>
                      <a:lnTo>
                        <a:pt x="46" y="391"/>
                      </a:lnTo>
                      <a:lnTo>
                        <a:pt x="46" y="393"/>
                      </a:lnTo>
                      <a:lnTo>
                        <a:pt x="46" y="391"/>
                      </a:lnTo>
                      <a:lnTo>
                        <a:pt x="46" y="389"/>
                      </a:lnTo>
                      <a:lnTo>
                        <a:pt x="44" y="385"/>
                      </a:lnTo>
                      <a:lnTo>
                        <a:pt x="42" y="380"/>
                      </a:lnTo>
                      <a:lnTo>
                        <a:pt x="40" y="378"/>
                      </a:lnTo>
                      <a:lnTo>
                        <a:pt x="38" y="372"/>
                      </a:lnTo>
                      <a:lnTo>
                        <a:pt x="36" y="370"/>
                      </a:lnTo>
                      <a:lnTo>
                        <a:pt x="36" y="368"/>
                      </a:lnTo>
                      <a:lnTo>
                        <a:pt x="34" y="364"/>
                      </a:lnTo>
                      <a:lnTo>
                        <a:pt x="34" y="363"/>
                      </a:lnTo>
                      <a:lnTo>
                        <a:pt x="34" y="361"/>
                      </a:lnTo>
                      <a:lnTo>
                        <a:pt x="34" y="359"/>
                      </a:lnTo>
                      <a:lnTo>
                        <a:pt x="34" y="357"/>
                      </a:lnTo>
                      <a:lnTo>
                        <a:pt x="32" y="355"/>
                      </a:lnTo>
                      <a:lnTo>
                        <a:pt x="32" y="353"/>
                      </a:lnTo>
                      <a:lnTo>
                        <a:pt x="32" y="349"/>
                      </a:lnTo>
                      <a:lnTo>
                        <a:pt x="34" y="345"/>
                      </a:lnTo>
                      <a:lnTo>
                        <a:pt x="32" y="343"/>
                      </a:lnTo>
                      <a:lnTo>
                        <a:pt x="32" y="342"/>
                      </a:lnTo>
                      <a:lnTo>
                        <a:pt x="32" y="340"/>
                      </a:lnTo>
                      <a:lnTo>
                        <a:pt x="30" y="338"/>
                      </a:lnTo>
                      <a:lnTo>
                        <a:pt x="28" y="334"/>
                      </a:lnTo>
                      <a:lnTo>
                        <a:pt x="27" y="332"/>
                      </a:lnTo>
                      <a:lnTo>
                        <a:pt x="27" y="330"/>
                      </a:lnTo>
                      <a:lnTo>
                        <a:pt x="27" y="326"/>
                      </a:lnTo>
                      <a:lnTo>
                        <a:pt x="25" y="326"/>
                      </a:lnTo>
                      <a:lnTo>
                        <a:pt x="25" y="324"/>
                      </a:lnTo>
                      <a:lnTo>
                        <a:pt x="23" y="322"/>
                      </a:lnTo>
                      <a:lnTo>
                        <a:pt x="21" y="321"/>
                      </a:lnTo>
                      <a:lnTo>
                        <a:pt x="19" y="315"/>
                      </a:lnTo>
                      <a:lnTo>
                        <a:pt x="19" y="313"/>
                      </a:lnTo>
                      <a:lnTo>
                        <a:pt x="21" y="313"/>
                      </a:lnTo>
                      <a:lnTo>
                        <a:pt x="21" y="311"/>
                      </a:lnTo>
                      <a:lnTo>
                        <a:pt x="21" y="313"/>
                      </a:lnTo>
                      <a:lnTo>
                        <a:pt x="19" y="307"/>
                      </a:lnTo>
                      <a:lnTo>
                        <a:pt x="13" y="298"/>
                      </a:lnTo>
                      <a:lnTo>
                        <a:pt x="11" y="294"/>
                      </a:lnTo>
                      <a:lnTo>
                        <a:pt x="6" y="290"/>
                      </a:lnTo>
                      <a:lnTo>
                        <a:pt x="6" y="288"/>
                      </a:lnTo>
                      <a:lnTo>
                        <a:pt x="4" y="284"/>
                      </a:lnTo>
                      <a:lnTo>
                        <a:pt x="6" y="284"/>
                      </a:lnTo>
                      <a:lnTo>
                        <a:pt x="6" y="286"/>
                      </a:lnTo>
                      <a:lnTo>
                        <a:pt x="6" y="284"/>
                      </a:lnTo>
                      <a:lnTo>
                        <a:pt x="6" y="282"/>
                      </a:lnTo>
                      <a:lnTo>
                        <a:pt x="6" y="284"/>
                      </a:lnTo>
                      <a:lnTo>
                        <a:pt x="7" y="284"/>
                      </a:lnTo>
                      <a:lnTo>
                        <a:pt x="7" y="286"/>
                      </a:lnTo>
                      <a:lnTo>
                        <a:pt x="7" y="288"/>
                      </a:lnTo>
                      <a:lnTo>
                        <a:pt x="7" y="290"/>
                      </a:lnTo>
                      <a:lnTo>
                        <a:pt x="7" y="288"/>
                      </a:lnTo>
                      <a:lnTo>
                        <a:pt x="7" y="290"/>
                      </a:lnTo>
                      <a:lnTo>
                        <a:pt x="7" y="288"/>
                      </a:lnTo>
                      <a:lnTo>
                        <a:pt x="7" y="286"/>
                      </a:lnTo>
                      <a:lnTo>
                        <a:pt x="7" y="284"/>
                      </a:lnTo>
                      <a:lnTo>
                        <a:pt x="7" y="282"/>
                      </a:lnTo>
                      <a:lnTo>
                        <a:pt x="7" y="284"/>
                      </a:lnTo>
                      <a:lnTo>
                        <a:pt x="9" y="284"/>
                      </a:lnTo>
                      <a:lnTo>
                        <a:pt x="9" y="286"/>
                      </a:lnTo>
                      <a:lnTo>
                        <a:pt x="9" y="288"/>
                      </a:lnTo>
                      <a:lnTo>
                        <a:pt x="9" y="290"/>
                      </a:lnTo>
                      <a:lnTo>
                        <a:pt x="9" y="288"/>
                      </a:lnTo>
                      <a:lnTo>
                        <a:pt x="9" y="290"/>
                      </a:lnTo>
                      <a:lnTo>
                        <a:pt x="9" y="288"/>
                      </a:lnTo>
                      <a:lnTo>
                        <a:pt x="9" y="286"/>
                      </a:lnTo>
                      <a:lnTo>
                        <a:pt x="9" y="288"/>
                      </a:lnTo>
                      <a:lnTo>
                        <a:pt x="11" y="290"/>
                      </a:lnTo>
                      <a:lnTo>
                        <a:pt x="11" y="292"/>
                      </a:lnTo>
                      <a:lnTo>
                        <a:pt x="11" y="294"/>
                      </a:lnTo>
                      <a:lnTo>
                        <a:pt x="11" y="292"/>
                      </a:lnTo>
                      <a:lnTo>
                        <a:pt x="11" y="290"/>
                      </a:lnTo>
                      <a:lnTo>
                        <a:pt x="11" y="292"/>
                      </a:lnTo>
                      <a:lnTo>
                        <a:pt x="11" y="290"/>
                      </a:lnTo>
                      <a:lnTo>
                        <a:pt x="11" y="292"/>
                      </a:lnTo>
                      <a:lnTo>
                        <a:pt x="11" y="294"/>
                      </a:lnTo>
                      <a:lnTo>
                        <a:pt x="11" y="292"/>
                      </a:lnTo>
                      <a:lnTo>
                        <a:pt x="11" y="294"/>
                      </a:lnTo>
                      <a:lnTo>
                        <a:pt x="13" y="294"/>
                      </a:lnTo>
                      <a:lnTo>
                        <a:pt x="13" y="292"/>
                      </a:lnTo>
                      <a:lnTo>
                        <a:pt x="13" y="294"/>
                      </a:lnTo>
                      <a:lnTo>
                        <a:pt x="13" y="292"/>
                      </a:lnTo>
                      <a:lnTo>
                        <a:pt x="15" y="294"/>
                      </a:lnTo>
                      <a:lnTo>
                        <a:pt x="15" y="292"/>
                      </a:lnTo>
                      <a:lnTo>
                        <a:pt x="15" y="290"/>
                      </a:lnTo>
                      <a:lnTo>
                        <a:pt x="15" y="288"/>
                      </a:lnTo>
                      <a:lnTo>
                        <a:pt x="15" y="286"/>
                      </a:lnTo>
                      <a:lnTo>
                        <a:pt x="13" y="286"/>
                      </a:lnTo>
                      <a:lnTo>
                        <a:pt x="11" y="284"/>
                      </a:lnTo>
                      <a:lnTo>
                        <a:pt x="11" y="280"/>
                      </a:lnTo>
                      <a:lnTo>
                        <a:pt x="9" y="280"/>
                      </a:lnTo>
                      <a:lnTo>
                        <a:pt x="9" y="279"/>
                      </a:lnTo>
                      <a:lnTo>
                        <a:pt x="9" y="277"/>
                      </a:lnTo>
                      <a:lnTo>
                        <a:pt x="9" y="279"/>
                      </a:lnTo>
                      <a:lnTo>
                        <a:pt x="7" y="277"/>
                      </a:lnTo>
                      <a:lnTo>
                        <a:pt x="9" y="275"/>
                      </a:lnTo>
                      <a:lnTo>
                        <a:pt x="9" y="273"/>
                      </a:lnTo>
                      <a:lnTo>
                        <a:pt x="9" y="275"/>
                      </a:lnTo>
                      <a:lnTo>
                        <a:pt x="11" y="277"/>
                      </a:lnTo>
                      <a:lnTo>
                        <a:pt x="11" y="275"/>
                      </a:lnTo>
                      <a:lnTo>
                        <a:pt x="11" y="277"/>
                      </a:lnTo>
                      <a:lnTo>
                        <a:pt x="13" y="279"/>
                      </a:lnTo>
                      <a:lnTo>
                        <a:pt x="13" y="280"/>
                      </a:lnTo>
                      <a:lnTo>
                        <a:pt x="13" y="282"/>
                      </a:lnTo>
                      <a:lnTo>
                        <a:pt x="13" y="284"/>
                      </a:lnTo>
                      <a:lnTo>
                        <a:pt x="13" y="286"/>
                      </a:lnTo>
                      <a:lnTo>
                        <a:pt x="15" y="284"/>
                      </a:lnTo>
                      <a:lnTo>
                        <a:pt x="15" y="282"/>
                      </a:lnTo>
                      <a:lnTo>
                        <a:pt x="15" y="280"/>
                      </a:lnTo>
                      <a:lnTo>
                        <a:pt x="17" y="282"/>
                      </a:lnTo>
                      <a:lnTo>
                        <a:pt x="15" y="282"/>
                      </a:lnTo>
                      <a:lnTo>
                        <a:pt x="17" y="284"/>
                      </a:lnTo>
                      <a:lnTo>
                        <a:pt x="17" y="286"/>
                      </a:lnTo>
                      <a:lnTo>
                        <a:pt x="17" y="288"/>
                      </a:lnTo>
                      <a:lnTo>
                        <a:pt x="19" y="290"/>
                      </a:lnTo>
                      <a:lnTo>
                        <a:pt x="21" y="288"/>
                      </a:lnTo>
                      <a:lnTo>
                        <a:pt x="21" y="286"/>
                      </a:lnTo>
                      <a:lnTo>
                        <a:pt x="21" y="284"/>
                      </a:lnTo>
                      <a:lnTo>
                        <a:pt x="21" y="282"/>
                      </a:lnTo>
                      <a:lnTo>
                        <a:pt x="21" y="280"/>
                      </a:lnTo>
                      <a:lnTo>
                        <a:pt x="19" y="279"/>
                      </a:lnTo>
                      <a:lnTo>
                        <a:pt x="19" y="277"/>
                      </a:lnTo>
                      <a:lnTo>
                        <a:pt x="17" y="275"/>
                      </a:lnTo>
                      <a:lnTo>
                        <a:pt x="17" y="273"/>
                      </a:lnTo>
                      <a:lnTo>
                        <a:pt x="15" y="271"/>
                      </a:lnTo>
                      <a:lnTo>
                        <a:pt x="17" y="271"/>
                      </a:lnTo>
                      <a:lnTo>
                        <a:pt x="15" y="271"/>
                      </a:lnTo>
                      <a:lnTo>
                        <a:pt x="15" y="269"/>
                      </a:lnTo>
                      <a:lnTo>
                        <a:pt x="15" y="267"/>
                      </a:lnTo>
                      <a:lnTo>
                        <a:pt x="13" y="267"/>
                      </a:lnTo>
                      <a:lnTo>
                        <a:pt x="11" y="265"/>
                      </a:lnTo>
                      <a:lnTo>
                        <a:pt x="11" y="263"/>
                      </a:lnTo>
                      <a:lnTo>
                        <a:pt x="13" y="263"/>
                      </a:lnTo>
                      <a:lnTo>
                        <a:pt x="11" y="263"/>
                      </a:lnTo>
                      <a:lnTo>
                        <a:pt x="11" y="261"/>
                      </a:lnTo>
                      <a:lnTo>
                        <a:pt x="13" y="261"/>
                      </a:lnTo>
                      <a:lnTo>
                        <a:pt x="11" y="261"/>
                      </a:lnTo>
                      <a:lnTo>
                        <a:pt x="11" y="260"/>
                      </a:lnTo>
                      <a:lnTo>
                        <a:pt x="9" y="258"/>
                      </a:lnTo>
                      <a:lnTo>
                        <a:pt x="9" y="256"/>
                      </a:lnTo>
                      <a:lnTo>
                        <a:pt x="7" y="256"/>
                      </a:lnTo>
                      <a:lnTo>
                        <a:pt x="7" y="252"/>
                      </a:lnTo>
                      <a:lnTo>
                        <a:pt x="9" y="250"/>
                      </a:lnTo>
                      <a:lnTo>
                        <a:pt x="7" y="248"/>
                      </a:lnTo>
                      <a:lnTo>
                        <a:pt x="9" y="248"/>
                      </a:lnTo>
                      <a:lnTo>
                        <a:pt x="9" y="246"/>
                      </a:lnTo>
                      <a:lnTo>
                        <a:pt x="9" y="244"/>
                      </a:lnTo>
                      <a:lnTo>
                        <a:pt x="9" y="242"/>
                      </a:lnTo>
                      <a:lnTo>
                        <a:pt x="11" y="242"/>
                      </a:lnTo>
                      <a:lnTo>
                        <a:pt x="11" y="240"/>
                      </a:lnTo>
                      <a:lnTo>
                        <a:pt x="13" y="239"/>
                      </a:lnTo>
                      <a:lnTo>
                        <a:pt x="13" y="237"/>
                      </a:lnTo>
                      <a:lnTo>
                        <a:pt x="15" y="235"/>
                      </a:lnTo>
                      <a:lnTo>
                        <a:pt x="13" y="231"/>
                      </a:lnTo>
                      <a:lnTo>
                        <a:pt x="15" y="231"/>
                      </a:lnTo>
                      <a:lnTo>
                        <a:pt x="15" y="229"/>
                      </a:lnTo>
                      <a:lnTo>
                        <a:pt x="13" y="225"/>
                      </a:lnTo>
                      <a:lnTo>
                        <a:pt x="11" y="225"/>
                      </a:lnTo>
                      <a:lnTo>
                        <a:pt x="13" y="223"/>
                      </a:lnTo>
                      <a:lnTo>
                        <a:pt x="11" y="223"/>
                      </a:lnTo>
                      <a:lnTo>
                        <a:pt x="13" y="223"/>
                      </a:lnTo>
                      <a:lnTo>
                        <a:pt x="11" y="223"/>
                      </a:lnTo>
                      <a:lnTo>
                        <a:pt x="11" y="221"/>
                      </a:lnTo>
                      <a:lnTo>
                        <a:pt x="13" y="221"/>
                      </a:lnTo>
                      <a:lnTo>
                        <a:pt x="13" y="219"/>
                      </a:lnTo>
                      <a:lnTo>
                        <a:pt x="15" y="218"/>
                      </a:lnTo>
                      <a:lnTo>
                        <a:pt x="17" y="212"/>
                      </a:lnTo>
                      <a:lnTo>
                        <a:pt x="17" y="210"/>
                      </a:lnTo>
                      <a:lnTo>
                        <a:pt x="19" y="210"/>
                      </a:lnTo>
                      <a:lnTo>
                        <a:pt x="21" y="208"/>
                      </a:lnTo>
                      <a:lnTo>
                        <a:pt x="21" y="210"/>
                      </a:lnTo>
                      <a:lnTo>
                        <a:pt x="19" y="210"/>
                      </a:lnTo>
                      <a:lnTo>
                        <a:pt x="19" y="212"/>
                      </a:lnTo>
                      <a:lnTo>
                        <a:pt x="19" y="216"/>
                      </a:lnTo>
                      <a:lnTo>
                        <a:pt x="19" y="218"/>
                      </a:lnTo>
                      <a:lnTo>
                        <a:pt x="19" y="216"/>
                      </a:lnTo>
                      <a:lnTo>
                        <a:pt x="19" y="218"/>
                      </a:lnTo>
                      <a:lnTo>
                        <a:pt x="21" y="218"/>
                      </a:lnTo>
                      <a:lnTo>
                        <a:pt x="21" y="219"/>
                      </a:lnTo>
                      <a:lnTo>
                        <a:pt x="19" y="219"/>
                      </a:lnTo>
                      <a:lnTo>
                        <a:pt x="19" y="221"/>
                      </a:lnTo>
                      <a:lnTo>
                        <a:pt x="21" y="221"/>
                      </a:lnTo>
                      <a:lnTo>
                        <a:pt x="21" y="219"/>
                      </a:lnTo>
                      <a:lnTo>
                        <a:pt x="23" y="219"/>
                      </a:lnTo>
                      <a:lnTo>
                        <a:pt x="23" y="221"/>
                      </a:lnTo>
                      <a:lnTo>
                        <a:pt x="25" y="221"/>
                      </a:lnTo>
                      <a:lnTo>
                        <a:pt x="23" y="219"/>
                      </a:lnTo>
                      <a:lnTo>
                        <a:pt x="25" y="219"/>
                      </a:lnTo>
                      <a:lnTo>
                        <a:pt x="23" y="219"/>
                      </a:lnTo>
                      <a:lnTo>
                        <a:pt x="25" y="219"/>
                      </a:lnTo>
                      <a:lnTo>
                        <a:pt x="25" y="218"/>
                      </a:lnTo>
                      <a:lnTo>
                        <a:pt x="25" y="216"/>
                      </a:lnTo>
                      <a:lnTo>
                        <a:pt x="27" y="216"/>
                      </a:lnTo>
                      <a:lnTo>
                        <a:pt x="25" y="216"/>
                      </a:lnTo>
                      <a:lnTo>
                        <a:pt x="27" y="214"/>
                      </a:lnTo>
                      <a:lnTo>
                        <a:pt x="27" y="216"/>
                      </a:lnTo>
                      <a:lnTo>
                        <a:pt x="27" y="214"/>
                      </a:lnTo>
                      <a:lnTo>
                        <a:pt x="27" y="212"/>
                      </a:lnTo>
                      <a:lnTo>
                        <a:pt x="27" y="214"/>
                      </a:lnTo>
                      <a:lnTo>
                        <a:pt x="27" y="212"/>
                      </a:lnTo>
                      <a:lnTo>
                        <a:pt x="28" y="212"/>
                      </a:lnTo>
                      <a:lnTo>
                        <a:pt x="27" y="212"/>
                      </a:lnTo>
                      <a:lnTo>
                        <a:pt x="28" y="212"/>
                      </a:lnTo>
                      <a:lnTo>
                        <a:pt x="28" y="210"/>
                      </a:lnTo>
                      <a:lnTo>
                        <a:pt x="30" y="208"/>
                      </a:lnTo>
                      <a:lnTo>
                        <a:pt x="32" y="208"/>
                      </a:lnTo>
                      <a:lnTo>
                        <a:pt x="32" y="206"/>
                      </a:lnTo>
                      <a:lnTo>
                        <a:pt x="32" y="208"/>
                      </a:lnTo>
                      <a:lnTo>
                        <a:pt x="32" y="206"/>
                      </a:lnTo>
                      <a:lnTo>
                        <a:pt x="34" y="208"/>
                      </a:lnTo>
                      <a:lnTo>
                        <a:pt x="34" y="206"/>
                      </a:lnTo>
                      <a:lnTo>
                        <a:pt x="34" y="208"/>
                      </a:lnTo>
                      <a:lnTo>
                        <a:pt x="34" y="206"/>
                      </a:lnTo>
                      <a:lnTo>
                        <a:pt x="34" y="208"/>
                      </a:lnTo>
                      <a:lnTo>
                        <a:pt x="34" y="206"/>
                      </a:lnTo>
                      <a:lnTo>
                        <a:pt x="36" y="206"/>
                      </a:lnTo>
                      <a:lnTo>
                        <a:pt x="38" y="206"/>
                      </a:lnTo>
                      <a:lnTo>
                        <a:pt x="40" y="204"/>
                      </a:lnTo>
                      <a:lnTo>
                        <a:pt x="42" y="204"/>
                      </a:lnTo>
                      <a:lnTo>
                        <a:pt x="42" y="202"/>
                      </a:lnTo>
                      <a:lnTo>
                        <a:pt x="42" y="204"/>
                      </a:lnTo>
                      <a:lnTo>
                        <a:pt x="42" y="202"/>
                      </a:lnTo>
                      <a:lnTo>
                        <a:pt x="44" y="202"/>
                      </a:lnTo>
                      <a:lnTo>
                        <a:pt x="42" y="202"/>
                      </a:lnTo>
                      <a:lnTo>
                        <a:pt x="44" y="202"/>
                      </a:lnTo>
                      <a:lnTo>
                        <a:pt x="44" y="200"/>
                      </a:lnTo>
                      <a:lnTo>
                        <a:pt x="44" y="202"/>
                      </a:lnTo>
                      <a:lnTo>
                        <a:pt x="44" y="200"/>
                      </a:lnTo>
                      <a:lnTo>
                        <a:pt x="46" y="200"/>
                      </a:lnTo>
                      <a:lnTo>
                        <a:pt x="48" y="200"/>
                      </a:lnTo>
                      <a:lnTo>
                        <a:pt x="46" y="200"/>
                      </a:lnTo>
                      <a:lnTo>
                        <a:pt x="48" y="198"/>
                      </a:lnTo>
                      <a:lnTo>
                        <a:pt x="48" y="197"/>
                      </a:lnTo>
                      <a:lnTo>
                        <a:pt x="48" y="198"/>
                      </a:lnTo>
                      <a:lnTo>
                        <a:pt x="48" y="197"/>
                      </a:lnTo>
                      <a:lnTo>
                        <a:pt x="49" y="197"/>
                      </a:lnTo>
                      <a:lnTo>
                        <a:pt x="51" y="195"/>
                      </a:lnTo>
                      <a:lnTo>
                        <a:pt x="51" y="197"/>
                      </a:lnTo>
                      <a:lnTo>
                        <a:pt x="51" y="195"/>
                      </a:lnTo>
                      <a:lnTo>
                        <a:pt x="53" y="193"/>
                      </a:lnTo>
                      <a:lnTo>
                        <a:pt x="55" y="193"/>
                      </a:lnTo>
                      <a:lnTo>
                        <a:pt x="57" y="193"/>
                      </a:lnTo>
                      <a:lnTo>
                        <a:pt x="57" y="191"/>
                      </a:lnTo>
                      <a:lnTo>
                        <a:pt x="57" y="193"/>
                      </a:lnTo>
                      <a:lnTo>
                        <a:pt x="57" y="191"/>
                      </a:lnTo>
                      <a:lnTo>
                        <a:pt x="59" y="191"/>
                      </a:lnTo>
                      <a:lnTo>
                        <a:pt x="61" y="191"/>
                      </a:lnTo>
                      <a:lnTo>
                        <a:pt x="59" y="191"/>
                      </a:lnTo>
                      <a:lnTo>
                        <a:pt x="61" y="191"/>
                      </a:lnTo>
                      <a:lnTo>
                        <a:pt x="59" y="191"/>
                      </a:lnTo>
                      <a:lnTo>
                        <a:pt x="61" y="191"/>
                      </a:lnTo>
                      <a:lnTo>
                        <a:pt x="61" y="189"/>
                      </a:lnTo>
                      <a:lnTo>
                        <a:pt x="63" y="189"/>
                      </a:lnTo>
                      <a:lnTo>
                        <a:pt x="61" y="189"/>
                      </a:lnTo>
                      <a:lnTo>
                        <a:pt x="63" y="187"/>
                      </a:lnTo>
                      <a:lnTo>
                        <a:pt x="63" y="189"/>
                      </a:lnTo>
                      <a:lnTo>
                        <a:pt x="61" y="191"/>
                      </a:lnTo>
                      <a:lnTo>
                        <a:pt x="63" y="189"/>
                      </a:lnTo>
                      <a:lnTo>
                        <a:pt x="63" y="191"/>
                      </a:lnTo>
                      <a:lnTo>
                        <a:pt x="65" y="191"/>
                      </a:lnTo>
                      <a:lnTo>
                        <a:pt x="65" y="189"/>
                      </a:lnTo>
                      <a:lnTo>
                        <a:pt x="67" y="189"/>
                      </a:lnTo>
                      <a:lnTo>
                        <a:pt x="68" y="189"/>
                      </a:lnTo>
                      <a:lnTo>
                        <a:pt x="68" y="191"/>
                      </a:lnTo>
                      <a:lnTo>
                        <a:pt x="68" y="189"/>
                      </a:lnTo>
                      <a:lnTo>
                        <a:pt x="68" y="191"/>
                      </a:lnTo>
                      <a:lnTo>
                        <a:pt x="70" y="191"/>
                      </a:lnTo>
                      <a:lnTo>
                        <a:pt x="68" y="191"/>
                      </a:lnTo>
                      <a:lnTo>
                        <a:pt x="70" y="191"/>
                      </a:lnTo>
                      <a:lnTo>
                        <a:pt x="72" y="191"/>
                      </a:lnTo>
                      <a:lnTo>
                        <a:pt x="70" y="191"/>
                      </a:lnTo>
                      <a:lnTo>
                        <a:pt x="72" y="191"/>
                      </a:lnTo>
                      <a:lnTo>
                        <a:pt x="74" y="191"/>
                      </a:lnTo>
                      <a:lnTo>
                        <a:pt x="76" y="189"/>
                      </a:lnTo>
                      <a:lnTo>
                        <a:pt x="74" y="191"/>
                      </a:lnTo>
                      <a:lnTo>
                        <a:pt x="76" y="191"/>
                      </a:lnTo>
                      <a:lnTo>
                        <a:pt x="76" y="189"/>
                      </a:lnTo>
                      <a:lnTo>
                        <a:pt x="76" y="191"/>
                      </a:lnTo>
                      <a:lnTo>
                        <a:pt x="76" y="189"/>
                      </a:lnTo>
                      <a:lnTo>
                        <a:pt x="76" y="191"/>
                      </a:lnTo>
                      <a:lnTo>
                        <a:pt x="78" y="189"/>
                      </a:lnTo>
                      <a:lnTo>
                        <a:pt x="80" y="189"/>
                      </a:lnTo>
                      <a:lnTo>
                        <a:pt x="80" y="187"/>
                      </a:lnTo>
                      <a:lnTo>
                        <a:pt x="80" y="189"/>
                      </a:lnTo>
                      <a:lnTo>
                        <a:pt x="80" y="187"/>
                      </a:lnTo>
                      <a:lnTo>
                        <a:pt x="80" y="189"/>
                      </a:lnTo>
                      <a:lnTo>
                        <a:pt x="80" y="187"/>
                      </a:lnTo>
                      <a:lnTo>
                        <a:pt x="82" y="187"/>
                      </a:lnTo>
                      <a:lnTo>
                        <a:pt x="82" y="185"/>
                      </a:lnTo>
                      <a:lnTo>
                        <a:pt x="84" y="185"/>
                      </a:lnTo>
                      <a:lnTo>
                        <a:pt x="84" y="183"/>
                      </a:lnTo>
                      <a:lnTo>
                        <a:pt x="84" y="185"/>
                      </a:lnTo>
                      <a:lnTo>
                        <a:pt x="86" y="185"/>
                      </a:lnTo>
                      <a:lnTo>
                        <a:pt x="86" y="183"/>
                      </a:lnTo>
                      <a:lnTo>
                        <a:pt x="86" y="185"/>
                      </a:lnTo>
                      <a:lnTo>
                        <a:pt x="88" y="185"/>
                      </a:lnTo>
                      <a:lnTo>
                        <a:pt x="88" y="183"/>
                      </a:lnTo>
                      <a:lnTo>
                        <a:pt x="88" y="185"/>
                      </a:lnTo>
                      <a:lnTo>
                        <a:pt x="88" y="183"/>
                      </a:lnTo>
                      <a:lnTo>
                        <a:pt x="89" y="185"/>
                      </a:lnTo>
                      <a:lnTo>
                        <a:pt x="89" y="183"/>
                      </a:lnTo>
                      <a:lnTo>
                        <a:pt x="89" y="185"/>
                      </a:lnTo>
                      <a:lnTo>
                        <a:pt x="89" y="183"/>
                      </a:lnTo>
                      <a:lnTo>
                        <a:pt x="89" y="185"/>
                      </a:lnTo>
                      <a:lnTo>
                        <a:pt x="89" y="183"/>
                      </a:lnTo>
                      <a:lnTo>
                        <a:pt x="89" y="185"/>
                      </a:lnTo>
                      <a:lnTo>
                        <a:pt x="89" y="183"/>
                      </a:lnTo>
                      <a:lnTo>
                        <a:pt x="91" y="185"/>
                      </a:lnTo>
                      <a:lnTo>
                        <a:pt x="91" y="183"/>
                      </a:lnTo>
                      <a:lnTo>
                        <a:pt x="89" y="183"/>
                      </a:lnTo>
                      <a:lnTo>
                        <a:pt x="91" y="183"/>
                      </a:lnTo>
                      <a:lnTo>
                        <a:pt x="91" y="185"/>
                      </a:lnTo>
                      <a:lnTo>
                        <a:pt x="93" y="183"/>
                      </a:lnTo>
                      <a:lnTo>
                        <a:pt x="95" y="183"/>
                      </a:lnTo>
                      <a:lnTo>
                        <a:pt x="93" y="183"/>
                      </a:lnTo>
                      <a:lnTo>
                        <a:pt x="95" y="183"/>
                      </a:lnTo>
                      <a:lnTo>
                        <a:pt x="95" y="181"/>
                      </a:lnTo>
                      <a:lnTo>
                        <a:pt x="95" y="183"/>
                      </a:lnTo>
                      <a:lnTo>
                        <a:pt x="95" y="181"/>
                      </a:lnTo>
                      <a:lnTo>
                        <a:pt x="97" y="181"/>
                      </a:lnTo>
                      <a:lnTo>
                        <a:pt x="97" y="179"/>
                      </a:lnTo>
                      <a:lnTo>
                        <a:pt x="99" y="179"/>
                      </a:lnTo>
                      <a:lnTo>
                        <a:pt x="99" y="177"/>
                      </a:lnTo>
                      <a:lnTo>
                        <a:pt x="101" y="179"/>
                      </a:lnTo>
                      <a:lnTo>
                        <a:pt x="99" y="177"/>
                      </a:lnTo>
                      <a:lnTo>
                        <a:pt x="101" y="177"/>
                      </a:lnTo>
                      <a:lnTo>
                        <a:pt x="103" y="177"/>
                      </a:lnTo>
                      <a:lnTo>
                        <a:pt x="103" y="179"/>
                      </a:lnTo>
                      <a:lnTo>
                        <a:pt x="103" y="177"/>
                      </a:lnTo>
                      <a:lnTo>
                        <a:pt x="105" y="179"/>
                      </a:lnTo>
                      <a:lnTo>
                        <a:pt x="107" y="179"/>
                      </a:lnTo>
                      <a:lnTo>
                        <a:pt x="109" y="179"/>
                      </a:lnTo>
                      <a:lnTo>
                        <a:pt x="109" y="177"/>
                      </a:lnTo>
                      <a:lnTo>
                        <a:pt x="109" y="179"/>
                      </a:lnTo>
                      <a:lnTo>
                        <a:pt x="109" y="177"/>
                      </a:lnTo>
                      <a:lnTo>
                        <a:pt x="110" y="177"/>
                      </a:lnTo>
                      <a:lnTo>
                        <a:pt x="112" y="177"/>
                      </a:lnTo>
                      <a:lnTo>
                        <a:pt x="116" y="177"/>
                      </a:lnTo>
                      <a:lnTo>
                        <a:pt x="124" y="174"/>
                      </a:lnTo>
                      <a:lnTo>
                        <a:pt x="128" y="172"/>
                      </a:lnTo>
                      <a:lnTo>
                        <a:pt x="131" y="170"/>
                      </a:lnTo>
                      <a:lnTo>
                        <a:pt x="133" y="168"/>
                      </a:lnTo>
                      <a:lnTo>
                        <a:pt x="137" y="164"/>
                      </a:lnTo>
                      <a:lnTo>
                        <a:pt x="137" y="162"/>
                      </a:lnTo>
                      <a:lnTo>
                        <a:pt x="137" y="160"/>
                      </a:lnTo>
                      <a:lnTo>
                        <a:pt x="139" y="160"/>
                      </a:lnTo>
                      <a:lnTo>
                        <a:pt x="137" y="160"/>
                      </a:lnTo>
                      <a:lnTo>
                        <a:pt x="139" y="158"/>
                      </a:lnTo>
                      <a:lnTo>
                        <a:pt x="139" y="156"/>
                      </a:lnTo>
                      <a:lnTo>
                        <a:pt x="141" y="156"/>
                      </a:lnTo>
                      <a:lnTo>
                        <a:pt x="141" y="155"/>
                      </a:lnTo>
                      <a:lnTo>
                        <a:pt x="141" y="153"/>
                      </a:lnTo>
                      <a:lnTo>
                        <a:pt x="141" y="155"/>
                      </a:lnTo>
                      <a:lnTo>
                        <a:pt x="141" y="153"/>
                      </a:lnTo>
                      <a:lnTo>
                        <a:pt x="143" y="153"/>
                      </a:lnTo>
                      <a:lnTo>
                        <a:pt x="145" y="153"/>
                      </a:lnTo>
                      <a:lnTo>
                        <a:pt x="145" y="151"/>
                      </a:lnTo>
                      <a:lnTo>
                        <a:pt x="147" y="151"/>
                      </a:lnTo>
                      <a:lnTo>
                        <a:pt x="147" y="149"/>
                      </a:lnTo>
                      <a:lnTo>
                        <a:pt x="149" y="149"/>
                      </a:lnTo>
                      <a:lnTo>
                        <a:pt x="150" y="147"/>
                      </a:lnTo>
                      <a:lnTo>
                        <a:pt x="150" y="145"/>
                      </a:lnTo>
                      <a:lnTo>
                        <a:pt x="149" y="143"/>
                      </a:lnTo>
                      <a:lnTo>
                        <a:pt x="149" y="145"/>
                      </a:lnTo>
                      <a:lnTo>
                        <a:pt x="147" y="145"/>
                      </a:lnTo>
                      <a:lnTo>
                        <a:pt x="149" y="145"/>
                      </a:lnTo>
                      <a:lnTo>
                        <a:pt x="149" y="143"/>
                      </a:lnTo>
                      <a:lnTo>
                        <a:pt x="149" y="141"/>
                      </a:lnTo>
                      <a:lnTo>
                        <a:pt x="149" y="139"/>
                      </a:lnTo>
                      <a:lnTo>
                        <a:pt x="147" y="137"/>
                      </a:lnTo>
                      <a:lnTo>
                        <a:pt x="147" y="134"/>
                      </a:lnTo>
                      <a:lnTo>
                        <a:pt x="147" y="132"/>
                      </a:lnTo>
                      <a:lnTo>
                        <a:pt x="149" y="132"/>
                      </a:lnTo>
                      <a:lnTo>
                        <a:pt x="149" y="130"/>
                      </a:lnTo>
                      <a:lnTo>
                        <a:pt x="149" y="132"/>
                      </a:lnTo>
                      <a:lnTo>
                        <a:pt x="149" y="130"/>
                      </a:lnTo>
                      <a:lnTo>
                        <a:pt x="150" y="130"/>
                      </a:lnTo>
                      <a:lnTo>
                        <a:pt x="149" y="130"/>
                      </a:lnTo>
                      <a:lnTo>
                        <a:pt x="150" y="130"/>
                      </a:lnTo>
                      <a:lnTo>
                        <a:pt x="149" y="130"/>
                      </a:lnTo>
                      <a:lnTo>
                        <a:pt x="150" y="128"/>
                      </a:lnTo>
                      <a:lnTo>
                        <a:pt x="152" y="128"/>
                      </a:lnTo>
                      <a:lnTo>
                        <a:pt x="152" y="126"/>
                      </a:lnTo>
                      <a:lnTo>
                        <a:pt x="152" y="128"/>
                      </a:lnTo>
                      <a:lnTo>
                        <a:pt x="154" y="128"/>
                      </a:lnTo>
                      <a:lnTo>
                        <a:pt x="154" y="126"/>
                      </a:lnTo>
                      <a:lnTo>
                        <a:pt x="152" y="126"/>
                      </a:lnTo>
                      <a:lnTo>
                        <a:pt x="154" y="126"/>
                      </a:lnTo>
                      <a:lnTo>
                        <a:pt x="154" y="124"/>
                      </a:lnTo>
                      <a:lnTo>
                        <a:pt x="156" y="124"/>
                      </a:lnTo>
                      <a:lnTo>
                        <a:pt x="158" y="124"/>
                      </a:lnTo>
                      <a:lnTo>
                        <a:pt x="156" y="124"/>
                      </a:lnTo>
                      <a:lnTo>
                        <a:pt x="158" y="124"/>
                      </a:lnTo>
                      <a:lnTo>
                        <a:pt x="156" y="124"/>
                      </a:lnTo>
                      <a:lnTo>
                        <a:pt x="158" y="122"/>
                      </a:lnTo>
                      <a:lnTo>
                        <a:pt x="156" y="124"/>
                      </a:lnTo>
                      <a:lnTo>
                        <a:pt x="156" y="122"/>
                      </a:lnTo>
                      <a:lnTo>
                        <a:pt x="158" y="120"/>
                      </a:lnTo>
                      <a:lnTo>
                        <a:pt x="160" y="120"/>
                      </a:lnTo>
                      <a:lnTo>
                        <a:pt x="158" y="118"/>
                      </a:lnTo>
                      <a:lnTo>
                        <a:pt x="160" y="118"/>
                      </a:lnTo>
                      <a:lnTo>
                        <a:pt x="158" y="118"/>
                      </a:lnTo>
                      <a:lnTo>
                        <a:pt x="160" y="118"/>
                      </a:lnTo>
                      <a:lnTo>
                        <a:pt x="162" y="118"/>
                      </a:lnTo>
                      <a:lnTo>
                        <a:pt x="160" y="118"/>
                      </a:lnTo>
                      <a:lnTo>
                        <a:pt x="162" y="118"/>
                      </a:lnTo>
                      <a:lnTo>
                        <a:pt x="160" y="118"/>
                      </a:lnTo>
                      <a:lnTo>
                        <a:pt x="162" y="118"/>
                      </a:lnTo>
                      <a:lnTo>
                        <a:pt x="162" y="120"/>
                      </a:lnTo>
                      <a:lnTo>
                        <a:pt x="162" y="118"/>
                      </a:lnTo>
                      <a:lnTo>
                        <a:pt x="160" y="118"/>
                      </a:lnTo>
                      <a:lnTo>
                        <a:pt x="160" y="120"/>
                      </a:lnTo>
                      <a:lnTo>
                        <a:pt x="160" y="122"/>
                      </a:lnTo>
                      <a:lnTo>
                        <a:pt x="162" y="122"/>
                      </a:lnTo>
                      <a:lnTo>
                        <a:pt x="162" y="124"/>
                      </a:lnTo>
                      <a:lnTo>
                        <a:pt x="162" y="122"/>
                      </a:lnTo>
                      <a:lnTo>
                        <a:pt x="162" y="124"/>
                      </a:lnTo>
                      <a:lnTo>
                        <a:pt x="164" y="124"/>
                      </a:lnTo>
                      <a:lnTo>
                        <a:pt x="164" y="126"/>
                      </a:lnTo>
                      <a:lnTo>
                        <a:pt x="162" y="126"/>
                      </a:lnTo>
                      <a:lnTo>
                        <a:pt x="164" y="126"/>
                      </a:lnTo>
                      <a:lnTo>
                        <a:pt x="164" y="128"/>
                      </a:lnTo>
                      <a:lnTo>
                        <a:pt x="166" y="128"/>
                      </a:lnTo>
                      <a:lnTo>
                        <a:pt x="166" y="130"/>
                      </a:lnTo>
                      <a:lnTo>
                        <a:pt x="166" y="132"/>
                      </a:lnTo>
                      <a:lnTo>
                        <a:pt x="168" y="132"/>
                      </a:lnTo>
                      <a:lnTo>
                        <a:pt x="168" y="134"/>
                      </a:lnTo>
                      <a:lnTo>
                        <a:pt x="168" y="135"/>
                      </a:lnTo>
                      <a:lnTo>
                        <a:pt x="170" y="135"/>
                      </a:lnTo>
                      <a:lnTo>
                        <a:pt x="170" y="137"/>
                      </a:lnTo>
                      <a:lnTo>
                        <a:pt x="170" y="139"/>
                      </a:lnTo>
                      <a:lnTo>
                        <a:pt x="170" y="137"/>
                      </a:lnTo>
                      <a:lnTo>
                        <a:pt x="170" y="135"/>
                      </a:lnTo>
                      <a:lnTo>
                        <a:pt x="170" y="134"/>
                      </a:lnTo>
                      <a:lnTo>
                        <a:pt x="171" y="132"/>
                      </a:lnTo>
                      <a:lnTo>
                        <a:pt x="171" y="134"/>
                      </a:lnTo>
                      <a:lnTo>
                        <a:pt x="171" y="132"/>
                      </a:lnTo>
                      <a:lnTo>
                        <a:pt x="171" y="134"/>
                      </a:lnTo>
                      <a:lnTo>
                        <a:pt x="171" y="132"/>
                      </a:lnTo>
                      <a:lnTo>
                        <a:pt x="170" y="130"/>
                      </a:lnTo>
                      <a:lnTo>
                        <a:pt x="170" y="128"/>
                      </a:lnTo>
                      <a:lnTo>
                        <a:pt x="171" y="128"/>
                      </a:lnTo>
                      <a:lnTo>
                        <a:pt x="170" y="128"/>
                      </a:lnTo>
                      <a:lnTo>
                        <a:pt x="171" y="128"/>
                      </a:lnTo>
                      <a:lnTo>
                        <a:pt x="171" y="130"/>
                      </a:lnTo>
                      <a:lnTo>
                        <a:pt x="171" y="128"/>
                      </a:lnTo>
                      <a:lnTo>
                        <a:pt x="171" y="130"/>
                      </a:lnTo>
                      <a:lnTo>
                        <a:pt x="173" y="130"/>
                      </a:lnTo>
                      <a:lnTo>
                        <a:pt x="173" y="132"/>
                      </a:lnTo>
                      <a:lnTo>
                        <a:pt x="173" y="130"/>
                      </a:lnTo>
                      <a:lnTo>
                        <a:pt x="171" y="130"/>
                      </a:lnTo>
                      <a:lnTo>
                        <a:pt x="171" y="128"/>
                      </a:lnTo>
                      <a:lnTo>
                        <a:pt x="173" y="130"/>
                      </a:lnTo>
                      <a:lnTo>
                        <a:pt x="173" y="132"/>
                      </a:lnTo>
                      <a:lnTo>
                        <a:pt x="175" y="132"/>
                      </a:lnTo>
                      <a:lnTo>
                        <a:pt x="175" y="134"/>
                      </a:lnTo>
                      <a:lnTo>
                        <a:pt x="175" y="132"/>
                      </a:lnTo>
                      <a:lnTo>
                        <a:pt x="173" y="130"/>
                      </a:lnTo>
                      <a:lnTo>
                        <a:pt x="173" y="128"/>
                      </a:lnTo>
                      <a:lnTo>
                        <a:pt x="175" y="128"/>
                      </a:lnTo>
                      <a:lnTo>
                        <a:pt x="175" y="130"/>
                      </a:lnTo>
                      <a:lnTo>
                        <a:pt x="175" y="128"/>
                      </a:lnTo>
                      <a:lnTo>
                        <a:pt x="173" y="128"/>
                      </a:lnTo>
                      <a:lnTo>
                        <a:pt x="175" y="126"/>
                      </a:lnTo>
                      <a:lnTo>
                        <a:pt x="173" y="126"/>
                      </a:lnTo>
                      <a:lnTo>
                        <a:pt x="171" y="124"/>
                      </a:lnTo>
                      <a:lnTo>
                        <a:pt x="170" y="122"/>
                      </a:lnTo>
                      <a:lnTo>
                        <a:pt x="168" y="122"/>
                      </a:lnTo>
                      <a:lnTo>
                        <a:pt x="170" y="122"/>
                      </a:lnTo>
                      <a:lnTo>
                        <a:pt x="170" y="120"/>
                      </a:lnTo>
                      <a:lnTo>
                        <a:pt x="170" y="122"/>
                      </a:lnTo>
                      <a:lnTo>
                        <a:pt x="168" y="120"/>
                      </a:lnTo>
                      <a:lnTo>
                        <a:pt x="170" y="120"/>
                      </a:lnTo>
                      <a:lnTo>
                        <a:pt x="168" y="120"/>
                      </a:lnTo>
                      <a:lnTo>
                        <a:pt x="168" y="118"/>
                      </a:lnTo>
                      <a:lnTo>
                        <a:pt x="170" y="120"/>
                      </a:lnTo>
                      <a:lnTo>
                        <a:pt x="171" y="120"/>
                      </a:lnTo>
                      <a:lnTo>
                        <a:pt x="170" y="120"/>
                      </a:lnTo>
                      <a:lnTo>
                        <a:pt x="171" y="120"/>
                      </a:lnTo>
                      <a:lnTo>
                        <a:pt x="170" y="118"/>
                      </a:lnTo>
                      <a:lnTo>
                        <a:pt x="171" y="118"/>
                      </a:lnTo>
                      <a:lnTo>
                        <a:pt x="171" y="116"/>
                      </a:lnTo>
                      <a:lnTo>
                        <a:pt x="171" y="118"/>
                      </a:lnTo>
                      <a:lnTo>
                        <a:pt x="171" y="116"/>
                      </a:lnTo>
                      <a:lnTo>
                        <a:pt x="170" y="116"/>
                      </a:lnTo>
                      <a:lnTo>
                        <a:pt x="171" y="116"/>
                      </a:lnTo>
                      <a:lnTo>
                        <a:pt x="170" y="116"/>
                      </a:lnTo>
                      <a:lnTo>
                        <a:pt x="170" y="114"/>
                      </a:lnTo>
                      <a:lnTo>
                        <a:pt x="171" y="114"/>
                      </a:lnTo>
                      <a:lnTo>
                        <a:pt x="170" y="114"/>
                      </a:lnTo>
                      <a:lnTo>
                        <a:pt x="171" y="114"/>
                      </a:lnTo>
                      <a:lnTo>
                        <a:pt x="173" y="114"/>
                      </a:lnTo>
                      <a:lnTo>
                        <a:pt x="173" y="116"/>
                      </a:lnTo>
                      <a:lnTo>
                        <a:pt x="173" y="114"/>
                      </a:lnTo>
                      <a:lnTo>
                        <a:pt x="173" y="116"/>
                      </a:lnTo>
                      <a:lnTo>
                        <a:pt x="171" y="116"/>
                      </a:lnTo>
                      <a:lnTo>
                        <a:pt x="173" y="116"/>
                      </a:lnTo>
                      <a:lnTo>
                        <a:pt x="175" y="116"/>
                      </a:lnTo>
                      <a:lnTo>
                        <a:pt x="173" y="116"/>
                      </a:lnTo>
                      <a:lnTo>
                        <a:pt x="175" y="116"/>
                      </a:lnTo>
                      <a:lnTo>
                        <a:pt x="175" y="118"/>
                      </a:lnTo>
                      <a:lnTo>
                        <a:pt x="173" y="116"/>
                      </a:lnTo>
                      <a:lnTo>
                        <a:pt x="173" y="118"/>
                      </a:lnTo>
                      <a:lnTo>
                        <a:pt x="175" y="118"/>
                      </a:lnTo>
                      <a:lnTo>
                        <a:pt x="175" y="116"/>
                      </a:lnTo>
                      <a:lnTo>
                        <a:pt x="175" y="118"/>
                      </a:lnTo>
                      <a:lnTo>
                        <a:pt x="175" y="116"/>
                      </a:lnTo>
                      <a:lnTo>
                        <a:pt x="175" y="118"/>
                      </a:lnTo>
                      <a:lnTo>
                        <a:pt x="177" y="118"/>
                      </a:lnTo>
                      <a:lnTo>
                        <a:pt x="175" y="116"/>
                      </a:lnTo>
                      <a:lnTo>
                        <a:pt x="177" y="116"/>
                      </a:lnTo>
                      <a:lnTo>
                        <a:pt x="175" y="116"/>
                      </a:lnTo>
                      <a:lnTo>
                        <a:pt x="175" y="114"/>
                      </a:lnTo>
                      <a:lnTo>
                        <a:pt x="175" y="116"/>
                      </a:lnTo>
                      <a:lnTo>
                        <a:pt x="177" y="116"/>
                      </a:lnTo>
                      <a:lnTo>
                        <a:pt x="179" y="116"/>
                      </a:lnTo>
                      <a:lnTo>
                        <a:pt x="179" y="118"/>
                      </a:lnTo>
                      <a:lnTo>
                        <a:pt x="181" y="118"/>
                      </a:lnTo>
                      <a:lnTo>
                        <a:pt x="183" y="118"/>
                      </a:lnTo>
                      <a:lnTo>
                        <a:pt x="183" y="120"/>
                      </a:lnTo>
                      <a:lnTo>
                        <a:pt x="185" y="120"/>
                      </a:lnTo>
                      <a:lnTo>
                        <a:pt x="183" y="120"/>
                      </a:lnTo>
                      <a:lnTo>
                        <a:pt x="183" y="118"/>
                      </a:lnTo>
                      <a:lnTo>
                        <a:pt x="181" y="118"/>
                      </a:lnTo>
                      <a:lnTo>
                        <a:pt x="183" y="118"/>
                      </a:lnTo>
                      <a:lnTo>
                        <a:pt x="183" y="116"/>
                      </a:lnTo>
                      <a:lnTo>
                        <a:pt x="183" y="118"/>
                      </a:lnTo>
                      <a:lnTo>
                        <a:pt x="185" y="118"/>
                      </a:lnTo>
                      <a:lnTo>
                        <a:pt x="187" y="118"/>
                      </a:lnTo>
                      <a:lnTo>
                        <a:pt x="189" y="118"/>
                      </a:lnTo>
                      <a:lnTo>
                        <a:pt x="191" y="118"/>
                      </a:lnTo>
                      <a:lnTo>
                        <a:pt x="192" y="118"/>
                      </a:lnTo>
                      <a:lnTo>
                        <a:pt x="191" y="118"/>
                      </a:lnTo>
                      <a:lnTo>
                        <a:pt x="189" y="118"/>
                      </a:lnTo>
                      <a:lnTo>
                        <a:pt x="187" y="116"/>
                      </a:lnTo>
                      <a:lnTo>
                        <a:pt x="185" y="116"/>
                      </a:lnTo>
                      <a:lnTo>
                        <a:pt x="183" y="118"/>
                      </a:lnTo>
                      <a:lnTo>
                        <a:pt x="183" y="116"/>
                      </a:lnTo>
                      <a:lnTo>
                        <a:pt x="183" y="114"/>
                      </a:lnTo>
                      <a:lnTo>
                        <a:pt x="183" y="113"/>
                      </a:lnTo>
                      <a:lnTo>
                        <a:pt x="185" y="113"/>
                      </a:lnTo>
                      <a:lnTo>
                        <a:pt x="183" y="113"/>
                      </a:lnTo>
                      <a:lnTo>
                        <a:pt x="185" y="114"/>
                      </a:lnTo>
                      <a:lnTo>
                        <a:pt x="185" y="113"/>
                      </a:lnTo>
                      <a:lnTo>
                        <a:pt x="187" y="113"/>
                      </a:lnTo>
                      <a:lnTo>
                        <a:pt x="187" y="111"/>
                      </a:lnTo>
                      <a:lnTo>
                        <a:pt x="187" y="109"/>
                      </a:lnTo>
                      <a:lnTo>
                        <a:pt x="189" y="109"/>
                      </a:lnTo>
                      <a:lnTo>
                        <a:pt x="189" y="107"/>
                      </a:lnTo>
                      <a:lnTo>
                        <a:pt x="191" y="105"/>
                      </a:lnTo>
                      <a:lnTo>
                        <a:pt x="189" y="107"/>
                      </a:lnTo>
                      <a:lnTo>
                        <a:pt x="189" y="105"/>
                      </a:lnTo>
                      <a:lnTo>
                        <a:pt x="187" y="105"/>
                      </a:lnTo>
                      <a:lnTo>
                        <a:pt x="189" y="105"/>
                      </a:lnTo>
                      <a:lnTo>
                        <a:pt x="189" y="107"/>
                      </a:lnTo>
                      <a:lnTo>
                        <a:pt x="189" y="109"/>
                      </a:lnTo>
                      <a:lnTo>
                        <a:pt x="187" y="107"/>
                      </a:lnTo>
                      <a:lnTo>
                        <a:pt x="189" y="107"/>
                      </a:lnTo>
                      <a:lnTo>
                        <a:pt x="187" y="109"/>
                      </a:lnTo>
                      <a:lnTo>
                        <a:pt x="189" y="107"/>
                      </a:lnTo>
                      <a:lnTo>
                        <a:pt x="187" y="107"/>
                      </a:lnTo>
                      <a:lnTo>
                        <a:pt x="187" y="109"/>
                      </a:lnTo>
                      <a:lnTo>
                        <a:pt x="187" y="107"/>
                      </a:lnTo>
                      <a:lnTo>
                        <a:pt x="185" y="109"/>
                      </a:lnTo>
                      <a:lnTo>
                        <a:pt x="185" y="111"/>
                      </a:lnTo>
                      <a:lnTo>
                        <a:pt x="185" y="109"/>
                      </a:lnTo>
                      <a:lnTo>
                        <a:pt x="183" y="109"/>
                      </a:lnTo>
                      <a:lnTo>
                        <a:pt x="185" y="109"/>
                      </a:lnTo>
                      <a:lnTo>
                        <a:pt x="183" y="109"/>
                      </a:lnTo>
                      <a:lnTo>
                        <a:pt x="185" y="109"/>
                      </a:lnTo>
                      <a:lnTo>
                        <a:pt x="183" y="109"/>
                      </a:lnTo>
                      <a:lnTo>
                        <a:pt x="183" y="107"/>
                      </a:lnTo>
                      <a:lnTo>
                        <a:pt x="183" y="105"/>
                      </a:lnTo>
                      <a:lnTo>
                        <a:pt x="183" y="107"/>
                      </a:lnTo>
                      <a:lnTo>
                        <a:pt x="183" y="105"/>
                      </a:lnTo>
                      <a:lnTo>
                        <a:pt x="183" y="107"/>
                      </a:lnTo>
                      <a:lnTo>
                        <a:pt x="183" y="105"/>
                      </a:lnTo>
                      <a:lnTo>
                        <a:pt x="185" y="105"/>
                      </a:lnTo>
                      <a:lnTo>
                        <a:pt x="183" y="105"/>
                      </a:lnTo>
                      <a:lnTo>
                        <a:pt x="183" y="103"/>
                      </a:lnTo>
                      <a:lnTo>
                        <a:pt x="185" y="103"/>
                      </a:lnTo>
                      <a:lnTo>
                        <a:pt x="183" y="103"/>
                      </a:lnTo>
                      <a:lnTo>
                        <a:pt x="185" y="103"/>
                      </a:lnTo>
                      <a:lnTo>
                        <a:pt x="183" y="103"/>
                      </a:lnTo>
                      <a:lnTo>
                        <a:pt x="185" y="103"/>
                      </a:lnTo>
                      <a:lnTo>
                        <a:pt x="187" y="103"/>
                      </a:lnTo>
                      <a:lnTo>
                        <a:pt x="187" y="101"/>
                      </a:lnTo>
                      <a:lnTo>
                        <a:pt x="187" y="103"/>
                      </a:lnTo>
                      <a:lnTo>
                        <a:pt x="187" y="101"/>
                      </a:lnTo>
                      <a:lnTo>
                        <a:pt x="189" y="101"/>
                      </a:lnTo>
                      <a:lnTo>
                        <a:pt x="187" y="101"/>
                      </a:lnTo>
                      <a:lnTo>
                        <a:pt x="189" y="101"/>
                      </a:lnTo>
                      <a:lnTo>
                        <a:pt x="187" y="99"/>
                      </a:lnTo>
                      <a:lnTo>
                        <a:pt x="189" y="99"/>
                      </a:lnTo>
                      <a:lnTo>
                        <a:pt x="189" y="101"/>
                      </a:lnTo>
                      <a:lnTo>
                        <a:pt x="189" y="99"/>
                      </a:lnTo>
                      <a:lnTo>
                        <a:pt x="191" y="101"/>
                      </a:lnTo>
                      <a:lnTo>
                        <a:pt x="191" y="99"/>
                      </a:lnTo>
                      <a:lnTo>
                        <a:pt x="191" y="101"/>
                      </a:lnTo>
                      <a:lnTo>
                        <a:pt x="189" y="101"/>
                      </a:lnTo>
                      <a:lnTo>
                        <a:pt x="191" y="101"/>
                      </a:lnTo>
                      <a:lnTo>
                        <a:pt x="192" y="101"/>
                      </a:lnTo>
                      <a:lnTo>
                        <a:pt x="191" y="101"/>
                      </a:lnTo>
                      <a:lnTo>
                        <a:pt x="192" y="101"/>
                      </a:lnTo>
                      <a:lnTo>
                        <a:pt x="192" y="103"/>
                      </a:lnTo>
                      <a:lnTo>
                        <a:pt x="194" y="103"/>
                      </a:lnTo>
                      <a:lnTo>
                        <a:pt x="192" y="103"/>
                      </a:lnTo>
                      <a:lnTo>
                        <a:pt x="194" y="103"/>
                      </a:lnTo>
                      <a:lnTo>
                        <a:pt x="192" y="103"/>
                      </a:lnTo>
                      <a:lnTo>
                        <a:pt x="194" y="103"/>
                      </a:lnTo>
                      <a:lnTo>
                        <a:pt x="196" y="105"/>
                      </a:lnTo>
                      <a:lnTo>
                        <a:pt x="198" y="107"/>
                      </a:lnTo>
                      <a:lnTo>
                        <a:pt x="196" y="105"/>
                      </a:lnTo>
                      <a:lnTo>
                        <a:pt x="196" y="103"/>
                      </a:lnTo>
                      <a:lnTo>
                        <a:pt x="196" y="105"/>
                      </a:lnTo>
                      <a:lnTo>
                        <a:pt x="194" y="103"/>
                      </a:lnTo>
                      <a:lnTo>
                        <a:pt x="196" y="103"/>
                      </a:lnTo>
                      <a:lnTo>
                        <a:pt x="196" y="101"/>
                      </a:lnTo>
                      <a:lnTo>
                        <a:pt x="196" y="103"/>
                      </a:lnTo>
                      <a:lnTo>
                        <a:pt x="196" y="101"/>
                      </a:lnTo>
                      <a:lnTo>
                        <a:pt x="196" y="103"/>
                      </a:lnTo>
                      <a:lnTo>
                        <a:pt x="194" y="103"/>
                      </a:lnTo>
                      <a:lnTo>
                        <a:pt x="194" y="101"/>
                      </a:lnTo>
                      <a:lnTo>
                        <a:pt x="194" y="99"/>
                      </a:lnTo>
                      <a:lnTo>
                        <a:pt x="194" y="101"/>
                      </a:lnTo>
                      <a:lnTo>
                        <a:pt x="194" y="99"/>
                      </a:lnTo>
                      <a:lnTo>
                        <a:pt x="194" y="101"/>
                      </a:lnTo>
                      <a:lnTo>
                        <a:pt x="194" y="99"/>
                      </a:lnTo>
                      <a:lnTo>
                        <a:pt x="194" y="101"/>
                      </a:lnTo>
                      <a:lnTo>
                        <a:pt x="194" y="99"/>
                      </a:lnTo>
                      <a:lnTo>
                        <a:pt x="194" y="101"/>
                      </a:lnTo>
                      <a:lnTo>
                        <a:pt x="194" y="99"/>
                      </a:lnTo>
                      <a:lnTo>
                        <a:pt x="192" y="99"/>
                      </a:lnTo>
                      <a:lnTo>
                        <a:pt x="192" y="101"/>
                      </a:lnTo>
                      <a:lnTo>
                        <a:pt x="191" y="101"/>
                      </a:lnTo>
                      <a:lnTo>
                        <a:pt x="191" y="99"/>
                      </a:lnTo>
                      <a:lnTo>
                        <a:pt x="191" y="101"/>
                      </a:lnTo>
                      <a:lnTo>
                        <a:pt x="191" y="99"/>
                      </a:lnTo>
                      <a:lnTo>
                        <a:pt x="192" y="99"/>
                      </a:lnTo>
                      <a:lnTo>
                        <a:pt x="191" y="99"/>
                      </a:lnTo>
                      <a:lnTo>
                        <a:pt x="192" y="99"/>
                      </a:lnTo>
                      <a:lnTo>
                        <a:pt x="191" y="99"/>
                      </a:lnTo>
                      <a:lnTo>
                        <a:pt x="192" y="99"/>
                      </a:lnTo>
                      <a:lnTo>
                        <a:pt x="191" y="99"/>
                      </a:lnTo>
                      <a:lnTo>
                        <a:pt x="192" y="99"/>
                      </a:lnTo>
                      <a:lnTo>
                        <a:pt x="192" y="97"/>
                      </a:lnTo>
                      <a:lnTo>
                        <a:pt x="192" y="99"/>
                      </a:lnTo>
                      <a:lnTo>
                        <a:pt x="191" y="97"/>
                      </a:lnTo>
                      <a:lnTo>
                        <a:pt x="192" y="99"/>
                      </a:lnTo>
                      <a:lnTo>
                        <a:pt x="191" y="99"/>
                      </a:lnTo>
                      <a:lnTo>
                        <a:pt x="191" y="97"/>
                      </a:lnTo>
                      <a:lnTo>
                        <a:pt x="192" y="97"/>
                      </a:lnTo>
                      <a:lnTo>
                        <a:pt x="192" y="95"/>
                      </a:lnTo>
                      <a:lnTo>
                        <a:pt x="194" y="95"/>
                      </a:lnTo>
                      <a:lnTo>
                        <a:pt x="192" y="95"/>
                      </a:lnTo>
                      <a:lnTo>
                        <a:pt x="194" y="95"/>
                      </a:lnTo>
                      <a:lnTo>
                        <a:pt x="194" y="97"/>
                      </a:lnTo>
                      <a:lnTo>
                        <a:pt x="196" y="99"/>
                      </a:lnTo>
                      <a:lnTo>
                        <a:pt x="194" y="97"/>
                      </a:lnTo>
                      <a:lnTo>
                        <a:pt x="196" y="97"/>
                      </a:lnTo>
                      <a:lnTo>
                        <a:pt x="198" y="97"/>
                      </a:lnTo>
                      <a:lnTo>
                        <a:pt x="198" y="99"/>
                      </a:lnTo>
                      <a:lnTo>
                        <a:pt x="198" y="97"/>
                      </a:lnTo>
                      <a:lnTo>
                        <a:pt x="198" y="99"/>
                      </a:lnTo>
                      <a:lnTo>
                        <a:pt x="198" y="97"/>
                      </a:lnTo>
                      <a:lnTo>
                        <a:pt x="200" y="97"/>
                      </a:lnTo>
                      <a:lnTo>
                        <a:pt x="200" y="99"/>
                      </a:lnTo>
                      <a:lnTo>
                        <a:pt x="202" y="99"/>
                      </a:lnTo>
                      <a:lnTo>
                        <a:pt x="202" y="97"/>
                      </a:lnTo>
                      <a:lnTo>
                        <a:pt x="200" y="97"/>
                      </a:lnTo>
                      <a:lnTo>
                        <a:pt x="198" y="97"/>
                      </a:lnTo>
                      <a:lnTo>
                        <a:pt x="200" y="95"/>
                      </a:lnTo>
                      <a:lnTo>
                        <a:pt x="198" y="95"/>
                      </a:lnTo>
                      <a:lnTo>
                        <a:pt x="200" y="95"/>
                      </a:lnTo>
                      <a:lnTo>
                        <a:pt x="200" y="94"/>
                      </a:lnTo>
                      <a:lnTo>
                        <a:pt x="200" y="95"/>
                      </a:lnTo>
                      <a:lnTo>
                        <a:pt x="198" y="95"/>
                      </a:lnTo>
                      <a:lnTo>
                        <a:pt x="198" y="94"/>
                      </a:lnTo>
                      <a:lnTo>
                        <a:pt x="198" y="95"/>
                      </a:lnTo>
                      <a:lnTo>
                        <a:pt x="196" y="95"/>
                      </a:lnTo>
                      <a:lnTo>
                        <a:pt x="198" y="94"/>
                      </a:lnTo>
                      <a:lnTo>
                        <a:pt x="196" y="94"/>
                      </a:lnTo>
                      <a:lnTo>
                        <a:pt x="196" y="95"/>
                      </a:lnTo>
                      <a:lnTo>
                        <a:pt x="196" y="94"/>
                      </a:lnTo>
                      <a:lnTo>
                        <a:pt x="198" y="94"/>
                      </a:lnTo>
                      <a:lnTo>
                        <a:pt x="196" y="94"/>
                      </a:lnTo>
                      <a:lnTo>
                        <a:pt x="198" y="94"/>
                      </a:lnTo>
                      <a:lnTo>
                        <a:pt x="196" y="92"/>
                      </a:lnTo>
                      <a:lnTo>
                        <a:pt x="196" y="94"/>
                      </a:lnTo>
                      <a:lnTo>
                        <a:pt x="196" y="92"/>
                      </a:lnTo>
                      <a:lnTo>
                        <a:pt x="196" y="94"/>
                      </a:lnTo>
                      <a:lnTo>
                        <a:pt x="196" y="92"/>
                      </a:lnTo>
                      <a:lnTo>
                        <a:pt x="196" y="94"/>
                      </a:lnTo>
                      <a:lnTo>
                        <a:pt x="196" y="92"/>
                      </a:lnTo>
                      <a:lnTo>
                        <a:pt x="196" y="94"/>
                      </a:lnTo>
                      <a:lnTo>
                        <a:pt x="196" y="92"/>
                      </a:lnTo>
                      <a:lnTo>
                        <a:pt x="194" y="92"/>
                      </a:lnTo>
                      <a:lnTo>
                        <a:pt x="194" y="90"/>
                      </a:lnTo>
                      <a:lnTo>
                        <a:pt x="196" y="92"/>
                      </a:lnTo>
                      <a:lnTo>
                        <a:pt x="194" y="90"/>
                      </a:lnTo>
                      <a:lnTo>
                        <a:pt x="196" y="90"/>
                      </a:lnTo>
                      <a:lnTo>
                        <a:pt x="198" y="90"/>
                      </a:lnTo>
                      <a:lnTo>
                        <a:pt x="196" y="88"/>
                      </a:lnTo>
                      <a:lnTo>
                        <a:pt x="196" y="90"/>
                      </a:lnTo>
                      <a:lnTo>
                        <a:pt x="196" y="88"/>
                      </a:lnTo>
                      <a:lnTo>
                        <a:pt x="198" y="88"/>
                      </a:lnTo>
                      <a:lnTo>
                        <a:pt x="196" y="88"/>
                      </a:lnTo>
                      <a:lnTo>
                        <a:pt x="198" y="88"/>
                      </a:lnTo>
                      <a:lnTo>
                        <a:pt x="198" y="86"/>
                      </a:lnTo>
                      <a:lnTo>
                        <a:pt x="198" y="88"/>
                      </a:lnTo>
                      <a:lnTo>
                        <a:pt x="200" y="88"/>
                      </a:lnTo>
                      <a:lnTo>
                        <a:pt x="198" y="90"/>
                      </a:lnTo>
                      <a:lnTo>
                        <a:pt x="200" y="88"/>
                      </a:lnTo>
                      <a:lnTo>
                        <a:pt x="200" y="90"/>
                      </a:lnTo>
                      <a:lnTo>
                        <a:pt x="200" y="88"/>
                      </a:lnTo>
                      <a:lnTo>
                        <a:pt x="200" y="86"/>
                      </a:lnTo>
                      <a:lnTo>
                        <a:pt x="200" y="88"/>
                      </a:lnTo>
                      <a:lnTo>
                        <a:pt x="202" y="88"/>
                      </a:lnTo>
                      <a:lnTo>
                        <a:pt x="200" y="88"/>
                      </a:lnTo>
                      <a:lnTo>
                        <a:pt x="202" y="88"/>
                      </a:lnTo>
                      <a:lnTo>
                        <a:pt x="202" y="86"/>
                      </a:lnTo>
                      <a:lnTo>
                        <a:pt x="202" y="84"/>
                      </a:lnTo>
                      <a:lnTo>
                        <a:pt x="202" y="82"/>
                      </a:lnTo>
                      <a:lnTo>
                        <a:pt x="204" y="82"/>
                      </a:lnTo>
                      <a:lnTo>
                        <a:pt x="204" y="84"/>
                      </a:lnTo>
                      <a:lnTo>
                        <a:pt x="202" y="84"/>
                      </a:lnTo>
                      <a:lnTo>
                        <a:pt x="202" y="86"/>
                      </a:lnTo>
                      <a:lnTo>
                        <a:pt x="204" y="86"/>
                      </a:lnTo>
                      <a:lnTo>
                        <a:pt x="202" y="86"/>
                      </a:lnTo>
                      <a:lnTo>
                        <a:pt x="204" y="86"/>
                      </a:lnTo>
                      <a:lnTo>
                        <a:pt x="204" y="88"/>
                      </a:lnTo>
                      <a:lnTo>
                        <a:pt x="202" y="88"/>
                      </a:lnTo>
                      <a:lnTo>
                        <a:pt x="204" y="88"/>
                      </a:lnTo>
                      <a:lnTo>
                        <a:pt x="202" y="88"/>
                      </a:lnTo>
                      <a:lnTo>
                        <a:pt x="202" y="90"/>
                      </a:lnTo>
                      <a:lnTo>
                        <a:pt x="204" y="86"/>
                      </a:lnTo>
                      <a:lnTo>
                        <a:pt x="206" y="86"/>
                      </a:lnTo>
                      <a:lnTo>
                        <a:pt x="206" y="88"/>
                      </a:lnTo>
                      <a:lnTo>
                        <a:pt x="206" y="90"/>
                      </a:lnTo>
                      <a:lnTo>
                        <a:pt x="208" y="90"/>
                      </a:lnTo>
                      <a:lnTo>
                        <a:pt x="206" y="90"/>
                      </a:lnTo>
                      <a:lnTo>
                        <a:pt x="208" y="90"/>
                      </a:lnTo>
                      <a:lnTo>
                        <a:pt x="208" y="88"/>
                      </a:lnTo>
                      <a:lnTo>
                        <a:pt x="210" y="88"/>
                      </a:lnTo>
                      <a:lnTo>
                        <a:pt x="210" y="86"/>
                      </a:lnTo>
                      <a:lnTo>
                        <a:pt x="208" y="86"/>
                      </a:lnTo>
                      <a:lnTo>
                        <a:pt x="210" y="84"/>
                      </a:lnTo>
                      <a:lnTo>
                        <a:pt x="210" y="82"/>
                      </a:lnTo>
                      <a:lnTo>
                        <a:pt x="212" y="82"/>
                      </a:lnTo>
                      <a:lnTo>
                        <a:pt x="212" y="80"/>
                      </a:lnTo>
                      <a:lnTo>
                        <a:pt x="210" y="80"/>
                      </a:lnTo>
                      <a:lnTo>
                        <a:pt x="208" y="80"/>
                      </a:lnTo>
                      <a:lnTo>
                        <a:pt x="208" y="78"/>
                      </a:lnTo>
                      <a:lnTo>
                        <a:pt x="208" y="80"/>
                      </a:lnTo>
                      <a:lnTo>
                        <a:pt x="210" y="78"/>
                      </a:lnTo>
                      <a:lnTo>
                        <a:pt x="208" y="76"/>
                      </a:lnTo>
                      <a:lnTo>
                        <a:pt x="210" y="76"/>
                      </a:lnTo>
                      <a:lnTo>
                        <a:pt x="210" y="78"/>
                      </a:lnTo>
                      <a:lnTo>
                        <a:pt x="210" y="76"/>
                      </a:lnTo>
                      <a:lnTo>
                        <a:pt x="210" y="78"/>
                      </a:lnTo>
                      <a:lnTo>
                        <a:pt x="210" y="76"/>
                      </a:lnTo>
                      <a:lnTo>
                        <a:pt x="210" y="78"/>
                      </a:lnTo>
                      <a:lnTo>
                        <a:pt x="210" y="76"/>
                      </a:lnTo>
                      <a:lnTo>
                        <a:pt x="212" y="76"/>
                      </a:lnTo>
                      <a:lnTo>
                        <a:pt x="212" y="78"/>
                      </a:lnTo>
                      <a:lnTo>
                        <a:pt x="210" y="78"/>
                      </a:lnTo>
                      <a:lnTo>
                        <a:pt x="212" y="78"/>
                      </a:lnTo>
                      <a:lnTo>
                        <a:pt x="210" y="78"/>
                      </a:lnTo>
                      <a:lnTo>
                        <a:pt x="212" y="78"/>
                      </a:lnTo>
                      <a:lnTo>
                        <a:pt x="212" y="80"/>
                      </a:lnTo>
                      <a:lnTo>
                        <a:pt x="212" y="82"/>
                      </a:lnTo>
                      <a:lnTo>
                        <a:pt x="213" y="82"/>
                      </a:lnTo>
                      <a:lnTo>
                        <a:pt x="213" y="80"/>
                      </a:lnTo>
                      <a:lnTo>
                        <a:pt x="215" y="80"/>
                      </a:lnTo>
                      <a:lnTo>
                        <a:pt x="215" y="78"/>
                      </a:lnTo>
                      <a:lnTo>
                        <a:pt x="217" y="78"/>
                      </a:lnTo>
                      <a:lnTo>
                        <a:pt x="215" y="78"/>
                      </a:lnTo>
                      <a:lnTo>
                        <a:pt x="215" y="80"/>
                      </a:lnTo>
                      <a:lnTo>
                        <a:pt x="217" y="80"/>
                      </a:lnTo>
                      <a:lnTo>
                        <a:pt x="215" y="80"/>
                      </a:lnTo>
                      <a:lnTo>
                        <a:pt x="217" y="80"/>
                      </a:lnTo>
                      <a:lnTo>
                        <a:pt x="217" y="82"/>
                      </a:lnTo>
                      <a:lnTo>
                        <a:pt x="219" y="82"/>
                      </a:lnTo>
                      <a:lnTo>
                        <a:pt x="219" y="80"/>
                      </a:lnTo>
                      <a:lnTo>
                        <a:pt x="221" y="80"/>
                      </a:lnTo>
                      <a:lnTo>
                        <a:pt x="221" y="78"/>
                      </a:lnTo>
                      <a:lnTo>
                        <a:pt x="219" y="78"/>
                      </a:lnTo>
                      <a:lnTo>
                        <a:pt x="221" y="78"/>
                      </a:lnTo>
                      <a:lnTo>
                        <a:pt x="223" y="78"/>
                      </a:lnTo>
                      <a:lnTo>
                        <a:pt x="221" y="76"/>
                      </a:lnTo>
                      <a:lnTo>
                        <a:pt x="221" y="78"/>
                      </a:lnTo>
                      <a:lnTo>
                        <a:pt x="221" y="76"/>
                      </a:lnTo>
                      <a:lnTo>
                        <a:pt x="221" y="74"/>
                      </a:lnTo>
                      <a:lnTo>
                        <a:pt x="221" y="76"/>
                      </a:lnTo>
                      <a:lnTo>
                        <a:pt x="221" y="74"/>
                      </a:lnTo>
                      <a:lnTo>
                        <a:pt x="223" y="74"/>
                      </a:lnTo>
                      <a:lnTo>
                        <a:pt x="221" y="74"/>
                      </a:lnTo>
                      <a:lnTo>
                        <a:pt x="223" y="74"/>
                      </a:lnTo>
                      <a:lnTo>
                        <a:pt x="225" y="74"/>
                      </a:lnTo>
                      <a:lnTo>
                        <a:pt x="225" y="76"/>
                      </a:lnTo>
                      <a:lnTo>
                        <a:pt x="225" y="74"/>
                      </a:lnTo>
                      <a:lnTo>
                        <a:pt x="225" y="76"/>
                      </a:lnTo>
                      <a:lnTo>
                        <a:pt x="227" y="76"/>
                      </a:lnTo>
                      <a:lnTo>
                        <a:pt x="225" y="76"/>
                      </a:lnTo>
                      <a:lnTo>
                        <a:pt x="227" y="78"/>
                      </a:lnTo>
                      <a:lnTo>
                        <a:pt x="227" y="76"/>
                      </a:lnTo>
                      <a:lnTo>
                        <a:pt x="227" y="78"/>
                      </a:lnTo>
                      <a:lnTo>
                        <a:pt x="229" y="78"/>
                      </a:lnTo>
                      <a:lnTo>
                        <a:pt x="229" y="76"/>
                      </a:lnTo>
                      <a:lnTo>
                        <a:pt x="229" y="78"/>
                      </a:lnTo>
                      <a:lnTo>
                        <a:pt x="231" y="78"/>
                      </a:lnTo>
                      <a:lnTo>
                        <a:pt x="229" y="76"/>
                      </a:lnTo>
                      <a:lnTo>
                        <a:pt x="231" y="76"/>
                      </a:lnTo>
                      <a:lnTo>
                        <a:pt x="231" y="78"/>
                      </a:lnTo>
                      <a:lnTo>
                        <a:pt x="232" y="78"/>
                      </a:lnTo>
                      <a:lnTo>
                        <a:pt x="231" y="78"/>
                      </a:lnTo>
                      <a:lnTo>
                        <a:pt x="231" y="80"/>
                      </a:lnTo>
                      <a:lnTo>
                        <a:pt x="232" y="80"/>
                      </a:lnTo>
                      <a:lnTo>
                        <a:pt x="234" y="80"/>
                      </a:lnTo>
                      <a:lnTo>
                        <a:pt x="234" y="82"/>
                      </a:lnTo>
                      <a:lnTo>
                        <a:pt x="236" y="82"/>
                      </a:lnTo>
                      <a:lnTo>
                        <a:pt x="236" y="84"/>
                      </a:lnTo>
                      <a:lnTo>
                        <a:pt x="236" y="86"/>
                      </a:lnTo>
                      <a:lnTo>
                        <a:pt x="238" y="86"/>
                      </a:lnTo>
                      <a:lnTo>
                        <a:pt x="240" y="88"/>
                      </a:lnTo>
                      <a:lnTo>
                        <a:pt x="238" y="88"/>
                      </a:lnTo>
                      <a:lnTo>
                        <a:pt x="240" y="88"/>
                      </a:lnTo>
                      <a:lnTo>
                        <a:pt x="242" y="88"/>
                      </a:lnTo>
                      <a:lnTo>
                        <a:pt x="242" y="90"/>
                      </a:lnTo>
                      <a:lnTo>
                        <a:pt x="244" y="90"/>
                      </a:lnTo>
                      <a:lnTo>
                        <a:pt x="244" y="92"/>
                      </a:lnTo>
                      <a:lnTo>
                        <a:pt x="244" y="90"/>
                      </a:lnTo>
                      <a:lnTo>
                        <a:pt x="244" y="92"/>
                      </a:lnTo>
                      <a:lnTo>
                        <a:pt x="242" y="92"/>
                      </a:lnTo>
                      <a:lnTo>
                        <a:pt x="244" y="92"/>
                      </a:lnTo>
                      <a:lnTo>
                        <a:pt x="242" y="92"/>
                      </a:lnTo>
                      <a:lnTo>
                        <a:pt x="242" y="94"/>
                      </a:lnTo>
                      <a:lnTo>
                        <a:pt x="242" y="95"/>
                      </a:lnTo>
                      <a:lnTo>
                        <a:pt x="242" y="97"/>
                      </a:lnTo>
                      <a:lnTo>
                        <a:pt x="242" y="99"/>
                      </a:lnTo>
                      <a:lnTo>
                        <a:pt x="240" y="99"/>
                      </a:lnTo>
                      <a:lnTo>
                        <a:pt x="242" y="99"/>
                      </a:lnTo>
                      <a:lnTo>
                        <a:pt x="242" y="101"/>
                      </a:lnTo>
                      <a:lnTo>
                        <a:pt x="240" y="103"/>
                      </a:lnTo>
                      <a:lnTo>
                        <a:pt x="238" y="103"/>
                      </a:lnTo>
                      <a:lnTo>
                        <a:pt x="238" y="105"/>
                      </a:lnTo>
                      <a:lnTo>
                        <a:pt x="240" y="105"/>
                      </a:lnTo>
                      <a:lnTo>
                        <a:pt x="240" y="103"/>
                      </a:lnTo>
                      <a:lnTo>
                        <a:pt x="242" y="103"/>
                      </a:lnTo>
                      <a:lnTo>
                        <a:pt x="242" y="101"/>
                      </a:lnTo>
                      <a:lnTo>
                        <a:pt x="242" y="99"/>
                      </a:lnTo>
                      <a:lnTo>
                        <a:pt x="242" y="97"/>
                      </a:lnTo>
                      <a:lnTo>
                        <a:pt x="244" y="99"/>
                      </a:lnTo>
                      <a:lnTo>
                        <a:pt x="244" y="101"/>
                      </a:lnTo>
                      <a:lnTo>
                        <a:pt x="244" y="103"/>
                      </a:lnTo>
                      <a:lnTo>
                        <a:pt x="246" y="103"/>
                      </a:lnTo>
                      <a:lnTo>
                        <a:pt x="248" y="103"/>
                      </a:lnTo>
                      <a:lnTo>
                        <a:pt x="246" y="103"/>
                      </a:lnTo>
                      <a:lnTo>
                        <a:pt x="248" y="105"/>
                      </a:lnTo>
                      <a:lnTo>
                        <a:pt x="246" y="103"/>
                      </a:lnTo>
                      <a:lnTo>
                        <a:pt x="248" y="103"/>
                      </a:lnTo>
                      <a:lnTo>
                        <a:pt x="246" y="103"/>
                      </a:lnTo>
                      <a:lnTo>
                        <a:pt x="246" y="99"/>
                      </a:lnTo>
                      <a:lnTo>
                        <a:pt x="244" y="99"/>
                      </a:lnTo>
                      <a:lnTo>
                        <a:pt x="244" y="97"/>
                      </a:lnTo>
                      <a:lnTo>
                        <a:pt x="244" y="95"/>
                      </a:lnTo>
                      <a:lnTo>
                        <a:pt x="246" y="95"/>
                      </a:lnTo>
                      <a:lnTo>
                        <a:pt x="244" y="94"/>
                      </a:lnTo>
                      <a:lnTo>
                        <a:pt x="246" y="94"/>
                      </a:lnTo>
                      <a:lnTo>
                        <a:pt x="246" y="95"/>
                      </a:lnTo>
                      <a:lnTo>
                        <a:pt x="246" y="94"/>
                      </a:lnTo>
                      <a:lnTo>
                        <a:pt x="248" y="95"/>
                      </a:lnTo>
                      <a:lnTo>
                        <a:pt x="246" y="94"/>
                      </a:lnTo>
                      <a:lnTo>
                        <a:pt x="248" y="94"/>
                      </a:lnTo>
                      <a:lnTo>
                        <a:pt x="248" y="95"/>
                      </a:lnTo>
                      <a:lnTo>
                        <a:pt x="248" y="94"/>
                      </a:lnTo>
                      <a:lnTo>
                        <a:pt x="248" y="92"/>
                      </a:lnTo>
                      <a:lnTo>
                        <a:pt x="246" y="92"/>
                      </a:lnTo>
                      <a:lnTo>
                        <a:pt x="248" y="92"/>
                      </a:lnTo>
                      <a:lnTo>
                        <a:pt x="250" y="92"/>
                      </a:lnTo>
                      <a:lnTo>
                        <a:pt x="248" y="92"/>
                      </a:lnTo>
                      <a:lnTo>
                        <a:pt x="250" y="92"/>
                      </a:lnTo>
                      <a:lnTo>
                        <a:pt x="252" y="92"/>
                      </a:lnTo>
                      <a:lnTo>
                        <a:pt x="250" y="92"/>
                      </a:lnTo>
                      <a:lnTo>
                        <a:pt x="252" y="92"/>
                      </a:lnTo>
                      <a:lnTo>
                        <a:pt x="252" y="94"/>
                      </a:lnTo>
                      <a:lnTo>
                        <a:pt x="253" y="94"/>
                      </a:lnTo>
                      <a:lnTo>
                        <a:pt x="252" y="94"/>
                      </a:lnTo>
                      <a:lnTo>
                        <a:pt x="252" y="92"/>
                      </a:lnTo>
                      <a:lnTo>
                        <a:pt x="253" y="94"/>
                      </a:lnTo>
                      <a:lnTo>
                        <a:pt x="255" y="92"/>
                      </a:lnTo>
                      <a:lnTo>
                        <a:pt x="255" y="94"/>
                      </a:lnTo>
                      <a:lnTo>
                        <a:pt x="257" y="94"/>
                      </a:lnTo>
                      <a:lnTo>
                        <a:pt x="255" y="94"/>
                      </a:lnTo>
                      <a:lnTo>
                        <a:pt x="257" y="94"/>
                      </a:lnTo>
                      <a:lnTo>
                        <a:pt x="255" y="94"/>
                      </a:lnTo>
                      <a:lnTo>
                        <a:pt x="257" y="94"/>
                      </a:lnTo>
                      <a:lnTo>
                        <a:pt x="257" y="95"/>
                      </a:lnTo>
                      <a:lnTo>
                        <a:pt x="259" y="95"/>
                      </a:lnTo>
                      <a:lnTo>
                        <a:pt x="259" y="97"/>
                      </a:lnTo>
                      <a:lnTo>
                        <a:pt x="259" y="99"/>
                      </a:lnTo>
                      <a:lnTo>
                        <a:pt x="257" y="99"/>
                      </a:lnTo>
                      <a:lnTo>
                        <a:pt x="259" y="99"/>
                      </a:lnTo>
                      <a:lnTo>
                        <a:pt x="259" y="97"/>
                      </a:lnTo>
                      <a:lnTo>
                        <a:pt x="259" y="99"/>
                      </a:lnTo>
                      <a:lnTo>
                        <a:pt x="259" y="97"/>
                      </a:lnTo>
                      <a:lnTo>
                        <a:pt x="261" y="97"/>
                      </a:lnTo>
                      <a:lnTo>
                        <a:pt x="259" y="95"/>
                      </a:lnTo>
                      <a:lnTo>
                        <a:pt x="261" y="95"/>
                      </a:lnTo>
                      <a:lnTo>
                        <a:pt x="259" y="95"/>
                      </a:lnTo>
                      <a:lnTo>
                        <a:pt x="259" y="94"/>
                      </a:lnTo>
                      <a:lnTo>
                        <a:pt x="261" y="94"/>
                      </a:lnTo>
                      <a:lnTo>
                        <a:pt x="263" y="94"/>
                      </a:lnTo>
                      <a:lnTo>
                        <a:pt x="261" y="94"/>
                      </a:lnTo>
                      <a:lnTo>
                        <a:pt x="263" y="94"/>
                      </a:lnTo>
                      <a:lnTo>
                        <a:pt x="265" y="95"/>
                      </a:lnTo>
                      <a:lnTo>
                        <a:pt x="265" y="97"/>
                      </a:lnTo>
                      <a:lnTo>
                        <a:pt x="267" y="97"/>
                      </a:lnTo>
                      <a:lnTo>
                        <a:pt x="267" y="95"/>
                      </a:lnTo>
                      <a:lnTo>
                        <a:pt x="267" y="94"/>
                      </a:lnTo>
                      <a:lnTo>
                        <a:pt x="267" y="95"/>
                      </a:lnTo>
                      <a:lnTo>
                        <a:pt x="267" y="94"/>
                      </a:lnTo>
                      <a:lnTo>
                        <a:pt x="265" y="94"/>
                      </a:lnTo>
                      <a:lnTo>
                        <a:pt x="267" y="94"/>
                      </a:lnTo>
                      <a:lnTo>
                        <a:pt x="267" y="92"/>
                      </a:lnTo>
                      <a:lnTo>
                        <a:pt x="267" y="94"/>
                      </a:lnTo>
                      <a:lnTo>
                        <a:pt x="267" y="92"/>
                      </a:lnTo>
                      <a:lnTo>
                        <a:pt x="269" y="94"/>
                      </a:lnTo>
                      <a:lnTo>
                        <a:pt x="269" y="92"/>
                      </a:lnTo>
                      <a:lnTo>
                        <a:pt x="271" y="92"/>
                      </a:lnTo>
                      <a:lnTo>
                        <a:pt x="269" y="92"/>
                      </a:lnTo>
                      <a:lnTo>
                        <a:pt x="269" y="90"/>
                      </a:lnTo>
                      <a:lnTo>
                        <a:pt x="269" y="92"/>
                      </a:lnTo>
                      <a:lnTo>
                        <a:pt x="267" y="92"/>
                      </a:lnTo>
                      <a:lnTo>
                        <a:pt x="267" y="90"/>
                      </a:lnTo>
                      <a:lnTo>
                        <a:pt x="269" y="88"/>
                      </a:lnTo>
                      <a:lnTo>
                        <a:pt x="267" y="88"/>
                      </a:lnTo>
                      <a:lnTo>
                        <a:pt x="267" y="86"/>
                      </a:lnTo>
                      <a:lnTo>
                        <a:pt x="267" y="88"/>
                      </a:lnTo>
                      <a:lnTo>
                        <a:pt x="265" y="88"/>
                      </a:lnTo>
                      <a:lnTo>
                        <a:pt x="263" y="86"/>
                      </a:lnTo>
                      <a:lnTo>
                        <a:pt x="265" y="86"/>
                      </a:lnTo>
                      <a:lnTo>
                        <a:pt x="263" y="86"/>
                      </a:lnTo>
                      <a:lnTo>
                        <a:pt x="265" y="86"/>
                      </a:lnTo>
                      <a:lnTo>
                        <a:pt x="263" y="86"/>
                      </a:lnTo>
                      <a:lnTo>
                        <a:pt x="261" y="86"/>
                      </a:lnTo>
                      <a:lnTo>
                        <a:pt x="261" y="84"/>
                      </a:lnTo>
                      <a:lnTo>
                        <a:pt x="263" y="84"/>
                      </a:lnTo>
                      <a:lnTo>
                        <a:pt x="263" y="82"/>
                      </a:lnTo>
                      <a:lnTo>
                        <a:pt x="263" y="80"/>
                      </a:lnTo>
                      <a:lnTo>
                        <a:pt x="265" y="80"/>
                      </a:lnTo>
                      <a:lnTo>
                        <a:pt x="265" y="78"/>
                      </a:lnTo>
                      <a:lnTo>
                        <a:pt x="267" y="80"/>
                      </a:lnTo>
                      <a:lnTo>
                        <a:pt x="267" y="78"/>
                      </a:lnTo>
                      <a:lnTo>
                        <a:pt x="269" y="78"/>
                      </a:lnTo>
                      <a:lnTo>
                        <a:pt x="269" y="76"/>
                      </a:lnTo>
                      <a:lnTo>
                        <a:pt x="267" y="76"/>
                      </a:lnTo>
                      <a:lnTo>
                        <a:pt x="269" y="74"/>
                      </a:lnTo>
                      <a:lnTo>
                        <a:pt x="269" y="73"/>
                      </a:lnTo>
                      <a:lnTo>
                        <a:pt x="269" y="71"/>
                      </a:lnTo>
                      <a:lnTo>
                        <a:pt x="271" y="71"/>
                      </a:lnTo>
                      <a:lnTo>
                        <a:pt x="271" y="69"/>
                      </a:lnTo>
                      <a:lnTo>
                        <a:pt x="271" y="71"/>
                      </a:lnTo>
                      <a:lnTo>
                        <a:pt x="273" y="71"/>
                      </a:lnTo>
                      <a:lnTo>
                        <a:pt x="274" y="69"/>
                      </a:lnTo>
                      <a:lnTo>
                        <a:pt x="274" y="71"/>
                      </a:lnTo>
                      <a:lnTo>
                        <a:pt x="274" y="69"/>
                      </a:lnTo>
                      <a:lnTo>
                        <a:pt x="276" y="67"/>
                      </a:lnTo>
                      <a:lnTo>
                        <a:pt x="276" y="69"/>
                      </a:lnTo>
                      <a:lnTo>
                        <a:pt x="276" y="71"/>
                      </a:lnTo>
                      <a:lnTo>
                        <a:pt x="278" y="71"/>
                      </a:lnTo>
                      <a:lnTo>
                        <a:pt x="276" y="69"/>
                      </a:lnTo>
                      <a:lnTo>
                        <a:pt x="276" y="67"/>
                      </a:lnTo>
                      <a:lnTo>
                        <a:pt x="274" y="65"/>
                      </a:lnTo>
                      <a:lnTo>
                        <a:pt x="274" y="63"/>
                      </a:lnTo>
                      <a:lnTo>
                        <a:pt x="274" y="61"/>
                      </a:lnTo>
                      <a:lnTo>
                        <a:pt x="276" y="61"/>
                      </a:lnTo>
                      <a:lnTo>
                        <a:pt x="278" y="61"/>
                      </a:lnTo>
                      <a:lnTo>
                        <a:pt x="278" y="59"/>
                      </a:lnTo>
                      <a:lnTo>
                        <a:pt x="278" y="57"/>
                      </a:lnTo>
                      <a:lnTo>
                        <a:pt x="278" y="55"/>
                      </a:lnTo>
                      <a:lnTo>
                        <a:pt x="280" y="55"/>
                      </a:lnTo>
                      <a:lnTo>
                        <a:pt x="280" y="57"/>
                      </a:lnTo>
                      <a:lnTo>
                        <a:pt x="282" y="57"/>
                      </a:lnTo>
                      <a:lnTo>
                        <a:pt x="280" y="57"/>
                      </a:lnTo>
                      <a:lnTo>
                        <a:pt x="282" y="57"/>
                      </a:lnTo>
                      <a:lnTo>
                        <a:pt x="282" y="59"/>
                      </a:lnTo>
                      <a:lnTo>
                        <a:pt x="282" y="57"/>
                      </a:lnTo>
                      <a:lnTo>
                        <a:pt x="284" y="57"/>
                      </a:lnTo>
                      <a:lnTo>
                        <a:pt x="282" y="57"/>
                      </a:lnTo>
                      <a:lnTo>
                        <a:pt x="284" y="57"/>
                      </a:lnTo>
                      <a:lnTo>
                        <a:pt x="282" y="57"/>
                      </a:lnTo>
                      <a:lnTo>
                        <a:pt x="280" y="57"/>
                      </a:lnTo>
                      <a:lnTo>
                        <a:pt x="280" y="55"/>
                      </a:lnTo>
                      <a:lnTo>
                        <a:pt x="282" y="55"/>
                      </a:lnTo>
                      <a:lnTo>
                        <a:pt x="282" y="57"/>
                      </a:lnTo>
                      <a:lnTo>
                        <a:pt x="282" y="55"/>
                      </a:lnTo>
                      <a:lnTo>
                        <a:pt x="280" y="55"/>
                      </a:lnTo>
                      <a:lnTo>
                        <a:pt x="282" y="53"/>
                      </a:lnTo>
                      <a:lnTo>
                        <a:pt x="282" y="52"/>
                      </a:lnTo>
                      <a:lnTo>
                        <a:pt x="282" y="53"/>
                      </a:lnTo>
                      <a:lnTo>
                        <a:pt x="284" y="53"/>
                      </a:lnTo>
                      <a:lnTo>
                        <a:pt x="284" y="55"/>
                      </a:lnTo>
                      <a:lnTo>
                        <a:pt x="286" y="55"/>
                      </a:lnTo>
                      <a:lnTo>
                        <a:pt x="284" y="55"/>
                      </a:lnTo>
                      <a:lnTo>
                        <a:pt x="286" y="55"/>
                      </a:lnTo>
                      <a:lnTo>
                        <a:pt x="286" y="57"/>
                      </a:lnTo>
                      <a:lnTo>
                        <a:pt x="286" y="55"/>
                      </a:lnTo>
                      <a:lnTo>
                        <a:pt x="286" y="57"/>
                      </a:lnTo>
                      <a:lnTo>
                        <a:pt x="286" y="55"/>
                      </a:lnTo>
                      <a:lnTo>
                        <a:pt x="288" y="55"/>
                      </a:lnTo>
                      <a:lnTo>
                        <a:pt x="288" y="57"/>
                      </a:lnTo>
                      <a:lnTo>
                        <a:pt x="288" y="55"/>
                      </a:lnTo>
                      <a:lnTo>
                        <a:pt x="286" y="55"/>
                      </a:lnTo>
                      <a:lnTo>
                        <a:pt x="286" y="53"/>
                      </a:lnTo>
                      <a:lnTo>
                        <a:pt x="286" y="55"/>
                      </a:lnTo>
                      <a:lnTo>
                        <a:pt x="286" y="53"/>
                      </a:lnTo>
                      <a:lnTo>
                        <a:pt x="286" y="55"/>
                      </a:lnTo>
                      <a:lnTo>
                        <a:pt x="286" y="53"/>
                      </a:lnTo>
                      <a:lnTo>
                        <a:pt x="286" y="55"/>
                      </a:lnTo>
                      <a:lnTo>
                        <a:pt x="288" y="55"/>
                      </a:lnTo>
                      <a:lnTo>
                        <a:pt x="288" y="53"/>
                      </a:lnTo>
                      <a:lnTo>
                        <a:pt x="286" y="53"/>
                      </a:lnTo>
                      <a:lnTo>
                        <a:pt x="288" y="53"/>
                      </a:lnTo>
                      <a:lnTo>
                        <a:pt x="286" y="53"/>
                      </a:lnTo>
                      <a:lnTo>
                        <a:pt x="284" y="52"/>
                      </a:lnTo>
                      <a:lnTo>
                        <a:pt x="286" y="53"/>
                      </a:lnTo>
                      <a:lnTo>
                        <a:pt x="286" y="52"/>
                      </a:lnTo>
                      <a:lnTo>
                        <a:pt x="288" y="52"/>
                      </a:lnTo>
                      <a:lnTo>
                        <a:pt x="290" y="52"/>
                      </a:lnTo>
                      <a:lnTo>
                        <a:pt x="288" y="52"/>
                      </a:lnTo>
                      <a:lnTo>
                        <a:pt x="288" y="50"/>
                      </a:lnTo>
                      <a:lnTo>
                        <a:pt x="288" y="48"/>
                      </a:lnTo>
                      <a:lnTo>
                        <a:pt x="290" y="48"/>
                      </a:lnTo>
                      <a:lnTo>
                        <a:pt x="290" y="50"/>
                      </a:lnTo>
                      <a:lnTo>
                        <a:pt x="290" y="48"/>
                      </a:lnTo>
                      <a:lnTo>
                        <a:pt x="290" y="50"/>
                      </a:lnTo>
                      <a:lnTo>
                        <a:pt x="290" y="48"/>
                      </a:lnTo>
                      <a:lnTo>
                        <a:pt x="290" y="50"/>
                      </a:lnTo>
                      <a:lnTo>
                        <a:pt x="292" y="50"/>
                      </a:lnTo>
                      <a:lnTo>
                        <a:pt x="292" y="52"/>
                      </a:lnTo>
                      <a:lnTo>
                        <a:pt x="292" y="50"/>
                      </a:lnTo>
                      <a:lnTo>
                        <a:pt x="294" y="50"/>
                      </a:lnTo>
                      <a:lnTo>
                        <a:pt x="292" y="50"/>
                      </a:lnTo>
                      <a:lnTo>
                        <a:pt x="294" y="50"/>
                      </a:lnTo>
                      <a:lnTo>
                        <a:pt x="292" y="50"/>
                      </a:lnTo>
                      <a:lnTo>
                        <a:pt x="292" y="48"/>
                      </a:lnTo>
                      <a:lnTo>
                        <a:pt x="294" y="46"/>
                      </a:lnTo>
                      <a:lnTo>
                        <a:pt x="294" y="48"/>
                      </a:lnTo>
                      <a:lnTo>
                        <a:pt x="294" y="50"/>
                      </a:lnTo>
                      <a:lnTo>
                        <a:pt x="295" y="50"/>
                      </a:lnTo>
                      <a:lnTo>
                        <a:pt x="299" y="50"/>
                      </a:lnTo>
                      <a:lnTo>
                        <a:pt x="299" y="52"/>
                      </a:lnTo>
                      <a:lnTo>
                        <a:pt x="299" y="50"/>
                      </a:lnTo>
                      <a:lnTo>
                        <a:pt x="301" y="50"/>
                      </a:lnTo>
                      <a:lnTo>
                        <a:pt x="303" y="50"/>
                      </a:lnTo>
                      <a:lnTo>
                        <a:pt x="303" y="52"/>
                      </a:lnTo>
                      <a:lnTo>
                        <a:pt x="305" y="52"/>
                      </a:lnTo>
                      <a:lnTo>
                        <a:pt x="305" y="50"/>
                      </a:lnTo>
                      <a:lnTo>
                        <a:pt x="307" y="50"/>
                      </a:lnTo>
                      <a:lnTo>
                        <a:pt x="307" y="48"/>
                      </a:lnTo>
                      <a:lnTo>
                        <a:pt x="309" y="50"/>
                      </a:lnTo>
                      <a:lnTo>
                        <a:pt x="309" y="52"/>
                      </a:lnTo>
                      <a:lnTo>
                        <a:pt x="307" y="52"/>
                      </a:lnTo>
                      <a:lnTo>
                        <a:pt x="309" y="52"/>
                      </a:lnTo>
                      <a:lnTo>
                        <a:pt x="307" y="52"/>
                      </a:lnTo>
                      <a:lnTo>
                        <a:pt x="309" y="52"/>
                      </a:lnTo>
                      <a:lnTo>
                        <a:pt x="309" y="50"/>
                      </a:lnTo>
                      <a:lnTo>
                        <a:pt x="311" y="50"/>
                      </a:lnTo>
                      <a:lnTo>
                        <a:pt x="311" y="52"/>
                      </a:lnTo>
                      <a:lnTo>
                        <a:pt x="309" y="52"/>
                      </a:lnTo>
                      <a:lnTo>
                        <a:pt x="311" y="53"/>
                      </a:lnTo>
                      <a:lnTo>
                        <a:pt x="311" y="55"/>
                      </a:lnTo>
                      <a:lnTo>
                        <a:pt x="313" y="57"/>
                      </a:lnTo>
                      <a:lnTo>
                        <a:pt x="311" y="55"/>
                      </a:lnTo>
                      <a:lnTo>
                        <a:pt x="311" y="53"/>
                      </a:lnTo>
                      <a:lnTo>
                        <a:pt x="311" y="52"/>
                      </a:lnTo>
                      <a:lnTo>
                        <a:pt x="311" y="50"/>
                      </a:lnTo>
                      <a:lnTo>
                        <a:pt x="311" y="48"/>
                      </a:lnTo>
                      <a:lnTo>
                        <a:pt x="313" y="48"/>
                      </a:lnTo>
                      <a:lnTo>
                        <a:pt x="314" y="48"/>
                      </a:lnTo>
                      <a:lnTo>
                        <a:pt x="316" y="48"/>
                      </a:lnTo>
                      <a:lnTo>
                        <a:pt x="314" y="48"/>
                      </a:lnTo>
                      <a:lnTo>
                        <a:pt x="314" y="46"/>
                      </a:lnTo>
                      <a:lnTo>
                        <a:pt x="314" y="44"/>
                      </a:lnTo>
                      <a:lnTo>
                        <a:pt x="314" y="42"/>
                      </a:lnTo>
                      <a:lnTo>
                        <a:pt x="313" y="42"/>
                      </a:lnTo>
                      <a:lnTo>
                        <a:pt x="314" y="42"/>
                      </a:lnTo>
                      <a:lnTo>
                        <a:pt x="314" y="40"/>
                      </a:lnTo>
                      <a:lnTo>
                        <a:pt x="314" y="42"/>
                      </a:lnTo>
                      <a:lnTo>
                        <a:pt x="313" y="42"/>
                      </a:lnTo>
                      <a:lnTo>
                        <a:pt x="313" y="40"/>
                      </a:lnTo>
                      <a:lnTo>
                        <a:pt x="314" y="40"/>
                      </a:lnTo>
                      <a:lnTo>
                        <a:pt x="313" y="40"/>
                      </a:lnTo>
                      <a:lnTo>
                        <a:pt x="313" y="38"/>
                      </a:lnTo>
                      <a:lnTo>
                        <a:pt x="313" y="36"/>
                      </a:lnTo>
                      <a:lnTo>
                        <a:pt x="311" y="38"/>
                      </a:lnTo>
                      <a:lnTo>
                        <a:pt x="311" y="36"/>
                      </a:lnTo>
                      <a:lnTo>
                        <a:pt x="309" y="36"/>
                      </a:lnTo>
                      <a:lnTo>
                        <a:pt x="307" y="36"/>
                      </a:lnTo>
                      <a:lnTo>
                        <a:pt x="307" y="38"/>
                      </a:lnTo>
                      <a:lnTo>
                        <a:pt x="305" y="38"/>
                      </a:lnTo>
                      <a:lnTo>
                        <a:pt x="305" y="36"/>
                      </a:lnTo>
                      <a:lnTo>
                        <a:pt x="303" y="36"/>
                      </a:lnTo>
                      <a:lnTo>
                        <a:pt x="303" y="34"/>
                      </a:lnTo>
                      <a:lnTo>
                        <a:pt x="303" y="36"/>
                      </a:lnTo>
                      <a:lnTo>
                        <a:pt x="303" y="34"/>
                      </a:lnTo>
                      <a:lnTo>
                        <a:pt x="301" y="34"/>
                      </a:lnTo>
                      <a:lnTo>
                        <a:pt x="299" y="34"/>
                      </a:lnTo>
                      <a:lnTo>
                        <a:pt x="301" y="34"/>
                      </a:lnTo>
                      <a:lnTo>
                        <a:pt x="301" y="32"/>
                      </a:lnTo>
                      <a:lnTo>
                        <a:pt x="303" y="32"/>
                      </a:lnTo>
                      <a:lnTo>
                        <a:pt x="303" y="34"/>
                      </a:lnTo>
                      <a:lnTo>
                        <a:pt x="303" y="32"/>
                      </a:lnTo>
                      <a:lnTo>
                        <a:pt x="305" y="32"/>
                      </a:lnTo>
                      <a:lnTo>
                        <a:pt x="305" y="34"/>
                      </a:lnTo>
                      <a:lnTo>
                        <a:pt x="307" y="34"/>
                      </a:lnTo>
                      <a:lnTo>
                        <a:pt x="307" y="36"/>
                      </a:lnTo>
                      <a:lnTo>
                        <a:pt x="307" y="34"/>
                      </a:lnTo>
                      <a:lnTo>
                        <a:pt x="307" y="36"/>
                      </a:lnTo>
                      <a:lnTo>
                        <a:pt x="307" y="34"/>
                      </a:lnTo>
                      <a:lnTo>
                        <a:pt x="307" y="32"/>
                      </a:lnTo>
                      <a:lnTo>
                        <a:pt x="305" y="32"/>
                      </a:lnTo>
                      <a:lnTo>
                        <a:pt x="307" y="32"/>
                      </a:lnTo>
                      <a:lnTo>
                        <a:pt x="309" y="34"/>
                      </a:lnTo>
                      <a:lnTo>
                        <a:pt x="309" y="32"/>
                      </a:lnTo>
                      <a:lnTo>
                        <a:pt x="309" y="31"/>
                      </a:lnTo>
                      <a:lnTo>
                        <a:pt x="309" y="32"/>
                      </a:lnTo>
                      <a:lnTo>
                        <a:pt x="311" y="32"/>
                      </a:lnTo>
                      <a:lnTo>
                        <a:pt x="309" y="34"/>
                      </a:lnTo>
                      <a:lnTo>
                        <a:pt x="311" y="34"/>
                      </a:lnTo>
                      <a:lnTo>
                        <a:pt x="311" y="32"/>
                      </a:lnTo>
                      <a:lnTo>
                        <a:pt x="311" y="34"/>
                      </a:lnTo>
                      <a:lnTo>
                        <a:pt x="313" y="34"/>
                      </a:lnTo>
                      <a:lnTo>
                        <a:pt x="311" y="34"/>
                      </a:lnTo>
                      <a:lnTo>
                        <a:pt x="313" y="34"/>
                      </a:lnTo>
                      <a:lnTo>
                        <a:pt x="313" y="36"/>
                      </a:lnTo>
                      <a:lnTo>
                        <a:pt x="314" y="36"/>
                      </a:lnTo>
                      <a:lnTo>
                        <a:pt x="314" y="38"/>
                      </a:lnTo>
                      <a:lnTo>
                        <a:pt x="316" y="36"/>
                      </a:lnTo>
                      <a:lnTo>
                        <a:pt x="318" y="36"/>
                      </a:lnTo>
                      <a:lnTo>
                        <a:pt x="318" y="34"/>
                      </a:lnTo>
                      <a:lnTo>
                        <a:pt x="318" y="36"/>
                      </a:lnTo>
                      <a:lnTo>
                        <a:pt x="320" y="36"/>
                      </a:lnTo>
                      <a:lnTo>
                        <a:pt x="320" y="38"/>
                      </a:lnTo>
                      <a:lnTo>
                        <a:pt x="322" y="42"/>
                      </a:lnTo>
                      <a:lnTo>
                        <a:pt x="324" y="42"/>
                      </a:lnTo>
                      <a:lnTo>
                        <a:pt x="324" y="40"/>
                      </a:lnTo>
                      <a:lnTo>
                        <a:pt x="326" y="40"/>
                      </a:lnTo>
                      <a:lnTo>
                        <a:pt x="326" y="42"/>
                      </a:lnTo>
                      <a:lnTo>
                        <a:pt x="324" y="42"/>
                      </a:lnTo>
                      <a:lnTo>
                        <a:pt x="326" y="42"/>
                      </a:lnTo>
                      <a:lnTo>
                        <a:pt x="328" y="42"/>
                      </a:lnTo>
                      <a:lnTo>
                        <a:pt x="328" y="44"/>
                      </a:lnTo>
                      <a:lnTo>
                        <a:pt x="328" y="42"/>
                      </a:lnTo>
                      <a:lnTo>
                        <a:pt x="330" y="42"/>
                      </a:lnTo>
                      <a:lnTo>
                        <a:pt x="330" y="44"/>
                      </a:lnTo>
                      <a:lnTo>
                        <a:pt x="330" y="42"/>
                      </a:lnTo>
                      <a:lnTo>
                        <a:pt x="332" y="42"/>
                      </a:lnTo>
                      <a:lnTo>
                        <a:pt x="334" y="42"/>
                      </a:lnTo>
                      <a:lnTo>
                        <a:pt x="335" y="42"/>
                      </a:lnTo>
                      <a:lnTo>
                        <a:pt x="334" y="42"/>
                      </a:lnTo>
                      <a:lnTo>
                        <a:pt x="334" y="44"/>
                      </a:lnTo>
                      <a:lnTo>
                        <a:pt x="332" y="44"/>
                      </a:lnTo>
                      <a:lnTo>
                        <a:pt x="334" y="44"/>
                      </a:lnTo>
                      <a:lnTo>
                        <a:pt x="335" y="44"/>
                      </a:lnTo>
                      <a:lnTo>
                        <a:pt x="337" y="44"/>
                      </a:lnTo>
                      <a:lnTo>
                        <a:pt x="337" y="46"/>
                      </a:lnTo>
                      <a:lnTo>
                        <a:pt x="337" y="44"/>
                      </a:lnTo>
                      <a:lnTo>
                        <a:pt x="339" y="46"/>
                      </a:lnTo>
                      <a:lnTo>
                        <a:pt x="337" y="46"/>
                      </a:lnTo>
                      <a:lnTo>
                        <a:pt x="339" y="46"/>
                      </a:lnTo>
                      <a:lnTo>
                        <a:pt x="337" y="48"/>
                      </a:lnTo>
                      <a:lnTo>
                        <a:pt x="339" y="48"/>
                      </a:lnTo>
                      <a:lnTo>
                        <a:pt x="339" y="46"/>
                      </a:lnTo>
                      <a:lnTo>
                        <a:pt x="341" y="46"/>
                      </a:lnTo>
                      <a:lnTo>
                        <a:pt x="343" y="48"/>
                      </a:lnTo>
                      <a:lnTo>
                        <a:pt x="345" y="46"/>
                      </a:lnTo>
                      <a:lnTo>
                        <a:pt x="345" y="48"/>
                      </a:lnTo>
                      <a:lnTo>
                        <a:pt x="345" y="46"/>
                      </a:lnTo>
                      <a:lnTo>
                        <a:pt x="347" y="46"/>
                      </a:lnTo>
                      <a:lnTo>
                        <a:pt x="349" y="46"/>
                      </a:lnTo>
                      <a:lnTo>
                        <a:pt x="349" y="48"/>
                      </a:lnTo>
                      <a:lnTo>
                        <a:pt x="349" y="46"/>
                      </a:lnTo>
                      <a:lnTo>
                        <a:pt x="349" y="48"/>
                      </a:lnTo>
                      <a:lnTo>
                        <a:pt x="351" y="48"/>
                      </a:lnTo>
                      <a:lnTo>
                        <a:pt x="349" y="48"/>
                      </a:lnTo>
                      <a:lnTo>
                        <a:pt x="351" y="48"/>
                      </a:lnTo>
                      <a:lnTo>
                        <a:pt x="351" y="50"/>
                      </a:lnTo>
                      <a:lnTo>
                        <a:pt x="353" y="50"/>
                      </a:lnTo>
                      <a:lnTo>
                        <a:pt x="355" y="50"/>
                      </a:lnTo>
                      <a:lnTo>
                        <a:pt x="355" y="52"/>
                      </a:lnTo>
                      <a:lnTo>
                        <a:pt x="355" y="50"/>
                      </a:lnTo>
                      <a:lnTo>
                        <a:pt x="355" y="52"/>
                      </a:lnTo>
                      <a:lnTo>
                        <a:pt x="356" y="52"/>
                      </a:lnTo>
                      <a:lnTo>
                        <a:pt x="356" y="50"/>
                      </a:lnTo>
                      <a:lnTo>
                        <a:pt x="358" y="50"/>
                      </a:lnTo>
                      <a:lnTo>
                        <a:pt x="358" y="48"/>
                      </a:lnTo>
                      <a:lnTo>
                        <a:pt x="360" y="48"/>
                      </a:lnTo>
                      <a:lnTo>
                        <a:pt x="362" y="46"/>
                      </a:lnTo>
                      <a:lnTo>
                        <a:pt x="362" y="48"/>
                      </a:lnTo>
                      <a:lnTo>
                        <a:pt x="362" y="46"/>
                      </a:lnTo>
                      <a:lnTo>
                        <a:pt x="366" y="46"/>
                      </a:lnTo>
                      <a:lnTo>
                        <a:pt x="364" y="46"/>
                      </a:lnTo>
                      <a:lnTo>
                        <a:pt x="364" y="48"/>
                      </a:lnTo>
                      <a:lnTo>
                        <a:pt x="362" y="48"/>
                      </a:lnTo>
                      <a:lnTo>
                        <a:pt x="362" y="50"/>
                      </a:lnTo>
                      <a:lnTo>
                        <a:pt x="362" y="52"/>
                      </a:lnTo>
                      <a:lnTo>
                        <a:pt x="364" y="50"/>
                      </a:lnTo>
                      <a:lnTo>
                        <a:pt x="364" y="52"/>
                      </a:lnTo>
                      <a:lnTo>
                        <a:pt x="364" y="50"/>
                      </a:lnTo>
                      <a:lnTo>
                        <a:pt x="364" y="52"/>
                      </a:lnTo>
                      <a:lnTo>
                        <a:pt x="364" y="50"/>
                      </a:lnTo>
                      <a:lnTo>
                        <a:pt x="366" y="50"/>
                      </a:lnTo>
                      <a:lnTo>
                        <a:pt x="366" y="48"/>
                      </a:lnTo>
                      <a:lnTo>
                        <a:pt x="366" y="50"/>
                      </a:lnTo>
                      <a:lnTo>
                        <a:pt x="366" y="48"/>
                      </a:lnTo>
                      <a:lnTo>
                        <a:pt x="368" y="48"/>
                      </a:lnTo>
                      <a:lnTo>
                        <a:pt x="368" y="50"/>
                      </a:lnTo>
                      <a:lnTo>
                        <a:pt x="366" y="50"/>
                      </a:lnTo>
                      <a:lnTo>
                        <a:pt x="368" y="50"/>
                      </a:lnTo>
                      <a:lnTo>
                        <a:pt x="368" y="52"/>
                      </a:lnTo>
                      <a:lnTo>
                        <a:pt x="368" y="50"/>
                      </a:lnTo>
                      <a:lnTo>
                        <a:pt x="368" y="52"/>
                      </a:lnTo>
                      <a:lnTo>
                        <a:pt x="366" y="52"/>
                      </a:lnTo>
                      <a:lnTo>
                        <a:pt x="366" y="53"/>
                      </a:lnTo>
                      <a:lnTo>
                        <a:pt x="368" y="52"/>
                      </a:lnTo>
                      <a:lnTo>
                        <a:pt x="368" y="53"/>
                      </a:lnTo>
                      <a:lnTo>
                        <a:pt x="366" y="53"/>
                      </a:lnTo>
                      <a:lnTo>
                        <a:pt x="368" y="53"/>
                      </a:lnTo>
                      <a:lnTo>
                        <a:pt x="370" y="53"/>
                      </a:lnTo>
                      <a:lnTo>
                        <a:pt x="372" y="53"/>
                      </a:lnTo>
                      <a:lnTo>
                        <a:pt x="372" y="52"/>
                      </a:lnTo>
                      <a:lnTo>
                        <a:pt x="374" y="52"/>
                      </a:lnTo>
                      <a:lnTo>
                        <a:pt x="372" y="52"/>
                      </a:lnTo>
                      <a:lnTo>
                        <a:pt x="374" y="52"/>
                      </a:lnTo>
                      <a:lnTo>
                        <a:pt x="374" y="50"/>
                      </a:lnTo>
                      <a:lnTo>
                        <a:pt x="374" y="52"/>
                      </a:lnTo>
                      <a:lnTo>
                        <a:pt x="374" y="50"/>
                      </a:lnTo>
                      <a:lnTo>
                        <a:pt x="372" y="50"/>
                      </a:lnTo>
                      <a:lnTo>
                        <a:pt x="370" y="50"/>
                      </a:lnTo>
                      <a:lnTo>
                        <a:pt x="370" y="48"/>
                      </a:lnTo>
                      <a:lnTo>
                        <a:pt x="372" y="48"/>
                      </a:lnTo>
                      <a:lnTo>
                        <a:pt x="370" y="48"/>
                      </a:lnTo>
                      <a:lnTo>
                        <a:pt x="372" y="48"/>
                      </a:lnTo>
                      <a:lnTo>
                        <a:pt x="372" y="46"/>
                      </a:lnTo>
                      <a:lnTo>
                        <a:pt x="374" y="46"/>
                      </a:lnTo>
                      <a:lnTo>
                        <a:pt x="374" y="44"/>
                      </a:lnTo>
                      <a:lnTo>
                        <a:pt x="376" y="46"/>
                      </a:lnTo>
                      <a:lnTo>
                        <a:pt x="376" y="44"/>
                      </a:lnTo>
                      <a:lnTo>
                        <a:pt x="377" y="44"/>
                      </a:lnTo>
                      <a:lnTo>
                        <a:pt x="376" y="44"/>
                      </a:lnTo>
                      <a:lnTo>
                        <a:pt x="377" y="44"/>
                      </a:lnTo>
                      <a:lnTo>
                        <a:pt x="376" y="46"/>
                      </a:lnTo>
                      <a:lnTo>
                        <a:pt x="374" y="46"/>
                      </a:lnTo>
                      <a:lnTo>
                        <a:pt x="376" y="46"/>
                      </a:lnTo>
                      <a:lnTo>
                        <a:pt x="376" y="48"/>
                      </a:lnTo>
                      <a:lnTo>
                        <a:pt x="377" y="48"/>
                      </a:lnTo>
                      <a:lnTo>
                        <a:pt x="377" y="50"/>
                      </a:lnTo>
                      <a:lnTo>
                        <a:pt x="379" y="50"/>
                      </a:lnTo>
                      <a:lnTo>
                        <a:pt x="377" y="50"/>
                      </a:lnTo>
                      <a:lnTo>
                        <a:pt x="379" y="50"/>
                      </a:lnTo>
                      <a:lnTo>
                        <a:pt x="379" y="48"/>
                      </a:lnTo>
                      <a:lnTo>
                        <a:pt x="381" y="50"/>
                      </a:lnTo>
                      <a:lnTo>
                        <a:pt x="381" y="52"/>
                      </a:lnTo>
                      <a:lnTo>
                        <a:pt x="381" y="50"/>
                      </a:lnTo>
                      <a:lnTo>
                        <a:pt x="383" y="52"/>
                      </a:lnTo>
                      <a:lnTo>
                        <a:pt x="381" y="52"/>
                      </a:lnTo>
                      <a:lnTo>
                        <a:pt x="383" y="52"/>
                      </a:lnTo>
                      <a:lnTo>
                        <a:pt x="381" y="52"/>
                      </a:lnTo>
                      <a:lnTo>
                        <a:pt x="379" y="53"/>
                      </a:lnTo>
                      <a:lnTo>
                        <a:pt x="379" y="55"/>
                      </a:lnTo>
                      <a:lnTo>
                        <a:pt x="379" y="53"/>
                      </a:lnTo>
                      <a:lnTo>
                        <a:pt x="379" y="55"/>
                      </a:lnTo>
                      <a:lnTo>
                        <a:pt x="377" y="55"/>
                      </a:lnTo>
                      <a:lnTo>
                        <a:pt x="379" y="55"/>
                      </a:lnTo>
                      <a:lnTo>
                        <a:pt x="377" y="57"/>
                      </a:lnTo>
                      <a:lnTo>
                        <a:pt x="379" y="57"/>
                      </a:lnTo>
                      <a:lnTo>
                        <a:pt x="377" y="57"/>
                      </a:lnTo>
                      <a:lnTo>
                        <a:pt x="377" y="59"/>
                      </a:lnTo>
                      <a:lnTo>
                        <a:pt x="376" y="57"/>
                      </a:lnTo>
                      <a:lnTo>
                        <a:pt x="376" y="59"/>
                      </a:lnTo>
                      <a:lnTo>
                        <a:pt x="376" y="61"/>
                      </a:lnTo>
                      <a:lnTo>
                        <a:pt x="377" y="61"/>
                      </a:lnTo>
                      <a:lnTo>
                        <a:pt x="377" y="63"/>
                      </a:lnTo>
                      <a:lnTo>
                        <a:pt x="377" y="61"/>
                      </a:lnTo>
                      <a:lnTo>
                        <a:pt x="377" y="63"/>
                      </a:lnTo>
                      <a:lnTo>
                        <a:pt x="376" y="63"/>
                      </a:lnTo>
                      <a:lnTo>
                        <a:pt x="376" y="61"/>
                      </a:lnTo>
                      <a:lnTo>
                        <a:pt x="376" y="63"/>
                      </a:lnTo>
                      <a:lnTo>
                        <a:pt x="376" y="65"/>
                      </a:lnTo>
                      <a:lnTo>
                        <a:pt x="376" y="67"/>
                      </a:lnTo>
                      <a:lnTo>
                        <a:pt x="374" y="67"/>
                      </a:lnTo>
                      <a:lnTo>
                        <a:pt x="376" y="65"/>
                      </a:lnTo>
                      <a:lnTo>
                        <a:pt x="374" y="65"/>
                      </a:lnTo>
                      <a:lnTo>
                        <a:pt x="374" y="67"/>
                      </a:lnTo>
                      <a:lnTo>
                        <a:pt x="372" y="67"/>
                      </a:lnTo>
                      <a:lnTo>
                        <a:pt x="374" y="67"/>
                      </a:lnTo>
                      <a:lnTo>
                        <a:pt x="372" y="67"/>
                      </a:lnTo>
                      <a:lnTo>
                        <a:pt x="374" y="67"/>
                      </a:lnTo>
                      <a:lnTo>
                        <a:pt x="374" y="65"/>
                      </a:lnTo>
                      <a:lnTo>
                        <a:pt x="374" y="63"/>
                      </a:lnTo>
                      <a:lnTo>
                        <a:pt x="372" y="63"/>
                      </a:lnTo>
                      <a:lnTo>
                        <a:pt x="372" y="65"/>
                      </a:lnTo>
                      <a:lnTo>
                        <a:pt x="370" y="67"/>
                      </a:lnTo>
                      <a:lnTo>
                        <a:pt x="370" y="65"/>
                      </a:lnTo>
                      <a:lnTo>
                        <a:pt x="368" y="65"/>
                      </a:lnTo>
                      <a:lnTo>
                        <a:pt x="368" y="67"/>
                      </a:lnTo>
                      <a:lnTo>
                        <a:pt x="368" y="65"/>
                      </a:lnTo>
                      <a:lnTo>
                        <a:pt x="368" y="67"/>
                      </a:lnTo>
                      <a:lnTo>
                        <a:pt x="368" y="65"/>
                      </a:lnTo>
                      <a:lnTo>
                        <a:pt x="366" y="67"/>
                      </a:lnTo>
                      <a:lnTo>
                        <a:pt x="366" y="69"/>
                      </a:lnTo>
                      <a:lnTo>
                        <a:pt x="366" y="71"/>
                      </a:lnTo>
                      <a:lnTo>
                        <a:pt x="366" y="69"/>
                      </a:lnTo>
                      <a:lnTo>
                        <a:pt x="366" y="71"/>
                      </a:lnTo>
                      <a:lnTo>
                        <a:pt x="364" y="71"/>
                      </a:lnTo>
                      <a:lnTo>
                        <a:pt x="364" y="73"/>
                      </a:lnTo>
                      <a:lnTo>
                        <a:pt x="366" y="73"/>
                      </a:lnTo>
                      <a:lnTo>
                        <a:pt x="366" y="74"/>
                      </a:lnTo>
                      <a:lnTo>
                        <a:pt x="368" y="74"/>
                      </a:lnTo>
                      <a:lnTo>
                        <a:pt x="368" y="73"/>
                      </a:lnTo>
                      <a:lnTo>
                        <a:pt x="368" y="74"/>
                      </a:lnTo>
                      <a:lnTo>
                        <a:pt x="368" y="76"/>
                      </a:lnTo>
                      <a:lnTo>
                        <a:pt x="366" y="78"/>
                      </a:lnTo>
                      <a:lnTo>
                        <a:pt x="366" y="76"/>
                      </a:lnTo>
                      <a:lnTo>
                        <a:pt x="366" y="78"/>
                      </a:lnTo>
                      <a:lnTo>
                        <a:pt x="366" y="80"/>
                      </a:lnTo>
                      <a:lnTo>
                        <a:pt x="366" y="82"/>
                      </a:lnTo>
                      <a:lnTo>
                        <a:pt x="364" y="82"/>
                      </a:lnTo>
                      <a:lnTo>
                        <a:pt x="364" y="84"/>
                      </a:lnTo>
                      <a:lnTo>
                        <a:pt x="362" y="82"/>
                      </a:lnTo>
                      <a:lnTo>
                        <a:pt x="362" y="84"/>
                      </a:lnTo>
                      <a:lnTo>
                        <a:pt x="362" y="86"/>
                      </a:lnTo>
                      <a:lnTo>
                        <a:pt x="360" y="86"/>
                      </a:lnTo>
                      <a:lnTo>
                        <a:pt x="360" y="88"/>
                      </a:lnTo>
                      <a:lnTo>
                        <a:pt x="360" y="90"/>
                      </a:lnTo>
                      <a:lnTo>
                        <a:pt x="358" y="90"/>
                      </a:lnTo>
                      <a:lnTo>
                        <a:pt x="356" y="90"/>
                      </a:lnTo>
                      <a:lnTo>
                        <a:pt x="358" y="90"/>
                      </a:lnTo>
                      <a:lnTo>
                        <a:pt x="356" y="90"/>
                      </a:lnTo>
                      <a:lnTo>
                        <a:pt x="356" y="92"/>
                      </a:lnTo>
                      <a:lnTo>
                        <a:pt x="356" y="90"/>
                      </a:lnTo>
                      <a:lnTo>
                        <a:pt x="355" y="92"/>
                      </a:lnTo>
                      <a:lnTo>
                        <a:pt x="356" y="90"/>
                      </a:lnTo>
                      <a:lnTo>
                        <a:pt x="356" y="92"/>
                      </a:lnTo>
                      <a:lnTo>
                        <a:pt x="356" y="90"/>
                      </a:lnTo>
                      <a:lnTo>
                        <a:pt x="358" y="90"/>
                      </a:lnTo>
                      <a:lnTo>
                        <a:pt x="358" y="92"/>
                      </a:lnTo>
                      <a:lnTo>
                        <a:pt x="356" y="92"/>
                      </a:lnTo>
                      <a:lnTo>
                        <a:pt x="358" y="92"/>
                      </a:lnTo>
                      <a:lnTo>
                        <a:pt x="358" y="94"/>
                      </a:lnTo>
                      <a:lnTo>
                        <a:pt x="358" y="95"/>
                      </a:lnTo>
                      <a:lnTo>
                        <a:pt x="360" y="95"/>
                      </a:lnTo>
                      <a:lnTo>
                        <a:pt x="362" y="95"/>
                      </a:lnTo>
                      <a:lnTo>
                        <a:pt x="362" y="97"/>
                      </a:lnTo>
                      <a:lnTo>
                        <a:pt x="362" y="95"/>
                      </a:lnTo>
                      <a:lnTo>
                        <a:pt x="362" y="97"/>
                      </a:lnTo>
                      <a:lnTo>
                        <a:pt x="362" y="95"/>
                      </a:lnTo>
                      <a:lnTo>
                        <a:pt x="362" y="97"/>
                      </a:lnTo>
                      <a:lnTo>
                        <a:pt x="364" y="97"/>
                      </a:lnTo>
                      <a:lnTo>
                        <a:pt x="366" y="97"/>
                      </a:lnTo>
                      <a:lnTo>
                        <a:pt x="366" y="99"/>
                      </a:lnTo>
                      <a:lnTo>
                        <a:pt x="368" y="99"/>
                      </a:lnTo>
                      <a:lnTo>
                        <a:pt x="366" y="99"/>
                      </a:lnTo>
                      <a:lnTo>
                        <a:pt x="368" y="99"/>
                      </a:lnTo>
                      <a:lnTo>
                        <a:pt x="370" y="101"/>
                      </a:lnTo>
                      <a:lnTo>
                        <a:pt x="372" y="101"/>
                      </a:lnTo>
                      <a:lnTo>
                        <a:pt x="372" y="105"/>
                      </a:lnTo>
                      <a:lnTo>
                        <a:pt x="374" y="105"/>
                      </a:lnTo>
                      <a:lnTo>
                        <a:pt x="376" y="107"/>
                      </a:lnTo>
                      <a:lnTo>
                        <a:pt x="377" y="107"/>
                      </a:lnTo>
                      <a:lnTo>
                        <a:pt x="377" y="109"/>
                      </a:lnTo>
                      <a:lnTo>
                        <a:pt x="379" y="109"/>
                      </a:lnTo>
                      <a:lnTo>
                        <a:pt x="377" y="109"/>
                      </a:lnTo>
                      <a:lnTo>
                        <a:pt x="379" y="109"/>
                      </a:lnTo>
                      <a:lnTo>
                        <a:pt x="377" y="111"/>
                      </a:lnTo>
                      <a:lnTo>
                        <a:pt x="379" y="111"/>
                      </a:lnTo>
                      <a:lnTo>
                        <a:pt x="379" y="109"/>
                      </a:lnTo>
                      <a:lnTo>
                        <a:pt x="379" y="111"/>
                      </a:lnTo>
                      <a:lnTo>
                        <a:pt x="381" y="111"/>
                      </a:lnTo>
                      <a:lnTo>
                        <a:pt x="383" y="111"/>
                      </a:lnTo>
                      <a:lnTo>
                        <a:pt x="381" y="111"/>
                      </a:lnTo>
                      <a:lnTo>
                        <a:pt x="383" y="109"/>
                      </a:lnTo>
                      <a:lnTo>
                        <a:pt x="385" y="111"/>
                      </a:lnTo>
                      <a:lnTo>
                        <a:pt x="387" y="113"/>
                      </a:lnTo>
                      <a:lnTo>
                        <a:pt x="389" y="113"/>
                      </a:lnTo>
                      <a:lnTo>
                        <a:pt x="389" y="114"/>
                      </a:lnTo>
                      <a:lnTo>
                        <a:pt x="391" y="114"/>
                      </a:lnTo>
                      <a:lnTo>
                        <a:pt x="389" y="114"/>
                      </a:lnTo>
                      <a:lnTo>
                        <a:pt x="391" y="114"/>
                      </a:lnTo>
                      <a:lnTo>
                        <a:pt x="389" y="114"/>
                      </a:lnTo>
                      <a:lnTo>
                        <a:pt x="391" y="114"/>
                      </a:lnTo>
                      <a:lnTo>
                        <a:pt x="393" y="114"/>
                      </a:lnTo>
                      <a:lnTo>
                        <a:pt x="391" y="114"/>
                      </a:lnTo>
                      <a:lnTo>
                        <a:pt x="393" y="114"/>
                      </a:lnTo>
                      <a:lnTo>
                        <a:pt x="395" y="114"/>
                      </a:lnTo>
                      <a:lnTo>
                        <a:pt x="395" y="116"/>
                      </a:lnTo>
                      <a:lnTo>
                        <a:pt x="396" y="118"/>
                      </a:lnTo>
                      <a:lnTo>
                        <a:pt x="400" y="122"/>
                      </a:lnTo>
                      <a:lnTo>
                        <a:pt x="402" y="122"/>
                      </a:lnTo>
                      <a:lnTo>
                        <a:pt x="404" y="124"/>
                      </a:lnTo>
                      <a:lnTo>
                        <a:pt x="406" y="124"/>
                      </a:lnTo>
                      <a:lnTo>
                        <a:pt x="408" y="124"/>
                      </a:lnTo>
                      <a:lnTo>
                        <a:pt x="410" y="124"/>
                      </a:lnTo>
                      <a:lnTo>
                        <a:pt x="414" y="126"/>
                      </a:lnTo>
                      <a:lnTo>
                        <a:pt x="416" y="126"/>
                      </a:lnTo>
                      <a:lnTo>
                        <a:pt x="416" y="128"/>
                      </a:lnTo>
                      <a:lnTo>
                        <a:pt x="417" y="128"/>
                      </a:lnTo>
                      <a:lnTo>
                        <a:pt x="417" y="130"/>
                      </a:lnTo>
                      <a:lnTo>
                        <a:pt x="417" y="132"/>
                      </a:lnTo>
                      <a:lnTo>
                        <a:pt x="419" y="134"/>
                      </a:lnTo>
                      <a:lnTo>
                        <a:pt x="421" y="134"/>
                      </a:lnTo>
                      <a:lnTo>
                        <a:pt x="423" y="135"/>
                      </a:lnTo>
                      <a:lnTo>
                        <a:pt x="421" y="135"/>
                      </a:lnTo>
                      <a:lnTo>
                        <a:pt x="423" y="135"/>
                      </a:lnTo>
                      <a:lnTo>
                        <a:pt x="425" y="137"/>
                      </a:lnTo>
                      <a:lnTo>
                        <a:pt x="427" y="137"/>
                      </a:lnTo>
                      <a:lnTo>
                        <a:pt x="429" y="137"/>
                      </a:lnTo>
                      <a:lnTo>
                        <a:pt x="431" y="139"/>
                      </a:lnTo>
                      <a:lnTo>
                        <a:pt x="433" y="139"/>
                      </a:lnTo>
                      <a:lnTo>
                        <a:pt x="437" y="139"/>
                      </a:lnTo>
                      <a:lnTo>
                        <a:pt x="438" y="139"/>
                      </a:lnTo>
                      <a:lnTo>
                        <a:pt x="440" y="137"/>
                      </a:lnTo>
                      <a:lnTo>
                        <a:pt x="442" y="137"/>
                      </a:lnTo>
                      <a:lnTo>
                        <a:pt x="444" y="135"/>
                      </a:lnTo>
                      <a:lnTo>
                        <a:pt x="444" y="134"/>
                      </a:lnTo>
                      <a:lnTo>
                        <a:pt x="446" y="132"/>
                      </a:lnTo>
                      <a:lnTo>
                        <a:pt x="446" y="130"/>
                      </a:lnTo>
                      <a:lnTo>
                        <a:pt x="446" y="128"/>
                      </a:lnTo>
                      <a:lnTo>
                        <a:pt x="448" y="126"/>
                      </a:lnTo>
                      <a:lnTo>
                        <a:pt x="448" y="124"/>
                      </a:lnTo>
                      <a:lnTo>
                        <a:pt x="450" y="124"/>
                      </a:lnTo>
                      <a:lnTo>
                        <a:pt x="450" y="122"/>
                      </a:lnTo>
                      <a:lnTo>
                        <a:pt x="450" y="120"/>
                      </a:lnTo>
                      <a:lnTo>
                        <a:pt x="452" y="120"/>
                      </a:lnTo>
                      <a:lnTo>
                        <a:pt x="452" y="118"/>
                      </a:lnTo>
                      <a:lnTo>
                        <a:pt x="452" y="116"/>
                      </a:lnTo>
                      <a:lnTo>
                        <a:pt x="452" y="114"/>
                      </a:lnTo>
                      <a:lnTo>
                        <a:pt x="454" y="113"/>
                      </a:lnTo>
                      <a:lnTo>
                        <a:pt x="454" y="111"/>
                      </a:lnTo>
                      <a:lnTo>
                        <a:pt x="454" y="109"/>
                      </a:lnTo>
                      <a:lnTo>
                        <a:pt x="454" y="105"/>
                      </a:lnTo>
                      <a:lnTo>
                        <a:pt x="454" y="103"/>
                      </a:lnTo>
                      <a:lnTo>
                        <a:pt x="456" y="99"/>
                      </a:lnTo>
                      <a:lnTo>
                        <a:pt x="458" y="97"/>
                      </a:lnTo>
                      <a:lnTo>
                        <a:pt x="458" y="95"/>
                      </a:lnTo>
                      <a:lnTo>
                        <a:pt x="456" y="94"/>
                      </a:lnTo>
                      <a:lnTo>
                        <a:pt x="456" y="88"/>
                      </a:lnTo>
                      <a:lnTo>
                        <a:pt x="456" y="86"/>
                      </a:lnTo>
                      <a:lnTo>
                        <a:pt x="456" y="82"/>
                      </a:lnTo>
                      <a:lnTo>
                        <a:pt x="456" y="80"/>
                      </a:lnTo>
                      <a:lnTo>
                        <a:pt x="454" y="78"/>
                      </a:lnTo>
                      <a:lnTo>
                        <a:pt x="454" y="76"/>
                      </a:lnTo>
                      <a:lnTo>
                        <a:pt x="456" y="71"/>
                      </a:lnTo>
                      <a:lnTo>
                        <a:pt x="458" y="67"/>
                      </a:lnTo>
                      <a:lnTo>
                        <a:pt x="458" y="65"/>
                      </a:lnTo>
                      <a:lnTo>
                        <a:pt x="458" y="63"/>
                      </a:lnTo>
                      <a:lnTo>
                        <a:pt x="456" y="63"/>
                      </a:lnTo>
                      <a:lnTo>
                        <a:pt x="458" y="61"/>
                      </a:lnTo>
                      <a:lnTo>
                        <a:pt x="459" y="59"/>
                      </a:lnTo>
                      <a:lnTo>
                        <a:pt x="459" y="57"/>
                      </a:lnTo>
                      <a:lnTo>
                        <a:pt x="461" y="57"/>
                      </a:lnTo>
                      <a:lnTo>
                        <a:pt x="461" y="59"/>
                      </a:lnTo>
                      <a:lnTo>
                        <a:pt x="461" y="61"/>
                      </a:lnTo>
                      <a:lnTo>
                        <a:pt x="463" y="61"/>
                      </a:lnTo>
                      <a:lnTo>
                        <a:pt x="461" y="61"/>
                      </a:lnTo>
                      <a:lnTo>
                        <a:pt x="463" y="61"/>
                      </a:lnTo>
                      <a:lnTo>
                        <a:pt x="461" y="61"/>
                      </a:lnTo>
                      <a:lnTo>
                        <a:pt x="461" y="59"/>
                      </a:lnTo>
                      <a:lnTo>
                        <a:pt x="463" y="59"/>
                      </a:lnTo>
                      <a:lnTo>
                        <a:pt x="461" y="59"/>
                      </a:lnTo>
                      <a:lnTo>
                        <a:pt x="461" y="57"/>
                      </a:lnTo>
                      <a:lnTo>
                        <a:pt x="463" y="57"/>
                      </a:lnTo>
                      <a:lnTo>
                        <a:pt x="461" y="57"/>
                      </a:lnTo>
                      <a:lnTo>
                        <a:pt x="459" y="57"/>
                      </a:lnTo>
                      <a:lnTo>
                        <a:pt x="461" y="55"/>
                      </a:lnTo>
                      <a:lnTo>
                        <a:pt x="463" y="55"/>
                      </a:lnTo>
                      <a:lnTo>
                        <a:pt x="463" y="53"/>
                      </a:lnTo>
                      <a:lnTo>
                        <a:pt x="463" y="55"/>
                      </a:lnTo>
                      <a:lnTo>
                        <a:pt x="461" y="55"/>
                      </a:lnTo>
                      <a:lnTo>
                        <a:pt x="459" y="55"/>
                      </a:lnTo>
                      <a:lnTo>
                        <a:pt x="458" y="53"/>
                      </a:lnTo>
                      <a:lnTo>
                        <a:pt x="458" y="55"/>
                      </a:lnTo>
                      <a:lnTo>
                        <a:pt x="456" y="55"/>
                      </a:lnTo>
                      <a:lnTo>
                        <a:pt x="458" y="50"/>
                      </a:lnTo>
                      <a:lnTo>
                        <a:pt x="459" y="50"/>
                      </a:lnTo>
                      <a:lnTo>
                        <a:pt x="458" y="50"/>
                      </a:lnTo>
                      <a:lnTo>
                        <a:pt x="461" y="46"/>
                      </a:lnTo>
                      <a:lnTo>
                        <a:pt x="461" y="48"/>
                      </a:lnTo>
                      <a:lnTo>
                        <a:pt x="461" y="46"/>
                      </a:lnTo>
                      <a:lnTo>
                        <a:pt x="463" y="48"/>
                      </a:lnTo>
                      <a:lnTo>
                        <a:pt x="463" y="46"/>
                      </a:lnTo>
                      <a:lnTo>
                        <a:pt x="461" y="46"/>
                      </a:lnTo>
                      <a:lnTo>
                        <a:pt x="461" y="42"/>
                      </a:lnTo>
                      <a:lnTo>
                        <a:pt x="463" y="42"/>
                      </a:lnTo>
                      <a:lnTo>
                        <a:pt x="463" y="38"/>
                      </a:lnTo>
                      <a:lnTo>
                        <a:pt x="465" y="36"/>
                      </a:lnTo>
                      <a:lnTo>
                        <a:pt x="465" y="34"/>
                      </a:lnTo>
                      <a:lnTo>
                        <a:pt x="465" y="32"/>
                      </a:lnTo>
                      <a:lnTo>
                        <a:pt x="465" y="29"/>
                      </a:lnTo>
                      <a:lnTo>
                        <a:pt x="467" y="29"/>
                      </a:lnTo>
                      <a:lnTo>
                        <a:pt x="469" y="27"/>
                      </a:lnTo>
                      <a:lnTo>
                        <a:pt x="469" y="25"/>
                      </a:lnTo>
                      <a:lnTo>
                        <a:pt x="471" y="25"/>
                      </a:lnTo>
                      <a:lnTo>
                        <a:pt x="473" y="25"/>
                      </a:lnTo>
                      <a:lnTo>
                        <a:pt x="471" y="27"/>
                      </a:lnTo>
                      <a:lnTo>
                        <a:pt x="471" y="29"/>
                      </a:lnTo>
                      <a:lnTo>
                        <a:pt x="473" y="29"/>
                      </a:lnTo>
                      <a:lnTo>
                        <a:pt x="471" y="29"/>
                      </a:lnTo>
                      <a:lnTo>
                        <a:pt x="471" y="27"/>
                      </a:lnTo>
                      <a:lnTo>
                        <a:pt x="473" y="29"/>
                      </a:lnTo>
                      <a:lnTo>
                        <a:pt x="473" y="27"/>
                      </a:lnTo>
                      <a:lnTo>
                        <a:pt x="473" y="29"/>
                      </a:lnTo>
                      <a:lnTo>
                        <a:pt x="473" y="27"/>
                      </a:lnTo>
                      <a:lnTo>
                        <a:pt x="473" y="29"/>
                      </a:lnTo>
                      <a:lnTo>
                        <a:pt x="475" y="29"/>
                      </a:lnTo>
                      <a:lnTo>
                        <a:pt x="475" y="31"/>
                      </a:lnTo>
                      <a:lnTo>
                        <a:pt x="475" y="32"/>
                      </a:lnTo>
                      <a:lnTo>
                        <a:pt x="475" y="34"/>
                      </a:lnTo>
                      <a:lnTo>
                        <a:pt x="477" y="34"/>
                      </a:lnTo>
                      <a:lnTo>
                        <a:pt x="477" y="36"/>
                      </a:lnTo>
                      <a:lnTo>
                        <a:pt x="477" y="38"/>
                      </a:lnTo>
                      <a:lnTo>
                        <a:pt x="477" y="40"/>
                      </a:lnTo>
                      <a:lnTo>
                        <a:pt x="477" y="42"/>
                      </a:lnTo>
                      <a:lnTo>
                        <a:pt x="477" y="44"/>
                      </a:lnTo>
                      <a:lnTo>
                        <a:pt x="478" y="44"/>
                      </a:lnTo>
                      <a:lnTo>
                        <a:pt x="477" y="44"/>
                      </a:lnTo>
                      <a:lnTo>
                        <a:pt x="478" y="44"/>
                      </a:lnTo>
                      <a:lnTo>
                        <a:pt x="480" y="44"/>
                      </a:lnTo>
                      <a:lnTo>
                        <a:pt x="482" y="46"/>
                      </a:lnTo>
                      <a:lnTo>
                        <a:pt x="480" y="48"/>
                      </a:lnTo>
                      <a:lnTo>
                        <a:pt x="480" y="50"/>
                      </a:lnTo>
                      <a:lnTo>
                        <a:pt x="480" y="52"/>
                      </a:lnTo>
                      <a:lnTo>
                        <a:pt x="482" y="52"/>
                      </a:lnTo>
                      <a:lnTo>
                        <a:pt x="482" y="53"/>
                      </a:lnTo>
                      <a:lnTo>
                        <a:pt x="484" y="55"/>
                      </a:lnTo>
                      <a:lnTo>
                        <a:pt x="486" y="55"/>
                      </a:lnTo>
                      <a:lnTo>
                        <a:pt x="484" y="57"/>
                      </a:lnTo>
                      <a:lnTo>
                        <a:pt x="486" y="57"/>
                      </a:lnTo>
                      <a:lnTo>
                        <a:pt x="484" y="57"/>
                      </a:lnTo>
                      <a:lnTo>
                        <a:pt x="484" y="59"/>
                      </a:lnTo>
                      <a:lnTo>
                        <a:pt x="484" y="61"/>
                      </a:lnTo>
                      <a:lnTo>
                        <a:pt x="486" y="61"/>
                      </a:lnTo>
                      <a:lnTo>
                        <a:pt x="484" y="59"/>
                      </a:lnTo>
                      <a:lnTo>
                        <a:pt x="486" y="59"/>
                      </a:lnTo>
                      <a:lnTo>
                        <a:pt x="488" y="59"/>
                      </a:lnTo>
                      <a:lnTo>
                        <a:pt x="486" y="61"/>
                      </a:lnTo>
                      <a:lnTo>
                        <a:pt x="486" y="63"/>
                      </a:lnTo>
                      <a:lnTo>
                        <a:pt x="486" y="65"/>
                      </a:lnTo>
                      <a:lnTo>
                        <a:pt x="486" y="67"/>
                      </a:lnTo>
                      <a:lnTo>
                        <a:pt x="488" y="69"/>
                      </a:lnTo>
                      <a:lnTo>
                        <a:pt x="488" y="71"/>
                      </a:lnTo>
                      <a:lnTo>
                        <a:pt x="488" y="73"/>
                      </a:lnTo>
                      <a:lnTo>
                        <a:pt x="488" y="74"/>
                      </a:lnTo>
                      <a:lnTo>
                        <a:pt x="488" y="76"/>
                      </a:lnTo>
                      <a:lnTo>
                        <a:pt x="488" y="78"/>
                      </a:lnTo>
                      <a:lnTo>
                        <a:pt x="490" y="78"/>
                      </a:lnTo>
                      <a:lnTo>
                        <a:pt x="490" y="82"/>
                      </a:lnTo>
                      <a:lnTo>
                        <a:pt x="492" y="86"/>
                      </a:lnTo>
                      <a:lnTo>
                        <a:pt x="494" y="86"/>
                      </a:lnTo>
                      <a:lnTo>
                        <a:pt x="496" y="86"/>
                      </a:lnTo>
                      <a:lnTo>
                        <a:pt x="498" y="84"/>
                      </a:lnTo>
                      <a:lnTo>
                        <a:pt x="498" y="82"/>
                      </a:lnTo>
                      <a:lnTo>
                        <a:pt x="499" y="84"/>
                      </a:lnTo>
                      <a:lnTo>
                        <a:pt x="501" y="82"/>
                      </a:lnTo>
                      <a:lnTo>
                        <a:pt x="501" y="84"/>
                      </a:lnTo>
                      <a:lnTo>
                        <a:pt x="501" y="82"/>
                      </a:lnTo>
                      <a:lnTo>
                        <a:pt x="503" y="82"/>
                      </a:lnTo>
                      <a:lnTo>
                        <a:pt x="503" y="84"/>
                      </a:lnTo>
                      <a:lnTo>
                        <a:pt x="505" y="84"/>
                      </a:lnTo>
                      <a:lnTo>
                        <a:pt x="505" y="86"/>
                      </a:lnTo>
                      <a:lnTo>
                        <a:pt x="505" y="88"/>
                      </a:lnTo>
                      <a:lnTo>
                        <a:pt x="507" y="88"/>
                      </a:lnTo>
                      <a:lnTo>
                        <a:pt x="509" y="88"/>
                      </a:lnTo>
                      <a:lnTo>
                        <a:pt x="509" y="90"/>
                      </a:lnTo>
                      <a:lnTo>
                        <a:pt x="511" y="92"/>
                      </a:lnTo>
                      <a:lnTo>
                        <a:pt x="513" y="92"/>
                      </a:lnTo>
                      <a:lnTo>
                        <a:pt x="515" y="92"/>
                      </a:lnTo>
                      <a:lnTo>
                        <a:pt x="515" y="94"/>
                      </a:lnTo>
                      <a:lnTo>
                        <a:pt x="517" y="94"/>
                      </a:lnTo>
                      <a:lnTo>
                        <a:pt x="517" y="95"/>
                      </a:lnTo>
                      <a:lnTo>
                        <a:pt x="515" y="95"/>
                      </a:lnTo>
                      <a:lnTo>
                        <a:pt x="515" y="97"/>
                      </a:lnTo>
                      <a:lnTo>
                        <a:pt x="515" y="99"/>
                      </a:lnTo>
                      <a:lnTo>
                        <a:pt x="517" y="99"/>
                      </a:lnTo>
                      <a:lnTo>
                        <a:pt x="515" y="99"/>
                      </a:lnTo>
                      <a:lnTo>
                        <a:pt x="515" y="101"/>
                      </a:lnTo>
                      <a:lnTo>
                        <a:pt x="515" y="103"/>
                      </a:lnTo>
                      <a:lnTo>
                        <a:pt x="515" y="105"/>
                      </a:lnTo>
                      <a:lnTo>
                        <a:pt x="517" y="105"/>
                      </a:lnTo>
                      <a:lnTo>
                        <a:pt x="515" y="105"/>
                      </a:lnTo>
                      <a:lnTo>
                        <a:pt x="517" y="107"/>
                      </a:lnTo>
                      <a:lnTo>
                        <a:pt x="517" y="109"/>
                      </a:lnTo>
                      <a:lnTo>
                        <a:pt x="517" y="111"/>
                      </a:lnTo>
                      <a:lnTo>
                        <a:pt x="519" y="113"/>
                      </a:lnTo>
                      <a:lnTo>
                        <a:pt x="517" y="114"/>
                      </a:lnTo>
                      <a:lnTo>
                        <a:pt x="519" y="114"/>
                      </a:lnTo>
                      <a:lnTo>
                        <a:pt x="519" y="116"/>
                      </a:lnTo>
                      <a:lnTo>
                        <a:pt x="517" y="116"/>
                      </a:lnTo>
                      <a:lnTo>
                        <a:pt x="517" y="118"/>
                      </a:lnTo>
                      <a:lnTo>
                        <a:pt x="519" y="120"/>
                      </a:lnTo>
                      <a:lnTo>
                        <a:pt x="519" y="122"/>
                      </a:lnTo>
                      <a:lnTo>
                        <a:pt x="520" y="122"/>
                      </a:lnTo>
                      <a:lnTo>
                        <a:pt x="520" y="124"/>
                      </a:lnTo>
                      <a:lnTo>
                        <a:pt x="522" y="124"/>
                      </a:lnTo>
                      <a:lnTo>
                        <a:pt x="522" y="126"/>
                      </a:lnTo>
                      <a:lnTo>
                        <a:pt x="522" y="128"/>
                      </a:lnTo>
                      <a:lnTo>
                        <a:pt x="522" y="126"/>
                      </a:lnTo>
                      <a:lnTo>
                        <a:pt x="524" y="126"/>
                      </a:lnTo>
                      <a:lnTo>
                        <a:pt x="526" y="126"/>
                      </a:lnTo>
                      <a:lnTo>
                        <a:pt x="524" y="128"/>
                      </a:lnTo>
                      <a:lnTo>
                        <a:pt x="524" y="130"/>
                      </a:lnTo>
                      <a:lnTo>
                        <a:pt x="526" y="130"/>
                      </a:lnTo>
                      <a:lnTo>
                        <a:pt x="526" y="132"/>
                      </a:lnTo>
                      <a:lnTo>
                        <a:pt x="526" y="134"/>
                      </a:lnTo>
                      <a:lnTo>
                        <a:pt x="528" y="135"/>
                      </a:lnTo>
                      <a:lnTo>
                        <a:pt x="526" y="137"/>
                      </a:lnTo>
                      <a:lnTo>
                        <a:pt x="528" y="137"/>
                      </a:lnTo>
                      <a:lnTo>
                        <a:pt x="528" y="139"/>
                      </a:lnTo>
                      <a:lnTo>
                        <a:pt x="528" y="137"/>
                      </a:lnTo>
                      <a:lnTo>
                        <a:pt x="528" y="139"/>
                      </a:lnTo>
                      <a:lnTo>
                        <a:pt x="528" y="141"/>
                      </a:lnTo>
                      <a:lnTo>
                        <a:pt x="528" y="143"/>
                      </a:lnTo>
                      <a:lnTo>
                        <a:pt x="528" y="145"/>
                      </a:lnTo>
                      <a:lnTo>
                        <a:pt x="526" y="145"/>
                      </a:lnTo>
                      <a:lnTo>
                        <a:pt x="528" y="145"/>
                      </a:lnTo>
                      <a:lnTo>
                        <a:pt x="526" y="147"/>
                      </a:lnTo>
                      <a:lnTo>
                        <a:pt x="526" y="149"/>
                      </a:lnTo>
                      <a:lnTo>
                        <a:pt x="528" y="151"/>
                      </a:lnTo>
                      <a:lnTo>
                        <a:pt x="530" y="153"/>
                      </a:lnTo>
                      <a:lnTo>
                        <a:pt x="532" y="153"/>
                      </a:lnTo>
                      <a:lnTo>
                        <a:pt x="532" y="155"/>
                      </a:lnTo>
                      <a:lnTo>
                        <a:pt x="532" y="156"/>
                      </a:lnTo>
                      <a:lnTo>
                        <a:pt x="532" y="155"/>
                      </a:lnTo>
                      <a:lnTo>
                        <a:pt x="532" y="156"/>
                      </a:lnTo>
                      <a:lnTo>
                        <a:pt x="530" y="158"/>
                      </a:lnTo>
                      <a:lnTo>
                        <a:pt x="532" y="160"/>
                      </a:lnTo>
                      <a:lnTo>
                        <a:pt x="532" y="162"/>
                      </a:lnTo>
                      <a:lnTo>
                        <a:pt x="534" y="162"/>
                      </a:lnTo>
                      <a:lnTo>
                        <a:pt x="534" y="164"/>
                      </a:lnTo>
                      <a:lnTo>
                        <a:pt x="536" y="164"/>
                      </a:lnTo>
                      <a:lnTo>
                        <a:pt x="538" y="164"/>
                      </a:lnTo>
                      <a:lnTo>
                        <a:pt x="539" y="164"/>
                      </a:lnTo>
                      <a:lnTo>
                        <a:pt x="539" y="166"/>
                      </a:lnTo>
                      <a:lnTo>
                        <a:pt x="541" y="166"/>
                      </a:lnTo>
                      <a:lnTo>
                        <a:pt x="543" y="166"/>
                      </a:lnTo>
                      <a:lnTo>
                        <a:pt x="543" y="164"/>
                      </a:lnTo>
                      <a:lnTo>
                        <a:pt x="543" y="166"/>
                      </a:lnTo>
                      <a:lnTo>
                        <a:pt x="543" y="168"/>
                      </a:lnTo>
                      <a:lnTo>
                        <a:pt x="545" y="168"/>
                      </a:lnTo>
                      <a:lnTo>
                        <a:pt x="545" y="170"/>
                      </a:lnTo>
                      <a:lnTo>
                        <a:pt x="545" y="168"/>
                      </a:lnTo>
                      <a:lnTo>
                        <a:pt x="547" y="170"/>
                      </a:lnTo>
                      <a:lnTo>
                        <a:pt x="547" y="168"/>
                      </a:lnTo>
                      <a:lnTo>
                        <a:pt x="549" y="168"/>
                      </a:lnTo>
                      <a:lnTo>
                        <a:pt x="549" y="166"/>
                      </a:lnTo>
                      <a:lnTo>
                        <a:pt x="549" y="168"/>
                      </a:lnTo>
                      <a:lnTo>
                        <a:pt x="551" y="170"/>
                      </a:lnTo>
                      <a:lnTo>
                        <a:pt x="551" y="172"/>
                      </a:lnTo>
                      <a:lnTo>
                        <a:pt x="551" y="170"/>
                      </a:lnTo>
                      <a:lnTo>
                        <a:pt x="551" y="172"/>
                      </a:lnTo>
                      <a:lnTo>
                        <a:pt x="549" y="172"/>
                      </a:lnTo>
                      <a:lnTo>
                        <a:pt x="547" y="174"/>
                      </a:lnTo>
                      <a:lnTo>
                        <a:pt x="545" y="174"/>
                      </a:lnTo>
                      <a:lnTo>
                        <a:pt x="547" y="174"/>
                      </a:lnTo>
                      <a:lnTo>
                        <a:pt x="549" y="172"/>
                      </a:lnTo>
                      <a:lnTo>
                        <a:pt x="551" y="174"/>
                      </a:lnTo>
                      <a:lnTo>
                        <a:pt x="553" y="174"/>
                      </a:lnTo>
                      <a:lnTo>
                        <a:pt x="553" y="176"/>
                      </a:lnTo>
                      <a:lnTo>
                        <a:pt x="555" y="176"/>
                      </a:lnTo>
                      <a:lnTo>
                        <a:pt x="555" y="174"/>
                      </a:lnTo>
                      <a:lnTo>
                        <a:pt x="557" y="174"/>
                      </a:lnTo>
                      <a:lnTo>
                        <a:pt x="557" y="176"/>
                      </a:lnTo>
                      <a:lnTo>
                        <a:pt x="557" y="177"/>
                      </a:lnTo>
                      <a:lnTo>
                        <a:pt x="559" y="177"/>
                      </a:lnTo>
                      <a:lnTo>
                        <a:pt x="559" y="176"/>
                      </a:lnTo>
                      <a:lnTo>
                        <a:pt x="560" y="177"/>
                      </a:lnTo>
                      <a:lnTo>
                        <a:pt x="562" y="177"/>
                      </a:lnTo>
                      <a:lnTo>
                        <a:pt x="562" y="179"/>
                      </a:lnTo>
                      <a:lnTo>
                        <a:pt x="564" y="181"/>
                      </a:lnTo>
                      <a:lnTo>
                        <a:pt x="566" y="181"/>
                      </a:lnTo>
                      <a:lnTo>
                        <a:pt x="566" y="179"/>
                      </a:lnTo>
                      <a:lnTo>
                        <a:pt x="568" y="181"/>
                      </a:lnTo>
                      <a:lnTo>
                        <a:pt x="568" y="183"/>
                      </a:lnTo>
                      <a:lnTo>
                        <a:pt x="570" y="183"/>
                      </a:lnTo>
                      <a:lnTo>
                        <a:pt x="568" y="183"/>
                      </a:lnTo>
                      <a:lnTo>
                        <a:pt x="570" y="183"/>
                      </a:lnTo>
                      <a:lnTo>
                        <a:pt x="572" y="183"/>
                      </a:lnTo>
                      <a:lnTo>
                        <a:pt x="572" y="185"/>
                      </a:lnTo>
                      <a:lnTo>
                        <a:pt x="572" y="187"/>
                      </a:lnTo>
                      <a:lnTo>
                        <a:pt x="574" y="187"/>
                      </a:lnTo>
                      <a:lnTo>
                        <a:pt x="572" y="187"/>
                      </a:lnTo>
                      <a:lnTo>
                        <a:pt x="572" y="185"/>
                      </a:lnTo>
                      <a:lnTo>
                        <a:pt x="570" y="185"/>
                      </a:lnTo>
                      <a:lnTo>
                        <a:pt x="570" y="187"/>
                      </a:lnTo>
                      <a:lnTo>
                        <a:pt x="570" y="185"/>
                      </a:lnTo>
                      <a:lnTo>
                        <a:pt x="570" y="187"/>
                      </a:lnTo>
                      <a:lnTo>
                        <a:pt x="570" y="185"/>
                      </a:lnTo>
                      <a:lnTo>
                        <a:pt x="568" y="185"/>
                      </a:lnTo>
                      <a:lnTo>
                        <a:pt x="570" y="187"/>
                      </a:lnTo>
                      <a:lnTo>
                        <a:pt x="568" y="189"/>
                      </a:lnTo>
                      <a:lnTo>
                        <a:pt x="570" y="189"/>
                      </a:lnTo>
                      <a:lnTo>
                        <a:pt x="568" y="191"/>
                      </a:lnTo>
                      <a:lnTo>
                        <a:pt x="570" y="191"/>
                      </a:lnTo>
                      <a:lnTo>
                        <a:pt x="570" y="189"/>
                      </a:lnTo>
                      <a:lnTo>
                        <a:pt x="570" y="191"/>
                      </a:lnTo>
                      <a:lnTo>
                        <a:pt x="572" y="191"/>
                      </a:lnTo>
                      <a:lnTo>
                        <a:pt x="572" y="193"/>
                      </a:lnTo>
                      <a:lnTo>
                        <a:pt x="570" y="193"/>
                      </a:lnTo>
                      <a:lnTo>
                        <a:pt x="572" y="193"/>
                      </a:lnTo>
                      <a:lnTo>
                        <a:pt x="574" y="193"/>
                      </a:lnTo>
                      <a:lnTo>
                        <a:pt x="574" y="195"/>
                      </a:lnTo>
                      <a:lnTo>
                        <a:pt x="574" y="193"/>
                      </a:lnTo>
                      <a:lnTo>
                        <a:pt x="576" y="195"/>
                      </a:lnTo>
                      <a:lnTo>
                        <a:pt x="574" y="195"/>
                      </a:lnTo>
                      <a:lnTo>
                        <a:pt x="576" y="195"/>
                      </a:lnTo>
                      <a:lnTo>
                        <a:pt x="576" y="197"/>
                      </a:lnTo>
                      <a:lnTo>
                        <a:pt x="576" y="195"/>
                      </a:lnTo>
                      <a:lnTo>
                        <a:pt x="576" y="197"/>
                      </a:lnTo>
                      <a:lnTo>
                        <a:pt x="578" y="197"/>
                      </a:lnTo>
                      <a:lnTo>
                        <a:pt x="578" y="198"/>
                      </a:lnTo>
                      <a:lnTo>
                        <a:pt x="578" y="197"/>
                      </a:lnTo>
                      <a:lnTo>
                        <a:pt x="578" y="198"/>
                      </a:lnTo>
                      <a:lnTo>
                        <a:pt x="576" y="198"/>
                      </a:lnTo>
                      <a:lnTo>
                        <a:pt x="578" y="198"/>
                      </a:lnTo>
                      <a:lnTo>
                        <a:pt x="578" y="200"/>
                      </a:lnTo>
                      <a:lnTo>
                        <a:pt x="580" y="200"/>
                      </a:lnTo>
                      <a:lnTo>
                        <a:pt x="580" y="202"/>
                      </a:lnTo>
                      <a:lnTo>
                        <a:pt x="578" y="202"/>
                      </a:lnTo>
                      <a:lnTo>
                        <a:pt x="580" y="202"/>
                      </a:lnTo>
                      <a:lnTo>
                        <a:pt x="578" y="202"/>
                      </a:lnTo>
                      <a:lnTo>
                        <a:pt x="580" y="202"/>
                      </a:lnTo>
                      <a:lnTo>
                        <a:pt x="580" y="204"/>
                      </a:lnTo>
                      <a:lnTo>
                        <a:pt x="578" y="204"/>
                      </a:lnTo>
                      <a:lnTo>
                        <a:pt x="580" y="204"/>
                      </a:lnTo>
                      <a:lnTo>
                        <a:pt x="581" y="204"/>
                      </a:lnTo>
                      <a:lnTo>
                        <a:pt x="580" y="204"/>
                      </a:lnTo>
                      <a:lnTo>
                        <a:pt x="581" y="204"/>
                      </a:lnTo>
                      <a:lnTo>
                        <a:pt x="581" y="206"/>
                      </a:lnTo>
                      <a:lnTo>
                        <a:pt x="581" y="204"/>
                      </a:lnTo>
                      <a:lnTo>
                        <a:pt x="581" y="206"/>
                      </a:lnTo>
                      <a:lnTo>
                        <a:pt x="581" y="208"/>
                      </a:lnTo>
                      <a:lnTo>
                        <a:pt x="581" y="210"/>
                      </a:lnTo>
                      <a:lnTo>
                        <a:pt x="581" y="212"/>
                      </a:lnTo>
                      <a:lnTo>
                        <a:pt x="581" y="214"/>
                      </a:lnTo>
                      <a:lnTo>
                        <a:pt x="583" y="216"/>
                      </a:lnTo>
                      <a:lnTo>
                        <a:pt x="583" y="218"/>
                      </a:lnTo>
                      <a:lnTo>
                        <a:pt x="581" y="218"/>
                      </a:lnTo>
                      <a:lnTo>
                        <a:pt x="583" y="218"/>
                      </a:lnTo>
                      <a:lnTo>
                        <a:pt x="585" y="218"/>
                      </a:lnTo>
                      <a:lnTo>
                        <a:pt x="585" y="219"/>
                      </a:lnTo>
                      <a:lnTo>
                        <a:pt x="583" y="218"/>
                      </a:lnTo>
                      <a:lnTo>
                        <a:pt x="583" y="219"/>
                      </a:lnTo>
                      <a:lnTo>
                        <a:pt x="585" y="219"/>
                      </a:lnTo>
                      <a:lnTo>
                        <a:pt x="585" y="218"/>
                      </a:lnTo>
                      <a:lnTo>
                        <a:pt x="585" y="219"/>
                      </a:lnTo>
                      <a:lnTo>
                        <a:pt x="585" y="221"/>
                      </a:lnTo>
                      <a:lnTo>
                        <a:pt x="583" y="221"/>
                      </a:lnTo>
                      <a:lnTo>
                        <a:pt x="585" y="221"/>
                      </a:lnTo>
                      <a:lnTo>
                        <a:pt x="587" y="219"/>
                      </a:lnTo>
                      <a:lnTo>
                        <a:pt x="589" y="221"/>
                      </a:lnTo>
                      <a:lnTo>
                        <a:pt x="589" y="223"/>
                      </a:lnTo>
                      <a:lnTo>
                        <a:pt x="591" y="223"/>
                      </a:lnTo>
                      <a:lnTo>
                        <a:pt x="591" y="221"/>
                      </a:lnTo>
                      <a:lnTo>
                        <a:pt x="589" y="218"/>
                      </a:lnTo>
                      <a:lnTo>
                        <a:pt x="589" y="216"/>
                      </a:lnTo>
                      <a:lnTo>
                        <a:pt x="591" y="216"/>
                      </a:lnTo>
                      <a:lnTo>
                        <a:pt x="591" y="214"/>
                      </a:lnTo>
                      <a:lnTo>
                        <a:pt x="591" y="216"/>
                      </a:lnTo>
                      <a:lnTo>
                        <a:pt x="593" y="218"/>
                      </a:lnTo>
                      <a:lnTo>
                        <a:pt x="593" y="219"/>
                      </a:lnTo>
                      <a:lnTo>
                        <a:pt x="595" y="219"/>
                      </a:lnTo>
                      <a:lnTo>
                        <a:pt x="597" y="221"/>
                      </a:lnTo>
                      <a:lnTo>
                        <a:pt x="599" y="221"/>
                      </a:lnTo>
                      <a:lnTo>
                        <a:pt x="599" y="223"/>
                      </a:lnTo>
                      <a:lnTo>
                        <a:pt x="599" y="221"/>
                      </a:lnTo>
                      <a:lnTo>
                        <a:pt x="601" y="223"/>
                      </a:lnTo>
                      <a:lnTo>
                        <a:pt x="599" y="223"/>
                      </a:lnTo>
                      <a:lnTo>
                        <a:pt x="599" y="221"/>
                      </a:lnTo>
                      <a:lnTo>
                        <a:pt x="601" y="221"/>
                      </a:lnTo>
                      <a:lnTo>
                        <a:pt x="599" y="221"/>
                      </a:lnTo>
                      <a:lnTo>
                        <a:pt x="601" y="221"/>
                      </a:lnTo>
                      <a:lnTo>
                        <a:pt x="599" y="221"/>
                      </a:lnTo>
                      <a:lnTo>
                        <a:pt x="601" y="221"/>
                      </a:lnTo>
                      <a:lnTo>
                        <a:pt x="599" y="221"/>
                      </a:lnTo>
                      <a:lnTo>
                        <a:pt x="599" y="219"/>
                      </a:lnTo>
                      <a:lnTo>
                        <a:pt x="599" y="221"/>
                      </a:lnTo>
                      <a:lnTo>
                        <a:pt x="599" y="219"/>
                      </a:lnTo>
                      <a:lnTo>
                        <a:pt x="599" y="218"/>
                      </a:lnTo>
                      <a:lnTo>
                        <a:pt x="601" y="218"/>
                      </a:lnTo>
                      <a:lnTo>
                        <a:pt x="601" y="219"/>
                      </a:lnTo>
                      <a:lnTo>
                        <a:pt x="601" y="218"/>
                      </a:lnTo>
                      <a:lnTo>
                        <a:pt x="601" y="219"/>
                      </a:lnTo>
                      <a:lnTo>
                        <a:pt x="601" y="218"/>
                      </a:lnTo>
                      <a:lnTo>
                        <a:pt x="601" y="219"/>
                      </a:lnTo>
                      <a:lnTo>
                        <a:pt x="602" y="219"/>
                      </a:lnTo>
                      <a:lnTo>
                        <a:pt x="602" y="221"/>
                      </a:lnTo>
                      <a:lnTo>
                        <a:pt x="601" y="221"/>
                      </a:lnTo>
                      <a:lnTo>
                        <a:pt x="601" y="223"/>
                      </a:lnTo>
                      <a:lnTo>
                        <a:pt x="601" y="221"/>
                      </a:lnTo>
                      <a:lnTo>
                        <a:pt x="602" y="221"/>
                      </a:lnTo>
                      <a:lnTo>
                        <a:pt x="601" y="223"/>
                      </a:lnTo>
                      <a:lnTo>
                        <a:pt x="602" y="223"/>
                      </a:lnTo>
                      <a:lnTo>
                        <a:pt x="601" y="223"/>
                      </a:lnTo>
                      <a:lnTo>
                        <a:pt x="602" y="223"/>
                      </a:lnTo>
                      <a:lnTo>
                        <a:pt x="602" y="221"/>
                      </a:lnTo>
                      <a:lnTo>
                        <a:pt x="602" y="223"/>
                      </a:lnTo>
                      <a:lnTo>
                        <a:pt x="602" y="225"/>
                      </a:lnTo>
                      <a:lnTo>
                        <a:pt x="602" y="227"/>
                      </a:lnTo>
                      <a:lnTo>
                        <a:pt x="602" y="229"/>
                      </a:lnTo>
                      <a:lnTo>
                        <a:pt x="602" y="233"/>
                      </a:lnTo>
                      <a:lnTo>
                        <a:pt x="602" y="235"/>
                      </a:lnTo>
                      <a:lnTo>
                        <a:pt x="602" y="237"/>
                      </a:lnTo>
                      <a:lnTo>
                        <a:pt x="604" y="239"/>
                      </a:lnTo>
                      <a:lnTo>
                        <a:pt x="602" y="239"/>
                      </a:lnTo>
                      <a:lnTo>
                        <a:pt x="601" y="239"/>
                      </a:lnTo>
                      <a:lnTo>
                        <a:pt x="602" y="239"/>
                      </a:lnTo>
                      <a:lnTo>
                        <a:pt x="604" y="239"/>
                      </a:lnTo>
                      <a:lnTo>
                        <a:pt x="602" y="239"/>
                      </a:lnTo>
                      <a:lnTo>
                        <a:pt x="604" y="240"/>
                      </a:lnTo>
                      <a:lnTo>
                        <a:pt x="606" y="240"/>
                      </a:lnTo>
                      <a:lnTo>
                        <a:pt x="606" y="239"/>
                      </a:lnTo>
                      <a:lnTo>
                        <a:pt x="606" y="240"/>
                      </a:lnTo>
                      <a:lnTo>
                        <a:pt x="608" y="240"/>
                      </a:lnTo>
                      <a:lnTo>
                        <a:pt x="608" y="242"/>
                      </a:lnTo>
                      <a:lnTo>
                        <a:pt x="608" y="244"/>
                      </a:lnTo>
                      <a:lnTo>
                        <a:pt x="610" y="244"/>
                      </a:lnTo>
                      <a:lnTo>
                        <a:pt x="610" y="246"/>
                      </a:lnTo>
                      <a:lnTo>
                        <a:pt x="612" y="244"/>
                      </a:lnTo>
                      <a:lnTo>
                        <a:pt x="612" y="246"/>
                      </a:lnTo>
                      <a:lnTo>
                        <a:pt x="612" y="248"/>
                      </a:lnTo>
                      <a:lnTo>
                        <a:pt x="614" y="248"/>
                      </a:lnTo>
                      <a:lnTo>
                        <a:pt x="616" y="248"/>
                      </a:lnTo>
                      <a:lnTo>
                        <a:pt x="614" y="248"/>
                      </a:lnTo>
                      <a:lnTo>
                        <a:pt x="616" y="248"/>
                      </a:lnTo>
                      <a:lnTo>
                        <a:pt x="618" y="248"/>
                      </a:lnTo>
                      <a:lnTo>
                        <a:pt x="616" y="248"/>
                      </a:lnTo>
                      <a:lnTo>
                        <a:pt x="618" y="248"/>
                      </a:lnTo>
                      <a:lnTo>
                        <a:pt x="616" y="248"/>
                      </a:lnTo>
                      <a:lnTo>
                        <a:pt x="616" y="246"/>
                      </a:lnTo>
                      <a:lnTo>
                        <a:pt x="616" y="248"/>
                      </a:lnTo>
                      <a:lnTo>
                        <a:pt x="616" y="246"/>
                      </a:lnTo>
                      <a:lnTo>
                        <a:pt x="618" y="248"/>
                      </a:lnTo>
                      <a:lnTo>
                        <a:pt x="618" y="246"/>
                      </a:lnTo>
                      <a:lnTo>
                        <a:pt x="618" y="248"/>
                      </a:lnTo>
                      <a:lnTo>
                        <a:pt x="618" y="250"/>
                      </a:lnTo>
                      <a:lnTo>
                        <a:pt x="620" y="250"/>
                      </a:lnTo>
                      <a:lnTo>
                        <a:pt x="621" y="252"/>
                      </a:lnTo>
                      <a:lnTo>
                        <a:pt x="621" y="254"/>
                      </a:lnTo>
                      <a:lnTo>
                        <a:pt x="623" y="256"/>
                      </a:lnTo>
                      <a:lnTo>
                        <a:pt x="621" y="256"/>
                      </a:lnTo>
                      <a:lnTo>
                        <a:pt x="623" y="256"/>
                      </a:lnTo>
                      <a:lnTo>
                        <a:pt x="623" y="258"/>
                      </a:lnTo>
                      <a:lnTo>
                        <a:pt x="625" y="260"/>
                      </a:lnTo>
                      <a:lnTo>
                        <a:pt x="625" y="258"/>
                      </a:lnTo>
                      <a:lnTo>
                        <a:pt x="625" y="260"/>
                      </a:lnTo>
                      <a:lnTo>
                        <a:pt x="627" y="260"/>
                      </a:lnTo>
                      <a:lnTo>
                        <a:pt x="629" y="260"/>
                      </a:lnTo>
                      <a:lnTo>
                        <a:pt x="627" y="260"/>
                      </a:lnTo>
                      <a:lnTo>
                        <a:pt x="627" y="261"/>
                      </a:lnTo>
                      <a:lnTo>
                        <a:pt x="627" y="260"/>
                      </a:lnTo>
                      <a:lnTo>
                        <a:pt x="629" y="260"/>
                      </a:lnTo>
                      <a:lnTo>
                        <a:pt x="629" y="261"/>
                      </a:lnTo>
                      <a:lnTo>
                        <a:pt x="629" y="263"/>
                      </a:lnTo>
                      <a:lnTo>
                        <a:pt x="631" y="265"/>
                      </a:lnTo>
                      <a:lnTo>
                        <a:pt x="629" y="265"/>
                      </a:lnTo>
                      <a:lnTo>
                        <a:pt x="631" y="265"/>
                      </a:lnTo>
                      <a:lnTo>
                        <a:pt x="631" y="267"/>
                      </a:lnTo>
                      <a:lnTo>
                        <a:pt x="631" y="269"/>
                      </a:lnTo>
                      <a:lnTo>
                        <a:pt x="631" y="267"/>
                      </a:lnTo>
                      <a:lnTo>
                        <a:pt x="633" y="269"/>
                      </a:lnTo>
                      <a:lnTo>
                        <a:pt x="635" y="269"/>
                      </a:lnTo>
                      <a:lnTo>
                        <a:pt x="637" y="269"/>
                      </a:lnTo>
                      <a:lnTo>
                        <a:pt x="637" y="273"/>
                      </a:lnTo>
                      <a:lnTo>
                        <a:pt x="637" y="271"/>
                      </a:lnTo>
                      <a:lnTo>
                        <a:pt x="637" y="273"/>
                      </a:lnTo>
                      <a:lnTo>
                        <a:pt x="635" y="273"/>
                      </a:lnTo>
                      <a:lnTo>
                        <a:pt x="637" y="273"/>
                      </a:lnTo>
                      <a:lnTo>
                        <a:pt x="637" y="275"/>
                      </a:lnTo>
                      <a:lnTo>
                        <a:pt x="635" y="275"/>
                      </a:lnTo>
                      <a:lnTo>
                        <a:pt x="637" y="275"/>
                      </a:lnTo>
                      <a:lnTo>
                        <a:pt x="637" y="277"/>
                      </a:lnTo>
                      <a:lnTo>
                        <a:pt x="635" y="277"/>
                      </a:lnTo>
                      <a:lnTo>
                        <a:pt x="637" y="277"/>
                      </a:lnTo>
                      <a:lnTo>
                        <a:pt x="637" y="279"/>
                      </a:lnTo>
                      <a:lnTo>
                        <a:pt x="639" y="279"/>
                      </a:lnTo>
                      <a:lnTo>
                        <a:pt x="637" y="280"/>
                      </a:lnTo>
                      <a:lnTo>
                        <a:pt x="639" y="280"/>
                      </a:lnTo>
                      <a:lnTo>
                        <a:pt x="637" y="280"/>
                      </a:lnTo>
                      <a:lnTo>
                        <a:pt x="639" y="282"/>
                      </a:lnTo>
                      <a:lnTo>
                        <a:pt x="639" y="280"/>
                      </a:lnTo>
                      <a:lnTo>
                        <a:pt x="639" y="279"/>
                      </a:lnTo>
                      <a:lnTo>
                        <a:pt x="639" y="280"/>
                      </a:lnTo>
                      <a:lnTo>
                        <a:pt x="641" y="280"/>
                      </a:lnTo>
                      <a:lnTo>
                        <a:pt x="641" y="282"/>
                      </a:lnTo>
                      <a:lnTo>
                        <a:pt x="639" y="286"/>
                      </a:lnTo>
                      <a:lnTo>
                        <a:pt x="639" y="288"/>
                      </a:lnTo>
                      <a:lnTo>
                        <a:pt x="639" y="290"/>
                      </a:lnTo>
                      <a:lnTo>
                        <a:pt x="639" y="288"/>
                      </a:lnTo>
                      <a:lnTo>
                        <a:pt x="639" y="290"/>
                      </a:lnTo>
                      <a:lnTo>
                        <a:pt x="639" y="288"/>
                      </a:lnTo>
                      <a:lnTo>
                        <a:pt x="641" y="288"/>
                      </a:lnTo>
                      <a:lnTo>
                        <a:pt x="639" y="292"/>
                      </a:lnTo>
                      <a:lnTo>
                        <a:pt x="639" y="294"/>
                      </a:lnTo>
                      <a:lnTo>
                        <a:pt x="639" y="292"/>
                      </a:lnTo>
                      <a:lnTo>
                        <a:pt x="639" y="294"/>
                      </a:lnTo>
                      <a:lnTo>
                        <a:pt x="641" y="294"/>
                      </a:lnTo>
                      <a:lnTo>
                        <a:pt x="641" y="296"/>
                      </a:lnTo>
                      <a:lnTo>
                        <a:pt x="639" y="296"/>
                      </a:lnTo>
                      <a:lnTo>
                        <a:pt x="641" y="296"/>
                      </a:lnTo>
                      <a:lnTo>
                        <a:pt x="639" y="296"/>
                      </a:lnTo>
                      <a:lnTo>
                        <a:pt x="641" y="296"/>
                      </a:lnTo>
                      <a:lnTo>
                        <a:pt x="639" y="298"/>
                      </a:lnTo>
                      <a:lnTo>
                        <a:pt x="639" y="296"/>
                      </a:lnTo>
                      <a:lnTo>
                        <a:pt x="639" y="298"/>
                      </a:lnTo>
                      <a:lnTo>
                        <a:pt x="639" y="300"/>
                      </a:lnTo>
                      <a:lnTo>
                        <a:pt x="639" y="301"/>
                      </a:lnTo>
                      <a:lnTo>
                        <a:pt x="641" y="301"/>
                      </a:lnTo>
                      <a:lnTo>
                        <a:pt x="639" y="301"/>
                      </a:lnTo>
                      <a:lnTo>
                        <a:pt x="639" y="303"/>
                      </a:lnTo>
                      <a:lnTo>
                        <a:pt x="639" y="301"/>
                      </a:lnTo>
                      <a:lnTo>
                        <a:pt x="639" y="303"/>
                      </a:lnTo>
                      <a:lnTo>
                        <a:pt x="639" y="305"/>
                      </a:lnTo>
                      <a:lnTo>
                        <a:pt x="639" y="303"/>
                      </a:lnTo>
                      <a:lnTo>
                        <a:pt x="639" y="305"/>
                      </a:lnTo>
                      <a:lnTo>
                        <a:pt x="641" y="307"/>
                      </a:lnTo>
                      <a:lnTo>
                        <a:pt x="639" y="307"/>
                      </a:lnTo>
                      <a:lnTo>
                        <a:pt x="639" y="309"/>
                      </a:lnTo>
                      <a:lnTo>
                        <a:pt x="637" y="309"/>
                      </a:lnTo>
                      <a:lnTo>
                        <a:pt x="639" y="309"/>
                      </a:lnTo>
                      <a:lnTo>
                        <a:pt x="637" y="309"/>
                      </a:lnTo>
                      <a:lnTo>
                        <a:pt x="639" y="309"/>
                      </a:lnTo>
                      <a:lnTo>
                        <a:pt x="637" y="309"/>
                      </a:lnTo>
                      <a:lnTo>
                        <a:pt x="637" y="311"/>
                      </a:lnTo>
                      <a:lnTo>
                        <a:pt x="637" y="309"/>
                      </a:lnTo>
                      <a:lnTo>
                        <a:pt x="639" y="309"/>
                      </a:lnTo>
                      <a:lnTo>
                        <a:pt x="637" y="309"/>
                      </a:lnTo>
                      <a:lnTo>
                        <a:pt x="639" y="309"/>
                      </a:lnTo>
                      <a:lnTo>
                        <a:pt x="639" y="307"/>
                      </a:lnTo>
                      <a:lnTo>
                        <a:pt x="641" y="307"/>
                      </a:lnTo>
                      <a:lnTo>
                        <a:pt x="641" y="309"/>
                      </a:lnTo>
                      <a:lnTo>
                        <a:pt x="642" y="309"/>
                      </a:lnTo>
                      <a:lnTo>
                        <a:pt x="642" y="311"/>
                      </a:lnTo>
                      <a:lnTo>
                        <a:pt x="642" y="313"/>
                      </a:lnTo>
                      <a:lnTo>
                        <a:pt x="644" y="313"/>
                      </a:lnTo>
                      <a:lnTo>
                        <a:pt x="644" y="315"/>
                      </a:lnTo>
                      <a:lnTo>
                        <a:pt x="642" y="315"/>
                      </a:lnTo>
                      <a:lnTo>
                        <a:pt x="644" y="315"/>
                      </a:lnTo>
                      <a:lnTo>
                        <a:pt x="644" y="317"/>
                      </a:lnTo>
                      <a:lnTo>
                        <a:pt x="642" y="317"/>
                      </a:lnTo>
                      <a:lnTo>
                        <a:pt x="644" y="317"/>
                      </a:lnTo>
                      <a:lnTo>
                        <a:pt x="644" y="315"/>
                      </a:lnTo>
                      <a:lnTo>
                        <a:pt x="644" y="317"/>
                      </a:lnTo>
                      <a:lnTo>
                        <a:pt x="644" y="319"/>
                      </a:lnTo>
                      <a:lnTo>
                        <a:pt x="644" y="317"/>
                      </a:lnTo>
                      <a:lnTo>
                        <a:pt x="644" y="319"/>
                      </a:lnTo>
                      <a:lnTo>
                        <a:pt x="644" y="321"/>
                      </a:lnTo>
                      <a:lnTo>
                        <a:pt x="644" y="319"/>
                      </a:lnTo>
                      <a:lnTo>
                        <a:pt x="646" y="321"/>
                      </a:lnTo>
                      <a:close/>
                      <a:moveTo>
                        <a:pt x="505" y="563"/>
                      </a:moveTo>
                      <a:lnTo>
                        <a:pt x="507" y="563"/>
                      </a:lnTo>
                      <a:lnTo>
                        <a:pt x="507" y="565"/>
                      </a:lnTo>
                      <a:lnTo>
                        <a:pt x="507" y="563"/>
                      </a:lnTo>
                      <a:lnTo>
                        <a:pt x="507" y="565"/>
                      </a:lnTo>
                      <a:lnTo>
                        <a:pt x="509" y="565"/>
                      </a:lnTo>
                      <a:lnTo>
                        <a:pt x="511" y="565"/>
                      </a:lnTo>
                      <a:lnTo>
                        <a:pt x="511" y="567"/>
                      </a:lnTo>
                      <a:lnTo>
                        <a:pt x="513" y="567"/>
                      </a:lnTo>
                      <a:lnTo>
                        <a:pt x="513" y="565"/>
                      </a:lnTo>
                      <a:lnTo>
                        <a:pt x="513" y="567"/>
                      </a:lnTo>
                      <a:lnTo>
                        <a:pt x="515" y="565"/>
                      </a:lnTo>
                      <a:lnTo>
                        <a:pt x="515" y="567"/>
                      </a:lnTo>
                      <a:lnTo>
                        <a:pt x="515" y="565"/>
                      </a:lnTo>
                      <a:lnTo>
                        <a:pt x="515" y="567"/>
                      </a:lnTo>
                      <a:lnTo>
                        <a:pt x="515" y="565"/>
                      </a:lnTo>
                      <a:lnTo>
                        <a:pt x="515" y="567"/>
                      </a:lnTo>
                      <a:lnTo>
                        <a:pt x="517" y="567"/>
                      </a:lnTo>
                      <a:lnTo>
                        <a:pt x="519" y="567"/>
                      </a:lnTo>
                      <a:lnTo>
                        <a:pt x="517" y="567"/>
                      </a:lnTo>
                      <a:lnTo>
                        <a:pt x="519" y="567"/>
                      </a:lnTo>
                      <a:lnTo>
                        <a:pt x="517" y="567"/>
                      </a:lnTo>
                      <a:lnTo>
                        <a:pt x="517" y="569"/>
                      </a:lnTo>
                      <a:lnTo>
                        <a:pt x="519" y="567"/>
                      </a:lnTo>
                      <a:lnTo>
                        <a:pt x="519" y="569"/>
                      </a:lnTo>
                      <a:lnTo>
                        <a:pt x="522" y="569"/>
                      </a:lnTo>
                      <a:lnTo>
                        <a:pt x="522" y="571"/>
                      </a:lnTo>
                      <a:lnTo>
                        <a:pt x="522" y="569"/>
                      </a:lnTo>
                      <a:lnTo>
                        <a:pt x="522" y="571"/>
                      </a:lnTo>
                      <a:lnTo>
                        <a:pt x="524" y="571"/>
                      </a:lnTo>
                      <a:lnTo>
                        <a:pt x="524" y="572"/>
                      </a:lnTo>
                      <a:lnTo>
                        <a:pt x="524" y="571"/>
                      </a:lnTo>
                      <a:lnTo>
                        <a:pt x="526" y="571"/>
                      </a:lnTo>
                      <a:lnTo>
                        <a:pt x="526" y="572"/>
                      </a:lnTo>
                      <a:lnTo>
                        <a:pt x="528" y="572"/>
                      </a:lnTo>
                      <a:lnTo>
                        <a:pt x="530" y="572"/>
                      </a:lnTo>
                      <a:lnTo>
                        <a:pt x="528" y="572"/>
                      </a:lnTo>
                      <a:lnTo>
                        <a:pt x="528" y="574"/>
                      </a:lnTo>
                      <a:lnTo>
                        <a:pt x="530" y="572"/>
                      </a:lnTo>
                      <a:lnTo>
                        <a:pt x="530" y="574"/>
                      </a:lnTo>
                      <a:lnTo>
                        <a:pt x="530" y="572"/>
                      </a:lnTo>
                      <a:lnTo>
                        <a:pt x="532" y="572"/>
                      </a:lnTo>
                      <a:lnTo>
                        <a:pt x="532" y="574"/>
                      </a:lnTo>
                      <a:lnTo>
                        <a:pt x="532" y="572"/>
                      </a:lnTo>
                      <a:lnTo>
                        <a:pt x="532" y="574"/>
                      </a:lnTo>
                      <a:lnTo>
                        <a:pt x="534" y="572"/>
                      </a:lnTo>
                      <a:lnTo>
                        <a:pt x="536" y="572"/>
                      </a:lnTo>
                      <a:lnTo>
                        <a:pt x="536" y="574"/>
                      </a:lnTo>
                      <a:lnTo>
                        <a:pt x="536" y="576"/>
                      </a:lnTo>
                      <a:lnTo>
                        <a:pt x="536" y="574"/>
                      </a:lnTo>
                      <a:lnTo>
                        <a:pt x="536" y="572"/>
                      </a:lnTo>
                      <a:lnTo>
                        <a:pt x="536" y="574"/>
                      </a:lnTo>
                      <a:lnTo>
                        <a:pt x="536" y="572"/>
                      </a:lnTo>
                      <a:lnTo>
                        <a:pt x="538" y="572"/>
                      </a:lnTo>
                      <a:lnTo>
                        <a:pt x="538" y="571"/>
                      </a:lnTo>
                      <a:lnTo>
                        <a:pt x="538" y="572"/>
                      </a:lnTo>
                      <a:lnTo>
                        <a:pt x="539" y="572"/>
                      </a:lnTo>
                      <a:lnTo>
                        <a:pt x="538" y="572"/>
                      </a:lnTo>
                      <a:lnTo>
                        <a:pt x="539" y="574"/>
                      </a:lnTo>
                      <a:lnTo>
                        <a:pt x="539" y="572"/>
                      </a:lnTo>
                      <a:lnTo>
                        <a:pt x="539" y="574"/>
                      </a:lnTo>
                      <a:lnTo>
                        <a:pt x="539" y="572"/>
                      </a:lnTo>
                      <a:lnTo>
                        <a:pt x="541" y="574"/>
                      </a:lnTo>
                      <a:lnTo>
                        <a:pt x="541" y="576"/>
                      </a:lnTo>
                      <a:lnTo>
                        <a:pt x="541" y="574"/>
                      </a:lnTo>
                      <a:lnTo>
                        <a:pt x="541" y="576"/>
                      </a:lnTo>
                      <a:lnTo>
                        <a:pt x="543" y="576"/>
                      </a:lnTo>
                      <a:lnTo>
                        <a:pt x="543" y="578"/>
                      </a:lnTo>
                      <a:lnTo>
                        <a:pt x="543" y="576"/>
                      </a:lnTo>
                      <a:lnTo>
                        <a:pt x="543" y="578"/>
                      </a:lnTo>
                      <a:lnTo>
                        <a:pt x="543" y="580"/>
                      </a:lnTo>
                      <a:lnTo>
                        <a:pt x="545" y="578"/>
                      </a:lnTo>
                      <a:lnTo>
                        <a:pt x="545" y="580"/>
                      </a:lnTo>
                      <a:lnTo>
                        <a:pt x="545" y="578"/>
                      </a:lnTo>
                      <a:lnTo>
                        <a:pt x="543" y="578"/>
                      </a:lnTo>
                      <a:lnTo>
                        <a:pt x="543" y="576"/>
                      </a:lnTo>
                      <a:lnTo>
                        <a:pt x="541" y="576"/>
                      </a:lnTo>
                      <a:lnTo>
                        <a:pt x="543" y="576"/>
                      </a:lnTo>
                      <a:lnTo>
                        <a:pt x="541" y="574"/>
                      </a:lnTo>
                      <a:lnTo>
                        <a:pt x="541" y="572"/>
                      </a:lnTo>
                      <a:lnTo>
                        <a:pt x="539" y="572"/>
                      </a:lnTo>
                      <a:lnTo>
                        <a:pt x="539" y="571"/>
                      </a:lnTo>
                      <a:lnTo>
                        <a:pt x="541" y="571"/>
                      </a:lnTo>
                      <a:lnTo>
                        <a:pt x="543" y="569"/>
                      </a:lnTo>
                      <a:lnTo>
                        <a:pt x="545" y="571"/>
                      </a:lnTo>
                      <a:lnTo>
                        <a:pt x="543" y="571"/>
                      </a:lnTo>
                      <a:lnTo>
                        <a:pt x="545" y="571"/>
                      </a:lnTo>
                      <a:lnTo>
                        <a:pt x="547" y="569"/>
                      </a:lnTo>
                      <a:lnTo>
                        <a:pt x="549" y="569"/>
                      </a:lnTo>
                      <a:lnTo>
                        <a:pt x="547" y="569"/>
                      </a:lnTo>
                      <a:lnTo>
                        <a:pt x="547" y="571"/>
                      </a:lnTo>
                      <a:lnTo>
                        <a:pt x="549" y="569"/>
                      </a:lnTo>
                      <a:lnTo>
                        <a:pt x="549" y="571"/>
                      </a:lnTo>
                      <a:lnTo>
                        <a:pt x="551" y="569"/>
                      </a:lnTo>
                      <a:lnTo>
                        <a:pt x="551" y="567"/>
                      </a:lnTo>
                      <a:lnTo>
                        <a:pt x="553" y="567"/>
                      </a:lnTo>
                      <a:lnTo>
                        <a:pt x="555" y="567"/>
                      </a:lnTo>
                      <a:lnTo>
                        <a:pt x="557" y="567"/>
                      </a:lnTo>
                      <a:lnTo>
                        <a:pt x="557" y="565"/>
                      </a:lnTo>
                      <a:lnTo>
                        <a:pt x="559" y="565"/>
                      </a:lnTo>
                      <a:lnTo>
                        <a:pt x="560" y="567"/>
                      </a:lnTo>
                      <a:lnTo>
                        <a:pt x="562" y="567"/>
                      </a:lnTo>
                      <a:lnTo>
                        <a:pt x="562" y="569"/>
                      </a:lnTo>
                      <a:lnTo>
                        <a:pt x="564" y="571"/>
                      </a:lnTo>
                      <a:lnTo>
                        <a:pt x="562" y="571"/>
                      </a:lnTo>
                      <a:lnTo>
                        <a:pt x="562" y="572"/>
                      </a:lnTo>
                      <a:lnTo>
                        <a:pt x="562" y="574"/>
                      </a:lnTo>
                      <a:lnTo>
                        <a:pt x="562" y="576"/>
                      </a:lnTo>
                      <a:lnTo>
                        <a:pt x="562" y="574"/>
                      </a:lnTo>
                      <a:lnTo>
                        <a:pt x="562" y="576"/>
                      </a:lnTo>
                      <a:lnTo>
                        <a:pt x="562" y="574"/>
                      </a:lnTo>
                      <a:lnTo>
                        <a:pt x="564" y="576"/>
                      </a:lnTo>
                      <a:lnTo>
                        <a:pt x="562" y="576"/>
                      </a:lnTo>
                      <a:lnTo>
                        <a:pt x="564" y="576"/>
                      </a:lnTo>
                      <a:lnTo>
                        <a:pt x="562" y="578"/>
                      </a:lnTo>
                      <a:lnTo>
                        <a:pt x="562" y="580"/>
                      </a:lnTo>
                      <a:lnTo>
                        <a:pt x="562" y="578"/>
                      </a:lnTo>
                      <a:lnTo>
                        <a:pt x="562" y="580"/>
                      </a:lnTo>
                      <a:lnTo>
                        <a:pt x="560" y="580"/>
                      </a:lnTo>
                      <a:lnTo>
                        <a:pt x="562" y="580"/>
                      </a:lnTo>
                      <a:lnTo>
                        <a:pt x="562" y="582"/>
                      </a:lnTo>
                      <a:lnTo>
                        <a:pt x="562" y="584"/>
                      </a:lnTo>
                      <a:lnTo>
                        <a:pt x="562" y="586"/>
                      </a:lnTo>
                      <a:lnTo>
                        <a:pt x="562" y="588"/>
                      </a:lnTo>
                      <a:lnTo>
                        <a:pt x="562" y="590"/>
                      </a:lnTo>
                      <a:lnTo>
                        <a:pt x="564" y="590"/>
                      </a:lnTo>
                      <a:lnTo>
                        <a:pt x="562" y="590"/>
                      </a:lnTo>
                      <a:lnTo>
                        <a:pt x="562" y="592"/>
                      </a:lnTo>
                      <a:lnTo>
                        <a:pt x="564" y="593"/>
                      </a:lnTo>
                      <a:lnTo>
                        <a:pt x="562" y="593"/>
                      </a:lnTo>
                      <a:lnTo>
                        <a:pt x="564" y="595"/>
                      </a:lnTo>
                      <a:lnTo>
                        <a:pt x="562" y="595"/>
                      </a:lnTo>
                      <a:lnTo>
                        <a:pt x="564" y="595"/>
                      </a:lnTo>
                      <a:lnTo>
                        <a:pt x="562" y="597"/>
                      </a:lnTo>
                      <a:lnTo>
                        <a:pt x="562" y="595"/>
                      </a:lnTo>
                      <a:lnTo>
                        <a:pt x="562" y="593"/>
                      </a:lnTo>
                      <a:lnTo>
                        <a:pt x="560" y="593"/>
                      </a:lnTo>
                      <a:lnTo>
                        <a:pt x="560" y="592"/>
                      </a:lnTo>
                      <a:lnTo>
                        <a:pt x="562" y="592"/>
                      </a:lnTo>
                      <a:lnTo>
                        <a:pt x="560" y="592"/>
                      </a:lnTo>
                      <a:lnTo>
                        <a:pt x="560" y="593"/>
                      </a:lnTo>
                      <a:lnTo>
                        <a:pt x="559" y="593"/>
                      </a:lnTo>
                      <a:lnTo>
                        <a:pt x="559" y="592"/>
                      </a:lnTo>
                      <a:lnTo>
                        <a:pt x="559" y="593"/>
                      </a:lnTo>
                      <a:lnTo>
                        <a:pt x="560" y="593"/>
                      </a:lnTo>
                      <a:lnTo>
                        <a:pt x="562" y="593"/>
                      </a:lnTo>
                      <a:lnTo>
                        <a:pt x="560" y="593"/>
                      </a:lnTo>
                      <a:lnTo>
                        <a:pt x="559" y="593"/>
                      </a:lnTo>
                      <a:lnTo>
                        <a:pt x="560" y="593"/>
                      </a:lnTo>
                      <a:lnTo>
                        <a:pt x="559" y="593"/>
                      </a:lnTo>
                      <a:lnTo>
                        <a:pt x="560" y="595"/>
                      </a:lnTo>
                      <a:lnTo>
                        <a:pt x="559" y="597"/>
                      </a:lnTo>
                      <a:lnTo>
                        <a:pt x="559" y="599"/>
                      </a:lnTo>
                      <a:lnTo>
                        <a:pt x="557" y="599"/>
                      </a:lnTo>
                      <a:lnTo>
                        <a:pt x="559" y="599"/>
                      </a:lnTo>
                      <a:lnTo>
                        <a:pt x="559" y="597"/>
                      </a:lnTo>
                      <a:lnTo>
                        <a:pt x="559" y="599"/>
                      </a:lnTo>
                      <a:lnTo>
                        <a:pt x="559" y="601"/>
                      </a:lnTo>
                      <a:lnTo>
                        <a:pt x="559" y="603"/>
                      </a:lnTo>
                      <a:lnTo>
                        <a:pt x="557" y="603"/>
                      </a:lnTo>
                      <a:lnTo>
                        <a:pt x="557" y="601"/>
                      </a:lnTo>
                      <a:lnTo>
                        <a:pt x="557" y="603"/>
                      </a:lnTo>
                      <a:lnTo>
                        <a:pt x="557" y="605"/>
                      </a:lnTo>
                      <a:lnTo>
                        <a:pt x="557" y="607"/>
                      </a:lnTo>
                      <a:lnTo>
                        <a:pt x="557" y="609"/>
                      </a:lnTo>
                      <a:lnTo>
                        <a:pt x="555" y="611"/>
                      </a:lnTo>
                      <a:lnTo>
                        <a:pt x="553" y="611"/>
                      </a:lnTo>
                      <a:lnTo>
                        <a:pt x="553" y="609"/>
                      </a:lnTo>
                      <a:lnTo>
                        <a:pt x="551" y="609"/>
                      </a:lnTo>
                      <a:lnTo>
                        <a:pt x="549" y="609"/>
                      </a:lnTo>
                      <a:lnTo>
                        <a:pt x="549" y="607"/>
                      </a:lnTo>
                      <a:lnTo>
                        <a:pt x="549" y="609"/>
                      </a:lnTo>
                      <a:lnTo>
                        <a:pt x="549" y="607"/>
                      </a:lnTo>
                      <a:lnTo>
                        <a:pt x="549" y="609"/>
                      </a:lnTo>
                      <a:lnTo>
                        <a:pt x="551" y="609"/>
                      </a:lnTo>
                      <a:lnTo>
                        <a:pt x="549" y="609"/>
                      </a:lnTo>
                      <a:lnTo>
                        <a:pt x="551" y="609"/>
                      </a:lnTo>
                      <a:lnTo>
                        <a:pt x="553" y="609"/>
                      </a:lnTo>
                      <a:lnTo>
                        <a:pt x="551" y="609"/>
                      </a:lnTo>
                      <a:lnTo>
                        <a:pt x="551" y="611"/>
                      </a:lnTo>
                      <a:lnTo>
                        <a:pt x="551" y="612"/>
                      </a:lnTo>
                      <a:lnTo>
                        <a:pt x="549" y="614"/>
                      </a:lnTo>
                      <a:lnTo>
                        <a:pt x="549" y="612"/>
                      </a:lnTo>
                      <a:lnTo>
                        <a:pt x="551" y="611"/>
                      </a:lnTo>
                      <a:lnTo>
                        <a:pt x="549" y="611"/>
                      </a:lnTo>
                      <a:lnTo>
                        <a:pt x="547" y="611"/>
                      </a:lnTo>
                      <a:lnTo>
                        <a:pt x="547" y="609"/>
                      </a:lnTo>
                      <a:lnTo>
                        <a:pt x="547" y="607"/>
                      </a:lnTo>
                      <a:lnTo>
                        <a:pt x="545" y="607"/>
                      </a:lnTo>
                      <a:lnTo>
                        <a:pt x="543" y="609"/>
                      </a:lnTo>
                      <a:lnTo>
                        <a:pt x="545" y="607"/>
                      </a:lnTo>
                      <a:lnTo>
                        <a:pt x="547" y="607"/>
                      </a:lnTo>
                      <a:lnTo>
                        <a:pt x="547" y="609"/>
                      </a:lnTo>
                      <a:lnTo>
                        <a:pt x="547" y="611"/>
                      </a:lnTo>
                      <a:lnTo>
                        <a:pt x="547" y="612"/>
                      </a:lnTo>
                      <a:lnTo>
                        <a:pt x="547" y="614"/>
                      </a:lnTo>
                      <a:lnTo>
                        <a:pt x="547" y="612"/>
                      </a:lnTo>
                      <a:lnTo>
                        <a:pt x="547" y="614"/>
                      </a:lnTo>
                      <a:lnTo>
                        <a:pt x="547" y="616"/>
                      </a:lnTo>
                      <a:lnTo>
                        <a:pt x="545" y="616"/>
                      </a:lnTo>
                      <a:lnTo>
                        <a:pt x="547" y="618"/>
                      </a:lnTo>
                      <a:lnTo>
                        <a:pt x="545" y="618"/>
                      </a:lnTo>
                      <a:lnTo>
                        <a:pt x="543" y="618"/>
                      </a:lnTo>
                      <a:lnTo>
                        <a:pt x="543" y="616"/>
                      </a:lnTo>
                      <a:lnTo>
                        <a:pt x="543" y="618"/>
                      </a:lnTo>
                      <a:lnTo>
                        <a:pt x="543" y="616"/>
                      </a:lnTo>
                      <a:lnTo>
                        <a:pt x="541" y="616"/>
                      </a:lnTo>
                      <a:lnTo>
                        <a:pt x="543" y="614"/>
                      </a:lnTo>
                      <a:lnTo>
                        <a:pt x="543" y="612"/>
                      </a:lnTo>
                      <a:lnTo>
                        <a:pt x="541" y="612"/>
                      </a:lnTo>
                      <a:lnTo>
                        <a:pt x="543" y="612"/>
                      </a:lnTo>
                      <a:lnTo>
                        <a:pt x="543" y="614"/>
                      </a:lnTo>
                      <a:lnTo>
                        <a:pt x="541" y="616"/>
                      </a:lnTo>
                      <a:lnTo>
                        <a:pt x="543" y="618"/>
                      </a:lnTo>
                      <a:lnTo>
                        <a:pt x="543" y="620"/>
                      </a:lnTo>
                      <a:lnTo>
                        <a:pt x="541" y="620"/>
                      </a:lnTo>
                      <a:lnTo>
                        <a:pt x="543" y="620"/>
                      </a:lnTo>
                      <a:lnTo>
                        <a:pt x="543" y="622"/>
                      </a:lnTo>
                      <a:lnTo>
                        <a:pt x="541" y="622"/>
                      </a:lnTo>
                      <a:lnTo>
                        <a:pt x="541" y="624"/>
                      </a:lnTo>
                      <a:lnTo>
                        <a:pt x="539" y="626"/>
                      </a:lnTo>
                      <a:lnTo>
                        <a:pt x="541" y="626"/>
                      </a:lnTo>
                      <a:lnTo>
                        <a:pt x="539" y="626"/>
                      </a:lnTo>
                      <a:lnTo>
                        <a:pt x="541" y="626"/>
                      </a:lnTo>
                      <a:lnTo>
                        <a:pt x="539" y="626"/>
                      </a:lnTo>
                      <a:lnTo>
                        <a:pt x="539" y="628"/>
                      </a:lnTo>
                      <a:lnTo>
                        <a:pt x="539" y="626"/>
                      </a:lnTo>
                      <a:lnTo>
                        <a:pt x="538" y="626"/>
                      </a:lnTo>
                      <a:lnTo>
                        <a:pt x="536" y="626"/>
                      </a:lnTo>
                      <a:lnTo>
                        <a:pt x="538" y="626"/>
                      </a:lnTo>
                      <a:lnTo>
                        <a:pt x="536" y="626"/>
                      </a:lnTo>
                      <a:lnTo>
                        <a:pt x="536" y="624"/>
                      </a:lnTo>
                      <a:lnTo>
                        <a:pt x="536" y="622"/>
                      </a:lnTo>
                      <a:lnTo>
                        <a:pt x="536" y="624"/>
                      </a:lnTo>
                      <a:lnTo>
                        <a:pt x="534" y="624"/>
                      </a:lnTo>
                      <a:lnTo>
                        <a:pt x="532" y="624"/>
                      </a:lnTo>
                      <a:lnTo>
                        <a:pt x="530" y="624"/>
                      </a:lnTo>
                      <a:lnTo>
                        <a:pt x="528" y="624"/>
                      </a:lnTo>
                      <a:lnTo>
                        <a:pt x="528" y="626"/>
                      </a:lnTo>
                      <a:lnTo>
                        <a:pt x="528" y="624"/>
                      </a:lnTo>
                      <a:lnTo>
                        <a:pt x="526" y="626"/>
                      </a:lnTo>
                      <a:lnTo>
                        <a:pt x="526" y="624"/>
                      </a:lnTo>
                      <a:lnTo>
                        <a:pt x="526" y="622"/>
                      </a:lnTo>
                      <a:lnTo>
                        <a:pt x="524" y="622"/>
                      </a:lnTo>
                      <a:lnTo>
                        <a:pt x="526" y="620"/>
                      </a:lnTo>
                      <a:lnTo>
                        <a:pt x="526" y="622"/>
                      </a:lnTo>
                      <a:lnTo>
                        <a:pt x="526" y="620"/>
                      </a:lnTo>
                      <a:lnTo>
                        <a:pt x="528" y="620"/>
                      </a:lnTo>
                      <a:lnTo>
                        <a:pt x="528" y="622"/>
                      </a:lnTo>
                      <a:lnTo>
                        <a:pt x="530" y="622"/>
                      </a:lnTo>
                      <a:lnTo>
                        <a:pt x="528" y="622"/>
                      </a:lnTo>
                      <a:lnTo>
                        <a:pt x="528" y="620"/>
                      </a:lnTo>
                      <a:lnTo>
                        <a:pt x="528" y="622"/>
                      </a:lnTo>
                      <a:lnTo>
                        <a:pt x="530" y="622"/>
                      </a:lnTo>
                      <a:lnTo>
                        <a:pt x="528" y="620"/>
                      </a:lnTo>
                      <a:lnTo>
                        <a:pt x="530" y="620"/>
                      </a:lnTo>
                      <a:lnTo>
                        <a:pt x="530" y="622"/>
                      </a:lnTo>
                      <a:lnTo>
                        <a:pt x="530" y="620"/>
                      </a:lnTo>
                      <a:lnTo>
                        <a:pt x="528" y="618"/>
                      </a:lnTo>
                      <a:lnTo>
                        <a:pt x="528" y="620"/>
                      </a:lnTo>
                      <a:lnTo>
                        <a:pt x="528" y="618"/>
                      </a:lnTo>
                      <a:lnTo>
                        <a:pt x="528" y="620"/>
                      </a:lnTo>
                      <a:lnTo>
                        <a:pt x="526" y="620"/>
                      </a:lnTo>
                      <a:lnTo>
                        <a:pt x="526" y="618"/>
                      </a:lnTo>
                      <a:lnTo>
                        <a:pt x="524" y="618"/>
                      </a:lnTo>
                      <a:lnTo>
                        <a:pt x="526" y="616"/>
                      </a:lnTo>
                      <a:lnTo>
                        <a:pt x="524" y="616"/>
                      </a:lnTo>
                      <a:lnTo>
                        <a:pt x="526" y="616"/>
                      </a:lnTo>
                      <a:lnTo>
                        <a:pt x="524" y="616"/>
                      </a:lnTo>
                      <a:lnTo>
                        <a:pt x="526" y="616"/>
                      </a:lnTo>
                      <a:lnTo>
                        <a:pt x="524" y="616"/>
                      </a:lnTo>
                      <a:lnTo>
                        <a:pt x="526" y="616"/>
                      </a:lnTo>
                      <a:lnTo>
                        <a:pt x="524" y="616"/>
                      </a:lnTo>
                      <a:lnTo>
                        <a:pt x="524" y="618"/>
                      </a:lnTo>
                      <a:lnTo>
                        <a:pt x="526" y="618"/>
                      </a:lnTo>
                      <a:lnTo>
                        <a:pt x="524" y="618"/>
                      </a:lnTo>
                      <a:lnTo>
                        <a:pt x="526" y="620"/>
                      </a:lnTo>
                      <a:lnTo>
                        <a:pt x="524" y="620"/>
                      </a:lnTo>
                      <a:lnTo>
                        <a:pt x="524" y="618"/>
                      </a:lnTo>
                      <a:lnTo>
                        <a:pt x="522" y="616"/>
                      </a:lnTo>
                      <a:lnTo>
                        <a:pt x="522" y="614"/>
                      </a:lnTo>
                      <a:lnTo>
                        <a:pt x="520" y="614"/>
                      </a:lnTo>
                      <a:lnTo>
                        <a:pt x="522" y="614"/>
                      </a:lnTo>
                      <a:lnTo>
                        <a:pt x="520" y="614"/>
                      </a:lnTo>
                      <a:lnTo>
                        <a:pt x="520" y="612"/>
                      </a:lnTo>
                      <a:lnTo>
                        <a:pt x="519" y="612"/>
                      </a:lnTo>
                      <a:lnTo>
                        <a:pt x="519" y="611"/>
                      </a:lnTo>
                      <a:lnTo>
                        <a:pt x="517" y="609"/>
                      </a:lnTo>
                      <a:lnTo>
                        <a:pt x="517" y="607"/>
                      </a:lnTo>
                      <a:lnTo>
                        <a:pt x="517" y="605"/>
                      </a:lnTo>
                      <a:lnTo>
                        <a:pt x="515" y="605"/>
                      </a:lnTo>
                      <a:lnTo>
                        <a:pt x="515" y="603"/>
                      </a:lnTo>
                      <a:lnTo>
                        <a:pt x="515" y="601"/>
                      </a:lnTo>
                      <a:lnTo>
                        <a:pt x="515" y="599"/>
                      </a:lnTo>
                      <a:lnTo>
                        <a:pt x="513" y="599"/>
                      </a:lnTo>
                      <a:lnTo>
                        <a:pt x="515" y="597"/>
                      </a:lnTo>
                      <a:lnTo>
                        <a:pt x="513" y="595"/>
                      </a:lnTo>
                      <a:lnTo>
                        <a:pt x="515" y="595"/>
                      </a:lnTo>
                      <a:lnTo>
                        <a:pt x="515" y="597"/>
                      </a:lnTo>
                      <a:lnTo>
                        <a:pt x="519" y="599"/>
                      </a:lnTo>
                      <a:lnTo>
                        <a:pt x="519" y="601"/>
                      </a:lnTo>
                      <a:lnTo>
                        <a:pt x="519" y="603"/>
                      </a:lnTo>
                      <a:lnTo>
                        <a:pt x="519" y="601"/>
                      </a:lnTo>
                      <a:lnTo>
                        <a:pt x="520" y="601"/>
                      </a:lnTo>
                      <a:lnTo>
                        <a:pt x="520" y="603"/>
                      </a:lnTo>
                      <a:lnTo>
                        <a:pt x="522" y="603"/>
                      </a:lnTo>
                      <a:lnTo>
                        <a:pt x="520" y="603"/>
                      </a:lnTo>
                      <a:lnTo>
                        <a:pt x="520" y="601"/>
                      </a:lnTo>
                      <a:lnTo>
                        <a:pt x="519" y="601"/>
                      </a:lnTo>
                      <a:lnTo>
                        <a:pt x="519" y="599"/>
                      </a:lnTo>
                      <a:lnTo>
                        <a:pt x="519" y="597"/>
                      </a:lnTo>
                      <a:lnTo>
                        <a:pt x="519" y="599"/>
                      </a:lnTo>
                      <a:lnTo>
                        <a:pt x="519" y="597"/>
                      </a:lnTo>
                      <a:lnTo>
                        <a:pt x="517" y="597"/>
                      </a:lnTo>
                      <a:lnTo>
                        <a:pt x="517" y="595"/>
                      </a:lnTo>
                      <a:lnTo>
                        <a:pt x="519" y="595"/>
                      </a:lnTo>
                      <a:lnTo>
                        <a:pt x="517" y="595"/>
                      </a:lnTo>
                      <a:lnTo>
                        <a:pt x="515" y="595"/>
                      </a:lnTo>
                      <a:lnTo>
                        <a:pt x="515" y="593"/>
                      </a:lnTo>
                      <a:lnTo>
                        <a:pt x="515" y="592"/>
                      </a:lnTo>
                      <a:lnTo>
                        <a:pt x="515" y="593"/>
                      </a:lnTo>
                      <a:lnTo>
                        <a:pt x="513" y="590"/>
                      </a:lnTo>
                      <a:lnTo>
                        <a:pt x="513" y="588"/>
                      </a:lnTo>
                      <a:lnTo>
                        <a:pt x="511" y="588"/>
                      </a:lnTo>
                      <a:lnTo>
                        <a:pt x="511" y="586"/>
                      </a:lnTo>
                      <a:lnTo>
                        <a:pt x="509" y="586"/>
                      </a:lnTo>
                      <a:lnTo>
                        <a:pt x="509" y="584"/>
                      </a:lnTo>
                      <a:lnTo>
                        <a:pt x="511" y="584"/>
                      </a:lnTo>
                      <a:lnTo>
                        <a:pt x="513" y="584"/>
                      </a:lnTo>
                      <a:lnTo>
                        <a:pt x="511" y="584"/>
                      </a:lnTo>
                      <a:lnTo>
                        <a:pt x="511" y="582"/>
                      </a:lnTo>
                      <a:lnTo>
                        <a:pt x="511" y="584"/>
                      </a:lnTo>
                      <a:lnTo>
                        <a:pt x="509" y="584"/>
                      </a:lnTo>
                      <a:lnTo>
                        <a:pt x="509" y="582"/>
                      </a:lnTo>
                      <a:lnTo>
                        <a:pt x="507" y="580"/>
                      </a:lnTo>
                      <a:lnTo>
                        <a:pt x="507" y="578"/>
                      </a:lnTo>
                      <a:lnTo>
                        <a:pt x="507" y="576"/>
                      </a:lnTo>
                      <a:lnTo>
                        <a:pt x="505" y="576"/>
                      </a:lnTo>
                      <a:lnTo>
                        <a:pt x="505" y="574"/>
                      </a:lnTo>
                      <a:lnTo>
                        <a:pt x="505" y="572"/>
                      </a:lnTo>
                      <a:lnTo>
                        <a:pt x="505" y="571"/>
                      </a:lnTo>
                      <a:lnTo>
                        <a:pt x="507" y="571"/>
                      </a:lnTo>
                      <a:lnTo>
                        <a:pt x="507" y="572"/>
                      </a:lnTo>
                      <a:lnTo>
                        <a:pt x="507" y="571"/>
                      </a:lnTo>
                      <a:lnTo>
                        <a:pt x="507" y="572"/>
                      </a:lnTo>
                      <a:lnTo>
                        <a:pt x="507" y="571"/>
                      </a:lnTo>
                      <a:lnTo>
                        <a:pt x="507" y="572"/>
                      </a:lnTo>
                      <a:lnTo>
                        <a:pt x="507" y="571"/>
                      </a:lnTo>
                      <a:lnTo>
                        <a:pt x="505" y="571"/>
                      </a:lnTo>
                      <a:lnTo>
                        <a:pt x="505" y="569"/>
                      </a:lnTo>
                      <a:lnTo>
                        <a:pt x="505" y="567"/>
                      </a:lnTo>
                      <a:lnTo>
                        <a:pt x="505" y="565"/>
                      </a:lnTo>
                      <a:lnTo>
                        <a:pt x="505" y="563"/>
                      </a:lnTo>
                      <a:close/>
                      <a:moveTo>
                        <a:pt x="278" y="32"/>
                      </a:moveTo>
                      <a:lnTo>
                        <a:pt x="280" y="34"/>
                      </a:lnTo>
                      <a:lnTo>
                        <a:pt x="282" y="34"/>
                      </a:lnTo>
                      <a:lnTo>
                        <a:pt x="280" y="34"/>
                      </a:lnTo>
                      <a:lnTo>
                        <a:pt x="280" y="36"/>
                      </a:lnTo>
                      <a:lnTo>
                        <a:pt x="282" y="36"/>
                      </a:lnTo>
                      <a:lnTo>
                        <a:pt x="282" y="34"/>
                      </a:lnTo>
                      <a:lnTo>
                        <a:pt x="282" y="36"/>
                      </a:lnTo>
                      <a:lnTo>
                        <a:pt x="284" y="36"/>
                      </a:lnTo>
                      <a:lnTo>
                        <a:pt x="284" y="38"/>
                      </a:lnTo>
                      <a:lnTo>
                        <a:pt x="284" y="36"/>
                      </a:lnTo>
                      <a:lnTo>
                        <a:pt x="284" y="38"/>
                      </a:lnTo>
                      <a:lnTo>
                        <a:pt x="286" y="38"/>
                      </a:lnTo>
                      <a:lnTo>
                        <a:pt x="284" y="38"/>
                      </a:lnTo>
                      <a:lnTo>
                        <a:pt x="284" y="36"/>
                      </a:lnTo>
                      <a:lnTo>
                        <a:pt x="282" y="36"/>
                      </a:lnTo>
                      <a:lnTo>
                        <a:pt x="284" y="36"/>
                      </a:lnTo>
                      <a:lnTo>
                        <a:pt x="286" y="36"/>
                      </a:lnTo>
                      <a:lnTo>
                        <a:pt x="286" y="34"/>
                      </a:lnTo>
                      <a:lnTo>
                        <a:pt x="288" y="36"/>
                      </a:lnTo>
                      <a:lnTo>
                        <a:pt x="288" y="34"/>
                      </a:lnTo>
                      <a:lnTo>
                        <a:pt x="290" y="34"/>
                      </a:lnTo>
                      <a:lnTo>
                        <a:pt x="292" y="34"/>
                      </a:lnTo>
                      <a:lnTo>
                        <a:pt x="292" y="32"/>
                      </a:lnTo>
                      <a:lnTo>
                        <a:pt x="294" y="32"/>
                      </a:lnTo>
                      <a:lnTo>
                        <a:pt x="294" y="34"/>
                      </a:lnTo>
                      <a:lnTo>
                        <a:pt x="295" y="34"/>
                      </a:lnTo>
                      <a:lnTo>
                        <a:pt x="295" y="36"/>
                      </a:lnTo>
                      <a:lnTo>
                        <a:pt x="297" y="36"/>
                      </a:lnTo>
                      <a:lnTo>
                        <a:pt x="295" y="38"/>
                      </a:lnTo>
                      <a:lnTo>
                        <a:pt x="295" y="36"/>
                      </a:lnTo>
                      <a:lnTo>
                        <a:pt x="295" y="38"/>
                      </a:lnTo>
                      <a:lnTo>
                        <a:pt x="295" y="40"/>
                      </a:lnTo>
                      <a:lnTo>
                        <a:pt x="294" y="38"/>
                      </a:lnTo>
                      <a:lnTo>
                        <a:pt x="294" y="40"/>
                      </a:lnTo>
                      <a:lnTo>
                        <a:pt x="292" y="42"/>
                      </a:lnTo>
                      <a:lnTo>
                        <a:pt x="290" y="44"/>
                      </a:lnTo>
                      <a:lnTo>
                        <a:pt x="288" y="44"/>
                      </a:lnTo>
                      <a:lnTo>
                        <a:pt x="286" y="44"/>
                      </a:lnTo>
                      <a:lnTo>
                        <a:pt x="284" y="44"/>
                      </a:lnTo>
                      <a:lnTo>
                        <a:pt x="284" y="42"/>
                      </a:lnTo>
                      <a:lnTo>
                        <a:pt x="282" y="42"/>
                      </a:lnTo>
                      <a:lnTo>
                        <a:pt x="282" y="40"/>
                      </a:lnTo>
                      <a:lnTo>
                        <a:pt x="280" y="40"/>
                      </a:lnTo>
                      <a:lnTo>
                        <a:pt x="280" y="38"/>
                      </a:lnTo>
                      <a:lnTo>
                        <a:pt x="278" y="38"/>
                      </a:lnTo>
                      <a:lnTo>
                        <a:pt x="278" y="36"/>
                      </a:lnTo>
                      <a:lnTo>
                        <a:pt x="278" y="34"/>
                      </a:lnTo>
                      <a:lnTo>
                        <a:pt x="278" y="32"/>
                      </a:lnTo>
                      <a:close/>
                      <a:moveTo>
                        <a:pt x="393" y="460"/>
                      </a:moveTo>
                      <a:lnTo>
                        <a:pt x="393" y="462"/>
                      </a:lnTo>
                      <a:lnTo>
                        <a:pt x="393" y="464"/>
                      </a:lnTo>
                      <a:lnTo>
                        <a:pt x="395" y="464"/>
                      </a:lnTo>
                      <a:lnTo>
                        <a:pt x="396" y="464"/>
                      </a:lnTo>
                      <a:lnTo>
                        <a:pt x="395" y="464"/>
                      </a:lnTo>
                      <a:lnTo>
                        <a:pt x="395" y="466"/>
                      </a:lnTo>
                      <a:lnTo>
                        <a:pt x="396" y="466"/>
                      </a:lnTo>
                      <a:lnTo>
                        <a:pt x="396" y="464"/>
                      </a:lnTo>
                      <a:lnTo>
                        <a:pt x="395" y="464"/>
                      </a:lnTo>
                      <a:lnTo>
                        <a:pt x="396" y="464"/>
                      </a:lnTo>
                      <a:lnTo>
                        <a:pt x="398" y="464"/>
                      </a:lnTo>
                      <a:lnTo>
                        <a:pt x="398" y="462"/>
                      </a:lnTo>
                      <a:lnTo>
                        <a:pt x="398" y="464"/>
                      </a:lnTo>
                      <a:lnTo>
                        <a:pt x="400" y="464"/>
                      </a:lnTo>
                      <a:lnTo>
                        <a:pt x="402" y="466"/>
                      </a:lnTo>
                      <a:lnTo>
                        <a:pt x="400" y="466"/>
                      </a:lnTo>
                      <a:lnTo>
                        <a:pt x="398" y="466"/>
                      </a:lnTo>
                      <a:lnTo>
                        <a:pt x="396" y="466"/>
                      </a:lnTo>
                      <a:lnTo>
                        <a:pt x="395" y="466"/>
                      </a:lnTo>
                      <a:lnTo>
                        <a:pt x="393" y="466"/>
                      </a:lnTo>
                      <a:lnTo>
                        <a:pt x="393" y="467"/>
                      </a:lnTo>
                      <a:lnTo>
                        <a:pt x="393" y="469"/>
                      </a:lnTo>
                      <a:lnTo>
                        <a:pt x="391" y="469"/>
                      </a:lnTo>
                      <a:lnTo>
                        <a:pt x="389" y="467"/>
                      </a:lnTo>
                      <a:lnTo>
                        <a:pt x="387" y="467"/>
                      </a:lnTo>
                      <a:lnTo>
                        <a:pt x="385" y="469"/>
                      </a:lnTo>
                      <a:lnTo>
                        <a:pt x="383" y="469"/>
                      </a:lnTo>
                      <a:lnTo>
                        <a:pt x="381" y="469"/>
                      </a:lnTo>
                      <a:lnTo>
                        <a:pt x="379" y="469"/>
                      </a:lnTo>
                      <a:lnTo>
                        <a:pt x="377" y="467"/>
                      </a:lnTo>
                      <a:lnTo>
                        <a:pt x="376" y="466"/>
                      </a:lnTo>
                      <a:lnTo>
                        <a:pt x="377" y="464"/>
                      </a:lnTo>
                      <a:lnTo>
                        <a:pt x="379" y="464"/>
                      </a:lnTo>
                      <a:lnTo>
                        <a:pt x="379" y="462"/>
                      </a:lnTo>
                      <a:lnTo>
                        <a:pt x="379" y="464"/>
                      </a:lnTo>
                      <a:lnTo>
                        <a:pt x="379" y="462"/>
                      </a:lnTo>
                      <a:lnTo>
                        <a:pt x="385" y="462"/>
                      </a:lnTo>
                      <a:lnTo>
                        <a:pt x="387" y="462"/>
                      </a:lnTo>
                      <a:lnTo>
                        <a:pt x="389" y="460"/>
                      </a:lnTo>
                      <a:lnTo>
                        <a:pt x="391" y="460"/>
                      </a:lnTo>
                      <a:lnTo>
                        <a:pt x="393" y="460"/>
                      </a:lnTo>
                      <a:close/>
                      <a:moveTo>
                        <a:pt x="379" y="73"/>
                      </a:moveTo>
                      <a:lnTo>
                        <a:pt x="379" y="74"/>
                      </a:lnTo>
                      <a:lnTo>
                        <a:pt x="377" y="74"/>
                      </a:lnTo>
                      <a:lnTo>
                        <a:pt x="379" y="74"/>
                      </a:lnTo>
                      <a:lnTo>
                        <a:pt x="379" y="76"/>
                      </a:lnTo>
                      <a:lnTo>
                        <a:pt x="381" y="76"/>
                      </a:lnTo>
                      <a:lnTo>
                        <a:pt x="381" y="74"/>
                      </a:lnTo>
                      <a:lnTo>
                        <a:pt x="379" y="76"/>
                      </a:lnTo>
                      <a:lnTo>
                        <a:pt x="381" y="74"/>
                      </a:lnTo>
                      <a:lnTo>
                        <a:pt x="381" y="76"/>
                      </a:lnTo>
                      <a:lnTo>
                        <a:pt x="379" y="76"/>
                      </a:lnTo>
                      <a:lnTo>
                        <a:pt x="379" y="78"/>
                      </a:lnTo>
                      <a:lnTo>
                        <a:pt x="379" y="76"/>
                      </a:lnTo>
                      <a:lnTo>
                        <a:pt x="379" y="78"/>
                      </a:lnTo>
                      <a:lnTo>
                        <a:pt x="379" y="80"/>
                      </a:lnTo>
                      <a:lnTo>
                        <a:pt x="379" y="82"/>
                      </a:lnTo>
                      <a:lnTo>
                        <a:pt x="379" y="80"/>
                      </a:lnTo>
                      <a:lnTo>
                        <a:pt x="381" y="82"/>
                      </a:lnTo>
                      <a:lnTo>
                        <a:pt x="381" y="80"/>
                      </a:lnTo>
                      <a:lnTo>
                        <a:pt x="381" y="82"/>
                      </a:lnTo>
                      <a:lnTo>
                        <a:pt x="383" y="82"/>
                      </a:lnTo>
                      <a:lnTo>
                        <a:pt x="383" y="84"/>
                      </a:lnTo>
                      <a:lnTo>
                        <a:pt x="381" y="84"/>
                      </a:lnTo>
                      <a:lnTo>
                        <a:pt x="379" y="82"/>
                      </a:lnTo>
                      <a:lnTo>
                        <a:pt x="377" y="84"/>
                      </a:lnTo>
                      <a:lnTo>
                        <a:pt x="377" y="82"/>
                      </a:lnTo>
                      <a:lnTo>
                        <a:pt x="376" y="82"/>
                      </a:lnTo>
                      <a:lnTo>
                        <a:pt x="374" y="82"/>
                      </a:lnTo>
                      <a:lnTo>
                        <a:pt x="372" y="82"/>
                      </a:lnTo>
                      <a:lnTo>
                        <a:pt x="374" y="82"/>
                      </a:lnTo>
                      <a:lnTo>
                        <a:pt x="374" y="80"/>
                      </a:lnTo>
                      <a:lnTo>
                        <a:pt x="374" y="78"/>
                      </a:lnTo>
                      <a:lnTo>
                        <a:pt x="374" y="76"/>
                      </a:lnTo>
                      <a:lnTo>
                        <a:pt x="376" y="76"/>
                      </a:lnTo>
                      <a:lnTo>
                        <a:pt x="376" y="74"/>
                      </a:lnTo>
                      <a:lnTo>
                        <a:pt x="376" y="76"/>
                      </a:lnTo>
                      <a:lnTo>
                        <a:pt x="377" y="74"/>
                      </a:lnTo>
                      <a:lnTo>
                        <a:pt x="377" y="73"/>
                      </a:lnTo>
                      <a:lnTo>
                        <a:pt x="377" y="74"/>
                      </a:lnTo>
                      <a:lnTo>
                        <a:pt x="379" y="73"/>
                      </a:lnTo>
                      <a:close/>
                      <a:moveTo>
                        <a:pt x="642" y="260"/>
                      </a:moveTo>
                      <a:lnTo>
                        <a:pt x="642" y="263"/>
                      </a:lnTo>
                      <a:lnTo>
                        <a:pt x="644" y="265"/>
                      </a:lnTo>
                      <a:lnTo>
                        <a:pt x="639" y="275"/>
                      </a:lnTo>
                      <a:lnTo>
                        <a:pt x="639" y="277"/>
                      </a:lnTo>
                      <a:lnTo>
                        <a:pt x="639" y="279"/>
                      </a:lnTo>
                      <a:lnTo>
                        <a:pt x="637" y="277"/>
                      </a:lnTo>
                      <a:lnTo>
                        <a:pt x="637" y="275"/>
                      </a:lnTo>
                      <a:lnTo>
                        <a:pt x="637" y="273"/>
                      </a:lnTo>
                      <a:lnTo>
                        <a:pt x="639" y="271"/>
                      </a:lnTo>
                      <a:lnTo>
                        <a:pt x="639" y="269"/>
                      </a:lnTo>
                      <a:lnTo>
                        <a:pt x="637" y="269"/>
                      </a:lnTo>
                      <a:lnTo>
                        <a:pt x="639" y="267"/>
                      </a:lnTo>
                      <a:lnTo>
                        <a:pt x="641" y="265"/>
                      </a:lnTo>
                      <a:lnTo>
                        <a:pt x="641" y="263"/>
                      </a:lnTo>
                      <a:lnTo>
                        <a:pt x="641" y="261"/>
                      </a:lnTo>
                      <a:lnTo>
                        <a:pt x="639" y="261"/>
                      </a:lnTo>
                      <a:lnTo>
                        <a:pt x="641" y="260"/>
                      </a:lnTo>
                      <a:lnTo>
                        <a:pt x="642" y="260"/>
                      </a:lnTo>
                      <a:close/>
                      <a:moveTo>
                        <a:pt x="557" y="544"/>
                      </a:moveTo>
                      <a:lnTo>
                        <a:pt x="559" y="544"/>
                      </a:lnTo>
                      <a:lnTo>
                        <a:pt x="557" y="544"/>
                      </a:lnTo>
                      <a:lnTo>
                        <a:pt x="559" y="544"/>
                      </a:lnTo>
                      <a:lnTo>
                        <a:pt x="557" y="544"/>
                      </a:lnTo>
                      <a:lnTo>
                        <a:pt x="560" y="548"/>
                      </a:lnTo>
                      <a:lnTo>
                        <a:pt x="562" y="548"/>
                      </a:lnTo>
                      <a:lnTo>
                        <a:pt x="562" y="550"/>
                      </a:lnTo>
                      <a:lnTo>
                        <a:pt x="562" y="551"/>
                      </a:lnTo>
                      <a:lnTo>
                        <a:pt x="564" y="553"/>
                      </a:lnTo>
                      <a:lnTo>
                        <a:pt x="562" y="553"/>
                      </a:lnTo>
                      <a:lnTo>
                        <a:pt x="560" y="553"/>
                      </a:lnTo>
                      <a:lnTo>
                        <a:pt x="560" y="555"/>
                      </a:lnTo>
                      <a:lnTo>
                        <a:pt x="559" y="553"/>
                      </a:lnTo>
                      <a:lnTo>
                        <a:pt x="559" y="551"/>
                      </a:lnTo>
                      <a:lnTo>
                        <a:pt x="557" y="551"/>
                      </a:lnTo>
                      <a:lnTo>
                        <a:pt x="557" y="550"/>
                      </a:lnTo>
                      <a:lnTo>
                        <a:pt x="557" y="548"/>
                      </a:lnTo>
                      <a:lnTo>
                        <a:pt x="555" y="548"/>
                      </a:lnTo>
                      <a:lnTo>
                        <a:pt x="555" y="546"/>
                      </a:lnTo>
                      <a:lnTo>
                        <a:pt x="557" y="546"/>
                      </a:lnTo>
                      <a:lnTo>
                        <a:pt x="555" y="546"/>
                      </a:lnTo>
                      <a:lnTo>
                        <a:pt x="557" y="544"/>
                      </a:lnTo>
                      <a:close/>
                      <a:moveTo>
                        <a:pt x="278" y="34"/>
                      </a:moveTo>
                      <a:lnTo>
                        <a:pt x="276" y="34"/>
                      </a:lnTo>
                      <a:lnTo>
                        <a:pt x="278" y="34"/>
                      </a:lnTo>
                      <a:lnTo>
                        <a:pt x="278" y="36"/>
                      </a:lnTo>
                      <a:lnTo>
                        <a:pt x="278" y="38"/>
                      </a:lnTo>
                      <a:lnTo>
                        <a:pt x="280" y="38"/>
                      </a:lnTo>
                      <a:lnTo>
                        <a:pt x="280" y="40"/>
                      </a:lnTo>
                      <a:lnTo>
                        <a:pt x="282" y="42"/>
                      </a:lnTo>
                      <a:lnTo>
                        <a:pt x="282" y="44"/>
                      </a:lnTo>
                      <a:lnTo>
                        <a:pt x="280" y="42"/>
                      </a:lnTo>
                      <a:lnTo>
                        <a:pt x="280" y="44"/>
                      </a:lnTo>
                      <a:lnTo>
                        <a:pt x="276" y="42"/>
                      </a:lnTo>
                      <a:lnTo>
                        <a:pt x="274" y="44"/>
                      </a:lnTo>
                      <a:lnTo>
                        <a:pt x="273" y="42"/>
                      </a:lnTo>
                      <a:lnTo>
                        <a:pt x="273" y="40"/>
                      </a:lnTo>
                      <a:lnTo>
                        <a:pt x="274" y="42"/>
                      </a:lnTo>
                      <a:lnTo>
                        <a:pt x="274" y="40"/>
                      </a:lnTo>
                      <a:lnTo>
                        <a:pt x="276" y="40"/>
                      </a:lnTo>
                      <a:lnTo>
                        <a:pt x="274" y="42"/>
                      </a:lnTo>
                      <a:lnTo>
                        <a:pt x="274" y="40"/>
                      </a:lnTo>
                      <a:lnTo>
                        <a:pt x="274" y="42"/>
                      </a:lnTo>
                      <a:lnTo>
                        <a:pt x="276" y="42"/>
                      </a:lnTo>
                      <a:lnTo>
                        <a:pt x="274" y="42"/>
                      </a:lnTo>
                      <a:lnTo>
                        <a:pt x="276" y="40"/>
                      </a:lnTo>
                      <a:lnTo>
                        <a:pt x="274" y="40"/>
                      </a:lnTo>
                      <a:lnTo>
                        <a:pt x="276" y="40"/>
                      </a:lnTo>
                      <a:lnTo>
                        <a:pt x="276" y="42"/>
                      </a:lnTo>
                      <a:lnTo>
                        <a:pt x="276" y="40"/>
                      </a:lnTo>
                      <a:lnTo>
                        <a:pt x="276" y="42"/>
                      </a:lnTo>
                      <a:lnTo>
                        <a:pt x="276" y="40"/>
                      </a:lnTo>
                      <a:lnTo>
                        <a:pt x="274" y="40"/>
                      </a:lnTo>
                      <a:lnTo>
                        <a:pt x="274" y="38"/>
                      </a:lnTo>
                      <a:lnTo>
                        <a:pt x="276" y="38"/>
                      </a:lnTo>
                      <a:lnTo>
                        <a:pt x="274" y="38"/>
                      </a:lnTo>
                      <a:lnTo>
                        <a:pt x="274" y="36"/>
                      </a:lnTo>
                      <a:lnTo>
                        <a:pt x="276" y="36"/>
                      </a:lnTo>
                      <a:lnTo>
                        <a:pt x="276" y="34"/>
                      </a:lnTo>
                      <a:lnTo>
                        <a:pt x="276" y="36"/>
                      </a:lnTo>
                      <a:lnTo>
                        <a:pt x="276" y="34"/>
                      </a:lnTo>
                      <a:lnTo>
                        <a:pt x="278" y="34"/>
                      </a:lnTo>
                      <a:close/>
                      <a:moveTo>
                        <a:pt x="494" y="540"/>
                      </a:moveTo>
                      <a:lnTo>
                        <a:pt x="496" y="542"/>
                      </a:lnTo>
                      <a:lnTo>
                        <a:pt x="496" y="544"/>
                      </a:lnTo>
                      <a:lnTo>
                        <a:pt x="498" y="546"/>
                      </a:lnTo>
                      <a:lnTo>
                        <a:pt x="496" y="548"/>
                      </a:lnTo>
                      <a:lnTo>
                        <a:pt x="498" y="548"/>
                      </a:lnTo>
                      <a:lnTo>
                        <a:pt x="496" y="550"/>
                      </a:lnTo>
                      <a:lnTo>
                        <a:pt x="496" y="551"/>
                      </a:lnTo>
                      <a:lnTo>
                        <a:pt x="494" y="551"/>
                      </a:lnTo>
                      <a:lnTo>
                        <a:pt x="492" y="551"/>
                      </a:lnTo>
                      <a:lnTo>
                        <a:pt x="492" y="550"/>
                      </a:lnTo>
                      <a:lnTo>
                        <a:pt x="494" y="550"/>
                      </a:lnTo>
                      <a:lnTo>
                        <a:pt x="492" y="550"/>
                      </a:lnTo>
                      <a:lnTo>
                        <a:pt x="494" y="550"/>
                      </a:lnTo>
                      <a:lnTo>
                        <a:pt x="492" y="550"/>
                      </a:lnTo>
                      <a:lnTo>
                        <a:pt x="494" y="550"/>
                      </a:lnTo>
                      <a:lnTo>
                        <a:pt x="492" y="548"/>
                      </a:lnTo>
                      <a:lnTo>
                        <a:pt x="492" y="546"/>
                      </a:lnTo>
                      <a:lnTo>
                        <a:pt x="492" y="544"/>
                      </a:lnTo>
                      <a:lnTo>
                        <a:pt x="494" y="542"/>
                      </a:lnTo>
                      <a:lnTo>
                        <a:pt x="494" y="540"/>
                      </a:lnTo>
                      <a:close/>
                      <a:moveTo>
                        <a:pt x="423" y="118"/>
                      </a:moveTo>
                      <a:lnTo>
                        <a:pt x="425" y="118"/>
                      </a:lnTo>
                      <a:lnTo>
                        <a:pt x="427" y="120"/>
                      </a:lnTo>
                      <a:lnTo>
                        <a:pt x="425" y="120"/>
                      </a:lnTo>
                      <a:lnTo>
                        <a:pt x="423" y="120"/>
                      </a:lnTo>
                      <a:lnTo>
                        <a:pt x="423" y="118"/>
                      </a:lnTo>
                      <a:lnTo>
                        <a:pt x="423" y="120"/>
                      </a:lnTo>
                      <a:lnTo>
                        <a:pt x="423" y="122"/>
                      </a:lnTo>
                      <a:lnTo>
                        <a:pt x="421" y="122"/>
                      </a:lnTo>
                      <a:lnTo>
                        <a:pt x="423" y="122"/>
                      </a:lnTo>
                      <a:lnTo>
                        <a:pt x="421" y="122"/>
                      </a:lnTo>
                      <a:lnTo>
                        <a:pt x="419" y="124"/>
                      </a:lnTo>
                      <a:lnTo>
                        <a:pt x="417" y="124"/>
                      </a:lnTo>
                      <a:lnTo>
                        <a:pt x="417" y="122"/>
                      </a:lnTo>
                      <a:lnTo>
                        <a:pt x="419" y="120"/>
                      </a:lnTo>
                      <a:lnTo>
                        <a:pt x="419" y="118"/>
                      </a:lnTo>
                      <a:lnTo>
                        <a:pt x="423" y="118"/>
                      </a:lnTo>
                      <a:close/>
                      <a:moveTo>
                        <a:pt x="557" y="609"/>
                      </a:moveTo>
                      <a:lnTo>
                        <a:pt x="557" y="611"/>
                      </a:lnTo>
                      <a:lnTo>
                        <a:pt x="559" y="611"/>
                      </a:lnTo>
                      <a:lnTo>
                        <a:pt x="557" y="611"/>
                      </a:lnTo>
                      <a:lnTo>
                        <a:pt x="559" y="611"/>
                      </a:lnTo>
                      <a:lnTo>
                        <a:pt x="559" y="612"/>
                      </a:lnTo>
                      <a:lnTo>
                        <a:pt x="557" y="612"/>
                      </a:lnTo>
                      <a:lnTo>
                        <a:pt x="557" y="614"/>
                      </a:lnTo>
                      <a:lnTo>
                        <a:pt x="559" y="614"/>
                      </a:lnTo>
                      <a:lnTo>
                        <a:pt x="557" y="616"/>
                      </a:lnTo>
                      <a:lnTo>
                        <a:pt x="559" y="616"/>
                      </a:lnTo>
                      <a:lnTo>
                        <a:pt x="559" y="618"/>
                      </a:lnTo>
                      <a:lnTo>
                        <a:pt x="557" y="618"/>
                      </a:lnTo>
                      <a:lnTo>
                        <a:pt x="557" y="616"/>
                      </a:lnTo>
                      <a:lnTo>
                        <a:pt x="557" y="614"/>
                      </a:lnTo>
                      <a:lnTo>
                        <a:pt x="557" y="616"/>
                      </a:lnTo>
                      <a:lnTo>
                        <a:pt x="557" y="618"/>
                      </a:lnTo>
                      <a:lnTo>
                        <a:pt x="557" y="616"/>
                      </a:lnTo>
                      <a:lnTo>
                        <a:pt x="555" y="616"/>
                      </a:lnTo>
                      <a:lnTo>
                        <a:pt x="555" y="618"/>
                      </a:lnTo>
                      <a:lnTo>
                        <a:pt x="553" y="616"/>
                      </a:lnTo>
                      <a:lnTo>
                        <a:pt x="555" y="616"/>
                      </a:lnTo>
                      <a:lnTo>
                        <a:pt x="555" y="614"/>
                      </a:lnTo>
                      <a:lnTo>
                        <a:pt x="553" y="614"/>
                      </a:lnTo>
                      <a:lnTo>
                        <a:pt x="555" y="614"/>
                      </a:lnTo>
                      <a:lnTo>
                        <a:pt x="553" y="614"/>
                      </a:lnTo>
                      <a:lnTo>
                        <a:pt x="553" y="612"/>
                      </a:lnTo>
                      <a:lnTo>
                        <a:pt x="553" y="611"/>
                      </a:lnTo>
                      <a:lnTo>
                        <a:pt x="553" y="612"/>
                      </a:lnTo>
                      <a:lnTo>
                        <a:pt x="555" y="612"/>
                      </a:lnTo>
                      <a:lnTo>
                        <a:pt x="553" y="612"/>
                      </a:lnTo>
                      <a:lnTo>
                        <a:pt x="555" y="612"/>
                      </a:lnTo>
                      <a:lnTo>
                        <a:pt x="555" y="614"/>
                      </a:lnTo>
                      <a:lnTo>
                        <a:pt x="557" y="612"/>
                      </a:lnTo>
                      <a:lnTo>
                        <a:pt x="557" y="614"/>
                      </a:lnTo>
                      <a:lnTo>
                        <a:pt x="557" y="612"/>
                      </a:lnTo>
                      <a:lnTo>
                        <a:pt x="555" y="612"/>
                      </a:lnTo>
                      <a:lnTo>
                        <a:pt x="557" y="612"/>
                      </a:lnTo>
                      <a:lnTo>
                        <a:pt x="555" y="612"/>
                      </a:lnTo>
                      <a:lnTo>
                        <a:pt x="557" y="612"/>
                      </a:lnTo>
                      <a:lnTo>
                        <a:pt x="557" y="611"/>
                      </a:lnTo>
                      <a:lnTo>
                        <a:pt x="555" y="612"/>
                      </a:lnTo>
                      <a:lnTo>
                        <a:pt x="555" y="611"/>
                      </a:lnTo>
                      <a:lnTo>
                        <a:pt x="557" y="611"/>
                      </a:lnTo>
                      <a:lnTo>
                        <a:pt x="557" y="609"/>
                      </a:lnTo>
                      <a:close/>
                      <a:moveTo>
                        <a:pt x="2" y="273"/>
                      </a:moveTo>
                      <a:lnTo>
                        <a:pt x="2" y="275"/>
                      </a:lnTo>
                      <a:lnTo>
                        <a:pt x="2" y="277"/>
                      </a:lnTo>
                      <a:lnTo>
                        <a:pt x="4" y="279"/>
                      </a:lnTo>
                      <a:lnTo>
                        <a:pt x="4" y="280"/>
                      </a:lnTo>
                      <a:lnTo>
                        <a:pt x="4" y="282"/>
                      </a:lnTo>
                      <a:lnTo>
                        <a:pt x="4" y="280"/>
                      </a:lnTo>
                      <a:lnTo>
                        <a:pt x="4" y="282"/>
                      </a:lnTo>
                      <a:lnTo>
                        <a:pt x="6" y="282"/>
                      </a:lnTo>
                      <a:lnTo>
                        <a:pt x="6" y="284"/>
                      </a:lnTo>
                      <a:lnTo>
                        <a:pt x="4" y="284"/>
                      </a:lnTo>
                      <a:lnTo>
                        <a:pt x="4" y="282"/>
                      </a:lnTo>
                      <a:lnTo>
                        <a:pt x="2" y="280"/>
                      </a:lnTo>
                      <a:lnTo>
                        <a:pt x="2" y="279"/>
                      </a:lnTo>
                      <a:lnTo>
                        <a:pt x="0" y="277"/>
                      </a:lnTo>
                      <a:lnTo>
                        <a:pt x="0" y="275"/>
                      </a:lnTo>
                      <a:lnTo>
                        <a:pt x="0" y="273"/>
                      </a:lnTo>
                      <a:lnTo>
                        <a:pt x="2" y="273"/>
                      </a:lnTo>
                      <a:close/>
                      <a:moveTo>
                        <a:pt x="606" y="237"/>
                      </a:moveTo>
                      <a:lnTo>
                        <a:pt x="606" y="239"/>
                      </a:lnTo>
                      <a:lnTo>
                        <a:pt x="608" y="239"/>
                      </a:lnTo>
                      <a:lnTo>
                        <a:pt x="610" y="239"/>
                      </a:lnTo>
                      <a:lnTo>
                        <a:pt x="608" y="239"/>
                      </a:lnTo>
                      <a:lnTo>
                        <a:pt x="610" y="239"/>
                      </a:lnTo>
                      <a:lnTo>
                        <a:pt x="610" y="240"/>
                      </a:lnTo>
                      <a:lnTo>
                        <a:pt x="610" y="242"/>
                      </a:lnTo>
                      <a:lnTo>
                        <a:pt x="610" y="244"/>
                      </a:lnTo>
                      <a:lnTo>
                        <a:pt x="610" y="242"/>
                      </a:lnTo>
                      <a:lnTo>
                        <a:pt x="610" y="244"/>
                      </a:lnTo>
                      <a:lnTo>
                        <a:pt x="608" y="242"/>
                      </a:lnTo>
                      <a:lnTo>
                        <a:pt x="608" y="240"/>
                      </a:lnTo>
                      <a:lnTo>
                        <a:pt x="606" y="240"/>
                      </a:lnTo>
                      <a:lnTo>
                        <a:pt x="606" y="239"/>
                      </a:lnTo>
                      <a:lnTo>
                        <a:pt x="606" y="237"/>
                      </a:lnTo>
                      <a:lnTo>
                        <a:pt x="606" y="239"/>
                      </a:lnTo>
                      <a:lnTo>
                        <a:pt x="606" y="237"/>
                      </a:lnTo>
                      <a:close/>
                      <a:moveTo>
                        <a:pt x="564" y="555"/>
                      </a:moveTo>
                      <a:lnTo>
                        <a:pt x="564" y="557"/>
                      </a:lnTo>
                      <a:lnTo>
                        <a:pt x="566" y="557"/>
                      </a:lnTo>
                      <a:lnTo>
                        <a:pt x="564" y="559"/>
                      </a:lnTo>
                      <a:lnTo>
                        <a:pt x="562" y="557"/>
                      </a:lnTo>
                      <a:lnTo>
                        <a:pt x="562" y="559"/>
                      </a:lnTo>
                      <a:lnTo>
                        <a:pt x="560" y="557"/>
                      </a:lnTo>
                      <a:lnTo>
                        <a:pt x="560" y="559"/>
                      </a:lnTo>
                      <a:lnTo>
                        <a:pt x="559" y="559"/>
                      </a:lnTo>
                      <a:lnTo>
                        <a:pt x="559" y="557"/>
                      </a:lnTo>
                      <a:lnTo>
                        <a:pt x="559" y="555"/>
                      </a:lnTo>
                      <a:lnTo>
                        <a:pt x="560" y="555"/>
                      </a:lnTo>
                      <a:lnTo>
                        <a:pt x="560" y="557"/>
                      </a:lnTo>
                      <a:lnTo>
                        <a:pt x="562" y="555"/>
                      </a:lnTo>
                      <a:lnTo>
                        <a:pt x="564" y="555"/>
                      </a:lnTo>
                      <a:close/>
                      <a:moveTo>
                        <a:pt x="547" y="614"/>
                      </a:moveTo>
                      <a:lnTo>
                        <a:pt x="549" y="616"/>
                      </a:lnTo>
                      <a:lnTo>
                        <a:pt x="549" y="618"/>
                      </a:lnTo>
                      <a:lnTo>
                        <a:pt x="547" y="620"/>
                      </a:lnTo>
                      <a:lnTo>
                        <a:pt x="549" y="620"/>
                      </a:lnTo>
                      <a:lnTo>
                        <a:pt x="549" y="622"/>
                      </a:lnTo>
                      <a:lnTo>
                        <a:pt x="547" y="622"/>
                      </a:lnTo>
                      <a:lnTo>
                        <a:pt x="547" y="624"/>
                      </a:lnTo>
                      <a:lnTo>
                        <a:pt x="547" y="622"/>
                      </a:lnTo>
                      <a:lnTo>
                        <a:pt x="545" y="622"/>
                      </a:lnTo>
                      <a:lnTo>
                        <a:pt x="545" y="624"/>
                      </a:lnTo>
                      <a:lnTo>
                        <a:pt x="543" y="622"/>
                      </a:lnTo>
                      <a:lnTo>
                        <a:pt x="545" y="622"/>
                      </a:lnTo>
                      <a:lnTo>
                        <a:pt x="545" y="620"/>
                      </a:lnTo>
                      <a:lnTo>
                        <a:pt x="545" y="622"/>
                      </a:lnTo>
                      <a:lnTo>
                        <a:pt x="545" y="620"/>
                      </a:lnTo>
                      <a:lnTo>
                        <a:pt x="547" y="620"/>
                      </a:lnTo>
                      <a:lnTo>
                        <a:pt x="547" y="618"/>
                      </a:lnTo>
                      <a:lnTo>
                        <a:pt x="547" y="620"/>
                      </a:lnTo>
                      <a:lnTo>
                        <a:pt x="547" y="618"/>
                      </a:lnTo>
                      <a:lnTo>
                        <a:pt x="549" y="618"/>
                      </a:lnTo>
                      <a:lnTo>
                        <a:pt x="549" y="616"/>
                      </a:lnTo>
                      <a:lnTo>
                        <a:pt x="547" y="616"/>
                      </a:lnTo>
                      <a:lnTo>
                        <a:pt x="547" y="614"/>
                      </a:lnTo>
                      <a:lnTo>
                        <a:pt x="547" y="616"/>
                      </a:lnTo>
                      <a:lnTo>
                        <a:pt x="547" y="614"/>
                      </a:lnTo>
                      <a:close/>
                      <a:moveTo>
                        <a:pt x="530" y="149"/>
                      </a:moveTo>
                      <a:lnTo>
                        <a:pt x="532" y="149"/>
                      </a:lnTo>
                      <a:lnTo>
                        <a:pt x="530" y="151"/>
                      </a:lnTo>
                      <a:lnTo>
                        <a:pt x="532" y="151"/>
                      </a:lnTo>
                      <a:lnTo>
                        <a:pt x="532" y="153"/>
                      </a:lnTo>
                      <a:lnTo>
                        <a:pt x="530" y="153"/>
                      </a:lnTo>
                      <a:lnTo>
                        <a:pt x="530" y="151"/>
                      </a:lnTo>
                      <a:lnTo>
                        <a:pt x="528" y="151"/>
                      </a:lnTo>
                      <a:lnTo>
                        <a:pt x="528" y="149"/>
                      </a:lnTo>
                      <a:lnTo>
                        <a:pt x="530" y="149"/>
                      </a:lnTo>
                      <a:close/>
                      <a:moveTo>
                        <a:pt x="313" y="29"/>
                      </a:moveTo>
                      <a:lnTo>
                        <a:pt x="313" y="31"/>
                      </a:lnTo>
                      <a:lnTo>
                        <a:pt x="313" y="32"/>
                      </a:lnTo>
                      <a:lnTo>
                        <a:pt x="314" y="32"/>
                      </a:lnTo>
                      <a:lnTo>
                        <a:pt x="313" y="32"/>
                      </a:lnTo>
                      <a:lnTo>
                        <a:pt x="314" y="32"/>
                      </a:lnTo>
                      <a:lnTo>
                        <a:pt x="314" y="34"/>
                      </a:lnTo>
                      <a:lnTo>
                        <a:pt x="313" y="34"/>
                      </a:lnTo>
                      <a:lnTo>
                        <a:pt x="313" y="36"/>
                      </a:lnTo>
                      <a:lnTo>
                        <a:pt x="313" y="34"/>
                      </a:lnTo>
                      <a:lnTo>
                        <a:pt x="311" y="32"/>
                      </a:lnTo>
                      <a:lnTo>
                        <a:pt x="313" y="32"/>
                      </a:lnTo>
                      <a:lnTo>
                        <a:pt x="313" y="31"/>
                      </a:lnTo>
                      <a:lnTo>
                        <a:pt x="311" y="31"/>
                      </a:lnTo>
                      <a:lnTo>
                        <a:pt x="313" y="31"/>
                      </a:lnTo>
                      <a:lnTo>
                        <a:pt x="313" y="29"/>
                      </a:lnTo>
                      <a:close/>
                      <a:moveTo>
                        <a:pt x="644" y="307"/>
                      </a:moveTo>
                      <a:lnTo>
                        <a:pt x="646" y="307"/>
                      </a:lnTo>
                      <a:lnTo>
                        <a:pt x="646" y="311"/>
                      </a:lnTo>
                      <a:lnTo>
                        <a:pt x="644" y="313"/>
                      </a:lnTo>
                      <a:lnTo>
                        <a:pt x="644" y="311"/>
                      </a:lnTo>
                      <a:lnTo>
                        <a:pt x="644" y="309"/>
                      </a:lnTo>
                      <a:lnTo>
                        <a:pt x="644" y="307"/>
                      </a:lnTo>
                      <a:close/>
                      <a:moveTo>
                        <a:pt x="366" y="42"/>
                      </a:moveTo>
                      <a:lnTo>
                        <a:pt x="366" y="44"/>
                      </a:lnTo>
                      <a:lnTo>
                        <a:pt x="364" y="46"/>
                      </a:lnTo>
                      <a:lnTo>
                        <a:pt x="362" y="46"/>
                      </a:lnTo>
                      <a:lnTo>
                        <a:pt x="360" y="48"/>
                      </a:lnTo>
                      <a:lnTo>
                        <a:pt x="360" y="46"/>
                      </a:lnTo>
                      <a:lnTo>
                        <a:pt x="362" y="46"/>
                      </a:lnTo>
                      <a:lnTo>
                        <a:pt x="362" y="44"/>
                      </a:lnTo>
                      <a:lnTo>
                        <a:pt x="364" y="44"/>
                      </a:lnTo>
                      <a:lnTo>
                        <a:pt x="366" y="44"/>
                      </a:lnTo>
                      <a:lnTo>
                        <a:pt x="366" y="42"/>
                      </a:lnTo>
                      <a:close/>
                      <a:moveTo>
                        <a:pt x="360" y="48"/>
                      </a:moveTo>
                      <a:lnTo>
                        <a:pt x="358" y="48"/>
                      </a:lnTo>
                      <a:lnTo>
                        <a:pt x="358" y="50"/>
                      </a:lnTo>
                      <a:lnTo>
                        <a:pt x="358" y="48"/>
                      </a:lnTo>
                      <a:lnTo>
                        <a:pt x="356" y="50"/>
                      </a:lnTo>
                      <a:lnTo>
                        <a:pt x="355" y="50"/>
                      </a:lnTo>
                      <a:lnTo>
                        <a:pt x="356" y="48"/>
                      </a:lnTo>
                      <a:lnTo>
                        <a:pt x="358" y="48"/>
                      </a:lnTo>
                      <a:lnTo>
                        <a:pt x="360" y="48"/>
                      </a:lnTo>
                      <a:close/>
                      <a:moveTo>
                        <a:pt x="383" y="105"/>
                      </a:moveTo>
                      <a:lnTo>
                        <a:pt x="385" y="105"/>
                      </a:lnTo>
                      <a:lnTo>
                        <a:pt x="385" y="107"/>
                      </a:lnTo>
                      <a:lnTo>
                        <a:pt x="385" y="109"/>
                      </a:lnTo>
                      <a:lnTo>
                        <a:pt x="383" y="109"/>
                      </a:lnTo>
                      <a:lnTo>
                        <a:pt x="383" y="107"/>
                      </a:lnTo>
                      <a:lnTo>
                        <a:pt x="381" y="107"/>
                      </a:lnTo>
                      <a:lnTo>
                        <a:pt x="383" y="107"/>
                      </a:lnTo>
                      <a:lnTo>
                        <a:pt x="381" y="107"/>
                      </a:lnTo>
                      <a:lnTo>
                        <a:pt x="383" y="107"/>
                      </a:lnTo>
                      <a:lnTo>
                        <a:pt x="383" y="105"/>
                      </a:lnTo>
                      <a:lnTo>
                        <a:pt x="383" y="107"/>
                      </a:lnTo>
                      <a:lnTo>
                        <a:pt x="383" y="105"/>
                      </a:lnTo>
                      <a:close/>
                      <a:moveTo>
                        <a:pt x="40" y="189"/>
                      </a:moveTo>
                      <a:lnTo>
                        <a:pt x="40" y="191"/>
                      </a:lnTo>
                      <a:lnTo>
                        <a:pt x="42" y="191"/>
                      </a:lnTo>
                      <a:lnTo>
                        <a:pt x="40" y="193"/>
                      </a:lnTo>
                      <a:lnTo>
                        <a:pt x="38" y="193"/>
                      </a:lnTo>
                      <a:lnTo>
                        <a:pt x="40" y="189"/>
                      </a:lnTo>
                      <a:close/>
                      <a:moveTo>
                        <a:pt x="372" y="73"/>
                      </a:moveTo>
                      <a:lnTo>
                        <a:pt x="372" y="74"/>
                      </a:lnTo>
                      <a:lnTo>
                        <a:pt x="372" y="76"/>
                      </a:lnTo>
                      <a:lnTo>
                        <a:pt x="370" y="76"/>
                      </a:lnTo>
                      <a:lnTo>
                        <a:pt x="370" y="74"/>
                      </a:lnTo>
                      <a:lnTo>
                        <a:pt x="370" y="76"/>
                      </a:lnTo>
                      <a:lnTo>
                        <a:pt x="370" y="74"/>
                      </a:lnTo>
                      <a:lnTo>
                        <a:pt x="370" y="73"/>
                      </a:lnTo>
                      <a:lnTo>
                        <a:pt x="372" y="73"/>
                      </a:lnTo>
                      <a:close/>
                      <a:moveTo>
                        <a:pt x="515" y="513"/>
                      </a:moveTo>
                      <a:lnTo>
                        <a:pt x="517" y="515"/>
                      </a:lnTo>
                      <a:lnTo>
                        <a:pt x="519" y="515"/>
                      </a:lnTo>
                      <a:lnTo>
                        <a:pt x="517" y="515"/>
                      </a:lnTo>
                      <a:lnTo>
                        <a:pt x="517" y="517"/>
                      </a:lnTo>
                      <a:lnTo>
                        <a:pt x="515" y="515"/>
                      </a:lnTo>
                      <a:lnTo>
                        <a:pt x="515" y="517"/>
                      </a:lnTo>
                      <a:lnTo>
                        <a:pt x="515" y="515"/>
                      </a:lnTo>
                      <a:lnTo>
                        <a:pt x="515" y="513"/>
                      </a:lnTo>
                      <a:close/>
                      <a:moveTo>
                        <a:pt x="379" y="31"/>
                      </a:moveTo>
                      <a:lnTo>
                        <a:pt x="379" y="32"/>
                      </a:lnTo>
                      <a:lnTo>
                        <a:pt x="377" y="32"/>
                      </a:lnTo>
                      <a:lnTo>
                        <a:pt x="377" y="34"/>
                      </a:lnTo>
                      <a:lnTo>
                        <a:pt x="377" y="36"/>
                      </a:lnTo>
                      <a:lnTo>
                        <a:pt x="376" y="36"/>
                      </a:lnTo>
                      <a:lnTo>
                        <a:pt x="377" y="34"/>
                      </a:lnTo>
                      <a:lnTo>
                        <a:pt x="377" y="32"/>
                      </a:lnTo>
                      <a:lnTo>
                        <a:pt x="379" y="32"/>
                      </a:lnTo>
                      <a:lnTo>
                        <a:pt x="379" y="31"/>
                      </a:lnTo>
                      <a:lnTo>
                        <a:pt x="379" y="32"/>
                      </a:lnTo>
                      <a:lnTo>
                        <a:pt x="379" y="31"/>
                      </a:lnTo>
                      <a:close/>
                      <a:moveTo>
                        <a:pt x="465" y="23"/>
                      </a:moveTo>
                      <a:lnTo>
                        <a:pt x="467" y="23"/>
                      </a:lnTo>
                      <a:lnTo>
                        <a:pt x="467" y="27"/>
                      </a:lnTo>
                      <a:lnTo>
                        <a:pt x="465" y="27"/>
                      </a:lnTo>
                      <a:lnTo>
                        <a:pt x="465" y="23"/>
                      </a:lnTo>
                      <a:close/>
                      <a:moveTo>
                        <a:pt x="185" y="99"/>
                      </a:moveTo>
                      <a:lnTo>
                        <a:pt x="187" y="99"/>
                      </a:lnTo>
                      <a:lnTo>
                        <a:pt x="185" y="101"/>
                      </a:lnTo>
                      <a:lnTo>
                        <a:pt x="187" y="101"/>
                      </a:lnTo>
                      <a:lnTo>
                        <a:pt x="185" y="103"/>
                      </a:lnTo>
                      <a:lnTo>
                        <a:pt x="185" y="101"/>
                      </a:lnTo>
                      <a:lnTo>
                        <a:pt x="187" y="101"/>
                      </a:lnTo>
                      <a:lnTo>
                        <a:pt x="185" y="101"/>
                      </a:lnTo>
                      <a:lnTo>
                        <a:pt x="183" y="101"/>
                      </a:lnTo>
                      <a:lnTo>
                        <a:pt x="185" y="101"/>
                      </a:lnTo>
                      <a:lnTo>
                        <a:pt x="185" y="99"/>
                      </a:lnTo>
                      <a:close/>
                      <a:moveTo>
                        <a:pt x="644" y="300"/>
                      </a:moveTo>
                      <a:lnTo>
                        <a:pt x="644" y="301"/>
                      </a:lnTo>
                      <a:lnTo>
                        <a:pt x="644" y="303"/>
                      </a:lnTo>
                      <a:lnTo>
                        <a:pt x="644" y="305"/>
                      </a:lnTo>
                      <a:lnTo>
                        <a:pt x="644" y="307"/>
                      </a:lnTo>
                      <a:lnTo>
                        <a:pt x="644" y="303"/>
                      </a:lnTo>
                      <a:lnTo>
                        <a:pt x="644" y="301"/>
                      </a:lnTo>
                      <a:lnTo>
                        <a:pt x="644" y="300"/>
                      </a:lnTo>
                      <a:close/>
                      <a:moveTo>
                        <a:pt x="194" y="86"/>
                      </a:moveTo>
                      <a:lnTo>
                        <a:pt x="196" y="86"/>
                      </a:lnTo>
                      <a:lnTo>
                        <a:pt x="194" y="86"/>
                      </a:lnTo>
                      <a:lnTo>
                        <a:pt x="196" y="86"/>
                      </a:lnTo>
                      <a:lnTo>
                        <a:pt x="196" y="88"/>
                      </a:lnTo>
                      <a:lnTo>
                        <a:pt x="194" y="88"/>
                      </a:lnTo>
                      <a:lnTo>
                        <a:pt x="196" y="88"/>
                      </a:lnTo>
                      <a:lnTo>
                        <a:pt x="194" y="90"/>
                      </a:lnTo>
                      <a:lnTo>
                        <a:pt x="194" y="88"/>
                      </a:lnTo>
                      <a:lnTo>
                        <a:pt x="194" y="90"/>
                      </a:lnTo>
                      <a:lnTo>
                        <a:pt x="194" y="88"/>
                      </a:lnTo>
                      <a:lnTo>
                        <a:pt x="194" y="86"/>
                      </a:lnTo>
                      <a:close/>
                      <a:moveTo>
                        <a:pt x="465" y="15"/>
                      </a:moveTo>
                      <a:lnTo>
                        <a:pt x="469" y="15"/>
                      </a:lnTo>
                      <a:lnTo>
                        <a:pt x="469" y="17"/>
                      </a:lnTo>
                      <a:lnTo>
                        <a:pt x="465" y="17"/>
                      </a:lnTo>
                      <a:lnTo>
                        <a:pt x="465" y="15"/>
                      </a:lnTo>
                      <a:close/>
                      <a:moveTo>
                        <a:pt x="641" y="298"/>
                      </a:moveTo>
                      <a:lnTo>
                        <a:pt x="641" y="300"/>
                      </a:lnTo>
                      <a:lnTo>
                        <a:pt x="641" y="301"/>
                      </a:lnTo>
                      <a:lnTo>
                        <a:pt x="641" y="300"/>
                      </a:lnTo>
                      <a:lnTo>
                        <a:pt x="641" y="301"/>
                      </a:lnTo>
                      <a:lnTo>
                        <a:pt x="639" y="300"/>
                      </a:lnTo>
                      <a:lnTo>
                        <a:pt x="639" y="298"/>
                      </a:lnTo>
                      <a:lnTo>
                        <a:pt x="641" y="296"/>
                      </a:lnTo>
                      <a:lnTo>
                        <a:pt x="641" y="298"/>
                      </a:lnTo>
                      <a:close/>
                      <a:moveTo>
                        <a:pt x="423" y="128"/>
                      </a:moveTo>
                      <a:lnTo>
                        <a:pt x="423" y="130"/>
                      </a:lnTo>
                      <a:lnTo>
                        <a:pt x="425" y="130"/>
                      </a:lnTo>
                      <a:lnTo>
                        <a:pt x="423" y="130"/>
                      </a:lnTo>
                      <a:lnTo>
                        <a:pt x="421" y="130"/>
                      </a:lnTo>
                      <a:lnTo>
                        <a:pt x="423" y="128"/>
                      </a:lnTo>
                      <a:close/>
                      <a:moveTo>
                        <a:pt x="559" y="603"/>
                      </a:moveTo>
                      <a:lnTo>
                        <a:pt x="560" y="603"/>
                      </a:lnTo>
                      <a:lnTo>
                        <a:pt x="560" y="607"/>
                      </a:lnTo>
                      <a:lnTo>
                        <a:pt x="559" y="607"/>
                      </a:lnTo>
                      <a:lnTo>
                        <a:pt x="559" y="603"/>
                      </a:lnTo>
                      <a:close/>
                      <a:moveTo>
                        <a:pt x="376" y="103"/>
                      </a:moveTo>
                      <a:lnTo>
                        <a:pt x="377" y="103"/>
                      </a:lnTo>
                      <a:lnTo>
                        <a:pt x="377" y="105"/>
                      </a:lnTo>
                      <a:lnTo>
                        <a:pt x="376" y="105"/>
                      </a:lnTo>
                      <a:lnTo>
                        <a:pt x="376" y="103"/>
                      </a:lnTo>
                      <a:close/>
                      <a:moveTo>
                        <a:pt x="515" y="517"/>
                      </a:moveTo>
                      <a:lnTo>
                        <a:pt x="515" y="519"/>
                      </a:lnTo>
                      <a:lnTo>
                        <a:pt x="517" y="519"/>
                      </a:lnTo>
                      <a:lnTo>
                        <a:pt x="515" y="519"/>
                      </a:lnTo>
                      <a:lnTo>
                        <a:pt x="513" y="519"/>
                      </a:lnTo>
                      <a:lnTo>
                        <a:pt x="513" y="517"/>
                      </a:lnTo>
                      <a:lnTo>
                        <a:pt x="515" y="517"/>
                      </a:lnTo>
                      <a:close/>
                      <a:moveTo>
                        <a:pt x="509" y="563"/>
                      </a:moveTo>
                      <a:lnTo>
                        <a:pt x="511" y="563"/>
                      </a:lnTo>
                      <a:lnTo>
                        <a:pt x="509" y="563"/>
                      </a:lnTo>
                      <a:lnTo>
                        <a:pt x="511" y="563"/>
                      </a:lnTo>
                      <a:lnTo>
                        <a:pt x="511" y="565"/>
                      </a:lnTo>
                      <a:lnTo>
                        <a:pt x="509" y="563"/>
                      </a:lnTo>
                      <a:lnTo>
                        <a:pt x="509" y="565"/>
                      </a:lnTo>
                      <a:lnTo>
                        <a:pt x="509" y="563"/>
                      </a:lnTo>
                      <a:close/>
                      <a:moveTo>
                        <a:pt x="572" y="181"/>
                      </a:moveTo>
                      <a:lnTo>
                        <a:pt x="576" y="181"/>
                      </a:lnTo>
                      <a:lnTo>
                        <a:pt x="576" y="183"/>
                      </a:lnTo>
                      <a:lnTo>
                        <a:pt x="572" y="183"/>
                      </a:lnTo>
                      <a:lnTo>
                        <a:pt x="572" y="181"/>
                      </a:lnTo>
                      <a:close/>
                      <a:moveTo>
                        <a:pt x="560" y="559"/>
                      </a:moveTo>
                      <a:lnTo>
                        <a:pt x="562" y="559"/>
                      </a:lnTo>
                      <a:lnTo>
                        <a:pt x="562" y="561"/>
                      </a:lnTo>
                      <a:lnTo>
                        <a:pt x="560" y="561"/>
                      </a:lnTo>
                      <a:lnTo>
                        <a:pt x="560" y="559"/>
                      </a:lnTo>
                      <a:close/>
                      <a:moveTo>
                        <a:pt x="473" y="4"/>
                      </a:moveTo>
                      <a:lnTo>
                        <a:pt x="475" y="4"/>
                      </a:lnTo>
                      <a:lnTo>
                        <a:pt x="473" y="4"/>
                      </a:lnTo>
                      <a:close/>
                      <a:moveTo>
                        <a:pt x="463" y="15"/>
                      </a:moveTo>
                      <a:lnTo>
                        <a:pt x="465" y="15"/>
                      </a:lnTo>
                      <a:lnTo>
                        <a:pt x="465" y="17"/>
                      </a:lnTo>
                      <a:lnTo>
                        <a:pt x="463" y="17"/>
                      </a:lnTo>
                      <a:lnTo>
                        <a:pt x="463" y="15"/>
                      </a:lnTo>
                      <a:close/>
                      <a:moveTo>
                        <a:pt x="374" y="38"/>
                      </a:moveTo>
                      <a:lnTo>
                        <a:pt x="374" y="40"/>
                      </a:lnTo>
                      <a:lnTo>
                        <a:pt x="372" y="40"/>
                      </a:lnTo>
                      <a:lnTo>
                        <a:pt x="370" y="40"/>
                      </a:lnTo>
                      <a:lnTo>
                        <a:pt x="372" y="40"/>
                      </a:lnTo>
                      <a:lnTo>
                        <a:pt x="372" y="38"/>
                      </a:lnTo>
                      <a:lnTo>
                        <a:pt x="372" y="40"/>
                      </a:lnTo>
                      <a:lnTo>
                        <a:pt x="372" y="38"/>
                      </a:lnTo>
                      <a:lnTo>
                        <a:pt x="374" y="40"/>
                      </a:lnTo>
                      <a:lnTo>
                        <a:pt x="374" y="38"/>
                      </a:lnTo>
                      <a:close/>
                      <a:moveTo>
                        <a:pt x="377" y="105"/>
                      </a:moveTo>
                      <a:lnTo>
                        <a:pt x="379" y="105"/>
                      </a:lnTo>
                      <a:lnTo>
                        <a:pt x="379" y="107"/>
                      </a:lnTo>
                      <a:lnTo>
                        <a:pt x="377" y="107"/>
                      </a:lnTo>
                      <a:lnTo>
                        <a:pt x="377" y="105"/>
                      </a:lnTo>
                      <a:close/>
                      <a:moveTo>
                        <a:pt x="589" y="214"/>
                      </a:moveTo>
                      <a:lnTo>
                        <a:pt x="589" y="216"/>
                      </a:lnTo>
                      <a:lnTo>
                        <a:pt x="587" y="216"/>
                      </a:lnTo>
                      <a:lnTo>
                        <a:pt x="587" y="214"/>
                      </a:lnTo>
                      <a:lnTo>
                        <a:pt x="589" y="214"/>
                      </a:lnTo>
                      <a:lnTo>
                        <a:pt x="587" y="214"/>
                      </a:lnTo>
                      <a:lnTo>
                        <a:pt x="589" y="214"/>
                      </a:lnTo>
                      <a:close/>
                      <a:moveTo>
                        <a:pt x="507" y="557"/>
                      </a:moveTo>
                      <a:lnTo>
                        <a:pt x="507" y="559"/>
                      </a:lnTo>
                      <a:lnTo>
                        <a:pt x="507" y="561"/>
                      </a:lnTo>
                      <a:lnTo>
                        <a:pt x="505" y="561"/>
                      </a:lnTo>
                      <a:lnTo>
                        <a:pt x="507" y="561"/>
                      </a:lnTo>
                      <a:lnTo>
                        <a:pt x="505" y="559"/>
                      </a:lnTo>
                      <a:lnTo>
                        <a:pt x="507" y="559"/>
                      </a:lnTo>
                      <a:lnTo>
                        <a:pt x="507" y="557"/>
                      </a:lnTo>
                      <a:close/>
                      <a:moveTo>
                        <a:pt x="507" y="557"/>
                      </a:moveTo>
                      <a:lnTo>
                        <a:pt x="511" y="557"/>
                      </a:lnTo>
                      <a:lnTo>
                        <a:pt x="511" y="559"/>
                      </a:lnTo>
                      <a:lnTo>
                        <a:pt x="507" y="559"/>
                      </a:lnTo>
                      <a:lnTo>
                        <a:pt x="507" y="557"/>
                      </a:lnTo>
                      <a:close/>
                      <a:moveTo>
                        <a:pt x="379" y="105"/>
                      </a:moveTo>
                      <a:lnTo>
                        <a:pt x="381" y="105"/>
                      </a:lnTo>
                      <a:lnTo>
                        <a:pt x="381" y="107"/>
                      </a:lnTo>
                      <a:lnTo>
                        <a:pt x="379" y="107"/>
                      </a:lnTo>
                      <a:lnTo>
                        <a:pt x="379" y="105"/>
                      </a:lnTo>
                      <a:close/>
                      <a:moveTo>
                        <a:pt x="265" y="88"/>
                      </a:moveTo>
                      <a:lnTo>
                        <a:pt x="269" y="88"/>
                      </a:lnTo>
                      <a:lnTo>
                        <a:pt x="269" y="90"/>
                      </a:lnTo>
                      <a:lnTo>
                        <a:pt x="265" y="90"/>
                      </a:lnTo>
                      <a:lnTo>
                        <a:pt x="265" y="88"/>
                      </a:lnTo>
                      <a:close/>
                      <a:moveTo>
                        <a:pt x="242" y="95"/>
                      </a:moveTo>
                      <a:lnTo>
                        <a:pt x="244" y="95"/>
                      </a:lnTo>
                      <a:lnTo>
                        <a:pt x="244" y="97"/>
                      </a:lnTo>
                      <a:lnTo>
                        <a:pt x="242" y="97"/>
                      </a:lnTo>
                      <a:lnTo>
                        <a:pt x="242" y="95"/>
                      </a:lnTo>
                      <a:close/>
                      <a:moveTo>
                        <a:pt x="597" y="216"/>
                      </a:moveTo>
                      <a:lnTo>
                        <a:pt x="599" y="216"/>
                      </a:lnTo>
                      <a:lnTo>
                        <a:pt x="599" y="218"/>
                      </a:lnTo>
                      <a:lnTo>
                        <a:pt x="597" y="218"/>
                      </a:lnTo>
                      <a:lnTo>
                        <a:pt x="597" y="216"/>
                      </a:lnTo>
                      <a:close/>
                      <a:moveTo>
                        <a:pt x="372" y="46"/>
                      </a:moveTo>
                      <a:lnTo>
                        <a:pt x="370" y="48"/>
                      </a:lnTo>
                      <a:lnTo>
                        <a:pt x="370" y="46"/>
                      </a:lnTo>
                      <a:lnTo>
                        <a:pt x="370" y="48"/>
                      </a:lnTo>
                      <a:lnTo>
                        <a:pt x="370" y="46"/>
                      </a:lnTo>
                      <a:lnTo>
                        <a:pt x="372" y="46"/>
                      </a:lnTo>
                      <a:close/>
                      <a:moveTo>
                        <a:pt x="465" y="2"/>
                      </a:moveTo>
                      <a:lnTo>
                        <a:pt x="467" y="2"/>
                      </a:lnTo>
                      <a:lnTo>
                        <a:pt x="465" y="2"/>
                      </a:lnTo>
                      <a:close/>
                      <a:moveTo>
                        <a:pt x="370" y="69"/>
                      </a:moveTo>
                      <a:lnTo>
                        <a:pt x="370" y="71"/>
                      </a:lnTo>
                      <a:lnTo>
                        <a:pt x="370" y="69"/>
                      </a:lnTo>
                      <a:lnTo>
                        <a:pt x="368" y="69"/>
                      </a:lnTo>
                      <a:lnTo>
                        <a:pt x="370" y="69"/>
                      </a:lnTo>
                      <a:close/>
                      <a:moveTo>
                        <a:pt x="326" y="38"/>
                      </a:moveTo>
                      <a:lnTo>
                        <a:pt x="328" y="38"/>
                      </a:lnTo>
                      <a:lnTo>
                        <a:pt x="328" y="40"/>
                      </a:lnTo>
                      <a:lnTo>
                        <a:pt x="326" y="40"/>
                      </a:lnTo>
                      <a:lnTo>
                        <a:pt x="326" y="38"/>
                      </a:lnTo>
                      <a:close/>
                      <a:moveTo>
                        <a:pt x="549" y="172"/>
                      </a:moveTo>
                      <a:lnTo>
                        <a:pt x="551" y="172"/>
                      </a:lnTo>
                      <a:lnTo>
                        <a:pt x="549" y="172"/>
                      </a:lnTo>
                      <a:close/>
                      <a:moveTo>
                        <a:pt x="536" y="156"/>
                      </a:moveTo>
                      <a:lnTo>
                        <a:pt x="538" y="156"/>
                      </a:lnTo>
                      <a:lnTo>
                        <a:pt x="538" y="158"/>
                      </a:lnTo>
                      <a:lnTo>
                        <a:pt x="536" y="158"/>
                      </a:lnTo>
                      <a:lnTo>
                        <a:pt x="536" y="156"/>
                      </a:lnTo>
                      <a:close/>
                      <a:moveTo>
                        <a:pt x="534" y="523"/>
                      </a:moveTo>
                      <a:lnTo>
                        <a:pt x="536" y="523"/>
                      </a:lnTo>
                      <a:lnTo>
                        <a:pt x="536" y="525"/>
                      </a:lnTo>
                      <a:lnTo>
                        <a:pt x="534" y="525"/>
                      </a:lnTo>
                      <a:lnTo>
                        <a:pt x="534" y="523"/>
                      </a:lnTo>
                      <a:close/>
                      <a:moveTo>
                        <a:pt x="265" y="92"/>
                      </a:moveTo>
                      <a:lnTo>
                        <a:pt x="265" y="94"/>
                      </a:lnTo>
                      <a:lnTo>
                        <a:pt x="265" y="92"/>
                      </a:lnTo>
                      <a:close/>
                      <a:moveTo>
                        <a:pt x="381" y="103"/>
                      </a:moveTo>
                      <a:lnTo>
                        <a:pt x="381" y="105"/>
                      </a:lnTo>
                      <a:lnTo>
                        <a:pt x="381" y="103"/>
                      </a:lnTo>
                      <a:close/>
                      <a:moveTo>
                        <a:pt x="572" y="179"/>
                      </a:moveTo>
                      <a:lnTo>
                        <a:pt x="574" y="179"/>
                      </a:lnTo>
                      <a:lnTo>
                        <a:pt x="574" y="181"/>
                      </a:lnTo>
                      <a:lnTo>
                        <a:pt x="572" y="181"/>
                      </a:lnTo>
                      <a:lnTo>
                        <a:pt x="572" y="179"/>
                      </a:lnTo>
                      <a:close/>
                      <a:moveTo>
                        <a:pt x="15" y="279"/>
                      </a:moveTo>
                      <a:lnTo>
                        <a:pt x="17" y="279"/>
                      </a:lnTo>
                      <a:lnTo>
                        <a:pt x="17" y="280"/>
                      </a:lnTo>
                      <a:lnTo>
                        <a:pt x="15" y="280"/>
                      </a:lnTo>
                      <a:lnTo>
                        <a:pt x="15" y="279"/>
                      </a:lnTo>
                      <a:close/>
                      <a:moveTo>
                        <a:pt x="257" y="94"/>
                      </a:moveTo>
                      <a:lnTo>
                        <a:pt x="259" y="94"/>
                      </a:lnTo>
                      <a:lnTo>
                        <a:pt x="259" y="95"/>
                      </a:lnTo>
                      <a:lnTo>
                        <a:pt x="257" y="95"/>
                      </a:lnTo>
                      <a:lnTo>
                        <a:pt x="257" y="94"/>
                      </a:lnTo>
                      <a:close/>
                      <a:moveTo>
                        <a:pt x="4" y="265"/>
                      </a:moveTo>
                      <a:lnTo>
                        <a:pt x="4" y="269"/>
                      </a:lnTo>
                      <a:lnTo>
                        <a:pt x="2" y="269"/>
                      </a:lnTo>
                      <a:lnTo>
                        <a:pt x="4" y="267"/>
                      </a:lnTo>
                      <a:lnTo>
                        <a:pt x="4" y="265"/>
                      </a:lnTo>
                      <a:close/>
                      <a:moveTo>
                        <a:pt x="366" y="40"/>
                      </a:moveTo>
                      <a:lnTo>
                        <a:pt x="368" y="40"/>
                      </a:lnTo>
                      <a:lnTo>
                        <a:pt x="368" y="42"/>
                      </a:lnTo>
                      <a:lnTo>
                        <a:pt x="366" y="42"/>
                      </a:lnTo>
                      <a:lnTo>
                        <a:pt x="366" y="40"/>
                      </a:lnTo>
                      <a:close/>
                      <a:moveTo>
                        <a:pt x="604" y="239"/>
                      </a:moveTo>
                      <a:lnTo>
                        <a:pt x="604" y="240"/>
                      </a:lnTo>
                      <a:lnTo>
                        <a:pt x="604" y="239"/>
                      </a:lnTo>
                      <a:close/>
                      <a:moveTo>
                        <a:pt x="349" y="46"/>
                      </a:moveTo>
                      <a:lnTo>
                        <a:pt x="351" y="46"/>
                      </a:lnTo>
                      <a:lnTo>
                        <a:pt x="351" y="48"/>
                      </a:lnTo>
                      <a:lnTo>
                        <a:pt x="349" y="48"/>
                      </a:lnTo>
                      <a:lnTo>
                        <a:pt x="349" y="46"/>
                      </a:lnTo>
                      <a:close/>
                      <a:moveTo>
                        <a:pt x="183" y="99"/>
                      </a:moveTo>
                      <a:lnTo>
                        <a:pt x="185" y="99"/>
                      </a:lnTo>
                      <a:lnTo>
                        <a:pt x="185" y="101"/>
                      </a:lnTo>
                      <a:lnTo>
                        <a:pt x="183" y="101"/>
                      </a:lnTo>
                      <a:lnTo>
                        <a:pt x="183" y="99"/>
                      </a:lnTo>
                      <a:close/>
                      <a:moveTo>
                        <a:pt x="355" y="50"/>
                      </a:moveTo>
                      <a:lnTo>
                        <a:pt x="356" y="50"/>
                      </a:lnTo>
                      <a:lnTo>
                        <a:pt x="355" y="50"/>
                      </a:lnTo>
                      <a:close/>
                      <a:moveTo>
                        <a:pt x="368" y="446"/>
                      </a:moveTo>
                      <a:lnTo>
                        <a:pt x="370" y="446"/>
                      </a:lnTo>
                      <a:lnTo>
                        <a:pt x="370" y="450"/>
                      </a:lnTo>
                      <a:lnTo>
                        <a:pt x="368" y="450"/>
                      </a:lnTo>
                      <a:lnTo>
                        <a:pt x="368" y="446"/>
                      </a:lnTo>
                      <a:close/>
                      <a:moveTo>
                        <a:pt x="194" y="95"/>
                      </a:moveTo>
                      <a:lnTo>
                        <a:pt x="196" y="95"/>
                      </a:lnTo>
                      <a:lnTo>
                        <a:pt x="196" y="97"/>
                      </a:lnTo>
                      <a:lnTo>
                        <a:pt x="194" y="97"/>
                      </a:lnTo>
                      <a:lnTo>
                        <a:pt x="194" y="95"/>
                      </a:lnTo>
                      <a:close/>
                      <a:moveTo>
                        <a:pt x="343" y="424"/>
                      </a:moveTo>
                      <a:lnTo>
                        <a:pt x="345" y="424"/>
                      </a:lnTo>
                      <a:lnTo>
                        <a:pt x="345" y="426"/>
                      </a:lnTo>
                      <a:lnTo>
                        <a:pt x="343" y="426"/>
                      </a:lnTo>
                      <a:lnTo>
                        <a:pt x="343" y="424"/>
                      </a:lnTo>
                      <a:close/>
                      <a:moveTo>
                        <a:pt x="4" y="260"/>
                      </a:moveTo>
                      <a:lnTo>
                        <a:pt x="4" y="261"/>
                      </a:lnTo>
                      <a:lnTo>
                        <a:pt x="4" y="263"/>
                      </a:lnTo>
                      <a:lnTo>
                        <a:pt x="4" y="265"/>
                      </a:lnTo>
                      <a:lnTo>
                        <a:pt x="4" y="261"/>
                      </a:lnTo>
                      <a:lnTo>
                        <a:pt x="4" y="260"/>
                      </a:lnTo>
                      <a:close/>
                      <a:moveTo>
                        <a:pt x="309" y="48"/>
                      </a:moveTo>
                      <a:lnTo>
                        <a:pt x="311" y="48"/>
                      </a:lnTo>
                      <a:lnTo>
                        <a:pt x="309" y="48"/>
                      </a:lnTo>
                      <a:close/>
                      <a:moveTo>
                        <a:pt x="585" y="219"/>
                      </a:moveTo>
                      <a:lnTo>
                        <a:pt x="587" y="219"/>
                      </a:lnTo>
                      <a:lnTo>
                        <a:pt x="585" y="219"/>
                      </a:lnTo>
                      <a:close/>
                      <a:moveTo>
                        <a:pt x="328" y="395"/>
                      </a:moveTo>
                      <a:lnTo>
                        <a:pt x="330" y="395"/>
                      </a:lnTo>
                      <a:lnTo>
                        <a:pt x="330" y="397"/>
                      </a:lnTo>
                      <a:lnTo>
                        <a:pt x="328" y="397"/>
                      </a:lnTo>
                      <a:lnTo>
                        <a:pt x="328" y="395"/>
                      </a:lnTo>
                      <a:close/>
                      <a:moveTo>
                        <a:pt x="374" y="38"/>
                      </a:moveTo>
                      <a:lnTo>
                        <a:pt x="376" y="38"/>
                      </a:lnTo>
                      <a:lnTo>
                        <a:pt x="374" y="38"/>
                      </a:lnTo>
                      <a:close/>
                      <a:moveTo>
                        <a:pt x="191" y="94"/>
                      </a:moveTo>
                      <a:lnTo>
                        <a:pt x="192" y="94"/>
                      </a:lnTo>
                      <a:lnTo>
                        <a:pt x="192" y="95"/>
                      </a:lnTo>
                      <a:lnTo>
                        <a:pt x="191" y="95"/>
                      </a:lnTo>
                      <a:lnTo>
                        <a:pt x="191" y="94"/>
                      </a:lnTo>
                      <a:close/>
                      <a:moveTo>
                        <a:pt x="326" y="36"/>
                      </a:moveTo>
                      <a:lnTo>
                        <a:pt x="328" y="36"/>
                      </a:lnTo>
                      <a:lnTo>
                        <a:pt x="328" y="38"/>
                      </a:lnTo>
                      <a:lnTo>
                        <a:pt x="326" y="38"/>
                      </a:lnTo>
                      <a:lnTo>
                        <a:pt x="326" y="36"/>
                      </a:lnTo>
                      <a:close/>
                      <a:moveTo>
                        <a:pt x="362" y="92"/>
                      </a:moveTo>
                      <a:lnTo>
                        <a:pt x="364" y="92"/>
                      </a:lnTo>
                      <a:lnTo>
                        <a:pt x="364" y="94"/>
                      </a:lnTo>
                      <a:lnTo>
                        <a:pt x="362" y="94"/>
                      </a:lnTo>
                      <a:lnTo>
                        <a:pt x="362" y="92"/>
                      </a:lnTo>
                      <a:close/>
                      <a:moveTo>
                        <a:pt x="562" y="597"/>
                      </a:moveTo>
                      <a:lnTo>
                        <a:pt x="564" y="597"/>
                      </a:lnTo>
                      <a:lnTo>
                        <a:pt x="564" y="599"/>
                      </a:lnTo>
                      <a:lnTo>
                        <a:pt x="562" y="599"/>
                      </a:lnTo>
                      <a:lnTo>
                        <a:pt x="562" y="597"/>
                      </a:lnTo>
                      <a:close/>
                      <a:moveTo>
                        <a:pt x="63" y="185"/>
                      </a:moveTo>
                      <a:lnTo>
                        <a:pt x="63" y="187"/>
                      </a:lnTo>
                      <a:lnTo>
                        <a:pt x="63" y="185"/>
                      </a:lnTo>
                      <a:close/>
                      <a:moveTo>
                        <a:pt x="57" y="189"/>
                      </a:moveTo>
                      <a:lnTo>
                        <a:pt x="59" y="189"/>
                      </a:lnTo>
                      <a:lnTo>
                        <a:pt x="57" y="189"/>
                      </a:lnTo>
                      <a:close/>
                      <a:moveTo>
                        <a:pt x="189" y="99"/>
                      </a:moveTo>
                      <a:lnTo>
                        <a:pt x="191" y="99"/>
                      </a:lnTo>
                      <a:lnTo>
                        <a:pt x="189" y="99"/>
                      </a:lnTo>
                      <a:close/>
                      <a:moveTo>
                        <a:pt x="612" y="246"/>
                      </a:moveTo>
                      <a:lnTo>
                        <a:pt x="614" y="246"/>
                      </a:lnTo>
                      <a:lnTo>
                        <a:pt x="614" y="248"/>
                      </a:lnTo>
                      <a:lnTo>
                        <a:pt x="612" y="248"/>
                      </a:lnTo>
                      <a:lnTo>
                        <a:pt x="612" y="246"/>
                      </a:lnTo>
                      <a:close/>
                      <a:moveTo>
                        <a:pt x="263" y="80"/>
                      </a:moveTo>
                      <a:lnTo>
                        <a:pt x="265" y="80"/>
                      </a:lnTo>
                      <a:lnTo>
                        <a:pt x="263" y="80"/>
                      </a:lnTo>
                      <a:close/>
                      <a:moveTo>
                        <a:pt x="612" y="242"/>
                      </a:moveTo>
                      <a:lnTo>
                        <a:pt x="612" y="244"/>
                      </a:lnTo>
                      <a:lnTo>
                        <a:pt x="612" y="242"/>
                      </a:lnTo>
                      <a:close/>
                      <a:moveTo>
                        <a:pt x="417" y="122"/>
                      </a:moveTo>
                      <a:lnTo>
                        <a:pt x="417" y="124"/>
                      </a:lnTo>
                      <a:lnTo>
                        <a:pt x="417" y="122"/>
                      </a:lnTo>
                      <a:close/>
                      <a:moveTo>
                        <a:pt x="618" y="406"/>
                      </a:moveTo>
                      <a:lnTo>
                        <a:pt x="618" y="408"/>
                      </a:lnTo>
                      <a:lnTo>
                        <a:pt x="618" y="406"/>
                      </a:lnTo>
                      <a:close/>
                      <a:moveTo>
                        <a:pt x="217" y="76"/>
                      </a:moveTo>
                      <a:lnTo>
                        <a:pt x="219" y="76"/>
                      </a:lnTo>
                      <a:lnTo>
                        <a:pt x="217" y="76"/>
                      </a:lnTo>
                      <a:close/>
                      <a:moveTo>
                        <a:pt x="265" y="92"/>
                      </a:moveTo>
                      <a:lnTo>
                        <a:pt x="267" y="92"/>
                      </a:lnTo>
                      <a:lnTo>
                        <a:pt x="267" y="94"/>
                      </a:lnTo>
                      <a:lnTo>
                        <a:pt x="265" y="94"/>
                      </a:lnTo>
                      <a:lnTo>
                        <a:pt x="265" y="92"/>
                      </a:lnTo>
                      <a:close/>
                      <a:moveTo>
                        <a:pt x="589" y="214"/>
                      </a:moveTo>
                      <a:lnTo>
                        <a:pt x="591" y="214"/>
                      </a:lnTo>
                      <a:lnTo>
                        <a:pt x="591" y="216"/>
                      </a:lnTo>
                      <a:lnTo>
                        <a:pt x="589" y="216"/>
                      </a:lnTo>
                      <a:lnTo>
                        <a:pt x="589" y="214"/>
                      </a:lnTo>
                      <a:close/>
                      <a:moveTo>
                        <a:pt x="564" y="177"/>
                      </a:moveTo>
                      <a:lnTo>
                        <a:pt x="566" y="177"/>
                      </a:lnTo>
                      <a:lnTo>
                        <a:pt x="566" y="179"/>
                      </a:lnTo>
                      <a:lnTo>
                        <a:pt x="564" y="179"/>
                      </a:lnTo>
                      <a:lnTo>
                        <a:pt x="564" y="177"/>
                      </a:lnTo>
                      <a:close/>
                      <a:moveTo>
                        <a:pt x="44" y="401"/>
                      </a:moveTo>
                      <a:lnTo>
                        <a:pt x="46" y="401"/>
                      </a:lnTo>
                      <a:lnTo>
                        <a:pt x="46" y="403"/>
                      </a:lnTo>
                      <a:lnTo>
                        <a:pt x="44" y="403"/>
                      </a:lnTo>
                      <a:lnTo>
                        <a:pt x="44" y="401"/>
                      </a:lnTo>
                      <a:close/>
                      <a:moveTo>
                        <a:pt x="171" y="113"/>
                      </a:moveTo>
                      <a:lnTo>
                        <a:pt x="173" y="113"/>
                      </a:lnTo>
                      <a:lnTo>
                        <a:pt x="173" y="114"/>
                      </a:lnTo>
                      <a:lnTo>
                        <a:pt x="171" y="114"/>
                      </a:lnTo>
                      <a:lnTo>
                        <a:pt x="171" y="113"/>
                      </a:lnTo>
                      <a:close/>
                      <a:moveTo>
                        <a:pt x="280" y="55"/>
                      </a:moveTo>
                      <a:lnTo>
                        <a:pt x="280" y="57"/>
                      </a:lnTo>
                      <a:lnTo>
                        <a:pt x="280" y="55"/>
                      </a:lnTo>
                      <a:close/>
                      <a:moveTo>
                        <a:pt x="259" y="92"/>
                      </a:moveTo>
                      <a:lnTo>
                        <a:pt x="261" y="92"/>
                      </a:lnTo>
                      <a:lnTo>
                        <a:pt x="261" y="94"/>
                      </a:lnTo>
                      <a:lnTo>
                        <a:pt x="259" y="94"/>
                      </a:lnTo>
                      <a:lnTo>
                        <a:pt x="259" y="92"/>
                      </a:lnTo>
                      <a:close/>
                      <a:moveTo>
                        <a:pt x="351" y="46"/>
                      </a:moveTo>
                      <a:lnTo>
                        <a:pt x="351" y="48"/>
                      </a:lnTo>
                      <a:lnTo>
                        <a:pt x="351" y="46"/>
                      </a:lnTo>
                      <a:close/>
                      <a:moveTo>
                        <a:pt x="59" y="189"/>
                      </a:moveTo>
                      <a:lnTo>
                        <a:pt x="59" y="191"/>
                      </a:lnTo>
                      <a:lnTo>
                        <a:pt x="59" y="189"/>
                      </a:lnTo>
                      <a:close/>
                      <a:moveTo>
                        <a:pt x="208" y="84"/>
                      </a:moveTo>
                      <a:lnTo>
                        <a:pt x="210" y="84"/>
                      </a:lnTo>
                      <a:lnTo>
                        <a:pt x="208" y="84"/>
                      </a:lnTo>
                      <a:close/>
                      <a:moveTo>
                        <a:pt x="644" y="313"/>
                      </a:moveTo>
                      <a:lnTo>
                        <a:pt x="644" y="317"/>
                      </a:lnTo>
                      <a:lnTo>
                        <a:pt x="644" y="315"/>
                      </a:lnTo>
                      <a:lnTo>
                        <a:pt x="644" y="313"/>
                      </a:lnTo>
                      <a:close/>
                      <a:moveTo>
                        <a:pt x="376" y="42"/>
                      </a:moveTo>
                      <a:lnTo>
                        <a:pt x="377" y="42"/>
                      </a:lnTo>
                      <a:lnTo>
                        <a:pt x="376" y="42"/>
                      </a:lnTo>
                      <a:close/>
                      <a:moveTo>
                        <a:pt x="40" y="391"/>
                      </a:moveTo>
                      <a:lnTo>
                        <a:pt x="42" y="391"/>
                      </a:lnTo>
                      <a:lnTo>
                        <a:pt x="40" y="391"/>
                      </a:lnTo>
                      <a:close/>
                      <a:moveTo>
                        <a:pt x="185" y="111"/>
                      </a:moveTo>
                      <a:lnTo>
                        <a:pt x="187" y="111"/>
                      </a:lnTo>
                      <a:lnTo>
                        <a:pt x="185" y="111"/>
                      </a:lnTo>
                      <a:close/>
                      <a:moveTo>
                        <a:pt x="59" y="187"/>
                      </a:moveTo>
                      <a:lnTo>
                        <a:pt x="61" y="187"/>
                      </a:lnTo>
                      <a:lnTo>
                        <a:pt x="61" y="189"/>
                      </a:lnTo>
                      <a:lnTo>
                        <a:pt x="59" y="189"/>
                      </a:lnTo>
                      <a:lnTo>
                        <a:pt x="59" y="187"/>
                      </a:lnTo>
                      <a:close/>
                      <a:moveTo>
                        <a:pt x="376" y="42"/>
                      </a:moveTo>
                      <a:lnTo>
                        <a:pt x="376" y="44"/>
                      </a:lnTo>
                      <a:lnTo>
                        <a:pt x="376" y="42"/>
                      </a:lnTo>
                      <a:close/>
                      <a:moveTo>
                        <a:pt x="353" y="44"/>
                      </a:moveTo>
                      <a:lnTo>
                        <a:pt x="353" y="46"/>
                      </a:lnTo>
                      <a:lnTo>
                        <a:pt x="353" y="44"/>
                      </a:lnTo>
                      <a:close/>
                      <a:moveTo>
                        <a:pt x="25" y="212"/>
                      </a:moveTo>
                      <a:lnTo>
                        <a:pt x="27" y="212"/>
                      </a:lnTo>
                      <a:lnTo>
                        <a:pt x="27" y="214"/>
                      </a:lnTo>
                      <a:lnTo>
                        <a:pt x="25" y="214"/>
                      </a:lnTo>
                      <a:lnTo>
                        <a:pt x="25" y="212"/>
                      </a:lnTo>
                      <a:close/>
                      <a:moveTo>
                        <a:pt x="168" y="114"/>
                      </a:moveTo>
                      <a:lnTo>
                        <a:pt x="170" y="114"/>
                      </a:lnTo>
                      <a:lnTo>
                        <a:pt x="170" y="116"/>
                      </a:lnTo>
                      <a:lnTo>
                        <a:pt x="168" y="116"/>
                      </a:lnTo>
                      <a:lnTo>
                        <a:pt x="168" y="114"/>
                      </a:lnTo>
                      <a:close/>
                      <a:moveTo>
                        <a:pt x="265" y="94"/>
                      </a:moveTo>
                      <a:lnTo>
                        <a:pt x="265" y="95"/>
                      </a:lnTo>
                      <a:lnTo>
                        <a:pt x="265" y="94"/>
                      </a:lnTo>
                      <a:close/>
                      <a:moveTo>
                        <a:pt x="273" y="63"/>
                      </a:moveTo>
                      <a:lnTo>
                        <a:pt x="273" y="65"/>
                      </a:lnTo>
                      <a:lnTo>
                        <a:pt x="273" y="63"/>
                      </a:lnTo>
                      <a:close/>
                      <a:moveTo>
                        <a:pt x="417" y="124"/>
                      </a:moveTo>
                      <a:lnTo>
                        <a:pt x="417" y="126"/>
                      </a:lnTo>
                      <a:lnTo>
                        <a:pt x="417" y="124"/>
                      </a:lnTo>
                      <a:close/>
                      <a:moveTo>
                        <a:pt x="644" y="311"/>
                      </a:moveTo>
                      <a:lnTo>
                        <a:pt x="644" y="313"/>
                      </a:lnTo>
                      <a:lnTo>
                        <a:pt x="644" y="311"/>
                      </a:lnTo>
                      <a:close/>
                      <a:moveTo>
                        <a:pt x="536" y="523"/>
                      </a:moveTo>
                      <a:lnTo>
                        <a:pt x="538" y="523"/>
                      </a:lnTo>
                      <a:lnTo>
                        <a:pt x="536" y="523"/>
                      </a:lnTo>
                      <a:close/>
                      <a:moveTo>
                        <a:pt x="734" y="382"/>
                      </a:moveTo>
                      <a:lnTo>
                        <a:pt x="734" y="384"/>
                      </a:lnTo>
                      <a:lnTo>
                        <a:pt x="734" y="382"/>
                      </a:lnTo>
                      <a:close/>
                      <a:moveTo>
                        <a:pt x="305" y="38"/>
                      </a:moveTo>
                      <a:lnTo>
                        <a:pt x="307" y="38"/>
                      </a:lnTo>
                      <a:lnTo>
                        <a:pt x="307" y="40"/>
                      </a:lnTo>
                      <a:lnTo>
                        <a:pt x="305" y="40"/>
                      </a:lnTo>
                      <a:lnTo>
                        <a:pt x="305" y="38"/>
                      </a:lnTo>
                      <a:close/>
                      <a:moveTo>
                        <a:pt x="200" y="86"/>
                      </a:moveTo>
                      <a:lnTo>
                        <a:pt x="202" y="86"/>
                      </a:lnTo>
                      <a:lnTo>
                        <a:pt x="200" y="86"/>
                      </a:lnTo>
                      <a:close/>
                      <a:moveTo>
                        <a:pt x="379" y="48"/>
                      </a:moveTo>
                      <a:lnTo>
                        <a:pt x="381" y="48"/>
                      </a:lnTo>
                      <a:lnTo>
                        <a:pt x="379" y="48"/>
                      </a:lnTo>
                      <a:close/>
                      <a:moveTo>
                        <a:pt x="574" y="185"/>
                      </a:moveTo>
                      <a:lnTo>
                        <a:pt x="576" y="185"/>
                      </a:lnTo>
                      <a:lnTo>
                        <a:pt x="576" y="187"/>
                      </a:lnTo>
                      <a:lnTo>
                        <a:pt x="574" y="187"/>
                      </a:lnTo>
                      <a:lnTo>
                        <a:pt x="574" y="185"/>
                      </a:lnTo>
                      <a:close/>
                      <a:moveTo>
                        <a:pt x="555" y="555"/>
                      </a:moveTo>
                      <a:lnTo>
                        <a:pt x="557" y="555"/>
                      </a:lnTo>
                      <a:lnTo>
                        <a:pt x="555" y="555"/>
                      </a:lnTo>
                      <a:close/>
                      <a:moveTo>
                        <a:pt x="555" y="550"/>
                      </a:moveTo>
                      <a:lnTo>
                        <a:pt x="555" y="551"/>
                      </a:lnTo>
                      <a:lnTo>
                        <a:pt x="555" y="550"/>
                      </a:lnTo>
                      <a:close/>
                      <a:moveTo>
                        <a:pt x="465" y="21"/>
                      </a:moveTo>
                      <a:lnTo>
                        <a:pt x="467" y="21"/>
                      </a:lnTo>
                      <a:lnTo>
                        <a:pt x="467" y="23"/>
                      </a:lnTo>
                      <a:lnTo>
                        <a:pt x="465" y="23"/>
                      </a:lnTo>
                      <a:lnTo>
                        <a:pt x="465" y="21"/>
                      </a:lnTo>
                      <a:close/>
                      <a:moveTo>
                        <a:pt x="498" y="80"/>
                      </a:moveTo>
                      <a:lnTo>
                        <a:pt x="499" y="80"/>
                      </a:lnTo>
                      <a:lnTo>
                        <a:pt x="499" y="82"/>
                      </a:lnTo>
                      <a:lnTo>
                        <a:pt x="498" y="82"/>
                      </a:lnTo>
                      <a:lnTo>
                        <a:pt x="498" y="80"/>
                      </a:lnTo>
                      <a:close/>
                      <a:moveTo>
                        <a:pt x="604" y="233"/>
                      </a:moveTo>
                      <a:lnTo>
                        <a:pt x="606" y="233"/>
                      </a:lnTo>
                      <a:lnTo>
                        <a:pt x="604" y="233"/>
                      </a:lnTo>
                      <a:close/>
                      <a:moveTo>
                        <a:pt x="379" y="105"/>
                      </a:moveTo>
                      <a:lnTo>
                        <a:pt x="381" y="105"/>
                      </a:lnTo>
                      <a:lnTo>
                        <a:pt x="379" y="105"/>
                      </a:lnTo>
                      <a:close/>
                      <a:moveTo>
                        <a:pt x="44" y="395"/>
                      </a:moveTo>
                      <a:lnTo>
                        <a:pt x="44" y="397"/>
                      </a:lnTo>
                      <a:lnTo>
                        <a:pt x="44" y="395"/>
                      </a:lnTo>
                      <a:close/>
                      <a:moveTo>
                        <a:pt x="63" y="185"/>
                      </a:moveTo>
                      <a:lnTo>
                        <a:pt x="65" y="185"/>
                      </a:lnTo>
                      <a:lnTo>
                        <a:pt x="63" y="185"/>
                      </a:lnTo>
                      <a:close/>
                      <a:moveTo>
                        <a:pt x="511" y="565"/>
                      </a:moveTo>
                      <a:lnTo>
                        <a:pt x="513" y="565"/>
                      </a:lnTo>
                      <a:lnTo>
                        <a:pt x="511" y="565"/>
                      </a:lnTo>
                      <a:close/>
                      <a:moveTo>
                        <a:pt x="196" y="88"/>
                      </a:moveTo>
                      <a:lnTo>
                        <a:pt x="196" y="90"/>
                      </a:lnTo>
                      <a:lnTo>
                        <a:pt x="196" y="88"/>
                      </a:lnTo>
                      <a:close/>
                      <a:moveTo>
                        <a:pt x="534" y="155"/>
                      </a:moveTo>
                      <a:lnTo>
                        <a:pt x="534" y="156"/>
                      </a:lnTo>
                      <a:lnTo>
                        <a:pt x="534" y="155"/>
                      </a:lnTo>
                      <a:close/>
                      <a:moveTo>
                        <a:pt x="166" y="120"/>
                      </a:moveTo>
                      <a:lnTo>
                        <a:pt x="168" y="120"/>
                      </a:lnTo>
                      <a:lnTo>
                        <a:pt x="168" y="122"/>
                      </a:lnTo>
                      <a:lnTo>
                        <a:pt x="166" y="122"/>
                      </a:lnTo>
                      <a:lnTo>
                        <a:pt x="166" y="120"/>
                      </a:lnTo>
                      <a:close/>
                      <a:moveTo>
                        <a:pt x="288" y="46"/>
                      </a:moveTo>
                      <a:lnTo>
                        <a:pt x="290" y="46"/>
                      </a:lnTo>
                      <a:lnTo>
                        <a:pt x="288" y="46"/>
                      </a:lnTo>
                      <a:close/>
                      <a:moveTo>
                        <a:pt x="595" y="208"/>
                      </a:moveTo>
                      <a:lnTo>
                        <a:pt x="597" y="208"/>
                      </a:lnTo>
                      <a:lnTo>
                        <a:pt x="595" y="208"/>
                      </a:lnTo>
                      <a:close/>
                      <a:moveTo>
                        <a:pt x="179" y="111"/>
                      </a:moveTo>
                      <a:lnTo>
                        <a:pt x="181" y="111"/>
                      </a:lnTo>
                      <a:lnTo>
                        <a:pt x="179" y="111"/>
                      </a:lnTo>
                      <a:close/>
                      <a:moveTo>
                        <a:pt x="168" y="122"/>
                      </a:moveTo>
                      <a:lnTo>
                        <a:pt x="170" y="122"/>
                      </a:lnTo>
                      <a:lnTo>
                        <a:pt x="168" y="122"/>
                      </a:lnTo>
                      <a:close/>
                      <a:moveTo>
                        <a:pt x="597" y="216"/>
                      </a:moveTo>
                      <a:lnTo>
                        <a:pt x="597" y="218"/>
                      </a:lnTo>
                      <a:lnTo>
                        <a:pt x="597" y="216"/>
                      </a:lnTo>
                      <a:close/>
                      <a:moveTo>
                        <a:pt x="473" y="29"/>
                      </a:moveTo>
                      <a:lnTo>
                        <a:pt x="475" y="29"/>
                      </a:lnTo>
                      <a:lnTo>
                        <a:pt x="473" y="29"/>
                      </a:lnTo>
                      <a:close/>
                      <a:moveTo>
                        <a:pt x="370" y="48"/>
                      </a:moveTo>
                      <a:lnTo>
                        <a:pt x="370" y="50"/>
                      </a:lnTo>
                      <a:lnTo>
                        <a:pt x="370" y="48"/>
                      </a:lnTo>
                      <a:close/>
                      <a:moveTo>
                        <a:pt x="290" y="46"/>
                      </a:moveTo>
                      <a:lnTo>
                        <a:pt x="290" y="48"/>
                      </a:lnTo>
                      <a:lnTo>
                        <a:pt x="290" y="46"/>
                      </a:lnTo>
                      <a:close/>
                      <a:moveTo>
                        <a:pt x="427" y="118"/>
                      </a:moveTo>
                      <a:lnTo>
                        <a:pt x="427" y="120"/>
                      </a:lnTo>
                      <a:lnTo>
                        <a:pt x="427" y="118"/>
                      </a:lnTo>
                      <a:close/>
                      <a:moveTo>
                        <a:pt x="376" y="107"/>
                      </a:moveTo>
                      <a:lnTo>
                        <a:pt x="377" y="107"/>
                      </a:lnTo>
                      <a:lnTo>
                        <a:pt x="376" y="107"/>
                      </a:lnTo>
                      <a:close/>
                      <a:moveTo>
                        <a:pt x="374" y="452"/>
                      </a:moveTo>
                      <a:lnTo>
                        <a:pt x="376" y="452"/>
                      </a:lnTo>
                      <a:lnTo>
                        <a:pt x="374" y="452"/>
                      </a:lnTo>
                      <a:close/>
                      <a:moveTo>
                        <a:pt x="173" y="114"/>
                      </a:moveTo>
                      <a:lnTo>
                        <a:pt x="175" y="114"/>
                      </a:lnTo>
                      <a:lnTo>
                        <a:pt x="175" y="116"/>
                      </a:lnTo>
                      <a:lnTo>
                        <a:pt x="173" y="116"/>
                      </a:lnTo>
                      <a:lnTo>
                        <a:pt x="173" y="114"/>
                      </a:lnTo>
                      <a:close/>
                      <a:moveTo>
                        <a:pt x="42" y="185"/>
                      </a:moveTo>
                      <a:lnTo>
                        <a:pt x="42" y="187"/>
                      </a:lnTo>
                      <a:lnTo>
                        <a:pt x="42" y="185"/>
                      </a:lnTo>
                      <a:close/>
                      <a:moveTo>
                        <a:pt x="59" y="189"/>
                      </a:moveTo>
                      <a:lnTo>
                        <a:pt x="61" y="189"/>
                      </a:lnTo>
                      <a:lnTo>
                        <a:pt x="59" y="189"/>
                      </a:lnTo>
                      <a:close/>
                      <a:moveTo>
                        <a:pt x="572" y="183"/>
                      </a:moveTo>
                      <a:lnTo>
                        <a:pt x="572" y="185"/>
                      </a:lnTo>
                      <a:lnTo>
                        <a:pt x="572" y="183"/>
                      </a:lnTo>
                      <a:close/>
                      <a:moveTo>
                        <a:pt x="374" y="74"/>
                      </a:moveTo>
                      <a:lnTo>
                        <a:pt x="374" y="76"/>
                      </a:lnTo>
                      <a:lnTo>
                        <a:pt x="374" y="74"/>
                      </a:lnTo>
                      <a:close/>
                      <a:moveTo>
                        <a:pt x="419" y="128"/>
                      </a:moveTo>
                      <a:lnTo>
                        <a:pt x="419" y="130"/>
                      </a:lnTo>
                      <a:lnTo>
                        <a:pt x="419" y="128"/>
                      </a:lnTo>
                      <a:close/>
                      <a:moveTo>
                        <a:pt x="637" y="273"/>
                      </a:moveTo>
                      <a:lnTo>
                        <a:pt x="637" y="275"/>
                      </a:lnTo>
                      <a:lnTo>
                        <a:pt x="637" y="273"/>
                      </a:lnTo>
                      <a:close/>
                      <a:moveTo>
                        <a:pt x="421" y="122"/>
                      </a:moveTo>
                      <a:lnTo>
                        <a:pt x="423" y="122"/>
                      </a:lnTo>
                      <a:lnTo>
                        <a:pt x="423" y="124"/>
                      </a:lnTo>
                      <a:lnTo>
                        <a:pt x="421" y="124"/>
                      </a:lnTo>
                      <a:lnTo>
                        <a:pt x="421" y="122"/>
                      </a:lnTo>
                      <a:close/>
                      <a:moveTo>
                        <a:pt x="562" y="555"/>
                      </a:moveTo>
                      <a:lnTo>
                        <a:pt x="564" y="555"/>
                      </a:lnTo>
                      <a:lnTo>
                        <a:pt x="562" y="555"/>
                      </a:lnTo>
                      <a:close/>
                      <a:moveTo>
                        <a:pt x="181" y="116"/>
                      </a:moveTo>
                      <a:lnTo>
                        <a:pt x="181" y="118"/>
                      </a:lnTo>
                      <a:lnTo>
                        <a:pt x="181" y="116"/>
                      </a:lnTo>
                      <a:close/>
                      <a:moveTo>
                        <a:pt x="471" y="29"/>
                      </a:moveTo>
                      <a:lnTo>
                        <a:pt x="473" y="29"/>
                      </a:lnTo>
                      <a:lnTo>
                        <a:pt x="471" y="29"/>
                      </a:lnTo>
                      <a:close/>
                      <a:moveTo>
                        <a:pt x="641" y="305"/>
                      </a:moveTo>
                      <a:lnTo>
                        <a:pt x="641" y="307"/>
                      </a:lnTo>
                      <a:lnTo>
                        <a:pt x="641" y="305"/>
                      </a:lnTo>
                      <a:close/>
                      <a:moveTo>
                        <a:pt x="192" y="95"/>
                      </a:moveTo>
                      <a:lnTo>
                        <a:pt x="192" y="97"/>
                      </a:lnTo>
                      <a:lnTo>
                        <a:pt x="192" y="95"/>
                      </a:lnTo>
                      <a:close/>
                      <a:moveTo>
                        <a:pt x="221" y="78"/>
                      </a:moveTo>
                      <a:lnTo>
                        <a:pt x="223" y="78"/>
                      </a:lnTo>
                      <a:lnTo>
                        <a:pt x="221" y="78"/>
                      </a:lnTo>
                      <a:close/>
                      <a:moveTo>
                        <a:pt x="61" y="187"/>
                      </a:moveTo>
                      <a:lnTo>
                        <a:pt x="63" y="187"/>
                      </a:lnTo>
                      <a:lnTo>
                        <a:pt x="61" y="187"/>
                      </a:lnTo>
                      <a:close/>
                      <a:moveTo>
                        <a:pt x="528" y="151"/>
                      </a:moveTo>
                      <a:lnTo>
                        <a:pt x="530" y="151"/>
                      </a:lnTo>
                      <a:lnTo>
                        <a:pt x="528" y="151"/>
                      </a:lnTo>
                      <a:close/>
                      <a:moveTo>
                        <a:pt x="63" y="185"/>
                      </a:moveTo>
                      <a:lnTo>
                        <a:pt x="63" y="187"/>
                      </a:lnTo>
                      <a:lnTo>
                        <a:pt x="63" y="185"/>
                      </a:lnTo>
                      <a:close/>
                      <a:moveTo>
                        <a:pt x="88" y="446"/>
                      </a:moveTo>
                      <a:lnTo>
                        <a:pt x="89" y="446"/>
                      </a:lnTo>
                      <a:lnTo>
                        <a:pt x="88" y="446"/>
                      </a:lnTo>
                      <a:close/>
                      <a:moveTo>
                        <a:pt x="557" y="542"/>
                      </a:moveTo>
                      <a:lnTo>
                        <a:pt x="557" y="544"/>
                      </a:lnTo>
                      <a:lnTo>
                        <a:pt x="557" y="542"/>
                      </a:lnTo>
                      <a:close/>
                      <a:moveTo>
                        <a:pt x="149" y="431"/>
                      </a:moveTo>
                      <a:lnTo>
                        <a:pt x="149" y="433"/>
                      </a:lnTo>
                      <a:lnTo>
                        <a:pt x="149" y="431"/>
                      </a:lnTo>
                      <a:close/>
                      <a:moveTo>
                        <a:pt x="213" y="78"/>
                      </a:moveTo>
                      <a:lnTo>
                        <a:pt x="215" y="78"/>
                      </a:lnTo>
                      <a:lnTo>
                        <a:pt x="213" y="78"/>
                      </a:lnTo>
                      <a:close/>
                      <a:moveTo>
                        <a:pt x="366" y="42"/>
                      </a:moveTo>
                      <a:lnTo>
                        <a:pt x="368" y="42"/>
                      </a:lnTo>
                      <a:lnTo>
                        <a:pt x="366" y="42"/>
                      </a:lnTo>
                      <a:close/>
                      <a:moveTo>
                        <a:pt x="183" y="109"/>
                      </a:moveTo>
                      <a:lnTo>
                        <a:pt x="185" y="109"/>
                      </a:lnTo>
                      <a:lnTo>
                        <a:pt x="185" y="111"/>
                      </a:lnTo>
                      <a:lnTo>
                        <a:pt x="183" y="111"/>
                      </a:lnTo>
                      <a:lnTo>
                        <a:pt x="183" y="109"/>
                      </a:lnTo>
                      <a:close/>
                      <a:moveTo>
                        <a:pt x="477" y="11"/>
                      </a:moveTo>
                      <a:lnTo>
                        <a:pt x="478" y="11"/>
                      </a:lnTo>
                      <a:lnTo>
                        <a:pt x="477" y="11"/>
                      </a:lnTo>
                      <a:close/>
                      <a:moveTo>
                        <a:pt x="517" y="90"/>
                      </a:moveTo>
                      <a:lnTo>
                        <a:pt x="519" y="90"/>
                      </a:lnTo>
                      <a:lnTo>
                        <a:pt x="517" y="90"/>
                      </a:lnTo>
                      <a:close/>
                      <a:moveTo>
                        <a:pt x="200" y="86"/>
                      </a:moveTo>
                      <a:lnTo>
                        <a:pt x="200" y="88"/>
                      </a:lnTo>
                      <a:lnTo>
                        <a:pt x="200" y="86"/>
                      </a:lnTo>
                      <a:close/>
                      <a:moveTo>
                        <a:pt x="498" y="80"/>
                      </a:moveTo>
                      <a:lnTo>
                        <a:pt x="499" y="80"/>
                      </a:lnTo>
                      <a:lnTo>
                        <a:pt x="499" y="82"/>
                      </a:lnTo>
                      <a:lnTo>
                        <a:pt x="498" y="82"/>
                      </a:lnTo>
                      <a:lnTo>
                        <a:pt x="498" y="80"/>
                      </a:lnTo>
                      <a:close/>
                      <a:moveTo>
                        <a:pt x="509" y="561"/>
                      </a:moveTo>
                      <a:lnTo>
                        <a:pt x="509" y="563"/>
                      </a:lnTo>
                      <a:lnTo>
                        <a:pt x="509" y="561"/>
                      </a:lnTo>
                      <a:close/>
                      <a:moveTo>
                        <a:pt x="366" y="44"/>
                      </a:moveTo>
                      <a:lnTo>
                        <a:pt x="368" y="44"/>
                      </a:lnTo>
                      <a:lnTo>
                        <a:pt x="366" y="44"/>
                      </a:lnTo>
                      <a:close/>
                      <a:moveTo>
                        <a:pt x="528" y="147"/>
                      </a:moveTo>
                      <a:lnTo>
                        <a:pt x="530" y="147"/>
                      </a:lnTo>
                      <a:lnTo>
                        <a:pt x="528" y="147"/>
                      </a:lnTo>
                      <a:close/>
                      <a:moveTo>
                        <a:pt x="467" y="21"/>
                      </a:moveTo>
                      <a:lnTo>
                        <a:pt x="467" y="23"/>
                      </a:lnTo>
                      <a:lnTo>
                        <a:pt x="467" y="21"/>
                      </a:lnTo>
                      <a:close/>
                      <a:moveTo>
                        <a:pt x="473" y="4"/>
                      </a:moveTo>
                      <a:lnTo>
                        <a:pt x="475" y="4"/>
                      </a:lnTo>
                      <a:lnTo>
                        <a:pt x="473" y="4"/>
                      </a:lnTo>
                      <a:close/>
                      <a:moveTo>
                        <a:pt x="181" y="101"/>
                      </a:moveTo>
                      <a:lnTo>
                        <a:pt x="183" y="101"/>
                      </a:lnTo>
                      <a:lnTo>
                        <a:pt x="181" y="101"/>
                      </a:lnTo>
                      <a:close/>
                      <a:moveTo>
                        <a:pt x="642" y="311"/>
                      </a:moveTo>
                      <a:lnTo>
                        <a:pt x="644" y="311"/>
                      </a:lnTo>
                      <a:lnTo>
                        <a:pt x="642" y="311"/>
                      </a:lnTo>
                      <a:close/>
                      <a:moveTo>
                        <a:pt x="170" y="132"/>
                      </a:moveTo>
                      <a:lnTo>
                        <a:pt x="170" y="134"/>
                      </a:lnTo>
                      <a:lnTo>
                        <a:pt x="170" y="132"/>
                      </a:lnTo>
                      <a:close/>
                      <a:moveTo>
                        <a:pt x="309" y="38"/>
                      </a:moveTo>
                      <a:lnTo>
                        <a:pt x="309" y="40"/>
                      </a:lnTo>
                      <a:lnTo>
                        <a:pt x="309" y="38"/>
                      </a:lnTo>
                      <a:close/>
                      <a:moveTo>
                        <a:pt x="181" y="99"/>
                      </a:moveTo>
                      <a:lnTo>
                        <a:pt x="183" y="99"/>
                      </a:lnTo>
                      <a:lnTo>
                        <a:pt x="183" y="101"/>
                      </a:lnTo>
                      <a:lnTo>
                        <a:pt x="181" y="101"/>
                      </a:lnTo>
                      <a:lnTo>
                        <a:pt x="181" y="99"/>
                      </a:lnTo>
                      <a:close/>
                      <a:moveTo>
                        <a:pt x="355" y="50"/>
                      </a:moveTo>
                      <a:lnTo>
                        <a:pt x="356" y="50"/>
                      </a:lnTo>
                      <a:lnTo>
                        <a:pt x="356" y="52"/>
                      </a:lnTo>
                      <a:lnTo>
                        <a:pt x="355" y="52"/>
                      </a:lnTo>
                      <a:lnTo>
                        <a:pt x="355" y="50"/>
                      </a:lnTo>
                      <a:close/>
                      <a:moveTo>
                        <a:pt x="534" y="156"/>
                      </a:moveTo>
                      <a:lnTo>
                        <a:pt x="536" y="156"/>
                      </a:lnTo>
                      <a:lnTo>
                        <a:pt x="534" y="156"/>
                      </a:lnTo>
                      <a:close/>
                      <a:moveTo>
                        <a:pt x="370" y="40"/>
                      </a:moveTo>
                      <a:lnTo>
                        <a:pt x="370" y="42"/>
                      </a:lnTo>
                      <a:lnTo>
                        <a:pt x="370" y="40"/>
                      </a:lnTo>
                      <a:close/>
                      <a:moveTo>
                        <a:pt x="528" y="143"/>
                      </a:moveTo>
                      <a:lnTo>
                        <a:pt x="530" y="143"/>
                      </a:lnTo>
                      <a:lnTo>
                        <a:pt x="530" y="145"/>
                      </a:lnTo>
                      <a:lnTo>
                        <a:pt x="528" y="145"/>
                      </a:lnTo>
                      <a:lnTo>
                        <a:pt x="528" y="143"/>
                      </a:lnTo>
                      <a:close/>
                      <a:moveTo>
                        <a:pt x="574" y="183"/>
                      </a:moveTo>
                      <a:lnTo>
                        <a:pt x="574" y="185"/>
                      </a:lnTo>
                      <a:lnTo>
                        <a:pt x="574" y="183"/>
                      </a:lnTo>
                      <a:close/>
                      <a:moveTo>
                        <a:pt x="173" y="114"/>
                      </a:moveTo>
                      <a:lnTo>
                        <a:pt x="173" y="116"/>
                      </a:lnTo>
                      <a:lnTo>
                        <a:pt x="173" y="114"/>
                      </a:lnTo>
                      <a:close/>
                      <a:moveTo>
                        <a:pt x="177" y="114"/>
                      </a:moveTo>
                      <a:lnTo>
                        <a:pt x="179" y="114"/>
                      </a:lnTo>
                      <a:lnTo>
                        <a:pt x="179" y="116"/>
                      </a:lnTo>
                      <a:lnTo>
                        <a:pt x="177" y="116"/>
                      </a:lnTo>
                      <a:lnTo>
                        <a:pt x="177" y="114"/>
                      </a:lnTo>
                      <a:close/>
                      <a:moveTo>
                        <a:pt x="368" y="69"/>
                      </a:moveTo>
                      <a:lnTo>
                        <a:pt x="370" y="69"/>
                      </a:lnTo>
                      <a:lnTo>
                        <a:pt x="370" y="71"/>
                      </a:lnTo>
                      <a:lnTo>
                        <a:pt x="368" y="71"/>
                      </a:lnTo>
                      <a:lnTo>
                        <a:pt x="368" y="69"/>
                      </a:lnTo>
                      <a:close/>
                      <a:moveTo>
                        <a:pt x="644" y="313"/>
                      </a:moveTo>
                      <a:lnTo>
                        <a:pt x="644" y="315"/>
                      </a:lnTo>
                      <a:lnTo>
                        <a:pt x="644" y="313"/>
                      </a:lnTo>
                      <a:close/>
                      <a:moveTo>
                        <a:pt x="414" y="460"/>
                      </a:moveTo>
                      <a:lnTo>
                        <a:pt x="416" y="460"/>
                      </a:lnTo>
                      <a:lnTo>
                        <a:pt x="414" y="460"/>
                      </a:lnTo>
                      <a:close/>
                      <a:moveTo>
                        <a:pt x="637" y="269"/>
                      </a:moveTo>
                      <a:lnTo>
                        <a:pt x="637" y="271"/>
                      </a:lnTo>
                      <a:lnTo>
                        <a:pt x="637" y="269"/>
                      </a:lnTo>
                      <a:close/>
                      <a:moveTo>
                        <a:pt x="208" y="82"/>
                      </a:moveTo>
                      <a:lnTo>
                        <a:pt x="210" y="82"/>
                      </a:lnTo>
                      <a:lnTo>
                        <a:pt x="208" y="82"/>
                      </a:lnTo>
                      <a:close/>
                      <a:moveTo>
                        <a:pt x="379" y="105"/>
                      </a:moveTo>
                      <a:lnTo>
                        <a:pt x="381" y="105"/>
                      </a:lnTo>
                      <a:lnTo>
                        <a:pt x="379" y="105"/>
                      </a:lnTo>
                      <a:close/>
                      <a:moveTo>
                        <a:pt x="574" y="185"/>
                      </a:moveTo>
                      <a:lnTo>
                        <a:pt x="576" y="185"/>
                      </a:lnTo>
                      <a:lnTo>
                        <a:pt x="576" y="187"/>
                      </a:lnTo>
                      <a:lnTo>
                        <a:pt x="574" y="187"/>
                      </a:lnTo>
                      <a:lnTo>
                        <a:pt x="574" y="185"/>
                      </a:lnTo>
                      <a:close/>
                      <a:moveTo>
                        <a:pt x="580" y="193"/>
                      </a:moveTo>
                      <a:lnTo>
                        <a:pt x="581" y="193"/>
                      </a:lnTo>
                      <a:lnTo>
                        <a:pt x="581" y="195"/>
                      </a:lnTo>
                      <a:lnTo>
                        <a:pt x="580" y="195"/>
                      </a:lnTo>
                      <a:lnTo>
                        <a:pt x="580" y="193"/>
                      </a:lnTo>
                      <a:close/>
                      <a:moveTo>
                        <a:pt x="246" y="90"/>
                      </a:moveTo>
                      <a:lnTo>
                        <a:pt x="246" y="92"/>
                      </a:lnTo>
                      <a:lnTo>
                        <a:pt x="246" y="90"/>
                      </a:lnTo>
                      <a:close/>
                      <a:moveTo>
                        <a:pt x="473" y="23"/>
                      </a:moveTo>
                      <a:lnTo>
                        <a:pt x="473" y="25"/>
                      </a:lnTo>
                      <a:lnTo>
                        <a:pt x="473" y="23"/>
                      </a:lnTo>
                      <a:close/>
                      <a:moveTo>
                        <a:pt x="32" y="202"/>
                      </a:moveTo>
                      <a:lnTo>
                        <a:pt x="34" y="202"/>
                      </a:lnTo>
                      <a:lnTo>
                        <a:pt x="34" y="204"/>
                      </a:lnTo>
                      <a:lnTo>
                        <a:pt x="32" y="204"/>
                      </a:lnTo>
                      <a:lnTo>
                        <a:pt x="32" y="202"/>
                      </a:lnTo>
                      <a:close/>
                      <a:moveTo>
                        <a:pt x="212" y="76"/>
                      </a:moveTo>
                      <a:lnTo>
                        <a:pt x="212" y="78"/>
                      </a:lnTo>
                      <a:lnTo>
                        <a:pt x="212" y="76"/>
                      </a:lnTo>
                      <a:close/>
                      <a:moveTo>
                        <a:pt x="360" y="86"/>
                      </a:moveTo>
                      <a:lnTo>
                        <a:pt x="362" y="86"/>
                      </a:lnTo>
                      <a:lnTo>
                        <a:pt x="362" y="88"/>
                      </a:lnTo>
                      <a:lnTo>
                        <a:pt x="360" y="88"/>
                      </a:lnTo>
                      <a:lnTo>
                        <a:pt x="360" y="86"/>
                      </a:lnTo>
                      <a:close/>
                      <a:moveTo>
                        <a:pt x="332" y="399"/>
                      </a:moveTo>
                      <a:lnTo>
                        <a:pt x="334" y="399"/>
                      </a:lnTo>
                      <a:lnTo>
                        <a:pt x="332" y="399"/>
                      </a:lnTo>
                      <a:close/>
                      <a:moveTo>
                        <a:pt x="530" y="151"/>
                      </a:moveTo>
                      <a:lnTo>
                        <a:pt x="530" y="153"/>
                      </a:lnTo>
                      <a:lnTo>
                        <a:pt x="530" y="151"/>
                      </a:lnTo>
                      <a:close/>
                      <a:moveTo>
                        <a:pt x="192" y="86"/>
                      </a:moveTo>
                      <a:lnTo>
                        <a:pt x="192" y="88"/>
                      </a:lnTo>
                      <a:lnTo>
                        <a:pt x="192" y="86"/>
                      </a:lnTo>
                      <a:close/>
                      <a:moveTo>
                        <a:pt x="170" y="113"/>
                      </a:moveTo>
                      <a:lnTo>
                        <a:pt x="171" y="113"/>
                      </a:lnTo>
                      <a:lnTo>
                        <a:pt x="170" y="113"/>
                      </a:lnTo>
                      <a:close/>
                      <a:moveTo>
                        <a:pt x="578" y="191"/>
                      </a:moveTo>
                      <a:lnTo>
                        <a:pt x="580" y="191"/>
                      </a:lnTo>
                      <a:lnTo>
                        <a:pt x="580" y="193"/>
                      </a:lnTo>
                      <a:lnTo>
                        <a:pt x="578" y="193"/>
                      </a:lnTo>
                      <a:lnTo>
                        <a:pt x="578" y="191"/>
                      </a:lnTo>
                      <a:close/>
                      <a:moveTo>
                        <a:pt x="372" y="443"/>
                      </a:moveTo>
                      <a:lnTo>
                        <a:pt x="374" y="443"/>
                      </a:lnTo>
                      <a:lnTo>
                        <a:pt x="372" y="443"/>
                      </a:lnTo>
                      <a:close/>
                      <a:moveTo>
                        <a:pt x="185" y="116"/>
                      </a:moveTo>
                      <a:lnTo>
                        <a:pt x="187" y="116"/>
                      </a:lnTo>
                      <a:lnTo>
                        <a:pt x="185" y="116"/>
                      </a:lnTo>
                      <a:close/>
                      <a:moveTo>
                        <a:pt x="562" y="548"/>
                      </a:moveTo>
                      <a:lnTo>
                        <a:pt x="564" y="548"/>
                      </a:lnTo>
                      <a:lnTo>
                        <a:pt x="562" y="548"/>
                      </a:lnTo>
                      <a:close/>
                      <a:moveTo>
                        <a:pt x="490" y="6"/>
                      </a:moveTo>
                      <a:lnTo>
                        <a:pt x="492" y="6"/>
                      </a:lnTo>
                      <a:lnTo>
                        <a:pt x="492" y="8"/>
                      </a:lnTo>
                      <a:lnTo>
                        <a:pt x="490" y="8"/>
                      </a:lnTo>
                      <a:lnTo>
                        <a:pt x="490" y="6"/>
                      </a:lnTo>
                      <a:close/>
                      <a:moveTo>
                        <a:pt x="642" y="309"/>
                      </a:moveTo>
                      <a:lnTo>
                        <a:pt x="644" y="309"/>
                      </a:lnTo>
                      <a:lnTo>
                        <a:pt x="642" y="309"/>
                      </a:lnTo>
                      <a:close/>
                      <a:moveTo>
                        <a:pt x="213" y="76"/>
                      </a:moveTo>
                      <a:lnTo>
                        <a:pt x="213" y="78"/>
                      </a:lnTo>
                      <a:lnTo>
                        <a:pt x="213" y="76"/>
                      </a:lnTo>
                      <a:close/>
                      <a:moveTo>
                        <a:pt x="273" y="65"/>
                      </a:moveTo>
                      <a:lnTo>
                        <a:pt x="274" y="65"/>
                      </a:lnTo>
                      <a:lnTo>
                        <a:pt x="273" y="65"/>
                      </a:lnTo>
                      <a:close/>
                      <a:moveTo>
                        <a:pt x="187" y="118"/>
                      </a:moveTo>
                      <a:lnTo>
                        <a:pt x="189" y="118"/>
                      </a:lnTo>
                      <a:lnTo>
                        <a:pt x="187" y="118"/>
                      </a:lnTo>
                      <a:close/>
                      <a:moveTo>
                        <a:pt x="465" y="0"/>
                      </a:moveTo>
                      <a:lnTo>
                        <a:pt x="465" y="2"/>
                      </a:lnTo>
                      <a:lnTo>
                        <a:pt x="465" y="0"/>
                      </a:lnTo>
                      <a:close/>
                      <a:moveTo>
                        <a:pt x="509" y="86"/>
                      </a:moveTo>
                      <a:lnTo>
                        <a:pt x="511" y="86"/>
                      </a:lnTo>
                      <a:lnTo>
                        <a:pt x="511" y="88"/>
                      </a:lnTo>
                      <a:lnTo>
                        <a:pt x="509" y="88"/>
                      </a:lnTo>
                      <a:lnTo>
                        <a:pt x="509" y="86"/>
                      </a:lnTo>
                      <a:close/>
                      <a:moveTo>
                        <a:pt x="551" y="172"/>
                      </a:moveTo>
                      <a:lnTo>
                        <a:pt x="553" y="172"/>
                      </a:lnTo>
                      <a:lnTo>
                        <a:pt x="553" y="174"/>
                      </a:lnTo>
                      <a:lnTo>
                        <a:pt x="551" y="174"/>
                      </a:lnTo>
                      <a:lnTo>
                        <a:pt x="551" y="172"/>
                      </a:lnTo>
                      <a:close/>
                      <a:moveTo>
                        <a:pt x="23" y="206"/>
                      </a:moveTo>
                      <a:lnTo>
                        <a:pt x="23" y="208"/>
                      </a:lnTo>
                      <a:lnTo>
                        <a:pt x="23" y="206"/>
                      </a:lnTo>
                      <a:close/>
                      <a:moveTo>
                        <a:pt x="23" y="206"/>
                      </a:moveTo>
                      <a:lnTo>
                        <a:pt x="25" y="206"/>
                      </a:lnTo>
                      <a:lnTo>
                        <a:pt x="23" y="206"/>
                      </a:lnTo>
                      <a:close/>
                      <a:moveTo>
                        <a:pt x="173" y="116"/>
                      </a:moveTo>
                      <a:lnTo>
                        <a:pt x="175" y="116"/>
                      </a:lnTo>
                      <a:lnTo>
                        <a:pt x="173" y="116"/>
                      </a:lnTo>
                      <a:close/>
                      <a:moveTo>
                        <a:pt x="242" y="97"/>
                      </a:moveTo>
                      <a:lnTo>
                        <a:pt x="244" y="97"/>
                      </a:lnTo>
                      <a:lnTo>
                        <a:pt x="244" y="99"/>
                      </a:lnTo>
                      <a:lnTo>
                        <a:pt x="242" y="99"/>
                      </a:lnTo>
                      <a:lnTo>
                        <a:pt x="242" y="97"/>
                      </a:lnTo>
                      <a:close/>
                      <a:moveTo>
                        <a:pt x="372" y="439"/>
                      </a:moveTo>
                      <a:lnTo>
                        <a:pt x="372" y="441"/>
                      </a:lnTo>
                      <a:lnTo>
                        <a:pt x="372" y="439"/>
                      </a:lnTo>
                      <a:close/>
                      <a:moveTo>
                        <a:pt x="641" y="305"/>
                      </a:moveTo>
                      <a:lnTo>
                        <a:pt x="642" y="305"/>
                      </a:lnTo>
                      <a:lnTo>
                        <a:pt x="641" y="305"/>
                      </a:lnTo>
                      <a:close/>
                      <a:moveTo>
                        <a:pt x="578" y="193"/>
                      </a:moveTo>
                      <a:lnTo>
                        <a:pt x="580" y="193"/>
                      </a:lnTo>
                      <a:lnTo>
                        <a:pt x="578" y="193"/>
                      </a:lnTo>
                      <a:close/>
                      <a:moveTo>
                        <a:pt x="372" y="69"/>
                      </a:moveTo>
                      <a:lnTo>
                        <a:pt x="372" y="71"/>
                      </a:lnTo>
                      <a:lnTo>
                        <a:pt x="372" y="69"/>
                      </a:lnTo>
                      <a:close/>
                      <a:moveTo>
                        <a:pt x="166" y="116"/>
                      </a:moveTo>
                      <a:lnTo>
                        <a:pt x="166" y="118"/>
                      </a:lnTo>
                      <a:lnTo>
                        <a:pt x="166" y="116"/>
                      </a:lnTo>
                      <a:close/>
                      <a:moveTo>
                        <a:pt x="36" y="204"/>
                      </a:moveTo>
                      <a:lnTo>
                        <a:pt x="38" y="204"/>
                      </a:lnTo>
                      <a:lnTo>
                        <a:pt x="38" y="206"/>
                      </a:lnTo>
                      <a:lnTo>
                        <a:pt x="36" y="206"/>
                      </a:lnTo>
                      <a:lnTo>
                        <a:pt x="36" y="204"/>
                      </a:lnTo>
                      <a:close/>
                      <a:moveTo>
                        <a:pt x="589" y="216"/>
                      </a:moveTo>
                      <a:lnTo>
                        <a:pt x="589" y="218"/>
                      </a:lnTo>
                      <a:lnTo>
                        <a:pt x="589" y="216"/>
                      </a:lnTo>
                      <a:close/>
                      <a:moveTo>
                        <a:pt x="196" y="94"/>
                      </a:moveTo>
                      <a:lnTo>
                        <a:pt x="196" y="95"/>
                      </a:lnTo>
                      <a:lnTo>
                        <a:pt x="196" y="94"/>
                      </a:lnTo>
                      <a:close/>
                      <a:moveTo>
                        <a:pt x="309" y="48"/>
                      </a:moveTo>
                      <a:lnTo>
                        <a:pt x="309" y="50"/>
                      </a:lnTo>
                      <a:lnTo>
                        <a:pt x="309" y="48"/>
                      </a:lnTo>
                      <a:close/>
                      <a:moveTo>
                        <a:pt x="562" y="553"/>
                      </a:moveTo>
                      <a:lnTo>
                        <a:pt x="562" y="555"/>
                      </a:lnTo>
                      <a:lnTo>
                        <a:pt x="562" y="553"/>
                      </a:lnTo>
                      <a:close/>
                      <a:moveTo>
                        <a:pt x="170" y="435"/>
                      </a:moveTo>
                      <a:lnTo>
                        <a:pt x="170" y="437"/>
                      </a:lnTo>
                      <a:lnTo>
                        <a:pt x="170" y="435"/>
                      </a:lnTo>
                      <a:close/>
                      <a:moveTo>
                        <a:pt x="576" y="189"/>
                      </a:moveTo>
                      <a:lnTo>
                        <a:pt x="578" y="189"/>
                      </a:lnTo>
                      <a:lnTo>
                        <a:pt x="578" y="191"/>
                      </a:lnTo>
                      <a:lnTo>
                        <a:pt x="576" y="191"/>
                      </a:lnTo>
                      <a:lnTo>
                        <a:pt x="576" y="189"/>
                      </a:lnTo>
                      <a:close/>
                      <a:moveTo>
                        <a:pt x="381" y="73"/>
                      </a:moveTo>
                      <a:lnTo>
                        <a:pt x="383" y="73"/>
                      </a:lnTo>
                      <a:lnTo>
                        <a:pt x="381" y="73"/>
                      </a:lnTo>
                      <a:close/>
                      <a:moveTo>
                        <a:pt x="168" y="113"/>
                      </a:moveTo>
                      <a:lnTo>
                        <a:pt x="168" y="114"/>
                      </a:lnTo>
                      <a:lnTo>
                        <a:pt x="168" y="113"/>
                      </a:lnTo>
                      <a:close/>
                      <a:moveTo>
                        <a:pt x="574" y="183"/>
                      </a:moveTo>
                      <a:lnTo>
                        <a:pt x="574" y="185"/>
                      </a:lnTo>
                      <a:lnTo>
                        <a:pt x="574" y="183"/>
                      </a:lnTo>
                      <a:close/>
                      <a:moveTo>
                        <a:pt x="498" y="82"/>
                      </a:moveTo>
                      <a:lnTo>
                        <a:pt x="499" y="82"/>
                      </a:lnTo>
                      <a:lnTo>
                        <a:pt x="498" y="82"/>
                      </a:lnTo>
                      <a:close/>
                      <a:moveTo>
                        <a:pt x="374" y="44"/>
                      </a:moveTo>
                      <a:lnTo>
                        <a:pt x="376" y="44"/>
                      </a:lnTo>
                      <a:lnTo>
                        <a:pt x="374" y="44"/>
                      </a:lnTo>
                      <a:close/>
                      <a:moveTo>
                        <a:pt x="379" y="107"/>
                      </a:moveTo>
                      <a:lnTo>
                        <a:pt x="381" y="107"/>
                      </a:lnTo>
                      <a:lnTo>
                        <a:pt x="379" y="107"/>
                      </a:lnTo>
                      <a:close/>
                      <a:moveTo>
                        <a:pt x="368" y="50"/>
                      </a:moveTo>
                      <a:lnTo>
                        <a:pt x="368" y="52"/>
                      </a:lnTo>
                      <a:lnTo>
                        <a:pt x="368" y="50"/>
                      </a:lnTo>
                      <a:close/>
                      <a:moveTo>
                        <a:pt x="196" y="95"/>
                      </a:moveTo>
                      <a:lnTo>
                        <a:pt x="196" y="97"/>
                      </a:lnTo>
                      <a:lnTo>
                        <a:pt x="196" y="95"/>
                      </a:lnTo>
                      <a:close/>
                      <a:moveTo>
                        <a:pt x="67" y="185"/>
                      </a:moveTo>
                      <a:lnTo>
                        <a:pt x="67" y="187"/>
                      </a:lnTo>
                      <a:lnTo>
                        <a:pt x="67" y="185"/>
                      </a:lnTo>
                      <a:close/>
                      <a:moveTo>
                        <a:pt x="192" y="84"/>
                      </a:moveTo>
                      <a:lnTo>
                        <a:pt x="192" y="86"/>
                      </a:lnTo>
                      <a:lnTo>
                        <a:pt x="192" y="84"/>
                      </a:lnTo>
                      <a:close/>
                      <a:moveTo>
                        <a:pt x="337" y="48"/>
                      </a:moveTo>
                      <a:lnTo>
                        <a:pt x="339" y="48"/>
                      </a:lnTo>
                      <a:lnTo>
                        <a:pt x="337" y="48"/>
                      </a:lnTo>
                      <a:close/>
                      <a:moveTo>
                        <a:pt x="368" y="42"/>
                      </a:moveTo>
                      <a:lnTo>
                        <a:pt x="370" y="42"/>
                      </a:lnTo>
                      <a:lnTo>
                        <a:pt x="368" y="42"/>
                      </a:lnTo>
                      <a:close/>
                      <a:moveTo>
                        <a:pt x="170" y="116"/>
                      </a:moveTo>
                      <a:lnTo>
                        <a:pt x="171" y="116"/>
                      </a:lnTo>
                      <a:lnTo>
                        <a:pt x="170" y="116"/>
                      </a:lnTo>
                      <a:close/>
                      <a:moveTo>
                        <a:pt x="553" y="565"/>
                      </a:moveTo>
                      <a:lnTo>
                        <a:pt x="553" y="567"/>
                      </a:lnTo>
                      <a:lnTo>
                        <a:pt x="553" y="565"/>
                      </a:lnTo>
                      <a:close/>
                      <a:moveTo>
                        <a:pt x="465" y="23"/>
                      </a:moveTo>
                      <a:lnTo>
                        <a:pt x="467" y="23"/>
                      </a:lnTo>
                      <a:lnTo>
                        <a:pt x="465" y="23"/>
                      </a:lnTo>
                      <a:close/>
                      <a:moveTo>
                        <a:pt x="38" y="193"/>
                      </a:moveTo>
                      <a:lnTo>
                        <a:pt x="38" y="195"/>
                      </a:lnTo>
                      <a:lnTo>
                        <a:pt x="38" y="193"/>
                      </a:lnTo>
                      <a:close/>
                      <a:moveTo>
                        <a:pt x="196" y="82"/>
                      </a:moveTo>
                      <a:lnTo>
                        <a:pt x="198" y="82"/>
                      </a:lnTo>
                      <a:lnTo>
                        <a:pt x="198" y="84"/>
                      </a:lnTo>
                      <a:lnTo>
                        <a:pt x="196" y="84"/>
                      </a:lnTo>
                      <a:lnTo>
                        <a:pt x="196" y="82"/>
                      </a:lnTo>
                      <a:close/>
                      <a:moveTo>
                        <a:pt x="217" y="76"/>
                      </a:moveTo>
                      <a:lnTo>
                        <a:pt x="219" y="76"/>
                      </a:lnTo>
                      <a:lnTo>
                        <a:pt x="217" y="76"/>
                      </a:lnTo>
                      <a:close/>
                      <a:moveTo>
                        <a:pt x="179" y="111"/>
                      </a:moveTo>
                      <a:lnTo>
                        <a:pt x="181" y="111"/>
                      </a:lnTo>
                      <a:lnTo>
                        <a:pt x="179" y="111"/>
                      </a:lnTo>
                      <a:close/>
                      <a:moveTo>
                        <a:pt x="526" y="126"/>
                      </a:moveTo>
                      <a:lnTo>
                        <a:pt x="526" y="128"/>
                      </a:lnTo>
                      <a:lnTo>
                        <a:pt x="526" y="126"/>
                      </a:lnTo>
                      <a:close/>
                      <a:moveTo>
                        <a:pt x="187" y="116"/>
                      </a:moveTo>
                      <a:lnTo>
                        <a:pt x="189" y="116"/>
                      </a:lnTo>
                      <a:lnTo>
                        <a:pt x="189" y="118"/>
                      </a:lnTo>
                      <a:lnTo>
                        <a:pt x="187" y="118"/>
                      </a:lnTo>
                      <a:lnTo>
                        <a:pt x="187" y="116"/>
                      </a:lnTo>
                      <a:close/>
                      <a:moveTo>
                        <a:pt x="587" y="216"/>
                      </a:moveTo>
                      <a:lnTo>
                        <a:pt x="589" y="216"/>
                      </a:lnTo>
                      <a:lnTo>
                        <a:pt x="589" y="218"/>
                      </a:lnTo>
                      <a:lnTo>
                        <a:pt x="587" y="218"/>
                      </a:lnTo>
                      <a:lnTo>
                        <a:pt x="587" y="216"/>
                      </a:lnTo>
                      <a:close/>
                      <a:moveTo>
                        <a:pt x="379" y="40"/>
                      </a:moveTo>
                      <a:lnTo>
                        <a:pt x="381" y="40"/>
                      </a:lnTo>
                      <a:lnTo>
                        <a:pt x="379" y="40"/>
                      </a:lnTo>
                      <a:close/>
                      <a:moveTo>
                        <a:pt x="244" y="99"/>
                      </a:moveTo>
                      <a:lnTo>
                        <a:pt x="244" y="101"/>
                      </a:lnTo>
                      <a:lnTo>
                        <a:pt x="244" y="99"/>
                      </a:lnTo>
                      <a:close/>
                      <a:moveTo>
                        <a:pt x="236" y="84"/>
                      </a:moveTo>
                      <a:lnTo>
                        <a:pt x="238" y="84"/>
                      </a:lnTo>
                      <a:lnTo>
                        <a:pt x="236" y="84"/>
                      </a:lnTo>
                      <a:close/>
                      <a:moveTo>
                        <a:pt x="602" y="239"/>
                      </a:moveTo>
                      <a:lnTo>
                        <a:pt x="604" y="239"/>
                      </a:lnTo>
                      <a:lnTo>
                        <a:pt x="602" y="239"/>
                      </a:lnTo>
                      <a:close/>
                      <a:moveTo>
                        <a:pt x="595" y="216"/>
                      </a:moveTo>
                      <a:lnTo>
                        <a:pt x="595" y="218"/>
                      </a:lnTo>
                      <a:lnTo>
                        <a:pt x="595" y="216"/>
                      </a:lnTo>
                      <a:close/>
                      <a:moveTo>
                        <a:pt x="183" y="116"/>
                      </a:moveTo>
                      <a:lnTo>
                        <a:pt x="185" y="116"/>
                      </a:lnTo>
                      <a:lnTo>
                        <a:pt x="185" y="118"/>
                      </a:lnTo>
                      <a:lnTo>
                        <a:pt x="183" y="118"/>
                      </a:lnTo>
                      <a:lnTo>
                        <a:pt x="183" y="116"/>
                      </a:lnTo>
                      <a:close/>
                      <a:moveTo>
                        <a:pt x="377" y="42"/>
                      </a:moveTo>
                      <a:lnTo>
                        <a:pt x="377" y="44"/>
                      </a:lnTo>
                      <a:lnTo>
                        <a:pt x="377" y="42"/>
                      </a:lnTo>
                      <a:close/>
                      <a:moveTo>
                        <a:pt x="339" y="427"/>
                      </a:moveTo>
                      <a:lnTo>
                        <a:pt x="339" y="429"/>
                      </a:lnTo>
                      <a:lnTo>
                        <a:pt x="339" y="427"/>
                      </a:lnTo>
                      <a:close/>
                      <a:moveTo>
                        <a:pt x="189" y="97"/>
                      </a:moveTo>
                      <a:lnTo>
                        <a:pt x="189" y="99"/>
                      </a:lnTo>
                      <a:lnTo>
                        <a:pt x="189" y="97"/>
                      </a:lnTo>
                      <a:close/>
                      <a:moveTo>
                        <a:pt x="376" y="107"/>
                      </a:moveTo>
                      <a:lnTo>
                        <a:pt x="377" y="107"/>
                      </a:lnTo>
                      <a:lnTo>
                        <a:pt x="376" y="107"/>
                      </a:lnTo>
                      <a:close/>
                      <a:moveTo>
                        <a:pt x="368" y="67"/>
                      </a:moveTo>
                      <a:lnTo>
                        <a:pt x="370" y="67"/>
                      </a:lnTo>
                      <a:lnTo>
                        <a:pt x="368" y="67"/>
                      </a:lnTo>
                      <a:close/>
                      <a:moveTo>
                        <a:pt x="19" y="219"/>
                      </a:moveTo>
                      <a:lnTo>
                        <a:pt x="21" y="219"/>
                      </a:lnTo>
                      <a:lnTo>
                        <a:pt x="21" y="221"/>
                      </a:lnTo>
                      <a:lnTo>
                        <a:pt x="19" y="221"/>
                      </a:lnTo>
                      <a:lnTo>
                        <a:pt x="19" y="219"/>
                      </a:lnTo>
                      <a:close/>
                      <a:moveTo>
                        <a:pt x="330" y="399"/>
                      </a:moveTo>
                      <a:lnTo>
                        <a:pt x="330" y="401"/>
                      </a:lnTo>
                      <a:lnTo>
                        <a:pt x="330" y="399"/>
                      </a:lnTo>
                      <a:close/>
                      <a:moveTo>
                        <a:pt x="187" y="101"/>
                      </a:moveTo>
                      <a:lnTo>
                        <a:pt x="187" y="103"/>
                      </a:lnTo>
                      <a:lnTo>
                        <a:pt x="187" y="101"/>
                      </a:lnTo>
                      <a:close/>
                      <a:moveTo>
                        <a:pt x="368" y="38"/>
                      </a:moveTo>
                      <a:lnTo>
                        <a:pt x="368" y="40"/>
                      </a:lnTo>
                      <a:lnTo>
                        <a:pt x="368" y="38"/>
                      </a:lnTo>
                      <a:close/>
                      <a:moveTo>
                        <a:pt x="374" y="73"/>
                      </a:moveTo>
                      <a:lnTo>
                        <a:pt x="374" y="74"/>
                      </a:lnTo>
                      <a:lnTo>
                        <a:pt x="374" y="73"/>
                      </a:lnTo>
                      <a:close/>
                      <a:moveTo>
                        <a:pt x="572" y="181"/>
                      </a:moveTo>
                      <a:lnTo>
                        <a:pt x="572" y="183"/>
                      </a:lnTo>
                      <a:lnTo>
                        <a:pt x="572" y="181"/>
                      </a:lnTo>
                      <a:close/>
                      <a:moveTo>
                        <a:pt x="179" y="426"/>
                      </a:moveTo>
                      <a:lnTo>
                        <a:pt x="179" y="427"/>
                      </a:lnTo>
                      <a:lnTo>
                        <a:pt x="179" y="426"/>
                      </a:lnTo>
                      <a:close/>
                      <a:moveTo>
                        <a:pt x="530" y="626"/>
                      </a:moveTo>
                      <a:lnTo>
                        <a:pt x="532" y="626"/>
                      </a:lnTo>
                      <a:lnTo>
                        <a:pt x="532" y="628"/>
                      </a:lnTo>
                      <a:lnTo>
                        <a:pt x="530" y="628"/>
                      </a:lnTo>
                      <a:lnTo>
                        <a:pt x="530" y="626"/>
                      </a:lnTo>
                      <a:close/>
                      <a:moveTo>
                        <a:pt x="538" y="521"/>
                      </a:moveTo>
                      <a:lnTo>
                        <a:pt x="539" y="521"/>
                      </a:lnTo>
                      <a:lnTo>
                        <a:pt x="539" y="523"/>
                      </a:lnTo>
                      <a:lnTo>
                        <a:pt x="538" y="523"/>
                      </a:lnTo>
                      <a:lnTo>
                        <a:pt x="538" y="521"/>
                      </a:lnTo>
                      <a:close/>
                      <a:moveTo>
                        <a:pt x="642" y="311"/>
                      </a:moveTo>
                      <a:lnTo>
                        <a:pt x="644" y="311"/>
                      </a:lnTo>
                      <a:lnTo>
                        <a:pt x="644" y="313"/>
                      </a:lnTo>
                      <a:lnTo>
                        <a:pt x="642" y="313"/>
                      </a:lnTo>
                      <a:lnTo>
                        <a:pt x="642" y="311"/>
                      </a:lnTo>
                      <a:close/>
                      <a:moveTo>
                        <a:pt x="541" y="614"/>
                      </a:moveTo>
                      <a:lnTo>
                        <a:pt x="543" y="614"/>
                      </a:lnTo>
                      <a:lnTo>
                        <a:pt x="543" y="616"/>
                      </a:lnTo>
                      <a:lnTo>
                        <a:pt x="541" y="616"/>
                      </a:lnTo>
                      <a:lnTo>
                        <a:pt x="541" y="614"/>
                      </a:lnTo>
                      <a:close/>
                      <a:moveTo>
                        <a:pt x="379" y="29"/>
                      </a:moveTo>
                      <a:lnTo>
                        <a:pt x="379" y="31"/>
                      </a:lnTo>
                      <a:lnTo>
                        <a:pt x="379" y="29"/>
                      </a:lnTo>
                      <a:close/>
                      <a:moveTo>
                        <a:pt x="549" y="614"/>
                      </a:moveTo>
                      <a:lnTo>
                        <a:pt x="551" y="614"/>
                      </a:lnTo>
                      <a:lnTo>
                        <a:pt x="549" y="614"/>
                      </a:lnTo>
                      <a:close/>
                      <a:moveTo>
                        <a:pt x="578" y="189"/>
                      </a:moveTo>
                      <a:lnTo>
                        <a:pt x="578" y="191"/>
                      </a:lnTo>
                      <a:lnTo>
                        <a:pt x="578" y="189"/>
                      </a:lnTo>
                      <a:close/>
                      <a:moveTo>
                        <a:pt x="17" y="334"/>
                      </a:moveTo>
                      <a:lnTo>
                        <a:pt x="17" y="336"/>
                      </a:lnTo>
                      <a:lnTo>
                        <a:pt x="17" y="334"/>
                      </a:lnTo>
                      <a:close/>
                      <a:moveTo>
                        <a:pt x="589" y="195"/>
                      </a:moveTo>
                      <a:lnTo>
                        <a:pt x="589" y="197"/>
                      </a:lnTo>
                      <a:lnTo>
                        <a:pt x="589" y="195"/>
                      </a:lnTo>
                      <a:close/>
                      <a:moveTo>
                        <a:pt x="183" y="111"/>
                      </a:moveTo>
                      <a:lnTo>
                        <a:pt x="185" y="111"/>
                      </a:lnTo>
                      <a:lnTo>
                        <a:pt x="185" y="113"/>
                      </a:lnTo>
                      <a:lnTo>
                        <a:pt x="183" y="113"/>
                      </a:lnTo>
                      <a:lnTo>
                        <a:pt x="183" y="111"/>
                      </a:lnTo>
                      <a:close/>
                      <a:moveTo>
                        <a:pt x="585" y="219"/>
                      </a:moveTo>
                      <a:lnTo>
                        <a:pt x="585" y="221"/>
                      </a:lnTo>
                      <a:lnTo>
                        <a:pt x="585" y="219"/>
                      </a:lnTo>
                      <a:close/>
                      <a:moveTo>
                        <a:pt x="538" y="521"/>
                      </a:moveTo>
                      <a:lnTo>
                        <a:pt x="538" y="523"/>
                      </a:lnTo>
                      <a:lnTo>
                        <a:pt x="538" y="521"/>
                      </a:lnTo>
                      <a:close/>
                      <a:moveTo>
                        <a:pt x="170" y="114"/>
                      </a:moveTo>
                      <a:lnTo>
                        <a:pt x="170" y="116"/>
                      </a:lnTo>
                      <a:lnTo>
                        <a:pt x="170" y="114"/>
                      </a:lnTo>
                      <a:close/>
                      <a:moveTo>
                        <a:pt x="467" y="0"/>
                      </a:moveTo>
                      <a:lnTo>
                        <a:pt x="467" y="2"/>
                      </a:lnTo>
                      <a:lnTo>
                        <a:pt x="467" y="0"/>
                      </a:lnTo>
                      <a:close/>
                      <a:moveTo>
                        <a:pt x="538" y="521"/>
                      </a:moveTo>
                      <a:lnTo>
                        <a:pt x="538" y="523"/>
                      </a:lnTo>
                      <a:lnTo>
                        <a:pt x="538" y="521"/>
                      </a:lnTo>
                      <a:close/>
                      <a:moveTo>
                        <a:pt x="637" y="275"/>
                      </a:moveTo>
                      <a:lnTo>
                        <a:pt x="637" y="277"/>
                      </a:lnTo>
                      <a:lnTo>
                        <a:pt x="637" y="275"/>
                      </a:lnTo>
                      <a:close/>
                      <a:moveTo>
                        <a:pt x="536" y="538"/>
                      </a:moveTo>
                      <a:lnTo>
                        <a:pt x="538" y="538"/>
                      </a:lnTo>
                      <a:lnTo>
                        <a:pt x="536" y="538"/>
                      </a:lnTo>
                      <a:close/>
                      <a:moveTo>
                        <a:pt x="78" y="187"/>
                      </a:moveTo>
                      <a:lnTo>
                        <a:pt x="80" y="187"/>
                      </a:lnTo>
                      <a:lnTo>
                        <a:pt x="78" y="187"/>
                      </a:lnTo>
                      <a:close/>
                      <a:moveTo>
                        <a:pt x="145" y="429"/>
                      </a:moveTo>
                      <a:lnTo>
                        <a:pt x="145" y="431"/>
                      </a:lnTo>
                      <a:lnTo>
                        <a:pt x="145" y="429"/>
                      </a:lnTo>
                      <a:close/>
                      <a:moveTo>
                        <a:pt x="194" y="92"/>
                      </a:moveTo>
                      <a:lnTo>
                        <a:pt x="196" y="92"/>
                      </a:lnTo>
                      <a:lnTo>
                        <a:pt x="196" y="94"/>
                      </a:lnTo>
                      <a:lnTo>
                        <a:pt x="194" y="94"/>
                      </a:lnTo>
                      <a:lnTo>
                        <a:pt x="194" y="92"/>
                      </a:lnTo>
                      <a:close/>
                      <a:moveTo>
                        <a:pt x="177" y="114"/>
                      </a:moveTo>
                      <a:lnTo>
                        <a:pt x="177" y="116"/>
                      </a:lnTo>
                      <a:lnTo>
                        <a:pt x="177" y="114"/>
                      </a:lnTo>
                      <a:close/>
                      <a:moveTo>
                        <a:pt x="610" y="244"/>
                      </a:moveTo>
                      <a:lnTo>
                        <a:pt x="610" y="246"/>
                      </a:lnTo>
                      <a:lnTo>
                        <a:pt x="610" y="244"/>
                      </a:lnTo>
                      <a:close/>
                      <a:moveTo>
                        <a:pt x="168" y="134"/>
                      </a:moveTo>
                      <a:lnTo>
                        <a:pt x="170" y="134"/>
                      </a:lnTo>
                      <a:lnTo>
                        <a:pt x="170" y="135"/>
                      </a:lnTo>
                      <a:lnTo>
                        <a:pt x="168" y="135"/>
                      </a:lnTo>
                      <a:lnTo>
                        <a:pt x="168" y="134"/>
                      </a:lnTo>
                      <a:close/>
                      <a:moveTo>
                        <a:pt x="595" y="218"/>
                      </a:moveTo>
                      <a:lnTo>
                        <a:pt x="595" y="219"/>
                      </a:lnTo>
                      <a:lnTo>
                        <a:pt x="595" y="218"/>
                      </a:lnTo>
                      <a:close/>
                      <a:moveTo>
                        <a:pt x="366" y="67"/>
                      </a:moveTo>
                      <a:lnTo>
                        <a:pt x="368" y="67"/>
                      </a:lnTo>
                      <a:lnTo>
                        <a:pt x="366" y="67"/>
                      </a:lnTo>
                      <a:close/>
                      <a:moveTo>
                        <a:pt x="166" y="113"/>
                      </a:moveTo>
                      <a:lnTo>
                        <a:pt x="168" y="113"/>
                      </a:lnTo>
                      <a:lnTo>
                        <a:pt x="166" y="113"/>
                      </a:lnTo>
                      <a:close/>
                      <a:moveTo>
                        <a:pt x="372" y="46"/>
                      </a:moveTo>
                      <a:lnTo>
                        <a:pt x="374" y="46"/>
                      </a:lnTo>
                      <a:lnTo>
                        <a:pt x="372" y="46"/>
                      </a:lnTo>
                      <a:close/>
                      <a:moveTo>
                        <a:pt x="166" y="113"/>
                      </a:moveTo>
                      <a:lnTo>
                        <a:pt x="166" y="114"/>
                      </a:lnTo>
                      <a:lnTo>
                        <a:pt x="166" y="113"/>
                      </a:lnTo>
                      <a:close/>
                      <a:moveTo>
                        <a:pt x="536" y="523"/>
                      </a:moveTo>
                      <a:lnTo>
                        <a:pt x="538" y="523"/>
                      </a:lnTo>
                      <a:lnTo>
                        <a:pt x="536" y="523"/>
                      </a:lnTo>
                      <a:close/>
                      <a:moveTo>
                        <a:pt x="316" y="29"/>
                      </a:moveTo>
                      <a:lnTo>
                        <a:pt x="316" y="31"/>
                      </a:lnTo>
                      <a:lnTo>
                        <a:pt x="316" y="29"/>
                      </a:lnTo>
                      <a:close/>
                      <a:moveTo>
                        <a:pt x="557" y="176"/>
                      </a:moveTo>
                      <a:lnTo>
                        <a:pt x="557" y="177"/>
                      </a:lnTo>
                      <a:lnTo>
                        <a:pt x="557" y="176"/>
                      </a:lnTo>
                      <a:close/>
                      <a:moveTo>
                        <a:pt x="15" y="282"/>
                      </a:moveTo>
                      <a:lnTo>
                        <a:pt x="15" y="284"/>
                      </a:lnTo>
                      <a:lnTo>
                        <a:pt x="15" y="282"/>
                      </a:lnTo>
                      <a:close/>
                      <a:moveTo>
                        <a:pt x="583" y="214"/>
                      </a:moveTo>
                      <a:lnTo>
                        <a:pt x="583" y="216"/>
                      </a:lnTo>
                      <a:lnTo>
                        <a:pt x="583" y="214"/>
                      </a:lnTo>
                      <a:close/>
                      <a:moveTo>
                        <a:pt x="534" y="626"/>
                      </a:moveTo>
                      <a:lnTo>
                        <a:pt x="536" y="626"/>
                      </a:lnTo>
                      <a:lnTo>
                        <a:pt x="534" y="626"/>
                      </a:lnTo>
                      <a:close/>
                      <a:moveTo>
                        <a:pt x="570" y="185"/>
                      </a:moveTo>
                      <a:lnTo>
                        <a:pt x="570" y="187"/>
                      </a:lnTo>
                      <a:lnTo>
                        <a:pt x="570" y="185"/>
                      </a:lnTo>
                      <a:close/>
                      <a:moveTo>
                        <a:pt x="368" y="48"/>
                      </a:moveTo>
                      <a:lnTo>
                        <a:pt x="368" y="50"/>
                      </a:lnTo>
                      <a:lnTo>
                        <a:pt x="368" y="48"/>
                      </a:lnTo>
                      <a:close/>
                      <a:moveTo>
                        <a:pt x="13" y="282"/>
                      </a:moveTo>
                      <a:lnTo>
                        <a:pt x="13" y="284"/>
                      </a:lnTo>
                      <a:lnTo>
                        <a:pt x="13" y="282"/>
                      </a:lnTo>
                      <a:close/>
                      <a:moveTo>
                        <a:pt x="486" y="53"/>
                      </a:moveTo>
                      <a:lnTo>
                        <a:pt x="486" y="55"/>
                      </a:lnTo>
                      <a:lnTo>
                        <a:pt x="486" y="53"/>
                      </a:lnTo>
                      <a:close/>
                      <a:moveTo>
                        <a:pt x="168" y="118"/>
                      </a:moveTo>
                      <a:lnTo>
                        <a:pt x="170" y="118"/>
                      </a:lnTo>
                      <a:lnTo>
                        <a:pt x="168" y="118"/>
                      </a:lnTo>
                      <a:close/>
                      <a:moveTo>
                        <a:pt x="173" y="113"/>
                      </a:moveTo>
                      <a:lnTo>
                        <a:pt x="173" y="114"/>
                      </a:lnTo>
                      <a:lnTo>
                        <a:pt x="173" y="113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alpha val="4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3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33" name="Freeform 144">
                  <a:extLst>
                    <a:ext uri="{FF2B5EF4-FFF2-40B4-BE49-F238E27FC236}">
                      <a16:creationId xmlns:a16="http://schemas.microsoft.com/office/drawing/2014/main" id="{22CA1AA8-C1C9-032D-EC9A-1B6388CF12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81277" y="2101850"/>
                  <a:ext cx="304089" cy="618787"/>
                </a:xfrm>
                <a:custGeom>
                  <a:avLst/>
                  <a:gdLst>
                    <a:gd name="T0" fmla="*/ 162 w 193"/>
                    <a:gd name="T1" fmla="*/ 205 h 392"/>
                    <a:gd name="T2" fmla="*/ 180 w 193"/>
                    <a:gd name="T3" fmla="*/ 271 h 392"/>
                    <a:gd name="T4" fmla="*/ 147 w 193"/>
                    <a:gd name="T5" fmla="*/ 352 h 392"/>
                    <a:gd name="T6" fmla="*/ 117 w 193"/>
                    <a:gd name="T7" fmla="*/ 371 h 392"/>
                    <a:gd name="T8" fmla="*/ 103 w 193"/>
                    <a:gd name="T9" fmla="*/ 376 h 392"/>
                    <a:gd name="T10" fmla="*/ 96 w 193"/>
                    <a:gd name="T11" fmla="*/ 376 h 392"/>
                    <a:gd name="T12" fmla="*/ 82 w 193"/>
                    <a:gd name="T13" fmla="*/ 382 h 392"/>
                    <a:gd name="T14" fmla="*/ 73 w 193"/>
                    <a:gd name="T15" fmla="*/ 386 h 392"/>
                    <a:gd name="T16" fmla="*/ 54 w 193"/>
                    <a:gd name="T17" fmla="*/ 392 h 392"/>
                    <a:gd name="T18" fmla="*/ 58 w 193"/>
                    <a:gd name="T19" fmla="*/ 384 h 392"/>
                    <a:gd name="T20" fmla="*/ 44 w 193"/>
                    <a:gd name="T21" fmla="*/ 371 h 392"/>
                    <a:gd name="T22" fmla="*/ 29 w 193"/>
                    <a:gd name="T23" fmla="*/ 359 h 392"/>
                    <a:gd name="T24" fmla="*/ 33 w 193"/>
                    <a:gd name="T25" fmla="*/ 348 h 392"/>
                    <a:gd name="T26" fmla="*/ 33 w 193"/>
                    <a:gd name="T27" fmla="*/ 329 h 392"/>
                    <a:gd name="T28" fmla="*/ 31 w 193"/>
                    <a:gd name="T29" fmla="*/ 310 h 392"/>
                    <a:gd name="T30" fmla="*/ 29 w 193"/>
                    <a:gd name="T31" fmla="*/ 291 h 392"/>
                    <a:gd name="T32" fmla="*/ 33 w 193"/>
                    <a:gd name="T33" fmla="*/ 275 h 392"/>
                    <a:gd name="T34" fmla="*/ 46 w 193"/>
                    <a:gd name="T35" fmla="*/ 270 h 392"/>
                    <a:gd name="T36" fmla="*/ 54 w 193"/>
                    <a:gd name="T37" fmla="*/ 256 h 392"/>
                    <a:gd name="T38" fmla="*/ 65 w 193"/>
                    <a:gd name="T39" fmla="*/ 249 h 392"/>
                    <a:gd name="T40" fmla="*/ 79 w 193"/>
                    <a:gd name="T41" fmla="*/ 224 h 392"/>
                    <a:gd name="T42" fmla="*/ 92 w 193"/>
                    <a:gd name="T43" fmla="*/ 203 h 392"/>
                    <a:gd name="T44" fmla="*/ 82 w 193"/>
                    <a:gd name="T45" fmla="*/ 182 h 392"/>
                    <a:gd name="T46" fmla="*/ 67 w 193"/>
                    <a:gd name="T47" fmla="*/ 119 h 392"/>
                    <a:gd name="T48" fmla="*/ 40 w 193"/>
                    <a:gd name="T49" fmla="*/ 73 h 392"/>
                    <a:gd name="T50" fmla="*/ 58 w 193"/>
                    <a:gd name="T51" fmla="*/ 63 h 392"/>
                    <a:gd name="T52" fmla="*/ 103 w 193"/>
                    <a:gd name="T53" fmla="*/ 21 h 392"/>
                    <a:gd name="T54" fmla="*/ 149 w 193"/>
                    <a:gd name="T55" fmla="*/ 41 h 392"/>
                    <a:gd name="T56" fmla="*/ 10 w 193"/>
                    <a:gd name="T57" fmla="*/ 384 h 392"/>
                    <a:gd name="T58" fmla="*/ 8 w 193"/>
                    <a:gd name="T59" fmla="*/ 374 h 392"/>
                    <a:gd name="T60" fmla="*/ 48 w 193"/>
                    <a:gd name="T61" fmla="*/ 384 h 392"/>
                    <a:gd name="T62" fmla="*/ 25 w 193"/>
                    <a:gd name="T63" fmla="*/ 275 h 392"/>
                    <a:gd name="T64" fmla="*/ 40 w 193"/>
                    <a:gd name="T65" fmla="*/ 374 h 392"/>
                    <a:gd name="T66" fmla="*/ 27 w 193"/>
                    <a:gd name="T67" fmla="*/ 365 h 392"/>
                    <a:gd name="T68" fmla="*/ 2 w 193"/>
                    <a:gd name="T69" fmla="*/ 380 h 392"/>
                    <a:gd name="T70" fmla="*/ 37 w 193"/>
                    <a:gd name="T71" fmla="*/ 380 h 392"/>
                    <a:gd name="T72" fmla="*/ 46 w 193"/>
                    <a:gd name="T73" fmla="*/ 376 h 392"/>
                    <a:gd name="T74" fmla="*/ 12 w 193"/>
                    <a:gd name="T75" fmla="*/ 380 h 392"/>
                    <a:gd name="T76" fmla="*/ 29 w 193"/>
                    <a:gd name="T77" fmla="*/ 367 h 392"/>
                    <a:gd name="T78" fmla="*/ 105 w 193"/>
                    <a:gd name="T79" fmla="*/ 376 h 392"/>
                    <a:gd name="T80" fmla="*/ 29 w 193"/>
                    <a:gd name="T81" fmla="*/ 291 h 392"/>
                    <a:gd name="T82" fmla="*/ 65 w 193"/>
                    <a:gd name="T83" fmla="*/ 388 h 392"/>
                    <a:gd name="T84" fmla="*/ 117 w 193"/>
                    <a:gd name="T85" fmla="*/ 371 h 392"/>
                    <a:gd name="T86" fmla="*/ 39 w 193"/>
                    <a:gd name="T87" fmla="*/ 374 h 392"/>
                    <a:gd name="T88" fmla="*/ 18 w 193"/>
                    <a:gd name="T89" fmla="*/ 382 h 392"/>
                    <a:gd name="T90" fmla="*/ 31 w 193"/>
                    <a:gd name="T91" fmla="*/ 348 h 392"/>
                    <a:gd name="T92" fmla="*/ 56 w 193"/>
                    <a:gd name="T93" fmla="*/ 384 h 392"/>
                    <a:gd name="T94" fmla="*/ 25 w 193"/>
                    <a:gd name="T95" fmla="*/ 294 h 392"/>
                    <a:gd name="T96" fmla="*/ 67 w 193"/>
                    <a:gd name="T97" fmla="*/ 243 h 392"/>
                    <a:gd name="T98" fmla="*/ 25 w 193"/>
                    <a:gd name="T99" fmla="*/ 374 h 392"/>
                    <a:gd name="T100" fmla="*/ 46 w 193"/>
                    <a:gd name="T101" fmla="*/ 386 h 392"/>
                    <a:gd name="T102" fmla="*/ 35 w 193"/>
                    <a:gd name="T103" fmla="*/ 270 h 392"/>
                    <a:gd name="T104" fmla="*/ 27 w 193"/>
                    <a:gd name="T105" fmla="*/ 306 h 392"/>
                    <a:gd name="T106" fmla="*/ 39 w 193"/>
                    <a:gd name="T107" fmla="*/ 275 h 392"/>
                    <a:gd name="T108" fmla="*/ 37 w 193"/>
                    <a:gd name="T109" fmla="*/ 374 h 392"/>
                    <a:gd name="T110" fmla="*/ 31 w 193"/>
                    <a:gd name="T111" fmla="*/ 281 h 392"/>
                    <a:gd name="T112" fmla="*/ 39 w 193"/>
                    <a:gd name="T113" fmla="*/ 380 h 392"/>
                    <a:gd name="T114" fmla="*/ 10 w 193"/>
                    <a:gd name="T115" fmla="*/ 371 h 392"/>
                    <a:gd name="T116" fmla="*/ 31 w 193"/>
                    <a:gd name="T117" fmla="*/ 340 h 392"/>
                    <a:gd name="T118" fmla="*/ 27 w 193"/>
                    <a:gd name="T119" fmla="*/ 310 h 392"/>
                    <a:gd name="T120" fmla="*/ 71 w 193"/>
                    <a:gd name="T121" fmla="*/ 386 h 392"/>
                    <a:gd name="T122" fmla="*/ 44 w 193"/>
                    <a:gd name="T123" fmla="*/ 275 h 3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93" h="392">
                      <a:moveTo>
                        <a:pt x="151" y="48"/>
                      </a:moveTo>
                      <a:lnTo>
                        <a:pt x="143" y="54"/>
                      </a:lnTo>
                      <a:lnTo>
                        <a:pt x="147" y="54"/>
                      </a:lnTo>
                      <a:lnTo>
                        <a:pt x="149" y="56"/>
                      </a:lnTo>
                      <a:lnTo>
                        <a:pt x="147" y="62"/>
                      </a:lnTo>
                      <a:lnTo>
                        <a:pt x="143" y="69"/>
                      </a:lnTo>
                      <a:lnTo>
                        <a:pt x="145" y="84"/>
                      </a:lnTo>
                      <a:lnTo>
                        <a:pt x="157" y="90"/>
                      </a:lnTo>
                      <a:lnTo>
                        <a:pt x="162" y="102"/>
                      </a:lnTo>
                      <a:lnTo>
                        <a:pt x="168" y="107"/>
                      </a:lnTo>
                      <a:lnTo>
                        <a:pt x="166" y="113"/>
                      </a:lnTo>
                      <a:lnTo>
                        <a:pt x="162" y="121"/>
                      </a:lnTo>
                      <a:lnTo>
                        <a:pt x="161" y="123"/>
                      </a:lnTo>
                      <a:lnTo>
                        <a:pt x="153" y="134"/>
                      </a:lnTo>
                      <a:lnTo>
                        <a:pt x="153" y="138"/>
                      </a:lnTo>
                      <a:lnTo>
                        <a:pt x="153" y="144"/>
                      </a:lnTo>
                      <a:lnTo>
                        <a:pt x="157" y="149"/>
                      </a:lnTo>
                      <a:lnTo>
                        <a:pt x="161" y="153"/>
                      </a:lnTo>
                      <a:lnTo>
                        <a:pt x="162" y="165"/>
                      </a:lnTo>
                      <a:lnTo>
                        <a:pt x="166" y="170"/>
                      </a:lnTo>
                      <a:lnTo>
                        <a:pt x="168" y="178"/>
                      </a:lnTo>
                      <a:lnTo>
                        <a:pt x="170" y="186"/>
                      </a:lnTo>
                      <a:lnTo>
                        <a:pt x="170" y="187"/>
                      </a:lnTo>
                      <a:lnTo>
                        <a:pt x="168" y="186"/>
                      </a:lnTo>
                      <a:lnTo>
                        <a:pt x="162" y="189"/>
                      </a:lnTo>
                      <a:lnTo>
                        <a:pt x="166" y="191"/>
                      </a:lnTo>
                      <a:lnTo>
                        <a:pt x="162" y="195"/>
                      </a:lnTo>
                      <a:lnTo>
                        <a:pt x="164" y="199"/>
                      </a:lnTo>
                      <a:lnTo>
                        <a:pt x="161" y="203"/>
                      </a:lnTo>
                      <a:lnTo>
                        <a:pt x="162" y="205"/>
                      </a:lnTo>
                      <a:lnTo>
                        <a:pt x="164" y="205"/>
                      </a:lnTo>
                      <a:lnTo>
                        <a:pt x="166" y="205"/>
                      </a:lnTo>
                      <a:lnTo>
                        <a:pt x="164" y="207"/>
                      </a:lnTo>
                      <a:lnTo>
                        <a:pt x="166" y="208"/>
                      </a:lnTo>
                      <a:lnTo>
                        <a:pt x="162" y="210"/>
                      </a:lnTo>
                      <a:lnTo>
                        <a:pt x="161" y="216"/>
                      </a:lnTo>
                      <a:lnTo>
                        <a:pt x="162" y="218"/>
                      </a:lnTo>
                      <a:lnTo>
                        <a:pt x="162" y="220"/>
                      </a:lnTo>
                      <a:lnTo>
                        <a:pt x="164" y="220"/>
                      </a:lnTo>
                      <a:lnTo>
                        <a:pt x="168" y="220"/>
                      </a:lnTo>
                      <a:lnTo>
                        <a:pt x="168" y="222"/>
                      </a:lnTo>
                      <a:lnTo>
                        <a:pt x="170" y="228"/>
                      </a:lnTo>
                      <a:lnTo>
                        <a:pt x="168" y="228"/>
                      </a:lnTo>
                      <a:lnTo>
                        <a:pt x="168" y="229"/>
                      </a:lnTo>
                      <a:lnTo>
                        <a:pt x="168" y="233"/>
                      </a:lnTo>
                      <a:lnTo>
                        <a:pt x="168" y="235"/>
                      </a:lnTo>
                      <a:lnTo>
                        <a:pt x="170" y="237"/>
                      </a:lnTo>
                      <a:lnTo>
                        <a:pt x="174" y="239"/>
                      </a:lnTo>
                      <a:lnTo>
                        <a:pt x="174" y="241"/>
                      </a:lnTo>
                      <a:lnTo>
                        <a:pt x="176" y="241"/>
                      </a:lnTo>
                      <a:lnTo>
                        <a:pt x="176" y="243"/>
                      </a:lnTo>
                      <a:lnTo>
                        <a:pt x="176" y="245"/>
                      </a:lnTo>
                      <a:lnTo>
                        <a:pt x="176" y="249"/>
                      </a:lnTo>
                      <a:lnTo>
                        <a:pt x="172" y="252"/>
                      </a:lnTo>
                      <a:lnTo>
                        <a:pt x="172" y="256"/>
                      </a:lnTo>
                      <a:lnTo>
                        <a:pt x="166" y="258"/>
                      </a:lnTo>
                      <a:lnTo>
                        <a:pt x="172" y="266"/>
                      </a:lnTo>
                      <a:lnTo>
                        <a:pt x="174" y="266"/>
                      </a:lnTo>
                      <a:lnTo>
                        <a:pt x="176" y="270"/>
                      </a:lnTo>
                      <a:lnTo>
                        <a:pt x="180" y="271"/>
                      </a:lnTo>
                      <a:lnTo>
                        <a:pt x="182" y="273"/>
                      </a:lnTo>
                      <a:lnTo>
                        <a:pt x="183" y="275"/>
                      </a:lnTo>
                      <a:lnTo>
                        <a:pt x="187" y="277"/>
                      </a:lnTo>
                      <a:lnTo>
                        <a:pt x="187" y="281"/>
                      </a:lnTo>
                      <a:lnTo>
                        <a:pt x="191" y="285"/>
                      </a:lnTo>
                      <a:lnTo>
                        <a:pt x="193" y="289"/>
                      </a:lnTo>
                      <a:lnTo>
                        <a:pt x="191" y="292"/>
                      </a:lnTo>
                      <a:lnTo>
                        <a:pt x="189" y="298"/>
                      </a:lnTo>
                      <a:lnTo>
                        <a:pt x="187" y="304"/>
                      </a:lnTo>
                      <a:lnTo>
                        <a:pt x="185" y="304"/>
                      </a:lnTo>
                      <a:lnTo>
                        <a:pt x="183" y="310"/>
                      </a:lnTo>
                      <a:lnTo>
                        <a:pt x="182" y="310"/>
                      </a:lnTo>
                      <a:lnTo>
                        <a:pt x="180" y="312"/>
                      </a:lnTo>
                      <a:lnTo>
                        <a:pt x="180" y="313"/>
                      </a:lnTo>
                      <a:lnTo>
                        <a:pt x="178" y="313"/>
                      </a:lnTo>
                      <a:lnTo>
                        <a:pt x="178" y="315"/>
                      </a:lnTo>
                      <a:lnTo>
                        <a:pt x="174" y="319"/>
                      </a:lnTo>
                      <a:lnTo>
                        <a:pt x="172" y="321"/>
                      </a:lnTo>
                      <a:lnTo>
                        <a:pt x="172" y="323"/>
                      </a:lnTo>
                      <a:lnTo>
                        <a:pt x="168" y="327"/>
                      </a:lnTo>
                      <a:lnTo>
                        <a:pt x="168" y="329"/>
                      </a:lnTo>
                      <a:lnTo>
                        <a:pt x="164" y="333"/>
                      </a:lnTo>
                      <a:lnTo>
                        <a:pt x="164" y="334"/>
                      </a:lnTo>
                      <a:lnTo>
                        <a:pt x="161" y="336"/>
                      </a:lnTo>
                      <a:lnTo>
                        <a:pt x="161" y="338"/>
                      </a:lnTo>
                      <a:lnTo>
                        <a:pt x="157" y="342"/>
                      </a:lnTo>
                      <a:lnTo>
                        <a:pt x="155" y="344"/>
                      </a:lnTo>
                      <a:lnTo>
                        <a:pt x="151" y="348"/>
                      </a:lnTo>
                      <a:lnTo>
                        <a:pt x="149" y="350"/>
                      </a:lnTo>
                      <a:lnTo>
                        <a:pt x="147" y="352"/>
                      </a:lnTo>
                      <a:lnTo>
                        <a:pt x="147" y="355"/>
                      </a:lnTo>
                      <a:lnTo>
                        <a:pt x="143" y="355"/>
                      </a:lnTo>
                      <a:lnTo>
                        <a:pt x="141" y="357"/>
                      </a:lnTo>
                      <a:lnTo>
                        <a:pt x="140" y="361"/>
                      </a:lnTo>
                      <a:lnTo>
                        <a:pt x="138" y="361"/>
                      </a:lnTo>
                      <a:lnTo>
                        <a:pt x="134" y="367"/>
                      </a:lnTo>
                      <a:lnTo>
                        <a:pt x="132" y="369"/>
                      </a:lnTo>
                      <a:lnTo>
                        <a:pt x="132" y="367"/>
                      </a:lnTo>
                      <a:lnTo>
                        <a:pt x="132" y="369"/>
                      </a:lnTo>
                      <a:lnTo>
                        <a:pt x="132" y="371"/>
                      </a:lnTo>
                      <a:lnTo>
                        <a:pt x="130" y="371"/>
                      </a:lnTo>
                      <a:lnTo>
                        <a:pt x="130" y="369"/>
                      </a:lnTo>
                      <a:lnTo>
                        <a:pt x="128" y="369"/>
                      </a:lnTo>
                      <a:lnTo>
                        <a:pt x="130" y="371"/>
                      </a:lnTo>
                      <a:lnTo>
                        <a:pt x="128" y="371"/>
                      </a:lnTo>
                      <a:lnTo>
                        <a:pt x="128" y="369"/>
                      </a:lnTo>
                      <a:lnTo>
                        <a:pt x="126" y="371"/>
                      </a:lnTo>
                      <a:lnTo>
                        <a:pt x="128" y="371"/>
                      </a:lnTo>
                      <a:lnTo>
                        <a:pt x="126" y="371"/>
                      </a:lnTo>
                      <a:lnTo>
                        <a:pt x="126" y="369"/>
                      </a:lnTo>
                      <a:lnTo>
                        <a:pt x="124" y="369"/>
                      </a:lnTo>
                      <a:lnTo>
                        <a:pt x="122" y="369"/>
                      </a:lnTo>
                      <a:lnTo>
                        <a:pt x="122" y="367"/>
                      </a:lnTo>
                      <a:lnTo>
                        <a:pt x="122" y="369"/>
                      </a:lnTo>
                      <a:lnTo>
                        <a:pt x="121" y="369"/>
                      </a:lnTo>
                      <a:lnTo>
                        <a:pt x="119" y="369"/>
                      </a:lnTo>
                      <a:lnTo>
                        <a:pt x="121" y="371"/>
                      </a:lnTo>
                      <a:lnTo>
                        <a:pt x="119" y="369"/>
                      </a:lnTo>
                      <a:lnTo>
                        <a:pt x="119" y="371"/>
                      </a:lnTo>
                      <a:lnTo>
                        <a:pt x="117" y="371"/>
                      </a:lnTo>
                      <a:lnTo>
                        <a:pt x="115" y="373"/>
                      </a:lnTo>
                      <a:lnTo>
                        <a:pt x="115" y="371"/>
                      </a:lnTo>
                      <a:lnTo>
                        <a:pt x="113" y="371"/>
                      </a:lnTo>
                      <a:lnTo>
                        <a:pt x="113" y="373"/>
                      </a:lnTo>
                      <a:lnTo>
                        <a:pt x="113" y="371"/>
                      </a:lnTo>
                      <a:lnTo>
                        <a:pt x="111" y="371"/>
                      </a:lnTo>
                      <a:lnTo>
                        <a:pt x="111" y="373"/>
                      </a:lnTo>
                      <a:lnTo>
                        <a:pt x="111" y="374"/>
                      </a:lnTo>
                      <a:lnTo>
                        <a:pt x="113" y="374"/>
                      </a:lnTo>
                      <a:lnTo>
                        <a:pt x="111" y="374"/>
                      </a:lnTo>
                      <a:lnTo>
                        <a:pt x="111" y="373"/>
                      </a:lnTo>
                      <a:lnTo>
                        <a:pt x="111" y="374"/>
                      </a:lnTo>
                      <a:lnTo>
                        <a:pt x="111" y="373"/>
                      </a:lnTo>
                      <a:lnTo>
                        <a:pt x="109" y="373"/>
                      </a:lnTo>
                      <a:lnTo>
                        <a:pt x="109" y="374"/>
                      </a:lnTo>
                      <a:lnTo>
                        <a:pt x="109" y="373"/>
                      </a:lnTo>
                      <a:lnTo>
                        <a:pt x="107" y="371"/>
                      </a:lnTo>
                      <a:lnTo>
                        <a:pt x="107" y="373"/>
                      </a:lnTo>
                      <a:lnTo>
                        <a:pt x="109" y="373"/>
                      </a:lnTo>
                      <a:lnTo>
                        <a:pt x="107" y="373"/>
                      </a:lnTo>
                      <a:lnTo>
                        <a:pt x="107" y="374"/>
                      </a:lnTo>
                      <a:lnTo>
                        <a:pt x="107" y="373"/>
                      </a:lnTo>
                      <a:lnTo>
                        <a:pt x="105" y="373"/>
                      </a:lnTo>
                      <a:lnTo>
                        <a:pt x="103" y="371"/>
                      </a:lnTo>
                      <a:lnTo>
                        <a:pt x="103" y="373"/>
                      </a:lnTo>
                      <a:lnTo>
                        <a:pt x="105" y="373"/>
                      </a:lnTo>
                      <a:lnTo>
                        <a:pt x="103" y="373"/>
                      </a:lnTo>
                      <a:lnTo>
                        <a:pt x="105" y="374"/>
                      </a:lnTo>
                      <a:lnTo>
                        <a:pt x="105" y="376"/>
                      </a:lnTo>
                      <a:lnTo>
                        <a:pt x="103" y="376"/>
                      </a:lnTo>
                      <a:lnTo>
                        <a:pt x="105" y="376"/>
                      </a:lnTo>
                      <a:lnTo>
                        <a:pt x="103" y="374"/>
                      </a:lnTo>
                      <a:lnTo>
                        <a:pt x="101" y="373"/>
                      </a:lnTo>
                      <a:lnTo>
                        <a:pt x="103" y="374"/>
                      </a:lnTo>
                      <a:lnTo>
                        <a:pt x="101" y="374"/>
                      </a:lnTo>
                      <a:lnTo>
                        <a:pt x="101" y="376"/>
                      </a:lnTo>
                      <a:lnTo>
                        <a:pt x="103" y="376"/>
                      </a:lnTo>
                      <a:lnTo>
                        <a:pt x="101" y="376"/>
                      </a:lnTo>
                      <a:lnTo>
                        <a:pt x="103" y="378"/>
                      </a:lnTo>
                      <a:lnTo>
                        <a:pt x="101" y="378"/>
                      </a:lnTo>
                      <a:lnTo>
                        <a:pt x="101" y="376"/>
                      </a:lnTo>
                      <a:lnTo>
                        <a:pt x="100" y="374"/>
                      </a:lnTo>
                      <a:lnTo>
                        <a:pt x="101" y="376"/>
                      </a:lnTo>
                      <a:lnTo>
                        <a:pt x="101" y="378"/>
                      </a:lnTo>
                      <a:lnTo>
                        <a:pt x="100" y="378"/>
                      </a:lnTo>
                      <a:lnTo>
                        <a:pt x="100" y="376"/>
                      </a:lnTo>
                      <a:lnTo>
                        <a:pt x="98" y="374"/>
                      </a:lnTo>
                      <a:lnTo>
                        <a:pt x="100" y="374"/>
                      </a:lnTo>
                      <a:lnTo>
                        <a:pt x="98" y="374"/>
                      </a:lnTo>
                      <a:lnTo>
                        <a:pt x="100" y="374"/>
                      </a:lnTo>
                      <a:lnTo>
                        <a:pt x="98" y="374"/>
                      </a:lnTo>
                      <a:lnTo>
                        <a:pt x="98" y="376"/>
                      </a:lnTo>
                      <a:lnTo>
                        <a:pt x="98" y="374"/>
                      </a:lnTo>
                      <a:lnTo>
                        <a:pt x="96" y="374"/>
                      </a:lnTo>
                      <a:lnTo>
                        <a:pt x="98" y="376"/>
                      </a:lnTo>
                      <a:lnTo>
                        <a:pt x="96" y="376"/>
                      </a:lnTo>
                      <a:lnTo>
                        <a:pt x="96" y="378"/>
                      </a:lnTo>
                      <a:lnTo>
                        <a:pt x="94" y="378"/>
                      </a:lnTo>
                      <a:lnTo>
                        <a:pt x="96" y="378"/>
                      </a:lnTo>
                      <a:lnTo>
                        <a:pt x="96" y="376"/>
                      </a:lnTo>
                      <a:lnTo>
                        <a:pt x="94" y="378"/>
                      </a:lnTo>
                      <a:lnTo>
                        <a:pt x="94" y="376"/>
                      </a:lnTo>
                      <a:lnTo>
                        <a:pt x="94" y="378"/>
                      </a:lnTo>
                      <a:lnTo>
                        <a:pt x="94" y="376"/>
                      </a:lnTo>
                      <a:lnTo>
                        <a:pt x="92" y="378"/>
                      </a:lnTo>
                      <a:lnTo>
                        <a:pt x="90" y="378"/>
                      </a:lnTo>
                      <a:lnTo>
                        <a:pt x="92" y="378"/>
                      </a:lnTo>
                      <a:lnTo>
                        <a:pt x="90" y="380"/>
                      </a:lnTo>
                      <a:lnTo>
                        <a:pt x="90" y="378"/>
                      </a:lnTo>
                      <a:lnTo>
                        <a:pt x="90" y="380"/>
                      </a:lnTo>
                      <a:lnTo>
                        <a:pt x="88" y="380"/>
                      </a:lnTo>
                      <a:lnTo>
                        <a:pt x="90" y="380"/>
                      </a:lnTo>
                      <a:lnTo>
                        <a:pt x="88" y="380"/>
                      </a:lnTo>
                      <a:lnTo>
                        <a:pt x="88" y="378"/>
                      </a:lnTo>
                      <a:lnTo>
                        <a:pt x="88" y="380"/>
                      </a:lnTo>
                      <a:lnTo>
                        <a:pt x="86" y="380"/>
                      </a:lnTo>
                      <a:lnTo>
                        <a:pt x="88" y="380"/>
                      </a:lnTo>
                      <a:lnTo>
                        <a:pt x="86" y="380"/>
                      </a:lnTo>
                      <a:lnTo>
                        <a:pt x="86" y="378"/>
                      </a:lnTo>
                      <a:lnTo>
                        <a:pt x="86" y="380"/>
                      </a:lnTo>
                      <a:lnTo>
                        <a:pt x="86" y="378"/>
                      </a:lnTo>
                      <a:lnTo>
                        <a:pt x="86" y="380"/>
                      </a:lnTo>
                      <a:lnTo>
                        <a:pt x="84" y="380"/>
                      </a:lnTo>
                      <a:lnTo>
                        <a:pt x="82" y="382"/>
                      </a:lnTo>
                      <a:lnTo>
                        <a:pt x="84" y="382"/>
                      </a:lnTo>
                      <a:lnTo>
                        <a:pt x="82" y="382"/>
                      </a:lnTo>
                      <a:lnTo>
                        <a:pt x="84" y="382"/>
                      </a:lnTo>
                      <a:lnTo>
                        <a:pt x="82" y="382"/>
                      </a:lnTo>
                      <a:lnTo>
                        <a:pt x="84" y="382"/>
                      </a:lnTo>
                      <a:lnTo>
                        <a:pt x="82" y="382"/>
                      </a:lnTo>
                      <a:lnTo>
                        <a:pt x="80" y="380"/>
                      </a:lnTo>
                      <a:lnTo>
                        <a:pt x="82" y="380"/>
                      </a:lnTo>
                      <a:lnTo>
                        <a:pt x="82" y="382"/>
                      </a:lnTo>
                      <a:lnTo>
                        <a:pt x="80" y="382"/>
                      </a:lnTo>
                      <a:lnTo>
                        <a:pt x="82" y="382"/>
                      </a:lnTo>
                      <a:lnTo>
                        <a:pt x="80" y="384"/>
                      </a:lnTo>
                      <a:lnTo>
                        <a:pt x="80" y="386"/>
                      </a:lnTo>
                      <a:lnTo>
                        <a:pt x="79" y="386"/>
                      </a:lnTo>
                      <a:lnTo>
                        <a:pt x="79" y="388"/>
                      </a:lnTo>
                      <a:lnTo>
                        <a:pt x="79" y="386"/>
                      </a:lnTo>
                      <a:lnTo>
                        <a:pt x="80" y="384"/>
                      </a:lnTo>
                      <a:lnTo>
                        <a:pt x="79" y="384"/>
                      </a:lnTo>
                      <a:lnTo>
                        <a:pt x="80" y="384"/>
                      </a:lnTo>
                      <a:lnTo>
                        <a:pt x="79" y="384"/>
                      </a:lnTo>
                      <a:lnTo>
                        <a:pt x="79" y="386"/>
                      </a:lnTo>
                      <a:lnTo>
                        <a:pt x="79" y="384"/>
                      </a:lnTo>
                      <a:lnTo>
                        <a:pt x="79" y="386"/>
                      </a:lnTo>
                      <a:lnTo>
                        <a:pt x="79" y="384"/>
                      </a:lnTo>
                      <a:lnTo>
                        <a:pt x="79" y="386"/>
                      </a:lnTo>
                      <a:lnTo>
                        <a:pt x="77" y="386"/>
                      </a:lnTo>
                      <a:lnTo>
                        <a:pt x="79" y="382"/>
                      </a:lnTo>
                      <a:lnTo>
                        <a:pt x="77" y="382"/>
                      </a:lnTo>
                      <a:lnTo>
                        <a:pt x="77" y="384"/>
                      </a:lnTo>
                      <a:lnTo>
                        <a:pt x="77" y="382"/>
                      </a:lnTo>
                      <a:lnTo>
                        <a:pt x="77" y="384"/>
                      </a:lnTo>
                      <a:lnTo>
                        <a:pt x="75" y="384"/>
                      </a:lnTo>
                      <a:lnTo>
                        <a:pt x="73" y="384"/>
                      </a:lnTo>
                      <a:lnTo>
                        <a:pt x="73" y="386"/>
                      </a:lnTo>
                      <a:lnTo>
                        <a:pt x="73" y="384"/>
                      </a:lnTo>
                      <a:lnTo>
                        <a:pt x="73" y="386"/>
                      </a:lnTo>
                      <a:lnTo>
                        <a:pt x="73" y="384"/>
                      </a:lnTo>
                      <a:lnTo>
                        <a:pt x="71" y="386"/>
                      </a:lnTo>
                      <a:lnTo>
                        <a:pt x="69" y="386"/>
                      </a:lnTo>
                      <a:lnTo>
                        <a:pt x="71" y="386"/>
                      </a:lnTo>
                      <a:lnTo>
                        <a:pt x="69" y="386"/>
                      </a:lnTo>
                      <a:lnTo>
                        <a:pt x="69" y="388"/>
                      </a:lnTo>
                      <a:lnTo>
                        <a:pt x="67" y="386"/>
                      </a:lnTo>
                      <a:lnTo>
                        <a:pt x="67" y="388"/>
                      </a:lnTo>
                      <a:lnTo>
                        <a:pt x="67" y="386"/>
                      </a:lnTo>
                      <a:lnTo>
                        <a:pt x="67" y="388"/>
                      </a:lnTo>
                      <a:lnTo>
                        <a:pt x="69" y="388"/>
                      </a:lnTo>
                      <a:lnTo>
                        <a:pt x="67" y="388"/>
                      </a:lnTo>
                      <a:lnTo>
                        <a:pt x="65" y="388"/>
                      </a:lnTo>
                      <a:lnTo>
                        <a:pt x="61" y="388"/>
                      </a:lnTo>
                      <a:lnTo>
                        <a:pt x="63" y="388"/>
                      </a:lnTo>
                      <a:lnTo>
                        <a:pt x="65" y="386"/>
                      </a:lnTo>
                      <a:lnTo>
                        <a:pt x="63" y="386"/>
                      </a:lnTo>
                      <a:lnTo>
                        <a:pt x="63" y="388"/>
                      </a:lnTo>
                      <a:lnTo>
                        <a:pt x="63" y="386"/>
                      </a:lnTo>
                      <a:lnTo>
                        <a:pt x="63" y="384"/>
                      </a:lnTo>
                      <a:lnTo>
                        <a:pt x="65" y="384"/>
                      </a:lnTo>
                      <a:lnTo>
                        <a:pt x="65" y="382"/>
                      </a:lnTo>
                      <a:lnTo>
                        <a:pt x="63" y="384"/>
                      </a:lnTo>
                      <a:lnTo>
                        <a:pt x="63" y="386"/>
                      </a:lnTo>
                      <a:lnTo>
                        <a:pt x="61" y="388"/>
                      </a:lnTo>
                      <a:lnTo>
                        <a:pt x="59" y="390"/>
                      </a:lnTo>
                      <a:lnTo>
                        <a:pt x="59" y="392"/>
                      </a:lnTo>
                      <a:lnTo>
                        <a:pt x="58" y="392"/>
                      </a:lnTo>
                      <a:lnTo>
                        <a:pt x="56" y="392"/>
                      </a:lnTo>
                      <a:lnTo>
                        <a:pt x="54" y="392"/>
                      </a:lnTo>
                      <a:lnTo>
                        <a:pt x="56" y="392"/>
                      </a:lnTo>
                      <a:lnTo>
                        <a:pt x="56" y="390"/>
                      </a:lnTo>
                      <a:lnTo>
                        <a:pt x="58" y="390"/>
                      </a:lnTo>
                      <a:lnTo>
                        <a:pt x="59" y="390"/>
                      </a:lnTo>
                      <a:lnTo>
                        <a:pt x="59" y="388"/>
                      </a:lnTo>
                      <a:lnTo>
                        <a:pt x="61" y="388"/>
                      </a:lnTo>
                      <a:lnTo>
                        <a:pt x="61" y="384"/>
                      </a:lnTo>
                      <a:lnTo>
                        <a:pt x="61" y="386"/>
                      </a:lnTo>
                      <a:lnTo>
                        <a:pt x="59" y="388"/>
                      </a:lnTo>
                      <a:lnTo>
                        <a:pt x="59" y="386"/>
                      </a:lnTo>
                      <a:lnTo>
                        <a:pt x="59" y="388"/>
                      </a:lnTo>
                      <a:lnTo>
                        <a:pt x="59" y="386"/>
                      </a:lnTo>
                      <a:lnTo>
                        <a:pt x="58" y="388"/>
                      </a:lnTo>
                      <a:lnTo>
                        <a:pt x="58" y="386"/>
                      </a:lnTo>
                      <a:lnTo>
                        <a:pt x="59" y="386"/>
                      </a:lnTo>
                      <a:lnTo>
                        <a:pt x="59" y="384"/>
                      </a:lnTo>
                      <a:lnTo>
                        <a:pt x="58" y="386"/>
                      </a:lnTo>
                      <a:lnTo>
                        <a:pt x="58" y="388"/>
                      </a:lnTo>
                      <a:lnTo>
                        <a:pt x="56" y="390"/>
                      </a:lnTo>
                      <a:lnTo>
                        <a:pt x="56" y="388"/>
                      </a:lnTo>
                      <a:lnTo>
                        <a:pt x="54" y="388"/>
                      </a:lnTo>
                      <a:lnTo>
                        <a:pt x="54" y="386"/>
                      </a:lnTo>
                      <a:lnTo>
                        <a:pt x="54" y="384"/>
                      </a:lnTo>
                      <a:lnTo>
                        <a:pt x="54" y="386"/>
                      </a:lnTo>
                      <a:lnTo>
                        <a:pt x="56" y="386"/>
                      </a:lnTo>
                      <a:lnTo>
                        <a:pt x="58" y="386"/>
                      </a:lnTo>
                      <a:lnTo>
                        <a:pt x="56" y="384"/>
                      </a:lnTo>
                      <a:lnTo>
                        <a:pt x="58" y="384"/>
                      </a:lnTo>
                      <a:lnTo>
                        <a:pt x="58" y="386"/>
                      </a:lnTo>
                      <a:lnTo>
                        <a:pt x="58" y="384"/>
                      </a:lnTo>
                      <a:lnTo>
                        <a:pt x="58" y="386"/>
                      </a:lnTo>
                      <a:lnTo>
                        <a:pt x="58" y="384"/>
                      </a:lnTo>
                      <a:lnTo>
                        <a:pt x="59" y="384"/>
                      </a:lnTo>
                      <a:lnTo>
                        <a:pt x="61" y="384"/>
                      </a:lnTo>
                      <a:lnTo>
                        <a:pt x="59" y="384"/>
                      </a:lnTo>
                      <a:lnTo>
                        <a:pt x="58" y="384"/>
                      </a:lnTo>
                      <a:lnTo>
                        <a:pt x="56" y="384"/>
                      </a:lnTo>
                      <a:lnTo>
                        <a:pt x="56" y="382"/>
                      </a:lnTo>
                      <a:lnTo>
                        <a:pt x="58" y="382"/>
                      </a:lnTo>
                      <a:lnTo>
                        <a:pt x="56" y="382"/>
                      </a:lnTo>
                      <a:lnTo>
                        <a:pt x="54" y="380"/>
                      </a:lnTo>
                      <a:lnTo>
                        <a:pt x="56" y="376"/>
                      </a:lnTo>
                      <a:lnTo>
                        <a:pt x="58" y="374"/>
                      </a:lnTo>
                      <a:lnTo>
                        <a:pt x="54" y="376"/>
                      </a:lnTo>
                      <a:lnTo>
                        <a:pt x="54" y="378"/>
                      </a:lnTo>
                      <a:lnTo>
                        <a:pt x="52" y="378"/>
                      </a:lnTo>
                      <a:lnTo>
                        <a:pt x="48" y="378"/>
                      </a:lnTo>
                      <a:lnTo>
                        <a:pt x="50" y="378"/>
                      </a:lnTo>
                      <a:lnTo>
                        <a:pt x="50" y="376"/>
                      </a:lnTo>
                      <a:lnTo>
                        <a:pt x="48" y="378"/>
                      </a:lnTo>
                      <a:lnTo>
                        <a:pt x="48" y="376"/>
                      </a:lnTo>
                      <a:lnTo>
                        <a:pt x="50" y="373"/>
                      </a:lnTo>
                      <a:lnTo>
                        <a:pt x="50" y="374"/>
                      </a:lnTo>
                      <a:lnTo>
                        <a:pt x="48" y="373"/>
                      </a:lnTo>
                      <a:lnTo>
                        <a:pt x="46" y="373"/>
                      </a:lnTo>
                      <a:lnTo>
                        <a:pt x="48" y="373"/>
                      </a:lnTo>
                      <a:lnTo>
                        <a:pt x="46" y="374"/>
                      </a:lnTo>
                      <a:lnTo>
                        <a:pt x="46" y="373"/>
                      </a:lnTo>
                      <a:lnTo>
                        <a:pt x="44" y="373"/>
                      </a:lnTo>
                      <a:lnTo>
                        <a:pt x="44" y="371"/>
                      </a:lnTo>
                      <a:lnTo>
                        <a:pt x="42" y="371"/>
                      </a:lnTo>
                      <a:lnTo>
                        <a:pt x="40" y="371"/>
                      </a:lnTo>
                      <a:lnTo>
                        <a:pt x="40" y="369"/>
                      </a:lnTo>
                      <a:lnTo>
                        <a:pt x="39" y="369"/>
                      </a:lnTo>
                      <a:lnTo>
                        <a:pt x="39" y="371"/>
                      </a:lnTo>
                      <a:lnTo>
                        <a:pt x="39" y="369"/>
                      </a:lnTo>
                      <a:lnTo>
                        <a:pt x="37" y="371"/>
                      </a:lnTo>
                      <a:lnTo>
                        <a:pt x="37" y="369"/>
                      </a:lnTo>
                      <a:lnTo>
                        <a:pt x="39" y="365"/>
                      </a:lnTo>
                      <a:lnTo>
                        <a:pt x="37" y="365"/>
                      </a:lnTo>
                      <a:lnTo>
                        <a:pt x="37" y="367"/>
                      </a:lnTo>
                      <a:lnTo>
                        <a:pt x="35" y="367"/>
                      </a:lnTo>
                      <a:lnTo>
                        <a:pt x="35" y="369"/>
                      </a:lnTo>
                      <a:lnTo>
                        <a:pt x="35" y="371"/>
                      </a:lnTo>
                      <a:lnTo>
                        <a:pt x="33" y="369"/>
                      </a:lnTo>
                      <a:lnTo>
                        <a:pt x="35" y="369"/>
                      </a:lnTo>
                      <a:lnTo>
                        <a:pt x="33" y="367"/>
                      </a:lnTo>
                      <a:lnTo>
                        <a:pt x="31" y="367"/>
                      </a:lnTo>
                      <a:lnTo>
                        <a:pt x="31" y="365"/>
                      </a:lnTo>
                      <a:lnTo>
                        <a:pt x="29" y="363"/>
                      </a:lnTo>
                      <a:lnTo>
                        <a:pt x="31" y="363"/>
                      </a:lnTo>
                      <a:lnTo>
                        <a:pt x="29" y="363"/>
                      </a:lnTo>
                      <a:lnTo>
                        <a:pt x="31" y="363"/>
                      </a:lnTo>
                      <a:lnTo>
                        <a:pt x="29" y="363"/>
                      </a:lnTo>
                      <a:lnTo>
                        <a:pt x="31" y="363"/>
                      </a:lnTo>
                      <a:lnTo>
                        <a:pt x="33" y="363"/>
                      </a:lnTo>
                      <a:lnTo>
                        <a:pt x="31" y="363"/>
                      </a:lnTo>
                      <a:lnTo>
                        <a:pt x="31" y="361"/>
                      </a:lnTo>
                      <a:lnTo>
                        <a:pt x="31" y="359"/>
                      </a:lnTo>
                      <a:lnTo>
                        <a:pt x="29" y="359"/>
                      </a:lnTo>
                      <a:lnTo>
                        <a:pt x="31" y="357"/>
                      </a:lnTo>
                      <a:lnTo>
                        <a:pt x="29" y="357"/>
                      </a:lnTo>
                      <a:lnTo>
                        <a:pt x="31" y="357"/>
                      </a:lnTo>
                      <a:lnTo>
                        <a:pt x="29" y="357"/>
                      </a:lnTo>
                      <a:lnTo>
                        <a:pt x="27" y="357"/>
                      </a:lnTo>
                      <a:lnTo>
                        <a:pt x="29" y="355"/>
                      </a:lnTo>
                      <a:lnTo>
                        <a:pt x="29" y="357"/>
                      </a:lnTo>
                      <a:lnTo>
                        <a:pt x="29" y="355"/>
                      </a:lnTo>
                      <a:lnTo>
                        <a:pt x="29" y="353"/>
                      </a:lnTo>
                      <a:lnTo>
                        <a:pt x="31" y="355"/>
                      </a:lnTo>
                      <a:lnTo>
                        <a:pt x="31" y="353"/>
                      </a:lnTo>
                      <a:lnTo>
                        <a:pt x="29" y="353"/>
                      </a:lnTo>
                      <a:lnTo>
                        <a:pt x="31" y="353"/>
                      </a:lnTo>
                      <a:lnTo>
                        <a:pt x="29" y="352"/>
                      </a:lnTo>
                      <a:lnTo>
                        <a:pt x="31" y="352"/>
                      </a:lnTo>
                      <a:lnTo>
                        <a:pt x="29" y="352"/>
                      </a:lnTo>
                      <a:lnTo>
                        <a:pt x="29" y="350"/>
                      </a:lnTo>
                      <a:lnTo>
                        <a:pt x="29" y="352"/>
                      </a:lnTo>
                      <a:lnTo>
                        <a:pt x="31" y="352"/>
                      </a:lnTo>
                      <a:lnTo>
                        <a:pt x="31" y="350"/>
                      </a:lnTo>
                      <a:lnTo>
                        <a:pt x="33" y="352"/>
                      </a:lnTo>
                      <a:lnTo>
                        <a:pt x="33" y="350"/>
                      </a:lnTo>
                      <a:lnTo>
                        <a:pt x="31" y="350"/>
                      </a:lnTo>
                      <a:lnTo>
                        <a:pt x="33" y="350"/>
                      </a:lnTo>
                      <a:lnTo>
                        <a:pt x="31" y="350"/>
                      </a:lnTo>
                      <a:lnTo>
                        <a:pt x="33" y="350"/>
                      </a:lnTo>
                      <a:lnTo>
                        <a:pt x="31" y="350"/>
                      </a:lnTo>
                      <a:lnTo>
                        <a:pt x="33" y="348"/>
                      </a:lnTo>
                      <a:lnTo>
                        <a:pt x="31" y="348"/>
                      </a:lnTo>
                      <a:lnTo>
                        <a:pt x="33" y="348"/>
                      </a:lnTo>
                      <a:lnTo>
                        <a:pt x="33" y="346"/>
                      </a:lnTo>
                      <a:lnTo>
                        <a:pt x="31" y="346"/>
                      </a:lnTo>
                      <a:lnTo>
                        <a:pt x="33" y="346"/>
                      </a:lnTo>
                      <a:lnTo>
                        <a:pt x="35" y="346"/>
                      </a:lnTo>
                      <a:lnTo>
                        <a:pt x="33" y="344"/>
                      </a:lnTo>
                      <a:lnTo>
                        <a:pt x="33" y="342"/>
                      </a:lnTo>
                      <a:lnTo>
                        <a:pt x="33" y="340"/>
                      </a:lnTo>
                      <a:lnTo>
                        <a:pt x="31" y="338"/>
                      </a:lnTo>
                      <a:lnTo>
                        <a:pt x="33" y="338"/>
                      </a:lnTo>
                      <a:lnTo>
                        <a:pt x="31" y="338"/>
                      </a:lnTo>
                      <a:lnTo>
                        <a:pt x="33" y="340"/>
                      </a:lnTo>
                      <a:lnTo>
                        <a:pt x="35" y="338"/>
                      </a:lnTo>
                      <a:lnTo>
                        <a:pt x="33" y="338"/>
                      </a:lnTo>
                      <a:lnTo>
                        <a:pt x="33" y="336"/>
                      </a:lnTo>
                      <a:lnTo>
                        <a:pt x="31" y="336"/>
                      </a:lnTo>
                      <a:lnTo>
                        <a:pt x="33" y="336"/>
                      </a:lnTo>
                      <a:lnTo>
                        <a:pt x="35" y="336"/>
                      </a:lnTo>
                      <a:lnTo>
                        <a:pt x="33" y="336"/>
                      </a:lnTo>
                      <a:lnTo>
                        <a:pt x="33" y="334"/>
                      </a:lnTo>
                      <a:lnTo>
                        <a:pt x="33" y="333"/>
                      </a:lnTo>
                      <a:lnTo>
                        <a:pt x="33" y="334"/>
                      </a:lnTo>
                      <a:lnTo>
                        <a:pt x="35" y="334"/>
                      </a:lnTo>
                      <a:lnTo>
                        <a:pt x="37" y="336"/>
                      </a:lnTo>
                      <a:lnTo>
                        <a:pt x="37" y="334"/>
                      </a:lnTo>
                      <a:lnTo>
                        <a:pt x="35" y="334"/>
                      </a:lnTo>
                      <a:lnTo>
                        <a:pt x="35" y="333"/>
                      </a:lnTo>
                      <a:lnTo>
                        <a:pt x="33" y="331"/>
                      </a:lnTo>
                      <a:lnTo>
                        <a:pt x="33" y="329"/>
                      </a:lnTo>
                      <a:lnTo>
                        <a:pt x="33" y="331"/>
                      </a:lnTo>
                      <a:lnTo>
                        <a:pt x="33" y="329"/>
                      </a:lnTo>
                      <a:lnTo>
                        <a:pt x="35" y="329"/>
                      </a:lnTo>
                      <a:lnTo>
                        <a:pt x="33" y="327"/>
                      </a:lnTo>
                      <a:lnTo>
                        <a:pt x="33" y="329"/>
                      </a:lnTo>
                      <a:lnTo>
                        <a:pt x="33" y="327"/>
                      </a:lnTo>
                      <a:lnTo>
                        <a:pt x="31" y="327"/>
                      </a:lnTo>
                      <a:lnTo>
                        <a:pt x="33" y="327"/>
                      </a:lnTo>
                      <a:lnTo>
                        <a:pt x="33" y="325"/>
                      </a:lnTo>
                      <a:lnTo>
                        <a:pt x="31" y="325"/>
                      </a:lnTo>
                      <a:lnTo>
                        <a:pt x="33" y="325"/>
                      </a:lnTo>
                      <a:lnTo>
                        <a:pt x="31" y="325"/>
                      </a:lnTo>
                      <a:lnTo>
                        <a:pt x="33" y="325"/>
                      </a:lnTo>
                      <a:lnTo>
                        <a:pt x="31" y="323"/>
                      </a:lnTo>
                      <a:lnTo>
                        <a:pt x="31" y="321"/>
                      </a:lnTo>
                      <a:lnTo>
                        <a:pt x="31" y="323"/>
                      </a:lnTo>
                      <a:lnTo>
                        <a:pt x="31" y="321"/>
                      </a:lnTo>
                      <a:lnTo>
                        <a:pt x="29" y="321"/>
                      </a:lnTo>
                      <a:lnTo>
                        <a:pt x="29" y="319"/>
                      </a:lnTo>
                      <a:lnTo>
                        <a:pt x="29" y="321"/>
                      </a:lnTo>
                      <a:lnTo>
                        <a:pt x="29" y="319"/>
                      </a:lnTo>
                      <a:lnTo>
                        <a:pt x="29" y="317"/>
                      </a:lnTo>
                      <a:lnTo>
                        <a:pt x="29" y="315"/>
                      </a:lnTo>
                      <a:lnTo>
                        <a:pt x="31" y="315"/>
                      </a:lnTo>
                      <a:lnTo>
                        <a:pt x="31" y="313"/>
                      </a:lnTo>
                      <a:lnTo>
                        <a:pt x="31" y="312"/>
                      </a:lnTo>
                      <a:lnTo>
                        <a:pt x="31" y="313"/>
                      </a:lnTo>
                      <a:lnTo>
                        <a:pt x="31" y="312"/>
                      </a:lnTo>
                      <a:lnTo>
                        <a:pt x="31" y="310"/>
                      </a:lnTo>
                      <a:lnTo>
                        <a:pt x="31" y="312"/>
                      </a:lnTo>
                      <a:lnTo>
                        <a:pt x="29" y="312"/>
                      </a:lnTo>
                      <a:lnTo>
                        <a:pt x="31" y="310"/>
                      </a:lnTo>
                      <a:lnTo>
                        <a:pt x="29" y="310"/>
                      </a:lnTo>
                      <a:lnTo>
                        <a:pt x="31" y="310"/>
                      </a:lnTo>
                      <a:lnTo>
                        <a:pt x="31" y="308"/>
                      </a:lnTo>
                      <a:lnTo>
                        <a:pt x="29" y="308"/>
                      </a:lnTo>
                      <a:lnTo>
                        <a:pt x="29" y="306"/>
                      </a:lnTo>
                      <a:lnTo>
                        <a:pt x="29" y="308"/>
                      </a:lnTo>
                      <a:lnTo>
                        <a:pt x="27" y="306"/>
                      </a:lnTo>
                      <a:lnTo>
                        <a:pt x="29" y="304"/>
                      </a:lnTo>
                      <a:lnTo>
                        <a:pt x="27" y="306"/>
                      </a:lnTo>
                      <a:lnTo>
                        <a:pt x="27" y="304"/>
                      </a:lnTo>
                      <a:lnTo>
                        <a:pt x="27" y="302"/>
                      </a:lnTo>
                      <a:lnTo>
                        <a:pt x="25" y="302"/>
                      </a:lnTo>
                      <a:lnTo>
                        <a:pt x="27" y="302"/>
                      </a:lnTo>
                      <a:lnTo>
                        <a:pt x="27" y="300"/>
                      </a:lnTo>
                      <a:lnTo>
                        <a:pt x="29" y="300"/>
                      </a:lnTo>
                      <a:lnTo>
                        <a:pt x="27" y="298"/>
                      </a:lnTo>
                      <a:lnTo>
                        <a:pt x="27" y="300"/>
                      </a:lnTo>
                      <a:lnTo>
                        <a:pt x="27" y="298"/>
                      </a:lnTo>
                      <a:lnTo>
                        <a:pt x="25" y="300"/>
                      </a:lnTo>
                      <a:lnTo>
                        <a:pt x="25" y="298"/>
                      </a:lnTo>
                      <a:lnTo>
                        <a:pt x="27" y="296"/>
                      </a:lnTo>
                      <a:lnTo>
                        <a:pt x="25" y="296"/>
                      </a:lnTo>
                      <a:lnTo>
                        <a:pt x="27" y="296"/>
                      </a:lnTo>
                      <a:lnTo>
                        <a:pt x="27" y="294"/>
                      </a:lnTo>
                      <a:lnTo>
                        <a:pt x="27" y="292"/>
                      </a:lnTo>
                      <a:lnTo>
                        <a:pt x="29" y="291"/>
                      </a:lnTo>
                      <a:lnTo>
                        <a:pt x="29" y="289"/>
                      </a:lnTo>
                      <a:lnTo>
                        <a:pt x="29" y="291"/>
                      </a:lnTo>
                      <a:lnTo>
                        <a:pt x="29" y="289"/>
                      </a:lnTo>
                      <a:lnTo>
                        <a:pt x="29" y="291"/>
                      </a:lnTo>
                      <a:lnTo>
                        <a:pt x="31" y="291"/>
                      </a:lnTo>
                      <a:lnTo>
                        <a:pt x="31" y="289"/>
                      </a:lnTo>
                      <a:lnTo>
                        <a:pt x="31" y="291"/>
                      </a:lnTo>
                      <a:lnTo>
                        <a:pt x="31" y="289"/>
                      </a:lnTo>
                      <a:lnTo>
                        <a:pt x="31" y="287"/>
                      </a:lnTo>
                      <a:lnTo>
                        <a:pt x="33" y="287"/>
                      </a:lnTo>
                      <a:lnTo>
                        <a:pt x="33" y="285"/>
                      </a:lnTo>
                      <a:lnTo>
                        <a:pt x="31" y="285"/>
                      </a:lnTo>
                      <a:lnTo>
                        <a:pt x="29" y="285"/>
                      </a:lnTo>
                      <a:lnTo>
                        <a:pt x="31" y="285"/>
                      </a:lnTo>
                      <a:lnTo>
                        <a:pt x="31" y="283"/>
                      </a:lnTo>
                      <a:lnTo>
                        <a:pt x="31" y="285"/>
                      </a:lnTo>
                      <a:lnTo>
                        <a:pt x="33" y="285"/>
                      </a:lnTo>
                      <a:lnTo>
                        <a:pt x="31" y="285"/>
                      </a:lnTo>
                      <a:lnTo>
                        <a:pt x="33" y="285"/>
                      </a:lnTo>
                      <a:lnTo>
                        <a:pt x="33" y="283"/>
                      </a:lnTo>
                      <a:lnTo>
                        <a:pt x="35" y="283"/>
                      </a:lnTo>
                      <a:lnTo>
                        <a:pt x="35" y="285"/>
                      </a:lnTo>
                      <a:lnTo>
                        <a:pt x="35" y="283"/>
                      </a:lnTo>
                      <a:lnTo>
                        <a:pt x="35" y="281"/>
                      </a:lnTo>
                      <a:lnTo>
                        <a:pt x="35" y="283"/>
                      </a:lnTo>
                      <a:lnTo>
                        <a:pt x="35" y="281"/>
                      </a:lnTo>
                      <a:lnTo>
                        <a:pt x="33" y="281"/>
                      </a:lnTo>
                      <a:lnTo>
                        <a:pt x="33" y="279"/>
                      </a:lnTo>
                      <a:lnTo>
                        <a:pt x="33" y="281"/>
                      </a:lnTo>
                      <a:lnTo>
                        <a:pt x="33" y="279"/>
                      </a:lnTo>
                      <a:lnTo>
                        <a:pt x="33" y="277"/>
                      </a:lnTo>
                      <a:lnTo>
                        <a:pt x="33" y="275"/>
                      </a:lnTo>
                      <a:lnTo>
                        <a:pt x="35" y="275"/>
                      </a:lnTo>
                      <a:lnTo>
                        <a:pt x="33" y="275"/>
                      </a:lnTo>
                      <a:lnTo>
                        <a:pt x="33" y="277"/>
                      </a:lnTo>
                      <a:lnTo>
                        <a:pt x="35" y="277"/>
                      </a:lnTo>
                      <a:lnTo>
                        <a:pt x="35" y="279"/>
                      </a:lnTo>
                      <a:lnTo>
                        <a:pt x="35" y="277"/>
                      </a:lnTo>
                      <a:lnTo>
                        <a:pt x="37" y="277"/>
                      </a:lnTo>
                      <a:lnTo>
                        <a:pt x="37" y="275"/>
                      </a:lnTo>
                      <a:lnTo>
                        <a:pt x="37" y="277"/>
                      </a:lnTo>
                      <a:lnTo>
                        <a:pt x="39" y="277"/>
                      </a:lnTo>
                      <a:lnTo>
                        <a:pt x="39" y="275"/>
                      </a:lnTo>
                      <a:lnTo>
                        <a:pt x="39" y="277"/>
                      </a:lnTo>
                      <a:lnTo>
                        <a:pt x="39" y="275"/>
                      </a:lnTo>
                      <a:lnTo>
                        <a:pt x="39" y="277"/>
                      </a:lnTo>
                      <a:lnTo>
                        <a:pt x="40" y="277"/>
                      </a:lnTo>
                      <a:lnTo>
                        <a:pt x="40" y="275"/>
                      </a:lnTo>
                      <a:lnTo>
                        <a:pt x="40" y="277"/>
                      </a:lnTo>
                      <a:lnTo>
                        <a:pt x="40" y="279"/>
                      </a:lnTo>
                      <a:lnTo>
                        <a:pt x="39" y="279"/>
                      </a:lnTo>
                      <a:lnTo>
                        <a:pt x="40" y="279"/>
                      </a:lnTo>
                      <a:lnTo>
                        <a:pt x="40" y="277"/>
                      </a:lnTo>
                      <a:lnTo>
                        <a:pt x="42" y="277"/>
                      </a:lnTo>
                      <a:lnTo>
                        <a:pt x="44" y="277"/>
                      </a:lnTo>
                      <a:lnTo>
                        <a:pt x="44" y="275"/>
                      </a:lnTo>
                      <a:lnTo>
                        <a:pt x="44" y="277"/>
                      </a:lnTo>
                      <a:lnTo>
                        <a:pt x="44" y="275"/>
                      </a:lnTo>
                      <a:lnTo>
                        <a:pt x="46" y="275"/>
                      </a:lnTo>
                      <a:lnTo>
                        <a:pt x="46" y="273"/>
                      </a:lnTo>
                      <a:lnTo>
                        <a:pt x="44" y="271"/>
                      </a:lnTo>
                      <a:lnTo>
                        <a:pt x="44" y="270"/>
                      </a:lnTo>
                      <a:lnTo>
                        <a:pt x="46" y="268"/>
                      </a:lnTo>
                      <a:lnTo>
                        <a:pt x="46" y="270"/>
                      </a:lnTo>
                      <a:lnTo>
                        <a:pt x="44" y="268"/>
                      </a:lnTo>
                      <a:lnTo>
                        <a:pt x="46" y="266"/>
                      </a:lnTo>
                      <a:lnTo>
                        <a:pt x="46" y="264"/>
                      </a:lnTo>
                      <a:lnTo>
                        <a:pt x="46" y="266"/>
                      </a:lnTo>
                      <a:lnTo>
                        <a:pt x="46" y="268"/>
                      </a:lnTo>
                      <a:lnTo>
                        <a:pt x="46" y="270"/>
                      </a:lnTo>
                      <a:lnTo>
                        <a:pt x="48" y="268"/>
                      </a:lnTo>
                      <a:lnTo>
                        <a:pt x="48" y="270"/>
                      </a:lnTo>
                      <a:lnTo>
                        <a:pt x="48" y="266"/>
                      </a:lnTo>
                      <a:lnTo>
                        <a:pt x="48" y="264"/>
                      </a:lnTo>
                      <a:lnTo>
                        <a:pt x="48" y="266"/>
                      </a:lnTo>
                      <a:lnTo>
                        <a:pt x="48" y="264"/>
                      </a:lnTo>
                      <a:lnTo>
                        <a:pt x="48" y="262"/>
                      </a:lnTo>
                      <a:lnTo>
                        <a:pt x="50" y="262"/>
                      </a:lnTo>
                      <a:lnTo>
                        <a:pt x="50" y="260"/>
                      </a:lnTo>
                      <a:lnTo>
                        <a:pt x="52" y="260"/>
                      </a:lnTo>
                      <a:lnTo>
                        <a:pt x="52" y="262"/>
                      </a:lnTo>
                      <a:lnTo>
                        <a:pt x="52" y="260"/>
                      </a:lnTo>
                      <a:lnTo>
                        <a:pt x="52" y="262"/>
                      </a:lnTo>
                      <a:lnTo>
                        <a:pt x="54" y="262"/>
                      </a:lnTo>
                      <a:lnTo>
                        <a:pt x="54" y="260"/>
                      </a:lnTo>
                      <a:lnTo>
                        <a:pt x="54" y="262"/>
                      </a:lnTo>
                      <a:lnTo>
                        <a:pt x="56" y="260"/>
                      </a:lnTo>
                      <a:lnTo>
                        <a:pt x="54" y="260"/>
                      </a:lnTo>
                      <a:lnTo>
                        <a:pt x="56" y="260"/>
                      </a:lnTo>
                      <a:lnTo>
                        <a:pt x="54" y="260"/>
                      </a:lnTo>
                      <a:lnTo>
                        <a:pt x="56" y="258"/>
                      </a:lnTo>
                      <a:lnTo>
                        <a:pt x="54" y="258"/>
                      </a:lnTo>
                      <a:lnTo>
                        <a:pt x="56" y="258"/>
                      </a:lnTo>
                      <a:lnTo>
                        <a:pt x="54" y="256"/>
                      </a:lnTo>
                      <a:lnTo>
                        <a:pt x="54" y="258"/>
                      </a:lnTo>
                      <a:lnTo>
                        <a:pt x="54" y="256"/>
                      </a:lnTo>
                      <a:lnTo>
                        <a:pt x="52" y="258"/>
                      </a:lnTo>
                      <a:lnTo>
                        <a:pt x="52" y="256"/>
                      </a:lnTo>
                      <a:lnTo>
                        <a:pt x="54" y="256"/>
                      </a:lnTo>
                      <a:lnTo>
                        <a:pt x="54" y="254"/>
                      </a:lnTo>
                      <a:lnTo>
                        <a:pt x="54" y="256"/>
                      </a:lnTo>
                      <a:lnTo>
                        <a:pt x="56" y="256"/>
                      </a:lnTo>
                      <a:lnTo>
                        <a:pt x="56" y="254"/>
                      </a:lnTo>
                      <a:lnTo>
                        <a:pt x="54" y="254"/>
                      </a:lnTo>
                      <a:lnTo>
                        <a:pt x="56" y="254"/>
                      </a:lnTo>
                      <a:lnTo>
                        <a:pt x="56" y="256"/>
                      </a:lnTo>
                      <a:lnTo>
                        <a:pt x="56" y="258"/>
                      </a:lnTo>
                      <a:lnTo>
                        <a:pt x="58" y="258"/>
                      </a:lnTo>
                      <a:lnTo>
                        <a:pt x="56" y="256"/>
                      </a:lnTo>
                      <a:lnTo>
                        <a:pt x="58" y="256"/>
                      </a:lnTo>
                      <a:lnTo>
                        <a:pt x="56" y="256"/>
                      </a:lnTo>
                      <a:lnTo>
                        <a:pt x="58" y="254"/>
                      </a:lnTo>
                      <a:lnTo>
                        <a:pt x="58" y="252"/>
                      </a:lnTo>
                      <a:lnTo>
                        <a:pt x="58" y="254"/>
                      </a:lnTo>
                      <a:lnTo>
                        <a:pt x="58" y="252"/>
                      </a:lnTo>
                      <a:lnTo>
                        <a:pt x="59" y="254"/>
                      </a:lnTo>
                      <a:lnTo>
                        <a:pt x="59" y="252"/>
                      </a:lnTo>
                      <a:lnTo>
                        <a:pt x="61" y="252"/>
                      </a:lnTo>
                      <a:lnTo>
                        <a:pt x="63" y="252"/>
                      </a:lnTo>
                      <a:lnTo>
                        <a:pt x="61" y="250"/>
                      </a:lnTo>
                      <a:lnTo>
                        <a:pt x="63" y="250"/>
                      </a:lnTo>
                      <a:lnTo>
                        <a:pt x="61" y="250"/>
                      </a:lnTo>
                      <a:lnTo>
                        <a:pt x="63" y="247"/>
                      </a:lnTo>
                      <a:lnTo>
                        <a:pt x="65" y="249"/>
                      </a:lnTo>
                      <a:lnTo>
                        <a:pt x="67" y="247"/>
                      </a:lnTo>
                      <a:lnTo>
                        <a:pt x="65" y="247"/>
                      </a:lnTo>
                      <a:lnTo>
                        <a:pt x="65" y="245"/>
                      </a:lnTo>
                      <a:lnTo>
                        <a:pt x="67" y="247"/>
                      </a:lnTo>
                      <a:lnTo>
                        <a:pt x="67" y="245"/>
                      </a:lnTo>
                      <a:lnTo>
                        <a:pt x="67" y="243"/>
                      </a:lnTo>
                      <a:lnTo>
                        <a:pt x="67" y="241"/>
                      </a:lnTo>
                      <a:lnTo>
                        <a:pt x="67" y="243"/>
                      </a:lnTo>
                      <a:lnTo>
                        <a:pt x="69" y="241"/>
                      </a:lnTo>
                      <a:lnTo>
                        <a:pt x="69" y="239"/>
                      </a:lnTo>
                      <a:lnTo>
                        <a:pt x="71" y="239"/>
                      </a:lnTo>
                      <a:lnTo>
                        <a:pt x="71" y="237"/>
                      </a:lnTo>
                      <a:lnTo>
                        <a:pt x="73" y="237"/>
                      </a:lnTo>
                      <a:lnTo>
                        <a:pt x="73" y="235"/>
                      </a:lnTo>
                      <a:lnTo>
                        <a:pt x="73" y="233"/>
                      </a:lnTo>
                      <a:lnTo>
                        <a:pt x="75" y="233"/>
                      </a:lnTo>
                      <a:lnTo>
                        <a:pt x="75" y="231"/>
                      </a:lnTo>
                      <a:lnTo>
                        <a:pt x="77" y="233"/>
                      </a:lnTo>
                      <a:lnTo>
                        <a:pt x="77" y="231"/>
                      </a:lnTo>
                      <a:lnTo>
                        <a:pt x="75" y="231"/>
                      </a:lnTo>
                      <a:lnTo>
                        <a:pt x="77" y="231"/>
                      </a:lnTo>
                      <a:lnTo>
                        <a:pt x="77" y="229"/>
                      </a:lnTo>
                      <a:lnTo>
                        <a:pt x="77" y="231"/>
                      </a:lnTo>
                      <a:lnTo>
                        <a:pt x="79" y="229"/>
                      </a:lnTo>
                      <a:lnTo>
                        <a:pt x="79" y="228"/>
                      </a:lnTo>
                      <a:lnTo>
                        <a:pt x="79" y="226"/>
                      </a:lnTo>
                      <a:lnTo>
                        <a:pt x="79" y="228"/>
                      </a:lnTo>
                      <a:lnTo>
                        <a:pt x="79" y="226"/>
                      </a:lnTo>
                      <a:lnTo>
                        <a:pt x="80" y="224"/>
                      </a:lnTo>
                      <a:lnTo>
                        <a:pt x="79" y="224"/>
                      </a:lnTo>
                      <a:lnTo>
                        <a:pt x="80" y="224"/>
                      </a:lnTo>
                      <a:lnTo>
                        <a:pt x="80" y="222"/>
                      </a:lnTo>
                      <a:lnTo>
                        <a:pt x="82" y="222"/>
                      </a:lnTo>
                      <a:lnTo>
                        <a:pt x="80" y="220"/>
                      </a:lnTo>
                      <a:lnTo>
                        <a:pt x="82" y="220"/>
                      </a:lnTo>
                      <a:lnTo>
                        <a:pt x="84" y="218"/>
                      </a:lnTo>
                      <a:lnTo>
                        <a:pt x="86" y="218"/>
                      </a:lnTo>
                      <a:lnTo>
                        <a:pt x="88" y="216"/>
                      </a:lnTo>
                      <a:lnTo>
                        <a:pt x="90" y="216"/>
                      </a:lnTo>
                      <a:lnTo>
                        <a:pt x="92" y="216"/>
                      </a:lnTo>
                      <a:lnTo>
                        <a:pt x="92" y="218"/>
                      </a:lnTo>
                      <a:lnTo>
                        <a:pt x="94" y="220"/>
                      </a:lnTo>
                      <a:lnTo>
                        <a:pt x="94" y="216"/>
                      </a:lnTo>
                      <a:lnTo>
                        <a:pt x="92" y="214"/>
                      </a:lnTo>
                      <a:lnTo>
                        <a:pt x="92" y="212"/>
                      </a:lnTo>
                      <a:lnTo>
                        <a:pt x="94" y="214"/>
                      </a:lnTo>
                      <a:lnTo>
                        <a:pt x="96" y="214"/>
                      </a:lnTo>
                      <a:lnTo>
                        <a:pt x="94" y="212"/>
                      </a:lnTo>
                      <a:lnTo>
                        <a:pt x="96" y="212"/>
                      </a:lnTo>
                      <a:lnTo>
                        <a:pt x="94" y="210"/>
                      </a:lnTo>
                      <a:lnTo>
                        <a:pt x="94" y="208"/>
                      </a:lnTo>
                      <a:lnTo>
                        <a:pt x="92" y="208"/>
                      </a:lnTo>
                      <a:lnTo>
                        <a:pt x="92" y="207"/>
                      </a:lnTo>
                      <a:lnTo>
                        <a:pt x="92" y="205"/>
                      </a:lnTo>
                      <a:lnTo>
                        <a:pt x="94" y="207"/>
                      </a:lnTo>
                      <a:lnTo>
                        <a:pt x="92" y="205"/>
                      </a:lnTo>
                      <a:lnTo>
                        <a:pt x="94" y="205"/>
                      </a:lnTo>
                      <a:lnTo>
                        <a:pt x="92" y="203"/>
                      </a:lnTo>
                      <a:lnTo>
                        <a:pt x="94" y="203"/>
                      </a:lnTo>
                      <a:lnTo>
                        <a:pt x="92" y="203"/>
                      </a:lnTo>
                      <a:lnTo>
                        <a:pt x="94" y="203"/>
                      </a:lnTo>
                      <a:lnTo>
                        <a:pt x="92" y="201"/>
                      </a:lnTo>
                      <a:lnTo>
                        <a:pt x="94" y="201"/>
                      </a:lnTo>
                      <a:lnTo>
                        <a:pt x="96" y="201"/>
                      </a:lnTo>
                      <a:lnTo>
                        <a:pt x="94" y="201"/>
                      </a:lnTo>
                      <a:lnTo>
                        <a:pt x="92" y="201"/>
                      </a:lnTo>
                      <a:lnTo>
                        <a:pt x="92" y="199"/>
                      </a:lnTo>
                      <a:lnTo>
                        <a:pt x="94" y="199"/>
                      </a:lnTo>
                      <a:lnTo>
                        <a:pt x="92" y="199"/>
                      </a:lnTo>
                      <a:lnTo>
                        <a:pt x="92" y="197"/>
                      </a:lnTo>
                      <a:lnTo>
                        <a:pt x="94" y="197"/>
                      </a:lnTo>
                      <a:lnTo>
                        <a:pt x="94" y="195"/>
                      </a:lnTo>
                      <a:lnTo>
                        <a:pt x="92" y="195"/>
                      </a:lnTo>
                      <a:lnTo>
                        <a:pt x="92" y="193"/>
                      </a:lnTo>
                      <a:lnTo>
                        <a:pt x="92" y="191"/>
                      </a:lnTo>
                      <a:lnTo>
                        <a:pt x="90" y="191"/>
                      </a:lnTo>
                      <a:lnTo>
                        <a:pt x="88" y="189"/>
                      </a:lnTo>
                      <a:lnTo>
                        <a:pt x="86" y="189"/>
                      </a:lnTo>
                      <a:lnTo>
                        <a:pt x="86" y="187"/>
                      </a:lnTo>
                      <a:lnTo>
                        <a:pt x="84" y="187"/>
                      </a:lnTo>
                      <a:lnTo>
                        <a:pt x="84" y="189"/>
                      </a:lnTo>
                      <a:lnTo>
                        <a:pt x="82" y="189"/>
                      </a:lnTo>
                      <a:lnTo>
                        <a:pt x="82" y="187"/>
                      </a:lnTo>
                      <a:lnTo>
                        <a:pt x="82" y="186"/>
                      </a:lnTo>
                      <a:lnTo>
                        <a:pt x="82" y="187"/>
                      </a:lnTo>
                      <a:lnTo>
                        <a:pt x="82" y="186"/>
                      </a:lnTo>
                      <a:lnTo>
                        <a:pt x="80" y="186"/>
                      </a:lnTo>
                      <a:lnTo>
                        <a:pt x="80" y="184"/>
                      </a:lnTo>
                      <a:lnTo>
                        <a:pt x="79" y="184"/>
                      </a:lnTo>
                      <a:lnTo>
                        <a:pt x="82" y="182"/>
                      </a:lnTo>
                      <a:lnTo>
                        <a:pt x="82" y="180"/>
                      </a:lnTo>
                      <a:lnTo>
                        <a:pt x="80" y="182"/>
                      </a:lnTo>
                      <a:lnTo>
                        <a:pt x="79" y="184"/>
                      </a:lnTo>
                      <a:lnTo>
                        <a:pt x="77" y="182"/>
                      </a:lnTo>
                      <a:lnTo>
                        <a:pt x="77" y="184"/>
                      </a:lnTo>
                      <a:lnTo>
                        <a:pt x="77" y="182"/>
                      </a:lnTo>
                      <a:lnTo>
                        <a:pt x="75" y="182"/>
                      </a:lnTo>
                      <a:lnTo>
                        <a:pt x="75" y="178"/>
                      </a:lnTo>
                      <a:lnTo>
                        <a:pt x="73" y="176"/>
                      </a:lnTo>
                      <a:lnTo>
                        <a:pt x="73" y="174"/>
                      </a:lnTo>
                      <a:lnTo>
                        <a:pt x="71" y="172"/>
                      </a:lnTo>
                      <a:lnTo>
                        <a:pt x="71" y="168"/>
                      </a:lnTo>
                      <a:lnTo>
                        <a:pt x="67" y="167"/>
                      </a:lnTo>
                      <a:lnTo>
                        <a:pt x="67" y="163"/>
                      </a:lnTo>
                      <a:lnTo>
                        <a:pt x="67" y="159"/>
                      </a:lnTo>
                      <a:lnTo>
                        <a:pt x="67" y="157"/>
                      </a:lnTo>
                      <a:lnTo>
                        <a:pt x="71" y="153"/>
                      </a:lnTo>
                      <a:lnTo>
                        <a:pt x="71" y="146"/>
                      </a:lnTo>
                      <a:lnTo>
                        <a:pt x="71" y="144"/>
                      </a:lnTo>
                      <a:lnTo>
                        <a:pt x="73" y="144"/>
                      </a:lnTo>
                      <a:lnTo>
                        <a:pt x="73" y="142"/>
                      </a:lnTo>
                      <a:lnTo>
                        <a:pt x="71" y="138"/>
                      </a:lnTo>
                      <a:lnTo>
                        <a:pt x="69" y="136"/>
                      </a:lnTo>
                      <a:lnTo>
                        <a:pt x="67" y="134"/>
                      </a:lnTo>
                      <a:lnTo>
                        <a:pt x="65" y="128"/>
                      </a:lnTo>
                      <a:lnTo>
                        <a:pt x="65" y="126"/>
                      </a:lnTo>
                      <a:lnTo>
                        <a:pt x="65" y="125"/>
                      </a:lnTo>
                      <a:lnTo>
                        <a:pt x="67" y="123"/>
                      </a:lnTo>
                      <a:lnTo>
                        <a:pt x="69" y="121"/>
                      </a:lnTo>
                      <a:lnTo>
                        <a:pt x="67" y="119"/>
                      </a:lnTo>
                      <a:lnTo>
                        <a:pt x="69" y="117"/>
                      </a:lnTo>
                      <a:lnTo>
                        <a:pt x="65" y="115"/>
                      </a:lnTo>
                      <a:lnTo>
                        <a:pt x="63" y="117"/>
                      </a:lnTo>
                      <a:lnTo>
                        <a:pt x="63" y="115"/>
                      </a:lnTo>
                      <a:lnTo>
                        <a:pt x="63" y="113"/>
                      </a:lnTo>
                      <a:lnTo>
                        <a:pt x="63" y="111"/>
                      </a:lnTo>
                      <a:lnTo>
                        <a:pt x="65" y="111"/>
                      </a:lnTo>
                      <a:lnTo>
                        <a:pt x="65" y="109"/>
                      </a:lnTo>
                      <a:lnTo>
                        <a:pt x="63" y="107"/>
                      </a:lnTo>
                      <a:lnTo>
                        <a:pt x="63" y="100"/>
                      </a:lnTo>
                      <a:lnTo>
                        <a:pt x="65" y="98"/>
                      </a:lnTo>
                      <a:lnTo>
                        <a:pt x="67" y="96"/>
                      </a:lnTo>
                      <a:lnTo>
                        <a:pt x="67" y="94"/>
                      </a:lnTo>
                      <a:lnTo>
                        <a:pt x="65" y="94"/>
                      </a:lnTo>
                      <a:lnTo>
                        <a:pt x="65" y="92"/>
                      </a:lnTo>
                      <a:lnTo>
                        <a:pt x="63" y="90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9" y="83"/>
                      </a:lnTo>
                      <a:lnTo>
                        <a:pt x="58" y="83"/>
                      </a:lnTo>
                      <a:lnTo>
                        <a:pt x="58" y="81"/>
                      </a:lnTo>
                      <a:lnTo>
                        <a:pt x="56" y="79"/>
                      </a:lnTo>
                      <a:lnTo>
                        <a:pt x="54" y="77"/>
                      </a:lnTo>
                      <a:lnTo>
                        <a:pt x="52" y="77"/>
                      </a:lnTo>
                      <a:lnTo>
                        <a:pt x="50" y="75"/>
                      </a:lnTo>
                      <a:lnTo>
                        <a:pt x="46" y="73"/>
                      </a:lnTo>
                      <a:lnTo>
                        <a:pt x="46" y="75"/>
                      </a:lnTo>
                      <a:lnTo>
                        <a:pt x="46" y="73"/>
                      </a:lnTo>
                      <a:lnTo>
                        <a:pt x="42" y="73"/>
                      </a:lnTo>
                      <a:lnTo>
                        <a:pt x="40" y="73"/>
                      </a:lnTo>
                      <a:lnTo>
                        <a:pt x="40" y="69"/>
                      </a:lnTo>
                      <a:lnTo>
                        <a:pt x="39" y="67"/>
                      </a:lnTo>
                      <a:lnTo>
                        <a:pt x="37" y="67"/>
                      </a:lnTo>
                      <a:lnTo>
                        <a:pt x="37" y="65"/>
                      </a:lnTo>
                      <a:lnTo>
                        <a:pt x="35" y="65"/>
                      </a:lnTo>
                      <a:lnTo>
                        <a:pt x="31" y="63"/>
                      </a:lnTo>
                      <a:lnTo>
                        <a:pt x="31" y="60"/>
                      </a:lnTo>
                      <a:lnTo>
                        <a:pt x="29" y="60"/>
                      </a:lnTo>
                      <a:lnTo>
                        <a:pt x="29" y="58"/>
                      </a:lnTo>
                      <a:lnTo>
                        <a:pt x="25" y="54"/>
                      </a:lnTo>
                      <a:lnTo>
                        <a:pt x="23" y="54"/>
                      </a:lnTo>
                      <a:lnTo>
                        <a:pt x="21" y="52"/>
                      </a:lnTo>
                      <a:lnTo>
                        <a:pt x="23" y="52"/>
                      </a:lnTo>
                      <a:lnTo>
                        <a:pt x="23" y="50"/>
                      </a:lnTo>
                      <a:lnTo>
                        <a:pt x="21" y="48"/>
                      </a:lnTo>
                      <a:lnTo>
                        <a:pt x="18" y="46"/>
                      </a:lnTo>
                      <a:lnTo>
                        <a:pt x="19" y="44"/>
                      </a:lnTo>
                      <a:lnTo>
                        <a:pt x="25" y="48"/>
                      </a:lnTo>
                      <a:lnTo>
                        <a:pt x="27" y="44"/>
                      </a:lnTo>
                      <a:lnTo>
                        <a:pt x="25" y="44"/>
                      </a:lnTo>
                      <a:lnTo>
                        <a:pt x="25" y="41"/>
                      </a:lnTo>
                      <a:lnTo>
                        <a:pt x="29" y="35"/>
                      </a:lnTo>
                      <a:lnTo>
                        <a:pt x="35" y="37"/>
                      </a:lnTo>
                      <a:lnTo>
                        <a:pt x="42" y="52"/>
                      </a:lnTo>
                      <a:lnTo>
                        <a:pt x="44" y="54"/>
                      </a:lnTo>
                      <a:lnTo>
                        <a:pt x="46" y="58"/>
                      </a:lnTo>
                      <a:lnTo>
                        <a:pt x="46" y="62"/>
                      </a:lnTo>
                      <a:lnTo>
                        <a:pt x="48" y="62"/>
                      </a:lnTo>
                      <a:lnTo>
                        <a:pt x="54" y="63"/>
                      </a:lnTo>
                      <a:lnTo>
                        <a:pt x="58" y="63"/>
                      </a:lnTo>
                      <a:lnTo>
                        <a:pt x="59" y="65"/>
                      </a:lnTo>
                      <a:lnTo>
                        <a:pt x="63" y="63"/>
                      </a:lnTo>
                      <a:lnTo>
                        <a:pt x="67" y="63"/>
                      </a:lnTo>
                      <a:lnTo>
                        <a:pt x="69" y="58"/>
                      </a:lnTo>
                      <a:lnTo>
                        <a:pt x="71" y="58"/>
                      </a:lnTo>
                      <a:lnTo>
                        <a:pt x="73" y="58"/>
                      </a:lnTo>
                      <a:lnTo>
                        <a:pt x="73" y="60"/>
                      </a:lnTo>
                      <a:lnTo>
                        <a:pt x="75" y="60"/>
                      </a:lnTo>
                      <a:lnTo>
                        <a:pt x="77" y="62"/>
                      </a:lnTo>
                      <a:lnTo>
                        <a:pt x="82" y="63"/>
                      </a:lnTo>
                      <a:lnTo>
                        <a:pt x="84" y="65"/>
                      </a:lnTo>
                      <a:lnTo>
                        <a:pt x="86" y="69"/>
                      </a:lnTo>
                      <a:lnTo>
                        <a:pt x="86" y="67"/>
                      </a:lnTo>
                      <a:lnTo>
                        <a:pt x="90" y="67"/>
                      </a:lnTo>
                      <a:lnTo>
                        <a:pt x="90" y="65"/>
                      </a:lnTo>
                      <a:lnTo>
                        <a:pt x="90" y="58"/>
                      </a:lnTo>
                      <a:lnTo>
                        <a:pt x="94" y="54"/>
                      </a:lnTo>
                      <a:lnTo>
                        <a:pt x="96" y="54"/>
                      </a:lnTo>
                      <a:lnTo>
                        <a:pt x="98" y="54"/>
                      </a:lnTo>
                      <a:lnTo>
                        <a:pt x="100" y="48"/>
                      </a:lnTo>
                      <a:lnTo>
                        <a:pt x="100" y="46"/>
                      </a:lnTo>
                      <a:lnTo>
                        <a:pt x="100" y="42"/>
                      </a:lnTo>
                      <a:lnTo>
                        <a:pt x="100" y="41"/>
                      </a:lnTo>
                      <a:lnTo>
                        <a:pt x="100" y="39"/>
                      </a:lnTo>
                      <a:lnTo>
                        <a:pt x="100" y="35"/>
                      </a:lnTo>
                      <a:lnTo>
                        <a:pt x="101" y="31"/>
                      </a:lnTo>
                      <a:lnTo>
                        <a:pt x="101" y="29"/>
                      </a:lnTo>
                      <a:lnTo>
                        <a:pt x="101" y="25"/>
                      </a:lnTo>
                      <a:lnTo>
                        <a:pt x="103" y="23"/>
                      </a:lnTo>
                      <a:lnTo>
                        <a:pt x="103" y="21"/>
                      </a:lnTo>
                      <a:lnTo>
                        <a:pt x="103" y="20"/>
                      </a:lnTo>
                      <a:lnTo>
                        <a:pt x="101" y="20"/>
                      </a:lnTo>
                      <a:lnTo>
                        <a:pt x="103" y="18"/>
                      </a:lnTo>
                      <a:lnTo>
                        <a:pt x="105" y="16"/>
                      </a:lnTo>
                      <a:lnTo>
                        <a:pt x="107" y="16"/>
                      </a:lnTo>
                      <a:lnTo>
                        <a:pt x="107" y="12"/>
                      </a:lnTo>
                      <a:lnTo>
                        <a:pt x="111" y="10"/>
                      </a:lnTo>
                      <a:lnTo>
                        <a:pt x="111" y="8"/>
                      </a:lnTo>
                      <a:lnTo>
                        <a:pt x="111" y="6"/>
                      </a:lnTo>
                      <a:lnTo>
                        <a:pt x="115" y="6"/>
                      </a:lnTo>
                      <a:lnTo>
                        <a:pt x="117" y="6"/>
                      </a:lnTo>
                      <a:lnTo>
                        <a:pt x="119" y="8"/>
                      </a:lnTo>
                      <a:lnTo>
                        <a:pt x="119" y="6"/>
                      </a:lnTo>
                      <a:lnTo>
                        <a:pt x="121" y="8"/>
                      </a:lnTo>
                      <a:lnTo>
                        <a:pt x="124" y="6"/>
                      </a:lnTo>
                      <a:lnTo>
                        <a:pt x="124" y="4"/>
                      </a:lnTo>
                      <a:lnTo>
                        <a:pt x="126" y="2"/>
                      </a:lnTo>
                      <a:lnTo>
                        <a:pt x="128" y="2"/>
                      </a:lnTo>
                      <a:lnTo>
                        <a:pt x="128" y="0"/>
                      </a:lnTo>
                      <a:lnTo>
                        <a:pt x="130" y="0"/>
                      </a:lnTo>
                      <a:lnTo>
                        <a:pt x="132" y="0"/>
                      </a:lnTo>
                      <a:lnTo>
                        <a:pt x="136" y="0"/>
                      </a:lnTo>
                      <a:lnTo>
                        <a:pt x="136" y="4"/>
                      </a:lnTo>
                      <a:lnTo>
                        <a:pt x="138" y="8"/>
                      </a:lnTo>
                      <a:lnTo>
                        <a:pt x="141" y="10"/>
                      </a:lnTo>
                      <a:lnTo>
                        <a:pt x="141" y="12"/>
                      </a:lnTo>
                      <a:lnTo>
                        <a:pt x="153" y="18"/>
                      </a:lnTo>
                      <a:lnTo>
                        <a:pt x="157" y="27"/>
                      </a:lnTo>
                      <a:lnTo>
                        <a:pt x="155" y="31"/>
                      </a:lnTo>
                      <a:lnTo>
                        <a:pt x="149" y="41"/>
                      </a:lnTo>
                      <a:lnTo>
                        <a:pt x="149" y="44"/>
                      </a:lnTo>
                      <a:lnTo>
                        <a:pt x="151" y="48"/>
                      </a:lnTo>
                      <a:close/>
                      <a:moveTo>
                        <a:pt x="6" y="373"/>
                      </a:moveTo>
                      <a:lnTo>
                        <a:pt x="8" y="373"/>
                      </a:lnTo>
                      <a:lnTo>
                        <a:pt x="8" y="374"/>
                      </a:lnTo>
                      <a:lnTo>
                        <a:pt x="8" y="373"/>
                      </a:lnTo>
                      <a:lnTo>
                        <a:pt x="8" y="374"/>
                      </a:lnTo>
                      <a:lnTo>
                        <a:pt x="10" y="374"/>
                      </a:lnTo>
                      <a:lnTo>
                        <a:pt x="12" y="376"/>
                      </a:lnTo>
                      <a:lnTo>
                        <a:pt x="12" y="374"/>
                      </a:lnTo>
                      <a:lnTo>
                        <a:pt x="12" y="376"/>
                      </a:lnTo>
                      <a:lnTo>
                        <a:pt x="14" y="376"/>
                      </a:lnTo>
                      <a:lnTo>
                        <a:pt x="12" y="376"/>
                      </a:lnTo>
                      <a:lnTo>
                        <a:pt x="12" y="378"/>
                      </a:lnTo>
                      <a:lnTo>
                        <a:pt x="12" y="380"/>
                      </a:lnTo>
                      <a:lnTo>
                        <a:pt x="10" y="380"/>
                      </a:lnTo>
                      <a:lnTo>
                        <a:pt x="10" y="378"/>
                      </a:lnTo>
                      <a:lnTo>
                        <a:pt x="10" y="380"/>
                      </a:lnTo>
                      <a:lnTo>
                        <a:pt x="10" y="378"/>
                      </a:lnTo>
                      <a:lnTo>
                        <a:pt x="8" y="378"/>
                      </a:lnTo>
                      <a:lnTo>
                        <a:pt x="10" y="376"/>
                      </a:lnTo>
                      <a:lnTo>
                        <a:pt x="8" y="378"/>
                      </a:lnTo>
                      <a:lnTo>
                        <a:pt x="8" y="376"/>
                      </a:lnTo>
                      <a:lnTo>
                        <a:pt x="8" y="378"/>
                      </a:lnTo>
                      <a:lnTo>
                        <a:pt x="8" y="380"/>
                      </a:lnTo>
                      <a:lnTo>
                        <a:pt x="10" y="380"/>
                      </a:lnTo>
                      <a:lnTo>
                        <a:pt x="8" y="382"/>
                      </a:lnTo>
                      <a:lnTo>
                        <a:pt x="10" y="382"/>
                      </a:lnTo>
                      <a:lnTo>
                        <a:pt x="8" y="382"/>
                      </a:lnTo>
                      <a:lnTo>
                        <a:pt x="10" y="384"/>
                      </a:lnTo>
                      <a:lnTo>
                        <a:pt x="10" y="382"/>
                      </a:lnTo>
                      <a:lnTo>
                        <a:pt x="12" y="384"/>
                      </a:lnTo>
                      <a:lnTo>
                        <a:pt x="12" y="386"/>
                      </a:lnTo>
                      <a:lnTo>
                        <a:pt x="10" y="386"/>
                      </a:lnTo>
                      <a:lnTo>
                        <a:pt x="10" y="384"/>
                      </a:lnTo>
                      <a:lnTo>
                        <a:pt x="8" y="384"/>
                      </a:lnTo>
                      <a:lnTo>
                        <a:pt x="8" y="382"/>
                      </a:lnTo>
                      <a:lnTo>
                        <a:pt x="8" y="384"/>
                      </a:lnTo>
                      <a:lnTo>
                        <a:pt x="8" y="382"/>
                      </a:lnTo>
                      <a:lnTo>
                        <a:pt x="8" y="384"/>
                      </a:lnTo>
                      <a:lnTo>
                        <a:pt x="6" y="382"/>
                      </a:lnTo>
                      <a:lnTo>
                        <a:pt x="4" y="382"/>
                      </a:lnTo>
                      <a:lnTo>
                        <a:pt x="4" y="378"/>
                      </a:lnTo>
                      <a:lnTo>
                        <a:pt x="2" y="378"/>
                      </a:lnTo>
                      <a:lnTo>
                        <a:pt x="4" y="378"/>
                      </a:lnTo>
                      <a:lnTo>
                        <a:pt x="2" y="376"/>
                      </a:lnTo>
                      <a:lnTo>
                        <a:pt x="4" y="376"/>
                      </a:lnTo>
                      <a:lnTo>
                        <a:pt x="4" y="378"/>
                      </a:lnTo>
                      <a:lnTo>
                        <a:pt x="4" y="376"/>
                      </a:lnTo>
                      <a:lnTo>
                        <a:pt x="4" y="374"/>
                      </a:lnTo>
                      <a:lnTo>
                        <a:pt x="6" y="374"/>
                      </a:lnTo>
                      <a:lnTo>
                        <a:pt x="4" y="376"/>
                      </a:lnTo>
                      <a:lnTo>
                        <a:pt x="6" y="380"/>
                      </a:lnTo>
                      <a:lnTo>
                        <a:pt x="6" y="378"/>
                      </a:lnTo>
                      <a:lnTo>
                        <a:pt x="6" y="376"/>
                      </a:lnTo>
                      <a:lnTo>
                        <a:pt x="6" y="378"/>
                      </a:lnTo>
                      <a:lnTo>
                        <a:pt x="6" y="376"/>
                      </a:lnTo>
                      <a:lnTo>
                        <a:pt x="6" y="374"/>
                      </a:lnTo>
                      <a:lnTo>
                        <a:pt x="6" y="376"/>
                      </a:lnTo>
                      <a:lnTo>
                        <a:pt x="8" y="374"/>
                      </a:lnTo>
                      <a:lnTo>
                        <a:pt x="6" y="374"/>
                      </a:lnTo>
                      <a:lnTo>
                        <a:pt x="6" y="376"/>
                      </a:lnTo>
                      <a:lnTo>
                        <a:pt x="6" y="374"/>
                      </a:lnTo>
                      <a:lnTo>
                        <a:pt x="4" y="374"/>
                      </a:lnTo>
                      <a:lnTo>
                        <a:pt x="6" y="374"/>
                      </a:lnTo>
                      <a:lnTo>
                        <a:pt x="6" y="373"/>
                      </a:lnTo>
                      <a:close/>
                      <a:moveTo>
                        <a:pt x="56" y="376"/>
                      </a:moveTo>
                      <a:lnTo>
                        <a:pt x="56" y="378"/>
                      </a:lnTo>
                      <a:lnTo>
                        <a:pt x="54" y="378"/>
                      </a:lnTo>
                      <a:lnTo>
                        <a:pt x="54" y="380"/>
                      </a:lnTo>
                      <a:lnTo>
                        <a:pt x="54" y="382"/>
                      </a:lnTo>
                      <a:lnTo>
                        <a:pt x="52" y="384"/>
                      </a:lnTo>
                      <a:lnTo>
                        <a:pt x="54" y="384"/>
                      </a:lnTo>
                      <a:lnTo>
                        <a:pt x="52" y="384"/>
                      </a:lnTo>
                      <a:lnTo>
                        <a:pt x="54" y="386"/>
                      </a:lnTo>
                      <a:lnTo>
                        <a:pt x="52" y="386"/>
                      </a:lnTo>
                      <a:lnTo>
                        <a:pt x="52" y="384"/>
                      </a:lnTo>
                      <a:lnTo>
                        <a:pt x="52" y="386"/>
                      </a:lnTo>
                      <a:lnTo>
                        <a:pt x="52" y="384"/>
                      </a:lnTo>
                      <a:lnTo>
                        <a:pt x="50" y="384"/>
                      </a:lnTo>
                      <a:lnTo>
                        <a:pt x="50" y="386"/>
                      </a:lnTo>
                      <a:lnTo>
                        <a:pt x="50" y="384"/>
                      </a:lnTo>
                      <a:lnTo>
                        <a:pt x="48" y="386"/>
                      </a:lnTo>
                      <a:lnTo>
                        <a:pt x="48" y="384"/>
                      </a:lnTo>
                      <a:lnTo>
                        <a:pt x="46" y="386"/>
                      </a:lnTo>
                      <a:lnTo>
                        <a:pt x="46" y="384"/>
                      </a:lnTo>
                      <a:lnTo>
                        <a:pt x="46" y="386"/>
                      </a:lnTo>
                      <a:lnTo>
                        <a:pt x="46" y="382"/>
                      </a:lnTo>
                      <a:lnTo>
                        <a:pt x="48" y="382"/>
                      </a:lnTo>
                      <a:lnTo>
                        <a:pt x="48" y="384"/>
                      </a:lnTo>
                      <a:lnTo>
                        <a:pt x="48" y="382"/>
                      </a:lnTo>
                      <a:lnTo>
                        <a:pt x="48" y="380"/>
                      </a:lnTo>
                      <a:lnTo>
                        <a:pt x="50" y="380"/>
                      </a:lnTo>
                      <a:lnTo>
                        <a:pt x="48" y="380"/>
                      </a:lnTo>
                      <a:lnTo>
                        <a:pt x="46" y="380"/>
                      </a:lnTo>
                      <a:lnTo>
                        <a:pt x="48" y="378"/>
                      </a:lnTo>
                      <a:lnTo>
                        <a:pt x="50" y="378"/>
                      </a:lnTo>
                      <a:lnTo>
                        <a:pt x="54" y="378"/>
                      </a:lnTo>
                      <a:lnTo>
                        <a:pt x="56" y="376"/>
                      </a:lnTo>
                      <a:close/>
                      <a:moveTo>
                        <a:pt x="29" y="271"/>
                      </a:moveTo>
                      <a:lnTo>
                        <a:pt x="29" y="273"/>
                      </a:lnTo>
                      <a:lnTo>
                        <a:pt x="27" y="273"/>
                      </a:lnTo>
                      <a:lnTo>
                        <a:pt x="27" y="275"/>
                      </a:lnTo>
                      <a:lnTo>
                        <a:pt x="29" y="273"/>
                      </a:lnTo>
                      <a:lnTo>
                        <a:pt x="29" y="275"/>
                      </a:lnTo>
                      <a:lnTo>
                        <a:pt x="27" y="277"/>
                      </a:lnTo>
                      <a:lnTo>
                        <a:pt x="29" y="277"/>
                      </a:lnTo>
                      <a:lnTo>
                        <a:pt x="31" y="275"/>
                      </a:lnTo>
                      <a:lnTo>
                        <a:pt x="31" y="277"/>
                      </a:lnTo>
                      <a:lnTo>
                        <a:pt x="33" y="279"/>
                      </a:lnTo>
                      <a:lnTo>
                        <a:pt x="31" y="279"/>
                      </a:lnTo>
                      <a:lnTo>
                        <a:pt x="31" y="277"/>
                      </a:lnTo>
                      <a:lnTo>
                        <a:pt x="29" y="279"/>
                      </a:lnTo>
                      <a:lnTo>
                        <a:pt x="29" y="281"/>
                      </a:lnTo>
                      <a:lnTo>
                        <a:pt x="29" y="279"/>
                      </a:lnTo>
                      <a:lnTo>
                        <a:pt x="27" y="279"/>
                      </a:lnTo>
                      <a:lnTo>
                        <a:pt x="27" y="277"/>
                      </a:lnTo>
                      <a:lnTo>
                        <a:pt x="25" y="275"/>
                      </a:lnTo>
                      <a:lnTo>
                        <a:pt x="27" y="275"/>
                      </a:lnTo>
                      <a:lnTo>
                        <a:pt x="25" y="275"/>
                      </a:lnTo>
                      <a:lnTo>
                        <a:pt x="27" y="275"/>
                      </a:lnTo>
                      <a:lnTo>
                        <a:pt x="27" y="273"/>
                      </a:lnTo>
                      <a:lnTo>
                        <a:pt x="29" y="273"/>
                      </a:lnTo>
                      <a:lnTo>
                        <a:pt x="27" y="273"/>
                      </a:lnTo>
                      <a:lnTo>
                        <a:pt x="27" y="271"/>
                      </a:lnTo>
                      <a:lnTo>
                        <a:pt x="29" y="271"/>
                      </a:lnTo>
                      <a:close/>
                      <a:moveTo>
                        <a:pt x="86" y="208"/>
                      </a:moveTo>
                      <a:lnTo>
                        <a:pt x="86" y="210"/>
                      </a:lnTo>
                      <a:lnTo>
                        <a:pt x="88" y="210"/>
                      </a:lnTo>
                      <a:lnTo>
                        <a:pt x="90" y="212"/>
                      </a:lnTo>
                      <a:lnTo>
                        <a:pt x="86" y="212"/>
                      </a:lnTo>
                      <a:lnTo>
                        <a:pt x="86" y="210"/>
                      </a:lnTo>
                      <a:lnTo>
                        <a:pt x="84" y="210"/>
                      </a:lnTo>
                      <a:lnTo>
                        <a:pt x="86" y="210"/>
                      </a:lnTo>
                      <a:lnTo>
                        <a:pt x="86" y="212"/>
                      </a:lnTo>
                      <a:lnTo>
                        <a:pt x="84" y="212"/>
                      </a:lnTo>
                      <a:lnTo>
                        <a:pt x="84" y="214"/>
                      </a:lnTo>
                      <a:lnTo>
                        <a:pt x="86" y="212"/>
                      </a:lnTo>
                      <a:lnTo>
                        <a:pt x="86" y="214"/>
                      </a:lnTo>
                      <a:lnTo>
                        <a:pt x="84" y="214"/>
                      </a:lnTo>
                      <a:lnTo>
                        <a:pt x="82" y="214"/>
                      </a:lnTo>
                      <a:lnTo>
                        <a:pt x="80" y="212"/>
                      </a:lnTo>
                      <a:lnTo>
                        <a:pt x="82" y="210"/>
                      </a:lnTo>
                      <a:lnTo>
                        <a:pt x="86" y="208"/>
                      </a:lnTo>
                      <a:close/>
                      <a:moveTo>
                        <a:pt x="39" y="371"/>
                      </a:moveTo>
                      <a:lnTo>
                        <a:pt x="39" y="373"/>
                      </a:lnTo>
                      <a:lnTo>
                        <a:pt x="40" y="373"/>
                      </a:lnTo>
                      <a:lnTo>
                        <a:pt x="39" y="373"/>
                      </a:lnTo>
                      <a:lnTo>
                        <a:pt x="40" y="373"/>
                      </a:lnTo>
                      <a:lnTo>
                        <a:pt x="40" y="374"/>
                      </a:lnTo>
                      <a:lnTo>
                        <a:pt x="39" y="374"/>
                      </a:lnTo>
                      <a:lnTo>
                        <a:pt x="37" y="373"/>
                      </a:lnTo>
                      <a:lnTo>
                        <a:pt x="39" y="373"/>
                      </a:lnTo>
                      <a:lnTo>
                        <a:pt x="39" y="371"/>
                      </a:lnTo>
                      <a:lnTo>
                        <a:pt x="37" y="373"/>
                      </a:lnTo>
                      <a:lnTo>
                        <a:pt x="37" y="371"/>
                      </a:lnTo>
                      <a:lnTo>
                        <a:pt x="39" y="371"/>
                      </a:lnTo>
                      <a:close/>
                      <a:moveTo>
                        <a:pt x="29" y="365"/>
                      </a:moveTo>
                      <a:lnTo>
                        <a:pt x="31" y="365"/>
                      </a:lnTo>
                      <a:lnTo>
                        <a:pt x="29" y="365"/>
                      </a:lnTo>
                      <a:lnTo>
                        <a:pt x="31" y="367"/>
                      </a:lnTo>
                      <a:lnTo>
                        <a:pt x="31" y="369"/>
                      </a:lnTo>
                      <a:lnTo>
                        <a:pt x="33" y="367"/>
                      </a:lnTo>
                      <a:lnTo>
                        <a:pt x="33" y="369"/>
                      </a:lnTo>
                      <a:lnTo>
                        <a:pt x="33" y="371"/>
                      </a:lnTo>
                      <a:lnTo>
                        <a:pt x="31" y="371"/>
                      </a:lnTo>
                      <a:lnTo>
                        <a:pt x="31" y="369"/>
                      </a:lnTo>
                      <a:lnTo>
                        <a:pt x="29" y="369"/>
                      </a:lnTo>
                      <a:lnTo>
                        <a:pt x="29" y="367"/>
                      </a:lnTo>
                      <a:lnTo>
                        <a:pt x="29" y="369"/>
                      </a:lnTo>
                      <a:lnTo>
                        <a:pt x="29" y="367"/>
                      </a:lnTo>
                      <a:lnTo>
                        <a:pt x="31" y="367"/>
                      </a:lnTo>
                      <a:lnTo>
                        <a:pt x="29" y="365"/>
                      </a:lnTo>
                      <a:lnTo>
                        <a:pt x="29" y="367"/>
                      </a:lnTo>
                      <a:lnTo>
                        <a:pt x="29" y="365"/>
                      </a:lnTo>
                      <a:lnTo>
                        <a:pt x="29" y="367"/>
                      </a:lnTo>
                      <a:lnTo>
                        <a:pt x="27" y="367"/>
                      </a:lnTo>
                      <a:lnTo>
                        <a:pt x="27" y="365"/>
                      </a:lnTo>
                      <a:lnTo>
                        <a:pt x="29" y="365"/>
                      </a:lnTo>
                      <a:lnTo>
                        <a:pt x="27" y="365"/>
                      </a:lnTo>
                      <a:lnTo>
                        <a:pt x="29" y="365"/>
                      </a:lnTo>
                      <a:close/>
                      <a:moveTo>
                        <a:pt x="40" y="271"/>
                      </a:moveTo>
                      <a:lnTo>
                        <a:pt x="42" y="271"/>
                      </a:lnTo>
                      <a:lnTo>
                        <a:pt x="42" y="273"/>
                      </a:lnTo>
                      <a:lnTo>
                        <a:pt x="40" y="273"/>
                      </a:lnTo>
                      <a:lnTo>
                        <a:pt x="42" y="275"/>
                      </a:lnTo>
                      <a:lnTo>
                        <a:pt x="42" y="273"/>
                      </a:lnTo>
                      <a:lnTo>
                        <a:pt x="42" y="275"/>
                      </a:lnTo>
                      <a:lnTo>
                        <a:pt x="42" y="273"/>
                      </a:lnTo>
                      <a:lnTo>
                        <a:pt x="44" y="275"/>
                      </a:lnTo>
                      <a:lnTo>
                        <a:pt x="44" y="273"/>
                      </a:lnTo>
                      <a:lnTo>
                        <a:pt x="44" y="275"/>
                      </a:lnTo>
                      <a:lnTo>
                        <a:pt x="42" y="275"/>
                      </a:lnTo>
                      <a:lnTo>
                        <a:pt x="42" y="277"/>
                      </a:lnTo>
                      <a:lnTo>
                        <a:pt x="40" y="275"/>
                      </a:lnTo>
                      <a:lnTo>
                        <a:pt x="42" y="275"/>
                      </a:lnTo>
                      <a:lnTo>
                        <a:pt x="40" y="275"/>
                      </a:lnTo>
                      <a:lnTo>
                        <a:pt x="40" y="273"/>
                      </a:lnTo>
                      <a:lnTo>
                        <a:pt x="40" y="275"/>
                      </a:lnTo>
                      <a:lnTo>
                        <a:pt x="40" y="273"/>
                      </a:lnTo>
                      <a:lnTo>
                        <a:pt x="39" y="273"/>
                      </a:lnTo>
                      <a:lnTo>
                        <a:pt x="40" y="273"/>
                      </a:lnTo>
                      <a:lnTo>
                        <a:pt x="40" y="271"/>
                      </a:lnTo>
                      <a:close/>
                      <a:moveTo>
                        <a:pt x="2" y="376"/>
                      </a:moveTo>
                      <a:lnTo>
                        <a:pt x="2" y="378"/>
                      </a:lnTo>
                      <a:lnTo>
                        <a:pt x="4" y="378"/>
                      </a:lnTo>
                      <a:lnTo>
                        <a:pt x="4" y="380"/>
                      </a:lnTo>
                      <a:lnTo>
                        <a:pt x="2" y="380"/>
                      </a:lnTo>
                      <a:lnTo>
                        <a:pt x="2" y="378"/>
                      </a:lnTo>
                      <a:lnTo>
                        <a:pt x="2" y="380"/>
                      </a:lnTo>
                      <a:lnTo>
                        <a:pt x="0" y="380"/>
                      </a:lnTo>
                      <a:lnTo>
                        <a:pt x="0" y="378"/>
                      </a:lnTo>
                      <a:lnTo>
                        <a:pt x="2" y="378"/>
                      </a:lnTo>
                      <a:lnTo>
                        <a:pt x="0" y="378"/>
                      </a:lnTo>
                      <a:lnTo>
                        <a:pt x="0" y="376"/>
                      </a:lnTo>
                      <a:lnTo>
                        <a:pt x="0" y="378"/>
                      </a:lnTo>
                      <a:lnTo>
                        <a:pt x="0" y="376"/>
                      </a:lnTo>
                      <a:lnTo>
                        <a:pt x="0" y="378"/>
                      </a:lnTo>
                      <a:lnTo>
                        <a:pt x="0" y="376"/>
                      </a:lnTo>
                      <a:lnTo>
                        <a:pt x="2" y="378"/>
                      </a:lnTo>
                      <a:lnTo>
                        <a:pt x="2" y="376"/>
                      </a:lnTo>
                      <a:close/>
                      <a:moveTo>
                        <a:pt x="44" y="374"/>
                      </a:moveTo>
                      <a:lnTo>
                        <a:pt x="44" y="376"/>
                      </a:lnTo>
                      <a:lnTo>
                        <a:pt x="46" y="374"/>
                      </a:lnTo>
                      <a:lnTo>
                        <a:pt x="46" y="376"/>
                      </a:lnTo>
                      <a:lnTo>
                        <a:pt x="44" y="376"/>
                      </a:lnTo>
                      <a:lnTo>
                        <a:pt x="44" y="378"/>
                      </a:lnTo>
                      <a:lnTo>
                        <a:pt x="42" y="378"/>
                      </a:lnTo>
                      <a:lnTo>
                        <a:pt x="42" y="376"/>
                      </a:lnTo>
                      <a:lnTo>
                        <a:pt x="42" y="378"/>
                      </a:lnTo>
                      <a:lnTo>
                        <a:pt x="44" y="378"/>
                      </a:lnTo>
                      <a:lnTo>
                        <a:pt x="44" y="376"/>
                      </a:lnTo>
                      <a:lnTo>
                        <a:pt x="42" y="376"/>
                      </a:lnTo>
                      <a:lnTo>
                        <a:pt x="42" y="374"/>
                      </a:lnTo>
                      <a:lnTo>
                        <a:pt x="44" y="374"/>
                      </a:lnTo>
                      <a:close/>
                      <a:moveTo>
                        <a:pt x="39" y="378"/>
                      </a:moveTo>
                      <a:lnTo>
                        <a:pt x="39" y="380"/>
                      </a:lnTo>
                      <a:lnTo>
                        <a:pt x="40" y="380"/>
                      </a:lnTo>
                      <a:lnTo>
                        <a:pt x="39" y="380"/>
                      </a:lnTo>
                      <a:lnTo>
                        <a:pt x="37" y="380"/>
                      </a:lnTo>
                      <a:lnTo>
                        <a:pt x="37" y="382"/>
                      </a:lnTo>
                      <a:lnTo>
                        <a:pt x="35" y="382"/>
                      </a:lnTo>
                      <a:lnTo>
                        <a:pt x="37" y="380"/>
                      </a:lnTo>
                      <a:lnTo>
                        <a:pt x="37" y="378"/>
                      </a:lnTo>
                      <a:lnTo>
                        <a:pt x="37" y="380"/>
                      </a:lnTo>
                      <a:lnTo>
                        <a:pt x="37" y="378"/>
                      </a:lnTo>
                      <a:lnTo>
                        <a:pt x="39" y="378"/>
                      </a:lnTo>
                      <a:close/>
                      <a:moveTo>
                        <a:pt x="35" y="380"/>
                      </a:moveTo>
                      <a:lnTo>
                        <a:pt x="35" y="382"/>
                      </a:lnTo>
                      <a:lnTo>
                        <a:pt x="33" y="382"/>
                      </a:lnTo>
                      <a:lnTo>
                        <a:pt x="33" y="380"/>
                      </a:lnTo>
                      <a:lnTo>
                        <a:pt x="35" y="380"/>
                      </a:lnTo>
                      <a:close/>
                      <a:moveTo>
                        <a:pt x="29" y="273"/>
                      </a:moveTo>
                      <a:lnTo>
                        <a:pt x="31" y="273"/>
                      </a:lnTo>
                      <a:lnTo>
                        <a:pt x="31" y="275"/>
                      </a:lnTo>
                      <a:lnTo>
                        <a:pt x="29" y="275"/>
                      </a:lnTo>
                      <a:lnTo>
                        <a:pt x="31" y="275"/>
                      </a:lnTo>
                      <a:lnTo>
                        <a:pt x="31" y="273"/>
                      </a:lnTo>
                      <a:lnTo>
                        <a:pt x="29" y="275"/>
                      </a:lnTo>
                      <a:lnTo>
                        <a:pt x="29" y="273"/>
                      </a:lnTo>
                      <a:close/>
                      <a:moveTo>
                        <a:pt x="48" y="374"/>
                      </a:moveTo>
                      <a:lnTo>
                        <a:pt x="46" y="374"/>
                      </a:lnTo>
                      <a:lnTo>
                        <a:pt x="48" y="374"/>
                      </a:lnTo>
                      <a:lnTo>
                        <a:pt x="48" y="376"/>
                      </a:lnTo>
                      <a:lnTo>
                        <a:pt x="46" y="376"/>
                      </a:lnTo>
                      <a:lnTo>
                        <a:pt x="46" y="374"/>
                      </a:lnTo>
                      <a:lnTo>
                        <a:pt x="46" y="376"/>
                      </a:lnTo>
                      <a:lnTo>
                        <a:pt x="46" y="374"/>
                      </a:lnTo>
                      <a:lnTo>
                        <a:pt x="48" y="374"/>
                      </a:lnTo>
                      <a:close/>
                      <a:moveTo>
                        <a:pt x="46" y="376"/>
                      </a:moveTo>
                      <a:lnTo>
                        <a:pt x="46" y="378"/>
                      </a:lnTo>
                      <a:lnTo>
                        <a:pt x="44" y="380"/>
                      </a:lnTo>
                      <a:lnTo>
                        <a:pt x="44" y="378"/>
                      </a:lnTo>
                      <a:lnTo>
                        <a:pt x="42" y="378"/>
                      </a:lnTo>
                      <a:lnTo>
                        <a:pt x="44" y="378"/>
                      </a:lnTo>
                      <a:lnTo>
                        <a:pt x="42" y="378"/>
                      </a:lnTo>
                      <a:lnTo>
                        <a:pt x="44" y="378"/>
                      </a:lnTo>
                      <a:lnTo>
                        <a:pt x="46" y="376"/>
                      </a:lnTo>
                      <a:close/>
                      <a:moveTo>
                        <a:pt x="52" y="258"/>
                      </a:moveTo>
                      <a:lnTo>
                        <a:pt x="54" y="258"/>
                      </a:lnTo>
                      <a:lnTo>
                        <a:pt x="54" y="260"/>
                      </a:lnTo>
                      <a:lnTo>
                        <a:pt x="52" y="260"/>
                      </a:lnTo>
                      <a:lnTo>
                        <a:pt x="52" y="258"/>
                      </a:lnTo>
                      <a:close/>
                      <a:moveTo>
                        <a:pt x="39" y="378"/>
                      </a:moveTo>
                      <a:lnTo>
                        <a:pt x="42" y="378"/>
                      </a:lnTo>
                      <a:lnTo>
                        <a:pt x="42" y="380"/>
                      </a:lnTo>
                      <a:lnTo>
                        <a:pt x="39" y="380"/>
                      </a:lnTo>
                      <a:lnTo>
                        <a:pt x="39" y="378"/>
                      </a:lnTo>
                      <a:close/>
                      <a:moveTo>
                        <a:pt x="31" y="378"/>
                      </a:moveTo>
                      <a:lnTo>
                        <a:pt x="29" y="378"/>
                      </a:lnTo>
                      <a:lnTo>
                        <a:pt x="31" y="378"/>
                      </a:lnTo>
                      <a:lnTo>
                        <a:pt x="31" y="380"/>
                      </a:lnTo>
                      <a:lnTo>
                        <a:pt x="33" y="378"/>
                      </a:lnTo>
                      <a:lnTo>
                        <a:pt x="31" y="380"/>
                      </a:lnTo>
                      <a:lnTo>
                        <a:pt x="29" y="380"/>
                      </a:lnTo>
                      <a:lnTo>
                        <a:pt x="31" y="378"/>
                      </a:lnTo>
                      <a:lnTo>
                        <a:pt x="29" y="380"/>
                      </a:lnTo>
                      <a:lnTo>
                        <a:pt x="29" y="378"/>
                      </a:lnTo>
                      <a:lnTo>
                        <a:pt x="31" y="378"/>
                      </a:lnTo>
                      <a:close/>
                      <a:moveTo>
                        <a:pt x="12" y="380"/>
                      </a:moveTo>
                      <a:lnTo>
                        <a:pt x="14" y="380"/>
                      </a:lnTo>
                      <a:lnTo>
                        <a:pt x="14" y="384"/>
                      </a:lnTo>
                      <a:lnTo>
                        <a:pt x="12" y="384"/>
                      </a:lnTo>
                      <a:lnTo>
                        <a:pt x="12" y="380"/>
                      </a:lnTo>
                      <a:close/>
                      <a:moveTo>
                        <a:pt x="35" y="273"/>
                      </a:moveTo>
                      <a:lnTo>
                        <a:pt x="37" y="273"/>
                      </a:lnTo>
                      <a:lnTo>
                        <a:pt x="37" y="275"/>
                      </a:lnTo>
                      <a:lnTo>
                        <a:pt x="35" y="275"/>
                      </a:lnTo>
                      <a:lnTo>
                        <a:pt x="37" y="275"/>
                      </a:lnTo>
                      <a:lnTo>
                        <a:pt x="35" y="275"/>
                      </a:lnTo>
                      <a:lnTo>
                        <a:pt x="35" y="277"/>
                      </a:lnTo>
                      <a:lnTo>
                        <a:pt x="35" y="275"/>
                      </a:lnTo>
                      <a:lnTo>
                        <a:pt x="35" y="277"/>
                      </a:lnTo>
                      <a:lnTo>
                        <a:pt x="35" y="275"/>
                      </a:lnTo>
                      <a:lnTo>
                        <a:pt x="35" y="273"/>
                      </a:lnTo>
                      <a:close/>
                      <a:moveTo>
                        <a:pt x="46" y="376"/>
                      </a:moveTo>
                      <a:lnTo>
                        <a:pt x="48" y="376"/>
                      </a:lnTo>
                      <a:lnTo>
                        <a:pt x="48" y="378"/>
                      </a:lnTo>
                      <a:lnTo>
                        <a:pt x="46" y="378"/>
                      </a:lnTo>
                      <a:lnTo>
                        <a:pt x="46" y="376"/>
                      </a:lnTo>
                      <a:close/>
                      <a:moveTo>
                        <a:pt x="98" y="376"/>
                      </a:moveTo>
                      <a:lnTo>
                        <a:pt x="100" y="376"/>
                      </a:lnTo>
                      <a:lnTo>
                        <a:pt x="100" y="380"/>
                      </a:lnTo>
                      <a:lnTo>
                        <a:pt x="98" y="380"/>
                      </a:lnTo>
                      <a:lnTo>
                        <a:pt x="98" y="376"/>
                      </a:lnTo>
                      <a:close/>
                      <a:moveTo>
                        <a:pt x="29" y="367"/>
                      </a:moveTo>
                      <a:lnTo>
                        <a:pt x="31" y="367"/>
                      </a:lnTo>
                      <a:lnTo>
                        <a:pt x="31" y="371"/>
                      </a:lnTo>
                      <a:lnTo>
                        <a:pt x="29" y="371"/>
                      </a:lnTo>
                      <a:lnTo>
                        <a:pt x="29" y="367"/>
                      </a:lnTo>
                      <a:close/>
                      <a:moveTo>
                        <a:pt x="27" y="357"/>
                      </a:moveTo>
                      <a:lnTo>
                        <a:pt x="31" y="357"/>
                      </a:lnTo>
                      <a:lnTo>
                        <a:pt x="31" y="359"/>
                      </a:lnTo>
                      <a:lnTo>
                        <a:pt x="27" y="359"/>
                      </a:lnTo>
                      <a:lnTo>
                        <a:pt x="27" y="357"/>
                      </a:lnTo>
                      <a:close/>
                      <a:moveTo>
                        <a:pt x="69" y="386"/>
                      </a:moveTo>
                      <a:lnTo>
                        <a:pt x="71" y="386"/>
                      </a:lnTo>
                      <a:lnTo>
                        <a:pt x="73" y="386"/>
                      </a:lnTo>
                      <a:lnTo>
                        <a:pt x="71" y="386"/>
                      </a:lnTo>
                      <a:lnTo>
                        <a:pt x="71" y="388"/>
                      </a:lnTo>
                      <a:lnTo>
                        <a:pt x="69" y="388"/>
                      </a:lnTo>
                      <a:lnTo>
                        <a:pt x="71" y="386"/>
                      </a:lnTo>
                      <a:lnTo>
                        <a:pt x="69" y="388"/>
                      </a:lnTo>
                      <a:lnTo>
                        <a:pt x="69" y="386"/>
                      </a:lnTo>
                      <a:close/>
                      <a:moveTo>
                        <a:pt x="44" y="373"/>
                      </a:moveTo>
                      <a:lnTo>
                        <a:pt x="42" y="374"/>
                      </a:lnTo>
                      <a:lnTo>
                        <a:pt x="44" y="374"/>
                      </a:lnTo>
                      <a:lnTo>
                        <a:pt x="46" y="374"/>
                      </a:lnTo>
                      <a:lnTo>
                        <a:pt x="44" y="374"/>
                      </a:lnTo>
                      <a:lnTo>
                        <a:pt x="42" y="374"/>
                      </a:lnTo>
                      <a:lnTo>
                        <a:pt x="42" y="373"/>
                      </a:lnTo>
                      <a:lnTo>
                        <a:pt x="44" y="373"/>
                      </a:lnTo>
                      <a:close/>
                      <a:moveTo>
                        <a:pt x="75" y="182"/>
                      </a:moveTo>
                      <a:lnTo>
                        <a:pt x="77" y="182"/>
                      </a:lnTo>
                      <a:lnTo>
                        <a:pt x="77" y="184"/>
                      </a:lnTo>
                      <a:lnTo>
                        <a:pt x="75" y="184"/>
                      </a:lnTo>
                      <a:lnTo>
                        <a:pt x="75" y="182"/>
                      </a:lnTo>
                      <a:close/>
                      <a:moveTo>
                        <a:pt x="103" y="374"/>
                      </a:moveTo>
                      <a:lnTo>
                        <a:pt x="105" y="374"/>
                      </a:lnTo>
                      <a:lnTo>
                        <a:pt x="105" y="376"/>
                      </a:lnTo>
                      <a:lnTo>
                        <a:pt x="103" y="376"/>
                      </a:lnTo>
                      <a:lnTo>
                        <a:pt x="103" y="374"/>
                      </a:lnTo>
                      <a:close/>
                      <a:moveTo>
                        <a:pt x="14" y="376"/>
                      </a:moveTo>
                      <a:lnTo>
                        <a:pt x="16" y="376"/>
                      </a:lnTo>
                      <a:lnTo>
                        <a:pt x="16" y="380"/>
                      </a:lnTo>
                      <a:lnTo>
                        <a:pt x="14" y="380"/>
                      </a:lnTo>
                      <a:lnTo>
                        <a:pt x="14" y="376"/>
                      </a:lnTo>
                      <a:close/>
                      <a:moveTo>
                        <a:pt x="39" y="371"/>
                      </a:moveTo>
                      <a:lnTo>
                        <a:pt x="42" y="371"/>
                      </a:lnTo>
                      <a:lnTo>
                        <a:pt x="42" y="373"/>
                      </a:lnTo>
                      <a:lnTo>
                        <a:pt x="39" y="373"/>
                      </a:lnTo>
                      <a:lnTo>
                        <a:pt x="39" y="371"/>
                      </a:lnTo>
                      <a:close/>
                      <a:moveTo>
                        <a:pt x="35" y="369"/>
                      </a:moveTo>
                      <a:lnTo>
                        <a:pt x="37" y="369"/>
                      </a:lnTo>
                      <a:lnTo>
                        <a:pt x="37" y="371"/>
                      </a:lnTo>
                      <a:lnTo>
                        <a:pt x="35" y="371"/>
                      </a:lnTo>
                      <a:lnTo>
                        <a:pt x="35" y="369"/>
                      </a:lnTo>
                      <a:close/>
                      <a:moveTo>
                        <a:pt x="16" y="384"/>
                      </a:moveTo>
                      <a:lnTo>
                        <a:pt x="19" y="384"/>
                      </a:lnTo>
                      <a:lnTo>
                        <a:pt x="19" y="386"/>
                      </a:lnTo>
                      <a:lnTo>
                        <a:pt x="16" y="386"/>
                      </a:lnTo>
                      <a:lnTo>
                        <a:pt x="16" y="384"/>
                      </a:lnTo>
                      <a:close/>
                      <a:moveTo>
                        <a:pt x="14" y="386"/>
                      </a:moveTo>
                      <a:lnTo>
                        <a:pt x="16" y="386"/>
                      </a:lnTo>
                      <a:lnTo>
                        <a:pt x="14" y="386"/>
                      </a:lnTo>
                      <a:close/>
                      <a:moveTo>
                        <a:pt x="27" y="285"/>
                      </a:moveTo>
                      <a:lnTo>
                        <a:pt x="27" y="287"/>
                      </a:lnTo>
                      <a:lnTo>
                        <a:pt x="27" y="285"/>
                      </a:lnTo>
                      <a:close/>
                      <a:moveTo>
                        <a:pt x="25" y="291"/>
                      </a:moveTo>
                      <a:lnTo>
                        <a:pt x="29" y="291"/>
                      </a:lnTo>
                      <a:lnTo>
                        <a:pt x="25" y="291"/>
                      </a:lnTo>
                      <a:close/>
                      <a:moveTo>
                        <a:pt x="19" y="376"/>
                      </a:moveTo>
                      <a:lnTo>
                        <a:pt x="21" y="376"/>
                      </a:lnTo>
                      <a:lnTo>
                        <a:pt x="21" y="378"/>
                      </a:lnTo>
                      <a:lnTo>
                        <a:pt x="19" y="378"/>
                      </a:lnTo>
                      <a:lnTo>
                        <a:pt x="19" y="376"/>
                      </a:lnTo>
                      <a:close/>
                      <a:moveTo>
                        <a:pt x="42" y="373"/>
                      </a:moveTo>
                      <a:lnTo>
                        <a:pt x="44" y="373"/>
                      </a:lnTo>
                      <a:lnTo>
                        <a:pt x="42" y="373"/>
                      </a:lnTo>
                      <a:close/>
                      <a:moveTo>
                        <a:pt x="113" y="371"/>
                      </a:moveTo>
                      <a:lnTo>
                        <a:pt x="115" y="371"/>
                      </a:lnTo>
                      <a:lnTo>
                        <a:pt x="115" y="374"/>
                      </a:lnTo>
                      <a:lnTo>
                        <a:pt x="113" y="374"/>
                      </a:lnTo>
                      <a:lnTo>
                        <a:pt x="113" y="371"/>
                      </a:lnTo>
                      <a:close/>
                      <a:moveTo>
                        <a:pt x="54" y="382"/>
                      </a:moveTo>
                      <a:lnTo>
                        <a:pt x="56" y="382"/>
                      </a:lnTo>
                      <a:lnTo>
                        <a:pt x="56" y="384"/>
                      </a:lnTo>
                      <a:lnTo>
                        <a:pt x="54" y="384"/>
                      </a:lnTo>
                      <a:lnTo>
                        <a:pt x="54" y="382"/>
                      </a:lnTo>
                      <a:close/>
                      <a:moveTo>
                        <a:pt x="50" y="256"/>
                      </a:moveTo>
                      <a:lnTo>
                        <a:pt x="52" y="256"/>
                      </a:lnTo>
                      <a:lnTo>
                        <a:pt x="52" y="258"/>
                      </a:lnTo>
                      <a:lnTo>
                        <a:pt x="50" y="258"/>
                      </a:lnTo>
                      <a:lnTo>
                        <a:pt x="50" y="256"/>
                      </a:lnTo>
                      <a:close/>
                      <a:moveTo>
                        <a:pt x="44" y="378"/>
                      </a:moveTo>
                      <a:lnTo>
                        <a:pt x="46" y="378"/>
                      </a:lnTo>
                      <a:lnTo>
                        <a:pt x="46" y="380"/>
                      </a:lnTo>
                      <a:lnTo>
                        <a:pt x="44" y="380"/>
                      </a:lnTo>
                      <a:lnTo>
                        <a:pt x="44" y="378"/>
                      </a:lnTo>
                      <a:close/>
                      <a:moveTo>
                        <a:pt x="65" y="388"/>
                      </a:moveTo>
                      <a:lnTo>
                        <a:pt x="65" y="390"/>
                      </a:lnTo>
                      <a:lnTo>
                        <a:pt x="63" y="390"/>
                      </a:lnTo>
                      <a:lnTo>
                        <a:pt x="63" y="388"/>
                      </a:lnTo>
                      <a:lnTo>
                        <a:pt x="63" y="390"/>
                      </a:lnTo>
                      <a:lnTo>
                        <a:pt x="63" y="388"/>
                      </a:lnTo>
                      <a:lnTo>
                        <a:pt x="65" y="388"/>
                      </a:lnTo>
                      <a:close/>
                      <a:moveTo>
                        <a:pt x="39" y="376"/>
                      </a:moveTo>
                      <a:lnTo>
                        <a:pt x="40" y="376"/>
                      </a:lnTo>
                      <a:lnTo>
                        <a:pt x="39" y="376"/>
                      </a:lnTo>
                      <a:close/>
                      <a:moveTo>
                        <a:pt x="54" y="384"/>
                      </a:moveTo>
                      <a:lnTo>
                        <a:pt x="56" y="384"/>
                      </a:lnTo>
                      <a:lnTo>
                        <a:pt x="56" y="386"/>
                      </a:lnTo>
                      <a:lnTo>
                        <a:pt x="54" y="386"/>
                      </a:lnTo>
                      <a:lnTo>
                        <a:pt x="54" y="384"/>
                      </a:lnTo>
                      <a:close/>
                      <a:moveTo>
                        <a:pt x="33" y="376"/>
                      </a:moveTo>
                      <a:lnTo>
                        <a:pt x="35" y="376"/>
                      </a:lnTo>
                      <a:lnTo>
                        <a:pt x="35" y="378"/>
                      </a:lnTo>
                      <a:lnTo>
                        <a:pt x="33" y="378"/>
                      </a:lnTo>
                      <a:lnTo>
                        <a:pt x="33" y="376"/>
                      </a:lnTo>
                      <a:close/>
                      <a:moveTo>
                        <a:pt x="27" y="289"/>
                      </a:moveTo>
                      <a:lnTo>
                        <a:pt x="29" y="289"/>
                      </a:lnTo>
                      <a:lnTo>
                        <a:pt x="29" y="291"/>
                      </a:lnTo>
                      <a:lnTo>
                        <a:pt x="27" y="291"/>
                      </a:lnTo>
                      <a:lnTo>
                        <a:pt x="27" y="289"/>
                      </a:lnTo>
                      <a:close/>
                      <a:moveTo>
                        <a:pt x="14" y="384"/>
                      </a:moveTo>
                      <a:lnTo>
                        <a:pt x="16" y="384"/>
                      </a:lnTo>
                      <a:lnTo>
                        <a:pt x="16" y="386"/>
                      </a:lnTo>
                      <a:lnTo>
                        <a:pt x="14" y="386"/>
                      </a:lnTo>
                      <a:lnTo>
                        <a:pt x="14" y="384"/>
                      </a:lnTo>
                      <a:close/>
                      <a:moveTo>
                        <a:pt x="117" y="371"/>
                      </a:moveTo>
                      <a:lnTo>
                        <a:pt x="119" y="371"/>
                      </a:lnTo>
                      <a:lnTo>
                        <a:pt x="119" y="373"/>
                      </a:lnTo>
                      <a:lnTo>
                        <a:pt x="117" y="373"/>
                      </a:lnTo>
                      <a:lnTo>
                        <a:pt x="117" y="371"/>
                      </a:lnTo>
                      <a:close/>
                      <a:moveTo>
                        <a:pt x="101" y="378"/>
                      </a:moveTo>
                      <a:lnTo>
                        <a:pt x="103" y="378"/>
                      </a:lnTo>
                      <a:lnTo>
                        <a:pt x="103" y="380"/>
                      </a:lnTo>
                      <a:lnTo>
                        <a:pt x="101" y="380"/>
                      </a:lnTo>
                      <a:lnTo>
                        <a:pt x="101" y="378"/>
                      </a:lnTo>
                      <a:close/>
                      <a:moveTo>
                        <a:pt x="16" y="384"/>
                      </a:moveTo>
                      <a:lnTo>
                        <a:pt x="18" y="384"/>
                      </a:lnTo>
                      <a:lnTo>
                        <a:pt x="18" y="386"/>
                      </a:lnTo>
                      <a:lnTo>
                        <a:pt x="16" y="386"/>
                      </a:lnTo>
                      <a:lnTo>
                        <a:pt x="16" y="384"/>
                      </a:lnTo>
                      <a:close/>
                      <a:moveTo>
                        <a:pt x="23" y="388"/>
                      </a:moveTo>
                      <a:lnTo>
                        <a:pt x="25" y="388"/>
                      </a:lnTo>
                      <a:lnTo>
                        <a:pt x="23" y="388"/>
                      </a:lnTo>
                      <a:close/>
                      <a:moveTo>
                        <a:pt x="29" y="376"/>
                      </a:moveTo>
                      <a:lnTo>
                        <a:pt x="31" y="376"/>
                      </a:lnTo>
                      <a:lnTo>
                        <a:pt x="31" y="378"/>
                      </a:lnTo>
                      <a:lnTo>
                        <a:pt x="29" y="378"/>
                      </a:lnTo>
                      <a:lnTo>
                        <a:pt x="29" y="376"/>
                      </a:lnTo>
                      <a:close/>
                      <a:moveTo>
                        <a:pt x="46" y="390"/>
                      </a:moveTo>
                      <a:lnTo>
                        <a:pt x="48" y="390"/>
                      </a:lnTo>
                      <a:lnTo>
                        <a:pt x="46" y="390"/>
                      </a:lnTo>
                      <a:close/>
                      <a:moveTo>
                        <a:pt x="39" y="374"/>
                      </a:moveTo>
                      <a:lnTo>
                        <a:pt x="40" y="374"/>
                      </a:lnTo>
                      <a:lnTo>
                        <a:pt x="40" y="376"/>
                      </a:lnTo>
                      <a:lnTo>
                        <a:pt x="39" y="376"/>
                      </a:lnTo>
                      <a:lnTo>
                        <a:pt x="39" y="374"/>
                      </a:lnTo>
                      <a:close/>
                      <a:moveTo>
                        <a:pt x="31" y="331"/>
                      </a:moveTo>
                      <a:lnTo>
                        <a:pt x="33" y="331"/>
                      </a:lnTo>
                      <a:lnTo>
                        <a:pt x="33" y="333"/>
                      </a:lnTo>
                      <a:lnTo>
                        <a:pt x="31" y="333"/>
                      </a:lnTo>
                      <a:lnTo>
                        <a:pt x="31" y="331"/>
                      </a:lnTo>
                      <a:close/>
                      <a:moveTo>
                        <a:pt x="19" y="374"/>
                      </a:moveTo>
                      <a:lnTo>
                        <a:pt x="21" y="374"/>
                      </a:lnTo>
                      <a:lnTo>
                        <a:pt x="21" y="376"/>
                      </a:lnTo>
                      <a:lnTo>
                        <a:pt x="19" y="376"/>
                      </a:lnTo>
                      <a:lnTo>
                        <a:pt x="19" y="374"/>
                      </a:lnTo>
                      <a:close/>
                      <a:moveTo>
                        <a:pt x="31" y="287"/>
                      </a:moveTo>
                      <a:lnTo>
                        <a:pt x="31" y="289"/>
                      </a:lnTo>
                      <a:lnTo>
                        <a:pt x="31" y="287"/>
                      </a:lnTo>
                      <a:close/>
                      <a:moveTo>
                        <a:pt x="46" y="386"/>
                      </a:moveTo>
                      <a:lnTo>
                        <a:pt x="48" y="386"/>
                      </a:lnTo>
                      <a:lnTo>
                        <a:pt x="48" y="388"/>
                      </a:lnTo>
                      <a:lnTo>
                        <a:pt x="46" y="388"/>
                      </a:lnTo>
                      <a:lnTo>
                        <a:pt x="46" y="386"/>
                      </a:lnTo>
                      <a:close/>
                      <a:moveTo>
                        <a:pt x="80" y="186"/>
                      </a:moveTo>
                      <a:lnTo>
                        <a:pt x="82" y="186"/>
                      </a:lnTo>
                      <a:lnTo>
                        <a:pt x="82" y="187"/>
                      </a:lnTo>
                      <a:lnTo>
                        <a:pt x="80" y="187"/>
                      </a:lnTo>
                      <a:lnTo>
                        <a:pt x="80" y="186"/>
                      </a:lnTo>
                      <a:close/>
                      <a:moveTo>
                        <a:pt x="25" y="369"/>
                      </a:moveTo>
                      <a:lnTo>
                        <a:pt x="27" y="369"/>
                      </a:lnTo>
                      <a:lnTo>
                        <a:pt x="27" y="371"/>
                      </a:lnTo>
                      <a:lnTo>
                        <a:pt x="25" y="371"/>
                      </a:lnTo>
                      <a:lnTo>
                        <a:pt x="25" y="369"/>
                      </a:lnTo>
                      <a:close/>
                      <a:moveTo>
                        <a:pt x="16" y="382"/>
                      </a:moveTo>
                      <a:lnTo>
                        <a:pt x="18" y="382"/>
                      </a:lnTo>
                      <a:lnTo>
                        <a:pt x="18" y="384"/>
                      </a:lnTo>
                      <a:lnTo>
                        <a:pt x="16" y="384"/>
                      </a:lnTo>
                      <a:lnTo>
                        <a:pt x="16" y="382"/>
                      </a:lnTo>
                      <a:close/>
                      <a:moveTo>
                        <a:pt x="65" y="388"/>
                      </a:moveTo>
                      <a:lnTo>
                        <a:pt x="67" y="388"/>
                      </a:lnTo>
                      <a:lnTo>
                        <a:pt x="65" y="388"/>
                      </a:lnTo>
                      <a:close/>
                      <a:moveTo>
                        <a:pt x="48" y="386"/>
                      </a:moveTo>
                      <a:lnTo>
                        <a:pt x="50" y="386"/>
                      </a:lnTo>
                      <a:lnTo>
                        <a:pt x="50" y="388"/>
                      </a:lnTo>
                      <a:lnTo>
                        <a:pt x="48" y="388"/>
                      </a:lnTo>
                      <a:lnTo>
                        <a:pt x="48" y="386"/>
                      </a:lnTo>
                      <a:close/>
                      <a:moveTo>
                        <a:pt x="50" y="386"/>
                      </a:moveTo>
                      <a:lnTo>
                        <a:pt x="52" y="386"/>
                      </a:lnTo>
                      <a:lnTo>
                        <a:pt x="52" y="388"/>
                      </a:lnTo>
                      <a:lnTo>
                        <a:pt x="50" y="388"/>
                      </a:lnTo>
                      <a:lnTo>
                        <a:pt x="50" y="386"/>
                      </a:lnTo>
                      <a:close/>
                      <a:moveTo>
                        <a:pt x="21" y="388"/>
                      </a:moveTo>
                      <a:lnTo>
                        <a:pt x="23" y="388"/>
                      </a:lnTo>
                      <a:lnTo>
                        <a:pt x="23" y="390"/>
                      </a:lnTo>
                      <a:lnTo>
                        <a:pt x="21" y="390"/>
                      </a:lnTo>
                      <a:lnTo>
                        <a:pt x="21" y="388"/>
                      </a:lnTo>
                      <a:close/>
                      <a:moveTo>
                        <a:pt x="14" y="374"/>
                      </a:moveTo>
                      <a:lnTo>
                        <a:pt x="16" y="374"/>
                      </a:lnTo>
                      <a:lnTo>
                        <a:pt x="14" y="374"/>
                      </a:lnTo>
                      <a:close/>
                      <a:moveTo>
                        <a:pt x="39" y="382"/>
                      </a:moveTo>
                      <a:lnTo>
                        <a:pt x="40" y="382"/>
                      </a:lnTo>
                      <a:lnTo>
                        <a:pt x="39" y="382"/>
                      </a:lnTo>
                      <a:close/>
                      <a:moveTo>
                        <a:pt x="29" y="346"/>
                      </a:moveTo>
                      <a:lnTo>
                        <a:pt x="31" y="346"/>
                      </a:lnTo>
                      <a:lnTo>
                        <a:pt x="31" y="348"/>
                      </a:lnTo>
                      <a:lnTo>
                        <a:pt x="29" y="348"/>
                      </a:lnTo>
                      <a:lnTo>
                        <a:pt x="29" y="346"/>
                      </a:lnTo>
                      <a:close/>
                      <a:moveTo>
                        <a:pt x="29" y="373"/>
                      </a:moveTo>
                      <a:lnTo>
                        <a:pt x="31" y="373"/>
                      </a:lnTo>
                      <a:lnTo>
                        <a:pt x="31" y="374"/>
                      </a:lnTo>
                      <a:lnTo>
                        <a:pt x="29" y="374"/>
                      </a:lnTo>
                      <a:lnTo>
                        <a:pt x="29" y="373"/>
                      </a:lnTo>
                      <a:close/>
                      <a:moveTo>
                        <a:pt x="25" y="300"/>
                      </a:moveTo>
                      <a:lnTo>
                        <a:pt x="27" y="300"/>
                      </a:lnTo>
                      <a:lnTo>
                        <a:pt x="27" y="302"/>
                      </a:lnTo>
                      <a:lnTo>
                        <a:pt x="25" y="302"/>
                      </a:lnTo>
                      <a:lnTo>
                        <a:pt x="25" y="300"/>
                      </a:lnTo>
                      <a:close/>
                      <a:moveTo>
                        <a:pt x="19" y="378"/>
                      </a:moveTo>
                      <a:lnTo>
                        <a:pt x="19" y="380"/>
                      </a:lnTo>
                      <a:lnTo>
                        <a:pt x="19" y="378"/>
                      </a:lnTo>
                      <a:close/>
                      <a:moveTo>
                        <a:pt x="29" y="285"/>
                      </a:moveTo>
                      <a:lnTo>
                        <a:pt x="31" y="285"/>
                      </a:lnTo>
                      <a:lnTo>
                        <a:pt x="31" y="287"/>
                      </a:lnTo>
                      <a:lnTo>
                        <a:pt x="29" y="287"/>
                      </a:lnTo>
                      <a:lnTo>
                        <a:pt x="29" y="285"/>
                      </a:lnTo>
                      <a:close/>
                      <a:moveTo>
                        <a:pt x="31" y="361"/>
                      </a:moveTo>
                      <a:lnTo>
                        <a:pt x="31" y="363"/>
                      </a:lnTo>
                      <a:lnTo>
                        <a:pt x="31" y="361"/>
                      </a:lnTo>
                      <a:close/>
                      <a:moveTo>
                        <a:pt x="39" y="380"/>
                      </a:moveTo>
                      <a:lnTo>
                        <a:pt x="39" y="382"/>
                      </a:lnTo>
                      <a:lnTo>
                        <a:pt x="39" y="380"/>
                      </a:lnTo>
                      <a:close/>
                      <a:moveTo>
                        <a:pt x="105" y="376"/>
                      </a:moveTo>
                      <a:lnTo>
                        <a:pt x="107" y="376"/>
                      </a:lnTo>
                      <a:lnTo>
                        <a:pt x="105" y="376"/>
                      </a:lnTo>
                      <a:close/>
                      <a:moveTo>
                        <a:pt x="56" y="384"/>
                      </a:moveTo>
                      <a:lnTo>
                        <a:pt x="56" y="386"/>
                      </a:lnTo>
                      <a:lnTo>
                        <a:pt x="56" y="384"/>
                      </a:lnTo>
                      <a:close/>
                      <a:moveTo>
                        <a:pt x="42" y="373"/>
                      </a:moveTo>
                      <a:lnTo>
                        <a:pt x="44" y="373"/>
                      </a:lnTo>
                      <a:lnTo>
                        <a:pt x="42" y="373"/>
                      </a:lnTo>
                      <a:close/>
                      <a:moveTo>
                        <a:pt x="27" y="285"/>
                      </a:moveTo>
                      <a:lnTo>
                        <a:pt x="29" y="285"/>
                      </a:lnTo>
                      <a:lnTo>
                        <a:pt x="29" y="287"/>
                      </a:lnTo>
                      <a:lnTo>
                        <a:pt x="27" y="287"/>
                      </a:lnTo>
                      <a:lnTo>
                        <a:pt x="27" y="285"/>
                      </a:lnTo>
                      <a:close/>
                      <a:moveTo>
                        <a:pt x="19" y="380"/>
                      </a:moveTo>
                      <a:lnTo>
                        <a:pt x="19" y="382"/>
                      </a:lnTo>
                      <a:lnTo>
                        <a:pt x="19" y="380"/>
                      </a:lnTo>
                      <a:close/>
                      <a:moveTo>
                        <a:pt x="27" y="306"/>
                      </a:moveTo>
                      <a:lnTo>
                        <a:pt x="29" y="306"/>
                      </a:lnTo>
                      <a:lnTo>
                        <a:pt x="29" y="308"/>
                      </a:lnTo>
                      <a:lnTo>
                        <a:pt x="27" y="308"/>
                      </a:lnTo>
                      <a:lnTo>
                        <a:pt x="27" y="306"/>
                      </a:lnTo>
                      <a:close/>
                      <a:moveTo>
                        <a:pt x="31" y="378"/>
                      </a:moveTo>
                      <a:lnTo>
                        <a:pt x="33" y="378"/>
                      </a:lnTo>
                      <a:lnTo>
                        <a:pt x="31" y="378"/>
                      </a:lnTo>
                      <a:close/>
                      <a:moveTo>
                        <a:pt x="107" y="374"/>
                      </a:moveTo>
                      <a:lnTo>
                        <a:pt x="107" y="376"/>
                      </a:lnTo>
                      <a:lnTo>
                        <a:pt x="107" y="374"/>
                      </a:lnTo>
                      <a:close/>
                      <a:moveTo>
                        <a:pt x="61" y="390"/>
                      </a:moveTo>
                      <a:lnTo>
                        <a:pt x="63" y="390"/>
                      </a:lnTo>
                      <a:lnTo>
                        <a:pt x="61" y="390"/>
                      </a:lnTo>
                      <a:close/>
                      <a:moveTo>
                        <a:pt x="25" y="294"/>
                      </a:moveTo>
                      <a:lnTo>
                        <a:pt x="25" y="296"/>
                      </a:lnTo>
                      <a:lnTo>
                        <a:pt x="25" y="294"/>
                      </a:lnTo>
                      <a:close/>
                      <a:moveTo>
                        <a:pt x="121" y="371"/>
                      </a:moveTo>
                      <a:lnTo>
                        <a:pt x="121" y="373"/>
                      </a:lnTo>
                      <a:lnTo>
                        <a:pt x="121" y="371"/>
                      </a:lnTo>
                      <a:close/>
                      <a:moveTo>
                        <a:pt x="12" y="378"/>
                      </a:moveTo>
                      <a:lnTo>
                        <a:pt x="14" y="378"/>
                      </a:lnTo>
                      <a:lnTo>
                        <a:pt x="14" y="380"/>
                      </a:lnTo>
                      <a:lnTo>
                        <a:pt x="12" y="380"/>
                      </a:lnTo>
                      <a:lnTo>
                        <a:pt x="12" y="378"/>
                      </a:lnTo>
                      <a:close/>
                      <a:moveTo>
                        <a:pt x="121" y="373"/>
                      </a:moveTo>
                      <a:lnTo>
                        <a:pt x="121" y="374"/>
                      </a:lnTo>
                      <a:lnTo>
                        <a:pt x="121" y="373"/>
                      </a:lnTo>
                      <a:close/>
                      <a:moveTo>
                        <a:pt x="90" y="208"/>
                      </a:moveTo>
                      <a:lnTo>
                        <a:pt x="92" y="208"/>
                      </a:lnTo>
                      <a:lnTo>
                        <a:pt x="92" y="210"/>
                      </a:lnTo>
                      <a:lnTo>
                        <a:pt x="90" y="210"/>
                      </a:lnTo>
                      <a:lnTo>
                        <a:pt x="90" y="208"/>
                      </a:lnTo>
                      <a:close/>
                      <a:moveTo>
                        <a:pt x="25" y="371"/>
                      </a:moveTo>
                      <a:lnTo>
                        <a:pt x="25" y="373"/>
                      </a:lnTo>
                      <a:lnTo>
                        <a:pt x="25" y="371"/>
                      </a:lnTo>
                      <a:close/>
                      <a:moveTo>
                        <a:pt x="31" y="373"/>
                      </a:moveTo>
                      <a:lnTo>
                        <a:pt x="31" y="374"/>
                      </a:lnTo>
                      <a:lnTo>
                        <a:pt x="31" y="373"/>
                      </a:lnTo>
                      <a:close/>
                      <a:moveTo>
                        <a:pt x="35" y="371"/>
                      </a:moveTo>
                      <a:lnTo>
                        <a:pt x="35" y="373"/>
                      </a:lnTo>
                      <a:lnTo>
                        <a:pt x="35" y="371"/>
                      </a:lnTo>
                      <a:close/>
                      <a:moveTo>
                        <a:pt x="33" y="369"/>
                      </a:moveTo>
                      <a:lnTo>
                        <a:pt x="33" y="371"/>
                      </a:lnTo>
                      <a:lnTo>
                        <a:pt x="33" y="369"/>
                      </a:lnTo>
                      <a:close/>
                      <a:moveTo>
                        <a:pt x="65" y="243"/>
                      </a:moveTo>
                      <a:lnTo>
                        <a:pt x="67" y="243"/>
                      </a:lnTo>
                      <a:lnTo>
                        <a:pt x="65" y="243"/>
                      </a:lnTo>
                      <a:close/>
                      <a:moveTo>
                        <a:pt x="23" y="371"/>
                      </a:moveTo>
                      <a:lnTo>
                        <a:pt x="23" y="373"/>
                      </a:lnTo>
                      <a:lnTo>
                        <a:pt x="23" y="371"/>
                      </a:lnTo>
                      <a:close/>
                      <a:moveTo>
                        <a:pt x="44" y="380"/>
                      </a:moveTo>
                      <a:lnTo>
                        <a:pt x="44" y="382"/>
                      </a:lnTo>
                      <a:lnTo>
                        <a:pt x="44" y="380"/>
                      </a:lnTo>
                      <a:close/>
                      <a:moveTo>
                        <a:pt x="4" y="373"/>
                      </a:moveTo>
                      <a:lnTo>
                        <a:pt x="6" y="373"/>
                      </a:lnTo>
                      <a:lnTo>
                        <a:pt x="4" y="373"/>
                      </a:lnTo>
                      <a:close/>
                      <a:moveTo>
                        <a:pt x="50" y="384"/>
                      </a:moveTo>
                      <a:lnTo>
                        <a:pt x="52" y="384"/>
                      </a:lnTo>
                      <a:lnTo>
                        <a:pt x="52" y="386"/>
                      </a:lnTo>
                      <a:lnTo>
                        <a:pt x="50" y="386"/>
                      </a:lnTo>
                      <a:lnTo>
                        <a:pt x="50" y="384"/>
                      </a:lnTo>
                      <a:close/>
                      <a:moveTo>
                        <a:pt x="35" y="371"/>
                      </a:moveTo>
                      <a:lnTo>
                        <a:pt x="37" y="371"/>
                      </a:lnTo>
                      <a:lnTo>
                        <a:pt x="37" y="373"/>
                      </a:lnTo>
                      <a:lnTo>
                        <a:pt x="35" y="373"/>
                      </a:lnTo>
                      <a:lnTo>
                        <a:pt x="35" y="371"/>
                      </a:lnTo>
                      <a:close/>
                      <a:moveTo>
                        <a:pt x="35" y="374"/>
                      </a:moveTo>
                      <a:lnTo>
                        <a:pt x="37" y="374"/>
                      </a:lnTo>
                      <a:lnTo>
                        <a:pt x="35" y="374"/>
                      </a:lnTo>
                      <a:close/>
                      <a:moveTo>
                        <a:pt x="21" y="285"/>
                      </a:moveTo>
                      <a:lnTo>
                        <a:pt x="23" y="285"/>
                      </a:lnTo>
                      <a:lnTo>
                        <a:pt x="23" y="287"/>
                      </a:lnTo>
                      <a:lnTo>
                        <a:pt x="21" y="287"/>
                      </a:lnTo>
                      <a:lnTo>
                        <a:pt x="21" y="285"/>
                      </a:lnTo>
                      <a:close/>
                      <a:moveTo>
                        <a:pt x="23" y="374"/>
                      </a:moveTo>
                      <a:lnTo>
                        <a:pt x="25" y="374"/>
                      </a:lnTo>
                      <a:lnTo>
                        <a:pt x="25" y="376"/>
                      </a:lnTo>
                      <a:lnTo>
                        <a:pt x="23" y="376"/>
                      </a:lnTo>
                      <a:lnTo>
                        <a:pt x="23" y="374"/>
                      </a:lnTo>
                      <a:close/>
                      <a:moveTo>
                        <a:pt x="23" y="374"/>
                      </a:moveTo>
                      <a:lnTo>
                        <a:pt x="23" y="376"/>
                      </a:lnTo>
                      <a:lnTo>
                        <a:pt x="23" y="374"/>
                      </a:lnTo>
                      <a:close/>
                      <a:moveTo>
                        <a:pt x="27" y="306"/>
                      </a:moveTo>
                      <a:lnTo>
                        <a:pt x="27" y="308"/>
                      </a:lnTo>
                      <a:lnTo>
                        <a:pt x="27" y="306"/>
                      </a:lnTo>
                      <a:close/>
                      <a:moveTo>
                        <a:pt x="37" y="270"/>
                      </a:moveTo>
                      <a:lnTo>
                        <a:pt x="39" y="270"/>
                      </a:lnTo>
                      <a:lnTo>
                        <a:pt x="37" y="270"/>
                      </a:lnTo>
                      <a:close/>
                      <a:moveTo>
                        <a:pt x="42" y="380"/>
                      </a:moveTo>
                      <a:lnTo>
                        <a:pt x="44" y="380"/>
                      </a:lnTo>
                      <a:lnTo>
                        <a:pt x="42" y="380"/>
                      </a:lnTo>
                      <a:close/>
                      <a:moveTo>
                        <a:pt x="27" y="367"/>
                      </a:moveTo>
                      <a:lnTo>
                        <a:pt x="29" y="367"/>
                      </a:lnTo>
                      <a:lnTo>
                        <a:pt x="27" y="367"/>
                      </a:lnTo>
                      <a:close/>
                      <a:moveTo>
                        <a:pt x="35" y="378"/>
                      </a:moveTo>
                      <a:lnTo>
                        <a:pt x="35" y="380"/>
                      </a:lnTo>
                      <a:lnTo>
                        <a:pt x="35" y="378"/>
                      </a:lnTo>
                      <a:close/>
                      <a:moveTo>
                        <a:pt x="31" y="371"/>
                      </a:moveTo>
                      <a:lnTo>
                        <a:pt x="31" y="373"/>
                      </a:lnTo>
                      <a:lnTo>
                        <a:pt x="31" y="371"/>
                      </a:lnTo>
                      <a:close/>
                      <a:moveTo>
                        <a:pt x="94" y="212"/>
                      </a:moveTo>
                      <a:lnTo>
                        <a:pt x="96" y="212"/>
                      </a:lnTo>
                      <a:lnTo>
                        <a:pt x="94" y="212"/>
                      </a:lnTo>
                      <a:close/>
                      <a:moveTo>
                        <a:pt x="46" y="386"/>
                      </a:moveTo>
                      <a:lnTo>
                        <a:pt x="46" y="388"/>
                      </a:lnTo>
                      <a:lnTo>
                        <a:pt x="46" y="386"/>
                      </a:lnTo>
                      <a:close/>
                      <a:moveTo>
                        <a:pt x="92" y="208"/>
                      </a:moveTo>
                      <a:lnTo>
                        <a:pt x="94" y="208"/>
                      </a:lnTo>
                      <a:lnTo>
                        <a:pt x="94" y="210"/>
                      </a:lnTo>
                      <a:lnTo>
                        <a:pt x="92" y="210"/>
                      </a:lnTo>
                      <a:lnTo>
                        <a:pt x="92" y="208"/>
                      </a:lnTo>
                      <a:close/>
                      <a:moveTo>
                        <a:pt x="46" y="266"/>
                      </a:moveTo>
                      <a:lnTo>
                        <a:pt x="48" y="266"/>
                      </a:lnTo>
                      <a:lnTo>
                        <a:pt x="46" y="266"/>
                      </a:lnTo>
                      <a:close/>
                      <a:moveTo>
                        <a:pt x="37" y="386"/>
                      </a:moveTo>
                      <a:lnTo>
                        <a:pt x="37" y="388"/>
                      </a:lnTo>
                      <a:lnTo>
                        <a:pt x="37" y="386"/>
                      </a:lnTo>
                      <a:close/>
                      <a:moveTo>
                        <a:pt x="58" y="388"/>
                      </a:moveTo>
                      <a:lnTo>
                        <a:pt x="58" y="390"/>
                      </a:lnTo>
                      <a:lnTo>
                        <a:pt x="58" y="388"/>
                      </a:lnTo>
                      <a:close/>
                      <a:moveTo>
                        <a:pt x="33" y="367"/>
                      </a:moveTo>
                      <a:lnTo>
                        <a:pt x="33" y="369"/>
                      </a:lnTo>
                      <a:lnTo>
                        <a:pt x="33" y="367"/>
                      </a:lnTo>
                      <a:close/>
                      <a:moveTo>
                        <a:pt x="14" y="376"/>
                      </a:moveTo>
                      <a:lnTo>
                        <a:pt x="16" y="376"/>
                      </a:lnTo>
                      <a:lnTo>
                        <a:pt x="14" y="376"/>
                      </a:lnTo>
                      <a:close/>
                      <a:moveTo>
                        <a:pt x="29" y="361"/>
                      </a:moveTo>
                      <a:lnTo>
                        <a:pt x="31" y="361"/>
                      </a:lnTo>
                      <a:lnTo>
                        <a:pt x="29" y="361"/>
                      </a:lnTo>
                      <a:close/>
                      <a:moveTo>
                        <a:pt x="80" y="186"/>
                      </a:moveTo>
                      <a:lnTo>
                        <a:pt x="80" y="187"/>
                      </a:lnTo>
                      <a:lnTo>
                        <a:pt x="80" y="186"/>
                      </a:lnTo>
                      <a:close/>
                      <a:moveTo>
                        <a:pt x="33" y="279"/>
                      </a:moveTo>
                      <a:lnTo>
                        <a:pt x="33" y="281"/>
                      </a:lnTo>
                      <a:lnTo>
                        <a:pt x="33" y="279"/>
                      </a:lnTo>
                      <a:close/>
                      <a:moveTo>
                        <a:pt x="35" y="270"/>
                      </a:moveTo>
                      <a:lnTo>
                        <a:pt x="37" y="270"/>
                      </a:lnTo>
                      <a:lnTo>
                        <a:pt x="35" y="270"/>
                      </a:lnTo>
                      <a:close/>
                      <a:moveTo>
                        <a:pt x="40" y="378"/>
                      </a:moveTo>
                      <a:lnTo>
                        <a:pt x="42" y="378"/>
                      </a:lnTo>
                      <a:lnTo>
                        <a:pt x="40" y="378"/>
                      </a:lnTo>
                      <a:close/>
                      <a:moveTo>
                        <a:pt x="25" y="270"/>
                      </a:moveTo>
                      <a:lnTo>
                        <a:pt x="25" y="271"/>
                      </a:lnTo>
                      <a:lnTo>
                        <a:pt x="25" y="270"/>
                      </a:lnTo>
                      <a:close/>
                      <a:moveTo>
                        <a:pt x="27" y="373"/>
                      </a:moveTo>
                      <a:lnTo>
                        <a:pt x="29" y="373"/>
                      </a:lnTo>
                      <a:lnTo>
                        <a:pt x="27" y="373"/>
                      </a:lnTo>
                      <a:close/>
                      <a:moveTo>
                        <a:pt x="25" y="373"/>
                      </a:moveTo>
                      <a:lnTo>
                        <a:pt x="25" y="374"/>
                      </a:lnTo>
                      <a:lnTo>
                        <a:pt x="25" y="373"/>
                      </a:lnTo>
                      <a:close/>
                      <a:moveTo>
                        <a:pt x="61" y="388"/>
                      </a:moveTo>
                      <a:lnTo>
                        <a:pt x="63" y="388"/>
                      </a:lnTo>
                      <a:lnTo>
                        <a:pt x="63" y="390"/>
                      </a:lnTo>
                      <a:lnTo>
                        <a:pt x="61" y="390"/>
                      </a:lnTo>
                      <a:lnTo>
                        <a:pt x="61" y="388"/>
                      </a:lnTo>
                      <a:close/>
                      <a:moveTo>
                        <a:pt x="88" y="380"/>
                      </a:moveTo>
                      <a:lnTo>
                        <a:pt x="90" y="380"/>
                      </a:lnTo>
                      <a:lnTo>
                        <a:pt x="90" y="382"/>
                      </a:lnTo>
                      <a:lnTo>
                        <a:pt x="88" y="382"/>
                      </a:lnTo>
                      <a:lnTo>
                        <a:pt x="88" y="380"/>
                      </a:lnTo>
                      <a:close/>
                      <a:moveTo>
                        <a:pt x="80" y="384"/>
                      </a:moveTo>
                      <a:lnTo>
                        <a:pt x="82" y="384"/>
                      </a:lnTo>
                      <a:lnTo>
                        <a:pt x="80" y="384"/>
                      </a:lnTo>
                      <a:close/>
                      <a:moveTo>
                        <a:pt x="27" y="306"/>
                      </a:moveTo>
                      <a:lnTo>
                        <a:pt x="27" y="308"/>
                      </a:lnTo>
                      <a:lnTo>
                        <a:pt x="27" y="306"/>
                      </a:lnTo>
                      <a:close/>
                      <a:moveTo>
                        <a:pt x="8" y="384"/>
                      </a:moveTo>
                      <a:lnTo>
                        <a:pt x="8" y="386"/>
                      </a:lnTo>
                      <a:lnTo>
                        <a:pt x="8" y="384"/>
                      </a:lnTo>
                      <a:close/>
                      <a:moveTo>
                        <a:pt x="4" y="373"/>
                      </a:moveTo>
                      <a:lnTo>
                        <a:pt x="4" y="374"/>
                      </a:lnTo>
                      <a:lnTo>
                        <a:pt x="4" y="373"/>
                      </a:lnTo>
                      <a:close/>
                      <a:moveTo>
                        <a:pt x="94" y="380"/>
                      </a:moveTo>
                      <a:lnTo>
                        <a:pt x="96" y="380"/>
                      </a:lnTo>
                      <a:lnTo>
                        <a:pt x="94" y="380"/>
                      </a:lnTo>
                      <a:close/>
                      <a:moveTo>
                        <a:pt x="92" y="378"/>
                      </a:moveTo>
                      <a:lnTo>
                        <a:pt x="94" y="378"/>
                      </a:lnTo>
                      <a:lnTo>
                        <a:pt x="92" y="378"/>
                      </a:lnTo>
                      <a:close/>
                      <a:moveTo>
                        <a:pt x="56" y="376"/>
                      </a:moveTo>
                      <a:lnTo>
                        <a:pt x="58" y="376"/>
                      </a:lnTo>
                      <a:lnTo>
                        <a:pt x="56" y="376"/>
                      </a:lnTo>
                      <a:close/>
                      <a:moveTo>
                        <a:pt x="27" y="359"/>
                      </a:moveTo>
                      <a:lnTo>
                        <a:pt x="27" y="361"/>
                      </a:lnTo>
                      <a:lnTo>
                        <a:pt x="27" y="359"/>
                      </a:lnTo>
                      <a:close/>
                      <a:moveTo>
                        <a:pt x="16" y="382"/>
                      </a:moveTo>
                      <a:lnTo>
                        <a:pt x="18" y="382"/>
                      </a:lnTo>
                      <a:lnTo>
                        <a:pt x="18" y="384"/>
                      </a:lnTo>
                      <a:lnTo>
                        <a:pt x="16" y="384"/>
                      </a:lnTo>
                      <a:lnTo>
                        <a:pt x="16" y="382"/>
                      </a:lnTo>
                      <a:close/>
                      <a:moveTo>
                        <a:pt x="29" y="380"/>
                      </a:moveTo>
                      <a:lnTo>
                        <a:pt x="29" y="382"/>
                      </a:lnTo>
                      <a:lnTo>
                        <a:pt x="29" y="380"/>
                      </a:lnTo>
                      <a:close/>
                      <a:moveTo>
                        <a:pt x="40" y="380"/>
                      </a:moveTo>
                      <a:lnTo>
                        <a:pt x="40" y="382"/>
                      </a:lnTo>
                      <a:lnTo>
                        <a:pt x="40" y="380"/>
                      </a:lnTo>
                      <a:close/>
                      <a:moveTo>
                        <a:pt x="39" y="275"/>
                      </a:moveTo>
                      <a:lnTo>
                        <a:pt x="40" y="275"/>
                      </a:lnTo>
                      <a:lnTo>
                        <a:pt x="39" y="275"/>
                      </a:lnTo>
                      <a:close/>
                      <a:moveTo>
                        <a:pt x="31" y="369"/>
                      </a:moveTo>
                      <a:lnTo>
                        <a:pt x="31" y="371"/>
                      </a:lnTo>
                      <a:lnTo>
                        <a:pt x="31" y="369"/>
                      </a:lnTo>
                      <a:close/>
                      <a:moveTo>
                        <a:pt x="37" y="373"/>
                      </a:moveTo>
                      <a:lnTo>
                        <a:pt x="37" y="374"/>
                      </a:lnTo>
                      <a:lnTo>
                        <a:pt x="37" y="373"/>
                      </a:lnTo>
                      <a:close/>
                      <a:moveTo>
                        <a:pt x="31" y="346"/>
                      </a:moveTo>
                      <a:lnTo>
                        <a:pt x="33" y="346"/>
                      </a:lnTo>
                      <a:lnTo>
                        <a:pt x="33" y="348"/>
                      </a:lnTo>
                      <a:lnTo>
                        <a:pt x="31" y="348"/>
                      </a:lnTo>
                      <a:lnTo>
                        <a:pt x="31" y="346"/>
                      </a:lnTo>
                      <a:close/>
                      <a:moveTo>
                        <a:pt x="23" y="373"/>
                      </a:moveTo>
                      <a:lnTo>
                        <a:pt x="25" y="373"/>
                      </a:lnTo>
                      <a:lnTo>
                        <a:pt x="23" y="373"/>
                      </a:lnTo>
                      <a:close/>
                      <a:moveTo>
                        <a:pt x="33" y="369"/>
                      </a:moveTo>
                      <a:lnTo>
                        <a:pt x="35" y="369"/>
                      </a:lnTo>
                      <a:lnTo>
                        <a:pt x="33" y="369"/>
                      </a:lnTo>
                      <a:close/>
                      <a:moveTo>
                        <a:pt x="25" y="373"/>
                      </a:moveTo>
                      <a:lnTo>
                        <a:pt x="25" y="374"/>
                      </a:lnTo>
                      <a:lnTo>
                        <a:pt x="25" y="373"/>
                      </a:lnTo>
                      <a:close/>
                      <a:moveTo>
                        <a:pt x="86" y="189"/>
                      </a:moveTo>
                      <a:lnTo>
                        <a:pt x="88" y="189"/>
                      </a:lnTo>
                      <a:lnTo>
                        <a:pt x="86" y="189"/>
                      </a:lnTo>
                      <a:close/>
                      <a:moveTo>
                        <a:pt x="42" y="380"/>
                      </a:moveTo>
                      <a:lnTo>
                        <a:pt x="42" y="382"/>
                      </a:lnTo>
                      <a:lnTo>
                        <a:pt x="42" y="380"/>
                      </a:lnTo>
                      <a:close/>
                      <a:moveTo>
                        <a:pt x="35" y="374"/>
                      </a:moveTo>
                      <a:lnTo>
                        <a:pt x="37" y="374"/>
                      </a:lnTo>
                      <a:lnTo>
                        <a:pt x="35" y="374"/>
                      </a:lnTo>
                      <a:close/>
                      <a:moveTo>
                        <a:pt x="101" y="378"/>
                      </a:moveTo>
                      <a:lnTo>
                        <a:pt x="103" y="378"/>
                      </a:lnTo>
                      <a:lnTo>
                        <a:pt x="101" y="378"/>
                      </a:lnTo>
                      <a:close/>
                      <a:moveTo>
                        <a:pt x="12" y="378"/>
                      </a:moveTo>
                      <a:lnTo>
                        <a:pt x="14" y="378"/>
                      </a:lnTo>
                      <a:lnTo>
                        <a:pt x="12" y="378"/>
                      </a:lnTo>
                      <a:close/>
                      <a:moveTo>
                        <a:pt x="19" y="378"/>
                      </a:moveTo>
                      <a:lnTo>
                        <a:pt x="21" y="378"/>
                      </a:lnTo>
                      <a:lnTo>
                        <a:pt x="19" y="378"/>
                      </a:lnTo>
                      <a:close/>
                      <a:moveTo>
                        <a:pt x="14" y="376"/>
                      </a:moveTo>
                      <a:lnTo>
                        <a:pt x="14" y="378"/>
                      </a:lnTo>
                      <a:lnTo>
                        <a:pt x="14" y="376"/>
                      </a:lnTo>
                      <a:close/>
                      <a:moveTo>
                        <a:pt x="18" y="373"/>
                      </a:moveTo>
                      <a:lnTo>
                        <a:pt x="19" y="373"/>
                      </a:lnTo>
                      <a:lnTo>
                        <a:pt x="18" y="373"/>
                      </a:lnTo>
                      <a:close/>
                      <a:moveTo>
                        <a:pt x="84" y="199"/>
                      </a:moveTo>
                      <a:lnTo>
                        <a:pt x="86" y="199"/>
                      </a:lnTo>
                      <a:lnTo>
                        <a:pt x="84" y="199"/>
                      </a:lnTo>
                      <a:close/>
                      <a:moveTo>
                        <a:pt x="25" y="367"/>
                      </a:moveTo>
                      <a:lnTo>
                        <a:pt x="25" y="369"/>
                      </a:lnTo>
                      <a:lnTo>
                        <a:pt x="25" y="367"/>
                      </a:lnTo>
                      <a:close/>
                      <a:moveTo>
                        <a:pt x="29" y="315"/>
                      </a:moveTo>
                      <a:lnTo>
                        <a:pt x="29" y="317"/>
                      </a:lnTo>
                      <a:lnTo>
                        <a:pt x="29" y="315"/>
                      </a:lnTo>
                      <a:close/>
                      <a:moveTo>
                        <a:pt x="37" y="367"/>
                      </a:moveTo>
                      <a:lnTo>
                        <a:pt x="37" y="369"/>
                      </a:lnTo>
                      <a:lnTo>
                        <a:pt x="37" y="367"/>
                      </a:lnTo>
                      <a:close/>
                      <a:moveTo>
                        <a:pt x="31" y="279"/>
                      </a:moveTo>
                      <a:lnTo>
                        <a:pt x="31" y="281"/>
                      </a:lnTo>
                      <a:lnTo>
                        <a:pt x="31" y="279"/>
                      </a:lnTo>
                      <a:close/>
                      <a:moveTo>
                        <a:pt x="33" y="392"/>
                      </a:moveTo>
                      <a:lnTo>
                        <a:pt x="35" y="392"/>
                      </a:lnTo>
                      <a:lnTo>
                        <a:pt x="33" y="392"/>
                      </a:lnTo>
                      <a:close/>
                      <a:moveTo>
                        <a:pt x="39" y="380"/>
                      </a:moveTo>
                      <a:lnTo>
                        <a:pt x="40" y="380"/>
                      </a:lnTo>
                      <a:lnTo>
                        <a:pt x="39" y="380"/>
                      </a:lnTo>
                      <a:close/>
                      <a:moveTo>
                        <a:pt x="31" y="283"/>
                      </a:moveTo>
                      <a:lnTo>
                        <a:pt x="31" y="285"/>
                      </a:lnTo>
                      <a:lnTo>
                        <a:pt x="31" y="283"/>
                      </a:lnTo>
                      <a:close/>
                      <a:moveTo>
                        <a:pt x="14" y="384"/>
                      </a:moveTo>
                      <a:lnTo>
                        <a:pt x="16" y="384"/>
                      </a:lnTo>
                      <a:lnTo>
                        <a:pt x="14" y="384"/>
                      </a:lnTo>
                      <a:close/>
                      <a:moveTo>
                        <a:pt x="96" y="378"/>
                      </a:moveTo>
                      <a:lnTo>
                        <a:pt x="98" y="378"/>
                      </a:lnTo>
                      <a:lnTo>
                        <a:pt x="98" y="380"/>
                      </a:lnTo>
                      <a:lnTo>
                        <a:pt x="96" y="380"/>
                      </a:lnTo>
                      <a:lnTo>
                        <a:pt x="96" y="378"/>
                      </a:lnTo>
                      <a:close/>
                      <a:moveTo>
                        <a:pt x="98" y="378"/>
                      </a:moveTo>
                      <a:lnTo>
                        <a:pt x="100" y="378"/>
                      </a:lnTo>
                      <a:lnTo>
                        <a:pt x="98" y="378"/>
                      </a:lnTo>
                      <a:close/>
                      <a:moveTo>
                        <a:pt x="21" y="376"/>
                      </a:moveTo>
                      <a:lnTo>
                        <a:pt x="23" y="376"/>
                      </a:lnTo>
                      <a:lnTo>
                        <a:pt x="23" y="378"/>
                      </a:lnTo>
                      <a:lnTo>
                        <a:pt x="21" y="378"/>
                      </a:lnTo>
                      <a:lnTo>
                        <a:pt x="21" y="376"/>
                      </a:lnTo>
                      <a:close/>
                      <a:moveTo>
                        <a:pt x="39" y="378"/>
                      </a:moveTo>
                      <a:lnTo>
                        <a:pt x="40" y="378"/>
                      </a:lnTo>
                      <a:lnTo>
                        <a:pt x="40" y="380"/>
                      </a:lnTo>
                      <a:lnTo>
                        <a:pt x="39" y="380"/>
                      </a:lnTo>
                      <a:lnTo>
                        <a:pt x="39" y="378"/>
                      </a:lnTo>
                      <a:close/>
                      <a:moveTo>
                        <a:pt x="105" y="373"/>
                      </a:moveTo>
                      <a:lnTo>
                        <a:pt x="105" y="374"/>
                      </a:lnTo>
                      <a:lnTo>
                        <a:pt x="105" y="373"/>
                      </a:lnTo>
                      <a:close/>
                      <a:moveTo>
                        <a:pt x="35" y="369"/>
                      </a:moveTo>
                      <a:lnTo>
                        <a:pt x="35" y="371"/>
                      </a:lnTo>
                      <a:lnTo>
                        <a:pt x="35" y="369"/>
                      </a:lnTo>
                      <a:close/>
                      <a:moveTo>
                        <a:pt x="33" y="373"/>
                      </a:moveTo>
                      <a:lnTo>
                        <a:pt x="33" y="374"/>
                      </a:lnTo>
                      <a:lnTo>
                        <a:pt x="33" y="373"/>
                      </a:lnTo>
                      <a:close/>
                      <a:moveTo>
                        <a:pt x="37" y="275"/>
                      </a:moveTo>
                      <a:lnTo>
                        <a:pt x="39" y="275"/>
                      </a:lnTo>
                      <a:lnTo>
                        <a:pt x="37" y="275"/>
                      </a:lnTo>
                      <a:close/>
                      <a:moveTo>
                        <a:pt x="44" y="380"/>
                      </a:moveTo>
                      <a:lnTo>
                        <a:pt x="46" y="380"/>
                      </a:lnTo>
                      <a:lnTo>
                        <a:pt x="46" y="382"/>
                      </a:lnTo>
                      <a:lnTo>
                        <a:pt x="44" y="382"/>
                      </a:lnTo>
                      <a:lnTo>
                        <a:pt x="44" y="380"/>
                      </a:lnTo>
                      <a:close/>
                      <a:moveTo>
                        <a:pt x="10" y="373"/>
                      </a:moveTo>
                      <a:lnTo>
                        <a:pt x="10" y="374"/>
                      </a:lnTo>
                      <a:lnTo>
                        <a:pt x="10" y="373"/>
                      </a:lnTo>
                      <a:close/>
                      <a:moveTo>
                        <a:pt x="14" y="382"/>
                      </a:moveTo>
                      <a:lnTo>
                        <a:pt x="14" y="384"/>
                      </a:lnTo>
                      <a:lnTo>
                        <a:pt x="14" y="382"/>
                      </a:lnTo>
                      <a:close/>
                      <a:moveTo>
                        <a:pt x="115" y="373"/>
                      </a:moveTo>
                      <a:lnTo>
                        <a:pt x="117" y="373"/>
                      </a:lnTo>
                      <a:lnTo>
                        <a:pt x="115" y="373"/>
                      </a:lnTo>
                      <a:close/>
                      <a:moveTo>
                        <a:pt x="10" y="371"/>
                      </a:moveTo>
                      <a:lnTo>
                        <a:pt x="10" y="373"/>
                      </a:lnTo>
                      <a:lnTo>
                        <a:pt x="10" y="371"/>
                      </a:lnTo>
                      <a:close/>
                      <a:moveTo>
                        <a:pt x="31" y="380"/>
                      </a:moveTo>
                      <a:lnTo>
                        <a:pt x="33" y="380"/>
                      </a:lnTo>
                      <a:lnTo>
                        <a:pt x="33" y="382"/>
                      </a:lnTo>
                      <a:lnTo>
                        <a:pt x="31" y="382"/>
                      </a:lnTo>
                      <a:lnTo>
                        <a:pt x="31" y="380"/>
                      </a:lnTo>
                      <a:close/>
                      <a:moveTo>
                        <a:pt x="31" y="281"/>
                      </a:moveTo>
                      <a:lnTo>
                        <a:pt x="33" y="281"/>
                      </a:lnTo>
                      <a:lnTo>
                        <a:pt x="31" y="281"/>
                      </a:lnTo>
                      <a:close/>
                      <a:moveTo>
                        <a:pt x="48" y="266"/>
                      </a:moveTo>
                      <a:lnTo>
                        <a:pt x="48" y="268"/>
                      </a:lnTo>
                      <a:lnTo>
                        <a:pt x="48" y="266"/>
                      </a:lnTo>
                      <a:close/>
                      <a:moveTo>
                        <a:pt x="19" y="376"/>
                      </a:moveTo>
                      <a:lnTo>
                        <a:pt x="21" y="376"/>
                      </a:lnTo>
                      <a:lnTo>
                        <a:pt x="19" y="376"/>
                      </a:lnTo>
                      <a:close/>
                      <a:moveTo>
                        <a:pt x="46" y="390"/>
                      </a:moveTo>
                      <a:lnTo>
                        <a:pt x="46" y="392"/>
                      </a:lnTo>
                      <a:lnTo>
                        <a:pt x="46" y="390"/>
                      </a:lnTo>
                      <a:close/>
                      <a:moveTo>
                        <a:pt x="21" y="283"/>
                      </a:moveTo>
                      <a:lnTo>
                        <a:pt x="21" y="285"/>
                      </a:lnTo>
                      <a:lnTo>
                        <a:pt x="21" y="283"/>
                      </a:lnTo>
                      <a:close/>
                      <a:moveTo>
                        <a:pt x="46" y="386"/>
                      </a:moveTo>
                      <a:lnTo>
                        <a:pt x="48" y="386"/>
                      </a:lnTo>
                      <a:lnTo>
                        <a:pt x="46" y="386"/>
                      </a:lnTo>
                      <a:close/>
                      <a:moveTo>
                        <a:pt x="44" y="373"/>
                      </a:moveTo>
                      <a:lnTo>
                        <a:pt x="44" y="374"/>
                      </a:lnTo>
                      <a:lnTo>
                        <a:pt x="44" y="373"/>
                      </a:lnTo>
                      <a:close/>
                      <a:moveTo>
                        <a:pt x="21" y="374"/>
                      </a:moveTo>
                      <a:lnTo>
                        <a:pt x="23" y="374"/>
                      </a:lnTo>
                      <a:lnTo>
                        <a:pt x="21" y="374"/>
                      </a:lnTo>
                      <a:close/>
                      <a:moveTo>
                        <a:pt x="31" y="340"/>
                      </a:moveTo>
                      <a:lnTo>
                        <a:pt x="33" y="340"/>
                      </a:lnTo>
                      <a:lnTo>
                        <a:pt x="31" y="340"/>
                      </a:lnTo>
                      <a:close/>
                      <a:moveTo>
                        <a:pt x="31" y="346"/>
                      </a:moveTo>
                      <a:lnTo>
                        <a:pt x="33" y="346"/>
                      </a:lnTo>
                      <a:lnTo>
                        <a:pt x="31" y="346"/>
                      </a:lnTo>
                      <a:close/>
                      <a:moveTo>
                        <a:pt x="27" y="374"/>
                      </a:moveTo>
                      <a:lnTo>
                        <a:pt x="27" y="376"/>
                      </a:lnTo>
                      <a:lnTo>
                        <a:pt x="27" y="374"/>
                      </a:lnTo>
                      <a:close/>
                      <a:moveTo>
                        <a:pt x="37" y="376"/>
                      </a:moveTo>
                      <a:lnTo>
                        <a:pt x="39" y="376"/>
                      </a:lnTo>
                      <a:lnTo>
                        <a:pt x="37" y="376"/>
                      </a:lnTo>
                      <a:close/>
                      <a:moveTo>
                        <a:pt x="16" y="384"/>
                      </a:moveTo>
                      <a:lnTo>
                        <a:pt x="18" y="384"/>
                      </a:lnTo>
                      <a:lnTo>
                        <a:pt x="16" y="384"/>
                      </a:lnTo>
                      <a:close/>
                      <a:moveTo>
                        <a:pt x="8" y="373"/>
                      </a:moveTo>
                      <a:lnTo>
                        <a:pt x="8" y="374"/>
                      </a:lnTo>
                      <a:lnTo>
                        <a:pt x="8" y="373"/>
                      </a:lnTo>
                      <a:close/>
                      <a:moveTo>
                        <a:pt x="8" y="371"/>
                      </a:moveTo>
                      <a:lnTo>
                        <a:pt x="10" y="371"/>
                      </a:lnTo>
                      <a:lnTo>
                        <a:pt x="10" y="373"/>
                      </a:lnTo>
                      <a:lnTo>
                        <a:pt x="8" y="373"/>
                      </a:lnTo>
                      <a:lnTo>
                        <a:pt x="8" y="371"/>
                      </a:lnTo>
                      <a:close/>
                      <a:moveTo>
                        <a:pt x="4" y="374"/>
                      </a:moveTo>
                      <a:lnTo>
                        <a:pt x="4" y="376"/>
                      </a:lnTo>
                      <a:lnTo>
                        <a:pt x="4" y="374"/>
                      </a:lnTo>
                      <a:close/>
                      <a:moveTo>
                        <a:pt x="39" y="374"/>
                      </a:moveTo>
                      <a:lnTo>
                        <a:pt x="40" y="374"/>
                      </a:lnTo>
                      <a:lnTo>
                        <a:pt x="39" y="374"/>
                      </a:lnTo>
                      <a:close/>
                      <a:moveTo>
                        <a:pt x="27" y="308"/>
                      </a:moveTo>
                      <a:lnTo>
                        <a:pt x="27" y="310"/>
                      </a:lnTo>
                      <a:lnTo>
                        <a:pt x="27" y="308"/>
                      </a:lnTo>
                      <a:close/>
                      <a:moveTo>
                        <a:pt x="21" y="281"/>
                      </a:moveTo>
                      <a:lnTo>
                        <a:pt x="21" y="283"/>
                      </a:lnTo>
                      <a:lnTo>
                        <a:pt x="21" y="281"/>
                      </a:lnTo>
                      <a:close/>
                      <a:moveTo>
                        <a:pt x="29" y="283"/>
                      </a:moveTo>
                      <a:lnTo>
                        <a:pt x="31" y="283"/>
                      </a:lnTo>
                      <a:lnTo>
                        <a:pt x="29" y="283"/>
                      </a:lnTo>
                      <a:close/>
                      <a:moveTo>
                        <a:pt x="75" y="386"/>
                      </a:moveTo>
                      <a:lnTo>
                        <a:pt x="77" y="386"/>
                      </a:lnTo>
                      <a:lnTo>
                        <a:pt x="75" y="386"/>
                      </a:lnTo>
                      <a:close/>
                      <a:moveTo>
                        <a:pt x="39" y="380"/>
                      </a:moveTo>
                      <a:lnTo>
                        <a:pt x="40" y="380"/>
                      </a:lnTo>
                      <a:lnTo>
                        <a:pt x="40" y="382"/>
                      </a:lnTo>
                      <a:lnTo>
                        <a:pt x="39" y="382"/>
                      </a:lnTo>
                      <a:lnTo>
                        <a:pt x="39" y="380"/>
                      </a:lnTo>
                      <a:close/>
                      <a:moveTo>
                        <a:pt x="39" y="378"/>
                      </a:moveTo>
                      <a:lnTo>
                        <a:pt x="40" y="378"/>
                      </a:lnTo>
                      <a:lnTo>
                        <a:pt x="39" y="378"/>
                      </a:lnTo>
                      <a:close/>
                      <a:moveTo>
                        <a:pt x="35" y="376"/>
                      </a:moveTo>
                      <a:lnTo>
                        <a:pt x="37" y="376"/>
                      </a:lnTo>
                      <a:lnTo>
                        <a:pt x="37" y="378"/>
                      </a:lnTo>
                      <a:lnTo>
                        <a:pt x="35" y="378"/>
                      </a:lnTo>
                      <a:lnTo>
                        <a:pt x="35" y="376"/>
                      </a:lnTo>
                      <a:close/>
                      <a:moveTo>
                        <a:pt x="31" y="376"/>
                      </a:moveTo>
                      <a:lnTo>
                        <a:pt x="33" y="376"/>
                      </a:lnTo>
                      <a:lnTo>
                        <a:pt x="31" y="376"/>
                      </a:lnTo>
                      <a:close/>
                      <a:moveTo>
                        <a:pt x="27" y="378"/>
                      </a:moveTo>
                      <a:lnTo>
                        <a:pt x="29" y="378"/>
                      </a:lnTo>
                      <a:lnTo>
                        <a:pt x="27" y="378"/>
                      </a:lnTo>
                      <a:close/>
                      <a:moveTo>
                        <a:pt x="71" y="386"/>
                      </a:moveTo>
                      <a:lnTo>
                        <a:pt x="73" y="386"/>
                      </a:lnTo>
                      <a:lnTo>
                        <a:pt x="71" y="386"/>
                      </a:lnTo>
                      <a:close/>
                      <a:moveTo>
                        <a:pt x="42" y="380"/>
                      </a:moveTo>
                      <a:lnTo>
                        <a:pt x="44" y="380"/>
                      </a:lnTo>
                      <a:lnTo>
                        <a:pt x="42" y="380"/>
                      </a:lnTo>
                      <a:close/>
                      <a:moveTo>
                        <a:pt x="50" y="388"/>
                      </a:moveTo>
                      <a:lnTo>
                        <a:pt x="50" y="390"/>
                      </a:lnTo>
                      <a:lnTo>
                        <a:pt x="50" y="388"/>
                      </a:lnTo>
                      <a:close/>
                      <a:moveTo>
                        <a:pt x="39" y="374"/>
                      </a:moveTo>
                      <a:lnTo>
                        <a:pt x="39" y="376"/>
                      </a:lnTo>
                      <a:lnTo>
                        <a:pt x="39" y="374"/>
                      </a:lnTo>
                      <a:close/>
                      <a:moveTo>
                        <a:pt x="29" y="313"/>
                      </a:moveTo>
                      <a:lnTo>
                        <a:pt x="29" y="315"/>
                      </a:lnTo>
                      <a:lnTo>
                        <a:pt x="29" y="313"/>
                      </a:lnTo>
                      <a:close/>
                      <a:moveTo>
                        <a:pt x="119" y="371"/>
                      </a:moveTo>
                      <a:lnTo>
                        <a:pt x="121" y="371"/>
                      </a:lnTo>
                      <a:lnTo>
                        <a:pt x="119" y="371"/>
                      </a:lnTo>
                      <a:close/>
                      <a:moveTo>
                        <a:pt x="25" y="285"/>
                      </a:moveTo>
                      <a:lnTo>
                        <a:pt x="27" y="285"/>
                      </a:lnTo>
                      <a:lnTo>
                        <a:pt x="27" y="287"/>
                      </a:lnTo>
                      <a:lnTo>
                        <a:pt x="25" y="287"/>
                      </a:lnTo>
                      <a:lnTo>
                        <a:pt x="25" y="285"/>
                      </a:lnTo>
                      <a:close/>
                      <a:moveTo>
                        <a:pt x="37" y="374"/>
                      </a:moveTo>
                      <a:lnTo>
                        <a:pt x="39" y="374"/>
                      </a:lnTo>
                      <a:lnTo>
                        <a:pt x="37" y="374"/>
                      </a:lnTo>
                      <a:close/>
                      <a:moveTo>
                        <a:pt x="37" y="386"/>
                      </a:moveTo>
                      <a:lnTo>
                        <a:pt x="37" y="388"/>
                      </a:lnTo>
                      <a:lnTo>
                        <a:pt x="37" y="386"/>
                      </a:lnTo>
                      <a:close/>
                      <a:moveTo>
                        <a:pt x="44" y="273"/>
                      </a:moveTo>
                      <a:lnTo>
                        <a:pt x="44" y="275"/>
                      </a:lnTo>
                      <a:lnTo>
                        <a:pt x="44" y="273"/>
                      </a:lnTo>
                      <a:close/>
                      <a:moveTo>
                        <a:pt x="14" y="376"/>
                      </a:moveTo>
                      <a:lnTo>
                        <a:pt x="14" y="378"/>
                      </a:lnTo>
                      <a:lnTo>
                        <a:pt x="14" y="376"/>
                      </a:lnTo>
                      <a:close/>
                      <a:moveTo>
                        <a:pt x="40" y="390"/>
                      </a:moveTo>
                      <a:lnTo>
                        <a:pt x="42" y="390"/>
                      </a:lnTo>
                      <a:lnTo>
                        <a:pt x="40" y="390"/>
                      </a:lnTo>
                      <a:close/>
                      <a:moveTo>
                        <a:pt x="77" y="384"/>
                      </a:moveTo>
                      <a:lnTo>
                        <a:pt x="79" y="384"/>
                      </a:lnTo>
                      <a:lnTo>
                        <a:pt x="77" y="384"/>
                      </a:lnTo>
                      <a:close/>
                      <a:moveTo>
                        <a:pt x="46" y="266"/>
                      </a:moveTo>
                      <a:lnTo>
                        <a:pt x="46" y="268"/>
                      </a:lnTo>
                      <a:lnTo>
                        <a:pt x="46" y="266"/>
                      </a:lnTo>
                      <a:close/>
                      <a:moveTo>
                        <a:pt x="63" y="390"/>
                      </a:moveTo>
                      <a:lnTo>
                        <a:pt x="65" y="390"/>
                      </a:lnTo>
                      <a:lnTo>
                        <a:pt x="63" y="390"/>
                      </a:lnTo>
                      <a:close/>
                      <a:moveTo>
                        <a:pt x="67" y="388"/>
                      </a:moveTo>
                      <a:lnTo>
                        <a:pt x="67" y="390"/>
                      </a:lnTo>
                      <a:lnTo>
                        <a:pt x="67" y="388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alpha val="4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3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034" name="Freeform 145">
                  <a:extLst>
                    <a:ext uri="{FF2B5EF4-FFF2-40B4-BE49-F238E27FC236}">
                      <a16:creationId xmlns:a16="http://schemas.microsoft.com/office/drawing/2014/main" id="{8A1CF05E-076B-5DDE-3C3F-6BF49AC898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368570" y="2174460"/>
                  <a:ext cx="330874" cy="756121"/>
                </a:xfrm>
                <a:custGeom>
                  <a:avLst/>
                  <a:gdLst>
                    <a:gd name="T0" fmla="*/ 198 w 210"/>
                    <a:gd name="T1" fmla="*/ 138 h 479"/>
                    <a:gd name="T2" fmla="*/ 183 w 210"/>
                    <a:gd name="T3" fmla="*/ 134 h 479"/>
                    <a:gd name="T4" fmla="*/ 174 w 210"/>
                    <a:gd name="T5" fmla="*/ 141 h 479"/>
                    <a:gd name="T6" fmla="*/ 172 w 210"/>
                    <a:gd name="T7" fmla="*/ 159 h 479"/>
                    <a:gd name="T8" fmla="*/ 164 w 210"/>
                    <a:gd name="T9" fmla="*/ 176 h 479"/>
                    <a:gd name="T10" fmla="*/ 162 w 210"/>
                    <a:gd name="T11" fmla="*/ 195 h 479"/>
                    <a:gd name="T12" fmla="*/ 151 w 210"/>
                    <a:gd name="T13" fmla="*/ 214 h 479"/>
                    <a:gd name="T14" fmla="*/ 130 w 210"/>
                    <a:gd name="T15" fmla="*/ 227 h 479"/>
                    <a:gd name="T16" fmla="*/ 116 w 210"/>
                    <a:gd name="T17" fmla="*/ 237 h 479"/>
                    <a:gd name="T18" fmla="*/ 109 w 210"/>
                    <a:gd name="T19" fmla="*/ 241 h 479"/>
                    <a:gd name="T20" fmla="*/ 103 w 210"/>
                    <a:gd name="T21" fmla="*/ 260 h 479"/>
                    <a:gd name="T22" fmla="*/ 103 w 210"/>
                    <a:gd name="T23" fmla="*/ 283 h 479"/>
                    <a:gd name="T24" fmla="*/ 99 w 210"/>
                    <a:gd name="T25" fmla="*/ 296 h 479"/>
                    <a:gd name="T26" fmla="*/ 105 w 210"/>
                    <a:gd name="T27" fmla="*/ 319 h 479"/>
                    <a:gd name="T28" fmla="*/ 120 w 210"/>
                    <a:gd name="T29" fmla="*/ 334 h 479"/>
                    <a:gd name="T30" fmla="*/ 124 w 210"/>
                    <a:gd name="T31" fmla="*/ 351 h 479"/>
                    <a:gd name="T32" fmla="*/ 118 w 210"/>
                    <a:gd name="T33" fmla="*/ 367 h 479"/>
                    <a:gd name="T34" fmla="*/ 109 w 210"/>
                    <a:gd name="T35" fmla="*/ 374 h 479"/>
                    <a:gd name="T36" fmla="*/ 99 w 210"/>
                    <a:gd name="T37" fmla="*/ 380 h 479"/>
                    <a:gd name="T38" fmla="*/ 92 w 210"/>
                    <a:gd name="T39" fmla="*/ 388 h 479"/>
                    <a:gd name="T40" fmla="*/ 92 w 210"/>
                    <a:gd name="T41" fmla="*/ 397 h 479"/>
                    <a:gd name="T42" fmla="*/ 92 w 210"/>
                    <a:gd name="T43" fmla="*/ 405 h 479"/>
                    <a:gd name="T44" fmla="*/ 90 w 210"/>
                    <a:gd name="T45" fmla="*/ 414 h 479"/>
                    <a:gd name="T46" fmla="*/ 86 w 210"/>
                    <a:gd name="T47" fmla="*/ 437 h 479"/>
                    <a:gd name="T48" fmla="*/ 71 w 210"/>
                    <a:gd name="T49" fmla="*/ 456 h 479"/>
                    <a:gd name="T50" fmla="*/ 57 w 210"/>
                    <a:gd name="T51" fmla="*/ 458 h 479"/>
                    <a:gd name="T52" fmla="*/ 27 w 210"/>
                    <a:gd name="T53" fmla="*/ 460 h 479"/>
                    <a:gd name="T54" fmla="*/ 19 w 210"/>
                    <a:gd name="T55" fmla="*/ 426 h 479"/>
                    <a:gd name="T56" fmla="*/ 15 w 210"/>
                    <a:gd name="T57" fmla="*/ 407 h 479"/>
                    <a:gd name="T58" fmla="*/ 10 w 210"/>
                    <a:gd name="T59" fmla="*/ 390 h 479"/>
                    <a:gd name="T60" fmla="*/ 4 w 210"/>
                    <a:gd name="T61" fmla="*/ 380 h 479"/>
                    <a:gd name="T62" fmla="*/ 25 w 210"/>
                    <a:gd name="T63" fmla="*/ 338 h 479"/>
                    <a:gd name="T64" fmla="*/ 46 w 210"/>
                    <a:gd name="T65" fmla="*/ 185 h 479"/>
                    <a:gd name="T66" fmla="*/ 143 w 210"/>
                    <a:gd name="T67" fmla="*/ 23 h 479"/>
                    <a:gd name="T68" fmla="*/ 194 w 210"/>
                    <a:gd name="T69" fmla="*/ 37 h 479"/>
                    <a:gd name="T70" fmla="*/ 202 w 210"/>
                    <a:gd name="T71" fmla="*/ 111 h 479"/>
                    <a:gd name="T72" fmla="*/ 124 w 210"/>
                    <a:gd name="T73" fmla="*/ 424 h 479"/>
                    <a:gd name="T74" fmla="*/ 97 w 210"/>
                    <a:gd name="T75" fmla="*/ 420 h 479"/>
                    <a:gd name="T76" fmla="*/ 95 w 210"/>
                    <a:gd name="T77" fmla="*/ 420 h 479"/>
                    <a:gd name="T78" fmla="*/ 120 w 210"/>
                    <a:gd name="T79" fmla="*/ 359 h 479"/>
                    <a:gd name="T80" fmla="*/ 120 w 210"/>
                    <a:gd name="T81" fmla="*/ 359 h 479"/>
                    <a:gd name="T82" fmla="*/ 120 w 210"/>
                    <a:gd name="T83" fmla="*/ 325 h 479"/>
                    <a:gd name="T84" fmla="*/ 112 w 210"/>
                    <a:gd name="T85" fmla="*/ 248 h 479"/>
                    <a:gd name="T86" fmla="*/ 133 w 210"/>
                    <a:gd name="T87" fmla="*/ 391 h 479"/>
                    <a:gd name="T88" fmla="*/ 116 w 210"/>
                    <a:gd name="T89" fmla="*/ 372 h 479"/>
                    <a:gd name="T90" fmla="*/ 8 w 210"/>
                    <a:gd name="T91" fmla="*/ 393 h 479"/>
                    <a:gd name="T92" fmla="*/ 76 w 210"/>
                    <a:gd name="T93" fmla="*/ 458 h 479"/>
                    <a:gd name="T94" fmla="*/ 120 w 210"/>
                    <a:gd name="T95" fmla="*/ 239 h 479"/>
                    <a:gd name="T96" fmla="*/ 4 w 210"/>
                    <a:gd name="T97" fmla="*/ 376 h 479"/>
                    <a:gd name="T98" fmla="*/ 2 w 210"/>
                    <a:gd name="T99" fmla="*/ 376 h 479"/>
                    <a:gd name="T100" fmla="*/ 8 w 210"/>
                    <a:gd name="T101" fmla="*/ 397 h 479"/>
                    <a:gd name="T102" fmla="*/ 156 w 210"/>
                    <a:gd name="T103" fmla="*/ 216 h 479"/>
                    <a:gd name="T104" fmla="*/ 103 w 210"/>
                    <a:gd name="T105" fmla="*/ 380 h 479"/>
                    <a:gd name="T106" fmla="*/ 177 w 210"/>
                    <a:gd name="T107" fmla="*/ 147 h 479"/>
                    <a:gd name="T108" fmla="*/ 168 w 210"/>
                    <a:gd name="T109" fmla="*/ 162 h 479"/>
                    <a:gd name="T110" fmla="*/ 181 w 210"/>
                    <a:gd name="T111" fmla="*/ 140 h 479"/>
                    <a:gd name="T112" fmla="*/ 175 w 210"/>
                    <a:gd name="T113" fmla="*/ 151 h 479"/>
                    <a:gd name="T114" fmla="*/ 124 w 210"/>
                    <a:gd name="T115" fmla="*/ 359 h 479"/>
                    <a:gd name="T116" fmla="*/ 95 w 210"/>
                    <a:gd name="T117" fmla="*/ 388 h 479"/>
                    <a:gd name="T118" fmla="*/ 181 w 210"/>
                    <a:gd name="T119" fmla="*/ 143 h 479"/>
                    <a:gd name="T120" fmla="*/ 13 w 210"/>
                    <a:gd name="T121" fmla="*/ 414 h 479"/>
                    <a:gd name="T122" fmla="*/ 92 w 210"/>
                    <a:gd name="T123" fmla="*/ 414 h 479"/>
                    <a:gd name="T124" fmla="*/ 124 w 210"/>
                    <a:gd name="T125" fmla="*/ 367 h 4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0" h="479">
                      <a:moveTo>
                        <a:pt x="210" y="136"/>
                      </a:moveTo>
                      <a:lnTo>
                        <a:pt x="208" y="136"/>
                      </a:lnTo>
                      <a:lnTo>
                        <a:pt x="208" y="138"/>
                      </a:lnTo>
                      <a:lnTo>
                        <a:pt x="208" y="136"/>
                      </a:lnTo>
                      <a:lnTo>
                        <a:pt x="208" y="138"/>
                      </a:lnTo>
                      <a:lnTo>
                        <a:pt x="206" y="136"/>
                      </a:lnTo>
                      <a:lnTo>
                        <a:pt x="206" y="138"/>
                      </a:lnTo>
                      <a:lnTo>
                        <a:pt x="204" y="136"/>
                      </a:lnTo>
                      <a:lnTo>
                        <a:pt x="206" y="138"/>
                      </a:lnTo>
                      <a:lnTo>
                        <a:pt x="204" y="140"/>
                      </a:lnTo>
                      <a:lnTo>
                        <a:pt x="202" y="140"/>
                      </a:lnTo>
                      <a:lnTo>
                        <a:pt x="202" y="138"/>
                      </a:lnTo>
                      <a:lnTo>
                        <a:pt x="202" y="140"/>
                      </a:lnTo>
                      <a:lnTo>
                        <a:pt x="202" y="138"/>
                      </a:lnTo>
                      <a:lnTo>
                        <a:pt x="204" y="140"/>
                      </a:lnTo>
                      <a:lnTo>
                        <a:pt x="204" y="138"/>
                      </a:lnTo>
                      <a:lnTo>
                        <a:pt x="204" y="140"/>
                      </a:lnTo>
                      <a:lnTo>
                        <a:pt x="204" y="138"/>
                      </a:lnTo>
                      <a:lnTo>
                        <a:pt x="204" y="136"/>
                      </a:lnTo>
                      <a:lnTo>
                        <a:pt x="202" y="136"/>
                      </a:lnTo>
                      <a:lnTo>
                        <a:pt x="200" y="136"/>
                      </a:lnTo>
                      <a:lnTo>
                        <a:pt x="200" y="138"/>
                      </a:lnTo>
                      <a:lnTo>
                        <a:pt x="200" y="136"/>
                      </a:lnTo>
                      <a:lnTo>
                        <a:pt x="200" y="138"/>
                      </a:lnTo>
                      <a:lnTo>
                        <a:pt x="200" y="136"/>
                      </a:lnTo>
                      <a:lnTo>
                        <a:pt x="198" y="136"/>
                      </a:lnTo>
                      <a:lnTo>
                        <a:pt x="198" y="138"/>
                      </a:lnTo>
                      <a:lnTo>
                        <a:pt x="198" y="136"/>
                      </a:lnTo>
                      <a:lnTo>
                        <a:pt x="198" y="138"/>
                      </a:lnTo>
                      <a:lnTo>
                        <a:pt x="196" y="138"/>
                      </a:lnTo>
                      <a:lnTo>
                        <a:pt x="198" y="138"/>
                      </a:lnTo>
                      <a:lnTo>
                        <a:pt x="196" y="138"/>
                      </a:lnTo>
                      <a:lnTo>
                        <a:pt x="198" y="138"/>
                      </a:lnTo>
                      <a:lnTo>
                        <a:pt x="196" y="136"/>
                      </a:lnTo>
                      <a:lnTo>
                        <a:pt x="196" y="138"/>
                      </a:lnTo>
                      <a:lnTo>
                        <a:pt x="196" y="136"/>
                      </a:lnTo>
                      <a:lnTo>
                        <a:pt x="196" y="138"/>
                      </a:lnTo>
                      <a:lnTo>
                        <a:pt x="196" y="136"/>
                      </a:lnTo>
                      <a:lnTo>
                        <a:pt x="194" y="136"/>
                      </a:lnTo>
                      <a:lnTo>
                        <a:pt x="193" y="134"/>
                      </a:lnTo>
                      <a:lnTo>
                        <a:pt x="194" y="136"/>
                      </a:lnTo>
                      <a:lnTo>
                        <a:pt x="194" y="138"/>
                      </a:lnTo>
                      <a:lnTo>
                        <a:pt x="193" y="138"/>
                      </a:lnTo>
                      <a:lnTo>
                        <a:pt x="194" y="138"/>
                      </a:lnTo>
                      <a:lnTo>
                        <a:pt x="194" y="140"/>
                      </a:lnTo>
                      <a:lnTo>
                        <a:pt x="194" y="138"/>
                      </a:lnTo>
                      <a:lnTo>
                        <a:pt x="194" y="140"/>
                      </a:lnTo>
                      <a:lnTo>
                        <a:pt x="193" y="140"/>
                      </a:lnTo>
                      <a:lnTo>
                        <a:pt x="193" y="138"/>
                      </a:lnTo>
                      <a:lnTo>
                        <a:pt x="191" y="138"/>
                      </a:lnTo>
                      <a:lnTo>
                        <a:pt x="189" y="138"/>
                      </a:lnTo>
                      <a:lnTo>
                        <a:pt x="191" y="136"/>
                      </a:lnTo>
                      <a:lnTo>
                        <a:pt x="189" y="136"/>
                      </a:lnTo>
                      <a:lnTo>
                        <a:pt x="189" y="138"/>
                      </a:lnTo>
                      <a:lnTo>
                        <a:pt x="189" y="136"/>
                      </a:lnTo>
                      <a:lnTo>
                        <a:pt x="187" y="132"/>
                      </a:lnTo>
                      <a:lnTo>
                        <a:pt x="185" y="132"/>
                      </a:lnTo>
                      <a:lnTo>
                        <a:pt x="187" y="134"/>
                      </a:lnTo>
                      <a:lnTo>
                        <a:pt x="187" y="136"/>
                      </a:lnTo>
                      <a:lnTo>
                        <a:pt x="187" y="138"/>
                      </a:lnTo>
                      <a:lnTo>
                        <a:pt x="185" y="138"/>
                      </a:lnTo>
                      <a:lnTo>
                        <a:pt x="187" y="138"/>
                      </a:lnTo>
                      <a:lnTo>
                        <a:pt x="185" y="136"/>
                      </a:lnTo>
                      <a:lnTo>
                        <a:pt x="183" y="138"/>
                      </a:lnTo>
                      <a:lnTo>
                        <a:pt x="183" y="136"/>
                      </a:lnTo>
                      <a:lnTo>
                        <a:pt x="183" y="134"/>
                      </a:lnTo>
                      <a:lnTo>
                        <a:pt x="181" y="134"/>
                      </a:lnTo>
                      <a:lnTo>
                        <a:pt x="181" y="136"/>
                      </a:lnTo>
                      <a:lnTo>
                        <a:pt x="181" y="134"/>
                      </a:lnTo>
                      <a:lnTo>
                        <a:pt x="181" y="136"/>
                      </a:lnTo>
                      <a:lnTo>
                        <a:pt x="181" y="138"/>
                      </a:lnTo>
                      <a:lnTo>
                        <a:pt x="179" y="138"/>
                      </a:lnTo>
                      <a:lnTo>
                        <a:pt x="181" y="138"/>
                      </a:lnTo>
                      <a:lnTo>
                        <a:pt x="181" y="140"/>
                      </a:lnTo>
                      <a:lnTo>
                        <a:pt x="181" y="141"/>
                      </a:lnTo>
                      <a:lnTo>
                        <a:pt x="179" y="140"/>
                      </a:lnTo>
                      <a:lnTo>
                        <a:pt x="179" y="141"/>
                      </a:lnTo>
                      <a:lnTo>
                        <a:pt x="179" y="143"/>
                      </a:lnTo>
                      <a:lnTo>
                        <a:pt x="179" y="141"/>
                      </a:lnTo>
                      <a:lnTo>
                        <a:pt x="181" y="141"/>
                      </a:lnTo>
                      <a:lnTo>
                        <a:pt x="181" y="143"/>
                      </a:lnTo>
                      <a:lnTo>
                        <a:pt x="181" y="141"/>
                      </a:lnTo>
                      <a:lnTo>
                        <a:pt x="181" y="143"/>
                      </a:lnTo>
                      <a:lnTo>
                        <a:pt x="179" y="143"/>
                      </a:lnTo>
                      <a:lnTo>
                        <a:pt x="181" y="145"/>
                      </a:lnTo>
                      <a:lnTo>
                        <a:pt x="183" y="147"/>
                      </a:lnTo>
                      <a:lnTo>
                        <a:pt x="179" y="145"/>
                      </a:lnTo>
                      <a:lnTo>
                        <a:pt x="181" y="145"/>
                      </a:lnTo>
                      <a:lnTo>
                        <a:pt x="179" y="145"/>
                      </a:lnTo>
                      <a:lnTo>
                        <a:pt x="177" y="143"/>
                      </a:lnTo>
                      <a:lnTo>
                        <a:pt x="175" y="143"/>
                      </a:lnTo>
                      <a:lnTo>
                        <a:pt x="174" y="141"/>
                      </a:lnTo>
                      <a:lnTo>
                        <a:pt x="172" y="138"/>
                      </a:lnTo>
                      <a:lnTo>
                        <a:pt x="170" y="138"/>
                      </a:lnTo>
                      <a:lnTo>
                        <a:pt x="170" y="136"/>
                      </a:lnTo>
                      <a:lnTo>
                        <a:pt x="170" y="138"/>
                      </a:lnTo>
                      <a:lnTo>
                        <a:pt x="172" y="138"/>
                      </a:lnTo>
                      <a:lnTo>
                        <a:pt x="172" y="140"/>
                      </a:lnTo>
                      <a:lnTo>
                        <a:pt x="174" y="141"/>
                      </a:lnTo>
                      <a:lnTo>
                        <a:pt x="175" y="143"/>
                      </a:lnTo>
                      <a:lnTo>
                        <a:pt x="175" y="145"/>
                      </a:lnTo>
                      <a:lnTo>
                        <a:pt x="177" y="145"/>
                      </a:lnTo>
                      <a:lnTo>
                        <a:pt x="179" y="145"/>
                      </a:lnTo>
                      <a:lnTo>
                        <a:pt x="177" y="147"/>
                      </a:lnTo>
                      <a:lnTo>
                        <a:pt x="175" y="147"/>
                      </a:lnTo>
                      <a:lnTo>
                        <a:pt x="174" y="147"/>
                      </a:lnTo>
                      <a:lnTo>
                        <a:pt x="174" y="149"/>
                      </a:lnTo>
                      <a:lnTo>
                        <a:pt x="174" y="147"/>
                      </a:lnTo>
                      <a:lnTo>
                        <a:pt x="175" y="149"/>
                      </a:lnTo>
                      <a:lnTo>
                        <a:pt x="175" y="151"/>
                      </a:lnTo>
                      <a:lnTo>
                        <a:pt x="174" y="151"/>
                      </a:lnTo>
                      <a:lnTo>
                        <a:pt x="174" y="153"/>
                      </a:lnTo>
                      <a:lnTo>
                        <a:pt x="172" y="151"/>
                      </a:lnTo>
                      <a:lnTo>
                        <a:pt x="170" y="151"/>
                      </a:lnTo>
                      <a:lnTo>
                        <a:pt x="168" y="151"/>
                      </a:lnTo>
                      <a:lnTo>
                        <a:pt x="168" y="153"/>
                      </a:lnTo>
                      <a:lnTo>
                        <a:pt x="170" y="155"/>
                      </a:lnTo>
                      <a:lnTo>
                        <a:pt x="168" y="153"/>
                      </a:lnTo>
                      <a:lnTo>
                        <a:pt x="170" y="153"/>
                      </a:lnTo>
                      <a:lnTo>
                        <a:pt x="168" y="151"/>
                      </a:lnTo>
                      <a:lnTo>
                        <a:pt x="168" y="153"/>
                      </a:lnTo>
                      <a:lnTo>
                        <a:pt x="166" y="153"/>
                      </a:lnTo>
                      <a:lnTo>
                        <a:pt x="168" y="153"/>
                      </a:lnTo>
                      <a:lnTo>
                        <a:pt x="166" y="153"/>
                      </a:lnTo>
                      <a:lnTo>
                        <a:pt x="168" y="155"/>
                      </a:lnTo>
                      <a:lnTo>
                        <a:pt x="170" y="155"/>
                      </a:lnTo>
                      <a:lnTo>
                        <a:pt x="168" y="155"/>
                      </a:lnTo>
                      <a:lnTo>
                        <a:pt x="170" y="157"/>
                      </a:lnTo>
                      <a:lnTo>
                        <a:pt x="170" y="155"/>
                      </a:lnTo>
                      <a:lnTo>
                        <a:pt x="172" y="155"/>
                      </a:lnTo>
                      <a:lnTo>
                        <a:pt x="170" y="159"/>
                      </a:lnTo>
                      <a:lnTo>
                        <a:pt x="172" y="159"/>
                      </a:lnTo>
                      <a:lnTo>
                        <a:pt x="172" y="161"/>
                      </a:lnTo>
                      <a:lnTo>
                        <a:pt x="170" y="157"/>
                      </a:lnTo>
                      <a:lnTo>
                        <a:pt x="168" y="159"/>
                      </a:lnTo>
                      <a:lnTo>
                        <a:pt x="168" y="157"/>
                      </a:lnTo>
                      <a:lnTo>
                        <a:pt x="168" y="155"/>
                      </a:lnTo>
                      <a:lnTo>
                        <a:pt x="166" y="155"/>
                      </a:lnTo>
                      <a:lnTo>
                        <a:pt x="164" y="153"/>
                      </a:lnTo>
                      <a:lnTo>
                        <a:pt x="164" y="155"/>
                      </a:lnTo>
                      <a:lnTo>
                        <a:pt x="166" y="155"/>
                      </a:lnTo>
                      <a:lnTo>
                        <a:pt x="168" y="157"/>
                      </a:lnTo>
                      <a:lnTo>
                        <a:pt x="170" y="162"/>
                      </a:lnTo>
                      <a:lnTo>
                        <a:pt x="168" y="162"/>
                      </a:lnTo>
                      <a:lnTo>
                        <a:pt x="168" y="164"/>
                      </a:lnTo>
                      <a:lnTo>
                        <a:pt x="166" y="164"/>
                      </a:lnTo>
                      <a:lnTo>
                        <a:pt x="168" y="166"/>
                      </a:lnTo>
                      <a:lnTo>
                        <a:pt x="166" y="166"/>
                      </a:lnTo>
                      <a:lnTo>
                        <a:pt x="166" y="168"/>
                      </a:lnTo>
                      <a:lnTo>
                        <a:pt x="166" y="166"/>
                      </a:lnTo>
                      <a:lnTo>
                        <a:pt x="164" y="168"/>
                      </a:lnTo>
                      <a:lnTo>
                        <a:pt x="166" y="168"/>
                      </a:lnTo>
                      <a:lnTo>
                        <a:pt x="164" y="168"/>
                      </a:lnTo>
                      <a:lnTo>
                        <a:pt x="162" y="168"/>
                      </a:lnTo>
                      <a:lnTo>
                        <a:pt x="164" y="170"/>
                      </a:lnTo>
                      <a:lnTo>
                        <a:pt x="162" y="170"/>
                      </a:lnTo>
                      <a:lnTo>
                        <a:pt x="164" y="172"/>
                      </a:lnTo>
                      <a:lnTo>
                        <a:pt x="162" y="172"/>
                      </a:lnTo>
                      <a:lnTo>
                        <a:pt x="162" y="174"/>
                      </a:lnTo>
                      <a:lnTo>
                        <a:pt x="160" y="174"/>
                      </a:lnTo>
                      <a:lnTo>
                        <a:pt x="160" y="172"/>
                      </a:lnTo>
                      <a:lnTo>
                        <a:pt x="162" y="174"/>
                      </a:lnTo>
                      <a:lnTo>
                        <a:pt x="160" y="174"/>
                      </a:lnTo>
                      <a:lnTo>
                        <a:pt x="160" y="176"/>
                      </a:lnTo>
                      <a:lnTo>
                        <a:pt x="164" y="176"/>
                      </a:lnTo>
                      <a:lnTo>
                        <a:pt x="162" y="176"/>
                      </a:lnTo>
                      <a:lnTo>
                        <a:pt x="164" y="178"/>
                      </a:lnTo>
                      <a:lnTo>
                        <a:pt x="164" y="180"/>
                      </a:lnTo>
                      <a:lnTo>
                        <a:pt x="162" y="178"/>
                      </a:lnTo>
                      <a:lnTo>
                        <a:pt x="162" y="180"/>
                      </a:lnTo>
                      <a:lnTo>
                        <a:pt x="162" y="178"/>
                      </a:lnTo>
                      <a:lnTo>
                        <a:pt x="162" y="180"/>
                      </a:lnTo>
                      <a:lnTo>
                        <a:pt x="164" y="180"/>
                      </a:lnTo>
                      <a:lnTo>
                        <a:pt x="164" y="182"/>
                      </a:lnTo>
                      <a:lnTo>
                        <a:pt x="164" y="183"/>
                      </a:lnTo>
                      <a:lnTo>
                        <a:pt x="166" y="183"/>
                      </a:lnTo>
                      <a:lnTo>
                        <a:pt x="164" y="182"/>
                      </a:lnTo>
                      <a:lnTo>
                        <a:pt x="166" y="182"/>
                      </a:lnTo>
                      <a:lnTo>
                        <a:pt x="166" y="183"/>
                      </a:lnTo>
                      <a:lnTo>
                        <a:pt x="166" y="182"/>
                      </a:lnTo>
                      <a:lnTo>
                        <a:pt x="168" y="183"/>
                      </a:lnTo>
                      <a:lnTo>
                        <a:pt x="168" y="185"/>
                      </a:lnTo>
                      <a:lnTo>
                        <a:pt x="166" y="183"/>
                      </a:lnTo>
                      <a:lnTo>
                        <a:pt x="166" y="185"/>
                      </a:lnTo>
                      <a:lnTo>
                        <a:pt x="168" y="185"/>
                      </a:lnTo>
                      <a:lnTo>
                        <a:pt x="168" y="187"/>
                      </a:lnTo>
                      <a:lnTo>
                        <a:pt x="168" y="185"/>
                      </a:lnTo>
                      <a:lnTo>
                        <a:pt x="170" y="187"/>
                      </a:lnTo>
                      <a:lnTo>
                        <a:pt x="168" y="189"/>
                      </a:lnTo>
                      <a:lnTo>
                        <a:pt x="168" y="191"/>
                      </a:lnTo>
                      <a:lnTo>
                        <a:pt x="166" y="191"/>
                      </a:lnTo>
                      <a:lnTo>
                        <a:pt x="166" y="193"/>
                      </a:lnTo>
                      <a:lnTo>
                        <a:pt x="166" y="191"/>
                      </a:lnTo>
                      <a:lnTo>
                        <a:pt x="166" y="193"/>
                      </a:lnTo>
                      <a:lnTo>
                        <a:pt x="164" y="193"/>
                      </a:lnTo>
                      <a:lnTo>
                        <a:pt x="162" y="195"/>
                      </a:lnTo>
                      <a:lnTo>
                        <a:pt x="162" y="197"/>
                      </a:lnTo>
                      <a:lnTo>
                        <a:pt x="162" y="195"/>
                      </a:lnTo>
                      <a:lnTo>
                        <a:pt x="162" y="197"/>
                      </a:lnTo>
                      <a:lnTo>
                        <a:pt x="160" y="195"/>
                      </a:lnTo>
                      <a:lnTo>
                        <a:pt x="160" y="197"/>
                      </a:lnTo>
                      <a:lnTo>
                        <a:pt x="160" y="199"/>
                      </a:lnTo>
                      <a:lnTo>
                        <a:pt x="158" y="199"/>
                      </a:lnTo>
                      <a:lnTo>
                        <a:pt x="158" y="201"/>
                      </a:lnTo>
                      <a:lnTo>
                        <a:pt x="158" y="203"/>
                      </a:lnTo>
                      <a:lnTo>
                        <a:pt x="158" y="204"/>
                      </a:lnTo>
                      <a:lnTo>
                        <a:pt x="156" y="204"/>
                      </a:lnTo>
                      <a:lnTo>
                        <a:pt x="156" y="206"/>
                      </a:lnTo>
                      <a:lnTo>
                        <a:pt x="156" y="208"/>
                      </a:lnTo>
                      <a:lnTo>
                        <a:pt x="154" y="208"/>
                      </a:lnTo>
                      <a:lnTo>
                        <a:pt x="156" y="210"/>
                      </a:lnTo>
                      <a:lnTo>
                        <a:pt x="154" y="208"/>
                      </a:lnTo>
                      <a:lnTo>
                        <a:pt x="154" y="210"/>
                      </a:lnTo>
                      <a:lnTo>
                        <a:pt x="154" y="208"/>
                      </a:lnTo>
                      <a:lnTo>
                        <a:pt x="154" y="210"/>
                      </a:lnTo>
                      <a:lnTo>
                        <a:pt x="154" y="212"/>
                      </a:lnTo>
                      <a:lnTo>
                        <a:pt x="153" y="210"/>
                      </a:lnTo>
                      <a:lnTo>
                        <a:pt x="153" y="212"/>
                      </a:lnTo>
                      <a:lnTo>
                        <a:pt x="153" y="210"/>
                      </a:lnTo>
                      <a:lnTo>
                        <a:pt x="153" y="212"/>
                      </a:lnTo>
                      <a:lnTo>
                        <a:pt x="153" y="210"/>
                      </a:lnTo>
                      <a:lnTo>
                        <a:pt x="153" y="212"/>
                      </a:lnTo>
                      <a:lnTo>
                        <a:pt x="153" y="214"/>
                      </a:lnTo>
                      <a:lnTo>
                        <a:pt x="151" y="210"/>
                      </a:lnTo>
                      <a:lnTo>
                        <a:pt x="151" y="212"/>
                      </a:lnTo>
                      <a:lnTo>
                        <a:pt x="151" y="216"/>
                      </a:lnTo>
                      <a:lnTo>
                        <a:pt x="151" y="214"/>
                      </a:lnTo>
                      <a:lnTo>
                        <a:pt x="151" y="216"/>
                      </a:lnTo>
                      <a:lnTo>
                        <a:pt x="149" y="214"/>
                      </a:lnTo>
                      <a:lnTo>
                        <a:pt x="149" y="216"/>
                      </a:lnTo>
                      <a:lnTo>
                        <a:pt x="151" y="214"/>
                      </a:lnTo>
                      <a:lnTo>
                        <a:pt x="149" y="212"/>
                      </a:lnTo>
                      <a:lnTo>
                        <a:pt x="149" y="210"/>
                      </a:lnTo>
                      <a:lnTo>
                        <a:pt x="149" y="214"/>
                      </a:lnTo>
                      <a:lnTo>
                        <a:pt x="149" y="216"/>
                      </a:lnTo>
                      <a:lnTo>
                        <a:pt x="147" y="216"/>
                      </a:lnTo>
                      <a:lnTo>
                        <a:pt x="147" y="214"/>
                      </a:lnTo>
                      <a:lnTo>
                        <a:pt x="149" y="212"/>
                      </a:lnTo>
                      <a:lnTo>
                        <a:pt x="147" y="216"/>
                      </a:lnTo>
                      <a:lnTo>
                        <a:pt x="145" y="216"/>
                      </a:lnTo>
                      <a:lnTo>
                        <a:pt x="143" y="216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41" y="220"/>
                      </a:lnTo>
                      <a:lnTo>
                        <a:pt x="139" y="222"/>
                      </a:lnTo>
                      <a:lnTo>
                        <a:pt x="139" y="220"/>
                      </a:lnTo>
                      <a:lnTo>
                        <a:pt x="139" y="224"/>
                      </a:lnTo>
                      <a:lnTo>
                        <a:pt x="137" y="224"/>
                      </a:lnTo>
                      <a:lnTo>
                        <a:pt x="137" y="222"/>
                      </a:lnTo>
                      <a:lnTo>
                        <a:pt x="135" y="222"/>
                      </a:lnTo>
                      <a:lnTo>
                        <a:pt x="135" y="220"/>
                      </a:lnTo>
                      <a:lnTo>
                        <a:pt x="135" y="222"/>
                      </a:lnTo>
                      <a:lnTo>
                        <a:pt x="135" y="224"/>
                      </a:lnTo>
                      <a:lnTo>
                        <a:pt x="135" y="225"/>
                      </a:lnTo>
                      <a:lnTo>
                        <a:pt x="135" y="224"/>
                      </a:lnTo>
                      <a:lnTo>
                        <a:pt x="133" y="224"/>
                      </a:lnTo>
                      <a:lnTo>
                        <a:pt x="133" y="222"/>
                      </a:lnTo>
                      <a:lnTo>
                        <a:pt x="133" y="224"/>
                      </a:lnTo>
                      <a:lnTo>
                        <a:pt x="133" y="222"/>
                      </a:lnTo>
                      <a:lnTo>
                        <a:pt x="133" y="224"/>
                      </a:lnTo>
                      <a:lnTo>
                        <a:pt x="132" y="224"/>
                      </a:lnTo>
                      <a:lnTo>
                        <a:pt x="132" y="227"/>
                      </a:lnTo>
                      <a:lnTo>
                        <a:pt x="130" y="229"/>
                      </a:lnTo>
                      <a:lnTo>
                        <a:pt x="130" y="227"/>
                      </a:lnTo>
                      <a:lnTo>
                        <a:pt x="130" y="229"/>
                      </a:lnTo>
                      <a:lnTo>
                        <a:pt x="130" y="231"/>
                      </a:lnTo>
                      <a:lnTo>
                        <a:pt x="128" y="231"/>
                      </a:lnTo>
                      <a:lnTo>
                        <a:pt x="130" y="231"/>
                      </a:lnTo>
                      <a:lnTo>
                        <a:pt x="128" y="233"/>
                      </a:lnTo>
                      <a:lnTo>
                        <a:pt x="128" y="231"/>
                      </a:lnTo>
                      <a:lnTo>
                        <a:pt x="126" y="231"/>
                      </a:lnTo>
                      <a:lnTo>
                        <a:pt x="126" y="229"/>
                      </a:lnTo>
                      <a:lnTo>
                        <a:pt x="126" y="231"/>
                      </a:lnTo>
                      <a:lnTo>
                        <a:pt x="124" y="229"/>
                      </a:lnTo>
                      <a:lnTo>
                        <a:pt x="126" y="229"/>
                      </a:lnTo>
                      <a:lnTo>
                        <a:pt x="124" y="229"/>
                      </a:lnTo>
                      <a:lnTo>
                        <a:pt x="124" y="231"/>
                      </a:lnTo>
                      <a:lnTo>
                        <a:pt x="124" y="229"/>
                      </a:lnTo>
                      <a:lnTo>
                        <a:pt x="124" y="231"/>
                      </a:lnTo>
                      <a:lnTo>
                        <a:pt x="126" y="231"/>
                      </a:lnTo>
                      <a:lnTo>
                        <a:pt x="126" y="233"/>
                      </a:lnTo>
                      <a:lnTo>
                        <a:pt x="126" y="231"/>
                      </a:lnTo>
                      <a:lnTo>
                        <a:pt x="124" y="233"/>
                      </a:lnTo>
                      <a:lnTo>
                        <a:pt x="124" y="231"/>
                      </a:lnTo>
                      <a:lnTo>
                        <a:pt x="122" y="231"/>
                      </a:lnTo>
                      <a:lnTo>
                        <a:pt x="124" y="233"/>
                      </a:lnTo>
                      <a:lnTo>
                        <a:pt x="122" y="233"/>
                      </a:lnTo>
                      <a:lnTo>
                        <a:pt x="120" y="233"/>
                      </a:lnTo>
                      <a:lnTo>
                        <a:pt x="122" y="233"/>
                      </a:lnTo>
                      <a:lnTo>
                        <a:pt x="122" y="235"/>
                      </a:lnTo>
                      <a:lnTo>
                        <a:pt x="120" y="233"/>
                      </a:lnTo>
                      <a:lnTo>
                        <a:pt x="120" y="235"/>
                      </a:lnTo>
                      <a:lnTo>
                        <a:pt x="120" y="237"/>
                      </a:lnTo>
                      <a:lnTo>
                        <a:pt x="120" y="239"/>
                      </a:lnTo>
                      <a:lnTo>
                        <a:pt x="118" y="237"/>
                      </a:lnTo>
                      <a:lnTo>
                        <a:pt x="118" y="239"/>
                      </a:lnTo>
                      <a:lnTo>
                        <a:pt x="116" y="237"/>
                      </a:lnTo>
                      <a:lnTo>
                        <a:pt x="116" y="239"/>
                      </a:lnTo>
                      <a:lnTo>
                        <a:pt x="114" y="239"/>
                      </a:lnTo>
                      <a:lnTo>
                        <a:pt x="116" y="241"/>
                      </a:lnTo>
                      <a:lnTo>
                        <a:pt x="116" y="239"/>
                      </a:lnTo>
                      <a:lnTo>
                        <a:pt x="116" y="241"/>
                      </a:lnTo>
                      <a:lnTo>
                        <a:pt x="118" y="239"/>
                      </a:lnTo>
                      <a:lnTo>
                        <a:pt x="120" y="239"/>
                      </a:lnTo>
                      <a:lnTo>
                        <a:pt x="120" y="241"/>
                      </a:lnTo>
                      <a:lnTo>
                        <a:pt x="118" y="241"/>
                      </a:lnTo>
                      <a:lnTo>
                        <a:pt x="118" y="243"/>
                      </a:lnTo>
                      <a:lnTo>
                        <a:pt x="120" y="241"/>
                      </a:lnTo>
                      <a:lnTo>
                        <a:pt x="120" y="243"/>
                      </a:lnTo>
                      <a:lnTo>
                        <a:pt x="118" y="243"/>
                      </a:lnTo>
                      <a:lnTo>
                        <a:pt x="118" y="245"/>
                      </a:lnTo>
                      <a:lnTo>
                        <a:pt x="116" y="245"/>
                      </a:lnTo>
                      <a:lnTo>
                        <a:pt x="116" y="243"/>
                      </a:lnTo>
                      <a:lnTo>
                        <a:pt x="116" y="245"/>
                      </a:lnTo>
                      <a:lnTo>
                        <a:pt x="116" y="243"/>
                      </a:lnTo>
                      <a:lnTo>
                        <a:pt x="116" y="245"/>
                      </a:lnTo>
                      <a:lnTo>
                        <a:pt x="114" y="243"/>
                      </a:lnTo>
                      <a:lnTo>
                        <a:pt x="114" y="246"/>
                      </a:lnTo>
                      <a:lnTo>
                        <a:pt x="116" y="245"/>
                      </a:lnTo>
                      <a:lnTo>
                        <a:pt x="116" y="246"/>
                      </a:lnTo>
                      <a:lnTo>
                        <a:pt x="114" y="246"/>
                      </a:lnTo>
                      <a:lnTo>
                        <a:pt x="114" y="248"/>
                      </a:lnTo>
                      <a:lnTo>
                        <a:pt x="112" y="246"/>
                      </a:lnTo>
                      <a:lnTo>
                        <a:pt x="114" y="246"/>
                      </a:lnTo>
                      <a:lnTo>
                        <a:pt x="112" y="245"/>
                      </a:lnTo>
                      <a:lnTo>
                        <a:pt x="111" y="245"/>
                      </a:lnTo>
                      <a:lnTo>
                        <a:pt x="111" y="246"/>
                      </a:lnTo>
                      <a:lnTo>
                        <a:pt x="111" y="245"/>
                      </a:lnTo>
                      <a:lnTo>
                        <a:pt x="111" y="243"/>
                      </a:lnTo>
                      <a:lnTo>
                        <a:pt x="109" y="241"/>
                      </a:lnTo>
                      <a:lnTo>
                        <a:pt x="111" y="241"/>
                      </a:lnTo>
                      <a:lnTo>
                        <a:pt x="109" y="241"/>
                      </a:lnTo>
                      <a:lnTo>
                        <a:pt x="109" y="239"/>
                      </a:lnTo>
                      <a:lnTo>
                        <a:pt x="109" y="241"/>
                      </a:lnTo>
                      <a:lnTo>
                        <a:pt x="107" y="239"/>
                      </a:lnTo>
                      <a:lnTo>
                        <a:pt x="109" y="243"/>
                      </a:lnTo>
                      <a:lnTo>
                        <a:pt x="111" y="245"/>
                      </a:lnTo>
                      <a:lnTo>
                        <a:pt x="109" y="246"/>
                      </a:lnTo>
                      <a:lnTo>
                        <a:pt x="111" y="246"/>
                      </a:lnTo>
                      <a:lnTo>
                        <a:pt x="111" y="248"/>
                      </a:lnTo>
                      <a:lnTo>
                        <a:pt x="112" y="250"/>
                      </a:lnTo>
                      <a:lnTo>
                        <a:pt x="111" y="252"/>
                      </a:lnTo>
                      <a:lnTo>
                        <a:pt x="111" y="250"/>
                      </a:lnTo>
                      <a:lnTo>
                        <a:pt x="109" y="250"/>
                      </a:lnTo>
                      <a:lnTo>
                        <a:pt x="111" y="252"/>
                      </a:lnTo>
                      <a:lnTo>
                        <a:pt x="112" y="252"/>
                      </a:lnTo>
                      <a:lnTo>
                        <a:pt x="112" y="254"/>
                      </a:lnTo>
                      <a:lnTo>
                        <a:pt x="111" y="256"/>
                      </a:lnTo>
                      <a:lnTo>
                        <a:pt x="111" y="252"/>
                      </a:lnTo>
                      <a:lnTo>
                        <a:pt x="111" y="254"/>
                      </a:lnTo>
                      <a:lnTo>
                        <a:pt x="111" y="256"/>
                      </a:lnTo>
                      <a:lnTo>
                        <a:pt x="109" y="258"/>
                      </a:lnTo>
                      <a:lnTo>
                        <a:pt x="109" y="256"/>
                      </a:lnTo>
                      <a:lnTo>
                        <a:pt x="107" y="256"/>
                      </a:lnTo>
                      <a:lnTo>
                        <a:pt x="107" y="258"/>
                      </a:lnTo>
                      <a:lnTo>
                        <a:pt x="107" y="260"/>
                      </a:lnTo>
                      <a:lnTo>
                        <a:pt x="107" y="262"/>
                      </a:lnTo>
                      <a:lnTo>
                        <a:pt x="105" y="260"/>
                      </a:lnTo>
                      <a:lnTo>
                        <a:pt x="105" y="258"/>
                      </a:lnTo>
                      <a:lnTo>
                        <a:pt x="103" y="258"/>
                      </a:lnTo>
                      <a:lnTo>
                        <a:pt x="103" y="256"/>
                      </a:lnTo>
                      <a:lnTo>
                        <a:pt x="101" y="258"/>
                      </a:lnTo>
                      <a:lnTo>
                        <a:pt x="103" y="260"/>
                      </a:lnTo>
                      <a:lnTo>
                        <a:pt x="101" y="260"/>
                      </a:lnTo>
                      <a:lnTo>
                        <a:pt x="101" y="262"/>
                      </a:lnTo>
                      <a:lnTo>
                        <a:pt x="101" y="264"/>
                      </a:lnTo>
                      <a:lnTo>
                        <a:pt x="103" y="266"/>
                      </a:lnTo>
                      <a:lnTo>
                        <a:pt x="103" y="262"/>
                      </a:lnTo>
                      <a:lnTo>
                        <a:pt x="103" y="264"/>
                      </a:lnTo>
                      <a:lnTo>
                        <a:pt x="103" y="266"/>
                      </a:lnTo>
                      <a:lnTo>
                        <a:pt x="107" y="266"/>
                      </a:lnTo>
                      <a:lnTo>
                        <a:pt x="105" y="267"/>
                      </a:lnTo>
                      <a:lnTo>
                        <a:pt x="105" y="266"/>
                      </a:lnTo>
                      <a:lnTo>
                        <a:pt x="103" y="266"/>
                      </a:lnTo>
                      <a:lnTo>
                        <a:pt x="105" y="267"/>
                      </a:lnTo>
                      <a:lnTo>
                        <a:pt x="105" y="269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5" y="269"/>
                      </a:lnTo>
                      <a:lnTo>
                        <a:pt x="103" y="269"/>
                      </a:lnTo>
                      <a:lnTo>
                        <a:pt x="103" y="271"/>
                      </a:lnTo>
                      <a:lnTo>
                        <a:pt x="103" y="273"/>
                      </a:lnTo>
                      <a:lnTo>
                        <a:pt x="103" y="275"/>
                      </a:lnTo>
                      <a:lnTo>
                        <a:pt x="101" y="275"/>
                      </a:lnTo>
                      <a:lnTo>
                        <a:pt x="101" y="277"/>
                      </a:lnTo>
                      <a:lnTo>
                        <a:pt x="101" y="279"/>
                      </a:lnTo>
                      <a:lnTo>
                        <a:pt x="101" y="281"/>
                      </a:lnTo>
                      <a:lnTo>
                        <a:pt x="103" y="281"/>
                      </a:lnTo>
                      <a:lnTo>
                        <a:pt x="101" y="281"/>
                      </a:lnTo>
                      <a:lnTo>
                        <a:pt x="103" y="281"/>
                      </a:lnTo>
                      <a:lnTo>
                        <a:pt x="101" y="281"/>
                      </a:lnTo>
                      <a:lnTo>
                        <a:pt x="103" y="283"/>
                      </a:lnTo>
                      <a:lnTo>
                        <a:pt x="101" y="283"/>
                      </a:lnTo>
                      <a:lnTo>
                        <a:pt x="103" y="283"/>
                      </a:lnTo>
                      <a:lnTo>
                        <a:pt x="101" y="285"/>
                      </a:lnTo>
                      <a:lnTo>
                        <a:pt x="103" y="283"/>
                      </a:lnTo>
                      <a:lnTo>
                        <a:pt x="105" y="285"/>
                      </a:lnTo>
                      <a:lnTo>
                        <a:pt x="103" y="287"/>
                      </a:lnTo>
                      <a:lnTo>
                        <a:pt x="101" y="283"/>
                      </a:lnTo>
                      <a:lnTo>
                        <a:pt x="101" y="285"/>
                      </a:lnTo>
                      <a:lnTo>
                        <a:pt x="99" y="285"/>
                      </a:lnTo>
                      <a:lnTo>
                        <a:pt x="99" y="283"/>
                      </a:lnTo>
                      <a:lnTo>
                        <a:pt x="99" y="285"/>
                      </a:lnTo>
                      <a:lnTo>
                        <a:pt x="97" y="283"/>
                      </a:lnTo>
                      <a:lnTo>
                        <a:pt x="97" y="285"/>
                      </a:lnTo>
                      <a:lnTo>
                        <a:pt x="99" y="285"/>
                      </a:lnTo>
                      <a:lnTo>
                        <a:pt x="99" y="287"/>
                      </a:lnTo>
                      <a:lnTo>
                        <a:pt x="97" y="287"/>
                      </a:lnTo>
                      <a:lnTo>
                        <a:pt x="99" y="287"/>
                      </a:lnTo>
                      <a:lnTo>
                        <a:pt x="97" y="287"/>
                      </a:lnTo>
                      <a:lnTo>
                        <a:pt x="99" y="287"/>
                      </a:lnTo>
                      <a:lnTo>
                        <a:pt x="99" y="288"/>
                      </a:lnTo>
                      <a:lnTo>
                        <a:pt x="99" y="287"/>
                      </a:lnTo>
                      <a:lnTo>
                        <a:pt x="97" y="287"/>
                      </a:lnTo>
                      <a:lnTo>
                        <a:pt x="99" y="288"/>
                      </a:lnTo>
                      <a:lnTo>
                        <a:pt x="97" y="288"/>
                      </a:lnTo>
                      <a:lnTo>
                        <a:pt x="99" y="288"/>
                      </a:lnTo>
                      <a:lnTo>
                        <a:pt x="97" y="288"/>
                      </a:lnTo>
                      <a:lnTo>
                        <a:pt x="99" y="290"/>
                      </a:lnTo>
                      <a:lnTo>
                        <a:pt x="97" y="290"/>
                      </a:lnTo>
                      <a:lnTo>
                        <a:pt x="99" y="292"/>
                      </a:lnTo>
                      <a:lnTo>
                        <a:pt x="97" y="292"/>
                      </a:lnTo>
                      <a:lnTo>
                        <a:pt x="99" y="294"/>
                      </a:lnTo>
                      <a:lnTo>
                        <a:pt x="99" y="292"/>
                      </a:lnTo>
                      <a:lnTo>
                        <a:pt x="99" y="294"/>
                      </a:lnTo>
                      <a:lnTo>
                        <a:pt x="97" y="294"/>
                      </a:lnTo>
                      <a:lnTo>
                        <a:pt x="99" y="296"/>
                      </a:lnTo>
                      <a:lnTo>
                        <a:pt x="97" y="296"/>
                      </a:lnTo>
                      <a:lnTo>
                        <a:pt x="99" y="296"/>
                      </a:lnTo>
                      <a:lnTo>
                        <a:pt x="99" y="298"/>
                      </a:lnTo>
                      <a:lnTo>
                        <a:pt x="99" y="296"/>
                      </a:lnTo>
                      <a:lnTo>
                        <a:pt x="97" y="298"/>
                      </a:lnTo>
                      <a:lnTo>
                        <a:pt x="101" y="298"/>
                      </a:lnTo>
                      <a:lnTo>
                        <a:pt x="99" y="298"/>
                      </a:lnTo>
                      <a:lnTo>
                        <a:pt x="97" y="298"/>
                      </a:lnTo>
                      <a:lnTo>
                        <a:pt x="99" y="298"/>
                      </a:lnTo>
                      <a:lnTo>
                        <a:pt x="99" y="300"/>
                      </a:lnTo>
                      <a:lnTo>
                        <a:pt x="97" y="300"/>
                      </a:lnTo>
                      <a:lnTo>
                        <a:pt x="99" y="302"/>
                      </a:lnTo>
                      <a:lnTo>
                        <a:pt x="99" y="304"/>
                      </a:lnTo>
                      <a:lnTo>
                        <a:pt x="99" y="306"/>
                      </a:lnTo>
                      <a:lnTo>
                        <a:pt x="99" y="307"/>
                      </a:lnTo>
                      <a:lnTo>
                        <a:pt x="97" y="307"/>
                      </a:lnTo>
                      <a:lnTo>
                        <a:pt x="99" y="307"/>
                      </a:lnTo>
                      <a:lnTo>
                        <a:pt x="97" y="309"/>
                      </a:lnTo>
                      <a:lnTo>
                        <a:pt x="99" y="309"/>
                      </a:lnTo>
                      <a:lnTo>
                        <a:pt x="97" y="309"/>
                      </a:lnTo>
                      <a:lnTo>
                        <a:pt x="99" y="309"/>
                      </a:lnTo>
                      <a:lnTo>
                        <a:pt x="99" y="311"/>
                      </a:lnTo>
                      <a:lnTo>
                        <a:pt x="101" y="311"/>
                      </a:lnTo>
                      <a:lnTo>
                        <a:pt x="99" y="311"/>
                      </a:lnTo>
                      <a:lnTo>
                        <a:pt x="101" y="313"/>
                      </a:lnTo>
                      <a:lnTo>
                        <a:pt x="99" y="313"/>
                      </a:lnTo>
                      <a:lnTo>
                        <a:pt x="101" y="313"/>
                      </a:lnTo>
                      <a:lnTo>
                        <a:pt x="101" y="315"/>
                      </a:lnTo>
                      <a:lnTo>
                        <a:pt x="99" y="317"/>
                      </a:lnTo>
                      <a:lnTo>
                        <a:pt x="101" y="317"/>
                      </a:lnTo>
                      <a:lnTo>
                        <a:pt x="101" y="319"/>
                      </a:lnTo>
                      <a:lnTo>
                        <a:pt x="103" y="319"/>
                      </a:lnTo>
                      <a:lnTo>
                        <a:pt x="103" y="321"/>
                      </a:lnTo>
                      <a:lnTo>
                        <a:pt x="103" y="319"/>
                      </a:lnTo>
                      <a:lnTo>
                        <a:pt x="105" y="319"/>
                      </a:lnTo>
                      <a:lnTo>
                        <a:pt x="107" y="319"/>
                      </a:lnTo>
                      <a:lnTo>
                        <a:pt x="105" y="321"/>
                      </a:lnTo>
                      <a:lnTo>
                        <a:pt x="107" y="323"/>
                      </a:lnTo>
                      <a:lnTo>
                        <a:pt x="105" y="323"/>
                      </a:lnTo>
                      <a:lnTo>
                        <a:pt x="107" y="323"/>
                      </a:lnTo>
                      <a:lnTo>
                        <a:pt x="109" y="321"/>
                      </a:lnTo>
                      <a:lnTo>
                        <a:pt x="112" y="321"/>
                      </a:lnTo>
                      <a:lnTo>
                        <a:pt x="112" y="323"/>
                      </a:lnTo>
                      <a:lnTo>
                        <a:pt x="111" y="323"/>
                      </a:lnTo>
                      <a:lnTo>
                        <a:pt x="112" y="323"/>
                      </a:lnTo>
                      <a:lnTo>
                        <a:pt x="112" y="325"/>
                      </a:lnTo>
                      <a:lnTo>
                        <a:pt x="112" y="323"/>
                      </a:lnTo>
                      <a:lnTo>
                        <a:pt x="112" y="325"/>
                      </a:lnTo>
                      <a:lnTo>
                        <a:pt x="112" y="323"/>
                      </a:lnTo>
                      <a:lnTo>
                        <a:pt x="112" y="325"/>
                      </a:lnTo>
                      <a:lnTo>
                        <a:pt x="114" y="327"/>
                      </a:lnTo>
                      <a:lnTo>
                        <a:pt x="116" y="327"/>
                      </a:lnTo>
                      <a:lnTo>
                        <a:pt x="114" y="327"/>
                      </a:lnTo>
                      <a:lnTo>
                        <a:pt x="116" y="327"/>
                      </a:lnTo>
                      <a:lnTo>
                        <a:pt x="116" y="328"/>
                      </a:lnTo>
                      <a:lnTo>
                        <a:pt x="118" y="328"/>
                      </a:lnTo>
                      <a:lnTo>
                        <a:pt x="120" y="330"/>
                      </a:lnTo>
                      <a:lnTo>
                        <a:pt x="118" y="328"/>
                      </a:lnTo>
                      <a:lnTo>
                        <a:pt x="120" y="330"/>
                      </a:lnTo>
                      <a:lnTo>
                        <a:pt x="122" y="332"/>
                      </a:lnTo>
                      <a:lnTo>
                        <a:pt x="120" y="332"/>
                      </a:lnTo>
                      <a:lnTo>
                        <a:pt x="120" y="334"/>
                      </a:lnTo>
                      <a:lnTo>
                        <a:pt x="116" y="330"/>
                      </a:lnTo>
                      <a:lnTo>
                        <a:pt x="118" y="332"/>
                      </a:lnTo>
                      <a:lnTo>
                        <a:pt x="120" y="332"/>
                      </a:lnTo>
                      <a:lnTo>
                        <a:pt x="118" y="332"/>
                      </a:lnTo>
                      <a:lnTo>
                        <a:pt x="118" y="334"/>
                      </a:lnTo>
                      <a:lnTo>
                        <a:pt x="120" y="334"/>
                      </a:lnTo>
                      <a:lnTo>
                        <a:pt x="120" y="336"/>
                      </a:lnTo>
                      <a:lnTo>
                        <a:pt x="122" y="338"/>
                      </a:lnTo>
                      <a:lnTo>
                        <a:pt x="122" y="336"/>
                      </a:lnTo>
                      <a:lnTo>
                        <a:pt x="124" y="336"/>
                      </a:lnTo>
                      <a:lnTo>
                        <a:pt x="124" y="340"/>
                      </a:lnTo>
                      <a:lnTo>
                        <a:pt x="124" y="336"/>
                      </a:lnTo>
                      <a:lnTo>
                        <a:pt x="126" y="336"/>
                      </a:lnTo>
                      <a:lnTo>
                        <a:pt x="124" y="336"/>
                      </a:lnTo>
                      <a:lnTo>
                        <a:pt x="126" y="338"/>
                      </a:lnTo>
                      <a:lnTo>
                        <a:pt x="126" y="342"/>
                      </a:lnTo>
                      <a:lnTo>
                        <a:pt x="128" y="342"/>
                      </a:lnTo>
                      <a:lnTo>
                        <a:pt x="128" y="344"/>
                      </a:lnTo>
                      <a:lnTo>
                        <a:pt x="130" y="344"/>
                      </a:lnTo>
                      <a:lnTo>
                        <a:pt x="130" y="346"/>
                      </a:lnTo>
                      <a:lnTo>
                        <a:pt x="128" y="346"/>
                      </a:lnTo>
                      <a:lnTo>
                        <a:pt x="128" y="344"/>
                      </a:lnTo>
                      <a:lnTo>
                        <a:pt x="128" y="346"/>
                      </a:lnTo>
                      <a:lnTo>
                        <a:pt x="126" y="342"/>
                      </a:lnTo>
                      <a:lnTo>
                        <a:pt x="126" y="344"/>
                      </a:lnTo>
                      <a:lnTo>
                        <a:pt x="128" y="344"/>
                      </a:lnTo>
                      <a:lnTo>
                        <a:pt x="126" y="344"/>
                      </a:lnTo>
                      <a:lnTo>
                        <a:pt x="126" y="346"/>
                      </a:lnTo>
                      <a:lnTo>
                        <a:pt x="126" y="348"/>
                      </a:lnTo>
                      <a:lnTo>
                        <a:pt x="124" y="348"/>
                      </a:lnTo>
                      <a:lnTo>
                        <a:pt x="126" y="348"/>
                      </a:lnTo>
                      <a:lnTo>
                        <a:pt x="130" y="348"/>
                      </a:lnTo>
                      <a:lnTo>
                        <a:pt x="130" y="349"/>
                      </a:lnTo>
                      <a:lnTo>
                        <a:pt x="128" y="349"/>
                      </a:lnTo>
                      <a:lnTo>
                        <a:pt x="126" y="349"/>
                      </a:lnTo>
                      <a:lnTo>
                        <a:pt x="124" y="349"/>
                      </a:lnTo>
                      <a:lnTo>
                        <a:pt x="124" y="351"/>
                      </a:lnTo>
                      <a:lnTo>
                        <a:pt x="122" y="351"/>
                      </a:lnTo>
                      <a:lnTo>
                        <a:pt x="124" y="351"/>
                      </a:lnTo>
                      <a:lnTo>
                        <a:pt x="122" y="351"/>
                      </a:lnTo>
                      <a:lnTo>
                        <a:pt x="122" y="353"/>
                      </a:lnTo>
                      <a:lnTo>
                        <a:pt x="120" y="355"/>
                      </a:lnTo>
                      <a:lnTo>
                        <a:pt x="118" y="355"/>
                      </a:lnTo>
                      <a:lnTo>
                        <a:pt x="118" y="357"/>
                      </a:lnTo>
                      <a:lnTo>
                        <a:pt x="116" y="357"/>
                      </a:lnTo>
                      <a:lnTo>
                        <a:pt x="114" y="357"/>
                      </a:lnTo>
                      <a:lnTo>
                        <a:pt x="116" y="357"/>
                      </a:lnTo>
                      <a:lnTo>
                        <a:pt x="118" y="357"/>
                      </a:lnTo>
                      <a:lnTo>
                        <a:pt x="116" y="359"/>
                      </a:lnTo>
                      <a:lnTo>
                        <a:pt x="116" y="357"/>
                      </a:lnTo>
                      <a:lnTo>
                        <a:pt x="116" y="359"/>
                      </a:lnTo>
                      <a:lnTo>
                        <a:pt x="114" y="359"/>
                      </a:lnTo>
                      <a:lnTo>
                        <a:pt x="114" y="357"/>
                      </a:lnTo>
                      <a:lnTo>
                        <a:pt x="112" y="359"/>
                      </a:lnTo>
                      <a:lnTo>
                        <a:pt x="112" y="357"/>
                      </a:lnTo>
                      <a:lnTo>
                        <a:pt x="112" y="359"/>
                      </a:lnTo>
                      <a:lnTo>
                        <a:pt x="111" y="357"/>
                      </a:lnTo>
                      <a:lnTo>
                        <a:pt x="112" y="359"/>
                      </a:lnTo>
                      <a:lnTo>
                        <a:pt x="114" y="361"/>
                      </a:lnTo>
                      <a:lnTo>
                        <a:pt x="112" y="361"/>
                      </a:lnTo>
                      <a:lnTo>
                        <a:pt x="114" y="361"/>
                      </a:lnTo>
                      <a:lnTo>
                        <a:pt x="112" y="361"/>
                      </a:lnTo>
                      <a:lnTo>
                        <a:pt x="114" y="361"/>
                      </a:lnTo>
                      <a:lnTo>
                        <a:pt x="116" y="361"/>
                      </a:lnTo>
                      <a:lnTo>
                        <a:pt x="116" y="363"/>
                      </a:lnTo>
                      <a:lnTo>
                        <a:pt x="118" y="363"/>
                      </a:lnTo>
                      <a:lnTo>
                        <a:pt x="116" y="363"/>
                      </a:lnTo>
                      <a:lnTo>
                        <a:pt x="118" y="365"/>
                      </a:lnTo>
                      <a:lnTo>
                        <a:pt x="116" y="363"/>
                      </a:lnTo>
                      <a:lnTo>
                        <a:pt x="116" y="365"/>
                      </a:lnTo>
                      <a:lnTo>
                        <a:pt x="118" y="365"/>
                      </a:lnTo>
                      <a:lnTo>
                        <a:pt x="118" y="367"/>
                      </a:lnTo>
                      <a:lnTo>
                        <a:pt x="118" y="365"/>
                      </a:lnTo>
                      <a:lnTo>
                        <a:pt x="118" y="367"/>
                      </a:lnTo>
                      <a:lnTo>
                        <a:pt x="120" y="367"/>
                      </a:lnTo>
                      <a:lnTo>
                        <a:pt x="118" y="367"/>
                      </a:lnTo>
                      <a:lnTo>
                        <a:pt x="116" y="367"/>
                      </a:lnTo>
                      <a:lnTo>
                        <a:pt x="116" y="369"/>
                      </a:lnTo>
                      <a:lnTo>
                        <a:pt x="114" y="369"/>
                      </a:lnTo>
                      <a:lnTo>
                        <a:pt x="116" y="369"/>
                      </a:lnTo>
                      <a:lnTo>
                        <a:pt x="114" y="369"/>
                      </a:lnTo>
                      <a:lnTo>
                        <a:pt x="116" y="367"/>
                      </a:lnTo>
                      <a:lnTo>
                        <a:pt x="114" y="369"/>
                      </a:lnTo>
                      <a:lnTo>
                        <a:pt x="112" y="369"/>
                      </a:lnTo>
                      <a:lnTo>
                        <a:pt x="114" y="370"/>
                      </a:lnTo>
                      <a:lnTo>
                        <a:pt x="112" y="369"/>
                      </a:lnTo>
                      <a:lnTo>
                        <a:pt x="112" y="370"/>
                      </a:lnTo>
                      <a:lnTo>
                        <a:pt x="112" y="372"/>
                      </a:lnTo>
                      <a:lnTo>
                        <a:pt x="112" y="370"/>
                      </a:lnTo>
                      <a:lnTo>
                        <a:pt x="111" y="372"/>
                      </a:lnTo>
                      <a:lnTo>
                        <a:pt x="111" y="374"/>
                      </a:lnTo>
                      <a:lnTo>
                        <a:pt x="111" y="376"/>
                      </a:lnTo>
                      <a:lnTo>
                        <a:pt x="109" y="374"/>
                      </a:lnTo>
                      <a:lnTo>
                        <a:pt x="111" y="374"/>
                      </a:lnTo>
                      <a:lnTo>
                        <a:pt x="109" y="374"/>
                      </a:lnTo>
                      <a:lnTo>
                        <a:pt x="111" y="374"/>
                      </a:lnTo>
                      <a:lnTo>
                        <a:pt x="109" y="374"/>
                      </a:lnTo>
                      <a:lnTo>
                        <a:pt x="109" y="376"/>
                      </a:lnTo>
                      <a:lnTo>
                        <a:pt x="111" y="376"/>
                      </a:lnTo>
                      <a:lnTo>
                        <a:pt x="109" y="376"/>
                      </a:lnTo>
                      <a:lnTo>
                        <a:pt x="109" y="378"/>
                      </a:lnTo>
                      <a:lnTo>
                        <a:pt x="109" y="376"/>
                      </a:lnTo>
                      <a:lnTo>
                        <a:pt x="109" y="374"/>
                      </a:lnTo>
                      <a:lnTo>
                        <a:pt x="109" y="372"/>
                      </a:lnTo>
                      <a:lnTo>
                        <a:pt x="109" y="374"/>
                      </a:lnTo>
                      <a:lnTo>
                        <a:pt x="107" y="372"/>
                      </a:lnTo>
                      <a:lnTo>
                        <a:pt x="109" y="372"/>
                      </a:lnTo>
                      <a:lnTo>
                        <a:pt x="107" y="369"/>
                      </a:lnTo>
                      <a:lnTo>
                        <a:pt x="109" y="369"/>
                      </a:lnTo>
                      <a:lnTo>
                        <a:pt x="107" y="369"/>
                      </a:lnTo>
                      <a:lnTo>
                        <a:pt x="109" y="369"/>
                      </a:lnTo>
                      <a:lnTo>
                        <a:pt x="109" y="367"/>
                      </a:lnTo>
                      <a:lnTo>
                        <a:pt x="107" y="369"/>
                      </a:lnTo>
                      <a:lnTo>
                        <a:pt x="107" y="365"/>
                      </a:lnTo>
                      <a:lnTo>
                        <a:pt x="107" y="369"/>
                      </a:lnTo>
                      <a:lnTo>
                        <a:pt x="105" y="369"/>
                      </a:lnTo>
                      <a:lnTo>
                        <a:pt x="107" y="369"/>
                      </a:lnTo>
                      <a:lnTo>
                        <a:pt x="105" y="370"/>
                      </a:lnTo>
                      <a:lnTo>
                        <a:pt x="107" y="370"/>
                      </a:lnTo>
                      <a:lnTo>
                        <a:pt x="105" y="372"/>
                      </a:lnTo>
                      <a:lnTo>
                        <a:pt x="105" y="374"/>
                      </a:lnTo>
                      <a:lnTo>
                        <a:pt x="107" y="374"/>
                      </a:lnTo>
                      <a:lnTo>
                        <a:pt x="105" y="374"/>
                      </a:lnTo>
                      <a:lnTo>
                        <a:pt x="105" y="376"/>
                      </a:lnTo>
                      <a:lnTo>
                        <a:pt x="103" y="374"/>
                      </a:lnTo>
                      <a:lnTo>
                        <a:pt x="105" y="376"/>
                      </a:lnTo>
                      <a:lnTo>
                        <a:pt x="103" y="376"/>
                      </a:lnTo>
                      <a:lnTo>
                        <a:pt x="103" y="378"/>
                      </a:lnTo>
                      <a:lnTo>
                        <a:pt x="105" y="378"/>
                      </a:lnTo>
                      <a:lnTo>
                        <a:pt x="103" y="378"/>
                      </a:lnTo>
                      <a:lnTo>
                        <a:pt x="101" y="378"/>
                      </a:lnTo>
                      <a:lnTo>
                        <a:pt x="101" y="380"/>
                      </a:lnTo>
                      <a:lnTo>
                        <a:pt x="99" y="380"/>
                      </a:lnTo>
                      <a:lnTo>
                        <a:pt x="97" y="380"/>
                      </a:lnTo>
                      <a:lnTo>
                        <a:pt x="97" y="378"/>
                      </a:lnTo>
                      <a:lnTo>
                        <a:pt x="95" y="378"/>
                      </a:lnTo>
                      <a:lnTo>
                        <a:pt x="97" y="380"/>
                      </a:lnTo>
                      <a:lnTo>
                        <a:pt x="99" y="380"/>
                      </a:lnTo>
                      <a:lnTo>
                        <a:pt x="97" y="380"/>
                      </a:lnTo>
                      <a:lnTo>
                        <a:pt x="97" y="382"/>
                      </a:lnTo>
                      <a:lnTo>
                        <a:pt x="95" y="380"/>
                      </a:lnTo>
                      <a:lnTo>
                        <a:pt x="95" y="382"/>
                      </a:lnTo>
                      <a:lnTo>
                        <a:pt x="97" y="382"/>
                      </a:lnTo>
                      <a:lnTo>
                        <a:pt x="95" y="382"/>
                      </a:lnTo>
                      <a:lnTo>
                        <a:pt x="95" y="384"/>
                      </a:lnTo>
                      <a:lnTo>
                        <a:pt x="93" y="382"/>
                      </a:lnTo>
                      <a:lnTo>
                        <a:pt x="90" y="382"/>
                      </a:lnTo>
                      <a:lnTo>
                        <a:pt x="88" y="382"/>
                      </a:lnTo>
                      <a:lnTo>
                        <a:pt x="86" y="382"/>
                      </a:lnTo>
                      <a:lnTo>
                        <a:pt x="84" y="382"/>
                      </a:lnTo>
                      <a:lnTo>
                        <a:pt x="82" y="382"/>
                      </a:lnTo>
                      <a:lnTo>
                        <a:pt x="84" y="384"/>
                      </a:lnTo>
                      <a:lnTo>
                        <a:pt x="84" y="382"/>
                      </a:lnTo>
                      <a:lnTo>
                        <a:pt x="84" y="384"/>
                      </a:lnTo>
                      <a:lnTo>
                        <a:pt x="84" y="382"/>
                      </a:lnTo>
                      <a:lnTo>
                        <a:pt x="86" y="384"/>
                      </a:lnTo>
                      <a:lnTo>
                        <a:pt x="86" y="382"/>
                      </a:lnTo>
                      <a:lnTo>
                        <a:pt x="86" y="384"/>
                      </a:lnTo>
                      <a:lnTo>
                        <a:pt x="88" y="384"/>
                      </a:lnTo>
                      <a:lnTo>
                        <a:pt x="86" y="384"/>
                      </a:lnTo>
                      <a:lnTo>
                        <a:pt x="88" y="382"/>
                      </a:lnTo>
                      <a:lnTo>
                        <a:pt x="88" y="384"/>
                      </a:lnTo>
                      <a:lnTo>
                        <a:pt x="90" y="382"/>
                      </a:lnTo>
                      <a:lnTo>
                        <a:pt x="92" y="384"/>
                      </a:lnTo>
                      <a:lnTo>
                        <a:pt x="93" y="384"/>
                      </a:lnTo>
                      <a:lnTo>
                        <a:pt x="92" y="384"/>
                      </a:lnTo>
                      <a:lnTo>
                        <a:pt x="93" y="384"/>
                      </a:lnTo>
                      <a:lnTo>
                        <a:pt x="93" y="386"/>
                      </a:lnTo>
                      <a:lnTo>
                        <a:pt x="95" y="388"/>
                      </a:lnTo>
                      <a:lnTo>
                        <a:pt x="93" y="388"/>
                      </a:lnTo>
                      <a:lnTo>
                        <a:pt x="92" y="388"/>
                      </a:lnTo>
                      <a:lnTo>
                        <a:pt x="92" y="390"/>
                      </a:lnTo>
                      <a:lnTo>
                        <a:pt x="92" y="388"/>
                      </a:lnTo>
                      <a:lnTo>
                        <a:pt x="92" y="390"/>
                      </a:lnTo>
                      <a:lnTo>
                        <a:pt x="90" y="388"/>
                      </a:lnTo>
                      <a:lnTo>
                        <a:pt x="88" y="388"/>
                      </a:lnTo>
                      <a:lnTo>
                        <a:pt x="86" y="388"/>
                      </a:lnTo>
                      <a:lnTo>
                        <a:pt x="90" y="388"/>
                      </a:lnTo>
                      <a:lnTo>
                        <a:pt x="90" y="390"/>
                      </a:lnTo>
                      <a:lnTo>
                        <a:pt x="90" y="388"/>
                      </a:lnTo>
                      <a:lnTo>
                        <a:pt x="90" y="390"/>
                      </a:lnTo>
                      <a:lnTo>
                        <a:pt x="92" y="390"/>
                      </a:lnTo>
                      <a:lnTo>
                        <a:pt x="92" y="391"/>
                      </a:lnTo>
                      <a:lnTo>
                        <a:pt x="92" y="390"/>
                      </a:lnTo>
                      <a:lnTo>
                        <a:pt x="92" y="391"/>
                      </a:lnTo>
                      <a:lnTo>
                        <a:pt x="92" y="390"/>
                      </a:lnTo>
                      <a:lnTo>
                        <a:pt x="93" y="391"/>
                      </a:lnTo>
                      <a:lnTo>
                        <a:pt x="92" y="391"/>
                      </a:lnTo>
                      <a:lnTo>
                        <a:pt x="90" y="391"/>
                      </a:lnTo>
                      <a:lnTo>
                        <a:pt x="92" y="391"/>
                      </a:lnTo>
                      <a:lnTo>
                        <a:pt x="93" y="391"/>
                      </a:lnTo>
                      <a:lnTo>
                        <a:pt x="93" y="393"/>
                      </a:lnTo>
                      <a:lnTo>
                        <a:pt x="93" y="391"/>
                      </a:lnTo>
                      <a:lnTo>
                        <a:pt x="93" y="393"/>
                      </a:lnTo>
                      <a:lnTo>
                        <a:pt x="92" y="393"/>
                      </a:lnTo>
                      <a:lnTo>
                        <a:pt x="93" y="393"/>
                      </a:lnTo>
                      <a:lnTo>
                        <a:pt x="92" y="393"/>
                      </a:lnTo>
                      <a:lnTo>
                        <a:pt x="92" y="395"/>
                      </a:lnTo>
                      <a:lnTo>
                        <a:pt x="92" y="393"/>
                      </a:lnTo>
                      <a:lnTo>
                        <a:pt x="93" y="395"/>
                      </a:lnTo>
                      <a:lnTo>
                        <a:pt x="93" y="397"/>
                      </a:lnTo>
                      <a:lnTo>
                        <a:pt x="93" y="395"/>
                      </a:lnTo>
                      <a:lnTo>
                        <a:pt x="93" y="397"/>
                      </a:lnTo>
                      <a:lnTo>
                        <a:pt x="92" y="397"/>
                      </a:lnTo>
                      <a:lnTo>
                        <a:pt x="92" y="399"/>
                      </a:lnTo>
                      <a:lnTo>
                        <a:pt x="92" y="397"/>
                      </a:lnTo>
                      <a:lnTo>
                        <a:pt x="90" y="395"/>
                      </a:lnTo>
                      <a:lnTo>
                        <a:pt x="92" y="397"/>
                      </a:lnTo>
                      <a:lnTo>
                        <a:pt x="90" y="397"/>
                      </a:lnTo>
                      <a:lnTo>
                        <a:pt x="92" y="397"/>
                      </a:lnTo>
                      <a:lnTo>
                        <a:pt x="92" y="399"/>
                      </a:lnTo>
                      <a:lnTo>
                        <a:pt x="93" y="399"/>
                      </a:lnTo>
                      <a:lnTo>
                        <a:pt x="93" y="401"/>
                      </a:lnTo>
                      <a:lnTo>
                        <a:pt x="92" y="399"/>
                      </a:lnTo>
                      <a:lnTo>
                        <a:pt x="92" y="401"/>
                      </a:lnTo>
                      <a:lnTo>
                        <a:pt x="93" y="401"/>
                      </a:lnTo>
                      <a:lnTo>
                        <a:pt x="92" y="401"/>
                      </a:lnTo>
                      <a:lnTo>
                        <a:pt x="90" y="399"/>
                      </a:lnTo>
                      <a:lnTo>
                        <a:pt x="90" y="401"/>
                      </a:lnTo>
                      <a:lnTo>
                        <a:pt x="92" y="401"/>
                      </a:lnTo>
                      <a:lnTo>
                        <a:pt x="90" y="401"/>
                      </a:lnTo>
                      <a:lnTo>
                        <a:pt x="92" y="403"/>
                      </a:lnTo>
                      <a:lnTo>
                        <a:pt x="92" y="401"/>
                      </a:lnTo>
                      <a:lnTo>
                        <a:pt x="92" y="403"/>
                      </a:lnTo>
                      <a:lnTo>
                        <a:pt x="92" y="401"/>
                      </a:lnTo>
                      <a:lnTo>
                        <a:pt x="93" y="401"/>
                      </a:lnTo>
                      <a:lnTo>
                        <a:pt x="93" y="403"/>
                      </a:lnTo>
                      <a:lnTo>
                        <a:pt x="92" y="403"/>
                      </a:lnTo>
                      <a:lnTo>
                        <a:pt x="93" y="405"/>
                      </a:lnTo>
                      <a:lnTo>
                        <a:pt x="92" y="405"/>
                      </a:lnTo>
                      <a:lnTo>
                        <a:pt x="92" y="403"/>
                      </a:lnTo>
                      <a:lnTo>
                        <a:pt x="92" y="405"/>
                      </a:lnTo>
                      <a:lnTo>
                        <a:pt x="93" y="405"/>
                      </a:lnTo>
                      <a:lnTo>
                        <a:pt x="92" y="405"/>
                      </a:lnTo>
                      <a:lnTo>
                        <a:pt x="90" y="405"/>
                      </a:lnTo>
                      <a:lnTo>
                        <a:pt x="90" y="403"/>
                      </a:lnTo>
                      <a:lnTo>
                        <a:pt x="92" y="405"/>
                      </a:lnTo>
                      <a:lnTo>
                        <a:pt x="90" y="403"/>
                      </a:lnTo>
                      <a:lnTo>
                        <a:pt x="88" y="401"/>
                      </a:lnTo>
                      <a:lnTo>
                        <a:pt x="88" y="403"/>
                      </a:lnTo>
                      <a:lnTo>
                        <a:pt x="90" y="403"/>
                      </a:lnTo>
                      <a:lnTo>
                        <a:pt x="90" y="405"/>
                      </a:lnTo>
                      <a:lnTo>
                        <a:pt x="88" y="405"/>
                      </a:lnTo>
                      <a:lnTo>
                        <a:pt x="88" y="407"/>
                      </a:lnTo>
                      <a:lnTo>
                        <a:pt x="90" y="407"/>
                      </a:lnTo>
                      <a:lnTo>
                        <a:pt x="92" y="409"/>
                      </a:lnTo>
                      <a:lnTo>
                        <a:pt x="90" y="409"/>
                      </a:lnTo>
                      <a:lnTo>
                        <a:pt x="90" y="407"/>
                      </a:lnTo>
                      <a:lnTo>
                        <a:pt x="88" y="407"/>
                      </a:lnTo>
                      <a:lnTo>
                        <a:pt x="88" y="405"/>
                      </a:lnTo>
                      <a:lnTo>
                        <a:pt x="86" y="405"/>
                      </a:lnTo>
                      <a:lnTo>
                        <a:pt x="88" y="407"/>
                      </a:lnTo>
                      <a:lnTo>
                        <a:pt x="90" y="409"/>
                      </a:lnTo>
                      <a:lnTo>
                        <a:pt x="92" y="409"/>
                      </a:lnTo>
                      <a:lnTo>
                        <a:pt x="92" y="411"/>
                      </a:lnTo>
                      <a:lnTo>
                        <a:pt x="90" y="411"/>
                      </a:lnTo>
                      <a:lnTo>
                        <a:pt x="92" y="411"/>
                      </a:lnTo>
                      <a:lnTo>
                        <a:pt x="90" y="411"/>
                      </a:lnTo>
                      <a:lnTo>
                        <a:pt x="88" y="411"/>
                      </a:lnTo>
                      <a:lnTo>
                        <a:pt x="90" y="411"/>
                      </a:lnTo>
                      <a:lnTo>
                        <a:pt x="90" y="412"/>
                      </a:lnTo>
                      <a:lnTo>
                        <a:pt x="90" y="414"/>
                      </a:lnTo>
                      <a:lnTo>
                        <a:pt x="92" y="414"/>
                      </a:lnTo>
                      <a:lnTo>
                        <a:pt x="90" y="414"/>
                      </a:lnTo>
                      <a:lnTo>
                        <a:pt x="90" y="412"/>
                      </a:lnTo>
                      <a:lnTo>
                        <a:pt x="90" y="414"/>
                      </a:lnTo>
                      <a:lnTo>
                        <a:pt x="90" y="412"/>
                      </a:lnTo>
                      <a:lnTo>
                        <a:pt x="88" y="412"/>
                      </a:lnTo>
                      <a:lnTo>
                        <a:pt x="88" y="414"/>
                      </a:lnTo>
                      <a:lnTo>
                        <a:pt x="90" y="414"/>
                      </a:lnTo>
                      <a:lnTo>
                        <a:pt x="88" y="414"/>
                      </a:lnTo>
                      <a:lnTo>
                        <a:pt x="90" y="414"/>
                      </a:lnTo>
                      <a:lnTo>
                        <a:pt x="90" y="416"/>
                      </a:lnTo>
                      <a:lnTo>
                        <a:pt x="90" y="414"/>
                      </a:lnTo>
                      <a:lnTo>
                        <a:pt x="92" y="416"/>
                      </a:lnTo>
                      <a:lnTo>
                        <a:pt x="90" y="416"/>
                      </a:lnTo>
                      <a:lnTo>
                        <a:pt x="92" y="416"/>
                      </a:lnTo>
                      <a:lnTo>
                        <a:pt x="92" y="418"/>
                      </a:lnTo>
                      <a:lnTo>
                        <a:pt x="90" y="418"/>
                      </a:lnTo>
                      <a:lnTo>
                        <a:pt x="92" y="418"/>
                      </a:lnTo>
                      <a:lnTo>
                        <a:pt x="90" y="418"/>
                      </a:lnTo>
                      <a:lnTo>
                        <a:pt x="92" y="418"/>
                      </a:lnTo>
                      <a:lnTo>
                        <a:pt x="92" y="420"/>
                      </a:lnTo>
                      <a:lnTo>
                        <a:pt x="90" y="418"/>
                      </a:lnTo>
                      <a:lnTo>
                        <a:pt x="90" y="420"/>
                      </a:lnTo>
                      <a:lnTo>
                        <a:pt x="90" y="422"/>
                      </a:lnTo>
                      <a:lnTo>
                        <a:pt x="88" y="422"/>
                      </a:lnTo>
                      <a:lnTo>
                        <a:pt x="88" y="424"/>
                      </a:lnTo>
                      <a:lnTo>
                        <a:pt x="88" y="426"/>
                      </a:lnTo>
                      <a:lnTo>
                        <a:pt x="88" y="428"/>
                      </a:lnTo>
                      <a:lnTo>
                        <a:pt x="90" y="428"/>
                      </a:lnTo>
                      <a:lnTo>
                        <a:pt x="88" y="430"/>
                      </a:lnTo>
                      <a:lnTo>
                        <a:pt x="90" y="430"/>
                      </a:lnTo>
                      <a:lnTo>
                        <a:pt x="88" y="430"/>
                      </a:lnTo>
                      <a:lnTo>
                        <a:pt x="88" y="432"/>
                      </a:lnTo>
                      <a:lnTo>
                        <a:pt x="88" y="430"/>
                      </a:lnTo>
                      <a:lnTo>
                        <a:pt x="88" y="432"/>
                      </a:lnTo>
                      <a:lnTo>
                        <a:pt x="88" y="430"/>
                      </a:lnTo>
                      <a:lnTo>
                        <a:pt x="88" y="432"/>
                      </a:lnTo>
                      <a:lnTo>
                        <a:pt x="88" y="433"/>
                      </a:lnTo>
                      <a:lnTo>
                        <a:pt x="88" y="435"/>
                      </a:lnTo>
                      <a:lnTo>
                        <a:pt x="86" y="435"/>
                      </a:lnTo>
                      <a:lnTo>
                        <a:pt x="86" y="437"/>
                      </a:lnTo>
                      <a:lnTo>
                        <a:pt x="88" y="437"/>
                      </a:lnTo>
                      <a:lnTo>
                        <a:pt x="86" y="437"/>
                      </a:lnTo>
                      <a:lnTo>
                        <a:pt x="86" y="439"/>
                      </a:lnTo>
                      <a:lnTo>
                        <a:pt x="86" y="441"/>
                      </a:lnTo>
                      <a:lnTo>
                        <a:pt x="84" y="441"/>
                      </a:lnTo>
                      <a:lnTo>
                        <a:pt x="84" y="443"/>
                      </a:lnTo>
                      <a:lnTo>
                        <a:pt x="84" y="445"/>
                      </a:lnTo>
                      <a:lnTo>
                        <a:pt x="82" y="445"/>
                      </a:lnTo>
                      <a:lnTo>
                        <a:pt x="82" y="447"/>
                      </a:lnTo>
                      <a:lnTo>
                        <a:pt x="82" y="449"/>
                      </a:lnTo>
                      <a:lnTo>
                        <a:pt x="82" y="451"/>
                      </a:lnTo>
                      <a:lnTo>
                        <a:pt x="80" y="451"/>
                      </a:lnTo>
                      <a:lnTo>
                        <a:pt x="80" y="453"/>
                      </a:lnTo>
                      <a:lnTo>
                        <a:pt x="80" y="454"/>
                      </a:lnTo>
                      <a:lnTo>
                        <a:pt x="78" y="458"/>
                      </a:lnTo>
                      <a:lnTo>
                        <a:pt x="76" y="456"/>
                      </a:lnTo>
                      <a:lnTo>
                        <a:pt x="78" y="454"/>
                      </a:lnTo>
                      <a:lnTo>
                        <a:pt x="76" y="456"/>
                      </a:lnTo>
                      <a:lnTo>
                        <a:pt x="76" y="454"/>
                      </a:lnTo>
                      <a:lnTo>
                        <a:pt x="74" y="456"/>
                      </a:lnTo>
                      <a:lnTo>
                        <a:pt x="74" y="454"/>
                      </a:lnTo>
                      <a:lnTo>
                        <a:pt x="74" y="456"/>
                      </a:lnTo>
                      <a:lnTo>
                        <a:pt x="74" y="454"/>
                      </a:lnTo>
                      <a:lnTo>
                        <a:pt x="74" y="456"/>
                      </a:lnTo>
                      <a:lnTo>
                        <a:pt x="72" y="456"/>
                      </a:lnTo>
                      <a:lnTo>
                        <a:pt x="72" y="454"/>
                      </a:lnTo>
                      <a:lnTo>
                        <a:pt x="74" y="454"/>
                      </a:lnTo>
                      <a:lnTo>
                        <a:pt x="72" y="454"/>
                      </a:lnTo>
                      <a:lnTo>
                        <a:pt x="72" y="456"/>
                      </a:lnTo>
                      <a:lnTo>
                        <a:pt x="71" y="454"/>
                      </a:lnTo>
                      <a:lnTo>
                        <a:pt x="71" y="456"/>
                      </a:lnTo>
                      <a:lnTo>
                        <a:pt x="71" y="454"/>
                      </a:lnTo>
                      <a:lnTo>
                        <a:pt x="71" y="456"/>
                      </a:lnTo>
                      <a:lnTo>
                        <a:pt x="69" y="456"/>
                      </a:lnTo>
                      <a:lnTo>
                        <a:pt x="69" y="454"/>
                      </a:lnTo>
                      <a:lnTo>
                        <a:pt x="69" y="456"/>
                      </a:lnTo>
                      <a:lnTo>
                        <a:pt x="69" y="454"/>
                      </a:lnTo>
                      <a:lnTo>
                        <a:pt x="67" y="456"/>
                      </a:lnTo>
                      <a:lnTo>
                        <a:pt x="67" y="454"/>
                      </a:lnTo>
                      <a:lnTo>
                        <a:pt x="67" y="456"/>
                      </a:lnTo>
                      <a:lnTo>
                        <a:pt x="67" y="454"/>
                      </a:lnTo>
                      <a:lnTo>
                        <a:pt x="67" y="456"/>
                      </a:lnTo>
                      <a:lnTo>
                        <a:pt x="67" y="454"/>
                      </a:lnTo>
                      <a:lnTo>
                        <a:pt x="67" y="456"/>
                      </a:lnTo>
                      <a:lnTo>
                        <a:pt x="65" y="456"/>
                      </a:lnTo>
                      <a:lnTo>
                        <a:pt x="65" y="454"/>
                      </a:lnTo>
                      <a:lnTo>
                        <a:pt x="65" y="456"/>
                      </a:lnTo>
                      <a:lnTo>
                        <a:pt x="63" y="454"/>
                      </a:lnTo>
                      <a:lnTo>
                        <a:pt x="63" y="456"/>
                      </a:lnTo>
                      <a:lnTo>
                        <a:pt x="63" y="454"/>
                      </a:lnTo>
                      <a:lnTo>
                        <a:pt x="63" y="456"/>
                      </a:lnTo>
                      <a:lnTo>
                        <a:pt x="61" y="454"/>
                      </a:lnTo>
                      <a:lnTo>
                        <a:pt x="61" y="456"/>
                      </a:lnTo>
                      <a:lnTo>
                        <a:pt x="61" y="454"/>
                      </a:lnTo>
                      <a:lnTo>
                        <a:pt x="61" y="456"/>
                      </a:lnTo>
                      <a:lnTo>
                        <a:pt x="59" y="456"/>
                      </a:lnTo>
                      <a:lnTo>
                        <a:pt x="59" y="454"/>
                      </a:lnTo>
                      <a:lnTo>
                        <a:pt x="59" y="456"/>
                      </a:lnTo>
                      <a:lnTo>
                        <a:pt x="59" y="458"/>
                      </a:lnTo>
                      <a:lnTo>
                        <a:pt x="61" y="458"/>
                      </a:lnTo>
                      <a:lnTo>
                        <a:pt x="61" y="460"/>
                      </a:lnTo>
                      <a:lnTo>
                        <a:pt x="59" y="460"/>
                      </a:lnTo>
                      <a:lnTo>
                        <a:pt x="57" y="460"/>
                      </a:lnTo>
                      <a:lnTo>
                        <a:pt x="57" y="458"/>
                      </a:lnTo>
                      <a:lnTo>
                        <a:pt x="57" y="460"/>
                      </a:lnTo>
                      <a:lnTo>
                        <a:pt x="57" y="458"/>
                      </a:lnTo>
                      <a:lnTo>
                        <a:pt x="55" y="458"/>
                      </a:lnTo>
                      <a:lnTo>
                        <a:pt x="55" y="460"/>
                      </a:lnTo>
                      <a:lnTo>
                        <a:pt x="53" y="462"/>
                      </a:lnTo>
                      <a:lnTo>
                        <a:pt x="51" y="464"/>
                      </a:lnTo>
                      <a:lnTo>
                        <a:pt x="51" y="468"/>
                      </a:lnTo>
                      <a:lnTo>
                        <a:pt x="53" y="470"/>
                      </a:lnTo>
                      <a:lnTo>
                        <a:pt x="53" y="472"/>
                      </a:lnTo>
                      <a:lnTo>
                        <a:pt x="53" y="473"/>
                      </a:lnTo>
                      <a:lnTo>
                        <a:pt x="53" y="475"/>
                      </a:lnTo>
                      <a:lnTo>
                        <a:pt x="51" y="477"/>
                      </a:lnTo>
                      <a:lnTo>
                        <a:pt x="50" y="477"/>
                      </a:lnTo>
                      <a:lnTo>
                        <a:pt x="48" y="475"/>
                      </a:lnTo>
                      <a:lnTo>
                        <a:pt x="46" y="477"/>
                      </a:lnTo>
                      <a:lnTo>
                        <a:pt x="46" y="475"/>
                      </a:lnTo>
                      <a:lnTo>
                        <a:pt x="44" y="475"/>
                      </a:lnTo>
                      <a:lnTo>
                        <a:pt x="42" y="477"/>
                      </a:lnTo>
                      <a:lnTo>
                        <a:pt x="40" y="477"/>
                      </a:lnTo>
                      <a:lnTo>
                        <a:pt x="38" y="479"/>
                      </a:lnTo>
                      <a:lnTo>
                        <a:pt x="34" y="477"/>
                      </a:lnTo>
                      <a:lnTo>
                        <a:pt x="30" y="477"/>
                      </a:lnTo>
                      <a:lnTo>
                        <a:pt x="30" y="475"/>
                      </a:lnTo>
                      <a:lnTo>
                        <a:pt x="32" y="475"/>
                      </a:lnTo>
                      <a:lnTo>
                        <a:pt x="30" y="473"/>
                      </a:lnTo>
                      <a:lnTo>
                        <a:pt x="30" y="472"/>
                      </a:lnTo>
                      <a:lnTo>
                        <a:pt x="32" y="472"/>
                      </a:lnTo>
                      <a:lnTo>
                        <a:pt x="32" y="470"/>
                      </a:lnTo>
                      <a:lnTo>
                        <a:pt x="32" y="468"/>
                      </a:lnTo>
                      <a:lnTo>
                        <a:pt x="30" y="468"/>
                      </a:lnTo>
                      <a:lnTo>
                        <a:pt x="30" y="466"/>
                      </a:lnTo>
                      <a:lnTo>
                        <a:pt x="30" y="464"/>
                      </a:lnTo>
                      <a:lnTo>
                        <a:pt x="29" y="464"/>
                      </a:lnTo>
                      <a:lnTo>
                        <a:pt x="29" y="460"/>
                      </a:lnTo>
                      <a:lnTo>
                        <a:pt x="27" y="460"/>
                      </a:lnTo>
                      <a:lnTo>
                        <a:pt x="27" y="458"/>
                      </a:lnTo>
                      <a:lnTo>
                        <a:pt x="25" y="456"/>
                      </a:lnTo>
                      <a:lnTo>
                        <a:pt x="25" y="453"/>
                      </a:lnTo>
                      <a:lnTo>
                        <a:pt x="23" y="451"/>
                      </a:lnTo>
                      <a:lnTo>
                        <a:pt x="27" y="453"/>
                      </a:lnTo>
                      <a:lnTo>
                        <a:pt x="27" y="454"/>
                      </a:lnTo>
                      <a:lnTo>
                        <a:pt x="29" y="453"/>
                      </a:lnTo>
                      <a:lnTo>
                        <a:pt x="29" y="454"/>
                      </a:lnTo>
                      <a:lnTo>
                        <a:pt x="30" y="453"/>
                      </a:lnTo>
                      <a:lnTo>
                        <a:pt x="29" y="451"/>
                      </a:lnTo>
                      <a:lnTo>
                        <a:pt x="29" y="449"/>
                      </a:lnTo>
                      <a:lnTo>
                        <a:pt x="27" y="449"/>
                      </a:lnTo>
                      <a:lnTo>
                        <a:pt x="27" y="447"/>
                      </a:lnTo>
                      <a:lnTo>
                        <a:pt x="30" y="447"/>
                      </a:lnTo>
                      <a:lnTo>
                        <a:pt x="30" y="445"/>
                      </a:lnTo>
                      <a:lnTo>
                        <a:pt x="32" y="445"/>
                      </a:lnTo>
                      <a:lnTo>
                        <a:pt x="30" y="441"/>
                      </a:lnTo>
                      <a:lnTo>
                        <a:pt x="29" y="441"/>
                      </a:lnTo>
                      <a:lnTo>
                        <a:pt x="27" y="441"/>
                      </a:lnTo>
                      <a:lnTo>
                        <a:pt x="27" y="439"/>
                      </a:lnTo>
                      <a:lnTo>
                        <a:pt x="27" y="435"/>
                      </a:lnTo>
                      <a:lnTo>
                        <a:pt x="25" y="435"/>
                      </a:lnTo>
                      <a:lnTo>
                        <a:pt x="25" y="433"/>
                      </a:lnTo>
                      <a:lnTo>
                        <a:pt x="23" y="435"/>
                      </a:lnTo>
                      <a:lnTo>
                        <a:pt x="21" y="433"/>
                      </a:lnTo>
                      <a:lnTo>
                        <a:pt x="23" y="433"/>
                      </a:lnTo>
                      <a:lnTo>
                        <a:pt x="23" y="432"/>
                      </a:lnTo>
                      <a:lnTo>
                        <a:pt x="21" y="430"/>
                      </a:lnTo>
                      <a:lnTo>
                        <a:pt x="21" y="428"/>
                      </a:lnTo>
                      <a:lnTo>
                        <a:pt x="19" y="428"/>
                      </a:lnTo>
                      <a:lnTo>
                        <a:pt x="21" y="428"/>
                      </a:lnTo>
                      <a:lnTo>
                        <a:pt x="19" y="428"/>
                      </a:lnTo>
                      <a:lnTo>
                        <a:pt x="19" y="426"/>
                      </a:lnTo>
                      <a:lnTo>
                        <a:pt x="19" y="424"/>
                      </a:lnTo>
                      <a:lnTo>
                        <a:pt x="19" y="426"/>
                      </a:lnTo>
                      <a:lnTo>
                        <a:pt x="17" y="424"/>
                      </a:lnTo>
                      <a:lnTo>
                        <a:pt x="19" y="424"/>
                      </a:lnTo>
                      <a:lnTo>
                        <a:pt x="17" y="424"/>
                      </a:lnTo>
                      <a:lnTo>
                        <a:pt x="19" y="422"/>
                      </a:lnTo>
                      <a:lnTo>
                        <a:pt x="19" y="420"/>
                      </a:lnTo>
                      <a:lnTo>
                        <a:pt x="17" y="422"/>
                      </a:lnTo>
                      <a:lnTo>
                        <a:pt x="17" y="420"/>
                      </a:lnTo>
                      <a:lnTo>
                        <a:pt x="19" y="420"/>
                      </a:lnTo>
                      <a:lnTo>
                        <a:pt x="17" y="420"/>
                      </a:lnTo>
                      <a:lnTo>
                        <a:pt x="17" y="418"/>
                      </a:lnTo>
                      <a:lnTo>
                        <a:pt x="17" y="420"/>
                      </a:lnTo>
                      <a:lnTo>
                        <a:pt x="17" y="422"/>
                      </a:lnTo>
                      <a:lnTo>
                        <a:pt x="17" y="420"/>
                      </a:lnTo>
                      <a:lnTo>
                        <a:pt x="15" y="420"/>
                      </a:lnTo>
                      <a:lnTo>
                        <a:pt x="15" y="418"/>
                      </a:lnTo>
                      <a:lnTo>
                        <a:pt x="15" y="416"/>
                      </a:lnTo>
                      <a:lnTo>
                        <a:pt x="15" y="414"/>
                      </a:lnTo>
                      <a:lnTo>
                        <a:pt x="15" y="412"/>
                      </a:lnTo>
                      <a:lnTo>
                        <a:pt x="13" y="412"/>
                      </a:lnTo>
                      <a:lnTo>
                        <a:pt x="13" y="411"/>
                      </a:lnTo>
                      <a:lnTo>
                        <a:pt x="13" y="412"/>
                      </a:lnTo>
                      <a:lnTo>
                        <a:pt x="13" y="411"/>
                      </a:lnTo>
                      <a:lnTo>
                        <a:pt x="15" y="411"/>
                      </a:lnTo>
                      <a:lnTo>
                        <a:pt x="17" y="411"/>
                      </a:lnTo>
                      <a:lnTo>
                        <a:pt x="15" y="411"/>
                      </a:lnTo>
                      <a:lnTo>
                        <a:pt x="13" y="411"/>
                      </a:lnTo>
                      <a:lnTo>
                        <a:pt x="11" y="411"/>
                      </a:lnTo>
                      <a:lnTo>
                        <a:pt x="11" y="409"/>
                      </a:lnTo>
                      <a:lnTo>
                        <a:pt x="13" y="409"/>
                      </a:lnTo>
                      <a:lnTo>
                        <a:pt x="13" y="407"/>
                      </a:lnTo>
                      <a:lnTo>
                        <a:pt x="15" y="407"/>
                      </a:lnTo>
                      <a:lnTo>
                        <a:pt x="15" y="405"/>
                      </a:lnTo>
                      <a:lnTo>
                        <a:pt x="17" y="405"/>
                      </a:lnTo>
                      <a:lnTo>
                        <a:pt x="15" y="405"/>
                      </a:lnTo>
                      <a:lnTo>
                        <a:pt x="15" y="407"/>
                      </a:lnTo>
                      <a:lnTo>
                        <a:pt x="13" y="407"/>
                      </a:lnTo>
                      <a:lnTo>
                        <a:pt x="11" y="409"/>
                      </a:lnTo>
                      <a:lnTo>
                        <a:pt x="13" y="407"/>
                      </a:lnTo>
                      <a:lnTo>
                        <a:pt x="11" y="407"/>
                      </a:lnTo>
                      <a:lnTo>
                        <a:pt x="11" y="405"/>
                      </a:lnTo>
                      <a:lnTo>
                        <a:pt x="13" y="405"/>
                      </a:lnTo>
                      <a:lnTo>
                        <a:pt x="13" y="403"/>
                      </a:lnTo>
                      <a:lnTo>
                        <a:pt x="11" y="403"/>
                      </a:lnTo>
                      <a:lnTo>
                        <a:pt x="13" y="403"/>
                      </a:lnTo>
                      <a:lnTo>
                        <a:pt x="13" y="401"/>
                      </a:lnTo>
                      <a:lnTo>
                        <a:pt x="13" y="399"/>
                      </a:lnTo>
                      <a:lnTo>
                        <a:pt x="13" y="397"/>
                      </a:lnTo>
                      <a:lnTo>
                        <a:pt x="13" y="395"/>
                      </a:lnTo>
                      <a:lnTo>
                        <a:pt x="15" y="395"/>
                      </a:lnTo>
                      <a:lnTo>
                        <a:pt x="13" y="393"/>
                      </a:lnTo>
                      <a:lnTo>
                        <a:pt x="13" y="391"/>
                      </a:lnTo>
                      <a:lnTo>
                        <a:pt x="15" y="391"/>
                      </a:lnTo>
                      <a:lnTo>
                        <a:pt x="13" y="391"/>
                      </a:lnTo>
                      <a:lnTo>
                        <a:pt x="11" y="391"/>
                      </a:lnTo>
                      <a:lnTo>
                        <a:pt x="11" y="393"/>
                      </a:lnTo>
                      <a:lnTo>
                        <a:pt x="10" y="393"/>
                      </a:lnTo>
                      <a:lnTo>
                        <a:pt x="10" y="395"/>
                      </a:lnTo>
                      <a:lnTo>
                        <a:pt x="8" y="393"/>
                      </a:lnTo>
                      <a:lnTo>
                        <a:pt x="10" y="393"/>
                      </a:lnTo>
                      <a:lnTo>
                        <a:pt x="8" y="393"/>
                      </a:lnTo>
                      <a:lnTo>
                        <a:pt x="11" y="390"/>
                      </a:lnTo>
                      <a:lnTo>
                        <a:pt x="10" y="390"/>
                      </a:lnTo>
                      <a:lnTo>
                        <a:pt x="11" y="388"/>
                      </a:lnTo>
                      <a:lnTo>
                        <a:pt x="10" y="390"/>
                      </a:lnTo>
                      <a:lnTo>
                        <a:pt x="10" y="388"/>
                      </a:lnTo>
                      <a:lnTo>
                        <a:pt x="10" y="390"/>
                      </a:lnTo>
                      <a:lnTo>
                        <a:pt x="10" y="391"/>
                      </a:lnTo>
                      <a:lnTo>
                        <a:pt x="8" y="393"/>
                      </a:lnTo>
                      <a:lnTo>
                        <a:pt x="8" y="391"/>
                      </a:lnTo>
                      <a:lnTo>
                        <a:pt x="8" y="393"/>
                      </a:lnTo>
                      <a:lnTo>
                        <a:pt x="8" y="391"/>
                      </a:lnTo>
                      <a:lnTo>
                        <a:pt x="8" y="390"/>
                      </a:lnTo>
                      <a:lnTo>
                        <a:pt x="8" y="391"/>
                      </a:lnTo>
                      <a:lnTo>
                        <a:pt x="6" y="391"/>
                      </a:lnTo>
                      <a:lnTo>
                        <a:pt x="8" y="390"/>
                      </a:lnTo>
                      <a:lnTo>
                        <a:pt x="8" y="388"/>
                      </a:lnTo>
                      <a:lnTo>
                        <a:pt x="6" y="391"/>
                      </a:lnTo>
                      <a:lnTo>
                        <a:pt x="6" y="390"/>
                      </a:lnTo>
                      <a:lnTo>
                        <a:pt x="6" y="391"/>
                      </a:lnTo>
                      <a:lnTo>
                        <a:pt x="4" y="391"/>
                      </a:lnTo>
                      <a:lnTo>
                        <a:pt x="4" y="390"/>
                      </a:lnTo>
                      <a:lnTo>
                        <a:pt x="4" y="388"/>
                      </a:lnTo>
                      <a:lnTo>
                        <a:pt x="4" y="390"/>
                      </a:lnTo>
                      <a:lnTo>
                        <a:pt x="6" y="388"/>
                      </a:lnTo>
                      <a:lnTo>
                        <a:pt x="6" y="386"/>
                      </a:lnTo>
                      <a:lnTo>
                        <a:pt x="6" y="388"/>
                      </a:lnTo>
                      <a:lnTo>
                        <a:pt x="6" y="386"/>
                      </a:lnTo>
                      <a:lnTo>
                        <a:pt x="4" y="386"/>
                      </a:lnTo>
                      <a:lnTo>
                        <a:pt x="6" y="386"/>
                      </a:lnTo>
                      <a:lnTo>
                        <a:pt x="4" y="384"/>
                      </a:lnTo>
                      <a:lnTo>
                        <a:pt x="4" y="386"/>
                      </a:lnTo>
                      <a:lnTo>
                        <a:pt x="6" y="384"/>
                      </a:lnTo>
                      <a:lnTo>
                        <a:pt x="6" y="382"/>
                      </a:lnTo>
                      <a:lnTo>
                        <a:pt x="4" y="382"/>
                      </a:lnTo>
                      <a:lnTo>
                        <a:pt x="6" y="382"/>
                      </a:lnTo>
                      <a:lnTo>
                        <a:pt x="4" y="382"/>
                      </a:lnTo>
                      <a:lnTo>
                        <a:pt x="4" y="380"/>
                      </a:lnTo>
                      <a:lnTo>
                        <a:pt x="4" y="382"/>
                      </a:lnTo>
                      <a:lnTo>
                        <a:pt x="4" y="380"/>
                      </a:lnTo>
                      <a:lnTo>
                        <a:pt x="4" y="378"/>
                      </a:lnTo>
                      <a:lnTo>
                        <a:pt x="4" y="380"/>
                      </a:lnTo>
                      <a:lnTo>
                        <a:pt x="4" y="378"/>
                      </a:lnTo>
                      <a:lnTo>
                        <a:pt x="4" y="376"/>
                      </a:lnTo>
                      <a:lnTo>
                        <a:pt x="4" y="374"/>
                      </a:lnTo>
                      <a:lnTo>
                        <a:pt x="4" y="372"/>
                      </a:lnTo>
                      <a:lnTo>
                        <a:pt x="2" y="372"/>
                      </a:lnTo>
                      <a:lnTo>
                        <a:pt x="4" y="370"/>
                      </a:lnTo>
                      <a:lnTo>
                        <a:pt x="2" y="370"/>
                      </a:lnTo>
                      <a:lnTo>
                        <a:pt x="4" y="369"/>
                      </a:lnTo>
                      <a:lnTo>
                        <a:pt x="6" y="367"/>
                      </a:lnTo>
                      <a:lnTo>
                        <a:pt x="8" y="372"/>
                      </a:lnTo>
                      <a:lnTo>
                        <a:pt x="8" y="374"/>
                      </a:lnTo>
                      <a:lnTo>
                        <a:pt x="10" y="374"/>
                      </a:lnTo>
                      <a:lnTo>
                        <a:pt x="11" y="374"/>
                      </a:lnTo>
                      <a:lnTo>
                        <a:pt x="11" y="370"/>
                      </a:lnTo>
                      <a:lnTo>
                        <a:pt x="13" y="369"/>
                      </a:lnTo>
                      <a:lnTo>
                        <a:pt x="13" y="365"/>
                      </a:lnTo>
                      <a:lnTo>
                        <a:pt x="13" y="363"/>
                      </a:lnTo>
                      <a:lnTo>
                        <a:pt x="13" y="361"/>
                      </a:lnTo>
                      <a:lnTo>
                        <a:pt x="11" y="353"/>
                      </a:lnTo>
                      <a:lnTo>
                        <a:pt x="11" y="351"/>
                      </a:lnTo>
                      <a:lnTo>
                        <a:pt x="13" y="351"/>
                      </a:lnTo>
                      <a:lnTo>
                        <a:pt x="15" y="349"/>
                      </a:lnTo>
                      <a:lnTo>
                        <a:pt x="15" y="346"/>
                      </a:lnTo>
                      <a:lnTo>
                        <a:pt x="13" y="346"/>
                      </a:lnTo>
                      <a:lnTo>
                        <a:pt x="15" y="344"/>
                      </a:lnTo>
                      <a:lnTo>
                        <a:pt x="17" y="344"/>
                      </a:lnTo>
                      <a:lnTo>
                        <a:pt x="19" y="344"/>
                      </a:lnTo>
                      <a:lnTo>
                        <a:pt x="21" y="340"/>
                      </a:lnTo>
                      <a:lnTo>
                        <a:pt x="25" y="338"/>
                      </a:lnTo>
                      <a:lnTo>
                        <a:pt x="25" y="334"/>
                      </a:lnTo>
                      <a:lnTo>
                        <a:pt x="25" y="328"/>
                      </a:lnTo>
                      <a:lnTo>
                        <a:pt x="27" y="327"/>
                      </a:lnTo>
                      <a:lnTo>
                        <a:pt x="27" y="323"/>
                      </a:lnTo>
                      <a:lnTo>
                        <a:pt x="25" y="321"/>
                      </a:lnTo>
                      <a:lnTo>
                        <a:pt x="25" y="319"/>
                      </a:lnTo>
                      <a:lnTo>
                        <a:pt x="23" y="317"/>
                      </a:lnTo>
                      <a:lnTo>
                        <a:pt x="21" y="311"/>
                      </a:lnTo>
                      <a:lnTo>
                        <a:pt x="19" y="307"/>
                      </a:lnTo>
                      <a:lnTo>
                        <a:pt x="23" y="306"/>
                      </a:lnTo>
                      <a:lnTo>
                        <a:pt x="27" y="306"/>
                      </a:lnTo>
                      <a:lnTo>
                        <a:pt x="27" y="302"/>
                      </a:lnTo>
                      <a:lnTo>
                        <a:pt x="29" y="302"/>
                      </a:lnTo>
                      <a:lnTo>
                        <a:pt x="30" y="296"/>
                      </a:lnTo>
                      <a:lnTo>
                        <a:pt x="25" y="288"/>
                      </a:lnTo>
                      <a:lnTo>
                        <a:pt x="23" y="288"/>
                      </a:lnTo>
                      <a:lnTo>
                        <a:pt x="19" y="283"/>
                      </a:lnTo>
                      <a:lnTo>
                        <a:pt x="21" y="266"/>
                      </a:lnTo>
                      <a:lnTo>
                        <a:pt x="17" y="252"/>
                      </a:lnTo>
                      <a:lnTo>
                        <a:pt x="19" y="248"/>
                      </a:lnTo>
                      <a:lnTo>
                        <a:pt x="17" y="243"/>
                      </a:lnTo>
                      <a:lnTo>
                        <a:pt x="19" y="239"/>
                      </a:lnTo>
                      <a:lnTo>
                        <a:pt x="15" y="229"/>
                      </a:lnTo>
                      <a:lnTo>
                        <a:pt x="19" y="224"/>
                      </a:lnTo>
                      <a:lnTo>
                        <a:pt x="19" y="218"/>
                      </a:lnTo>
                      <a:lnTo>
                        <a:pt x="21" y="216"/>
                      </a:lnTo>
                      <a:lnTo>
                        <a:pt x="27" y="204"/>
                      </a:lnTo>
                      <a:lnTo>
                        <a:pt x="30" y="203"/>
                      </a:lnTo>
                      <a:lnTo>
                        <a:pt x="36" y="201"/>
                      </a:lnTo>
                      <a:lnTo>
                        <a:pt x="48" y="204"/>
                      </a:lnTo>
                      <a:lnTo>
                        <a:pt x="51" y="197"/>
                      </a:lnTo>
                      <a:lnTo>
                        <a:pt x="50" y="187"/>
                      </a:lnTo>
                      <a:lnTo>
                        <a:pt x="46" y="185"/>
                      </a:lnTo>
                      <a:lnTo>
                        <a:pt x="42" y="183"/>
                      </a:lnTo>
                      <a:lnTo>
                        <a:pt x="53" y="162"/>
                      </a:lnTo>
                      <a:lnTo>
                        <a:pt x="53" y="157"/>
                      </a:lnTo>
                      <a:lnTo>
                        <a:pt x="55" y="155"/>
                      </a:lnTo>
                      <a:lnTo>
                        <a:pt x="55" y="147"/>
                      </a:lnTo>
                      <a:lnTo>
                        <a:pt x="57" y="140"/>
                      </a:lnTo>
                      <a:lnTo>
                        <a:pt x="57" y="136"/>
                      </a:lnTo>
                      <a:lnTo>
                        <a:pt x="57" y="122"/>
                      </a:lnTo>
                      <a:lnTo>
                        <a:pt x="65" y="122"/>
                      </a:lnTo>
                      <a:lnTo>
                        <a:pt x="72" y="117"/>
                      </a:lnTo>
                      <a:lnTo>
                        <a:pt x="71" y="109"/>
                      </a:lnTo>
                      <a:lnTo>
                        <a:pt x="74" y="105"/>
                      </a:lnTo>
                      <a:lnTo>
                        <a:pt x="80" y="92"/>
                      </a:lnTo>
                      <a:lnTo>
                        <a:pt x="86" y="86"/>
                      </a:lnTo>
                      <a:lnTo>
                        <a:pt x="86" y="80"/>
                      </a:lnTo>
                      <a:lnTo>
                        <a:pt x="82" y="71"/>
                      </a:lnTo>
                      <a:lnTo>
                        <a:pt x="82" y="67"/>
                      </a:lnTo>
                      <a:lnTo>
                        <a:pt x="86" y="67"/>
                      </a:lnTo>
                      <a:lnTo>
                        <a:pt x="88" y="63"/>
                      </a:lnTo>
                      <a:lnTo>
                        <a:pt x="92" y="50"/>
                      </a:lnTo>
                      <a:lnTo>
                        <a:pt x="99" y="44"/>
                      </a:lnTo>
                      <a:lnTo>
                        <a:pt x="101" y="42"/>
                      </a:lnTo>
                      <a:lnTo>
                        <a:pt x="107" y="46"/>
                      </a:lnTo>
                      <a:lnTo>
                        <a:pt x="111" y="48"/>
                      </a:lnTo>
                      <a:lnTo>
                        <a:pt x="114" y="38"/>
                      </a:lnTo>
                      <a:lnTo>
                        <a:pt x="112" y="29"/>
                      </a:lnTo>
                      <a:lnTo>
                        <a:pt x="114" y="23"/>
                      </a:lnTo>
                      <a:lnTo>
                        <a:pt x="118" y="21"/>
                      </a:lnTo>
                      <a:lnTo>
                        <a:pt x="122" y="25"/>
                      </a:lnTo>
                      <a:lnTo>
                        <a:pt x="128" y="25"/>
                      </a:lnTo>
                      <a:lnTo>
                        <a:pt x="143" y="33"/>
                      </a:lnTo>
                      <a:lnTo>
                        <a:pt x="147" y="25"/>
                      </a:lnTo>
                      <a:lnTo>
                        <a:pt x="143" y="23"/>
                      </a:lnTo>
                      <a:lnTo>
                        <a:pt x="145" y="21"/>
                      </a:lnTo>
                      <a:lnTo>
                        <a:pt x="147" y="17"/>
                      </a:lnTo>
                      <a:lnTo>
                        <a:pt x="149" y="12"/>
                      </a:lnTo>
                      <a:lnTo>
                        <a:pt x="149" y="6"/>
                      </a:lnTo>
                      <a:lnTo>
                        <a:pt x="145" y="2"/>
                      </a:lnTo>
                      <a:lnTo>
                        <a:pt x="153" y="0"/>
                      </a:lnTo>
                      <a:lnTo>
                        <a:pt x="156" y="2"/>
                      </a:lnTo>
                      <a:lnTo>
                        <a:pt x="158" y="4"/>
                      </a:lnTo>
                      <a:lnTo>
                        <a:pt x="158" y="6"/>
                      </a:lnTo>
                      <a:lnTo>
                        <a:pt x="156" y="6"/>
                      </a:lnTo>
                      <a:lnTo>
                        <a:pt x="158" y="8"/>
                      </a:lnTo>
                      <a:lnTo>
                        <a:pt x="160" y="8"/>
                      </a:lnTo>
                      <a:lnTo>
                        <a:pt x="164" y="12"/>
                      </a:lnTo>
                      <a:lnTo>
                        <a:pt x="164" y="14"/>
                      </a:lnTo>
                      <a:lnTo>
                        <a:pt x="166" y="14"/>
                      </a:lnTo>
                      <a:lnTo>
                        <a:pt x="166" y="17"/>
                      </a:lnTo>
                      <a:lnTo>
                        <a:pt x="170" y="19"/>
                      </a:lnTo>
                      <a:lnTo>
                        <a:pt x="172" y="19"/>
                      </a:lnTo>
                      <a:lnTo>
                        <a:pt x="172" y="21"/>
                      </a:lnTo>
                      <a:lnTo>
                        <a:pt x="174" y="21"/>
                      </a:lnTo>
                      <a:lnTo>
                        <a:pt x="175" y="23"/>
                      </a:lnTo>
                      <a:lnTo>
                        <a:pt x="175" y="27"/>
                      </a:lnTo>
                      <a:lnTo>
                        <a:pt x="177" y="27"/>
                      </a:lnTo>
                      <a:lnTo>
                        <a:pt x="181" y="27"/>
                      </a:lnTo>
                      <a:lnTo>
                        <a:pt x="181" y="29"/>
                      </a:lnTo>
                      <a:lnTo>
                        <a:pt x="181" y="27"/>
                      </a:lnTo>
                      <a:lnTo>
                        <a:pt x="185" y="29"/>
                      </a:lnTo>
                      <a:lnTo>
                        <a:pt x="187" y="31"/>
                      </a:lnTo>
                      <a:lnTo>
                        <a:pt x="189" y="31"/>
                      </a:lnTo>
                      <a:lnTo>
                        <a:pt x="191" y="33"/>
                      </a:lnTo>
                      <a:lnTo>
                        <a:pt x="193" y="35"/>
                      </a:lnTo>
                      <a:lnTo>
                        <a:pt x="193" y="37"/>
                      </a:lnTo>
                      <a:lnTo>
                        <a:pt x="194" y="37"/>
                      </a:lnTo>
                      <a:lnTo>
                        <a:pt x="194" y="40"/>
                      </a:lnTo>
                      <a:lnTo>
                        <a:pt x="196" y="40"/>
                      </a:lnTo>
                      <a:lnTo>
                        <a:pt x="198" y="44"/>
                      </a:lnTo>
                      <a:lnTo>
                        <a:pt x="200" y="46"/>
                      </a:lnTo>
                      <a:lnTo>
                        <a:pt x="200" y="48"/>
                      </a:lnTo>
                      <a:lnTo>
                        <a:pt x="202" y="48"/>
                      </a:lnTo>
                      <a:lnTo>
                        <a:pt x="202" y="50"/>
                      </a:lnTo>
                      <a:lnTo>
                        <a:pt x="200" y="52"/>
                      </a:lnTo>
                      <a:lnTo>
                        <a:pt x="198" y="54"/>
                      </a:lnTo>
                      <a:lnTo>
                        <a:pt x="198" y="61"/>
                      </a:lnTo>
                      <a:lnTo>
                        <a:pt x="200" y="63"/>
                      </a:lnTo>
                      <a:lnTo>
                        <a:pt x="200" y="65"/>
                      </a:lnTo>
                      <a:lnTo>
                        <a:pt x="198" y="65"/>
                      </a:lnTo>
                      <a:lnTo>
                        <a:pt x="198" y="67"/>
                      </a:lnTo>
                      <a:lnTo>
                        <a:pt x="198" y="69"/>
                      </a:lnTo>
                      <a:lnTo>
                        <a:pt x="198" y="71"/>
                      </a:lnTo>
                      <a:lnTo>
                        <a:pt x="200" y="69"/>
                      </a:lnTo>
                      <a:lnTo>
                        <a:pt x="204" y="71"/>
                      </a:lnTo>
                      <a:lnTo>
                        <a:pt x="202" y="73"/>
                      </a:lnTo>
                      <a:lnTo>
                        <a:pt x="204" y="75"/>
                      </a:lnTo>
                      <a:lnTo>
                        <a:pt x="202" y="77"/>
                      </a:lnTo>
                      <a:lnTo>
                        <a:pt x="200" y="79"/>
                      </a:lnTo>
                      <a:lnTo>
                        <a:pt x="200" y="80"/>
                      </a:lnTo>
                      <a:lnTo>
                        <a:pt x="200" y="82"/>
                      </a:lnTo>
                      <a:lnTo>
                        <a:pt x="202" y="88"/>
                      </a:lnTo>
                      <a:lnTo>
                        <a:pt x="204" y="90"/>
                      </a:lnTo>
                      <a:lnTo>
                        <a:pt x="206" y="92"/>
                      </a:lnTo>
                      <a:lnTo>
                        <a:pt x="208" y="96"/>
                      </a:lnTo>
                      <a:lnTo>
                        <a:pt x="208" y="98"/>
                      </a:lnTo>
                      <a:lnTo>
                        <a:pt x="206" y="98"/>
                      </a:lnTo>
                      <a:lnTo>
                        <a:pt x="206" y="100"/>
                      </a:lnTo>
                      <a:lnTo>
                        <a:pt x="206" y="107"/>
                      </a:lnTo>
                      <a:lnTo>
                        <a:pt x="202" y="111"/>
                      </a:lnTo>
                      <a:lnTo>
                        <a:pt x="202" y="113"/>
                      </a:lnTo>
                      <a:lnTo>
                        <a:pt x="202" y="117"/>
                      </a:lnTo>
                      <a:lnTo>
                        <a:pt x="202" y="121"/>
                      </a:lnTo>
                      <a:lnTo>
                        <a:pt x="206" y="122"/>
                      </a:lnTo>
                      <a:lnTo>
                        <a:pt x="206" y="126"/>
                      </a:lnTo>
                      <a:lnTo>
                        <a:pt x="208" y="128"/>
                      </a:lnTo>
                      <a:lnTo>
                        <a:pt x="208" y="130"/>
                      </a:lnTo>
                      <a:lnTo>
                        <a:pt x="210" y="132"/>
                      </a:lnTo>
                      <a:lnTo>
                        <a:pt x="210" y="136"/>
                      </a:lnTo>
                      <a:close/>
                      <a:moveTo>
                        <a:pt x="126" y="403"/>
                      </a:moveTo>
                      <a:lnTo>
                        <a:pt x="128" y="405"/>
                      </a:lnTo>
                      <a:lnTo>
                        <a:pt x="130" y="407"/>
                      </a:lnTo>
                      <a:lnTo>
                        <a:pt x="128" y="407"/>
                      </a:lnTo>
                      <a:lnTo>
                        <a:pt x="128" y="409"/>
                      </a:lnTo>
                      <a:lnTo>
                        <a:pt x="128" y="411"/>
                      </a:lnTo>
                      <a:lnTo>
                        <a:pt x="126" y="409"/>
                      </a:lnTo>
                      <a:lnTo>
                        <a:pt x="126" y="411"/>
                      </a:lnTo>
                      <a:lnTo>
                        <a:pt x="126" y="409"/>
                      </a:lnTo>
                      <a:lnTo>
                        <a:pt x="126" y="411"/>
                      </a:lnTo>
                      <a:lnTo>
                        <a:pt x="126" y="409"/>
                      </a:lnTo>
                      <a:lnTo>
                        <a:pt x="124" y="409"/>
                      </a:lnTo>
                      <a:lnTo>
                        <a:pt x="124" y="412"/>
                      </a:lnTo>
                      <a:lnTo>
                        <a:pt x="124" y="414"/>
                      </a:lnTo>
                      <a:lnTo>
                        <a:pt x="124" y="416"/>
                      </a:lnTo>
                      <a:lnTo>
                        <a:pt x="124" y="418"/>
                      </a:lnTo>
                      <a:lnTo>
                        <a:pt x="126" y="418"/>
                      </a:lnTo>
                      <a:lnTo>
                        <a:pt x="126" y="420"/>
                      </a:lnTo>
                      <a:lnTo>
                        <a:pt x="124" y="420"/>
                      </a:lnTo>
                      <a:lnTo>
                        <a:pt x="124" y="422"/>
                      </a:lnTo>
                      <a:lnTo>
                        <a:pt x="122" y="422"/>
                      </a:lnTo>
                      <a:lnTo>
                        <a:pt x="124" y="424"/>
                      </a:lnTo>
                      <a:lnTo>
                        <a:pt x="122" y="424"/>
                      </a:lnTo>
                      <a:lnTo>
                        <a:pt x="124" y="424"/>
                      </a:lnTo>
                      <a:lnTo>
                        <a:pt x="122" y="424"/>
                      </a:lnTo>
                      <a:lnTo>
                        <a:pt x="120" y="426"/>
                      </a:lnTo>
                      <a:lnTo>
                        <a:pt x="118" y="428"/>
                      </a:lnTo>
                      <a:lnTo>
                        <a:pt x="116" y="430"/>
                      </a:lnTo>
                      <a:lnTo>
                        <a:pt x="116" y="432"/>
                      </a:lnTo>
                      <a:lnTo>
                        <a:pt x="118" y="432"/>
                      </a:lnTo>
                      <a:lnTo>
                        <a:pt x="116" y="432"/>
                      </a:lnTo>
                      <a:lnTo>
                        <a:pt x="116" y="433"/>
                      </a:lnTo>
                      <a:lnTo>
                        <a:pt x="114" y="433"/>
                      </a:lnTo>
                      <a:lnTo>
                        <a:pt x="114" y="432"/>
                      </a:lnTo>
                      <a:lnTo>
                        <a:pt x="116" y="430"/>
                      </a:lnTo>
                      <a:lnTo>
                        <a:pt x="116" y="428"/>
                      </a:lnTo>
                      <a:lnTo>
                        <a:pt x="116" y="430"/>
                      </a:lnTo>
                      <a:lnTo>
                        <a:pt x="114" y="430"/>
                      </a:lnTo>
                      <a:lnTo>
                        <a:pt x="114" y="428"/>
                      </a:lnTo>
                      <a:lnTo>
                        <a:pt x="114" y="424"/>
                      </a:lnTo>
                      <a:lnTo>
                        <a:pt x="112" y="424"/>
                      </a:lnTo>
                      <a:lnTo>
                        <a:pt x="112" y="422"/>
                      </a:lnTo>
                      <a:lnTo>
                        <a:pt x="114" y="422"/>
                      </a:lnTo>
                      <a:lnTo>
                        <a:pt x="114" y="420"/>
                      </a:lnTo>
                      <a:lnTo>
                        <a:pt x="114" y="418"/>
                      </a:lnTo>
                      <a:lnTo>
                        <a:pt x="114" y="416"/>
                      </a:lnTo>
                      <a:lnTo>
                        <a:pt x="116" y="411"/>
                      </a:lnTo>
                      <a:lnTo>
                        <a:pt x="118" y="407"/>
                      </a:lnTo>
                      <a:lnTo>
                        <a:pt x="122" y="407"/>
                      </a:lnTo>
                      <a:lnTo>
                        <a:pt x="122" y="405"/>
                      </a:lnTo>
                      <a:lnTo>
                        <a:pt x="124" y="403"/>
                      </a:lnTo>
                      <a:lnTo>
                        <a:pt x="124" y="405"/>
                      </a:lnTo>
                      <a:lnTo>
                        <a:pt x="124" y="407"/>
                      </a:lnTo>
                      <a:lnTo>
                        <a:pt x="124" y="405"/>
                      </a:lnTo>
                      <a:lnTo>
                        <a:pt x="126" y="405"/>
                      </a:lnTo>
                      <a:lnTo>
                        <a:pt x="126" y="403"/>
                      </a:lnTo>
                      <a:close/>
                      <a:moveTo>
                        <a:pt x="97" y="420"/>
                      </a:moveTo>
                      <a:lnTo>
                        <a:pt x="97" y="422"/>
                      </a:lnTo>
                      <a:lnTo>
                        <a:pt x="97" y="420"/>
                      </a:lnTo>
                      <a:lnTo>
                        <a:pt x="99" y="422"/>
                      </a:lnTo>
                      <a:lnTo>
                        <a:pt x="97" y="422"/>
                      </a:lnTo>
                      <a:lnTo>
                        <a:pt x="97" y="424"/>
                      </a:lnTo>
                      <a:lnTo>
                        <a:pt x="97" y="426"/>
                      </a:lnTo>
                      <a:lnTo>
                        <a:pt x="97" y="428"/>
                      </a:lnTo>
                      <a:lnTo>
                        <a:pt x="95" y="428"/>
                      </a:lnTo>
                      <a:lnTo>
                        <a:pt x="95" y="430"/>
                      </a:lnTo>
                      <a:lnTo>
                        <a:pt x="95" y="432"/>
                      </a:lnTo>
                      <a:lnTo>
                        <a:pt x="93" y="432"/>
                      </a:lnTo>
                      <a:lnTo>
                        <a:pt x="93" y="433"/>
                      </a:lnTo>
                      <a:lnTo>
                        <a:pt x="93" y="435"/>
                      </a:lnTo>
                      <a:lnTo>
                        <a:pt x="92" y="437"/>
                      </a:lnTo>
                      <a:lnTo>
                        <a:pt x="92" y="443"/>
                      </a:lnTo>
                      <a:lnTo>
                        <a:pt x="90" y="445"/>
                      </a:lnTo>
                      <a:lnTo>
                        <a:pt x="90" y="449"/>
                      </a:lnTo>
                      <a:lnTo>
                        <a:pt x="88" y="453"/>
                      </a:lnTo>
                      <a:lnTo>
                        <a:pt x="86" y="454"/>
                      </a:lnTo>
                      <a:lnTo>
                        <a:pt x="86" y="449"/>
                      </a:lnTo>
                      <a:lnTo>
                        <a:pt x="86" y="445"/>
                      </a:lnTo>
                      <a:lnTo>
                        <a:pt x="86" y="443"/>
                      </a:lnTo>
                      <a:lnTo>
                        <a:pt x="88" y="443"/>
                      </a:lnTo>
                      <a:lnTo>
                        <a:pt x="88" y="439"/>
                      </a:lnTo>
                      <a:lnTo>
                        <a:pt x="90" y="435"/>
                      </a:lnTo>
                      <a:lnTo>
                        <a:pt x="92" y="435"/>
                      </a:lnTo>
                      <a:lnTo>
                        <a:pt x="92" y="433"/>
                      </a:lnTo>
                      <a:lnTo>
                        <a:pt x="93" y="428"/>
                      </a:lnTo>
                      <a:lnTo>
                        <a:pt x="95" y="426"/>
                      </a:lnTo>
                      <a:lnTo>
                        <a:pt x="93" y="426"/>
                      </a:lnTo>
                      <a:lnTo>
                        <a:pt x="95" y="424"/>
                      </a:lnTo>
                      <a:lnTo>
                        <a:pt x="95" y="422"/>
                      </a:lnTo>
                      <a:lnTo>
                        <a:pt x="95" y="420"/>
                      </a:lnTo>
                      <a:lnTo>
                        <a:pt x="97" y="420"/>
                      </a:lnTo>
                      <a:close/>
                      <a:moveTo>
                        <a:pt x="11" y="391"/>
                      </a:moveTo>
                      <a:lnTo>
                        <a:pt x="11" y="393"/>
                      </a:lnTo>
                      <a:lnTo>
                        <a:pt x="13" y="393"/>
                      </a:lnTo>
                      <a:lnTo>
                        <a:pt x="13" y="395"/>
                      </a:lnTo>
                      <a:lnTo>
                        <a:pt x="13" y="397"/>
                      </a:lnTo>
                      <a:lnTo>
                        <a:pt x="13" y="399"/>
                      </a:lnTo>
                      <a:lnTo>
                        <a:pt x="11" y="397"/>
                      </a:lnTo>
                      <a:lnTo>
                        <a:pt x="11" y="399"/>
                      </a:lnTo>
                      <a:lnTo>
                        <a:pt x="11" y="397"/>
                      </a:lnTo>
                      <a:lnTo>
                        <a:pt x="11" y="399"/>
                      </a:lnTo>
                      <a:lnTo>
                        <a:pt x="11" y="397"/>
                      </a:lnTo>
                      <a:lnTo>
                        <a:pt x="11" y="399"/>
                      </a:lnTo>
                      <a:lnTo>
                        <a:pt x="11" y="397"/>
                      </a:lnTo>
                      <a:lnTo>
                        <a:pt x="10" y="397"/>
                      </a:lnTo>
                      <a:lnTo>
                        <a:pt x="10" y="399"/>
                      </a:lnTo>
                      <a:lnTo>
                        <a:pt x="8" y="397"/>
                      </a:lnTo>
                      <a:lnTo>
                        <a:pt x="8" y="399"/>
                      </a:lnTo>
                      <a:lnTo>
                        <a:pt x="8" y="397"/>
                      </a:lnTo>
                      <a:lnTo>
                        <a:pt x="8" y="395"/>
                      </a:lnTo>
                      <a:lnTo>
                        <a:pt x="8" y="397"/>
                      </a:lnTo>
                      <a:lnTo>
                        <a:pt x="8" y="395"/>
                      </a:lnTo>
                      <a:lnTo>
                        <a:pt x="10" y="395"/>
                      </a:lnTo>
                      <a:lnTo>
                        <a:pt x="10" y="393"/>
                      </a:lnTo>
                      <a:lnTo>
                        <a:pt x="11" y="395"/>
                      </a:lnTo>
                      <a:lnTo>
                        <a:pt x="11" y="391"/>
                      </a:lnTo>
                      <a:close/>
                      <a:moveTo>
                        <a:pt x="118" y="357"/>
                      </a:moveTo>
                      <a:lnTo>
                        <a:pt x="120" y="359"/>
                      </a:lnTo>
                      <a:lnTo>
                        <a:pt x="122" y="359"/>
                      </a:lnTo>
                      <a:lnTo>
                        <a:pt x="120" y="359"/>
                      </a:lnTo>
                      <a:lnTo>
                        <a:pt x="122" y="359"/>
                      </a:lnTo>
                      <a:lnTo>
                        <a:pt x="122" y="361"/>
                      </a:lnTo>
                      <a:lnTo>
                        <a:pt x="120" y="359"/>
                      </a:lnTo>
                      <a:lnTo>
                        <a:pt x="120" y="361"/>
                      </a:lnTo>
                      <a:lnTo>
                        <a:pt x="122" y="361"/>
                      </a:lnTo>
                      <a:lnTo>
                        <a:pt x="122" y="363"/>
                      </a:lnTo>
                      <a:lnTo>
                        <a:pt x="120" y="363"/>
                      </a:lnTo>
                      <a:lnTo>
                        <a:pt x="124" y="363"/>
                      </a:lnTo>
                      <a:lnTo>
                        <a:pt x="122" y="363"/>
                      </a:lnTo>
                      <a:lnTo>
                        <a:pt x="124" y="363"/>
                      </a:lnTo>
                      <a:lnTo>
                        <a:pt x="122" y="363"/>
                      </a:lnTo>
                      <a:lnTo>
                        <a:pt x="120" y="363"/>
                      </a:lnTo>
                      <a:lnTo>
                        <a:pt x="118" y="361"/>
                      </a:lnTo>
                      <a:lnTo>
                        <a:pt x="118" y="363"/>
                      </a:lnTo>
                      <a:lnTo>
                        <a:pt x="120" y="363"/>
                      </a:lnTo>
                      <a:lnTo>
                        <a:pt x="122" y="363"/>
                      </a:lnTo>
                      <a:lnTo>
                        <a:pt x="120" y="363"/>
                      </a:lnTo>
                      <a:lnTo>
                        <a:pt x="120" y="365"/>
                      </a:lnTo>
                      <a:lnTo>
                        <a:pt x="118" y="363"/>
                      </a:lnTo>
                      <a:lnTo>
                        <a:pt x="116" y="363"/>
                      </a:lnTo>
                      <a:lnTo>
                        <a:pt x="118" y="363"/>
                      </a:lnTo>
                      <a:lnTo>
                        <a:pt x="116" y="363"/>
                      </a:lnTo>
                      <a:lnTo>
                        <a:pt x="118" y="361"/>
                      </a:lnTo>
                      <a:lnTo>
                        <a:pt x="116" y="361"/>
                      </a:lnTo>
                      <a:lnTo>
                        <a:pt x="114" y="361"/>
                      </a:lnTo>
                      <a:lnTo>
                        <a:pt x="116" y="361"/>
                      </a:lnTo>
                      <a:lnTo>
                        <a:pt x="116" y="359"/>
                      </a:lnTo>
                      <a:lnTo>
                        <a:pt x="116" y="361"/>
                      </a:lnTo>
                      <a:lnTo>
                        <a:pt x="118" y="359"/>
                      </a:lnTo>
                      <a:lnTo>
                        <a:pt x="116" y="359"/>
                      </a:lnTo>
                      <a:lnTo>
                        <a:pt x="118" y="361"/>
                      </a:lnTo>
                      <a:lnTo>
                        <a:pt x="118" y="359"/>
                      </a:lnTo>
                      <a:lnTo>
                        <a:pt x="118" y="361"/>
                      </a:lnTo>
                      <a:lnTo>
                        <a:pt x="120" y="361"/>
                      </a:lnTo>
                      <a:lnTo>
                        <a:pt x="118" y="359"/>
                      </a:lnTo>
                      <a:lnTo>
                        <a:pt x="120" y="359"/>
                      </a:lnTo>
                      <a:lnTo>
                        <a:pt x="118" y="359"/>
                      </a:lnTo>
                      <a:lnTo>
                        <a:pt x="118" y="357"/>
                      </a:lnTo>
                      <a:close/>
                      <a:moveTo>
                        <a:pt x="11" y="399"/>
                      </a:moveTo>
                      <a:lnTo>
                        <a:pt x="13" y="399"/>
                      </a:lnTo>
                      <a:lnTo>
                        <a:pt x="13" y="401"/>
                      </a:lnTo>
                      <a:lnTo>
                        <a:pt x="11" y="401"/>
                      </a:lnTo>
                      <a:lnTo>
                        <a:pt x="11" y="403"/>
                      </a:lnTo>
                      <a:lnTo>
                        <a:pt x="10" y="403"/>
                      </a:lnTo>
                      <a:lnTo>
                        <a:pt x="10" y="401"/>
                      </a:lnTo>
                      <a:lnTo>
                        <a:pt x="8" y="401"/>
                      </a:lnTo>
                      <a:lnTo>
                        <a:pt x="10" y="401"/>
                      </a:lnTo>
                      <a:lnTo>
                        <a:pt x="8" y="401"/>
                      </a:lnTo>
                      <a:lnTo>
                        <a:pt x="10" y="399"/>
                      </a:lnTo>
                      <a:lnTo>
                        <a:pt x="10" y="401"/>
                      </a:lnTo>
                      <a:lnTo>
                        <a:pt x="11" y="399"/>
                      </a:lnTo>
                      <a:close/>
                      <a:moveTo>
                        <a:pt x="132" y="401"/>
                      </a:moveTo>
                      <a:lnTo>
                        <a:pt x="132" y="403"/>
                      </a:lnTo>
                      <a:lnTo>
                        <a:pt x="133" y="401"/>
                      </a:lnTo>
                      <a:lnTo>
                        <a:pt x="133" y="403"/>
                      </a:lnTo>
                      <a:lnTo>
                        <a:pt x="132" y="403"/>
                      </a:lnTo>
                      <a:lnTo>
                        <a:pt x="130" y="403"/>
                      </a:lnTo>
                      <a:lnTo>
                        <a:pt x="130" y="405"/>
                      </a:lnTo>
                      <a:lnTo>
                        <a:pt x="130" y="407"/>
                      </a:lnTo>
                      <a:lnTo>
                        <a:pt x="130" y="405"/>
                      </a:lnTo>
                      <a:lnTo>
                        <a:pt x="128" y="405"/>
                      </a:lnTo>
                      <a:lnTo>
                        <a:pt x="128" y="403"/>
                      </a:lnTo>
                      <a:lnTo>
                        <a:pt x="130" y="403"/>
                      </a:lnTo>
                      <a:lnTo>
                        <a:pt x="132" y="401"/>
                      </a:lnTo>
                      <a:lnTo>
                        <a:pt x="132" y="403"/>
                      </a:lnTo>
                      <a:lnTo>
                        <a:pt x="132" y="401"/>
                      </a:lnTo>
                      <a:close/>
                      <a:moveTo>
                        <a:pt x="118" y="323"/>
                      </a:moveTo>
                      <a:lnTo>
                        <a:pt x="118" y="325"/>
                      </a:lnTo>
                      <a:lnTo>
                        <a:pt x="120" y="325"/>
                      </a:lnTo>
                      <a:lnTo>
                        <a:pt x="118" y="325"/>
                      </a:lnTo>
                      <a:lnTo>
                        <a:pt x="120" y="327"/>
                      </a:lnTo>
                      <a:lnTo>
                        <a:pt x="118" y="327"/>
                      </a:lnTo>
                      <a:lnTo>
                        <a:pt x="120" y="327"/>
                      </a:lnTo>
                      <a:lnTo>
                        <a:pt x="118" y="327"/>
                      </a:lnTo>
                      <a:lnTo>
                        <a:pt x="120" y="327"/>
                      </a:lnTo>
                      <a:lnTo>
                        <a:pt x="120" y="328"/>
                      </a:lnTo>
                      <a:lnTo>
                        <a:pt x="122" y="328"/>
                      </a:lnTo>
                      <a:lnTo>
                        <a:pt x="120" y="328"/>
                      </a:lnTo>
                      <a:lnTo>
                        <a:pt x="122" y="330"/>
                      </a:lnTo>
                      <a:lnTo>
                        <a:pt x="120" y="330"/>
                      </a:lnTo>
                      <a:lnTo>
                        <a:pt x="120" y="328"/>
                      </a:lnTo>
                      <a:lnTo>
                        <a:pt x="118" y="328"/>
                      </a:lnTo>
                      <a:lnTo>
                        <a:pt x="118" y="327"/>
                      </a:lnTo>
                      <a:lnTo>
                        <a:pt x="118" y="325"/>
                      </a:lnTo>
                      <a:lnTo>
                        <a:pt x="118" y="323"/>
                      </a:lnTo>
                      <a:close/>
                      <a:moveTo>
                        <a:pt x="101" y="258"/>
                      </a:moveTo>
                      <a:lnTo>
                        <a:pt x="105" y="258"/>
                      </a:lnTo>
                      <a:lnTo>
                        <a:pt x="105" y="262"/>
                      </a:lnTo>
                      <a:lnTo>
                        <a:pt x="101" y="262"/>
                      </a:lnTo>
                      <a:lnTo>
                        <a:pt x="101" y="258"/>
                      </a:lnTo>
                      <a:close/>
                      <a:moveTo>
                        <a:pt x="122" y="353"/>
                      </a:moveTo>
                      <a:lnTo>
                        <a:pt x="122" y="355"/>
                      </a:lnTo>
                      <a:lnTo>
                        <a:pt x="124" y="353"/>
                      </a:lnTo>
                      <a:lnTo>
                        <a:pt x="126" y="353"/>
                      </a:lnTo>
                      <a:lnTo>
                        <a:pt x="122" y="355"/>
                      </a:lnTo>
                      <a:lnTo>
                        <a:pt x="122" y="357"/>
                      </a:lnTo>
                      <a:lnTo>
                        <a:pt x="120" y="357"/>
                      </a:lnTo>
                      <a:lnTo>
                        <a:pt x="120" y="355"/>
                      </a:lnTo>
                      <a:lnTo>
                        <a:pt x="122" y="353"/>
                      </a:lnTo>
                      <a:lnTo>
                        <a:pt x="122" y="355"/>
                      </a:lnTo>
                      <a:lnTo>
                        <a:pt x="122" y="353"/>
                      </a:lnTo>
                      <a:close/>
                      <a:moveTo>
                        <a:pt x="112" y="248"/>
                      </a:moveTo>
                      <a:lnTo>
                        <a:pt x="114" y="248"/>
                      </a:lnTo>
                      <a:lnTo>
                        <a:pt x="114" y="250"/>
                      </a:lnTo>
                      <a:lnTo>
                        <a:pt x="112" y="250"/>
                      </a:lnTo>
                      <a:lnTo>
                        <a:pt x="112" y="248"/>
                      </a:lnTo>
                      <a:close/>
                      <a:moveTo>
                        <a:pt x="107" y="369"/>
                      </a:moveTo>
                      <a:lnTo>
                        <a:pt x="107" y="370"/>
                      </a:lnTo>
                      <a:lnTo>
                        <a:pt x="107" y="369"/>
                      </a:lnTo>
                      <a:lnTo>
                        <a:pt x="107" y="370"/>
                      </a:lnTo>
                      <a:lnTo>
                        <a:pt x="107" y="374"/>
                      </a:lnTo>
                      <a:lnTo>
                        <a:pt x="107" y="372"/>
                      </a:lnTo>
                      <a:lnTo>
                        <a:pt x="107" y="374"/>
                      </a:lnTo>
                      <a:lnTo>
                        <a:pt x="107" y="372"/>
                      </a:lnTo>
                      <a:lnTo>
                        <a:pt x="105" y="372"/>
                      </a:lnTo>
                      <a:lnTo>
                        <a:pt x="107" y="370"/>
                      </a:lnTo>
                      <a:lnTo>
                        <a:pt x="107" y="369"/>
                      </a:lnTo>
                      <a:close/>
                      <a:moveTo>
                        <a:pt x="156" y="210"/>
                      </a:moveTo>
                      <a:lnTo>
                        <a:pt x="158" y="210"/>
                      </a:lnTo>
                      <a:lnTo>
                        <a:pt x="158" y="216"/>
                      </a:lnTo>
                      <a:lnTo>
                        <a:pt x="156" y="216"/>
                      </a:lnTo>
                      <a:lnTo>
                        <a:pt x="156" y="210"/>
                      </a:lnTo>
                      <a:close/>
                      <a:moveTo>
                        <a:pt x="116" y="367"/>
                      </a:moveTo>
                      <a:lnTo>
                        <a:pt x="120" y="367"/>
                      </a:lnTo>
                      <a:lnTo>
                        <a:pt x="120" y="370"/>
                      </a:lnTo>
                      <a:lnTo>
                        <a:pt x="116" y="370"/>
                      </a:lnTo>
                      <a:lnTo>
                        <a:pt x="116" y="367"/>
                      </a:lnTo>
                      <a:close/>
                      <a:moveTo>
                        <a:pt x="126" y="344"/>
                      </a:moveTo>
                      <a:lnTo>
                        <a:pt x="128" y="344"/>
                      </a:lnTo>
                      <a:lnTo>
                        <a:pt x="128" y="348"/>
                      </a:lnTo>
                      <a:lnTo>
                        <a:pt x="126" y="348"/>
                      </a:lnTo>
                      <a:lnTo>
                        <a:pt x="126" y="344"/>
                      </a:lnTo>
                      <a:close/>
                      <a:moveTo>
                        <a:pt x="130" y="390"/>
                      </a:moveTo>
                      <a:lnTo>
                        <a:pt x="133" y="390"/>
                      </a:lnTo>
                      <a:lnTo>
                        <a:pt x="133" y="391"/>
                      </a:lnTo>
                      <a:lnTo>
                        <a:pt x="130" y="391"/>
                      </a:lnTo>
                      <a:lnTo>
                        <a:pt x="130" y="390"/>
                      </a:lnTo>
                      <a:close/>
                      <a:moveTo>
                        <a:pt x="179" y="145"/>
                      </a:moveTo>
                      <a:lnTo>
                        <a:pt x="181" y="147"/>
                      </a:lnTo>
                      <a:lnTo>
                        <a:pt x="181" y="149"/>
                      </a:lnTo>
                      <a:lnTo>
                        <a:pt x="179" y="147"/>
                      </a:lnTo>
                      <a:lnTo>
                        <a:pt x="179" y="149"/>
                      </a:lnTo>
                      <a:lnTo>
                        <a:pt x="177" y="147"/>
                      </a:lnTo>
                      <a:lnTo>
                        <a:pt x="179" y="145"/>
                      </a:lnTo>
                      <a:close/>
                      <a:moveTo>
                        <a:pt x="114" y="370"/>
                      </a:moveTo>
                      <a:lnTo>
                        <a:pt x="116" y="370"/>
                      </a:lnTo>
                      <a:lnTo>
                        <a:pt x="114" y="370"/>
                      </a:lnTo>
                      <a:lnTo>
                        <a:pt x="114" y="372"/>
                      </a:lnTo>
                      <a:lnTo>
                        <a:pt x="112" y="372"/>
                      </a:lnTo>
                      <a:lnTo>
                        <a:pt x="112" y="370"/>
                      </a:lnTo>
                      <a:lnTo>
                        <a:pt x="114" y="370"/>
                      </a:lnTo>
                      <a:close/>
                      <a:moveTo>
                        <a:pt x="189" y="138"/>
                      </a:moveTo>
                      <a:lnTo>
                        <a:pt x="191" y="138"/>
                      </a:lnTo>
                      <a:lnTo>
                        <a:pt x="191" y="141"/>
                      </a:lnTo>
                      <a:lnTo>
                        <a:pt x="189" y="141"/>
                      </a:lnTo>
                      <a:lnTo>
                        <a:pt x="189" y="138"/>
                      </a:lnTo>
                      <a:close/>
                      <a:moveTo>
                        <a:pt x="112" y="359"/>
                      </a:moveTo>
                      <a:lnTo>
                        <a:pt x="116" y="359"/>
                      </a:lnTo>
                      <a:lnTo>
                        <a:pt x="116" y="361"/>
                      </a:lnTo>
                      <a:lnTo>
                        <a:pt x="112" y="361"/>
                      </a:lnTo>
                      <a:lnTo>
                        <a:pt x="112" y="359"/>
                      </a:lnTo>
                      <a:close/>
                      <a:moveTo>
                        <a:pt x="92" y="390"/>
                      </a:moveTo>
                      <a:lnTo>
                        <a:pt x="95" y="390"/>
                      </a:lnTo>
                      <a:lnTo>
                        <a:pt x="95" y="391"/>
                      </a:lnTo>
                      <a:lnTo>
                        <a:pt x="92" y="391"/>
                      </a:lnTo>
                      <a:lnTo>
                        <a:pt x="92" y="390"/>
                      </a:lnTo>
                      <a:close/>
                      <a:moveTo>
                        <a:pt x="118" y="372"/>
                      </a:moveTo>
                      <a:lnTo>
                        <a:pt x="116" y="372"/>
                      </a:lnTo>
                      <a:lnTo>
                        <a:pt x="116" y="374"/>
                      </a:lnTo>
                      <a:lnTo>
                        <a:pt x="114" y="374"/>
                      </a:lnTo>
                      <a:lnTo>
                        <a:pt x="116" y="372"/>
                      </a:lnTo>
                      <a:lnTo>
                        <a:pt x="118" y="372"/>
                      </a:lnTo>
                      <a:close/>
                      <a:moveTo>
                        <a:pt x="124" y="332"/>
                      </a:moveTo>
                      <a:lnTo>
                        <a:pt x="124" y="336"/>
                      </a:lnTo>
                      <a:lnTo>
                        <a:pt x="124" y="332"/>
                      </a:lnTo>
                      <a:close/>
                      <a:moveTo>
                        <a:pt x="122" y="359"/>
                      </a:moveTo>
                      <a:lnTo>
                        <a:pt x="124" y="359"/>
                      </a:lnTo>
                      <a:lnTo>
                        <a:pt x="124" y="363"/>
                      </a:lnTo>
                      <a:lnTo>
                        <a:pt x="122" y="363"/>
                      </a:lnTo>
                      <a:lnTo>
                        <a:pt x="122" y="359"/>
                      </a:lnTo>
                      <a:close/>
                      <a:moveTo>
                        <a:pt x="126" y="351"/>
                      </a:moveTo>
                      <a:lnTo>
                        <a:pt x="128" y="351"/>
                      </a:lnTo>
                      <a:lnTo>
                        <a:pt x="128" y="353"/>
                      </a:lnTo>
                      <a:lnTo>
                        <a:pt x="126" y="353"/>
                      </a:lnTo>
                      <a:lnTo>
                        <a:pt x="126" y="351"/>
                      </a:lnTo>
                      <a:close/>
                      <a:moveTo>
                        <a:pt x="187" y="138"/>
                      </a:moveTo>
                      <a:lnTo>
                        <a:pt x="189" y="138"/>
                      </a:lnTo>
                      <a:lnTo>
                        <a:pt x="189" y="140"/>
                      </a:lnTo>
                      <a:lnTo>
                        <a:pt x="187" y="140"/>
                      </a:lnTo>
                      <a:lnTo>
                        <a:pt x="187" y="138"/>
                      </a:lnTo>
                      <a:close/>
                      <a:moveTo>
                        <a:pt x="29" y="475"/>
                      </a:moveTo>
                      <a:lnTo>
                        <a:pt x="30" y="475"/>
                      </a:lnTo>
                      <a:lnTo>
                        <a:pt x="30" y="477"/>
                      </a:lnTo>
                      <a:lnTo>
                        <a:pt x="29" y="477"/>
                      </a:lnTo>
                      <a:lnTo>
                        <a:pt x="29" y="475"/>
                      </a:lnTo>
                      <a:close/>
                      <a:moveTo>
                        <a:pt x="177" y="149"/>
                      </a:moveTo>
                      <a:lnTo>
                        <a:pt x="179" y="149"/>
                      </a:lnTo>
                      <a:lnTo>
                        <a:pt x="179" y="151"/>
                      </a:lnTo>
                      <a:lnTo>
                        <a:pt x="177" y="151"/>
                      </a:lnTo>
                      <a:lnTo>
                        <a:pt x="177" y="149"/>
                      </a:lnTo>
                      <a:close/>
                      <a:moveTo>
                        <a:pt x="8" y="393"/>
                      </a:moveTo>
                      <a:lnTo>
                        <a:pt x="8" y="395"/>
                      </a:lnTo>
                      <a:lnTo>
                        <a:pt x="8" y="393"/>
                      </a:lnTo>
                      <a:close/>
                      <a:moveTo>
                        <a:pt x="170" y="151"/>
                      </a:moveTo>
                      <a:lnTo>
                        <a:pt x="174" y="151"/>
                      </a:lnTo>
                      <a:lnTo>
                        <a:pt x="174" y="153"/>
                      </a:lnTo>
                      <a:lnTo>
                        <a:pt x="170" y="153"/>
                      </a:lnTo>
                      <a:lnTo>
                        <a:pt x="170" y="151"/>
                      </a:lnTo>
                      <a:close/>
                      <a:moveTo>
                        <a:pt x="194" y="138"/>
                      </a:moveTo>
                      <a:lnTo>
                        <a:pt x="196" y="138"/>
                      </a:lnTo>
                      <a:lnTo>
                        <a:pt x="196" y="140"/>
                      </a:lnTo>
                      <a:lnTo>
                        <a:pt x="194" y="140"/>
                      </a:lnTo>
                      <a:lnTo>
                        <a:pt x="194" y="138"/>
                      </a:lnTo>
                      <a:close/>
                      <a:moveTo>
                        <a:pt x="183" y="143"/>
                      </a:moveTo>
                      <a:lnTo>
                        <a:pt x="185" y="143"/>
                      </a:lnTo>
                      <a:lnTo>
                        <a:pt x="185" y="145"/>
                      </a:lnTo>
                      <a:lnTo>
                        <a:pt x="183" y="145"/>
                      </a:lnTo>
                      <a:lnTo>
                        <a:pt x="183" y="143"/>
                      </a:lnTo>
                      <a:close/>
                      <a:moveTo>
                        <a:pt x="122" y="237"/>
                      </a:moveTo>
                      <a:lnTo>
                        <a:pt x="122" y="239"/>
                      </a:lnTo>
                      <a:lnTo>
                        <a:pt x="122" y="237"/>
                      </a:lnTo>
                      <a:close/>
                      <a:moveTo>
                        <a:pt x="126" y="351"/>
                      </a:moveTo>
                      <a:lnTo>
                        <a:pt x="124" y="353"/>
                      </a:lnTo>
                      <a:lnTo>
                        <a:pt x="126" y="353"/>
                      </a:lnTo>
                      <a:lnTo>
                        <a:pt x="124" y="353"/>
                      </a:lnTo>
                      <a:lnTo>
                        <a:pt x="126" y="351"/>
                      </a:lnTo>
                      <a:close/>
                      <a:moveTo>
                        <a:pt x="179" y="149"/>
                      </a:moveTo>
                      <a:lnTo>
                        <a:pt x="181" y="149"/>
                      </a:lnTo>
                      <a:lnTo>
                        <a:pt x="181" y="151"/>
                      </a:lnTo>
                      <a:lnTo>
                        <a:pt x="179" y="151"/>
                      </a:lnTo>
                      <a:lnTo>
                        <a:pt x="179" y="149"/>
                      </a:lnTo>
                      <a:close/>
                      <a:moveTo>
                        <a:pt x="74" y="456"/>
                      </a:moveTo>
                      <a:lnTo>
                        <a:pt x="76" y="456"/>
                      </a:lnTo>
                      <a:lnTo>
                        <a:pt x="76" y="458"/>
                      </a:lnTo>
                      <a:lnTo>
                        <a:pt x="74" y="458"/>
                      </a:lnTo>
                      <a:lnTo>
                        <a:pt x="74" y="456"/>
                      </a:lnTo>
                      <a:close/>
                      <a:moveTo>
                        <a:pt x="124" y="361"/>
                      </a:moveTo>
                      <a:lnTo>
                        <a:pt x="124" y="363"/>
                      </a:lnTo>
                      <a:lnTo>
                        <a:pt x="124" y="361"/>
                      </a:lnTo>
                      <a:close/>
                      <a:moveTo>
                        <a:pt x="172" y="157"/>
                      </a:moveTo>
                      <a:lnTo>
                        <a:pt x="174" y="157"/>
                      </a:lnTo>
                      <a:lnTo>
                        <a:pt x="174" y="159"/>
                      </a:lnTo>
                      <a:lnTo>
                        <a:pt x="172" y="159"/>
                      </a:lnTo>
                      <a:lnTo>
                        <a:pt x="172" y="157"/>
                      </a:lnTo>
                      <a:close/>
                      <a:moveTo>
                        <a:pt x="183" y="147"/>
                      </a:moveTo>
                      <a:lnTo>
                        <a:pt x="185" y="147"/>
                      </a:lnTo>
                      <a:lnTo>
                        <a:pt x="185" y="149"/>
                      </a:lnTo>
                      <a:lnTo>
                        <a:pt x="183" y="149"/>
                      </a:lnTo>
                      <a:lnTo>
                        <a:pt x="183" y="147"/>
                      </a:lnTo>
                      <a:close/>
                      <a:moveTo>
                        <a:pt x="126" y="357"/>
                      </a:moveTo>
                      <a:lnTo>
                        <a:pt x="126" y="359"/>
                      </a:lnTo>
                      <a:lnTo>
                        <a:pt x="126" y="357"/>
                      </a:lnTo>
                      <a:close/>
                      <a:moveTo>
                        <a:pt x="107" y="266"/>
                      </a:moveTo>
                      <a:lnTo>
                        <a:pt x="107" y="267"/>
                      </a:lnTo>
                      <a:lnTo>
                        <a:pt x="107" y="266"/>
                      </a:lnTo>
                      <a:close/>
                      <a:moveTo>
                        <a:pt x="172" y="159"/>
                      </a:moveTo>
                      <a:lnTo>
                        <a:pt x="174" y="159"/>
                      </a:lnTo>
                      <a:lnTo>
                        <a:pt x="174" y="161"/>
                      </a:lnTo>
                      <a:lnTo>
                        <a:pt x="172" y="161"/>
                      </a:lnTo>
                      <a:lnTo>
                        <a:pt x="172" y="159"/>
                      </a:lnTo>
                      <a:close/>
                      <a:moveTo>
                        <a:pt x="10" y="405"/>
                      </a:moveTo>
                      <a:lnTo>
                        <a:pt x="11" y="405"/>
                      </a:lnTo>
                      <a:lnTo>
                        <a:pt x="11" y="407"/>
                      </a:lnTo>
                      <a:lnTo>
                        <a:pt x="10" y="407"/>
                      </a:lnTo>
                      <a:lnTo>
                        <a:pt x="10" y="405"/>
                      </a:lnTo>
                      <a:close/>
                      <a:moveTo>
                        <a:pt x="120" y="237"/>
                      </a:moveTo>
                      <a:lnTo>
                        <a:pt x="120" y="239"/>
                      </a:lnTo>
                      <a:lnTo>
                        <a:pt x="120" y="237"/>
                      </a:lnTo>
                      <a:close/>
                      <a:moveTo>
                        <a:pt x="90" y="407"/>
                      </a:moveTo>
                      <a:lnTo>
                        <a:pt x="92" y="407"/>
                      </a:lnTo>
                      <a:lnTo>
                        <a:pt x="92" y="409"/>
                      </a:lnTo>
                      <a:lnTo>
                        <a:pt x="90" y="409"/>
                      </a:lnTo>
                      <a:lnTo>
                        <a:pt x="90" y="407"/>
                      </a:lnTo>
                      <a:close/>
                      <a:moveTo>
                        <a:pt x="101" y="288"/>
                      </a:moveTo>
                      <a:lnTo>
                        <a:pt x="103" y="288"/>
                      </a:lnTo>
                      <a:lnTo>
                        <a:pt x="103" y="290"/>
                      </a:lnTo>
                      <a:lnTo>
                        <a:pt x="101" y="290"/>
                      </a:lnTo>
                      <a:lnTo>
                        <a:pt x="101" y="288"/>
                      </a:lnTo>
                      <a:close/>
                      <a:moveTo>
                        <a:pt x="90" y="412"/>
                      </a:moveTo>
                      <a:lnTo>
                        <a:pt x="92" y="412"/>
                      </a:lnTo>
                      <a:lnTo>
                        <a:pt x="92" y="414"/>
                      </a:lnTo>
                      <a:lnTo>
                        <a:pt x="90" y="414"/>
                      </a:lnTo>
                      <a:lnTo>
                        <a:pt x="90" y="412"/>
                      </a:lnTo>
                      <a:close/>
                      <a:moveTo>
                        <a:pt x="122" y="365"/>
                      </a:moveTo>
                      <a:lnTo>
                        <a:pt x="124" y="365"/>
                      </a:lnTo>
                      <a:lnTo>
                        <a:pt x="124" y="367"/>
                      </a:lnTo>
                      <a:lnTo>
                        <a:pt x="122" y="367"/>
                      </a:lnTo>
                      <a:lnTo>
                        <a:pt x="122" y="365"/>
                      </a:lnTo>
                      <a:close/>
                      <a:moveTo>
                        <a:pt x="112" y="250"/>
                      </a:moveTo>
                      <a:lnTo>
                        <a:pt x="112" y="252"/>
                      </a:lnTo>
                      <a:lnTo>
                        <a:pt x="112" y="250"/>
                      </a:lnTo>
                      <a:close/>
                      <a:moveTo>
                        <a:pt x="103" y="378"/>
                      </a:moveTo>
                      <a:lnTo>
                        <a:pt x="103" y="380"/>
                      </a:lnTo>
                      <a:lnTo>
                        <a:pt x="103" y="378"/>
                      </a:lnTo>
                      <a:close/>
                      <a:moveTo>
                        <a:pt x="2" y="376"/>
                      </a:moveTo>
                      <a:lnTo>
                        <a:pt x="4" y="376"/>
                      </a:lnTo>
                      <a:lnTo>
                        <a:pt x="2" y="376"/>
                      </a:lnTo>
                      <a:close/>
                      <a:moveTo>
                        <a:pt x="2" y="374"/>
                      </a:moveTo>
                      <a:lnTo>
                        <a:pt x="4" y="374"/>
                      </a:lnTo>
                      <a:lnTo>
                        <a:pt x="4" y="376"/>
                      </a:lnTo>
                      <a:lnTo>
                        <a:pt x="2" y="376"/>
                      </a:lnTo>
                      <a:lnTo>
                        <a:pt x="2" y="374"/>
                      </a:lnTo>
                      <a:close/>
                      <a:moveTo>
                        <a:pt x="8" y="395"/>
                      </a:moveTo>
                      <a:lnTo>
                        <a:pt x="10" y="395"/>
                      </a:lnTo>
                      <a:lnTo>
                        <a:pt x="8" y="395"/>
                      </a:lnTo>
                      <a:close/>
                      <a:moveTo>
                        <a:pt x="111" y="246"/>
                      </a:moveTo>
                      <a:lnTo>
                        <a:pt x="112" y="246"/>
                      </a:lnTo>
                      <a:lnTo>
                        <a:pt x="112" y="248"/>
                      </a:lnTo>
                      <a:lnTo>
                        <a:pt x="111" y="248"/>
                      </a:lnTo>
                      <a:lnTo>
                        <a:pt x="111" y="246"/>
                      </a:lnTo>
                      <a:close/>
                      <a:moveTo>
                        <a:pt x="93" y="386"/>
                      </a:moveTo>
                      <a:lnTo>
                        <a:pt x="95" y="386"/>
                      </a:lnTo>
                      <a:lnTo>
                        <a:pt x="95" y="388"/>
                      </a:lnTo>
                      <a:lnTo>
                        <a:pt x="93" y="388"/>
                      </a:lnTo>
                      <a:lnTo>
                        <a:pt x="93" y="386"/>
                      </a:lnTo>
                      <a:close/>
                      <a:moveTo>
                        <a:pt x="92" y="407"/>
                      </a:moveTo>
                      <a:lnTo>
                        <a:pt x="93" y="407"/>
                      </a:lnTo>
                      <a:lnTo>
                        <a:pt x="92" y="407"/>
                      </a:lnTo>
                      <a:close/>
                      <a:moveTo>
                        <a:pt x="122" y="357"/>
                      </a:moveTo>
                      <a:lnTo>
                        <a:pt x="124" y="357"/>
                      </a:lnTo>
                      <a:lnTo>
                        <a:pt x="122" y="357"/>
                      </a:lnTo>
                      <a:close/>
                      <a:moveTo>
                        <a:pt x="181" y="153"/>
                      </a:moveTo>
                      <a:lnTo>
                        <a:pt x="183" y="153"/>
                      </a:lnTo>
                      <a:lnTo>
                        <a:pt x="181" y="153"/>
                      </a:lnTo>
                      <a:close/>
                      <a:moveTo>
                        <a:pt x="126" y="359"/>
                      </a:moveTo>
                      <a:lnTo>
                        <a:pt x="128" y="359"/>
                      </a:lnTo>
                      <a:lnTo>
                        <a:pt x="126" y="359"/>
                      </a:lnTo>
                      <a:close/>
                      <a:moveTo>
                        <a:pt x="8" y="399"/>
                      </a:moveTo>
                      <a:lnTo>
                        <a:pt x="10" y="399"/>
                      </a:lnTo>
                      <a:lnTo>
                        <a:pt x="8" y="399"/>
                      </a:lnTo>
                      <a:close/>
                      <a:moveTo>
                        <a:pt x="0" y="374"/>
                      </a:moveTo>
                      <a:lnTo>
                        <a:pt x="2" y="374"/>
                      </a:lnTo>
                      <a:lnTo>
                        <a:pt x="2" y="376"/>
                      </a:lnTo>
                      <a:lnTo>
                        <a:pt x="0" y="376"/>
                      </a:lnTo>
                      <a:lnTo>
                        <a:pt x="0" y="374"/>
                      </a:lnTo>
                      <a:close/>
                      <a:moveTo>
                        <a:pt x="122" y="239"/>
                      </a:moveTo>
                      <a:lnTo>
                        <a:pt x="122" y="241"/>
                      </a:lnTo>
                      <a:lnTo>
                        <a:pt x="122" y="239"/>
                      </a:lnTo>
                      <a:close/>
                      <a:moveTo>
                        <a:pt x="124" y="355"/>
                      </a:moveTo>
                      <a:lnTo>
                        <a:pt x="124" y="357"/>
                      </a:lnTo>
                      <a:lnTo>
                        <a:pt x="124" y="355"/>
                      </a:lnTo>
                      <a:close/>
                      <a:moveTo>
                        <a:pt x="185" y="143"/>
                      </a:moveTo>
                      <a:lnTo>
                        <a:pt x="185" y="145"/>
                      </a:lnTo>
                      <a:lnTo>
                        <a:pt x="185" y="143"/>
                      </a:lnTo>
                      <a:close/>
                      <a:moveTo>
                        <a:pt x="2" y="374"/>
                      </a:moveTo>
                      <a:lnTo>
                        <a:pt x="4" y="374"/>
                      </a:lnTo>
                      <a:lnTo>
                        <a:pt x="2" y="374"/>
                      </a:lnTo>
                      <a:close/>
                      <a:moveTo>
                        <a:pt x="111" y="370"/>
                      </a:moveTo>
                      <a:lnTo>
                        <a:pt x="112" y="370"/>
                      </a:lnTo>
                      <a:lnTo>
                        <a:pt x="112" y="372"/>
                      </a:lnTo>
                      <a:lnTo>
                        <a:pt x="111" y="372"/>
                      </a:lnTo>
                      <a:lnTo>
                        <a:pt x="111" y="370"/>
                      </a:lnTo>
                      <a:close/>
                      <a:moveTo>
                        <a:pt x="175" y="151"/>
                      </a:moveTo>
                      <a:lnTo>
                        <a:pt x="175" y="153"/>
                      </a:lnTo>
                      <a:lnTo>
                        <a:pt x="175" y="151"/>
                      </a:lnTo>
                      <a:close/>
                      <a:moveTo>
                        <a:pt x="126" y="349"/>
                      </a:moveTo>
                      <a:lnTo>
                        <a:pt x="126" y="351"/>
                      </a:lnTo>
                      <a:lnTo>
                        <a:pt x="126" y="349"/>
                      </a:lnTo>
                      <a:close/>
                      <a:moveTo>
                        <a:pt x="27" y="462"/>
                      </a:moveTo>
                      <a:lnTo>
                        <a:pt x="29" y="462"/>
                      </a:lnTo>
                      <a:lnTo>
                        <a:pt x="29" y="464"/>
                      </a:lnTo>
                      <a:lnTo>
                        <a:pt x="27" y="464"/>
                      </a:lnTo>
                      <a:lnTo>
                        <a:pt x="27" y="462"/>
                      </a:lnTo>
                      <a:close/>
                      <a:moveTo>
                        <a:pt x="6" y="395"/>
                      </a:moveTo>
                      <a:lnTo>
                        <a:pt x="8" y="395"/>
                      </a:lnTo>
                      <a:lnTo>
                        <a:pt x="8" y="397"/>
                      </a:lnTo>
                      <a:lnTo>
                        <a:pt x="6" y="397"/>
                      </a:lnTo>
                      <a:lnTo>
                        <a:pt x="6" y="395"/>
                      </a:lnTo>
                      <a:close/>
                      <a:moveTo>
                        <a:pt x="105" y="376"/>
                      </a:moveTo>
                      <a:lnTo>
                        <a:pt x="107" y="376"/>
                      </a:lnTo>
                      <a:lnTo>
                        <a:pt x="107" y="378"/>
                      </a:lnTo>
                      <a:lnTo>
                        <a:pt x="105" y="378"/>
                      </a:lnTo>
                      <a:lnTo>
                        <a:pt x="105" y="376"/>
                      </a:lnTo>
                      <a:close/>
                      <a:moveTo>
                        <a:pt x="92" y="397"/>
                      </a:moveTo>
                      <a:lnTo>
                        <a:pt x="93" y="397"/>
                      </a:lnTo>
                      <a:lnTo>
                        <a:pt x="93" y="399"/>
                      </a:lnTo>
                      <a:lnTo>
                        <a:pt x="92" y="399"/>
                      </a:lnTo>
                      <a:lnTo>
                        <a:pt x="92" y="397"/>
                      </a:lnTo>
                      <a:close/>
                      <a:moveTo>
                        <a:pt x="202" y="143"/>
                      </a:moveTo>
                      <a:lnTo>
                        <a:pt x="204" y="143"/>
                      </a:lnTo>
                      <a:lnTo>
                        <a:pt x="204" y="145"/>
                      </a:lnTo>
                      <a:lnTo>
                        <a:pt x="202" y="145"/>
                      </a:lnTo>
                      <a:lnTo>
                        <a:pt x="202" y="143"/>
                      </a:lnTo>
                      <a:close/>
                      <a:moveTo>
                        <a:pt x="71" y="456"/>
                      </a:moveTo>
                      <a:lnTo>
                        <a:pt x="72" y="456"/>
                      </a:lnTo>
                      <a:lnTo>
                        <a:pt x="72" y="458"/>
                      </a:lnTo>
                      <a:lnTo>
                        <a:pt x="71" y="458"/>
                      </a:lnTo>
                      <a:lnTo>
                        <a:pt x="71" y="456"/>
                      </a:lnTo>
                      <a:close/>
                      <a:moveTo>
                        <a:pt x="93" y="393"/>
                      </a:moveTo>
                      <a:lnTo>
                        <a:pt x="95" y="393"/>
                      </a:lnTo>
                      <a:lnTo>
                        <a:pt x="93" y="393"/>
                      </a:lnTo>
                      <a:close/>
                      <a:moveTo>
                        <a:pt x="122" y="357"/>
                      </a:moveTo>
                      <a:lnTo>
                        <a:pt x="124" y="357"/>
                      </a:lnTo>
                      <a:lnTo>
                        <a:pt x="124" y="359"/>
                      </a:lnTo>
                      <a:lnTo>
                        <a:pt x="122" y="359"/>
                      </a:lnTo>
                      <a:lnTo>
                        <a:pt x="122" y="357"/>
                      </a:lnTo>
                      <a:close/>
                      <a:moveTo>
                        <a:pt x="156" y="216"/>
                      </a:moveTo>
                      <a:lnTo>
                        <a:pt x="156" y="218"/>
                      </a:lnTo>
                      <a:lnTo>
                        <a:pt x="156" y="216"/>
                      </a:lnTo>
                      <a:close/>
                      <a:moveTo>
                        <a:pt x="120" y="332"/>
                      </a:moveTo>
                      <a:lnTo>
                        <a:pt x="122" y="332"/>
                      </a:lnTo>
                      <a:lnTo>
                        <a:pt x="122" y="334"/>
                      </a:lnTo>
                      <a:lnTo>
                        <a:pt x="120" y="334"/>
                      </a:lnTo>
                      <a:lnTo>
                        <a:pt x="120" y="332"/>
                      </a:lnTo>
                      <a:close/>
                      <a:moveTo>
                        <a:pt x="112" y="374"/>
                      </a:moveTo>
                      <a:lnTo>
                        <a:pt x="114" y="374"/>
                      </a:lnTo>
                      <a:lnTo>
                        <a:pt x="114" y="376"/>
                      </a:lnTo>
                      <a:lnTo>
                        <a:pt x="112" y="376"/>
                      </a:lnTo>
                      <a:lnTo>
                        <a:pt x="112" y="374"/>
                      </a:lnTo>
                      <a:close/>
                      <a:moveTo>
                        <a:pt x="99" y="306"/>
                      </a:moveTo>
                      <a:lnTo>
                        <a:pt x="99" y="307"/>
                      </a:lnTo>
                      <a:lnTo>
                        <a:pt x="99" y="306"/>
                      </a:lnTo>
                      <a:close/>
                      <a:moveTo>
                        <a:pt x="130" y="344"/>
                      </a:moveTo>
                      <a:lnTo>
                        <a:pt x="130" y="346"/>
                      </a:lnTo>
                      <a:lnTo>
                        <a:pt x="130" y="344"/>
                      </a:lnTo>
                      <a:close/>
                      <a:moveTo>
                        <a:pt x="88" y="426"/>
                      </a:moveTo>
                      <a:lnTo>
                        <a:pt x="90" y="426"/>
                      </a:lnTo>
                      <a:lnTo>
                        <a:pt x="90" y="428"/>
                      </a:lnTo>
                      <a:lnTo>
                        <a:pt x="88" y="428"/>
                      </a:lnTo>
                      <a:lnTo>
                        <a:pt x="88" y="426"/>
                      </a:lnTo>
                      <a:close/>
                      <a:moveTo>
                        <a:pt x="114" y="372"/>
                      </a:moveTo>
                      <a:lnTo>
                        <a:pt x="114" y="374"/>
                      </a:lnTo>
                      <a:lnTo>
                        <a:pt x="114" y="372"/>
                      </a:lnTo>
                      <a:close/>
                      <a:moveTo>
                        <a:pt x="185" y="145"/>
                      </a:moveTo>
                      <a:lnTo>
                        <a:pt x="187" y="145"/>
                      </a:lnTo>
                      <a:lnTo>
                        <a:pt x="187" y="147"/>
                      </a:lnTo>
                      <a:lnTo>
                        <a:pt x="185" y="147"/>
                      </a:lnTo>
                      <a:lnTo>
                        <a:pt x="185" y="145"/>
                      </a:lnTo>
                      <a:close/>
                      <a:moveTo>
                        <a:pt x="103" y="378"/>
                      </a:moveTo>
                      <a:lnTo>
                        <a:pt x="105" y="378"/>
                      </a:lnTo>
                      <a:lnTo>
                        <a:pt x="105" y="380"/>
                      </a:lnTo>
                      <a:lnTo>
                        <a:pt x="103" y="380"/>
                      </a:lnTo>
                      <a:lnTo>
                        <a:pt x="103" y="378"/>
                      </a:lnTo>
                      <a:close/>
                      <a:moveTo>
                        <a:pt x="187" y="145"/>
                      </a:moveTo>
                      <a:lnTo>
                        <a:pt x="189" y="145"/>
                      </a:lnTo>
                      <a:lnTo>
                        <a:pt x="189" y="147"/>
                      </a:lnTo>
                      <a:lnTo>
                        <a:pt x="187" y="147"/>
                      </a:lnTo>
                      <a:lnTo>
                        <a:pt x="187" y="145"/>
                      </a:lnTo>
                      <a:close/>
                      <a:moveTo>
                        <a:pt x="172" y="155"/>
                      </a:moveTo>
                      <a:lnTo>
                        <a:pt x="174" y="155"/>
                      </a:lnTo>
                      <a:lnTo>
                        <a:pt x="172" y="155"/>
                      </a:lnTo>
                      <a:close/>
                      <a:moveTo>
                        <a:pt x="10" y="411"/>
                      </a:moveTo>
                      <a:lnTo>
                        <a:pt x="11" y="411"/>
                      </a:lnTo>
                      <a:lnTo>
                        <a:pt x="10" y="411"/>
                      </a:lnTo>
                      <a:close/>
                      <a:moveTo>
                        <a:pt x="11" y="409"/>
                      </a:moveTo>
                      <a:lnTo>
                        <a:pt x="11" y="411"/>
                      </a:lnTo>
                      <a:lnTo>
                        <a:pt x="11" y="409"/>
                      </a:lnTo>
                      <a:close/>
                      <a:moveTo>
                        <a:pt x="105" y="260"/>
                      </a:moveTo>
                      <a:lnTo>
                        <a:pt x="105" y="262"/>
                      </a:lnTo>
                      <a:lnTo>
                        <a:pt x="105" y="260"/>
                      </a:lnTo>
                      <a:close/>
                      <a:moveTo>
                        <a:pt x="168" y="153"/>
                      </a:moveTo>
                      <a:lnTo>
                        <a:pt x="168" y="155"/>
                      </a:lnTo>
                      <a:lnTo>
                        <a:pt x="168" y="153"/>
                      </a:lnTo>
                      <a:close/>
                      <a:moveTo>
                        <a:pt x="116" y="359"/>
                      </a:moveTo>
                      <a:lnTo>
                        <a:pt x="118" y="359"/>
                      </a:lnTo>
                      <a:lnTo>
                        <a:pt x="116" y="359"/>
                      </a:lnTo>
                      <a:close/>
                      <a:moveTo>
                        <a:pt x="164" y="170"/>
                      </a:moveTo>
                      <a:lnTo>
                        <a:pt x="164" y="172"/>
                      </a:lnTo>
                      <a:lnTo>
                        <a:pt x="164" y="170"/>
                      </a:lnTo>
                      <a:close/>
                      <a:moveTo>
                        <a:pt x="126" y="357"/>
                      </a:moveTo>
                      <a:lnTo>
                        <a:pt x="128" y="357"/>
                      </a:lnTo>
                      <a:lnTo>
                        <a:pt x="128" y="359"/>
                      </a:lnTo>
                      <a:lnTo>
                        <a:pt x="126" y="359"/>
                      </a:lnTo>
                      <a:lnTo>
                        <a:pt x="126" y="357"/>
                      </a:lnTo>
                      <a:close/>
                      <a:moveTo>
                        <a:pt x="177" y="147"/>
                      </a:moveTo>
                      <a:lnTo>
                        <a:pt x="177" y="149"/>
                      </a:lnTo>
                      <a:lnTo>
                        <a:pt x="177" y="147"/>
                      </a:lnTo>
                      <a:close/>
                      <a:moveTo>
                        <a:pt x="2" y="378"/>
                      </a:moveTo>
                      <a:lnTo>
                        <a:pt x="4" y="378"/>
                      </a:lnTo>
                      <a:lnTo>
                        <a:pt x="2" y="378"/>
                      </a:lnTo>
                      <a:close/>
                      <a:moveTo>
                        <a:pt x="122" y="367"/>
                      </a:moveTo>
                      <a:lnTo>
                        <a:pt x="124" y="367"/>
                      </a:lnTo>
                      <a:lnTo>
                        <a:pt x="122" y="367"/>
                      </a:lnTo>
                      <a:close/>
                      <a:moveTo>
                        <a:pt x="103" y="275"/>
                      </a:moveTo>
                      <a:lnTo>
                        <a:pt x="105" y="275"/>
                      </a:lnTo>
                      <a:lnTo>
                        <a:pt x="103" y="275"/>
                      </a:lnTo>
                      <a:close/>
                      <a:moveTo>
                        <a:pt x="187" y="145"/>
                      </a:moveTo>
                      <a:lnTo>
                        <a:pt x="189" y="145"/>
                      </a:lnTo>
                      <a:lnTo>
                        <a:pt x="187" y="145"/>
                      </a:lnTo>
                      <a:close/>
                      <a:moveTo>
                        <a:pt x="130" y="346"/>
                      </a:moveTo>
                      <a:lnTo>
                        <a:pt x="132" y="346"/>
                      </a:lnTo>
                      <a:lnTo>
                        <a:pt x="132" y="348"/>
                      </a:lnTo>
                      <a:lnTo>
                        <a:pt x="130" y="348"/>
                      </a:lnTo>
                      <a:lnTo>
                        <a:pt x="130" y="346"/>
                      </a:lnTo>
                      <a:close/>
                      <a:moveTo>
                        <a:pt x="128" y="353"/>
                      </a:moveTo>
                      <a:lnTo>
                        <a:pt x="130" y="353"/>
                      </a:lnTo>
                      <a:lnTo>
                        <a:pt x="128" y="353"/>
                      </a:lnTo>
                      <a:close/>
                      <a:moveTo>
                        <a:pt x="11" y="412"/>
                      </a:moveTo>
                      <a:lnTo>
                        <a:pt x="13" y="412"/>
                      </a:lnTo>
                      <a:lnTo>
                        <a:pt x="11" y="412"/>
                      </a:lnTo>
                      <a:close/>
                      <a:moveTo>
                        <a:pt x="4" y="376"/>
                      </a:moveTo>
                      <a:lnTo>
                        <a:pt x="4" y="378"/>
                      </a:lnTo>
                      <a:lnTo>
                        <a:pt x="4" y="376"/>
                      </a:lnTo>
                      <a:close/>
                      <a:moveTo>
                        <a:pt x="168" y="162"/>
                      </a:moveTo>
                      <a:lnTo>
                        <a:pt x="170" y="162"/>
                      </a:lnTo>
                      <a:lnTo>
                        <a:pt x="170" y="164"/>
                      </a:lnTo>
                      <a:lnTo>
                        <a:pt x="168" y="164"/>
                      </a:lnTo>
                      <a:lnTo>
                        <a:pt x="168" y="162"/>
                      </a:lnTo>
                      <a:close/>
                      <a:moveTo>
                        <a:pt x="198" y="138"/>
                      </a:moveTo>
                      <a:lnTo>
                        <a:pt x="200" y="138"/>
                      </a:lnTo>
                      <a:lnTo>
                        <a:pt x="200" y="140"/>
                      </a:lnTo>
                      <a:lnTo>
                        <a:pt x="198" y="140"/>
                      </a:lnTo>
                      <a:lnTo>
                        <a:pt x="198" y="138"/>
                      </a:lnTo>
                      <a:close/>
                      <a:moveTo>
                        <a:pt x="122" y="351"/>
                      </a:moveTo>
                      <a:lnTo>
                        <a:pt x="124" y="351"/>
                      </a:lnTo>
                      <a:lnTo>
                        <a:pt x="124" y="353"/>
                      </a:lnTo>
                      <a:lnTo>
                        <a:pt x="122" y="353"/>
                      </a:lnTo>
                      <a:lnTo>
                        <a:pt x="122" y="351"/>
                      </a:lnTo>
                      <a:close/>
                      <a:moveTo>
                        <a:pt x="13" y="412"/>
                      </a:moveTo>
                      <a:lnTo>
                        <a:pt x="13" y="414"/>
                      </a:lnTo>
                      <a:lnTo>
                        <a:pt x="13" y="412"/>
                      </a:lnTo>
                      <a:close/>
                      <a:moveTo>
                        <a:pt x="101" y="302"/>
                      </a:moveTo>
                      <a:lnTo>
                        <a:pt x="101" y="304"/>
                      </a:lnTo>
                      <a:lnTo>
                        <a:pt x="101" y="302"/>
                      </a:lnTo>
                      <a:close/>
                      <a:moveTo>
                        <a:pt x="76" y="456"/>
                      </a:moveTo>
                      <a:lnTo>
                        <a:pt x="76" y="458"/>
                      </a:lnTo>
                      <a:lnTo>
                        <a:pt x="76" y="456"/>
                      </a:lnTo>
                      <a:close/>
                      <a:moveTo>
                        <a:pt x="120" y="369"/>
                      </a:moveTo>
                      <a:lnTo>
                        <a:pt x="120" y="370"/>
                      </a:lnTo>
                      <a:lnTo>
                        <a:pt x="120" y="369"/>
                      </a:lnTo>
                      <a:close/>
                      <a:moveTo>
                        <a:pt x="174" y="159"/>
                      </a:moveTo>
                      <a:lnTo>
                        <a:pt x="175" y="159"/>
                      </a:lnTo>
                      <a:lnTo>
                        <a:pt x="175" y="161"/>
                      </a:lnTo>
                      <a:lnTo>
                        <a:pt x="174" y="161"/>
                      </a:lnTo>
                      <a:lnTo>
                        <a:pt x="174" y="159"/>
                      </a:lnTo>
                      <a:close/>
                      <a:moveTo>
                        <a:pt x="124" y="349"/>
                      </a:moveTo>
                      <a:lnTo>
                        <a:pt x="126" y="349"/>
                      </a:lnTo>
                      <a:lnTo>
                        <a:pt x="124" y="349"/>
                      </a:lnTo>
                      <a:close/>
                      <a:moveTo>
                        <a:pt x="181" y="140"/>
                      </a:moveTo>
                      <a:lnTo>
                        <a:pt x="183" y="140"/>
                      </a:lnTo>
                      <a:lnTo>
                        <a:pt x="181" y="140"/>
                      </a:lnTo>
                      <a:close/>
                      <a:moveTo>
                        <a:pt x="126" y="231"/>
                      </a:moveTo>
                      <a:lnTo>
                        <a:pt x="126" y="233"/>
                      </a:lnTo>
                      <a:lnTo>
                        <a:pt x="126" y="231"/>
                      </a:lnTo>
                      <a:close/>
                      <a:moveTo>
                        <a:pt x="114" y="246"/>
                      </a:moveTo>
                      <a:lnTo>
                        <a:pt x="116" y="246"/>
                      </a:lnTo>
                      <a:lnTo>
                        <a:pt x="116" y="248"/>
                      </a:lnTo>
                      <a:lnTo>
                        <a:pt x="114" y="248"/>
                      </a:lnTo>
                      <a:lnTo>
                        <a:pt x="114" y="246"/>
                      </a:lnTo>
                      <a:close/>
                      <a:moveTo>
                        <a:pt x="105" y="283"/>
                      </a:moveTo>
                      <a:lnTo>
                        <a:pt x="105" y="285"/>
                      </a:lnTo>
                      <a:lnTo>
                        <a:pt x="105" y="283"/>
                      </a:lnTo>
                      <a:close/>
                      <a:moveTo>
                        <a:pt x="187" y="147"/>
                      </a:moveTo>
                      <a:lnTo>
                        <a:pt x="187" y="149"/>
                      </a:lnTo>
                      <a:lnTo>
                        <a:pt x="187" y="147"/>
                      </a:lnTo>
                      <a:close/>
                      <a:moveTo>
                        <a:pt x="170" y="161"/>
                      </a:moveTo>
                      <a:lnTo>
                        <a:pt x="170" y="162"/>
                      </a:lnTo>
                      <a:lnTo>
                        <a:pt x="170" y="161"/>
                      </a:lnTo>
                      <a:close/>
                      <a:moveTo>
                        <a:pt x="8" y="401"/>
                      </a:moveTo>
                      <a:lnTo>
                        <a:pt x="10" y="401"/>
                      </a:lnTo>
                      <a:lnTo>
                        <a:pt x="8" y="401"/>
                      </a:lnTo>
                      <a:close/>
                      <a:moveTo>
                        <a:pt x="187" y="147"/>
                      </a:moveTo>
                      <a:lnTo>
                        <a:pt x="187" y="149"/>
                      </a:lnTo>
                      <a:lnTo>
                        <a:pt x="187" y="147"/>
                      </a:lnTo>
                      <a:close/>
                      <a:moveTo>
                        <a:pt x="122" y="330"/>
                      </a:moveTo>
                      <a:lnTo>
                        <a:pt x="122" y="332"/>
                      </a:lnTo>
                      <a:lnTo>
                        <a:pt x="122" y="330"/>
                      </a:lnTo>
                      <a:close/>
                      <a:moveTo>
                        <a:pt x="185" y="141"/>
                      </a:moveTo>
                      <a:lnTo>
                        <a:pt x="185" y="143"/>
                      </a:lnTo>
                      <a:lnTo>
                        <a:pt x="185" y="141"/>
                      </a:lnTo>
                      <a:close/>
                      <a:moveTo>
                        <a:pt x="93" y="390"/>
                      </a:moveTo>
                      <a:lnTo>
                        <a:pt x="93" y="391"/>
                      </a:lnTo>
                      <a:lnTo>
                        <a:pt x="93" y="390"/>
                      </a:lnTo>
                      <a:close/>
                      <a:moveTo>
                        <a:pt x="175" y="151"/>
                      </a:moveTo>
                      <a:lnTo>
                        <a:pt x="177" y="151"/>
                      </a:lnTo>
                      <a:lnTo>
                        <a:pt x="175" y="151"/>
                      </a:lnTo>
                      <a:close/>
                      <a:moveTo>
                        <a:pt x="128" y="346"/>
                      </a:moveTo>
                      <a:lnTo>
                        <a:pt x="130" y="346"/>
                      </a:lnTo>
                      <a:lnTo>
                        <a:pt x="130" y="348"/>
                      </a:lnTo>
                      <a:lnTo>
                        <a:pt x="128" y="348"/>
                      </a:lnTo>
                      <a:lnTo>
                        <a:pt x="128" y="346"/>
                      </a:lnTo>
                      <a:close/>
                      <a:moveTo>
                        <a:pt x="90" y="405"/>
                      </a:moveTo>
                      <a:lnTo>
                        <a:pt x="90" y="407"/>
                      </a:lnTo>
                      <a:lnTo>
                        <a:pt x="90" y="405"/>
                      </a:lnTo>
                      <a:close/>
                      <a:moveTo>
                        <a:pt x="128" y="407"/>
                      </a:moveTo>
                      <a:lnTo>
                        <a:pt x="130" y="407"/>
                      </a:lnTo>
                      <a:lnTo>
                        <a:pt x="130" y="409"/>
                      </a:lnTo>
                      <a:lnTo>
                        <a:pt x="128" y="409"/>
                      </a:lnTo>
                      <a:lnTo>
                        <a:pt x="128" y="407"/>
                      </a:lnTo>
                      <a:close/>
                      <a:moveTo>
                        <a:pt x="101" y="287"/>
                      </a:moveTo>
                      <a:lnTo>
                        <a:pt x="103" y="287"/>
                      </a:lnTo>
                      <a:lnTo>
                        <a:pt x="101" y="287"/>
                      </a:lnTo>
                      <a:close/>
                      <a:moveTo>
                        <a:pt x="4" y="390"/>
                      </a:moveTo>
                      <a:lnTo>
                        <a:pt x="4" y="391"/>
                      </a:lnTo>
                      <a:lnTo>
                        <a:pt x="4" y="390"/>
                      </a:lnTo>
                      <a:close/>
                      <a:moveTo>
                        <a:pt x="172" y="138"/>
                      </a:moveTo>
                      <a:lnTo>
                        <a:pt x="172" y="140"/>
                      </a:lnTo>
                      <a:lnTo>
                        <a:pt x="172" y="138"/>
                      </a:lnTo>
                      <a:close/>
                      <a:moveTo>
                        <a:pt x="92" y="414"/>
                      </a:moveTo>
                      <a:lnTo>
                        <a:pt x="92" y="416"/>
                      </a:lnTo>
                      <a:lnTo>
                        <a:pt x="92" y="414"/>
                      </a:lnTo>
                      <a:close/>
                      <a:moveTo>
                        <a:pt x="114" y="369"/>
                      </a:moveTo>
                      <a:lnTo>
                        <a:pt x="114" y="370"/>
                      </a:lnTo>
                      <a:lnTo>
                        <a:pt x="114" y="369"/>
                      </a:lnTo>
                      <a:close/>
                      <a:moveTo>
                        <a:pt x="124" y="359"/>
                      </a:moveTo>
                      <a:lnTo>
                        <a:pt x="126" y="359"/>
                      </a:lnTo>
                      <a:lnTo>
                        <a:pt x="124" y="359"/>
                      </a:lnTo>
                      <a:close/>
                      <a:moveTo>
                        <a:pt x="174" y="147"/>
                      </a:moveTo>
                      <a:lnTo>
                        <a:pt x="175" y="147"/>
                      </a:lnTo>
                      <a:lnTo>
                        <a:pt x="174" y="147"/>
                      </a:lnTo>
                      <a:close/>
                      <a:moveTo>
                        <a:pt x="175" y="147"/>
                      </a:moveTo>
                      <a:lnTo>
                        <a:pt x="175" y="149"/>
                      </a:lnTo>
                      <a:lnTo>
                        <a:pt x="175" y="147"/>
                      </a:lnTo>
                      <a:close/>
                      <a:moveTo>
                        <a:pt x="109" y="243"/>
                      </a:moveTo>
                      <a:lnTo>
                        <a:pt x="111" y="243"/>
                      </a:lnTo>
                      <a:lnTo>
                        <a:pt x="111" y="245"/>
                      </a:lnTo>
                      <a:lnTo>
                        <a:pt x="109" y="245"/>
                      </a:lnTo>
                      <a:lnTo>
                        <a:pt x="109" y="243"/>
                      </a:lnTo>
                      <a:close/>
                      <a:moveTo>
                        <a:pt x="90" y="388"/>
                      </a:moveTo>
                      <a:lnTo>
                        <a:pt x="92" y="388"/>
                      </a:lnTo>
                      <a:lnTo>
                        <a:pt x="92" y="390"/>
                      </a:lnTo>
                      <a:lnTo>
                        <a:pt x="90" y="390"/>
                      </a:lnTo>
                      <a:lnTo>
                        <a:pt x="90" y="388"/>
                      </a:lnTo>
                      <a:close/>
                      <a:moveTo>
                        <a:pt x="95" y="393"/>
                      </a:moveTo>
                      <a:lnTo>
                        <a:pt x="97" y="393"/>
                      </a:lnTo>
                      <a:lnTo>
                        <a:pt x="95" y="393"/>
                      </a:lnTo>
                      <a:close/>
                      <a:moveTo>
                        <a:pt x="76" y="458"/>
                      </a:moveTo>
                      <a:lnTo>
                        <a:pt x="76" y="460"/>
                      </a:lnTo>
                      <a:lnTo>
                        <a:pt x="76" y="458"/>
                      </a:lnTo>
                      <a:close/>
                      <a:moveTo>
                        <a:pt x="6" y="393"/>
                      </a:moveTo>
                      <a:lnTo>
                        <a:pt x="8" y="393"/>
                      </a:lnTo>
                      <a:lnTo>
                        <a:pt x="8" y="395"/>
                      </a:lnTo>
                      <a:lnTo>
                        <a:pt x="6" y="395"/>
                      </a:lnTo>
                      <a:lnTo>
                        <a:pt x="6" y="393"/>
                      </a:lnTo>
                      <a:close/>
                      <a:moveTo>
                        <a:pt x="111" y="422"/>
                      </a:moveTo>
                      <a:lnTo>
                        <a:pt x="112" y="422"/>
                      </a:lnTo>
                      <a:lnTo>
                        <a:pt x="111" y="422"/>
                      </a:lnTo>
                      <a:close/>
                      <a:moveTo>
                        <a:pt x="95" y="388"/>
                      </a:moveTo>
                      <a:lnTo>
                        <a:pt x="95" y="390"/>
                      </a:lnTo>
                      <a:lnTo>
                        <a:pt x="95" y="388"/>
                      </a:lnTo>
                      <a:close/>
                      <a:moveTo>
                        <a:pt x="120" y="357"/>
                      </a:moveTo>
                      <a:lnTo>
                        <a:pt x="122" y="357"/>
                      </a:lnTo>
                      <a:lnTo>
                        <a:pt x="122" y="359"/>
                      </a:lnTo>
                      <a:lnTo>
                        <a:pt x="120" y="359"/>
                      </a:lnTo>
                      <a:lnTo>
                        <a:pt x="120" y="357"/>
                      </a:lnTo>
                      <a:close/>
                      <a:moveTo>
                        <a:pt x="208" y="136"/>
                      </a:moveTo>
                      <a:lnTo>
                        <a:pt x="210" y="136"/>
                      </a:lnTo>
                      <a:lnTo>
                        <a:pt x="210" y="138"/>
                      </a:lnTo>
                      <a:lnTo>
                        <a:pt x="208" y="138"/>
                      </a:lnTo>
                      <a:lnTo>
                        <a:pt x="208" y="136"/>
                      </a:lnTo>
                      <a:close/>
                      <a:moveTo>
                        <a:pt x="10" y="390"/>
                      </a:moveTo>
                      <a:lnTo>
                        <a:pt x="10" y="391"/>
                      </a:lnTo>
                      <a:lnTo>
                        <a:pt x="10" y="390"/>
                      </a:lnTo>
                      <a:close/>
                      <a:moveTo>
                        <a:pt x="194" y="136"/>
                      </a:moveTo>
                      <a:lnTo>
                        <a:pt x="194" y="138"/>
                      </a:lnTo>
                      <a:lnTo>
                        <a:pt x="194" y="136"/>
                      </a:lnTo>
                      <a:close/>
                      <a:moveTo>
                        <a:pt x="122" y="330"/>
                      </a:moveTo>
                      <a:lnTo>
                        <a:pt x="124" y="330"/>
                      </a:lnTo>
                      <a:lnTo>
                        <a:pt x="124" y="332"/>
                      </a:lnTo>
                      <a:lnTo>
                        <a:pt x="122" y="332"/>
                      </a:lnTo>
                      <a:lnTo>
                        <a:pt x="122" y="330"/>
                      </a:lnTo>
                      <a:close/>
                      <a:moveTo>
                        <a:pt x="124" y="229"/>
                      </a:moveTo>
                      <a:lnTo>
                        <a:pt x="124" y="231"/>
                      </a:lnTo>
                      <a:lnTo>
                        <a:pt x="124" y="229"/>
                      </a:lnTo>
                      <a:close/>
                      <a:moveTo>
                        <a:pt x="118" y="332"/>
                      </a:moveTo>
                      <a:lnTo>
                        <a:pt x="120" y="332"/>
                      </a:lnTo>
                      <a:lnTo>
                        <a:pt x="118" y="332"/>
                      </a:lnTo>
                      <a:close/>
                      <a:moveTo>
                        <a:pt x="116" y="359"/>
                      </a:moveTo>
                      <a:lnTo>
                        <a:pt x="118" y="359"/>
                      </a:lnTo>
                      <a:lnTo>
                        <a:pt x="116" y="359"/>
                      </a:lnTo>
                      <a:close/>
                      <a:moveTo>
                        <a:pt x="181" y="143"/>
                      </a:moveTo>
                      <a:lnTo>
                        <a:pt x="183" y="143"/>
                      </a:lnTo>
                      <a:lnTo>
                        <a:pt x="181" y="143"/>
                      </a:lnTo>
                      <a:close/>
                      <a:moveTo>
                        <a:pt x="122" y="365"/>
                      </a:moveTo>
                      <a:lnTo>
                        <a:pt x="122" y="367"/>
                      </a:lnTo>
                      <a:lnTo>
                        <a:pt x="122" y="365"/>
                      </a:lnTo>
                      <a:close/>
                      <a:moveTo>
                        <a:pt x="11" y="403"/>
                      </a:moveTo>
                      <a:lnTo>
                        <a:pt x="11" y="405"/>
                      </a:lnTo>
                      <a:lnTo>
                        <a:pt x="11" y="403"/>
                      </a:lnTo>
                      <a:close/>
                      <a:moveTo>
                        <a:pt x="101" y="378"/>
                      </a:moveTo>
                      <a:lnTo>
                        <a:pt x="101" y="380"/>
                      </a:lnTo>
                      <a:lnTo>
                        <a:pt x="101" y="378"/>
                      </a:lnTo>
                      <a:close/>
                      <a:moveTo>
                        <a:pt x="126" y="359"/>
                      </a:moveTo>
                      <a:lnTo>
                        <a:pt x="128" y="359"/>
                      </a:lnTo>
                      <a:lnTo>
                        <a:pt x="128" y="361"/>
                      </a:lnTo>
                      <a:lnTo>
                        <a:pt x="126" y="361"/>
                      </a:lnTo>
                      <a:lnTo>
                        <a:pt x="126" y="359"/>
                      </a:lnTo>
                      <a:close/>
                      <a:moveTo>
                        <a:pt x="93" y="393"/>
                      </a:moveTo>
                      <a:lnTo>
                        <a:pt x="95" y="393"/>
                      </a:lnTo>
                      <a:lnTo>
                        <a:pt x="93" y="393"/>
                      </a:lnTo>
                      <a:close/>
                      <a:moveTo>
                        <a:pt x="120" y="367"/>
                      </a:moveTo>
                      <a:lnTo>
                        <a:pt x="120" y="369"/>
                      </a:lnTo>
                      <a:lnTo>
                        <a:pt x="120" y="367"/>
                      </a:lnTo>
                      <a:close/>
                      <a:moveTo>
                        <a:pt x="90" y="412"/>
                      </a:moveTo>
                      <a:lnTo>
                        <a:pt x="92" y="412"/>
                      </a:lnTo>
                      <a:lnTo>
                        <a:pt x="90" y="412"/>
                      </a:lnTo>
                      <a:close/>
                      <a:moveTo>
                        <a:pt x="124" y="361"/>
                      </a:moveTo>
                      <a:lnTo>
                        <a:pt x="126" y="361"/>
                      </a:lnTo>
                      <a:lnTo>
                        <a:pt x="126" y="363"/>
                      </a:lnTo>
                      <a:lnTo>
                        <a:pt x="124" y="363"/>
                      </a:lnTo>
                      <a:lnTo>
                        <a:pt x="124" y="361"/>
                      </a:lnTo>
                      <a:close/>
                      <a:moveTo>
                        <a:pt x="122" y="357"/>
                      </a:moveTo>
                      <a:lnTo>
                        <a:pt x="124" y="357"/>
                      </a:lnTo>
                      <a:lnTo>
                        <a:pt x="122" y="357"/>
                      </a:lnTo>
                      <a:close/>
                      <a:moveTo>
                        <a:pt x="13" y="412"/>
                      </a:moveTo>
                      <a:lnTo>
                        <a:pt x="13" y="414"/>
                      </a:lnTo>
                      <a:lnTo>
                        <a:pt x="13" y="412"/>
                      </a:lnTo>
                      <a:close/>
                      <a:moveTo>
                        <a:pt x="90" y="405"/>
                      </a:moveTo>
                      <a:lnTo>
                        <a:pt x="90" y="407"/>
                      </a:lnTo>
                      <a:lnTo>
                        <a:pt x="90" y="405"/>
                      </a:lnTo>
                      <a:close/>
                      <a:moveTo>
                        <a:pt x="72" y="456"/>
                      </a:moveTo>
                      <a:lnTo>
                        <a:pt x="72" y="458"/>
                      </a:lnTo>
                      <a:lnTo>
                        <a:pt x="72" y="456"/>
                      </a:lnTo>
                      <a:close/>
                      <a:moveTo>
                        <a:pt x="191" y="141"/>
                      </a:moveTo>
                      <a:lnTo>
                        <a:pt x="191" y="143"/>
                      </a:lnTo>
                      <a:lnTo>
                        <a:pt x="191" y="141"/>
                      </a:lnTo>
                      <a:close/>
                      <a:moveTo>
                        <a:pt x="109" y="378"/>
                      </a:moveTo>
                      <a:lnTo>
                        <a:pt x="111" y="378"/>
                      </a:lnTo>
                      <a:lnTo>
                        <a:pt x="111" y="380"/>
                      </a:lnTo>
                      <a:lnTo>
                        <a:pt x="109" y="380"/>
                      </a:lnTo>
                      <a:lnTo>
                        <a:pt x="109" y="378"/>
                      </a:lnTo>
                      <a:close/>
                      <a:moveTo>
                        <a:pt x="6" y="391"/>
                      </a:moveTo>
                      <a:lnTo>
                        <a:pt x="6" y="393"/>
                      </a:lnTo>
                      <a:lnTo>
                        <a:pt x="6" y="391"/>
                      </a:lnTo>
                      <a:close/>
                      <a:moveTo>
                        <a:pt x="124" y="363"/>
                      </a:moveTo>
                      <a:lnTo>
                        <a:pt x="124" y="365"/>
                      </a:lnTo>
                      <a:lnTo>
                        <a:pt x="124" y="363"/>
                      </a:lnTo>
                      <a:close/>
                      <a:moveTo>
                        <a:pt x="92" y="403"/>
                      </a:moveTo>
                      <a:lnTo>
                        <a:pt x="93" y="403"/>
                      </a:lnTo>
                      <a:lnTo>
                        <a:pt x="92" y="403"/>
                      </a:lnTo>
                      <a:close/>
                      <a:moveTo>
                        <a:pt x="4" y="380"/>
                      </a:moveTo>
                      <a:lnTo>
                        <a:pt x="4" y="382"/>
                      </a:lnTo>
                      <a:lnTo>
                        <a:pt x="4" y="380"/>
                      </a:lnTo>
                      <a:close/>
                      <a:moveTo>
                        <a:pt x="122" y="357"/>
                      </a:moveTo>
                      <a:lnTo>
                        <a:pt x="124" y="357"/>
                      </a:lnTo>
                      <a:lnTo>
                        <a:pt x="124" y="359"/>
                      </a:lnTo>
                      <a:lnTo>
                        <a:pt x="122" y="359"/>
                      </a:lnTo>
                      <a:lnTo>
                        <a:pt x="122" y="357"/>
                      </a:lnTo>
                      <a:close/>
                      <a:moveTo>
                        <a:pt x="92" y="414"/>
                      </a:moveTo>
                      <a:lnTo>
                        <a:pt x="92" y="416"/>
                      </a:lnTo>
                      <a:lnTo>
                        <a:pt x="92" y="414"/>
                      </a:lnTo>
                      <a:close/>
                      <a:moveTo>
                        <a:pt x="118" y="363"/>
                      </a:moveTo>
                      <a:lnTo>
                        <a:pt x="118" y="365"/>
                      </a:lnTo>
                      <a:lnTo>
                        <a:pt x="118" y="363"/>
                      </a:lnTo>
                      <a:close/>
                      <a:moveTo>
                        <a:pt x="141" y="222"/>
                      </a:moveTo>
                      <a:lnTo>
                        <a:pt x="141" y="224"/>
                      </a:lnTo>
                      <a:lnTo>
                        <a:pt x="141" y="222"/>
                      </a:lnTo>
                      <a:close/>
                      <a:moveTo>
                        <a:pt x="126" y="355"/>
                      </a:moveTo>
                      <a:lnTo>
                        <a:pt x="126" y="357"/>
                      </a:lnTo>
                      <a:lnTo>
                        <a:pt x="126" y="355"/>
                      </a:lnTo>
                      <a:close/>
                      <a:moveTo>
                        <a:pt x="172" y="161"/>
                      </a:moveTo>
                      <a:lnTo>
                        <a:pt x="172" y="162"/>
                      </a:lnTo>
                      <a:lnTo>
                        <a:pt x="172" y="161"/>
                      </a:lnTo>
                      <a:close/>
                      <a:moveTo>
                        <a:pt x="198" y="136"/>
                      </a:moveTo>
                      <a:lnTo>
                        <a:pt x="198" y="138"/>
                      </a:lnTo>
                      <a:lnTo>
                        <a:pt x="198" y="136"/>
                      </a:lnTo>
                      <a:close/>
                      <a:moveTo>
                        <a:pt x="122" y="365"/>
                      </a:moveTo>
                      <a:lnTo>
                        <a:pt x="124" y="365"/>
                      </a:lnTo>
                      <a:lnTo>
                        <a:pt x="124" y="367"/>
                      </a:lnTo>
                      <a:lnTo>
                        <a:pt x="122" y="367"/>
                      </a:lnTo>
                      <a:lnTo>
                        <a:pt x="122" y="365"/>
                      </a:lnTo>
                      <a:close/>
                      <a:moveTo>
                        <a:pt x="103" y="376"/>
                      </a:moveTo>
                      <a:lnTo>
                        <a:pt x="105" y="376"/>
                      </a:lnTo>
                      <a:lnTo>
                        <a:pt x="105" y="378"/>
                      </a:lnTo>
                      <a:lnTo>
                        <a:pt x="103" y="378"/>
                      </a:lnTo>
                      <a:lnTo>
                        <a:pt x="103" y="376"/>
                      </a:lnTo>
                      <a:close/>
                      <a:moveTo>
                        <a:pt x="4" y="374"/>
                      </a:moveTo>
                      <a:lnTo>
                        <a:pt x="4" y="376"/>
                      </a:lnTo>
                      <a:lnTo>
                        <a:pt x="4" y="374"/>
                      </a:lnTo>
                      <a:close/>
                      <a:moveTo>
                        <a:pt x="124" y="367"/>
                      </a:moveTo>
                      <a:lnTo>
                        <a:pt x="124" y="369"/>
                      </a:lnTo>
                      <a:lnTo>
                        <a:pt x="124" y="367"/>
                      </a:lnTo>
                      <a:close/>
                      <a:moveTo>
                        <a:pt x="11" y="409"/>
                      </a:moveTo>
                      <a:lnTo>
                        <a:pt x="11" y="411"/>
                      </a:lnTo>
                      <a:lnTo>
                        <a:pt x="11" y="409"/>
                      </a:lnTo>
                      <a:close/>
                      <a:moveTo>
                        <a:pt x="126" y="363"/>
                      </a:moveTo>
                      <a:lnTo>
                        <a:pt x="128" y="363"/>
                      </a:lnTo>
                      <a:lnTo>
                        <a:pt x="126" y="363"/>
                      </a:lnTo>
                      <a:close/>
                      <a:moveTo>
                        <a:pt x="93" y="393"/>
                      </a:moveTo>
                      <a:lnTo>
                        <a:pt x="93" y="395"/>
                      </a:lnTo>
                      <a:lnTo>
                        <a:pt x="93" y="393"/>
                      </a:lnTo>
                      <a:close/>
                      <a:moveTo>
                        <a:pt x="92" y="405"/>
                      </a:moveTo>
                      <a:lnTo>
                        <a:pt x="92" y="407"/>
                      </a:lnTo>
                      <a:lnTo>
                        <a:pt x="92" y="405"/>
                      </a:lnTo>
                      <a:close/>
                      <a:moveTo>
                        <a:pt x="118" y="361"/>
                      </a:moveTo>
                      <a:lnTo>
                        <a:pt x="120" y="361"/>
                      </a:lnTo>
                      <a:lnTo>
                        <a:pt x="120" y="363"/>
                      </a:lnTo>
                      <a:lnTo>
                        <a:pt x="118" y="363"/>
                      </a:lnTo>
                      <a:lnTo>
                        <a:pt x="118" y="361"/>
                      </a:lnTo>
                      <a:close/>
                      <a:moveTo>
                        <a:pt x="10" y="403"/>
                      </a:moveTo>
                      <a:lnTo>
                        <a:pt x="11" y="403"/>
                      </a:lnTo>
                      <a:lnTo>
                        <a:pt x="10" y="403"/>
                      </a:lnTo>
                      <a:close/>
                      <a:moveTo>
                        <a:pt x="103" y="380"/>
                      </a:moveTo>
                      <a:lnTo>
                        <a:pt x="103" y="382"/>
                      </a:lnTo>
                      <a:lnTo>
                        <a:pt x="103" y="380"/>
                      </a:lnTo>
                      <a:close/>
                      <a:moveTo>
                        <a:pt x="120" y="369"/>
                      </a:moveTo>
                      <a:lnTo>
                        <a:pt x="120" y="370"/>
                      </a:lnTo>
                      <a:lnTo>
                        <a:pt x="120" y="369"/>
                      </a:lnTo>
                      <a:close/>
                      <a:moveTo>
                        <a:pt x="120" y="367"/>
                      </a:moveTo>
                      <a:lnTo>
                        <a:pt x="120" y="369"/>
                      </a:lnTo>
                      <a:lnTo>
                        <a:pt x="120" y="367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tx1">
                      <a:alpha val="40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3C3C3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78" name="Freeform 229">
                <a:extLst>
                  <a:ext uri="{FF2B5EF4-FFF2-40B4-BE49-F238E27FC236}">
                    <a16:creationId xmlns:a16="http://schemas.microsoft.com/office/drawing/2014/main" id="{BA6A9D29-D5F5-8F38-277C-DB87E9744D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84622" y="-2798477"/>
                <a:ext cx="9453" cy="18943"/>
              </a:xfrm>
              <a:custGeom>
                <a:avLst/>
                <a:gdLst>
                  <a:gd name="T0" fmla="*/ 2 w 6"/>
                  <a:gd name="T1" fmla="*/ 2 h 12"/>
                  <a:gd name="T2" fmla="*/ 2 w 6"/>
                  <a:gd name="T3" fmla="*/ 0 h 12"/>
                  <a:gd name="T4" fmla="*/ 4 w 6"/>
                  <a:gd name="T5" fmla="*/ 0 h 12"/>
                  <a:gd name="T6" fmla="*/ 4 w 6"/>
                  <a:gd name="T7" fmla="*/ 2 h 12"/>
                  <a:gd name="T8" fmla="*/ 4 w 6"/>
                  <a:gd name="T9" fmla="*/ 4 h 12"/>
                  <a:gd name="T10" fmla="*/ 6 w 6"/>
                  <a:gd name="T11" fmla="*/ 6 h 12"/>
                  <a:gd name="T12" fmla="*/ 6 w 6"/>
                  <a:gd name="T13" fmla="*/ 8 h 12"/>
                  <a:gd name="T14" fmla="*/ 4 w 6"/>
                  <a:gd name="T15" fmla="*/ 10 h 12"/>
                  <a:gd name="T16" fmla="*/ 4 w 6"/>
                  <a:gd name="T17" fmla="*/ 12 h 12"/>
                  <a:gd name="T18" fmla="*/ 2 w 6"/>
                  <a:gd name="T19" fmla="*/ 12 h 12"/>
                  <a:gd name="T20" fmla="*/ 2 w 6"/>
                  <a:gd name="T21" fmla="*/ 10 h 12"/>
                  <a:gd name="T22" fmla="*/ 0 w 6"/>
                  <a:gd name="T23" fmla="*/ 8 h 12"/>
                  <a:gd name="T24" fmla="*/ 2 w 6"/>
                  <a:gd name="T25" fmla="*/ 8 h 12"/>
                  <a:gd name="T26" fmla="*/ 2 w 6"/>
                  <a:gd name="T27" fmla="*/ 6 h 12"/>
                  <a:gd name="T28" fmla="*/ 2 w 6"/>
                  <a:gd name="T29" fmla="*/ 4 h 12"/>
                  <a:gd name="T30" fmla="*/ 2 w 6"/>
                  <a:gd name="T31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12">
                    <a:moveTo>
                      <a:pt x="2" y="2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9" name="Freeform 232">
                <a:extLst>
                  <a:ext uri="{FF2B5EF4-FFF2-40B4-BE49-F238E27FC236}">
                    <a16:creationId xmlns:a16="http://schemas.microsoft.com/office/drawing/2014/main" id="{4FAC1F5B-FFA3-FA52-9D38-892CBD848D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6485" y="-3087348"/>
                <a:ext cx="66174" cy="50512"/>
              </a:xfrm>
              <a:custGeom>
                <a:avLst/>
                <a:gdLst>
                  <a:gd name="T0" fmla="*/ 32 w 42"/>
                  <a:gd name="T1" fmla="*/ 4 h 32"/>
                  <a:gd name="T2" fmla="*/ 34 w 42"/>
                  <a:gd name="T3" fmla="*/ 6 h 32"/>
                  <a:gd name="T4" fmla="*/ 38 w 42"/>
                  <a:gd name="T5" fmla="*/ 8 h 32"/>
                  <a:gd name="T6" fmla="*/ 40 w 42"/>
                  <a:gd name="T7" fmla="*/ 11 h 32"/>
                  <a:gd name="T8" fmla="*/ 42 w 42"/>
                  <a:gd name="T9" fmla="*/ 15 h 32"/>
                  <a:gd name="T10" fmla="*/ 40 w 42"/>
                  <a:gd name="T11" fmla="*/ 17 h 32"/>
                  <a:gd name="T12" fmla="*/ 40 w 42"/>
                  <a:gd name="T13" fmla="*/ 21 h 32"/>
                  <a:gd name="T14" fmla="*/ 38 w 42"/>
                  <a:gd name="T15" fmla="*/ 23 h 32"/>
                  <a:gd name="T16" fmla="*/ 36 w 42"/>
                  <a:gd name="T17" fmla="*/ 27 h 32"/>
                  <a:gd name="T18" fmla="*/ 30 w 42"/>
                  <a:gd name="T19" fmla="*/ 27 h 32"/>
                  <a:gd name="T20" fmla="*/ 26 w 42"/>
                  <a:gd name="T21" fmla="*/ 27 h 32"/>
                  <a:gd name="T22" fmla="*/ 23 w 42"/>
                  <a:gd name="T23" fmla="*/ 29 h 32"/>
                  <a:gd name="T24" fmla="*/ 19 w 42"/>
                  <a:gd name="T25" fmla="*/ 31 h 32"/>
                  <a:gd name="T26" fmla="*/ 17 w 42"/>
                  <a:gd name="T27" fmla="*/ 32 h 32"/>
                  <a:gd name="T28" fmla="*/ 13 w 42"/>
                  <a:gd name="T29" fmla="*/ 32 h 32"/>
                  <a:gd name="T30" fmla="*/ 7 w 42"/>
                  <a:gd name="T31" fmla="*/ 32 h 32"/>
                  <a:gd name="T32" fmla="*/ 5 w 42"/>
                  <a:gd name="T33" fmla="*/ 32 h 32"/>
                  <a:gd name="T34" fmla="*/ 3 w 42"/>
                  <a:gd name="T35" fmla="*/ 29 h 32"/>
                  <a:gd name="T36" fmla="*/ 2 w 42"/>
                  <a:gd name="T37" fmla="*/ 27 h 32"/>
                  <a:gd name="T38" fmla="*/ 0 w 42"/>
                  <a:gd name="T39" fmla="*/ 23 h 32"/>
                  <a:gd name="T40" fmla="*/ 2 w 42"/>
                  <a:gd name="T41" fmla="*/ 21 h 32"/>
                  <a:gd name="T42" fmla="*/ 0 w 42"/>
                  <a:gd name="T43" fmla="*/ 17 h 32"/>
                  <a:gd name="T44" fmla="*/ 2 w 42"/>
                  <a:gd name="T45" fmla="*/ 15 h 32"/>
                  <a:gd name="T46" fmla="*/ 2 w 42"/>
                  <a:gd name="T47" fmla="*/ 11 h 32"/>
                  <a:gd name="T48" fmla="*/ 5 w 42"/>
                  <a:gd name="T49" fmla="*/ 10 h 32"/>
                  <a:gd name="T50" fmla="*/ 5 w 42"/>
                  <a:gd name="T51" fmla="*/ 6 h 32"/>
                  <a:gd name="T52" fmla="*/ 9 w 42"/>
                  <a:gd name="T53" fmla="*/ 6 h 32"/>
                  <a:gd name="T54" fmla="*/ 11 w 42"/>
                  <a:gd name="T55" fmla="*/ 6 h 32"/>
                  <a:gd name="T56" fmla="*/ 13 w 42"/>
                  <a:gd name="T57" fmla="*/ 6 h 32"/>
                  <a:gd name="T58" fmla="*/ 15 w 42"/>
                  <a:gd name="T59" fmla="*/ 4 h 32"/>
                  <a:gd name="T60" fmla="*/ 17 w 42"/>
                  <a:gd name="T61" fmla="*/ 2 h 32"/>
                  <a:gd name="T62" fmla="*/ 19 w 42"/>
                  <a:gd name="T63" fmla="*/ 4 h 32"/>
                  <a:gd name="T64" fmla="*/ 21 w 42"/>
                  <a:gd name="T65" fmla="*/ 2 h 32"/>
                  <a:gd name="T66" fmla="*/ 24 w 42"/>
                  <a:gd name="T67" fmla="*/ 2 h 32"/>
                  <a:gd name="T68" fmla="*/ 28 w 42"/>
                  <a:gd name="T69" fmla="*/ 2 h 32"/>
                  <a:gd name="T70" fmla="*/ 28 w 42"/>
                  <a:gd name="T71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2" h="32">
                    <a:moveTo>
                      <a:pt x="30" y="2"/>
                    </a:moveTo>
                    <a:lnTo>
                      <a:pt x="32" y="4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0" y="13"/>
                    </a:lnTo>
                    <a:lnTo>
                      <a:pt x="42" y="15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6" y="23"/>
                    </a:lnTo>
                    <a:lnTo>
                      <a:pt x="36" y="27"/>
                    </a:lnTo>
                    <a:lnTo>
                      <a:pt x="34" y="27"/>
                    </a:lnTo>
                    <a:lnTo>
                      <a:pt x="30" y="27"/>
                    </a:lnTo>
                    <a:lnTo>
                      <a:pt x="28" y="27"/>
                    </a:lnTo>
                    <a:lnTo>
                      <a:pt x="26" y="27"/>
                    </a:lnTo>
                    <a:lnTo>
                      <a:pt x="24" y="27"/>
                    </a:lnTo>
                    <a:lnTo>
                      <a:pt x="23" y="29"/>
                    </a:lnTo>
                    <a:lnTo>
                      <a:pt x="21" y="31"/>
                    </a:lnTo>
                    <a:lnTo>
                      <a:pt x="19" y="31"/>
                    </a:lnTo>
                    <a:lnTo>
                      <a:pt x="19" y="32"/>
                    </a:lnTo>
                    <a:lnTo>
                      <a:pt x="17" y="32"/>
                    </a:lnTo>
                    <a:lnTo>
                      <a:pt x="15" y="32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7" y="32"/>
                    </a:lnTo>
                    <a:lnTo>
                      <a:pt x="5" y="31"/>
                    </a:lnTo>
                    <a:lnTo>
                      <a:pt x="5" y="32"/>
                    </a:lnTo>
                    <a:lnTo>
                      <a:pt x="3" y="32"/>
                    </a:lnTo>
                    <a:lnTo>
                      <a:pt x="3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0" y="23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5" y="10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3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0" name="Freeform 233">
                <a:extLst>
                  <a:ext uri="{FF2B5EF4-FFF2-40B4-BE49-F238E27FC236}">
                    <a16:creationId xmlns:a16="http://schemas.microsoft.com/office/drawing/2014/main" id="{15931230-ECD6-AFF9-42CC-F54192D738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93880" y="-3117339"/>
                <a:ext cx="45690" cy="47357"/>
              </a:xfrm>
              <a:custGeom>
                <a:avLst/>
                <a:gdLst>
                  <a:gd name="T0" fmla="*/ 25 w 29"/>
                  <a:gd name="T1" fmla="*/ 23 h 30"/>
                  <a:gd name="T2" fmla="*/ 23 w 29"/>
                  <a:gd name="T3" fmla="*/ 21 h 30"/>
                  <a:gd name="T4" fmla="*/ 21 w 29"/>
                  <a:gd name="T5" fmla="*/ 23 h 30"/>
                  <a:gd name="T6" fmla="*/ 21 w 29"/>
                  <a:gd name="T7" fmla="*/ 27 h 30"/>
                  <a:gd name="T8" fmla="*/ 19 w 29"/>
                  <a:gd name="T9" fmla="*/ 23 h 30"/>
                  <a:gd name="T10" fmla="*/ 15 w 29"/>
                  <a:gd name="T11" fmla="*/ 25 h 30"/>
                  <a:gd name="T12" fmla="*/ 13 w 29"/>
                  <a:gd name="T13" fmla="*/ 27 h 30"/>
                  <a:gd name="T14" fmla="*/ 11 w 29"/>
                  <a:gd name="T15" fmla="*/ 30 h 30"/>
                  <a:gd name="T16" fmla="*/ 10 w 29"/>
                  <a:gd name="T17" fmla="*/ 29 h 30"/>
                  <a:gd name="T18" fmla="*/ 10 w 29"/>
                  <a:gd name="T19" fmla="*/ 25 h 30"/>
                  <a:gd name="T20" fmla="*/ 8 w 29"/>
                  <a:gd name="T21" fmla="*/ 23 h 30"/>
                  <a:gd name="T22" fmla="*/ 4 w 29"/>
                  <a:gd name="T23" fmla="*/ 21 h 30"/>
                  <a:gd name="T24" fmla="*/ 4 w 29"/>
                  <a:gd name="T25" fmla="*/ 17 h 30"/>
                  <a:gd name="T26" fmla="*/ 2 w 29"/>
                  <a:gd name="T27" fmla="*/ 13 h 30"/>
                  <a:gd name="T28" fmla="*/ 0 w 29"/>
                  <a:gd name="T29" fmla="*/ 13 h 30"/>
                  <a:gd name="T30" fmla="*/ 0 w 29"/>
                  <a:gd name="T31" fmla="*/ 11 h 30"/>
                  <a:gd name="T32" fmla="*/ 4 w 29"/>
                  <a:gd name="T33" fmla="*/ 11 h 30"/>
                  <a:gd name="T34" fmla="*/ 4 w 29"/>
                  <a:gd name="T35" fmla="*/ 10 h 30"/>
                  <a:gd name="T36" fmla="*/ 8 w 29"/>
                  <a:gd name="T37" fmla="*/ 10 h 30"/>
                  <a:gd name="T38" fmla="*/ 8 w 29"/>
                  <a:gd name="T39" fmla="*/ 8 h 30"/>
                  <a:gd name="T40" fmla="*/ 10 w 29"/>
                  <a:gd name="T41" fmla="*/ 8 h 30"/>
                  <a:gd name="T42" fmla="*/ 11 w 29"/>
                  <a:gd name="T43" fmla="*/ 6 h 30"/>
                  <a:gd name="T44" fmla="*/ 11 w 29"/>
                  <a:gd name="T45" fmla="*/ 2 h 30"/>
                  <a:gd name="T46" fmla="*/ 11 w 29"/>
                  <a:gd name="T47" fmla="*/ 2 h 30"/>
                  <a:gd name="T48" fmla="*/ 13 w 29"/>
                  <a:gd name="T49" fmla="*/ 0 h 30"/>
                  <a:gd name="T50" fmla="*/ 13 w 29"/>
                  <a:gd name="T51" fmla="*/ 2 h 30"/>
                  <a:gd name="T52" fmla="*/ 15 w 29"/>
                  <a:gd name="T53" fmla="*/ 4 h 30"/>
                  <a:gd name="T54" fmla="*/ 19 w 29"/>
                  <a:gd name="T55" fmla="*/ 4 h 30"/>
                  <a:gd name="T56" fmla="*/ 21 w 29"/>
                  <a:gd name="T57" fmla="*/ 6 h 30"/>
                  <a:gd name="T58" fmla="*/ 23 w 29"/>
                  <a:gd name="T59" fmla="*/ 10 h 30"/>
                  <a:gd name="T60" fmla="*/ 25 w 29"/>
                  <a:gd name="T61" fmla="*/ 11 h 30"/>
                  <a:gd name="T62" fmla="*/ 27 w 29"/>
                  <a:gd name="T63" fmla="*/ 13 h 30"/>
                  <a:gd name="T64" fmla="*/ 29 w 29"/>
                  <a:gd name="T65" fmla="*/ 15 h 30"/>
                  <a:gd name="T66" fmla="*/ 29 w 29"/>
                  <a:gd name="T67" fmla="*/ 17 h 30"/>
                  <a:gd name="T68" fmla="*/ 27 w 29"/>
                  <a:gd name="T69" fmla="*/ 19 h 30"/>
                  <a:gd name="T70" fmla="*/ 25 w 29"/>
                  <a:gd name="T71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" h="30">
                    <a:moveTo>
                      <a:pt x="27" y="23"/>
                    </a:moveTo>
                    <a:lnTo>
                      <a:pt x="25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19" y="25"/>
                    </a:lnTo>
                    <a:lnTo>
                      <a:pt x="19" y="23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3" y="25"/>
                    </a:lnTo>
                    <a:lnTo>
                      <a:pt x="13" y="27"/>
                    </a:lnTo>
                    <a:lnTo>
                      <a:pt x="13" y="29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1" y="8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3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9" y="17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5" y="21"/>
                    </a:lnTo>
                    <a:lnTo>
                      <a:pt x="27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1" name="Freeform 234">
                <a:extLst>
                  <a:ext uri="{FF2B5EF4-FFF2-40B4-BE49-F238E27FC236}">
                    <a16:creationId xmlns:a16="http://schemas.microsoft.com/office/drawing/2014/main" id="{4528E637-DB5B-4D32-9285-27FE896926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67092" y="-3219458"/>
                <a:ext cx="102412" cy="138912"/>
              </a:xfrm>
              <a:custGeom>
                <a:avLst/>
                <a:gdLst>
                  <a:gd name="T0" fmla="*/ 25 w 65"/>
                  <a:gd name="T1" fmla="*/ 4 h 88"/>
                  <a:gd name="T2" fmla="*/ 28 w 65"/>
                  <a:gd name="T3" fmla="*/ 8 h 88"/>
                  <a:gd name="T4" fmla="*/ 30 w 65"/>
                  <a:gd name="T5" fmla="*/ 13 h 88"/>
                  <a:gd name="T6" fmla="*/ 34 w 65"/>
                  <a:gd name="T7" fmla="*/ 21 h 88"/>
                  <a:gd name="T8" fmla="*/ 40 w 65"/>
                  <a:gd name="T9" fmla="*/ 21 h 88"/>
                  <a:gd name="T10" fmla="*/ 40 w 65"/>
                  <a:gd name="T11" fmla="*/ 27 h 88"/>
                  <a:gd name="T12" fmla="*/ 40 w 65"/>
                  <a:gd name="T13" fmla="*/ 33 h 88"/>
                  <a:gd name="T14" fmla="*/ 49 w 65"/>
                  <a:gd name="T15" fmla="*/ 34 h 88"/>
                  <a:gd name="T16" fmla="*/ 53 w 65"/>
                  <a:gd name="T17" fmla="*/ 34 h 88"/>
                  <a:gd name="T18" fmla="*/ 59 w 65"/>
                  <a:gd name="T19" fmla="*/ 36 h 88"/>
                  <a:gd name="T20" fmla="*/ 59 w 65"/>
                  <a:gd name="T21" fmla="*/ 38 h 88"/>
                  <a:gd name="T22" fmla="*/ 59 w 65"/>
                  <a:gd name="T23" fmla="*/ 42 h 88"/>
                  <a:gd name="T24" fmla="*/ 59 w 65"/>
                  <a:gd name="T25" fmla="*/ 46 h 88"/>
                  <a:gd name="T26" fmla="*/ 55 w 65"/>
                  <a:gd name="T27" fmla="*/ 52 h 88"/>
                  <a:gd name="T28" fmla="*/ 57 w 65"/>
                  <a:gd name="T29" fmla="*/ 59 h 88"/>
                  <a:gd name="T30" fmla="*/ 63 w 65"/>
                  <a:gd name="T31" fmla="*/ 63 h 88"/>
                  <a:gd name="T32" fmla="*/ 65 w 65"/>
                  <a:gd name="T33" fmla="*/ 69 h 88"/>
                  <a:gd name="T34" fmla="*/ 59 w 65"/>
                  <a:gd name="T35" fmla="*/ 75 h 88"/>
                  <a:gd name="T36" fmla="*/ 57 w 65"/>
                  <a:gd name="T37" fmla="*/ 76 h 88"/>
                  <a:gd name="T38" fmla="*/ 57 w 65"/>
                  <a:gd name="T39" fmla="*/ 84 h 88"/>
                  <a:gd name="T40" fmla="*/ 53 w 65"/>
                  <a:gd name="T41" fmla="*/ 84 h 88"/>
                  <a:gd name="T42" fmla="*/ 48 w 65"/>
                  <a:gd name="T43" fmla="*/ 86 h 88"/>
                  <a:gd name="T44" fmla="*/ 42 w 65"/>
                  <a:gd name="T45" fmla="*/ 86 h 88"/>
                  <a:gd name="T46" fmla="*/ 46 w 65"/>
                  <a:gd name="T47" fmla="*/ 82 h 88"/>
                  <a:gd name="T48" fmla="*/ 44 w 65"/>
                  <a:gd name="T49" fmla="*/ 78 h 88"/>
                  <a:gd name="T50" fmla="*/ 40 w 65"/>
                  <a:gd name="T51" fmla="*/ 75 h 88"/>
                  <a:gd name="T52" fmla="*/ 36 w 65"/>
                  <a:gd name="T53" fmla="*/ 69 h 88"/>
                  <a:gd name="T54" fmla="*/ 30 w 65"/>
                  <a:gd name="T55" fmla="*/ 67 h 88"/>
                  <a:gd name="T56" fmla="*/ 28 w 65"/>
                  <a:gd name="T57" fmla="*/ 67 h 88"/>
                  <a:gd name="T58" fmla="*/ 28 w 65"/>
                  <a:gd name="T59" fmla="*/ 71 h 88"/>
                  <a:gd name="T60" fmla="*/ 25 w 65"/>
                  <a:gd name="T61" fmla="*/ 73 h 88"/>
                  <a:gd name="T62" fmla="*/ 23 w 65"/>
                  <a:gd name="T63" fmla="*/ 73 h 88"/>
                  <a:gd name="T64" fmla="*/ 19 w 65"/>
                  <a:gd name="T65" fmla="*/ 71 h 88"/>
                  <a:gd name="T66" fmla="*/ 13 w 65"/>
                  <a:gd name="T67" fmla="*/ 67 h 88"/>
                  <a:gd name="T68" fmla="*/ 9 w 65"/>
                  <a:gd name="T69" fmla="*/ 63 h 88"/>
                  <a:gd name="T70" fmla="*/ 7 w 65"/>
                  <a:gd name="T71" fmla="*/ 57 h 88"/>
                  <a:gd name="T72" fmla="*/ 9 w 65"/>
                  <a:gd name="T73" fmla="*/ 55 h 88"/>
                  <a:gd name="T74" fmla="*/ 9 w 65"/>
                  <a:gd name="T75" fmla="*/ 50 h 88"/>
                  <a:gd name="T76" fmla="*/ 7 w 65"/>
                  <a:gd name="T77" fmla="*/ 46 h 88"/>
                  <a:gd name="T78" fmla="*/ 4 w 65"/>
                  <a:gd name="T79" fmla="*/ 42 h 88"/>
                  <a:gd name="T80" fmla="*/ 4 w 65"/>
                  <a:gd name="T81" fmla="*/ 36 h 88"/>
                  <a:gd name="T82" fmla="*/ 7 w 65"/>
                  <a:gd name="T83" fmla="*/ 31 h 88"/>
                  <a:gd name="T84" fmla="*/ 4 w 65"/>
                  <a:gd name="T85" fmla="*/ 31 h 88"/>
                  <a:gd name="T86" fmla="*/ 4 w 65"/>
                  <a:gd name="T87" fmla="*/ 27 h 88"/>
                  <a:gd name="T88" fmla="*/ 4 w 65"/>
                  <a:gd name="T89" fmla="*/ 23 h 88"/>
                  <a:gd name="T90" fmla="*/ 7 w 65"/>
                  <a:gd name="T91" fmla="*/ 23 h 88"/>
                  <a:gd name="T92" fmla="*/ 4 w 65"/>
                  <a:gd name="T93" fmla="*/ 21 h 88"/>
                  <a:gd name="T94" fmla="*/ 2 w 65"/>
                  <a:gd name="T95" fmla="*/ 15 h 88"/>
                  <a:gd name="T96" fmla="*/ 0 w 65"/>
                  <a:gd name="T97" fmla="*/ 15 h 88"/>
                  <a:gd name="T98" fmla="*/ 2 w 65"/>
                  <a:gd name="T99" fmla="*/ 13 h 88"/>
                  <a:gd name="T100" fmla="*/ 2 w 65"/>
                  <a:gd name="T101" fmla="*/ 12 h 88"/>
                  <a:gd name="T102" fmla="*/ 2 w 65"/>
                  <a:gd name="T103" fmla="*/ 10 h 88"/>
                  <a:gd name="T104" fmla="*/ 2 w 65"/>
                  <a:gd name="T105" fmla="*/ 6 h 88"/>
                  <a:gd name="T106" fmla="*/ 7 w 65"/>
                  <a:gd name="T107" fmla="*/ 4 h 88"/>
                  <a:gd name="T108" fmla="*/ 13 w 65"/>
                  <a:gd name="T109" fmla="*/ 0 h 88"/>
                  <a:gd name="T110" fmla="*/ 21 w 65"/>
                  <a:gd name="T111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5" h="88">
                    <a:moveTo>
                      <a:pt x="23" y="2"/>
                    </a:moveTo>
                    <a:lnTo>
                      <a:pt x="23" y="4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7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32" y="17"/>
                    </a:lnTo>
                    <a:lnTo>
                      <a:pt x="34" y="19"/>
                    </a:lnTo>
                    <a:lnTo>
                      <a:pt x="34" y="21"/>
                    </a:lnTo>
                    <a:lnTo>
                      <a:pt x="36" y="19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42" y="23"/>
                    </a:lnTo>
                    <a:lnTo>
                      <a:pt x="42" y="25"/>
                    </a:lnTo>
                    <a:lnTo>
                      <a:pt x="40" y="25"/>
                    </a:lnTo>
                    <a:lnTo>
                      <a:pt x="40" y="27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4" y="33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9" y="34"/>
                    </a:lnTo>
                    <a:lnTo>
                      <a:pt x="49" y="36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3" y="34"/>
                    </a:lnTo>
                    <a:lnTo>
                      <a:pt x="55" y="34"/>
                    </a:lnTo>
                    <a:lnTo>
                      <a:pt x="57" y="33"/>
                    </a:lnTo>
                    <a:lnTo>
                      <a:pt x="59" y="34"/>
                    </a:lnTo>
                    <a:lnTo>
                      <a:pt x="59" y="36"/>
                    </a:lnTo>
                    <a:lnTo>
                      <a:pt x="61" y="36"/>
                    </a:lnTo>
                    <a:lnTo>
                      <a:pt x="61" y="38"/>
                    </a:lnTo>
                    <a:lnTo>
                      <a:pt x="59" y="36"/>
                    </a:lnTo>
                    <a:lnTo>
                      <a:pt x="59" y="38"/>
                    </a:lnTo>
                    <a:lnTo>
                      <a:pt x="57" y="38"/>
                    </a:lnTo>
                    <a:lnTo>
                      <a:pt x="57" y="40"/>
                    </a:lnTo>
                    <a:lnTo>
                      <a:pt x="57" y="42"/>
                    </a:lnTo>
                    <a:lnTo>
                      <a:pt x="59" y="42"/>
                    </a:lnTo>
                    <a:lnTo>
                      <a:pt x="61" y="42"/>
                    </a:lnTo>
                    <a:lnTo>
                      <a:pt x="61" y="44"/>
                    </a:lnTo>
                    <a:lnTo>
                      <a:pt x="59" y="44"/>
                    </a:lnTo>
                    <a:lnTo>
                      <a:pt x="59" y="46"/>
                    </a:lnTo>
                    <a:lnTo>
                      <a:pt x="59" y="48"/>
                    </a:lnTo>
                    <a:lnTo>
                      <a:pt x="57" y="48"/>
                    </a:lnTo>
                    <a:lnTo>
                      <a:pt x="55" y="50"/>
                    </a:lnTo>
                    <a:lnTo>
                      <a:pt x="55" y="52"/>
                    </a:lnTo>
                    <a:lnTo>
                      <a:pt x="55" y="54"/>
                    </a:lnTo>
                    <a:lnTo>
                      <a:pt x="55" y="55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57" y="61"/>
                    </a:lnTo>
                    <a:lnTo>
                      <a:pt x="59" y="61"/>
                    </a:lnTo>
                    <a:lnTo>
                      <a:pt x="61" y="63"/>
                    </a:lnTo>
                    <a:lnTo>
                      <a:pt x="63" y="63"/>
                    </a:lnTo>
                    <a:lnTo>
                      <a:pt x="63" y="65"/>
                    </a:lnTo>
                    <a:lnTo>
                      <a:pt x="63" y="67"/>
                    </a:lnTo>
                    <a:lnTo>
                      <a:pt x="65" y="67"/>
                    </a:lnTo>
                    <a:lnTo>
                      <a:pt x="65" y="69"/>
                    </a:lnTo>
                    <a:lnTo>
                      <a:pt x="63" y="71"/>
                    </a:lnTo>
                    <a:lnTo>
                      <a:pt x="61" y="73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9" y="75"/>
                    </a:lnTo>
                    <a:lnTo>
                      <a:pt x="57" y="75"/>
                    </a:lnTo>
                    <a:lnTo>
                      <a:pt x="57" y="76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59" y="82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5" y="86"/>
                    </a:lnTo>
                    <a:lnTo>
                      <a:pt x="53" y="86"/>
                    </a:lnTo>
                    <a:lnTo>
                      <a:pt x="53" y="84"/>
                    </a:lnTo>
                    <a:lnTo>
                      <a:pt x="53" y="86"/>
                    </a:lnTo>
                    <a:lnTo>
                      <a:pt x="51" y="86"/>
                    </a:lnTo>
                    <a:lnTo>
                      <a:pt x="49" y="86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6" y="88"/>
                    </a:lnTo>
                    <a:lnTo>
                      <a:pt x="44" y="88"/>
                    </a:lnTo>
                    <a:lnTo>
                      <a:pt x="42" y="86"/>
                    </a:lnTo>
                    <a:lnTo>
                      <a:pt x="42" y="84"/>
                    </a:lnTo>
                    <a:lnTo>
                      <a:pt x="44" y="84"/>
                    </a:lnTo>
                    <a:lnTo>
                      <a:pt x="44" y="82"/>
                    </a:lnTo>
                    <a:lnTo>
                      <a:pt x="46" y="82"/>
                    </a:lnTo>
                    <a:lnTo>
                      <a:pt x="44" y="80"/>
                    </a:lnTo>
                    <a:lnTo>
                      <a:pt x="46" y="80"/>
                    </a:lnTo>
                    <a:lnTo>
                      <a:pt x="46" y="78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2" y="76"/>
                    </a:lnTo>
                    <a:lnTo>
                      <a:pt x="40" y="76"/>
                    </a:lnTo>
                    <a:lnTo>
                      <a:pt x="40" y="75"/>
                    </a:lnTo>
                    <a:lnTo>
                      <a:pt x="38" y="73"/>
                    </a:lnTo>
                    <a:lnTo>
                      <a:pt x="38" y="71"/>
                    </a:lnTo>
                    <a:lnTo>
                      <a:pt x="36" y="71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2" y="69"/>
                    </a:lnTo>
                    <a:lnTo>
                      <a:pt x="32" y="67"/>
                    </a:lnTo>
                    <a:lnTo>
                      <a:pt x="30" y="67"/>
                    </a:lnTo>
                    <a:lnTo>
                      <a:pt x="32" y="67"/>
                    </a:lnTo>
                    <a:lnTo>
                      <a:pt x="30" y="65"/>
                    </a:lnTo>
                    <a:lnTo>
                      <a:pt x="28" y="65"/>
                    </a:lnTo>
                    <a:lnTo>
                      <a:pt x="28" y="67"/>
                    </a:lnTo>
                    <a:lnTo>
                      <a:pt x="27" y="67"/>
                    </a:lnTo>
                    <a:lnTo>
                      <a:pt x="28" y="67"/>
                    </a:lnTo>
                    <a:lnTo>
                      <a:pt x="28" y="69"/>
                    </a:lnTo>
                    <a:lnTo>
                      <a:pt x="28" y="71"/>
                    </a:lnTo>
                    <a:lnTo>
                      <a:pt x="27" y="71"/>
                    </a:lnTo>
                    <a:lnTo>
                      <a:pt x="27" y="73"/>
                    </a:lnTo>
                    <a:lnTo>
                      <a:pt x="27" y="71"/>
                    </a:lnTo>
                    <a:lnTo>
                      <a:pt x="25" y="73"/>
                    </a:lnTo>
                    <a:lnTo>
                      <a:pt x="27" y="75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19" y="73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3" y="67"/>
                    </a:lnTo>
                    <a:lnTo>
                      <a:pt x="11" y="67"/>
                    </a:lnTo>
                    <a:lnTo>
                      <a:pt x="11" y="65"/>
                    </a:lnTo>
                    <a:lnTo>
                      <a:pt x="9" y="65"/>
                    </a:lnTo>
                    <a:lnTo>
                      <a:pt x="9" y="63"/>
                    </a:lnTo>
                    <a:lnTo>
                      <a:pt x="6" y="61"/>
                    </a:lnTo>
                    <a:lnTo>
                      <a:pt x="6" y="59"/>
                    </a:lnTo>
                    <a:lnTo>
                      <a:pt x="6" y="57"/>
                    </a:lnTo>
                    <a:lnTo>
                      <a:pt x="7" y="57"/>
                    </a:lnTo>
                    <a:lnTo>
                      <a:pt x="7" y="59"/>
                    </a:lnTo>
                    <a:lnTo>
                      <a:pt x="9" y="59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7" y="54"/>
                    </a:lnTo>
                    <a:lnTo>
                      <a:pt x="6" y="50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7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9" y="23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2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2" name="Freeform 235">
                <a:extLst>
                  <a:ext uri="{FF2B5EF4-FFF2-40B4-BE49-F238E27FC236}">
                    <a16:creationId xmlns:a16="http://schemas.microsoft.com/office/drawing/2014/main" id="{241785BE-4294-ACBA-22A7-0F1081F6FD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8312" y="-3186797"/>
                <a:ext cx="96110" cy="93135"/>
              </a:xfrm>
              <a:custGeom>
                <a:avLst/>
                <a:gdLst>
                  <a:gd name="T0" fmla="*/ 54 w 61"/>
                  <a:gd name="T1" fmla="*/ 8 h 59"/>
                  <a:gd name="T2" fmla="*/ 57 w 61"/>
                  <a:gd name="T3" fmla="*/ 10 h 59"/>
                  <a:gd name="T4" fmla="*/ 56 w 61"/>
                  <a:gd name="T5" fmla="*/ 15 h 59"/>
                  <a:gd name="T6" fmla="*/ 54 w 61"/>
                  <a:gd name="T7" fmla="*/ 17 h 59"/>
                  <a:gd name="T8" fmla="*/ 56 w 61"/>
                  <a:gd name="T9" fmla="*/ 21 h 59"/>
                  <a:gd name="T10" fmla="*/ 57 w 61"/>
                  <a:gd name="T11" fmla="*/ 25 h 59"/>
                  <a:gd name="T12" fmla="*/ 61 w 61"/>
                  <a:gd name="T13" fmla="*/ 29 h 59"/>
                  <a:gd name="T14" fmla="*/ 56 w 61"/>
                  <a:gd name="T15" fmla="*/ 29 h 59"/>
                  <a:gd name="T16" fmla="*/ 59 w 61"/>
                  <a:gd name="T17" fmla="*/ 36 h 59"/>
                  <a:gd name="T18" fmla="*/ 57 w 61"/>
                  <a:gd name="T19" fmla="*/ 36 h 59"/>
                  <a:gd name="T20" fmla="*/ 54 w 61"/>
                  <a:gd name="T21" fmla="*/ 38 h 59"/>
                  <a:gd name="T22" fmla="*/ 50 w 61"/>
                  <a:gd name="T23" fmla="*/ 40 h 59"/>
                  <a:gd name="T24" fmla="*/ 52 w 61"/>
                  <a:gd name="T25" fmla="*/ 42 h 59"/>
                  <a:gd name="T26" fmla="*/ 52 w 61"/>
                  <a:gd name="T27" fmla="*/ 42 h 59"/>
                  <a:gd name="T28" fmla="*/ 46 w 61"/>
                  <a:gd name="T29" fmla="*/ 44 h 59"/>
                  <a:gd name="T30" fmla="*/ 46 w 61"/>
                  <a:gd name="T31" fmla="*/ 50 h 59"/>
                  <a:gd name="T32" fmla="*/ 42 w 61"/>
                  <a:gd name="T33" fmla="*/ 54 h 59"/>
                  <a:gd name="T34" fmla="*/ 44 w 61"/>
                  <a:gd name="T35" fmla="*/ 59 h 59"/>
                  <a:gd name="T36" fmla="*/ 38 w 61"/>
                  <a:gd name="T37" fmla="*/ 57 h 59"/>
                  <a:gd name="T38" fmla="*/ 35 w 61"/>
                  <a:gd name="T39" fmla="*/ 54 h 59"/>
                  <a:gd name="T40" fmla="*/ 29 w 61"/>
                  <a:gd name="T41" fmla="*/ 52 h 59"/>
                  <a:gd name="T42" fmla="*/ 27 w 61"/>
                  <a:gd name="T43" fmla="*/ 46 h 59"/>
                  <a:gd name="T44" fmla="*/ 25 w 61"/>
                  <a:gd name="T45" fmla="*/ 40 h 59"/>
                  <a:gd name="T46" fmla="*/ 17 w 61"/>
                  <a:gd name="T47" fmla="*/ 34 h 59"/>
                  <a:gd name="T48" fmla="*/ 14 w 61"/>
                  <a:gd name="T49" fmla="*/ 29 h 59"/>
                  <a:gd name="T50" fmla="*/ 10 w 61"/>
                  <a:gd name="T51" fmla="*/ 25 h 59"/>
                  <a:gd name="T52" fmla="*/ 6 w 61"/>
                  <a:gd name="T53" fmla="*/ 19 h 59"/>
                  <a:gd name="T54" fmla="*/ 4 w 61"/>
                  <a:gd name="T55" fmla="*/ 15 h 59"/>
                  <a:gd name="T56" fmla="*/ 2 w 61"/>
                  <a:gd name="T57" fmla="*/ 12 h 59"/>
                  <a:gd name="T58" fmla="*/ 0 w 61"/>
                  <a:gd name="T59" fmla="*/ 8 h 59"/>
                  <a:gd name="T60" fmla="*/ 0 w 61"/>
                  <a:gd name="T61" fmla="*/ 2 h 59"/>
                  <a:gd name="T62" fmla="*/ 4 w 61"/>
                  <a:gd name="T63" fmla="*/ 0 h 59"/>
                  <a:gd name="T64" fmla="*/ 8 w 61"/>
                  <a:gd name="T65" fmla="*/ 6 h 59"/>
                  <a:gd name="T66" fmla="*/ 12 w 61"/>
                  <a:gd name="T67" fmla="*/ 2 h 59"/>
                  <a:gd name="T68" fmla="*/ 16 w 61"/>
                  <a:gd name="T69" fmla="*/ 2 h 59"/>
                  <a:gd name="T70" fmla="*/ 17 w 61"/>
                  <a:gd name="T71" fmla="*/ 2 h 59"/>
                  <a:gd name="T72" fmla="*/ 21 w 61"/>
                  <a:gd name="T73" fmla="*/ 0 h 59"/>
                  <a:gd name="T74" fmla="*/ 25 w 61"/>
                  <a:gd name="T75" fmla="*/ 2 h 59"/>
                  <a:gd name="T76" fmla="*/ 27 w 61"/>
                  <a:gd name="T77" fmla="*/ 2 h 59"/>
                  <a:gd name="T78" fmla="*/ 29 w 61"/>
                  <a:gd name="T79" fmla="*/ 2 h 59"/>
                  <a:gd name="T80" fmla="*/ 33 w 61"/>
                  <a:gd name="T81" fmla="*/ 6 h 59"/>
                  <a:gd name="T82" fmla="*/ 36 w 61"/>
                  <a:gd name="T83" fmla="*/ 4 h 59"/>
                  <a:gd name="T84" fmla="*/ 38 w 61"/>
                  <a:gd name="T85" fmla="*/ 4 h 59"/>
                  <a:gd name="T86" fmla="*/ 42 w 61"/>
                  <a:gd name="T87" fmla="*/ 4 h 59"/>
                  <a:gd name="T88" fmla="*/ 44 w 61"/>
                  <a:gd name="T89" fmla="*/ 4 h 59"/>
                  <a:gd name="T90" fmla="*/ 48 w 61"/>
                  <a:gd name="T91" fmla="*/ 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1" h="59">
                    <a:moveTo>
                      <a:pt x="52" y="10"/>
                    </a:moveTo>
                    <a:lnTo>
                      <a:pt x="54" y="10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7" y="8"/>
                    </a:lnTo>
                    <a:lnTo>
                      <a:pt x="57" y="10"/>
                    </a:lnTo>
                    <a:lnTo>
                      <a:pt x="57" y="12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4" y="15"/>
                    </a:lnTo>
                    <a:lnTo>
                      <a:pt x="56" y="15"/>
                    </a:lnTo>
                    <a:lnTo>
                      <a:pt x="54" y="17"/>
                    </a:lnTo>
                    <a:lnTo>
                      <a:pt x="54" y="19"/>
                    </a:lnTo>
                    <a:lnTo>
                      <a:pt x="54" y="21"/>
                    </a:lnTo>
                    <a:lnTo>
                      <a:pt x="56" y="21"/>
                    </a:lnTo>
                    <a:lnTo>
                      <a:pt x="56" y="23"/>
                    </a:lnTo>
                    <a:lnTo>
                      <a:pt x="57" y="23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59" y="29"/>
                    </a:lnTo>
                    <a:lnTo>
                      <a:pt x="57" y="29"/>
                    </a:lnTo>
                    <a:lnTo>
                      <a:pt x="56" y="29"/>
                    </a:lnTo>
                    <a:lnTo>
                      <a:pt x="57" y="33"/>
                    </a:lnTo>
                    <a:lnTo>
                      <a:pt x="59" y="34"/>
                    </a:lnTo>
                    <a:lnTo>
                      <a:pt x="59" y="36"/>
                    </a:lnTo>
                    <a:lnTo>
                      <a:pt x="59" y="38"/>
                    </a:lnTo>
                    <a:lnTo>
                      <a:pt x="57" y="38"/>
                    </a:lnTo>
                    <a:lnTo>
                      <a:pt x="57" y="36"/>
                    </a:lnTo>
                    <a:lnTo>
                      <a:pt x="56" y="36"/>
                    </a:lnTo>
                    <a:lnTo>
                      <a:pt x="56" y="38"/>
                    </a:lnTo>
                    <a:lnTo>
                      <a:pt x="54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2" y="40"/>
                    </a:lnTo>
                    <a:lnTo>
                      <a:pt x="52" y="42"/>
                    </a:lnTo>
                    <a:lnTo>
                      <a:pt x="54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46" y="44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6" y="50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2" y="54"/>
                    </a:lnTo>
                    <a:lnTo>
                      <a:pt x="44" y="55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0" y="59"/>
                    </a:lnTo>
                    <a:lnTo>
                      <a:pt x="38" y="57"/>
                    </a:lnTo>
                    <a:lnTo>
                      <a:pt x="36" y="55"/>
                    </a:lnTo>
                    <a:lnTo>
                      <a:pt x="35" y="55"/>
                    </a:lnTo>
                    <a:lnTo>
                      <a:pt x="35" y="54"/>
                    </a:lnTo>
                    <a:lnTo>
                      <a:pt x="33" y="52"/>
                    </a:lnTo>
                    <a:lnTo>
                      <a:pt x="31" y="52"/>
                    </a:lnTo>
                    <a:lnTo>
                      <a:pt x="29" y="52"/>
                    </a:lnTo>
                    <a:lnTo>
                      <a:pt x="31" y="52"/>
                    </a:lnTo>
                    <a:lnTo>
                      <a:pt x="31" y="48"/>
                    </a:lnTo>
                    <a:lnTo>
                      <a:pt x="27" y="46"/>
                    </a:lnTo>
                    <a:lnTo>
                      <a:pt x="25" y="44"/>
                    </a:lnTo>
                    <a:lnTo>
                      <a:pt x="23" y="42"/>
                    </a:lnTo>
                    <a:lnTo>
                      <a:pt x="25" y="40"/>
                    </a:lnTo>
                    <a:lnTo>
                      <a:pt x="23" y="40"/>
                    </a:lnTo>
                    <a:lnTo>
                      <a:pt x="19" y="38"/>
                    </a:lnTo>
                    <a:lnTo>
                      <a:pt x="17" y="34"/>
                    </a:lnTo>
                    <a:lnTo>
                      <a:pt x="16" y="33"/>
                    </a:lnTo>
                    <a:lnTo>
                      <a:pt x="16" y="31"/>
                    </a:lnTo>
                    <a:lnTo>
                      <a:pt x="14" y="29"/>
                    </a:lnTo>
                    <a:lnTo>
                      <a:pt x="12" y="27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4" y="15"/>
                    </a:lnTo>
                    <a:lnTo>
                      <a:pt x="4" y="13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33" y="6"/>
                    </a:lnTo>
                    <a:lnTo>
                      <a:pt x="35" y="4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8" y="6"/>
                    </a:lnTo>
                    <a:lnTo>
                      <a:pt x="48" y="8"/>
                    </a:lnTo>
                    <a:lnTo>
                      <a:pt x="50" y="10"/>
                    </a:lnTo>
                    <a:lnTo>
                      <a:pt x="52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3" name="Freeform 237">
                <a:extLst>
                  <a:ext uri="{FF2B5EF4-FFF2-40B4-BE49-F238E27FC236}">
                    <a16:creationId xmlns:a16="http://schemas.microsoft.com/office/drawing/2014/main" id="{BC952539-B85A-7C31-8258-CB38A28F56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7507" y="-3096818"/>
                <a:ext cx="9453" cy="9471"/>
              </a:xfrm>
              <a:custGeom>
                <a:avLst/>
                <a:gdLst>
                  <a:gd name="T0" fmla="*/ 6 w 6"/>
                  <a:gd name="T1" fmla="*/ 4 h 6"/>
                  <a:gd name="T2" fmla="*/ 4 w 6"/>
                  <a:gd name="T3" fmla="*/ 4 h 6"/>
                  <a:gd name="T4" fmla="*/ 2 w 6"/>
                  <a:gd name="T5" fmla="*/ 6 h 6"/>
                  <a:gd name="T6" fmla="*/ 2 w 6"/>
                  <a:gd name="T7" fmla="*/ 4 h 6"/>
                  <a:gd name="T8" fmla="*/ 0 w 6"/>
                  <a:gd name="T9" fmla="*/ 4 h 6"/>
                  <a:gd name="T10" fmla="*/ 2 w 6"/>
                  <a:gd name="T11" fmla="*/ 4 h 6"/>
                  <a:gd name="T12" fmla="*/ 2 w 6"/>
                  <a:gd name="T13" fmla="*/ 2 h 6"/>
                  <a:gd name="T14" fmla="*/ 0 w 6"/>
                  <a:gd name="T15" fmla="*/ 2 h 6"/>
                  <a:gd name="T16" fmla="*/ 2 w 6"/>
                  <a:gd name="T17" fmla="*/ 2 h 6"/>
                  <a:gd name="T18" fmla="*/ 0 w 6"/>
                  <a:gd name="T19" fmla="*/ 2 h 6"/>
                  <a:gd name="T20" fmla="*/ 2 w 6"/>
                  <a:gd name="T21" fmla="*/ 2 h 6"/>
                  <a:gd name="T22" fmla="*/ 2 w 6"/>
                  <a:gd name="T23" fmla="*/ 0 h 6"/>
                  <a:gd name="T24" fmla="*/ 4 w 6"/>
                  <a:gd name="T25" fmla="*/ 0 h 6"/>
                  <a:gd name="T26" fmla="*/ 6 w 6"/>
                  <a:gd name="T27" fmla="*/ 2 h 6"/>
                  <a:gd name="T28" fmla="*/ 6 w 6"/>
                  <a:gd name="T2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6">
                    <a:moveTo>
                      <a:pt x="6" y="4"/>
                    </a:moveTo>
                    <a:lnTo>
                      <a:pt x="4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4" name="Freeform 238">
                <a:extLst>
                  <a:ext uri="{FF2B5EF4-FFF2-40B4-BE49-F238E27FC236}">
                    <a16:creationId xmlns:a16="http://schemas.microsoft.com/office/drawing/2014/main" id="{5FB5B419-2099-B4A7-16E9-70C390D7AD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9180" y="-3259409"/>
                <a:ext cx="6302" cy="6313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4 h 4"/>
                  <a:gd name="T4" fmla="*/ 0 w 4"/>
                  <a:gd name="T5" fmla="*/ 4 h 4"/>
                  <a:gd name="T6" fmla="*/ 2 w 4"/>
                  <a:gd name="T7" fmla="*/ 4 h 4"/>
                  <a:gd name="T8" fmla="*/ 2 w 4"/>
                  <a:gd name="T9" fmla="*/ 2 h 4"/>
                  <a:gd name="T10" fmla="*/ 2 w 4"/>
                  <a:gd name="T11" fmla="*/ 0 h 4"/>
                  <a:gd name="T12" fmla="*/ 2 w 4"/>
                  <a:gd name="T13" fmla="*/ 2 h 4"/>
                  <a:gd name="T14" fmla="*/ 4 w 4"/>
                  <a:gd name="T15" fmla="*/ 2 h 4"/>
                  <a:gd name="T16" fmla="*/ 4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5" name="Freeform 239">
                <a:extLst>
                  <a:ext uri="{FF2B5EF4-FFF2-40B4-BE49-F238E27FC236}">
                    <a16:creationId xmlns:a16="http://schemas.microsoft.com/office/drawing/2014/main" id="{B4F49305-37F1-229F-4FAD-DEC566698C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6219" y="-3369909"/>
                <a:ext cx="20482" cy="26835"/>
              </a:xfrm>
              <a:custGeom>
                <a:avLst/>
                <a:gdLst>
                  <a:gd name="T0" fmla="*/ 8 w 13"/>
                  <a:gd name="T1" fmla="*/ 2 h 17"/>
                  <a:gd name="T2" fmla="*/ 6 w 13"/>
                  <a:gd name="T3" fmla="*/ 2 h 17"/>
                  <a:gd name="T4" fmla="*/ 8 w 13"/>
                  <a:gd name="T5" fmla="*/ 4 h 17"/>
                  <a:gd name="T6" fmla="*/ 8 w 13"/>
                  <a:gd name="T7" fmla="*/ 5 h 17"/>
                  <a:gd name="T8" fmla="*/ 8 w 13"/>
                  <a:gd name="T9" fmla="*/ 7 h 17"/>
                  <a:gd name="T10" fmla="*/ 10 w 13"/>
                  <a:gd name="T11" fmla="*/ 7 h 17"/>
                  <a:gd name="T12" fmla="*/ 12 w 13"/>
                  <a:gd name="T13" fmla="*/ 7 h 17"/>
                  <a:gd name="T14" fmla="*/ 12 w 13"/>
                  <a:gd name="T15" fmla="*/ 9 h 17"/>
                  <a:gd name="T16" fmla="*/ 13 w 13"/>
                  <a:gd name="T17" fmla="*/ 9 h 17"/>
                  <a:gd name="T18" fmla="*/ 13 w 13"/>
                  <a:gd name="T19" fmla="*/ 11 h 17"/>
                  <a:gd name="T20" fmla="*/ 12 w 13"/>
                  <a:gd name="T21" fmla="*/ 13 h 17"/>
                  <a:gd name="T22" fmla="*/ 12 w 13"/>
                  <a:gd name="T23" fmla="*/ 15 h 17"/>
                  <a:gd name="T24" fmla="*/ 12 w 13"/>
                  <a:gd name="T25" fmla="*/ 17 h 17"/>
                  <a:gd name="T26" fmla="*/ 10 w 13"/>
                  <a:gd name="T27" fmla="*/ 17 h 17"/>
                  <a:gd name="T28" fmla="*/ 8 w 13"/>
                  <a:gd name="T29" fmla="*/ 17 h 17"/>
                  <a:gd name="T30" fmla="*/ 6 w 13"/>
                  <a:gd name="T31" fmla="*/ 17 h 17"/>
                  <a:gd name="T32" fmla="*/ 4 w 13"/>
                  <a:gd name="T33" fmla="*/ 17 h 17"/>
                  <a:gd name="T34" fmla="*/ 2 w 13"/>
                  <a:gd name="T35" fmla="*/ 17 h 17"/>
                  <a:gd name="T36" fmla="*/ 2 w 13"/>
                  <a:gd name="T37" fmla="*/ 15 h 17"/>
                  <a:gd name="T38" fmla="*/ 2 w 13"/>
                  <a:gd name="T39" fmla="*/ 13 h 17"/>
                  <a:gd name="T40" fmla="*/ 4 w 13"/>
                  <a:gd name="T41" fmla="*/ 13 h 17"/>
                  <a:gd name="T42" fmla="*/ 2 w 13"/>
                  <a:gd name="T43" fmla="*/ 11 h 17"/>
                  <a:gd name="T44" fmla="*/ 4 w 13"/>
                  <a:gd name="T45" fmla="*/ 11 h 17"/>
                  <a:gd name="T46" fmla="*/ 2 w 13"/>
                  <a:gd name="T47" fmla="*/ 11 h 17"/>
                  <a:gd name="T48" fmla="*/ 2 w 13"/>
                  <a:gd name="T49" fmla="*/ 9 h 17"/>
                  <a:gd name="T50" fmla="*/ 0 w 13"/>
                  <a:gd name="T51" fmla="*/ 9 h 17"/>
                  <a:gd name="T52" fmla="*/ 0 w 13"/>
                  <a:gd name="T53" fmla="*/ 7 h 17"/>
                  <a:gd name="T54" fmla="*/ 2 w 13"/>
                  <a:gd name="T55" fmla="*/ 7 h 17"/>
                  <a:gd name="T56" fmla="*/ 0 w 13"/>
                  <a:gd name="T57" fmla="*/ 7 h 17"/>
                  <a:gd name="T58" fmla="*/ 2 w 13"/>
                  <a:gd name="T59" fmla="*/ 5 h 17"/>
                  <a:gd name="T60" fmla="*/ 2 w 13"/>
                  <a:gd name="T61" fmla="*/ 4 h 17"/>
                  <a:gd name="T62" fmla="*/ 2 w 13"/>
                  <a:gd name="T63" fmla="*/ 2 h 17"/>
                  <a:gd name="T64" fmla="*/ 4 w 13"/>
                  <a:gd name="T65" fmla="*/ 2 h 17"/>
                  <a:gd name="T66" fmla="*/ 4 w 13"/>
                  <a:gd name="T67" fmla="*/ 0 h 17"/>
                  <a:gd name="T68" fmla="*/ 6 w 13"/>
                  <a:gd name="T69" fmla="*/ 0 h 17"/>
                  <a:gd name="T70" fmla="*/ 8 w 13"/>
                  <a:gd name="T71" fmla="*/ 0 h 17"/>
                  <a:gd name="T72" fmla="*/ 6 w 13"/>
                  <a:gd name="T73" fmla="*/ 0 h 17"/>
                  <a:gd name="T74" fmla="*/ 8 w 13"/>
                  <a:gd name="T7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" h="17">
                    <a:moveTo>
                      <a:pt x="8" y="2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8" y="5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2" y="9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2" y="17"/>
                    </a:lnTo>
                    <a:lnTo>
                      <a:pt x="10" y="17"/>
                    </a:lnTo>
                    <a:lnTo>
                      <a:pt x="8" y="17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6" name="Freeform 240">
                <a:extLst>
                  <a:ext uri="{FF2B5EF4-FFF2-40B4-BE49-F238E27FC236}">
                    <a16:creationId xmlns:a16="http://schemas.microsoft.com/office/drawing/2014/main" id="{9AFCF827-4F7C-4383-C963-05E5485ED9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15099" y="-3349386"/>
                <a:ext cx="144954" cy="72612"/>
              </a:xfrm>
              <a:custGeom>
                <a:avLst/>
                <a:gdLst>
                  <a:gd name="T0" fmla="*/ 90 w 92"/>
                  <a:gd name="T1" fmla="*/ 15 h 46"/>
                  <a:gd name="T2" fmla="*/ 88 w 92"/>
                  <a:gd name="T3" fmla="*/ 19 h 46"/>
                  <a:gd name="T4" fmla="*/ 86 w 92"/>
                  <a:gd name="T5" fmla="*/ 25 h 46"/>
                  <a:gd name="T6" fmla="*/ 84 w 92"/>
                  <a:gd name="T7" fmla="*/ 31 h 46"/>
                  <a:gd name="T8" fmla="*/ 79 w 92"/>
                  <a:gd name="T9" fmla="*/ 32 h 46"/>
                  <a:gd name="T10" fmla="*/ 77 w 92"/>
                  <a:gd name="T11" fmla="*/ 27 h 46"/>
                  <a:gd name="T12" fmla="*/ 73 w 92"/>
                  <a:gd name="T13" fmla="*/ 27 h 46"/>
                  <a:gd name="T14" fmla="*/ 69 w 92"/>
                  <a:gd name="T15" fmla="*/ 29 h 46"/>
                  <a:gd name="T16" fmla="*/ 63 w 92"/>
                  <a:gd name="T17" fmla="*/ 25 h 46"/>
                  <a:gd name="T18" fmla="*/ 58 w 92"/>
                  <a:gd name="T19" fmla="*/ 27 h 46"/>
                  <a:gd name="T20" fmla="*/ 58 w 92"/>
                  <a:gd name="T21" fmla="*/ 31 h 46"/>
                  <a:gd name="T22" fmla="*/ 54 w 92"/>
                  <a:gd name="T23" fmla="*/ 34 h 46"/>
                  <a:gd name="T24" fmla="*/ 50 w 92"/>
                  <a:gd name="T25" fmla="*/ 36 h 46"/>
                  <a:gd name="T26" fmla="*/ 48 w 92"/>
                  <a:gd name="T27" fmla="*/ 36 h 46"/>
                  <a:gd name="T28" fmla="*/ 48 w 92"/>
                  <a:gd name="T29" fmla="*/ 34 h 46"/>
                  <a:gd name="T30" fmla="*/ 42 w 92"/>
                  <a:gd name="T31" fmla="*/ 34 h 46"/>
                  <a:gd name="T32" fmla="*/ 42 w 92"/>
                  <a:gd name="T33" fmla="*/ 36 h 46"/>
                  <a:gd name="T34" fmla="*/ 37 w 92"/>
                  <a:gd name="T35" fmla="*/ 38 h 46"/>
                  <a:gd name="T36" fmla="*/ 31 w 92"/>
                  <a:gd name="T37" fmla="*/ 40 h 46"/>
                  <a:gd name="T38" fmla="*/ 31 w 92"/>
                  <a:gd name="T39" fmla="*/ 44 h 46"/>
                  <a:gd name="T40" fmla="*/ 25 w 92"/>
                  <a:gd name="T41" fmla="*/ 46 h 46"/>
                  <a:gd name="T42" fmla="*/ 16 w 92"/>
                  <a:gd name="T43" fmla="*/ 46 h 46"/>
                  <a:gd name="T44" fmla="*/ 12 w 92"/>
                  <a:gd name="T45" fmla="*/ 42 h 46"/>
                  <a:gd name="T46" fmla="*/ 8 w 92"/>
                  <a:gd name="T47" fmla="*/ 40 h 46"/>
                  <a:gd name="T48" fmla="*/ 6 w 92"/>
                  <a:gd name="T49" fmla="*/ 40 h 46"/>
                  <a:gd name="T50" fmla="*/ 2 w 92"/>
                  <a:gd name="T51" fmla="*/ 36 h 46"/>
                  <a:gd name="T52" fmla="*/ 0 w 92"/>
                  <a:gd name="T53" fmla="*/ 32 h 46"/>
                  <a:gd name="T54" fmla="*/ 0 w 92"/>
                  <a:gd name="T55" fmla="*/ 29 h 46"/>
                  <a:gd name="T56" fmla="*/ 4 w 92"/>
                  <a:gd name="T57" fmla="*/ 21 h 46"/>
                  <a:gd name="T58" fmla="*/ 8 w 92"/>
                  <a:gd name="T59" fmla="*/ 19 h 46"/>
                  <a:gd name="T60" fmla="*/ 14 w 92"/>
                  <a:gd name="T61" fmla="*/ 19 h 46"/>
                  <a:gd name="T62" fmla="*/ 18 w 92"/>
                  <a:gd name="T63" fmla="*/ 15 h 46"/>
                  <a:gd name="T64" fmla="*/ 21 w 92"/>
                  <a:gd name="T65" fmla="*/ 13 h 46"/>
                  <a:gd name="T66" fmla="*/ 21 w 92"/>
                  <a:gd name="T67" fmla="*/ 8 h 46"/>
                  <a:gd name="T68" fmla="*/ 27 w 92"/>
                  <a:gd name="T69" fmla="*/ 6 h 46"/>
                  <a:gd name="T70" fmla="*/ 31 w 92"/>
                  <a:gd name="T71" fmla="*/ 4 h 46"/>
                  <a:gd name="T72" fmla="*/ 35 w 92"/>
                  <a:gd name="T73" fmla="*/ 4 h 46"/>
                  <a:gd name="T74" fmla="*/ 39 w 92"/>
                  <a:gd name="T75" fmla="*/ 6 h 46"/>
                  <a:gd name="T76" fmla="*/ 40 w 92"/>
                  <a:gd name="T77" fmla="*/ 2 h 46"/>
                  <a:gd name="T78" fmla="*/ 44 w 92"/>
                  <a:gd name="T79" fmla="*/ 4 h 46"/>
                  <a:gd name="T80" fmla="*/ 48 w 92"/>
                  <a:gd name="T81" fmla="*/ 6 h 46"/>
                  <a:gd name="T82" fmla="*/ 46 w 92"/>
                  <a:gd name="T83" fmla="*/ 10 h 46"/>
                  <a:gd name="T84" fmla="*/ 50 w 92"/>
                  <a:gd name="T85" fmla="*/ 10 h 46"/>
                  <a:gd name="T86" fmla="*/ 56 w 92"/>
                  <a:gd name="T87" fmla="*/ 8 h 46"/>
                  <a:gd name="T88" fmla="*/ 60 w 92"/>
                  <a:gd name="T89" fmla="*/ 6 h 46"/>
                  <a:gd name="T90" fmla="*/ 63 w 92"/>
                  <a:gd name="T91" fmla="*/ 8 h 46"/>
                  <a:gd name="T92" fmla="*/ 67 w 92"/>
                  <a:gd name="T93" fmla="*/ 6 h 46"/>
                  <a:gd name="T94" fmla="*/ 69 w 92"/>
                  <a:gd name="T95" fmla="*/ 6 h 46"/>
                  <a:gd name="T96" fmla="*/ 77 w 92"/>
                  <a:gd name="T97" fmla="*/ 4 h 46"/>
                  <a:gd name="T98" fmla="*/ 79 w 92"/>
                  <a:gd name="T99" fmla="*/ 8 h 46"/>
                  <a:gd name="T100" fmla="*/ 82 w 92"/>
                  <a:gd name="T101" fmla="*/ 8 h 46"/>
                  <a:gd name="T102" fmla="*/ 86 w 92"/>
                  <a:gd name="T103" fmla="*/ 11 h 46"/>
                  <a:gd name="T104" fmla="*/ 92 w 92"/>
                  <a:gd name="T105" fmla="*/ 1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2" h="46">
                    <a:moveTo>
                      <a:pt x="92" y="13"/>
                    </a:moveTo>
                    <a:lnTo>
                      <a:pt x="92" y="15"/>
                    </a:lnTo>
                    <a:lnTo>
                      <a:pt x="90" y="15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23"/>
                    </a:lnTo>
                    <a:lnTo>
                      <a:pt x="86" y="25"/>
                    </a:lnTo>
                    <a:lnTo>
                      <a:pt x="84" y="25"/>
                    </a:lnTo>
                    <a:lnTo>
                      <a:pt x="84" y="29"/>
                    </a:lnTo>
                    <a:lnTo>
                      <a:pt x="84" y="31"/>
                    </a:lnTo>
                    <a:lnTo>
                      <a:pt x="82" y="31"/>
                    </a:lnTo>
                    <a:lnTo>
                      <a:pt x="81" y="31"/>
                    </a:lnTo>
                    <a:lnTo>
                      <a:pt x="79" y="32"/>
                    </a:lnTo>
                    <a:lnTo>
                      <a:pt x="79" y="31"/>
                    </a:lnTo>
                    <a:lnTo>
                      <a:pt x="77" y="31"/>
                    </a:lnTo>
                    <a:lnTo>
                      <a:pt x="77" y="27"/>
                    </a:lnTo>
                    <a:lnTo>
                      <a:pt x="75" y="27"/>
                    </a:lnTo>
                    <a:lnTo>
                      <a:pt x="73" y="25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69" y="27"/>
                    </a:lnTo>
                    <a:lnTo>
                      <a:pt x="69" y="29"/>
                    </a:lnTo>
                    <a:lnTo>
                      <a:pt x="67" y="27"/>
                    </a:lnTo>
                    <a:lnTo>
                      <a:pt x="65" y="27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60" y="27"/>
                    </a:lnTo>
                    <a:lnTo>
                      <a:pt x="58" y="27"/>
                    </a:lnTo>
                    <a:lnTo>
                      <a:pt x="60" y="29"/>
                    </a:lnTo>
                    <a:lnTo>
                      <a:pt x="58" y="29"/>
                    </a:lnTo>
                    <a:lnTo>
                      <a:pt x="58" y="31"/>
                    </a:lnTo>
                    <a:lnTo>
                      <a:pt x="56" y="32"/>
                    </a:lnTo>
                    <a:lnTo>
                      <a:pt x="54" y="32"/>
                    </a:lnTo>
                    <a:lnTo>
                      <a:pt x="54" y="34"/>
                    </a:lnTo>
                    <a:lnTo>
                      <a:pt x="52" y="32"/>
                    </a:lnTo>
                    <a:lnTo>
                      <a:pt x="52" y="34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0" y="38"/>
                    </a:lnTo>
                    <a:lnTo>
                      <a:pt x="39" y="38"/>
                    </a:lnTo>
                    <a:lnTo>
                      <a:pt x="37" y="38"/>
                    </a:lnTo>
                    <a:lnTo>
                      <a:pt x="35" y="38"/>
                    </a:lnTo>
                    <a:lnTo>
                      <a:pt x="33" y="38"/>
                    </a:lnTo>
                    <a:lnTo>
                      <a:pt x="31" y="40"/>
                    </a:lnTo>
                    <a:lnTo>
                      <a:pt x="31" y="42"/>
                    </a:lnTo>
                    <a:lnTo>
                      <a:pt x="33" y="44"/>
                    </a:lnTo>
                    <a:lnTo>
                      <a:pt x="31" y="44"/>
                    </a:lnTo>
                    <a:lnTo>
                      <a:pt x="29" y="46"/>
                    </a:lnTo>
                    <a:lnTo>
                      <a:pt x="27" y="46"/>
                    </a:lnTo>
                    <a:lnTo>
                      <a:pt x="25" y="46"/>
                    </a:lnTo>
                    <a:lnTo>
                      <a:pt x="23" y="46"/>
                    </a:lnTo>
                    <a:lnTo>
                      <a:pt x="19" y="46"/>
                    </a:lnTo>
                    <a:lnTo>
                      <a:pt x="16" y="46"/>
                    </a:lnTo>
                    <a:lnTo>
                      <a:pt x="14" y="46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6" y="17"/>
                    </a:lnTo>
                    <a:lnTo>
                      <a:pt x="18" y="17"/>
                    </a:lnTo>
                    <a:lnTo>
                      <a:pt x="18" y="15"/>
                    </a:lnTo>
                    <a:lnTo>
                      <a:pt x="19" y="15"/>
                    </a:lnTo>
                    <a:lnTo>
                      <a:pt x="19" y="13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5" y="4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9" y="6"/>
                    </a:lnTo>
                    <a:lnTo>
                      <a:pt x="39" y="4"/>
                    </a:lnTo>
                    <a:lnTo>
                      <a:pt x="39" y="2"/>
                    </a:lnTo>
                    <a:lnTo>
                      <a:pt x="40" y="2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6" y="10"/>
                    </a:lnTo>
                    <a:lnTo>
                      <a:pt x="48" y="11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1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60" y="6"/>
                    </a:lnTo>
                    <a:lnTo>
                      <a:pt x="61" y="6"/>
                    </a:lnTo>
                    <a:lnTo>
                      <a:pt x="63" y="6"/>
                    </a:lnTo>
                    <a:lnTo>
                      <a:pt x="63" y="8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7" y="6"/>
                    </a:lnTo>
                    <a:lnTo>
                      <a:pt x="69" y="6"/>
                    </a:lnTo>
                    <a:lnTo>
                      <a:pt x="67" y="6"/>
                    </a:lnTo>
                    <a:lnTo>
                      <a:pt x="69" y="6"/>
                    </a:lnTo>
                    <a:lnTo>
                      <a:pt x="71" y="4"/>
                    </a:lnTo>
                    <a:lnTo>
                      <a:pt x="73" y="6"/>
                    </a:lnTo>
                    <a:lnTo>
                      <a:pt x="77" y="4"/>
                    </a:lnTo>
                    <a:lnTo>
                      <a:pt x="77" y="6"/>
                    </a:lnTo>
                    <a:lnTo>
                      <a:pt x="79" y="6"/>
                    </a:lnTo>
                    <a:lnTo>
                      <a:pt x="79" y="8"/>
                    </a:lnTo>
                    <a:lnTo>
                      <a:pt x="81" y="6"/>
                    </a:lnTo>
                    <a:lnTo>
                      <a:pt x="81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1"/>
                    </a:lnTo>
                    <a:lnTo>
                      <a:pt x="86" y="11"/>
                    </a:lnTo>
                    <a:lnTo>
                      <a:pt x="88" y="11"/>
                    </a:lnTo>
                    <a:lnTo>
                      <a:pt x="90" y="13"/>
                    </a:lnTo>
                    <a:lnTo>
                      <a:pt x="92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7" name="Freeform 241">
                <a:extLst>
                  <a:ext uri="{FF2B5EF4-FFF2-40B4-BE49-F238E27FC236}">
                    <a16:creationId xmlns:a16="http://schemas.microsoft.com/office/drawing/2014/main" id="{BD4743CE-172A-5310-D599-1BB0A93998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95355" y="-3406213"/>
                <a:ext cx="171737" cy="99451"/>
              </a:xfrm>
              <a:custGeom>
                <a:avLst/>
                <a:gdLst>
                  <a:gd name="T0" fmla="*/ 48 w 109"/>
                  <a:gd name="T1" fmla="*/ 2 h 63"/>
                  <a:gd name="T2" fmla="*/ 52 w 109"/>
                  <a:gd name="T3" fmla="*/ 2 h 63"/>
                  <a:gd name="T4" fmla="*/ 54 w 109"/>
                  <a:gd name="T5" fmla="*/ 7 h 63"/>
                  <a:gd name="T6" fmla="*/ 59 w 109"/>
                  <a:gd name="T7" fmla="*/ 7 h 63"/>
                  <a:gd name="T8" fmla="*/ 65 w 109"/>
                  <a:gd name="T9" fmla="*/ 11 h 63"/>
                  <a:gd name="T10" fmla="*/ 71 w 109"/>
                  <a:gd name="T11" fmla="*/ 13 h 63"/>
                  <a:gd name="T12" fmla="*/ 67 w 109"/>
                  <a:gd name="T13" fmla="*/ 17 h 63"/>
                  <a:gd name="T14" fmla="*/ 73 w 109"/>
                  <a:gd name="T15" fmla="*/ 21 h 63"/>
                  <a:gd name="T16" fmla="*/ 76 w 109"/>
                  <a:gd name="T17" fmla="*/ 23 h 63"/>
                  <a:gd name="T18" fmla="*/ 78 w 109"/>
                  <a:gd name="T19" fmla="*/ 21 h 63"/>
                  <a:gd name="T20" fmla="*/ 76 w 109"/>
                  <a:gd name="T21" fmla="*/ 15 h 63"/>
                  <a:gd name="T22" fmla="*/ 82 w 109"/>
                  <a:gd name="T23" fmla="*/ 17 h 63"/>
                  <a:gd name="T24" fmla="*/ 88 w 109"/>
                  <a:gd name="T25" fmla="*/ 21 h 63"/>
                  <a:gd name="T26" fmla="*/ 92 w 109"/>
                  <a:gd name="T27" fmla="*/ 21 h 63"/>
                  <a:gd name="T28" fmla="*/ 90 w 109"/>
                  <a:gd name="T29" fmla="*/ 25 h 63"/>
                  <a:gd name="T30" fmla="*/ 95 w 109"/>
                  <a:gd name="T31" fmla="*/ 27 h 63"/>
                  <a:gd name="T32" fmla="*/ 97 w 109"/>
                  <a:gd name="T33" fmla="*/ 28 h 63"/>
                  <a:gd name="T34" fmla="*/ 101 w 109"/>
                  <a:gd name="T35" fmla="*/ 28 h 63"/>
                  <a:gd name="T36" fmla="*/ 103 w 109"/>
                  <a:gd name="T37" fmla="*/ 30 h 63"/>
                  <a:gd name="T38" fmla="*/ 107 w 109"/>
                  <a:gd name="T39" fmla="*/ 34 h 63"/>
                  <a:gd name="T40" fmla="*/ 105 w 109"/>
                  <a:gd name="T41" fmla="*/ 40 h 63"/>
                  <a:gd name="T42" fmla="*/ 101 w 109"/>
                  <a:gd name="T43" fmla="*/ 44 h 63"/>
                  <a:gd name="T44" fmla="*/ 97 w 109"/>
                  <a:gd name="T45" fmla="*/ 49 h 63"/>
                  <a:gd name="T46" fmla="*/ 94 w 109"/>
                  <a:gd name="T47" fmla="*/ 53 h 63"/>
                  <a:gd name="T48" fmla="*/ 86 w 109"/>
                  <a:gd name="T49" fmla="*/ 55 h 63"/>
                  <a:gd name="T50" fmla="*/ 80 w 109"/>
                  <a:gd name="T51" fmla="*/ 57 h 63"/>
                  <a:gd name="T52" fmla="*/ 75 w 109"/>
                  <a:gd name="T53" fmla="*/ 57 h 63"/>
                  <a:gd name="T54" fmla="*/ 71 w 109"/>
                  <a:gd name="T55" fmla="*/ 57 h 63"/>
                  <a:gd name="T56" fmla="*/ 63 w 109"/>
                  <a:gd name="T57" fmla="*/ 57 h 63"/>
                  <a:gd name="T58" fmla="*/ 57 w 109"/>
                  <a:gd name="T59" fmla="*/ 55 h 63"/>
                  <a:gd name="T60" fmla="*/ 54 w 109"/>
                  <a:gd name="T61" fmla="*/ 51 h 63"/>
                  <a:gd name="T62" fmla="*/ 50 w 109"/>
                  <a:gd name="T63" fmla="*/ 51 h 63"/>
                  <a:gd name="T64" fmla="*/ 46 w 109"/>
                  <a:gd name="T65" fmla="*/ 57 h 63"/>
                  <a:gd name="T66" fmla="*/ 40 w 109"/>
                  <a:gd name="T67" fmla="*/ 61 h 63"/>
                  <a:gd name="T68" fmla="*/ 36 w 109"/>
                  <a:gd name="T69" fmla="*/ 61 h 63"/>
                  <a:gd name="T70" fmla="*/ 31 w 109"/>
                  <a:gd name="T71" fmla="*/ 59 h 63"/>
                  <a:gd name="T72" fmla="*/ 25 w 109"/>
                  <a:gd name="T73" fmla="*/ 53 h 63"/>
                  <a:gd name="T74" fmla="*/ 21 w 109"/>
                  <a:gd name="T75" fmla="*/ 51 h 63"/>
                  <a:gd name="T76" fmla="*/ 17 w 109"/>
                  <a:gd name="T77" fmla="*/ 46 h 63"/>
                  <a:gd name="T78" fmla="*/ 12 w 109"/>
                  <a:gd name="T79" fmla="*/ 44 h 63"/>
                  <a:gd name="T80" fmla="*/ 10 w 109"/>
                  <a:gd name="T81" fmla="*/ 38 h 63"/>
                  <a:gd name="T82" fmla="*/ 6 w 109"/>
                  <a:gd name="T83" fmla="*/ 34 h 63"/>
                  <a:gd name="T84" fmla="*/ 8 w 109"/>
                  <a:gd name="T85" fmla="*/ 28 h 63"/>
                  <a:gd name="T86" fmla="*/ 4 w 109"/>
                  <a:gd name="T87" fmla="*/ 25 h 63"/>
                  <a:gd name="T88" fmla="*/ 0 w 109"/>
                  <a:gd name="T89" fmla="*/ 21 h 63"/>
                  <a:gd name="T90" fmla="*/ 2 w 109"/>
                  <a:gd name="T91" fmla="*/ 21 h 63"/>
                  <a:gd name="T92" fmla="*/ 6 w 109"/>
                  <a:gd name="T93" fmla="*/ 21 h 63"/>
                  <a:gd name="T94" fmla="*/ 10 w 109"/>
                  <a:gd name="T95" fmla="*/ 17 h 63"/>
                  <a:gd name="T96" fmla="*/ 12 w 109"/>
                  <a:gd name="T97" fmla="*/ 15 h 63"/>
                  <a:gd name="T98" fmla="*/ 17 w 109"/>
                  <a:gd name="T99" fmla="*/ 13 h 63"/>
                  <a:gd name="T100" fmla="*/ 19 w 109"/>
                  <a:gd name="T101" fmla="*/ 13 h 63"/>
                  <a:gd name="T102" fmla="*/ 23 w 109"/>
                  <a:gd name="T103" fmla="*/ 9 h 63"/>
                  <a:gd name="T104" fmla="*/ 29 w 109"/>
                  <a:gd name="T105" fmla="*/ 7 h 63"/>
                  <a:gd name="T106" fmla="*/ 36 w 109"/>
                  <a:gd name="T107" fmla="*/ 6 h 63"/>
                  <a:gd name="T108" fmla="*/ 36 w 109"/>
                  <a:gd name="T109" fmla="*/ 2 h 63"/>
                  <a:gd name="T110" fmla="*/ 36 w 109"/>
                  <a:gd name="T111" fmla="*/ 2 h 63"/>
                  <a:gd name="T112" fmla="*/ 42 w 109"/>
                  <a:gd name="T113" fmla="*/ 4 h 63"/>
                  <a:gd name="T114" fmla="*/ 44 w 109"/>
                  <a:gd name="T115" fmla="*/ 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9" h="63">
                    <a:moveTo>
                      <a:pt x="44" y="6"/>
                    </a:moveTo>
                    <a:lnTo>
                      <a:pt x="48" y="6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2" y="2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4" y="7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1" y="9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7" y="9"/>
                    </a:lnTo>
                    <a:lnTo>
                      <a:pt x="69" y="11"/>
                    </a:lnTo>
                    <a:lnTo>
                      <a:pt x="71" y="13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67" y="15"/>
                    </a:lnTo>
                    <a:lnTo>
                      <a:pt x="67" y="17"/>
                    </a:lnTo>
                    <a:lnTo>
                      <a:pt x="69" y="17"/>
                    </a:lnTo>
                    <a:lnTo>
                      <a:pt x="69" y="19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6" y="23"/>
                    </a:lnTo>
                    <a:lnTo>
                      <a:pt x="76" y="21"/>
                    </a:lnTo>
                    <a:lnTo>
                      <a:pt x="78" y="21"/>
                    </a:lnTo>
                    <a:lnTo>
                      <a:pt x="80" y="21"/>
                    </a:lnTo>
                    <a:lnTo>
                      <a:pt x="78" y="21"/>
                    </a:lnTo>
                    <a:lnTo>
                      <a:pt x="78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6" y="15"/>
                    </a:lnTo>
                    <a:lnTo>
                      <a:pt x="78" y="15"/>
                    </a:lnTo>
                    <a:lnTo>
                      <a:pt x="78" y="17"/>
                    </a:lnTo>
                    <a:lnTo>
                      <a:pt x="80" y="17"/>
                    </a:lnTo>
                    <a:lnTo>
                      <a:pt x="82" y="17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6" y="21"/>
                    </a:lnTo>
                    <a:lnTo>
                      <a:pt x="88" y="21"/>
                    </a:lnTo>
                    <a:lnTo>
                      <a:pt x="90" y="19"/>
                    </a:lnTo>
                    <a:lnTo>
                      <a:pt x="92" y="19"/>
                    </a:lnTo>
                    <a:lnTo>
                      <a:pt x="90" y="21"/>
                    </a:lnTo>
                    <a:lnTo>
                      <a:pt x="92" y="21"/>
                    </a:lnTo>
                    <a:lnTo>
                      <a:pt x="92" y="23"/>
                    </a:lnTo>
                    <a:lnTo>
                      <a:pt x="90" y="23"/>
                    </a:lnTo>
                    <a:lnTo>
                      <a:pt x="88" y="23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4" y="28"/>
                    </a:lnTo>
                    <a:lnTo>
                      <a:pt x="95" y="27"/>
                    </a:lnTo>
                    <a:lnTo>
                      <a:pt x="95" y="25"/>
                    </a:lnTo>
                    <a:lnTo>
                      <a:pt x="95" y="27"/>
                    </a:lnTo>
                    <a:lnTo>
                      <a:pt x="97" y="27"/>
                    </a:lnTo>
                    <a:lnTo>
                      <a:pt x="97" y="28"/>
                    </a:lnTo>
                    <a:lnTo>
                      <a:pt x="99" y="28"/>
                    </a:lnTo>
                    <a:lnTo>
                      <a:pt x="101" y="28"/>
                    </a:lnTo>
                    <a:lnTo>
                      <a:pt x="99" y="28"/>
                    </a:lnTo>
                    <a:lnTo>
                      <a:pt x="101" y="28"/>
                    </a:lnTo>
                    <a:lnTo>
                      <a:pt x="103" y="28"/>
                    </a:lnTo>
                    <a:lnTo>
                      <a:pt x="103" y="30"/>
                    </a:lnTo>
                    <a:lnTo>
                      <a:pt x="103" y="28"/>
                    </a:lnTo>
                    <a:lnTo>
                      <a:pt x="103" y="30"/>
                    </a:lnTo>
                    <a:lnTo>
                      <a:pt x="105" y="30"/>
                    </a:lnTo>
                    <a:lnTo>
                      <a:pt x="103" y="30"/>
                    </a:lnTo>
                    <a:lnTo>
                      <a:pt x="105" y="34"/>
                    </a:lnTo>
                    <a:lnTo>
                      <a:pt x="107" y="34"/>
                    </a:lnTo>
                    <a:lnTo>
                      <a:pt x="109" y="38"/>
                    </a:lnTo>
                    <a:lnTo>
                      <a:pt x="107" y="38"/>
                    </a:lnTo>
                    <a:lnTo>
                      <a:pt x="107" y="40"/>
                    </a:lnTo>
                    <a:lnTo>
                      <a:pt x="105" y="40"/>
                    </a:lnTo>
                    <a:lnTo>
                      <a:pt x="103" y="40"/>
                    </a:lnTo>
                    <a:lnTo>
                      <a:pt x="103" y="42"/>
                    </a:lnTo>
                    <a:lnTo>
                      <a:pt x="101" y="42"/>
                    </a:lnTo>
                    <a:lnTo>
                      <a:pt x="101" y="44"/>
                    </a:lnTo>
                    <a:lnTo>
                      <a:pt x="97" y="44"/>
                    </a:lnTo>
                    <a:lnTo>
                      <a:pt x="97" y="46"/>
                    </a:lnTo>
                    <a:lnTo>
                      <a:pt x="97" y="47"/>
                    </a:lnTo>
                    <a:lnTo>
                      <a:pt x="97" y="49"/>
                    </a:lnTo>
                    <a:lnTo>
                      <a:pt x="95" y="49"/>
                    </a:lnTo>
                    <a:lnTo>
                      <a:pt x="95" y="51"/>
                    </a:lnTo>
                    <a:lnTo>
                      <a:pt x="94" y="51"/>
                    </a:lnTo>
                    <a:lnTo>
                      <a:pt x="94" y="53"/>
                    </a:lnTo>
                    <a:lnTo>
                      <a:pt x="92" y="53"/>
                    </a:lnTo>
                    <a:lnTo>
                      <a:pt x="90" y="55"/>
                    </a:lnTo>
                    <a:lnTo>
                      <a:pt x="88" y="55"/>
                    </a:lnTo>
                    <a:lnTo>
                      <a:pt x="86" y="55"/>
                    </a:lnTo>
                    <a:lnTo>
                      <a:pt x="84" y="55"/>
                    </a:lnTo>
                    <a:lnTo>
                      <a:pt x="82" y="55"/>
                    </a:lnTo>
                    <a:lnTo>
                      <a:pt x="80" y="55"/>
                    </a:lnTo>
                    <a:lnTo>
                      <a:pt x="80" y="57"/>
                    </a:lnTo>
                    <a:lnTo>
                      <a:pt x="78" y="61"/>
                    </a:lnTo>
                    <a:lnTo>
                      <a:pt x="78" y="59"/>
                    </a:lnTo>
                    <a:lnTo>
                      <a:pt x="76" y="59"/>
                    </a:lnTo>
                    <a:lnTo>
                      <a:pt x="75" y="57"/>
                    </a:lnTo>
                    <a:lnTo>
                      <a:pt x="75" y="59"/>
                    </a:lnTo>
                    <a:lnTo>
                      <a:pt x="73" y="57"/>
                    </a:lnTo>
                    <a:lnTo>
                      <a:pt x="71" y="55"/>
                    </a:lnTo>
                    <a:lnTo>
                      <a:pt x="71" y="57"/>
                    </a:lnTo>
                    <a:lnTo>
                      <a:pt x="69" y="59"/>
                    </a:lnTo>
                    <a:lnTo>
                      <a:pt x="69" y="57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63" y="55"/>
                    </a:lnTo>
                    <a:lnTo>
                      <a:pt x="61" y="55"/>
                    </a:lnTo>
                    <a:lnTo>
                      <a:pt x="59" y="55"/>
                    </a:lnTo>
                    <a:lnTo>
                      <a:pt x="57" y="55"/>
                    </a:lnTo>
                    <a:lnTo>
                      <a:pt x="57" y="53"/>
                    </a:lnTo>
                    <a:lnTo>
                      <a:pt x="55" y="53"/>
                    </a:lnTo>
                    <a:lnTo>
                      <a:pt x="54" y="53"/>
                    </a:lnTo>
                    <a:lnTo>
                      <a:pt x="54" y="51"/>
                    </a:lnTo>
                    <a:lnTo>
                      <a:pt x="52" y="51"/>
                    </a:lnTo>
                    <a:lnTo>
                      <a:pt x="52" y="53"/>
                    </a:lnTo>
                    <a:lnTo>
                      <a:pt x="50" y="53"/>
                    </a:lnTo>
                    <a:lnTo>
                      <a:pt x="50" y="51"/>
                    </a:lnTo>
                    <a:lnTo>
                      <a:pt x="48" y="51"/>
                    </a:lnTo>
                    <a:lnTo>
                      <a:pt x="46" y="51"/>
                    </a:lnTo>
                    <a:lnTo>
                      <a:pt x="48" y="53"/>
                    </a:lnTo>
                    <a:lnTo>
                      <a:pt x="46" y="57"/>
                    </a:lnTo>
                    <a:lnTo>
                      <a:pt x="44" y="57"/>
                    </a:lnTo>
                    <a:lnTo>
                      <a:pt x="42" y="59"/>
                    </a:lnTo>
                    <a:lnTo>
                      <a:pt x="42" y="61"/>
                    </a:lnTo>
                    <a:lnTo>
                      <a:pt x="40" y="61"/>
                    </a:lnTo>
                    <a:lnTo>
                      <a:pt x="38" y="61"/>
                    </a:lnTo>
                    <a:lnTo>
                      <a:pt x="36" y="61"/>
                    </a:lnTo>
                    <a:lnTo>
                      <a:pt x="36" y="63"/>
                    </a:lnTo>
                    <a:lnTo>
                      <a:pt x="36" y="61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27" y="55"/>
                    </a:lnTo>
                    <a:lnTo>
                      <a:pt x="25" y="53"/>
                    </a:lnTo>
                    <a:lnTo>
                      <a:pt x="25" y="51"/>
                    </a:lnTo>
                    <a:lnTo>
                      <a:pt x="23" y="51"/>
                    </a:lnTo>
                    <a:lnTo>
                      <a:pt x="23" y="53"/>
                    </a:lnTo>
                    <a:lnTo>
                      <a:pt x="21" y="51"/>
                    </a:lnTo>
                    <a:lnTo>
                      <a:pt x="21" y="49"/>
                    </a:lnTo>
                    <a:lnTo>
                      <a:pt x="19" y="49"/>
                    </a:lnTo>
                    <a:lnTo>
                      <a:pt x="17" y="47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0" y="42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6" y="21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2" y="17"/>
                    </a:lnTo>
                    <a:lnTo>
                      <a:pt x="12" y="15"/>
                    </a:lnTo>
                    <a:lnTo>
                      <a:pt x="12" y="17"/>
                    </a:lnTo>
                    <a:lnTo>
                      <a:pt x="12" y="15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7" y="15"/>
                    </a:lnTo>
                    <a:lnTo>
                      <a:pt x="17" y="13"/>
                    </a:lnTo>
                    <a:lnTo>
                      <a:pt x="17" y="15"/>
                    </a:lnTo>
                    <a:lnTo>
                      <a:pt x="19" y="15"/>
                    </a:lnTo>
                    <a:lnTo>
                      <a:pt x="19" y="11"/>
                    </a:lnTo>
                    <a:lnTo>
                      <a:pt x="19" y="13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3" y="9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31" y="7"/>
                    </a:lnTo>
                    <a:lnTo>
                      <a:pt x="33" y="7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4" y="7"/>
                    </a:lnTo>
                    <a:lnTo>
                      <a:pt x="4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8" name="Freeform 242">
                <a:extLst>
                  <a:ext uri="{FF2B5EF4-FFF2-40B4-BE49-F238E27FC236}">
                    <a16:creationId xmlns:a16="http://schemas.microsoft.com/office/drawing/2014/main" id="{96899BE0-6FB7-1739-D347-CFA5BC4529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32327" y="-3325708"/>
                <a:ext cx="192222" cy="99451"/>
              </a:xfrm>
              <a:custGeom>
                <a:avLst/>
                <a:gdLst>
                  <a:gd name="T0" fmla="*/ 118 w 122"/>
                  <a:gd name="T1" fmla="*/ 17 h 63"/>
                  <a:gd name="T2" fmla="*/ 120 w 122"/>
                  <a:gd name="T3" fmla="*/ 21 h 63"/>
                  <a:gd name="T4" fmla="*/ 118 w 122"/>
                  <a:gd name="T5" fmla="*/ 27 h 63"/>
                  <a:gd name="T6" fmla="*/ 116 w 122"/>
                  <a:gd name="T7" fmla="*/ 33 h 63"/>
                  <a:gd name="T8" fmla="*/ 111 w 122"/>
                  <a:gd name="T9" fmla="*/ 31 h 63"/>
                  <a:gd name="T10" fmla="*/ 115 w 122"/>
                  <a:gd name="T11" fmla="*/ 35 h 63"/>
                  <a:gd name="T12" fmla="*/ 111 w 122"/>
                  <a:gd name="T13" fmla="*/ 40 h 63"/>
                  <a:gd name="T14" fmla="*/ 111 w 122"/>
                  <a:gd name="T15" fmla="*/ 48 h 63"/>
                  <a:gd name="T16" fmla="*/ 105 w 122"/>
                  <a:gd name="T17" fmla="*/ 52 h 63"/>
                  <a:gd name="T18" fmla="*/ 101 w 122"/>
                  <a:gd name="T19" fmla="*/ 54 h 63"/>
                  <a:gd name="T20" fmla="*/ 94 w 122"/>
                  <a:gd name="T21" fmla="*/ 58 h 63"/>
                  <a:gd name="T22" fmla="*/ 86 w 122"/>
                  <a:gd name="T23" fmla="*/ 58 h 63"/>
                  <a:gd name="T24" fmla="*/ 82 w 122"/>
                  <a:gd name="T25" fmla="*/ 61 h 63"/>
                  <a:gd name="T26" fmla="*/ 76 w 122"/>
                  <a:gd name="T27" fmla="*/ 61 h 63"/>
                  <a:gd name="T28" fmla="*/ 67 w 122"/>
                  <a:gd name="T29" fmla="*/ 59 h 63"/>
                  <a:gd name="T30" fmla="*/ 61 w 122"/>
                  <a:gd name="T31" fmla="*/ 58 h 63"/>
                  <a:gd name="T32" fmla="*/ 50 w 122"/>
                  <a:gd name="T33" fmla="*/ 56 h 63"/>
                  <a:gd name="T34" fmla="*/ 44 w 122"/>
                  <a:gd name="T35" fmla="*/ 52 h 63"/>
                  <a:gd name="T36" fmla="*/ 42 w 122"/>
                  <a:gd name="T37" fmla="*/ 46 h 63"/>
                  <a:gd name="T38" fmla="*/ 34 w 122"/>
                  <a:gd name="T39" fmla="*/ 48 h 63"/>
                  <a:gd name="T40" fmla="*/ 27 w 122"/>
                  <a:gd name="T41" fmla="*/ 50 h 63"/>
                  <a:gd name="T42" fmla="*/ 19 w 122"/>
                  <a:gd name="T43" fmla="*/ 52 h 63"/>
                  <a:gd name="T44" fmla="*/ 17 w 122"/>
                  <a:gd name="T45" fmla="*/ 52 h 63"/>
                  <a:gd name="T46" fmla="*/ 12 w 122"/>
                  <a:gd name="T47" fmla="*/ 50 h 63"/>
                  <a:gd name="T48" fmla="*/ 8 w 122"/>
                  <a:gd name="T49" fmla="*/ 52 h 63"/>
                  <a:gd name="T50" fmla="*/ 2 w 122"/>
                  <a:gd name="T51" fmla="*/ 44 h 63"/>
                  <a:gd name="T52" fmla="*/ 2 w 122"/>
                  <a:gd name="T53" fmla="*/ 37 h 63"/>
                  <a:gd name="T54" fmla="*/ 6 w 122"/>
                  <a:gd name="T55" fmla="*/ 35 h 63"/>
                  <a:gd name="T56" fmla="*/ 10 w 122"/>
                  <a:gd name="T57" fmla="*/ 37 h 63"/>
                  <a:gd name="T58" fmla="*/ 12 w 122"/>
                  <a:gd name="T59" fmla="*/ 38 h 63"/>
                  <a:gd name="T60" fmla="*/ 13 w 122"/>
                  <a:gd name="T61" fmla="*/ 40 h 63"/>
                  <a:gd name="T62" fmla="*/ 15 w 122"/>
                  <a:gd name="T63" fmla="*/ 35 h 63"/>
                  <a:gd name="T64" fmla="*/ 19 w 122"/>
                  <a:gd name="T65" fmla="*/ 37 h 63"/>
                  <a:gd name="T66" fmla="*/ 23 w 122"/>
                  <a:gd name="T67" fmla="*/ 38 h 63"/>
                  <a:gd name="T68" fmla="*/ 31 w 122"/>
                  <a:gd name="T69" fmla="*/ 38 h 63"/>
                  <a:gd name="T70" fmla="*/ 34 w 122"/>
                  <a:gd name="T71" fmla="*/ 35 h 63"/>
                  <a:gd name="T72" fmla="*/ 42 w 122"/>
                  <a:gd name="T73" fmla="*/ 31 h 63"/>
                  <a:gd name="T74" fmla="*/ 46 w 122"/>
                  <a:gd name="T75" fmla="*/ 31 h 63"/>
                  <a:gd name="T76" fmla="*/ 52 w 122"/>
                  <a:gd name="T77" fmla="*/ 35 h 63"/>
                  <a:gd name="T78" fmla="*/ 57 w 122"/>
                  <a:gd name="T79" fmla="*/ 33 h 63"/>
                  <a:gd name="T80" fmla="*/ 53 w 122"/>
                  <a:gd name="T81" fmla="*/ 25 h 63"/>
                  <a:gd name="T82" fmla="*/ 55 w 122"/>
                  <a:gd name="T83" fmla="*/ 19 h 63"/>
                  <a:gd name="T84" fmla="*/ 61 w 122"/>
                  <a:gd name="T85" fmla="*/ 16 h 63"/>
                  <a:gd name="T86" fmla="*/ 69 w 122"/>
                  <a:gd name="T87" fmla="*/ 8 h 63"/>
                  <a:gd name="T88" fmla="*/ 73 w 122"/>
                  <a:gd name="T89" fmla="*/ 10 h 63"/>
                  <a:gd name="T90" fmla="*/ 80 w 122"/>
                  <a:gd name="T91" fmla="*/ 10 h 63"/>
                  <a:gd name="T92" fmla="*/ 88 w 122"/>
                  <a:gd name="T93" fmla="*/ 2 h 63"/>
                  <a:gd name="T94" fmla="*/ 92 w 122"/>
                  <a:gd name="T95" fmla="*/ 2 h 63"/>
                  <a:gd name="T96" fmla="*/ 97 w 122"/>
                  <a:gd name="T97" fmla="*/ 2 h 63"/>
                  <a:gd name="T98" fmla="*/ 103 w 122"/>
                  <a:gd name="T99" fmla="*/ 6 h 63"/>
                  <a:gd name="T100" fmla="*/ 111 w 122"/>
                  <a:gd name="T101" fmla="*/ 4 h 63"/>
                  <a:gd name="T102" fmla="*/ 118 w 122"/>
                  <a:gd name="T103" fmla="*/ 8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2" h="63">
                    <a:moveTo>
                      <a:pt x="118" y="10"/>
                    </a:moveTo>
                    <a:lnTo>
                      <a:pt x="118" y="12"/>
                    </a:lnTo>
                    <a:lnTo>
                      <a:pt x="116" y="14"/>
                    </a:lnTo>
                    <a:lnTo>
                      <a:pt x="116" y="16"/>
                    </a:lnTo>
                    <a:lnTo>
                      <a:pt x="118" y="17"/>
                    </a:lnTo>
                    <a:lnTo>
                      <a:pt x="116" y="17"/>
                    </a:lnTo>
                    <a:lnTo>
                      <a:pt x="118" y="17"/>
                    </a:lnTo>
                    <a:lnTo>
                      <a:pt x="118" y="19"/>
                    </a:lnTo>
                    <a:lnTo>
                      <a:pt x="118" y="21"/>
                    </a:lnTo>
                    <a:lnTo>
                      <a:pt x="120" y="21"/>
                    </a:lnTo>
                    <a:lnTo>
                      <a:pt x="120" y="23"/>
                    </a:lnTo>
                    <a:lnTo>
                      <a:pt x="122" y="25"/>
                    </a:lnTo>
                    <a:lnTo>
                      <a:pt x="120" y="25"/>
                    </a:lnTo>
                    <a:lnTo>
                      <a:pt x="120" y="27"/>
                    </a:lnTo>
                    <a:lnTo>
                      <a:pt x="118" y="27"/>
                    </a:lnTo>
                    <a:lnTo>
                      <a:pt x="120" y="29"/>
                    </a:lnTo>
                    <a:lnTo>
                      <a:pt x="120" y="31"/>
                    </a:lnTo>
                    <a:lnTo>
                      <a:pt x="116" y="33"/>
                    </a:lnTo>
                    <a:lnTo>
                      <a:pt x="116" y="31"/>
                    </a:lnTo>
                    <a:lnTo>
                      <a:pt x="116" y="33"/>
                    </a:lnTo>
                    <a:lnTo>
                      <a:pt x="115" y="33"/>
                    </a:lnTo>
                    <a:lnTo>
                      <a:pt x="115" y="31"/>
                    </a:lnTo>
                    <a:lnTo>
                      <a:pt x="113" y="31"/>
                    </a:lnTo>
                    <a:lnTo>
                      <a:pt x="111" y="33"/>
                    </a:lnTo>
                    <a:lnTo>
                      <a:pt x="111" y="31"/>
                    </a:lnTo>
                    <a:lnTo>
                      <a:pt x="109" y="33"/>
                    </a:lnTo>
                    <a:lnTo>
                      <a:pt x="113" y="33"/>
                    </a:lnTo>
                    <a:lnTo>
                      <a:pt x="115" y="35"/>
                    </a:lnTo>
                    <a:lnTo>
                      <a:pt x="113" y="35"/>
                    </a:lnTo>
                    <a:lnTo>
                      <a:pt x="115" y="35"/>
                    </a:lnTo>
                    <a:lnTo>
                      <a:pt x="115" y="37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1" y="38"/>
                    </a:lnTo>
                    <a:lnTo>
                      <a:pt x="111" y="40"/>
                    </a:lnTo>
                    <a:lnTo>
                      <a:pt x="111" y="42"/>
                    </a:lnTo>
                    <a:lnTo>
                      <a:pt x="109" y="44"/>
                    </a:lnTo>
                    <a:lnTo>
                      <a:pt x="111" y="44"/>
                    </a:lnTo>
                    <a:lnTo>
                      <a:pt x="111" y="46"/>
                    </a:lnTo>
                    <a:lnTo>
                      <a:pt x="111" y="48"/>
                    </a:lnTo>
                    <a:lnTo>
                      <a:pt x="109" y="48"/>
                    </a:lnTo>
                    <a:lnTo>
                      <a:pt x="107" y="48"/>
                    </a:lnTo>
                    <a:lnTo>
                      <a:pt x="107" y="50"/>
                    </a:lnTo>
                    <a:lnTo>
                      <a:pt x="105" y="50"/>
                    </a:lnTo>
                    <a:lnTo>
                      <a:pt x="105" y="52"/>
                    </a:lnTo>
                    <a:lnTo>
                      <a:pt x="103" y="52"/>
                    </a:lnTo>
                    <a:lnTo>
                      <a:pt x="103" y="54"/>
                    </a:lnTo>
                    <a:lnTo>
                      <a:pt x="103" y="56"/>
                    </a:lnTo>
                    <a:lnTo>
                      <a:pt x="101" y="56"/>
                    </a:lnTo>
                    <a:lnTo>
                      <a:pt x="101" y="54"/>
                    </a:lnTo>
                    <a:lnTo>
                      <a:pt x="99" y="56"/>
                    </a:lnTo>
                    <a:lnTo>
                      <a:pt x="97" y="56"/>
                    </a:lnTo>
                    <a:lnTo>
                      <a:pt x="95" y="56"/>
                    </a:lnTo>
                    <a:lnTo>
                      <a:pt x="95" y="58"/>
                    </a:lnTo>
                    <a:lnTo>
                      <a:pt x="94" y="58"/>
                    </a:lnTo>
                    <a:lnTo>
                      <a:pt x="94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88" y="56"/>
                    </a:lnTo>
                    <a:lnTo>
                      <a:pt x="86" y="58"/>
                    </a:lnTo>
                    <a:lnTo>
                      <a:pt x="86" y="56"/>
                    </a:lnTo>
                    <a:lnTo>
                      <a:pt x="86" y="58"/>
                    </a:lnTo>
                    <a:lnTo>
                      <a:pt x="84" y="59"/>
                    </a:lnTo>
                    <a:lnTo>
                      <a:pt x="82" y="59"/>
                    </a:lnTo>
                    <a:lnTo>
                      <a:pt x="82" y="61"/>
                    </a:lnTo>
                    <a:lnTo>
                      <a:pt x="80" y="61"/>
                    </a:lnTo>
                    <a:lnTo>
                      <a:pt x="80" y="63"/>
                    </a:lnTo>
                    <a:lnTo>
                      <a:pt x="80" y="61"/>
                    </a:lnTo>
                    <a:lnTo>
                      <a:pt x="78" y="61"/>
                    </a:lnTo>
                    <a:lnTo>
                      <a:pt x="76" y="61"/>
                    </a:lnTo>
                    <a:lnTo>
                      <a:pt x="74" y="61"/>
                    </a:lnTo>
                    <a:lnTo>
                      <a:pt x="73" y="59"/>
                    </a:lnTo>
                    <a:lnTo>
                      <a:pt x="71" y="59"/>
                    </a:lnTo>
                    <a:lnTo>
                      <a:pt x="69" y="59"/>
                    </a:lnTo>
                    <a:lnTo>
                      <a:pt x="67" y="59"/>
                    </a:lnTo>
                    <a:lnTo>
                      <a:pt x="65" y="59"/>
                    </a:lnTo>
                    <a:lnTo>
                      <a:pt x="65" y="58"/>
                    </a:lnTo>
                    <a:lnTo>
                      <a:pt x="63" y="59"/>
                    </a:lnTo>
                    <a:lnTo>
                      <a:pt x="63" y="58"/>
                    </a:lnTo>
                    <a:lnTo>
                      <a:pt x="61" y="58"/>
                    </a:lnTo>
                    <a:lnTo>
                      <a:pt x="59" y="58"/>
                    </a:lnTo>
                    <a:lnTo>
                      <a:pt x="57" y="58"/>
                    </a:lnTo>
                    <a:lnTo>
                      <a:pt x="53" y="58"/>
                    </a:lnTo>
                    <a:lnTo>
                      <a:pt x="52" y="56"/>
                    </a:lnTo>
                    <a:lnTo>
                      <a:pt x="50" y="56"/>
                    </a:lnTo>
                    <a:lnTo>
                      <a:pt x="48" y="56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4" y="54"/>
                    </a:lnTo>
                    <a:lnTo>
                      <a:pt x="44" y="52"/>
                    </a:lnTo>
                    <a:lnTo>
                      <a:pt x="44" y="50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38" y="48"/>
                    </a:lnTo>
                    <a:lnTo>
                      <a:pt x="36" y="48"/>
                    </a:lnTo>
                    <a:lnTo>
                      <a:pt x="34" y="48"/>
                    </a:lnTo>
                    <a:lnTo>
                      <a:pt x="33" y="48"/>
                    </a:lnTo>
                    <a:lnTo>
                      <a:pt x="31" y="48"/>
                    </a:lnTo>
                    <a:lnTo>
                      <a:pt x="29" y="48"/>
                    </a:lnTo>
                    <a:lnTo>
                      <a:pt x="27" y="48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5" y="52"/>
                    </a:lnTo>
                    <a:lnTo>
                      <a:pt x="23" y="54"/>
                    </a:lnTo>
                    <a:lnTo>
                      <a:pt x="21" y="54"/>
                    </a:lnTo>
                    <a:lnTo>
                      <a:pt x="19" y="52"/>
                    </a:lnTo>
                    <a:lnTo>
                      <a:pt x="19" y="54"/>
                    </a:lnTo>
                    <a:lnTo>
                      <a:pt x="19" y="52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2" y="50"/>
                    </a:lnTo>
                    <a:lnTo>
                      <a:pt x="13" y="50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2" y="37"/>
                    </a:lnTo>
                    <a:lnTo>
                      <a:pt x="0" y="37"/>
                    </a:lnTo>
                    <a:lnTo>
                      <a:pt x="2" y="37"/>
                    </a:lnTo>
                    <a:lnTo>
                      <a:pt x="4" y="37"/>
                    </a:lnTo>
                    <a:lnTo>
                      <a:pt x="4" y="35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8" y="35"/>
                    </a:lnTo>
                    <a:lnTo>
                      <a:pt x="8" y="37"/>
                    </a:lnTo>
                    <a:lnTo>
                      <a:pt x="10" y="37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5" y="38"/>
                    </a:lnTo>
                    <a:lnTo>
                      <a:pt x="15" y="37"/>
                    </a:lnTo>
                    <a:lnTo>
                      <a:pt x="13" y="37"/>
                    </a:lnTo>
                    <a:lnTo>
                      <a:pt x="15" y="35"/>
                    </a:lnTo>
                    <a:lnTo>
                      <a:pt x="13" y="35"/>
                    </a:lnTo>
                    <a:lnTo>
                      <a:pt x="15" y="35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21" y="35"/>
                    </a:lnTo>
                    <a:lnTo>
                      <a:pt x="23" y="37"/>
                    </a:lnTo>
                    <a:lnTo>
                      <a:pt x="21" y="37"/>
                    </a:lnTo>
                    <a:lnTo>
                      <a:pt x="23" y="37"/>
                    </a:lnTo>
                    <a:lnTo>
                      <a:pt x="23" y="38"/>
                    </a:lnTo>
                    <a:lnTo>
                      <a:pt x="25" y="38"/>
                    </a:lnTo>
                    <a:lnTo>
                      <a:pt x="27" y="38"/>
                    </a:lnTo>
                    <a:lnTo>
                      <a:pt x="29" y="38"/>
                    </a:lnTo>
                    <a:lnTo>
                      <a:pt x="29" y="37"/>
                    </a:lnTo>
                    <a:lnTo>
                      <a:pt x="31" y="38"/>
                    </a:lnTo>
                    <a:lnTo>
                      <a:pt x="29" y="37"/>
                    </a:lnTo>
                    <a:lnTo>
                      <a:pt x="31" y="37"/>
                    </a:lnTo>
                    <a:lnTo>
                      <a:pt x="33" y="37"/>
                    </a:lnTo>
                    <a:lnTo>
                      <a:pt x="33" y="35"/>
                    </a:lnTo>
                    <a:lnTo>
                      <a:pt x="34" y="35"/>
                    </a:lnTo>
                    <a:lnTo>
                      <a:pt x="36" y="35"/>
                    </a:lnTo>
                    <a:lnTo>
                      <a:pt x="40" y="33"/>
                    </a:lnTo>
                    <a:lnTo>
                      <a:pt x="42" y="35"/>
                    </a:lnTo>
                    <a:lnTo>
                      <a:pt x="42" y="33"/>
                    </a:lnTo>
                    <a:lnTo>
                      <a:pt x="42" y="31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4" y="31"/>
                    </a:lnTo>
                    <a:lnTo>
                      <a:pt x="46" y="33"/>
                    </a:lnTo>
                    <a:lnTo>
                      <a:pt x="46" y="31"/>
                    </a:lnTo>
                    <a:lnTo>
                      <a:pt x="46" y="33"/>
                    </a:lnTo>
                    <a:lnTo>
                      <a:pt x="48" y="33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2" y="35"/>
                    </a:lnTo>
                    <a:lnTo>
                      <a:pt x="53" y="35"/>
                    </a:lnTo>
                    <a:lnTo>
                      <a:pt x="53" y="37"/>
                    </a:lnTo>
                    <a:lnTo>
                      <a:pt x="55" y="37"/>
                    </a:lnTo>
                    <a:lnTo>
                      <a:pt x="55" y="35"/>
                    </a:lnTo>
                    <a:lnTo>
                      <a:pt x="57" y="33"/>
                    </a:lnTo>
                    <a:lnTo>
                      <a:pt x="55" y="31"/>
                    </a:lnTo>
                    <a:lnTo>
                      <a:pt x="53" y="31"/>
                    </a:lnTo>
                    <a:lnTo>
                      <a:pt x="53" y="29"/>
                    </a:lnTo>
                    <a:lnTo>
                      <a:pt x="55" y="29"/>
                    </a:lnTo>
                    <a:lnTo>
                      <a:pt x="53" y="25"/>
                    </a:lnTo>
                    <a:lnTo>
                      <a:pt x="53" y="23"/>
                    </a:lnTo>
                    <a:lnTo>
                      <a:pt x="52" y="23"/>
                    </a:lnTo>
                    <a:lnTo>
                      <a:pt x="52" y="21"/>
                    </a:lnTo>
                    <a:lnTo>
                      <a:pt x="53" y="19"/>
                    </a:lnTo>
                    <a:lnTo>
                      <a:pt x="55" y="19"/>
                    </a:lnTo>
                    <a:lnTo>
                      <a:pt x="55" y="17"/>
                    </a:lnTo>
                    <a:lnTo>
                      <a:pt x="57" y="17"/>
                    </a:lnTo>
                    <a:lnTo>
                      <a:pt x="59" y="17"/>
                    </a:lnTo>
                    <a:lnTo>
                      <a:pt x="61" y="17"/>
                    </a:lnTo>
                    <a:lnTo>
                      <a:pt x="61" y="16"/>
                    </a:lnTo>
                    <a:lnTo>
                      <a:pt x="63" y="12"/>
                    </a:lnTo>
                    <a:lnTo>
                      <a:pt x="63" y="10"/>
                    </a:lnTo>
                    <a:lnTo>
                      <a:pt x="67" y="12"/>
                    </a:lnTo>
                    <a:lnTo>
                      <a:pt x="69" y="10"/>
                    </a:lnTo>
                    <a:lnTo>
                      <a:pt x="69" y="8"/>
                    </a:lnTo>
                    <a:lnTo>
                      <a:pt x="69" y="6"/>
                    </a:lnTo>
                    <a:lnTo>
                      <a:pt x="71" y="8"/>
                    </a:lnTo>
                    <a:lnTo>
                      <a:pt x="73" y="8"/>
                    </a:lnTo>
                    <a:lnTo>
                      <a:pt x="71" y="10"/>
                    </a:lnTo>
                    <a:lnTo>
                      <a:pt x="73" y="10"/>
                    </a:lnTo>
                    <a:lnTo>
                      <a:pt x="76" y="10"/>
                    </a:lnTo>
                    <a:lnTo>
                      <a:pt x="76" y="12"/>
                    </a:lnTo>
                    <a:lnTo>
                      <a:pt x="76" y="10"/>
                    </a:lnTo>
                    <a:lnTo>
                      <a:pt x="78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4" y="6"/>
                    </a:lnTo>
                    <a:lnTo>
                      <a:pt x="86" y="6"/>
                    </a:lnTo>
                    <a:lnTo>
                      <a:pt x="88" y="2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2" y="0"/>
                    </a:lnTo>
                    <a:lnTo>
                      <a:pt x="94" y="0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9" y="4"/>
                    </a:lnTo>
                    <a:lnTo>
                      <a:pt x="101" y="4"/>
                    </a:lnTo>
                    <a:lnTo>
                      <a:pt x="103" y="4"/>
                    </a:lnTo>
                    <a:lnTo>
                      <a:pt x="103" y="6"/>
                    </a:lnTo>
                    <a:lnTo>
                      <a:pt x="105" y="6"/>
                    </a:lnTo>
                    <a:lnTo>
                      <a:pt x="109" y="6"/>
                    </a:lnTo>
                    <a:lnTo>
                      <a:pt x="109" y="8"/>
                    </a:lnTo>
                    <a:lnTo>
                      <a:pt x="111" y="6"/>
                    </a:lnTo>
                    <a:lnTo>
                      <a:pt x="111" y="4"/>
                    </a:lnTo>
                    <a:lnTo>
                      <a:pt x="113" y="6"/>
                    </a:lnTo>
                    <a:lnTo>
                      <a:pt x="115" y="8"/>
                    </a:lnTo>
                    <a:lnTo>
                      <a:pt x="115" y="6"/>
                    </a:lnTo>
                    <a:lnTo>
                      <a:pt x="116" y="8"/>
                    </a:lnTo>
                    <a:lnTo>
                      <a:pt x="118" y="8"/>
                    </a:lnTo>
                    <a:lnTo>
                      <a:pt x="118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9" name="Freeform 243">
                <a:extLst>
                  <a:ext uri="{FF2B5EF4-FFF2-40B4-BE49-F238E27FC236}">
                    <a16:creationId xmlns:a16="http://schemas.microsoft.com/office/drawing/2014/main" id="{704AF68A-EF46-6E40-A9CF-C071648EE2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28440" y="-3243624"/>
                <a:ext cx="81930" cy="50512"/>
              </a:xfrm>
              <a:custGeom>
                <a:avLst/>
                <a:gdLst>
                  <a:gd name="T0" fmla="*/ 52 w 52"/>
                  <a:gd name="T1" fmla="*/ 9 h 32"/>
                  <a:gd name="T2" fmla="*/ 50 w 52"/>
                  <a:gd name="T3" fmla="*/ 7 h 32"/>
                  <a:gd name="T4" fmla="*/ 48 w 52"/>
                  <a:gd name="T5" fmla="*/ 6 h 32"/>
                  <a:gd name="T6" fmla="*/ 46 w 52"/>
                  <a:gd name="T7" fmla="*/ 7 h 32"/>
                  <a:gd name="T8" fmla="*/ 48 w 52"/>
                  <a:gd name="T9" fmla="*/ 9 h 32"/>
                  <a:gd name="T10" fmla="*/ 46 w 52"/>
                  <a:gd name="T11" fmla="*/ 9 h 32"/>
                  <a:gd name="T12" fmla="*/ 44 w 52"/>
                  <a:gd name="T13" fmla="*/ 9 h 32"/>
                  <a:gd name="T14" fmla="*/ 44 w 52"/>
                  <a:gd name="T15" fmla="*/ 11 h 32"/>
                  <a:gd name="T16" fmla="*/ 40 w 52"/>
                  <a:gd name="T17" fmla="*/ 13 h 32"/>
                  <a:gd name="T18" fmla="*/ 38 w 52"/>
                  <a:gd name="T19" fmla="*/ 15 h 32"/>
                  <a:gd name="T20" fmla="*/ 36 w 52"/>
                  <a:gd name="T21" fmla="*/ 15 h 32"/>
                  <a:gd name="T22" fmla="*/ 38 w 52"/>
                  <a:gd name="T23" fmla="*/ 19 h 32"/>
                  <a:gd name="T24" fmla="*/ 36 w 52"/>
                  <a:gd name="T25" fmla="*/ 21 h 32"/>
                  <a:gd name="T26" fmla="*/ 38 w 52"/>
                  <a:gd name="T27" fmla="*/ 23 h 32"/>
                  <a:gd name="T28" fmla="*/ 34 w 52"/>
                  <a:gd name="T29" fmla="*/ 23 h 32"/>
                  <a:gd name="T30" fmla="*/ 34 w 52"/>
                  <a:gd name="T31" fmla="*/ 25 h 32"/>
                  <a:gd name="T32" fmla="*/ 31 w 52"/>
                  <a:gd name="T33" fmla="*/ 25 h 32"/>
                  <a:gd name="T34" fmla="*/ 33 w 52"/>
                  <a:gd name="T35" fmla="*/ 27 h 32"/>
                  <a:gd name="T36" fmla="*/ 33 w 52"/>
                  <a:gd name="T37" fmla="*/ 27 h 32"/>
                  <a:gd name="T38" fmla="*/ 31 w 52"/>
                  <a:gd name="T39" fmla="*/ 30 h 32"/>
                  <a:gd name="T40" fmla="*/ 31 w 52"/>
                  <a:gd name="T41" fmla="*/ 32 h 32"/>
                  <a:gd name="T42" fmla="*/ 27 w 52"/>
                  <a:gd name="T43" fmla="*/ 30 h 32"/>
                  <a:gd name="T44" fmla="*/ 23 w 52"/>
                  <a:gd name="T45" fmla="*/ 32 h 32"/>
                  <a:gd name="T46" fmla="*/ 21 w 52"/>
                  <a:gd name="T47" fmla="*/ 30 h 32"/>
                  <a:gd name="T48" fmla="*/ 19 w 52"/>
                  <a:gd name="T49" fmla="*/ 28 h 32"/>
                  <a:gd name="T50" fmla="*/ 19 w 52"/>
                  <a:gd name="T51" fmla="*/ 28 h 32"/>
                  <a:gd name="T52" fmla="*/ 17 w 52"/>
                  <a:gd name="T53" fmla="*/ 30 h 32"/>
                  <a:gd name="T54" fmla="*/ 13 w 52"/>
                  <a:gd name="T55" fmla="*/ 30 h 32"/>
                  <a:gd name="T56" fmla="*/ 10 w 52"/>
                  <a:gd name="T57" fmla="*/ 30 h 32"/>
                  <a:gd name="T58" fmla="*/ 8 w 52"/>
                  <a:gd name="T59" fmla="*/ 32 h 32"/>
                  <a:gd name="T60" fmla="*/ 4 w 52"/>
                  <a:gd name="T61" fmla="*/ 30 h 32"/>
                  <a:gd name="T62" fmla="*/ 6 w 52"/>
                  <a:gd name="T63" fmla="*/ 28 h 32"/>
                  <a:gd name="T64" fmla="*/ 10 w 52"/>
                  <a:gd name="T65" fmla="*/ 28 h 32"/>
                  <a:gd name="T66" fmla="*/ 8 w 52"/>
                  <a:gd name="T67" fmla="*/ 25 h 32"/>
                  <a:gd name="T68" fmla="*/ 4 w 52"/>
                  <a:gd name="T69" fmla="*/ 23 h 32"/>
                  <a:gd name="T70" fmla="*/ 4 w 52"/>
                  <a:gd name="T71" fmla="*/ 19 h 32"/>
                  <a:gd name="T72" fmla="*/ 2 w 52"/>
                  <a:gd name="T73" fmla="*/ 19 h 32"/>
                  <a:gd name="T74" fmla="*/ 4 w 52"/>
                  <a:gd name="T75" fmla="*/ 17 h 32"/>
                  <a:gd name="T76" fmla="*/ 2 w 52"/>
                  <a:gd name="T77" fmla="*/ 13 h 32"/>
                  <a:gd name="T78" fmla="*/ 0 w 52"/>
                  <a:gd name="T79" fmla="*/ 13 h 32"/>
                  <a:gd name="T80" fmla="*/ 4 w 52"/>
                  <a:gd name="T81" fmla="*/ 9 h 32"/>
                  <a:gd name="T82" fmla="*/ 6 w 52"/>
                  <a:gd name="T83" fmla="*/ 7 h 32"/>
                  <a:gd name="T84" fmla="*/ 10 w 52"/>
                  <a:gd name="T85" fmla="*/ 7 h 32"/>
                  <a:gd name="T86" fmla="*/ 13 w 52"/>
                  <a:gd name="T87" fmla="*/ 9 h 32"/>
                  <a:gd name="T88" fmla="*/ 17 w 52"/>
                  <a:gd name="T89" fmla="*/ 9 h 32"/>
                  <a:gd name="T90" fmla="*/ 19 w 52"/>
                  <a:gd name="T91" fmla="*/ 11 h 32"/>
                  <a:gd name="T92" fmla="*/ 21 w 52"/>
                  <a:gd name="T93" fmla="*/ 9 h 32"/>
                  <a:gd name="T94" fmla="*/ 23 w 52"/>
                  <a:gd name="T95" fmla="*/ 7 h 32"/>
                  <a:gd name="T96" fmla="*/ 25 w 52"/>
                  <a:gd name="T97" fmla="*/ 4 h 32"/>
                  <a:gd name="T98" fmla="*/ 27 w 52"/>
                  <a:gd name="T99" fmla="*/ 4 h 32"/>
                  <a:gd name="T100" fmla="*/ 31 w 52"/>
                  <a:gd name="T101" fmla="*/ 4 h 32"/>
                  <a:gd name="T102" fmla="*/ 33 w 52"/>
                  <a:gd name="T103" fmla="*/ 6 h 32"/>
                  <a:gd name="T104" fmla="*/ 34 w 52"/>
                  <a:gd name="T105" fmla="*/ 4 h 32"/>
                  <a:gd name="T106" fmla="*/ 38 w 52"/>
                  <a:gd name="T107" fmla="*/ 4 h 32"/>
                  <a:gd name="T108" fmla="*/ 40 w 52"/>
                  <a:gd name="T109" fmla="*/ 4 h 32"/>
                  <a:gd name="T110" fmla="*/ 42 w 52"/>
                  <a:gd name="T111" fmla="*/ 2 h 32"/>
                  <a:gd name="T112" fmla="*/ 44 w 52"/>
                  <a:gd name="T113" fmla="*/ 0 h 32"/>
                  <a:gd name="T114" fmla="*/ 48 w 52"/>
                  <a:gd name="T115" fmla="*/ 0 h 32"/>
                  <a:gd name="T116" fmla="*/ 48 w 52"/>
                  <a:gd name="T117" fmla="*/ 4 h 32"/>
                  <a:gd name="T118" fmla="*/ 48 w 52"/>
                  <a:gd name="T119" fmla="*/ 4 h 32"/>
                  <a:gd name="T120" fmla="*/ 48 w 52"/>
                  <a:gd name="T121" fmla="*/ 4 h 32"/>
                  <a:gd name="T122" fmla="*/ 50 w 52"/>
                  <a:gd name="T123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2" h="32">
                    <a:moveTo>
                      <a:pt x="52" y="7"/>
                    </a:moveTo>
                    <a:lnTo>
                      <a:pt x="52" y="9"/>
                    </a:lnTo>
                    <a:lnTo>
                      <a:pt x="52" y="7"/>
                    </a:lnTo>
                    <a:lnTo>
                      <a:pt x="50" y="7"/>
                    </a:lnTo>
                    <a:lnTo>
                      <a:pt x="48" y="7"/>
                    </a:lnTo>
                    <a:lnTo>
                      <a:pt x="48" y="6"/>
                    </a:lnTo>
                    <a:lnTo>
                      <a:pt x="48" y="7"/>
                    </a:lnTo>
                    <a:lnTo>
                      <a:pt x="46" y="7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6" y="11"/>
                    </a:lnTo>
                    <a:lnTo>
                      <a:pt x="46" y="9"/>
                    </a:lnTo>
                    <a:lnTo>
                      <a:pt x="46" y="11"/>
                    </a:lnTo>
                    <a:lnTo>
                      <a:pt x="44" y="9"/>
                    </a:lnTo>
                    <a:lnTo>
                      <a:pt x="42" y="9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0" y="13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36" y="13"/>
                    </a:lnTo>
                    <a:lnTo>
                      <a:pt x="36" y="15"/>
                    </a:lnTo>
                    <a:lnTo>
                      <a:pt x="36" y="17"/>
                    </a:lnTo>
                    <a:lnTo>
                      <a:pt x="38" y="19"/>
                    </a:lnTo>
                    <a:lnTo>
                      <a:pt x="36" y="19"/>
                    </a:lnTo>
                    <a:lnTo>
                      <a:pt x="36" y="21"/>
                    </a:lnTo>
                    <a:lnTo>
                      <a:pt x="36" y="23"/>
                    </a:lnTo>
                    <a:lnTo>
                      <a:pt x="38" y="23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3" y="23"/>
                    </a:lnTo>
                    <a:lnTo>
                      <a:pt x="34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1" y="28"/>
                    </a:lnTo>
                    <a:lnTo>
                      <a:pt x="31" y="30"/>
                    </a:lnTo>
                    <a:lnTo>
                      <a:pt x="33" y="30"/>
                    </a:lnTo>
                    <a:lnTo>
                      <a:pt x="31" y="32"/>
                    </a:lnTo>
                    <a:lnTo>
                      <a:pt x="29" y="32"/>
                    </a:lnTo>
                    <a:lnTo>
                      <a:pt x="27" y="30"/>
                    </a:lnTo>
                    <a:lnTo>
                      <a:pt x="25" y="30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21" y="28"/>
                    </a:lnTo>
                    <a:lnTo>
                      <a:pt x="19" y="28"/>
                    </a:lnTo>
                    <a:lnTo>
                      <a:pt x="19" y="27"/>
                    </a:lnTo>
                    <a:lnTo>
                      <a:pt x="19" y="28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5" y="30"/>
                    </a:lnTo>
                    <a:lnTo>
                      <a:pt x="13" y="30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6" y="32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4" y="17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1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21" y="9"/>
                    </a:lnTo>
                    <a:lnTo>
                      <a:pt x="21" y="7"/>
                    </a:lnTo>
                    <a:lnTo>
                      <a:pt x="23" y="7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4" y="6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50" y="6"/>
                    </a:lnTo>
                    <a:lnTo>
                      <a:pt x="50" y="7"/>
                    </a:lnTo>
                    <a:lnTo>
                      <a:pt x="52" y="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0" name="Freeform 244">
                <a:extLst>
                  <a:ext uri="{FF2B5EF4-FFF2-40B4-BE49-F238E27FC236}">
                    <a16:creationId xmlns:a16="http://schemas.microsoft.com/office/drawing/2014/main" id="{DA312E83-BA9F-BA3D-0D6C-34D0CEAB03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97765" y="-3309924"/>
                <a:ext cx="168587" cy="105763"/>
              </a:xfrm>
              <a:custGeom>
                <a:avLst/>
                <a:gdLst>
                  <a:gd name="T0" fmla="*/ 99 w 107"/>
                  <a:gd name="T1" fmla="*/ 6 h 67"/>
                  <a:gd name="T2" fmla="*/ 103 w 107"/>
                  <a:gd name="T3" fmla="*/ 9 h 67"/>
                  <a:gd name="T4" fmla="*/ 107 w 107"/>
                  <a:gd name="T5" fmla="*/ 11 h 67"/>
                  <a:gd name="T6" fmla="*/ 105 w 107"/>
                  <a:gd name="T7" fmla="*/ 17 h 67"/>
                  <a:gd name="T8" fmla="*/ 101 w 107"/>
                  <a:gd name="T9" fmla="*/ 21 h 67"/>
                  <a:gd name="T10" fmla="*/ 95 w 107"/>
                  <a:gd name="T11" fmla="*/ 25 h 67"/>
                  <a:gd name="T12" fmla="*/ 93 w 107"/>
                  <a:gd name="T13" fmla="*/ 27 h 67"/>
                  <a:gd name="T14" fmla="*/ 92 w 107"/>
                  <a:gd name="T15" fmla="*/ 32 h 67"/>
                  <a:gd name="T16" fmla="*/ 88 w 107"/>
                  <a:gd name="T17" fmla="*/ 36 h 67"/>
                  <a:gd name="T18" fmla="*/ 86 w 107"/>
                  <a:gd name="T19" fmla="*/ 42 h 67"/>
                  <a:gd name="T20" fmla="*/ 84 w 107"/>
                  <a:gd name="T21" fmla="*/ 48 h 67"/>
                  <a:gd name="T22" fmla="*/ 82 w 107"/>
                  <a:gd name="T23" fmla="*/ 51 h 67"/>
                  <a:gd name="T24" fmla="*/ 76 w 107"/>
                  <a:gd name="T25" fmla="*/ 55 h 67"/>
                  <a:gd name="T26" fmla="*/ 72 w 107"/>
                  <a:gd name="T27" fmla="*/ 59 h 67"/>
                  <a:gd name="T28" fmla="*/ 65 w 107"/>
                  <a:gd name="T29" fmla="*/ 59 h 67"/>
                  <a:gd name="T30" fmla="*/ 59 w 107"/>
                  <a:gd name="T31" fmla="*/ 59 h 67"/>
                  <a:gd name="T32" fmla="*/ 53 w 107"/>
                  <a:gd name="T33" fmla="*/ 59 h 67"/>
                  <a:gd name="T34" fmla="*/ 48 w 107"/>
                  <a:gd name="T35" fmla="*/ 63 h 67"/>
                  <a:gd name="T36" fmla="*/ 42 w 107"/>
                  <a:gd name="T37" fmla="*/ 65 h 67"/>
                  <a:gd name="T38" fmla="*/ 38 w 107"/>
                  <a:gd name="T39" fmla="*/ 67 h 67"/>
                  <a:gd name="T40" fmla="*/ 30 w 107"/>
                  <a:gd name="T41" fmla="*/ 67 h 67"/>
                  <a:gd name="T42" fmla="*/ 27 w 107"/>
                  <a:gd name="T43" fmla="*/ 67 h 67"/>
                  <a:gd name="T44" fmla="*/ 19 w 107"/>
                  <a:gd name="T45" fmla="*/ 63 h 67"/>
                  <a:gd name="T46" fmla="*/ 19 w 107"/>
                  <a:gd name="T47" fmla="*/ 63 h 67"/>
                  <a:gd name="T48" fmla="*/ 17 w 107"/>
                  <a:gd name="T49" fmla="*/ 61 h 67"/>
                  <a:gd name="T50" fmla="*/ 15 w 107"/>
                  <a:gd name="T51" fmla="*/ 57 h 67"/>
                  <a:gd name="T52" fmla="*/ 11 w 107"/>
                  <a:gd name="T53" fmla="*/ 51 h 67"/>
                  <a:gd name="T54" fmla="*/ 8 w 107"/>
                  <a:gd name="T55" fmla="*/ 49 h 67"/>
                  <a:gd name="T56" fmla="*/ 6 w 107"/>
                  <a:gd name="T57" fmla="*/ 46 h 67"/>
                  <a:gd name="T58" fmla="*/ 4 w 107"/>
                  <a:gd name="T59" fmla="*/ 44 h 67"/>
                  <a:gd name="T60" fmla="*/ 0 w 107"/>
                  <a:gd name="T61" fmla="*/ 40 h 67"/>
                  <a:gd name="T62" fmla="*/ 6 w 107"/>
                  <a:gd name="T63" fmla="*/ 38 h 67"/>
                  <a:gd name="T64" fmla="*/ 6 w 107"/>
                  <a:gd name="T65" fmla="*/ 32 h 67"/>
                  <a:gd name="T66" fmla="*/ 8 w 107"/>
                  <a:gd name="T67" fmla="*/ 27 h 67"/>
                  <a:gd name="T68" fmla="*/ 10 w 107"/>
                  <a:gd name="T69" fmla="*/ 25 h 67"/>
                  <a:gd name="T70" fmla="*/ 6 w 107"/>
                  <a:gd name="T71" fmla="*/ 23 h 67"/>
                  <a:gd name="T72" fmla="*/ 11 w 107"/>
                  <a:gd name="T73" fmla="*/ 23 h 67"/>
                  <a:gd name="T74" fmla="*/ 15 w 107"/>
                  <a:gd name="T75" fmla="*/ 19 h 67"/>
                  <a:gd name="T76" fmla="*/ 17 w 107"/>
                  <a:gd name="T77" fmla="*/ 15 h 67"/>
                  <a:gd name="T78" fmla="*/ 21 w 107"/>
                  <a:gd name="T79" fmla="*/ 15 h 67"/>
                  <a:gd name="T80" fmla="*/ 25 w 107"/>
                  <a:gd name="T81" fmla="*/ 21 h 67"/>
                  <a:gd name="T82" fmla="*/ 36 w 107"/>
                  <a:gd name="T83" fmla="*/ 21 h 67"/>
                  <a:gd name="T84" fmla="*/ 44 w 107"/>
                  <a:gd name="T85" fmla="*/ 19 h 67"/>
                  <a:gd name="T86" fmla="*/ 46 w 107"/>
                  <a:gd name="T87" fmla="*/ 13 h 67"/>
                  <a:gd name="T88" fmla="*/ 53 w 107"/>
                  <a:gd name="T89" fmla="*/ 11 h 67"/>
                  <a:gd name="T90" fmla="*/ 55 w 107"/>
                  <a:gd name="T91" fmla="*/ 9 h 67"/>
                  <a:gd name="T92" fmla="*/ 59 w 107"/>
                  <a:gd name="T93" fmla="*/ 9 h 67"/>
                  <a:gd name="T94" fmla="*/ 61 w 107"/>
                  <a:gd name="T95" fmla="*/ 11 h 67"/>
                  <a:gd name="T96" fmla="*/ 65 w 107"/>
                  <a:gd name="T97" fmla="*/ 7 h 67"/>
                  <a:gd name="T98" fmla="*/ 71 w 107"/>
                  <a:gd name="T99" fmla="*/ 4 h 67"/>
                  <a:gd name="T100" fmla="*/ 74 w 107"/>
                  <a:gd name="T101" fmla="*/ 0 h 67"/>
                  <a:gd name="T102" fmla="*/ 80 w 107"/>
                  <a:gd name="T103" fmla="*/ 2 h 67"/>
                  <a:gd name="T104" fmla="*/ 86 w 107"/>
                  <a:gd name="T105" fmla="*/ 2 h 67"/>
                  <a:gd name="T106" fmla="*/ 90 w 107"/>
                  <a:gd name="T107" fmla="*/ 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7" h="67">
                    <a:moveTo>
                      <a:pt x="95" y="6"/>
                    </a:moveTo>
                    <a:lnTo>
                      <a:pt x="97" y="4"/>
                    </a:lnTo>
                    <a:lnTo>
                      <a:pt x="97" y="6"/>
                    </a:lnTo>
                    <a:lnTo>
                      <a:pt x="99" y="6"/>
                    </a:lnTo>
                    <a:lnTo>
                      <a:pt x="99" y="7"/>
                    </a:lnTo>
                    <a:lnTo>
                      <a:pt x="99" y="9"/>
                    </a:lnTo>
                    <a:lnTo>
                      <a:pt x="101" y="9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105" y="13"/>
                    </a:lnTo>
                    <a:lnTo>
                      <a:pt x="105" y="11"/>
                    </a:lnTo>
                    <a:lnTo>
                      <a:pt x="107" y="11"/>
                    </a:lnTo>
                    <a:lnTo>
                      <a:pt x="107" y="13"/>
                    </a:lnTo>
                    <a:lnTo>
                      <a:pt x="107" y="15"/>
                    </a:lnTo>
                    <a:lnTo>
                      <a:pt x="107" y="17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3" y="19"/>
                    </a:lnTo>
                    <a:lnTo>
                      <a:pt x="101" y="19"/>
                    </a:lnTo>
                    <a:lnTo>
                      <a:pt x="101" y="21"/>
                    </a:lnTo>
                    <a:lnTo>
                      <a:pt x="99" y="21"/>
                    </a:lnTo>
                    <a:lnTo>
                      <a:pt x="97" y="21"/>
                    </a:lnTo>
                    <a:lnTo>
                      <a:pt x="97" y="23"/>
                    </a:lnTo>
                    <a:lnTo>
                      <a:pt x="95" y="25"/>
                    </a:lnTo>
                    <a:lnTo>
                      <a:pt x="93" y="25"/>
                    </a:lnTo>
                    <a:lnTo>
                      <a:pt x="93" y="27"/>
                    </a:lnTo>
                    <a:lnTo>
                      <a:pt x="93" y="25"/>
                    </a:lnTo>
                    <a:lnTo>
                      <a:pt x="93" y="27"/>
                    </a:lnTo>
                    <a:lnTo>
                      <a:pt x="93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0" y="34"/>
                    </a:lnTo>
                    <a:lnTo>
                      <a:pt x="90" y="36"/>
                    </a:lnTo>
                    <a:lnTo>
                      <a:pt x="88" y="36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8" y="42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4" y="46"/>
                    </a:lnTo>
                    <a:lnTo>
                      <a:pt x="84" y="48"/>
                    </a:lnTo>
                    <a:lnTo>
                      <a:pt x="84" y="46"/>
                    </a:lnTo>
                    <a:lnTo>
                      <a:pt x="82" y="48"/>
                    </a:lnTo>
                    <a:lnTo>
                      <a:pt x="82" y="49"/>
                    </a:lnTo>
                    <a:lnTo>
                      <a:pt x="82" y="51"/>
                    </a:lnTo>
                    <a:lnTo>
                      <a:pt x="80" y="51"/>
                    </a:lnTo>
                    <a:lnTo>
                      <a:pt x="80" y="53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4" y="57"/>
                    </a:lnTo>
                    <a:lnTo>
                      <a:pt x="72" y="57"/>
                    </a:lnTo>
                    <a:lnTo>
                      <a:pt x="72" y="59"/>
                    </a:lnTo>
                    <a:lnTo>
                      <a:pt x="69" y="57"/>
                    </a:lnTo>
                    <a:lnTo>
                      <a:pt x="67" y="57"/>
                    </a:lnTo>
                    <a:lnTo>
                      <a:pt x="67" y="59"/>
                    </a:lnTo>
                    <a:lnTo>
                      <a:pt x="65" y="59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59" y="59"/>
                    </a:lnTo>
                    <a:lnTo>
                      <a:pt x="57" y="57"/>
                    </a:lnTo>
                    <a:lnTo>
                      <a:pt x="55" y="57"/>
                    </a:lnTo>
                    <a:lnTo>
                      <a:pt x="53" y="57"/>
                    </a:lnTo>
                    <a:lnTo>
                      <a:pt x="53" y="59"/>
                    </a:lnTo>
                    <a:lnTo>
                      <a:pt x="51" y="61"/>
                    </a:lnTo>
                    <a:lnTo>
                      <a:pt x="50" y="61"/>
                    </a:lnTo>
                    <a:lnTo>
                      <a:pt x="48" y="61"/>
                    </a:lnTo>
                    <a:lnTo>
                      <a:pt x="48" y="63"/>
                    </a:lnTo>
                    <a:lnTo>
                      <a:pt x="46" y="63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5"/>
                    </a:lnTo>
                    <a:lnTo>
                      <a:pt x="40" y="63"/>
                    </a:lnTo>
                    <a:lnTo>
                      <a:pt x="40" y="65"/>
                    </a:lnTo>
                    <a:lnTo>
                      <a:pt x="38" y="65"/>
                    </a:lnTo>
                    <a:lnTo>
                      <a:pt x="38" y="67"/>
                    </a:lnTo>
                    <a:lnTo>
                      <a:pt x="36" y="67"/>
                    </a:lnTo>
                    <a:lnTo>
                      <a:pt x="34" y="67"/>
                    </a:lnTo>
                    <a:lnTo>
                      <a:pt x="32" y="67"/>
                    </a:lnTo>
                    <a:lnTo>
                      <a:pt x="30" y="67"/>
                    </a:lnTo>
                    <a:lnTo>
                      <a:pt x="29" y="67"/>
                    </a:lnTo>
                    <a:lnTo>
                      <a:pt x="27" y="67"/>
                    </a:lnTo>
                    <a:lnTo>
                      <a:pt x="27" y="65"/>
                    </a:lnTo>
                    <a:lnTo>
                      <a:pt x="27" y="67"/>
                    </a:lnTo>
                    <a:lnTo>
                      <a:pt x="25" y="65"/>
                    </a:lnTo>
                    <a:lnTo>
                      <a:pt x="23" y="63"/>
                    </a:lnTo>
                    <a:lnTo>
                      <a:pt x="21" y="63"/>
                    </a:lnTo>
                    <a:lnTo>
                      <a:pt x="19" y="63"/>
                    </a:lnTo>
                    <a:lnTo>
                      <a:pt x="21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9" y="59"/>
                    </a:lnTo>
                    <a:lnTo>
                      <a:pt x="17" y="59"/>
                    </a:lnTo>
                    <a:lnTo>
                      <a:pt x="17" y="57"/>
                    </a:lnTo>
                    <a:lnTo>
                      <a:pt x="15" y="57"/>
                    </a:lnTo>
                    <a:lnTo>
                      <a:pt x="13" y="55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11" y="51"/>
                    </a:lnTo>
                    <a:lnTo>
                      <a:pt x="10" y="53"/>
                    </a:lnTo>
                    <a:lnTo>
                      <a:pt x="10" y="51"/>
                    </a:lnTo>
                    <a:lnTo>
                      <a:pt x="8" y="51"/>
                    </a:lnTo>
                    <a:lnTo>
                      <a:pt x="8" y="49"/>
                    </a:lnTo>
                    <a:lnTo>
                      <a:pt x="6" y="49"/>
                    </a:lnTo>
                    <a:lnTo>
                      <a:pt x="6" y="48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8" y="27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8" y="23"/>
                    </a:lnTo>
                    <a:lnTo>
                      <a:pt x="4" y="23"/>
                    </a:lnTo>
                    <a:lnTo>
                      <a:pt x="6" y="21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0" y="21"/>
                    </a:lnTo>
                    <a:lnTo>
                      <a:pt x="10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7" y="15"/>
                    </a:lnTo>
                    <a:lnTo>
                      <a:pt x="17" y="13"/>
                    </a:lnTo>
                    <a:lnTo>
                      <a:pt x="17" y="15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21" y="17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30" y="21"/>
                    </a:lnTo>
                    <a:lnTo>
                      <a:pt x="34" y="21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40" y="21"/>
                    </a:lnTo>
                    <a:lnTo>
                      <a:pt x="42" y="19"/>
                    </a:lnTo>
                    <a:lnTo>
                      <a:pt x="44" y="19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4" y="13"/>
                    </a:lnTo>
                    <a:lnTo>
                      <a:pt x="46" y="13"/>
                    </a:lnTo>
                    <a:lnTo>
                      <a:pt x="48" y="13"/>
                    </a:lnTo>
                    <a:lnTo>
                      <a:pt x="50" y="13"/>
                    </a:lnTo>
                    <a:lnTo>
                      <a:pt x="51" y="13"/>
                    </a:lnTo>
                    <a:lnTo>
                      <a:pt x="53" y="11"/>
                    </a:lnTo>
                    <a:lnTo>
                      <a:pt x="53" y="13"/>
                    </a:lnTo>
                    <a:lnTo>
                      <a:pt x="53" y="11"/>
                    </a:lnTo>
                    <a:lnTo>
                      <a:pt x="53" y="9"/>
                    </a:lnTo>
                    <a:lnTo>
                      <a:pt x="55" y="9"/>
                    </a:lnTo>
                    <a:lnTo>
                      <a:pt x="57" y="9"/>
                    </a:lnTo>
                    <a:lnTo>
                      <a:pt x="59" y="9"/>
                    </a:lnTo>
                    <a:lnTo>
                      <a:pt x="59" y="11"/>
                    </a:lnTo>
                    <a:lnTo>
                      <a:pt x="59" y="9"/>
                    </a:lnTo>
                    <a:lnTo>
                      <a:pt x="59" y="11"/>
                    </a:lnTo>
                    <a:lnTo>
                      <a:pt x="61" y="11"/>
                    </a:lnTo>
                    <a:lnTo>
                      <a:pt x="59" y="11"/>
                    </a:lnTo>
                    <a:lnTo>
                      <a:pt x="61" y="11"/>
                    </a:lnTo>
                    <a:lnTo>
                      <a:pt x="63" y="9"/>
                    </a:lnTo>
                    <a:lnTo>
                      <a:pt x="63" y="7"/>
                    </a:lnTo>
                    <a:lnTo>
                      <a:pt x="65" y="9"/>
                    </a:lnTo>
                    <a:lnTo>
                      <a:pt x="65" y="7"/>
                    </a:lnTo>
                    <a:lnTo>
                      <a:pt x="67" y="7"/>
                    </a:lnTo>
                    <a:lnTo>
                      <a:pt x="69" y="6"/>
                    </a:lnTo>
                    <a:lnTo>
                      <a:pt x="69" y="4"/>
                    </a:lnTo>
                    <a:lnTo>
                      <a:pt x="71" y="4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2" y="2"/>
                    </a:lnTo>
                    <a:lnTo>
                      <a:pt x="74" y="0"/>
                    </a:lnTo>
                    <a:lnTo>
                      <a:pt x="76" y="2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2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6" y="2"/>
                    </a:lnTo>
                    <a:lnTo>
                      <a:pt x="88" y="2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0" y="7"/>
                    </a:lnTo>
                    <a:lnTo>
                      <a:pt x="92" y="6"/>
                    </a:lnTo>
                    <a:lnTo>
                      <a:pt x="93" y="6"/>
                    </a:lnTo>
                    <a:lnTo>
                      <a:pt x="95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1" name="Freeform 245">
                <a:extLst>
                  <a:ext uri="{FF2B5EF4-FFF2-40B4-BE49-F238E27FC236}">
                    <a16:creationId xmlns:a16="http://schemas.microsoft.com/office/drawing/2014/main" id="{3383E8F0-9D6D-1F0D-68B7-FD1C6841D1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3330" y="-3298873"/>
                <a:ext cx="233187" cy="168905"/>
              </a:xfrm>
              <a:custGeom>
                <a:avLst/>
                <a:gdLst>
                  <a:gd name="T0" fmla="*/ 133 w 148"/>
                  <a:gd name="T1" fmla="*/ 71 h 107"/>
                  <a:gd name="T2" fmla="*/ 137 w 148"/>
                  <a:gd name="T3" fmla="*/ 69 h 107"/>
                  <a:gd name="T4" fmla="*/ 148 w 148"/>
                  <a:gd name="T5" fmla="*/ 69 h 107"/>
                  <a:gd name="T6" fmla="*/ 148 w 148"/>
                  <a:gd name="T7" fmla="*/ 75 h 107"/>
                  <a:gd name="T8" fmla="*/ 147 w 148"/>
                  <a:gd name="T9" fmla="*/ 81 h 107"/>
                  <a:gd name="T10" fmla="*/ 139 w 148"/>
                  <a:gd name="T11" fmla="*/ 83 h 107"/>
                  <a:gd name="T12" fmla="*/ 131 w 148"/>
                  <a:gd name="T13" fmla="*/ 92 h 107"/>
                  <a:gd name="T14" fmla="*/ 131 w 148"/>
                  <a:gd name="T15" fmla="*/ 96 h 107"/>
                  <a:gd name="T16" fmla="*/ 131 w 148"/>
                  <a:gd name="T17" fmla="*/ 98 h 107"/>
                  <a:gd name="T18" fmla="*/ 131 w 148"/>
                  <a:gd name="T19" fmla="*/ 104 h 107"/>
                  <a:gd name="T20" fmla="*/ 122 w 148"/>
                  <a:gd name="T21" fmla="*/ 100 h 107"/>
                  <a:gd name="T22" fmla="*/ 114 w 148"/>
                  <a:gd name="T23" fmla="*/ 98 h 107"/>
                  <a:gd name="T24" fmla="*/ 108 w 148"/>
                  <a:gd name="T25" fmla="*/ 96 h 107"/>
                  <a:gd name="T26" fmla="*/ 97 w 148"/>
                  <a:gd name="T27" fmla="*/ 98 h 107"/>
                  <a:gd name="T28" fmla="*/ 89 w 148"/>
                  <a:gd name="T29" fmla="*/ 102 h 107"/>
                  <a:gd name="T30" fmla="*/ 82 w 148"/>
                  <a:gd name="T31" fmla="*/ 107 h 107"/>
                  <a:gd name="T32" fmla="*/ 72 w 148"/>
                  <a:gd name="T33" fmla="*/ 105 h 107"/>
                  <a:gd name="T34" fmla="*/ 61 w 148"/>
                  <a:gd name="T35" fmla="*/ 105 h 107"/>
                  <a:gd name="T36" fmla="*/ 49 w 148"/>
                  <a:gd name="T37" fmla="*/ 102 h 107"/>
                  <a:gd name="T38" fmla="*/ 40 w 148"/>
                  <a:gd name="T39" fmla="*/ 100 h 107"/>
                  <a:gd name="T40" fmla="*/ 38 w 148"/>
                  <a:gd name="T41" fmla="*/ 92 h 107"/>
                  <a:gd name="T42" fmla="*/ 36 w 148"/>
                  <a:gd name="T43" fmla="*/ 88 h 107"/>
                  <a:gd name="T44" fmla="*/ 36 w 148"/>
                  <a:gd name="T45" fmla="*/ 84 h 107"/>
                  <a:gd name="T46" fmla="*/ 28 w 148"/>
                  <a:gd name="T47" fmla="*/ 88 h 107"/>
                  <a:gd name="T48" fmla="*/ 21 w 148"/>
                  <a:gd name="T49" fmla="*/ 83 h 107"/>
                  <a:gd name="T50" fmla="*/ 17 w 148"/>
                  <a:gd name="T51" fmla="*/ 77 h 107"/>
                  <a:gd name="T52" fmla="*/ 15 w 148"/>
                  <a:gd name="T53" fmla="*/ 71 h 107"/>
                  <a:gd name="T54" fmla="*/ 9 w 148"/>
                  <a:gd name="T55" fmla="*/ 67 h 107"/>
                  <a:gd name="T56" fmla="*/ 5 w 148"/>
                  <a:gd name="T57" fmla="*/ 60 h 107"/>
                  <a:gd name="T58" fmla="*/ 2 w 148"/>
                  <a:gd name="T59" fmla="*/ 54 h 107"/>
                  <a:gd name="T60" fmla="*/ 2 w 148"/>
                  <a:gd name="T61" fmla="*/ 50 h 107"/>
                  <a:gd name="T62" fmla="*/ 9 w 148"/>
                  <a:gd name="T63" fmla="*/ 48 h 107"/>
                  <a:gd name="T64" fmla="*/ 15 w 148"/>
                  <a:gd name="T65" fmla="*/ 42 h 107"/>
                  <a:gd name="T66" fmla="*/ 19 w 148"/>
                  <a:gd name="T67" fmla="*/ 39 h 107"/>
                  <a:gd name="T68" fmla="*/ 21 w 148"/>
                  <a:gd name="T69" fmla="*/ 31 h 107"/>
                  <a:gd name="T70" fmla="*/ 25 w 148"/>
                  <a:gd name="T71" fmla="*/ 25 h 107"/>
                  <a:gd name="T72" fmla="*/ 26 w 148"/>
                  <a:gd name="T73" fmla="*/ 18 h 107"/>
                  <a:gd name="T74" fmla="*/ 30 w 148"/>
                  <a:gd name="T75" fmla="*/ 14 h 107"/>
                  <a:gd name="T76" fmla="*/ 38 w 148"/>
                  <a:gd name="T77" fmla="*/ 12 h 107"/>
                  <a:gd name="T78" fmla="*/ 42 w 148"/>
                  <a:gd name="T79" fmla="*/ 6 h 107"/>
                  <a:gd name="T80" fmla="*/ 47 w 148"/>
                  <a:gd name="T81" fmla="*/ 4 h 107"/>
                  <a:gd name="T82" fmla="*/ 53 w 148"/>
                  <a:gd name="T83" fmla="*/ 8 h 107"/>
                  <a:gd name="T84" fmla="*/ 61 w 148"/>
                  <a:gd name="T85" fmla="*/ 10 h 107"/>
                  <a:gd name="T86" fmla="*/ 68 w 148"/>
                  <a:gd name="T87" fmla="*/ 8 h 107"/>
                  <a:gd name="T88" fmla="*/ 74 w 148"/>
                  <a:gd name="T89" fmla="*/ 14 h 107"/>
                  <a:gd name="T90" fmla="*/ 84 w 148"/>
                  <a:gd name="T91" fmla="*/ 8 h 107"/>
                  <a:gd name="T92" fmla="*/ 93 w 148"/>
                  <a:gd name="T93" fmla="*/ 8 h 107"/>
                  <a:gd name="T94" fmla="*/ 97 w 148"/>
                  <a:gd name="T95" fmla="*/ 2 h 107"/>
                  <a:gd name="T96" fmla="*/ 101 w 148"/>
                  <a:gd name="T97" fmla="*/ 0 h 107"/>
                  <a:gd name="T98" fmla="*/ 101 w 148"/>
                  <a:gd name="T99" fmla="*/ 2 h 107"/>
                  <a:gd name="T100" fmla="*/ 107 w 148"/>
                  <a:gd name="T101" fmla="*/ 4 h 107"/>
                  <a:gd name="T102" fmla="*/ 107 w 148"/>
                  <a:gd name="T103" fmla="*/ 8 h 107"/>
                  <a:gd name="T104" fmla="*/ 110 w 148"/>
                  <a:gd name="T105" fmla="*/ 12 h 107"/>
                  <a:gd name="T106" fmla="*/ 112 w 148"/>
                  <a:gd name="T107" fmla="*/ 18 h 107"/>
                  <a:gd name="T108" fmla="*/ 114 w 148"/>
                  <a:gd name="T109" fmla="*/ 21 h 107"/>
                  <a:gd name="T110" fmla="*/ 116 w 148"/>
                  <a:gd name="T111" fmla="*/ 25 h 107"/>
                  <a:gd name="T112" fmla="*/ 118 w 148"/>
                  <a:gd name="T113" fmla="*/ 27 h 107"/>
                  <a:gd name="T114" fmla="*/ 124 w 148"/>
                  <a:gd name="T115" fmla="*/ 31 h 107"/>
                  <a:gd name="T116" fmla="*/ 124 w 148"/>
                  <a:gd name="T117" fmla="*/ 37 h 107"/>
                  <a:gd name="T118" fmla="*/ 126 w 148"/>
                  <a:gd name="T119" fmla="*/ 46 h 107"/>
                  <a:gd name="T120" fmla="*/ 124 w 148"/>
                  <a:gd name="T121" fmla="*/ 54 h 107"/>
                  <a:gd name="T122" fmla="*/ 124 w 148"/>
                  <a:gd name="T123" fmla="*/ 6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8" h="107">
                    <a:moveTo>
                      <a:pt x="126" y="65"/>
                    </a:moveTo>
                    <a:lnTo>
                      <a:pt x="126" y="67"/>
                    </a:lnTo>
                    <a:lnTo>
                      <a:pt x="127" y="69"/>
                    </a:lnTo>
                    <a:lnTo>
                      <a:pt x="131" y="71"/>
                    </a:lnTo>
                    <a:lnTo>
                      <a:pt x="133" y="71"/>
                    </a:lnTo>
                    <a:lnTo>
                      <a:pt x="135" y="71"/>
                    </a:lnTo>
                    <a:lnTo>
                      <a:pt x="133" y="71"/>
                    </a:lnTo>
                    <a:lnTo>
                      <a:pt x="135" y="69"/>
                    </a:lnTo>
                    <a:lnTo>
                      <a:pt x="137" y="71"/>
                    </a:lnTo>
                    <a:lnTo>
                      <a:pt x="137" y="69"/>
                    </a:lnTo>
                    <a:lnTo>
                      <a:pt x="141" y="67"/>
                    </a:lnTo>
                    <a:lnTo>
                      <a:pt x="143" y="67"/>
                    </a:lnTo>
                    <a:lnTo>
                      <a:pt x="145" y="67"/>
                    </a:lnTo>
                    <a:lnTo>
                      <a:pt x="147" y="67"/>
                    </a:lnTo>
                    <a:lnTo>
                      <a:pt x="148" y="69"/>
                    </a:lnTo>
                    <a:lnTo>
                      <a:pt x="148" y="71"/>
                    </a:lnTo>
                    <a:lnTo>
                      <a:pt x="148" y="73"/>
                    </a:lnTo>
                    <a:lnTo>
                      <a:pt x="148" y="71"/>
                    </a:lnTo>
                    <a:lnTo>
                      <a:pt x="148" y="73"/>
                    </a:lnTo>
                    <a:lnTo>
                      <a:pt x="148" y="75"/>
                    </a:lnTo>
                    <a:lnTo>
                      <a:pt x="148" y="79"/>
                    </a:lnTo>
                    <a:lnTo>
                      <a:pt x="147" y="79"/>
                    </a:lnTo>
                    <a:lnTo>
                      <a:pt x="147" y="81"/>
                    </a:lnTo>
                    <a:lnTo>
                      <a:pt x="148" y="81"/>
                    </a:lnTo>
                    <a:lnTo>
                      <a:pt x="147" y="81"/>
                    </a:lnTo>
                    <a:lnTo>
                      <a:pt x="147" y="83"/>
                    </a:lnTo>
                    <a:lnTo>
                      <a:pt x="145" y="83"/>
                    </a:lnTo>
                    <a:lnTo>
                      <a:pt x="147" y="81"/>
                    </a:lnTo>
                    <a:lnTo>
                      <a:pt x="141" y="81"/>
                    </a:lnTo>
                    <a:lnTo>
                      <a:pt x="139" y="83"/>
                    </a:lnTo>
                    <a:lnTo>
                      <a:pt x="137" y="84"/>
                    </a:lnTo>
                    <a:lnTo>
                      <a:pt x="135" y="88"/>
                    </a:lnTo>
                    <a:lnTo>
                      <a:pt x="133" y="90"/>
                    </a:lnTo>
                    <a:lnTo>
                      <a:pt x="133" y="92"/>
                    </a:lnTo>
                    <a:lnTo>
                      <a:pt x="131" y="92"/>
                    </a:lnTo>
                    <a:lnTo>
                      <a:pt x="133" y="92"/>
                    </a:lnTo>
                    <a:lnTo>
                      <a:pt x="131" y="92"/>
                    </a:lnTo>
                    <a:lnTo>
                      <a:pt x="131" y="94"/>
                    </a:lnTo>
                    <a:lnTo>
                      <a:pt x="133" y="96"/>
                    </a:lnTo>
                    <a:lnTo>
                      <a:pt x="131" y="96"/>
                    </a:lnTo>
                    <a:lnTo>
                      <a:pt x="133" y="96"/>
                    </a:lnTo>
                    <a:lnTo>
                      <a:pt x="131" y="96"/>
                    </a:lnTo>
                    <a:lnTo>
                      <a:pt x="133" y="96"/>
                    </a:lnTo>
                    <a:lnTo>
                      <a:pt x="131" y="96"/>
                    </a:lnTo>
                    <a:lnTo>
                      <a:pt x="131" y="98"/>
                    </a:lnTo>
                    <a:lnTo>
                      <a:pt x="133" y="96"/>
                    </a:lnTo>
                    <a:lnTo>
                      <a:pt x="133" y="98"/>
                    </a:lnTo>
                    <a:lnTo>
                      <a:pt x="131" y="98"/>
                    </a:lnTo>
                    <a:lnTo>
                      <a:pt x="133" y="100"/>
                    </a:lnTo>
                    <a:lnTo>
                      <a:pt x="131" y="104"/>
                    </a:lnTo>
                    <a:lnTo>
                      <a:pt x="131" y="105"/>
                    </a:lnTo>
                    <a:lnTo>
                      <a:pt x="129" y="105"/>
                    </a:lnTo>
                    <a:lnTo>
                      <a:pt x="126" y="105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0" y="100"/>
                    </a:lnTo>
                    <a:lnTo>
                      <a:pt x="118" y="100"/>
                    </a:lnTo>
                    <a:lnTo>
                      <a:pt x="116" y="98"/>
                    </a:lnTo>
                    <a:lnTo>
                      <a:pt x="116" y="100"/>
                    </a:lnTo>
                    <a:lnTo>
                      <a:pt x="114" y="98"/>
                    </a:lnTo>
                    <a:lnTo>
                      <a:pt x="112" y="100"/>
                    </a:lnTo>
                    <a:lnTo>
                      <a:pt x="112" y="98"/>
                    </a:lnTo>
                    <a:lnTo>
                      <a:pt x="110" y="98"/>
                    </a:lnTo>
                    <a:lnTo>
                      <a:pt x="110" y="96"/>
                    </a:lnTo>
                    <a:lnTo>
                      <a:pt x="108" y="96"/>
                    </a:lnTo>
                    <a:lnTo>
                      <a:pt x="107" y="96"/>
                    </a:lnTo>
                    <a:lnTo>
                      <a:pt x="105" y="96"/>
                    </a:lnTo>
                    <a:lnTo>
                      <a:pt x="103" y="98"/>
                    </a:lnTo>
                    <a:lnTo>
                      <a:pt x="99" y="98"/>
                    </a:lnTo>
                    <a:lnTo>
                      <a:pt x="97" y="98"/>
                    </a:lnTo>
                    <a:lnTo>
                      <a:pt x="95" y="98"/>
                    </a:lnTo>
                    <a:lnTo>
                      <a:pt x="93" y="100"/>
                    </a:lnTo>
                    <a:lnTo>
                      <a:pt x="91" y="100"/>
                    </a:lnTo>
                    <a:lnTo>
                      <a:pt x="91" y="102"/>
                    </a:lnTo>
                    <a:lnTo>
                      <a:pt x="89" y="102"/>
                    </a:lnTo>
                    <a:lnTo>
                      <a:pt x="87" y="104"/>
                    </a:lnTo>
                    <a:lnTo>
                      <a:pt x="87" y="105"/>
                    </a:lnTo>
                    <a:lnTo>
                      <a:pt x="86" y="105"/>
                    </a:lnTo>
                    <a:lnTo>
                      <a:pt x="84" y="107"/>
                    </a:lnTo>
                    <a:lnTo>
                      <a:pt x="82" y="107"/>
                    </a:lnTo>
                    <a:lnTo>
                      <a:pt x="80" y="107"/>
                    </a:lnTo>
                    <a:lnTo>
                      <a:pt x="78" y="105"/>
                    </a:lnTo>
                    <a:lnTo>
                      <a:pt x="76" y="105"/>
                    </a:lnTo>
                    <a:lnTo>
                      <a:pt x="74" y="105"/>
                    </a:lnTo>
                    <a:lnTo>
                      <a:pt x="72" y="105"/>
                    </a:lnTo>
                    <a:lnTo>
                      <a:pt x="70" y="105"/>
                    </a:lnTo>
                    <a:lnTo>
                      <a:pt x="68" y="105"/>
                    </a:lnTo>
                    <a:lnTo>
                      <a:pt x="66" y="104"/>
                    </a:lnTo>
                    <a:lnTo>
                      <a:pt x="65" y="105"/>
                    </a:lnTo>
                    <a:lnTo>
                      <a:pt x="61" y="105"/>
                    </a:lnTo>
                    <a:lnTo>
                      <a:pt x="59" y="105"/>
                    </a:lnTo>
                    <a:lnTo>
                      <a:pt x="57" y="105"/>
                    </a:lnTo>
                    <a:lnTo>
                      <a:pt x="55" y="104"/>
                    </a:lnTo>
                    <a:lnTo>
                      <a:pt x="51" y="104"/>
                    </a:lnTo>
                    <a:lnTo>
                      <a:pt x="49" y="102"/>
                    </a:lnTo>
                    <a:lnTo>
                      <a:pt x="47" y="102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40" y="102"/>
                    </a:lnTo>
                    <a:lnTo>
                      <a:pt x="40" y="100"/>
                    </a:lnTo>
                    <a:lnTo>
                      <a:pt x="42" y="100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38" y="94"/>
                    </a:lnTo>
                    <a:lnTo>
                      <a:pt x="38" y="92"/>
                    </a:lnTo>
                    <a:lnTo>
                      <a:pt x="36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6" y="88"/>
                    </a:lnTo>
                    <a:lnTo>
                      <a:pt x="36" y="86"/>
                    </a:lnTo>
                    <a:lnTo>
                      <a:pt x="38" y="88"/>
                    </a:lnTo>
                    <a:lnTo>
                      <a:pt x="38" y="86"/>
                    </a:lnTo>
                    <a:lnTo>
                      <a:pt x="36" y="86"/>
                    </a:lnTo>
                    <a:lnTo>
                      <a:pt x="36" y="84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0" y="84"/>
                    </a:lnTo>
                    <a:lnTo>
                      <a:pt x="30" y="88"/>
                    </a:lnTo>
                    <a:lnTo>
                      <a:pt x="28" y="88"/>
                    </a:lnTo>
                    <a:lnTo>
                      <a:pt x="26" y="86"/>
                    </a:lnTo>
                    <a:lnTo>
                      <a:pt x="26" y="84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21" y="83"/>
                    </a:lnTo>
                    <a:lnTo>
                      <a:pt x="17" y="83"/>
                    </a:lnTo>
                    <a:lnTo>
                      <a:pt x="17" y="81"/>
                    </a:lnTo>
                    <a:lnTo>
                      <a:pt x="19" y="81"/>
                    </a:lnTo>
                    <a:lnTo>
                      <a:pt x="19" y="79"/>
                    </a:lnTo>
                    <a:lnTo>
                      <a:pt x="17" y="77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19" y="73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3" y="71"/>
                    </a:lnTo>
                    <a:lnTo>
                      <a:pt x="13" y="69"/>
                    </a:lnTo>
                    <a:lnTo>
                      <a:pt x="11" y="71"/>
                    </a:lnTo>
                    <a:lnTo>
                      <a:pt x="11" y="69"/>
                    </a:lnTo>
                    <a:lnTo>
                      <a:pt x="9" y="67"/>
                    </a:lnTo>
                    <a:lnTo>
                      <a:pt x="7" y="65"/>
                    </a:lnTo>
                    <a:lnTo>
                      <a:pt x="7" y="63"/>
                    </a:lnTo>
                    <a:lnTo>
                      <a:pt x="7" y="62"/>
                    </a:lnTo>
                    <a:lnTo>
                      <a:pt x="7" y="60"/>
                    </a:lnTo>
                    <a:lnTo>
                      <a:pt x="5" y="60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5" y="52"/>
                    </a:lnTo>
                    <a:lnTo>
                      <a:pt x="5" y="50"/>
                    </a:lnTo>
                    <a:lnTo>
                      <a:pt x="7" y="50"/>
                    </a:lnTo>
                    <a:lnTo>
                      <a:pt x="7" y="48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5" y="41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1" y="31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6" y="21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4" y="6"/>
                    </a:lnTo>
                    <a:lnTo>
                      <a:pt x="45" y="4"/>
                    </a:lnTo>
                    <a:lnTo>
                      <a:pt x="47" y="4"/>
                    </a:lnTo>
                    <a:lnTo>
                      <a:pt x="47" y="6"/>
                    </a:lnTo>
                    <a:lnTo>
                      <a:pt x="49" y="8"/>
                    </a:lnTo>
                    <a:lnTo>
                      <a:pt x="51" y="6"/>
                    </a:lnTo>
                    <a:lnTo>
                      <a:pt x="51" y="8"/>
                    </a:lnTo>
                    <a:lnTo>
                      <a:pt x="53" y="8"/>
                    </a:lnTo>
                    <a:lnTo>
                      <a:pt x="55" y="8"/>
                    </a:lnTo>
                    <a:lnTo>
                      <a:pt x="57" y="10"/>
                    </a:lnTo>
                    <a:lnTo>
                      <a:pt x="57" y="8"/>
                    </a:lnTo>
                    <a:lnTo>
                      <a:pt x="59" y="8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8"/>
                    </a:lnTo>
                    <a:lnTo>
                      <a:pt x="66" y="8"/>
                    </a:lnTo>
                    <a:lnTo>
                      <a:pt x="68" y="8"/>
                    </a:lnTo>
                    <a:lnTo>
                      <a:pt x="68" y="10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4" y="14"/>
                    </a:lnTo>
                    <a:lnTo>
                      <a:pt x="76" y="14"/>
                    </a:lnTo>
                    <a:lnTo>
                      <a:pt x="76" y="12"/>
                    </a:lnTo>
                    <a:lnTo>
                      <a:pt x="78" y="10"/>
                    </a:lnTo>
                    <a:lnTo>
                      <a:pt x="80" y="10"/>
                    </a:lnTo>
                    <a:lnTo>
                      <a:pt x="84" y="8"/>
                    </a:lnTo>
                    <a:lnTo>
                      <a:pt x="86" y="8"/>
                    </a:lnTo>
                    <a:lnTo>
                      <a:pt x="87" y="8"/>
                    </a:lnTo>
                    <a:lnTo>
                      <a:pt x="89" y="8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3" y="6"/>
                    </a:lnTo>
                    <a:lnTo>
                      <a:pt x="95" y="6"/>
                    </a:lnTo>
                    <a:lnTo>
                      <a:pt x="95" y="4"/>
                    </a:lnTo>
                    <a:lnTo>
                      <a:pt x="95" y="2"/>
                    </a:lnTo>
                    <a:lnTo>
                      <a:pt x="97" y="2"/>
                    </a:lnTo>
                    <a:lnTo>
                      <a:pt x="99" y="2"/>
                    </a:lnTo>
                    <a:lnTo>
                      <a:pt x="101" y="2"/>
                    </a:lnTo>
                    <a:lnTo>
                      <a:pt x="101" y="0"/>
                    </a:lnTo>
                    <a:lnTo>
                      <a:pt x="101" y="2"/>
                    </a:lnTo>
                    <a:lnTo>
                      <a:pt x="101" y="0"/>
                    </a:lnTo>
                    <a:lnTo>
                      <a:pt x="101" y="2"/>
                    </a:lnTo>
                    <a:lnTo>
                      <a:pt x="101" y="0"/>
                    </a:lnTo>
                    <a:lnTo>
                      <a:pt x="101" y="2"/>
                    </a:lnTo>
                    <a:lnTo>
                      <a:pt x="101" y="0"/>
                    </a:lnTo>
                    <a:lnTo>
                      <a:pt x="101" y="2"/>
                    </a:lnTo>
                    <a:lnTo>
                      <a:pt x="103" y="0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5" y="4"/>
                    </a:lnTo>
                    <a:lnTo>
                      <a:pt x="107" y="4"/>
                    </a:lnTo>
                    <a:lnTo>
                      <a:pt x="105" y="4"/>
                    </a:lnTo>
                    <a:lnTo>
                      <a:pt x="107" y="4"/>
                    </a:lnTo>
                    <a:lnTo>
                      <a:pt x="107" y="6"/>
                    </a:lnTo>
                    <a:lnTo>
                      <a:pt x="108" y="6"/>
                    </a:lnTo>
                    <a:lnTo>
                      <a:pt x="107" y="8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08" y="12"/>
                    </a:lnTo>
                    <a:lnTo>
                      <a:pt x="110" y="12"/>
                    </a:lnTo>
                    <a:lnTo>
                      <a:pt x="108" y="12"/>
                    </a:lnTo>
                    <a:lnTo>
                      <a:pt x="110" y="12"/>
                    </a:lnTo>
                    <a:lnTo>
                      <a:pt x="110" y="14"/>
                    </a:lnTo>
                    <a:lnTo>
                      <a:pt x="110" y="16"/>
                    </a:lnTo>
                    <a:lnTo>
                      <a:pt x="112" y="18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6" y="23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8" y="25"/>
                    </a:lnTo>
                    <a:lnTo>
                      <a:pt x="118" y="27"/>
                    </a:lnTo>
                    <a:lnTo>
                      <a:pt x="118" y="25"/>
                    </a:lnTo>
                    <a:lnTo>
                      <a:pt x="118" y="27"/>
                    </a:lnTo>
                    <a:lnTo>
                      <a:pt x="120" y="27"/>
                    </a:lnTo>
                    <a:lnTo>
                      <a:pt x="120" y="29"/>
                    </a:lnTo>
                    <a:lnTo>
                      <a:pt x="122" y="29"/>
                    </a:lnTo>
                    <a:lnTo>
                      <a:pt x="122" y="31"/>
                    </a:lnTo>
                    <a:lnTo>
                      <a:pt x="124" y="31"/>
                    </a:lnTo>
                    <a:lnTo>
                      <a:pt x="124" y="33"/>
                    </a:lnTo>
                    <a:lnTo>
                      <a:pt x="124" y="35"/>
                    </a:lnTo>
                    <a:lnTo>
                      <a:pt x="124" y="37"/>
                    </a:lnTo>
                    <a:lnTo>
                      <a:pt x="126" y="37"/>
                    </a:lnTo>
                    <a:lnTo>
                      <a:pt x="124" y="37"/>
                    </a:lnTo>
                    <a:lnTo>
                      <a:pt x="126" y="39"/>
                    </a:lnTo>
                    <a:lnTo>
                      <a:pt x="126" y="41"/>
                    </a:lnTo>
                    <a:lnTo>
                      <a:pt x="126" y="42"/>
                    </a:lnTo>
                    <a:lnTo>
                      <a:pt x="126" y="44"/>
                    </a:lnTo>
                    <a:lnTo>
                      <a:pt x="126" y="46"/>
                    </a:lnTo>
                    <a:lnTo>
                      <a:pt x="126" y="48"/>
                    </a:lnTo>
                    <a:lnTo>
                      <a:pt x="124" y="48"/>
                    </a:lnTo>
                    <a:lnTo>
                      <a:pt x="124" y="50"/>
                    </a:lnTo>
                    <a:lnTo>
                      <a:pt x="124" y="52"/>
                    </a:lnTo>
                    <a:lnTo>
                      <a:pt x="124" y="54"/>
                    </a:lnTo>
                    <a:lnTo>
                      <a:pt x="124" y="56"/>
                    </a:lnTo>
                    <a:lnTo>
                      <a:pt x="124" y="58"/>
                    </a:lnTo>
                    <a:lnTo>
                      <a:pt x="124" y="60"/>
                    </a:lnTo>
                    <a:lnTo>
                      <a:pt x="124" y="62"/>
                    </a:lnTo>
                    <a:lnTo>
                      <a:pt x="124" y="63"/>
                    </a:lnTo>
                    <a:lnTo>
                      <a:pt x="124" y="65"/>
                    </a:lnTo>
                    <a:lnTo>
                      <a:pt x="126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4" name="Freeform 246">
                <a:extLst>
                  <a:ext uri="{FF2B5EF4-FFF2-40B4-BE49-F238E27FC236}">
                    <a16:creationId xmlns:a16="http://schemas.microsoft.com/office/drawing/2014/main" id="{9448F673-0D8C-E1D1-48C9-E576B3C545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62463" y="-3303609"/>
                <a:ext cx="86655" cy="107342"/>
              </a:xfrm>
              <a:custGeom>
                <a:avLst/>
                <a:gdLst>
                  <a:gd name="T0" fmla="*/ 23 w 55"/>
                  <a:gd name="T1" fmla="*/ 66 h 68"/>
                  <a:gd name="T2" fmla="*/ 23 w 55"/>
                  <a:gd name="T3" fmla="*/ 61 h 68"/>
                  <a:gd name="T4" fmla="*/ 23 w 55"/>
                  <a:gd name="T5" fmla="*/ 55 h 68"/>
                  <a:gd name="T6" fmla="*/ 25 w 55"/>
                  <a:gd name="T7" fmla="*/ 51 h 68"/>
                  <a:gd name="T8" fmla="*/ 25 w 55"/>
                  <a:gd name="T9" fmla="*/ 45 h 68"/>
                  <a:gd name="T10" fmla="*/ 23 w 55"/>
                  <a:gd name="T11" fmla="*/ 40 h 68"/>
                  <a:gd name="T12" fmla="*/ 23 w 55"/>
                  <a:gd name="T13" fmla="*/ 38 h 68"/>
                  <a:gd name="T14" fmla="*/ 21 w 55"/>
                  <a:gd name="T15" fmla="*/ 34 h 68"/>
                  <a:gd name="T16" fmla="*/ 19 w 55"/>
                  <a:gd name="T17" fmla="*/ 30 h 68"/>
                  <a:gd name="T18" fmla="*/ 17 w 55"/>
                  <a:gd name="T19" fmla="*/ 30 h 68"/>
                  <a:gd name="T20" fmla="*/ 15 w 55"/>
                  <a:gd name="T21" fmla="*/ 28 h 68"/>
                  <a:gd name="T22" fmla="*/ 13 w 55"/>
                  <a:gd name="T23" fmla="*/ 24 h 68"/>
                  <a:gd name="T24" fmla="*/ 13 w 55"/>
                  <a:gd name="T25" fmla="*/ 23 h 68"/>
                  <a:gd name="T26" fmla="*/ 11 w 55"/>
                  <a:gd name="T27" fmla="*/ 23 h 68"/>
                  <a:gd name="T28" fmla="*/ 9 w 55"/>
                  <a:gd name="T29" fmla="*/ 17 h 68"/>
                  <a:gd name="T30" fmla="*/ 9 w 55"/>
                  <a:gd name="T31" fmla="*/ 15 h 68"/>
                  <a:gd name="T32" fmla="*/ 7 w 55"/>
                  <a:gd name="T33" fmla="*/ 11 h 68"/>
                  <a:gd name="T34" fmla="*/ 7 w 55"/>
                  <a:gd name="T35" fmla="*/ 9 h 68"/>
                  <a:gd name="T36" fmla="*/ 4 w 55"/>
                  <a:gd name="T37" fmla="*/ 7 h 68"/>
                  <a:gd name="T38" fmla="*/ 4 w 55"/>
                  <a:gd name="T39" fmla="*/ 5 h 68"/>
                  <a:gd name="T40" fmla="*/ 0 w 55"/>
                  <a:gd name="T41" fmla="*/ 5 h 68"/>
                  <a:gd name="T42" fmla="*/ 0 w 55"/>
                  <a:gd name="T43" fmla="*/ 3 h 68"/>
                  <a:gd name="T44" fmla="*/ 0 w 55"/>
                  <a:gd name="T45" fmla="*/ 5 h 68"/>
                  <a:gd name="T46" fmla="*/ 2 w 55"/>
                  <a:gd name="T47" fmla="*/ 3 h 68"/>
                  <a:gd name="T48" fmla="*/ 2 w 55"/>
                  <a:gd name="T49" fmla="*/ 2 h 68"/>
                  <a:gd name="T50" fmla="*/ 4 w 55"/>
                  <a:gd name="T51" fmla="*/ 2 h 68"/>
                  <a:gd name="T52" fmla="*/ 7 w 55"/>
                  <a:gd name="T53" fmla="*/ 2 h 68"/>
                  <a:gd name="T54" fmla="*/ 11 w 55"/>
                  <a:gd name="T55" fmla="*/ 0 h 68"/>
                  <a:gd name="T56" fmla="*/ 15 w 55"/>
                  <a:gd name="T57" fmla="*/ 0 h 68"/>
                  <a:gd name="T58" fmla="*/ 21 w 55"/>
                  <a:gd name="T59" fmla="*/ 3 h 68"/>
                  <a:gd name="T60" fmla="*/ 23 w 55"/>
                  <a:gd name="T61" fmla="*/ 3 h 68"/>
                  <a:gd name="T62" fmla="*/ 26 w 55"/>
                  <a:gd name="T63" fmla="*/ 7 h 68"/>
                  <a:gd name="T64" fmla="*/ 28 w 55"/>
                  <a:gd name="T65" fmla="*/ 7 h 68"/>
                  <a:gd name="T66" fmla="*/ 30 w 55"/>
                  <a:gd name="T67" fmla="*/ 5 h 68"/>
                  <a:gd name="T68" fmla="*/ 34 w 55"/>
                  <a:gd name="T69" fmla="*/ 7 h 68"/>
                  <a:gd name="T70" fmla="*/ 38 w 55"/>
                  <a:gd name="T71" fmla="*/ 11 h 68"/>
                  <a:gd name="T72" fmla="*/ 42 w 55"/>
                  <a:gd name="T73" fmla="*/ 13 h 68"/>
                  <a:gd name="T74" fmla="*/ 40 w 55"/>
                  <a:gd name="T75" fmla="*/ 17 h 68"/>
                  <a:gd name="T76" fmla="*/ 38 w 55"/>
                  <a:gd name="T77" fmla="*/ 21 h 68"/>
                  <a:gd name="T78" fmla="*/ 40 w 55"/>
                  <a:gd name="T79" fmla="*/ 23 h 68"/>
                  <a:gd name="T80" fmla="*/ 44 w 55"/>
                  <a:gd name="T81" fmla="*/ 24 h 68"/>
                  <a:gd name="T82" fmla="*/ 46 w 55"/>
                  <a:gd name="T83" fmla="*/ 28 h 68"/>
                  <a:gd name="T84" fmla="*/ 46 w 55"/>
                  <a:gd name="T85" fmla="*/ 32 h 68"/>
                  <a:gd name="T86" fmla="*/ 46 w 55"/>
                  <a:gd name="T87" fmla="*/ 36 h 68"/>
                  <a:gd name="T88" fmla="*/ 51 w 55"/>
                  <a:gd name="T89" fmla="*/ 36 h 68"/>
                  <a:gd name="T90" fmla="*/ 51 w 55"/>
                  <a:gd name="T91" fmla="*/ 38 h 68"/>
                  <a:gd name="T92" fmla="*/ 51 w 55"/>
                  <a:gd name="T93" fmla="*/ 44 h 68"/>
                  <a:gd name="T94" fmla="*/ 53 w 55"/>
                  <a:gd name="T95" fmla="*/ 47 h 68"/>
                  <a:gd name="T96" fmla="*/ 53 w 55"/>
                  <a:gd name="T97" fmla="*/ 47 h 68"/>
                  <a:gd name="T98" fmla="*/ 51 w 55"/>
                  <a:gd name="T99" fmla="*/ 49 h 68"/>
                  <a:gd name="T100" fmla="*/ 47 w 55"/>
                  <a:gd name="T101" fmla="*/ 47 h 68"/>
                  <a:gd name="T102" fmla="*/ 46 w 55"/>
                  <a:gd name="T103" fmla="*/ 47 h 68"/>
                  <a:gd name="T104" fmla="*/ 44 w 55"/>
                  <a:gd name="T105" fmla="*/ 45 h 68"/>
                  <a:gd name="T106" fmla="*/ 42 w 55"/>
                  <a:gd name="T107" fmla="*/ 47 h 68"/>
                  <a:gd name="T108" fmla="*/ 42 w 55"/>
                  <a:gd name="T109" fmla="*/ 45 h 68"/>
                  <a:gd name="T110" fmla="*/ 38 w 55"/>
                  <a:gd name="T111" fmla="*/ 45 h 68"/>
                  <a:gd name="T112" fmla="*/ 38 w 55"/>
                  <a:gd name="T113" fmla="*/ 47 h 68"/>
                  <a:gd name="T114" fmla="*/ 36 w 55"/>
                  <a:gd name="T115" fmla="*/ 51 h 68"/>
                  <a:gd name="T116" fmla="*/ 36 w 55"/>
                  <a:gd name="T117" fmla="*/ 57 h 68"/>
                  <a:gd name="T118" fmla="*/ 34 w 55"/>
                  <a:gd name="T119" fmla="*/ 61 h 68"/>
                  <a:gd name="T120" fmla="*/ 30 w 55"/>
                  <a:gd name="T121" fmla="*/ 63 h 68"/>
                  <a:gd name="T122" fmla="*/ 30 w 55"/>
                  <a:gd name="T123" fmla="*/ 66 h 68"/>
                  <a:gd name="T124" fmla="*/ 26 w 55"/>
                  <a:gd name="T125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5" h="68">
                    <a:moveTo>
                      <a:pt x="25" y="68"/>
                    </a:moveTo>
                    <a:lnTo>
                      <a:pt x="23" y="68"/>
                    </a:lnTo>
                    <a:lnTo>
                      <a:pt x="23" y="66"/>
                    </a:lnTo>
                    <a:lnTo>
                      <a:pt x="23" y="65"/>
                    </a:lnTo>
                    <a:lnTo>
                      <a:pt x="23" y="63"/>
                    </a:lnTo>
                    <a:lnTo>
                      <a:pt x="23" y="61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3" y="55"/>
                    </a:lnTo>
                    <a:lnTo>
                      <a:pt x="23" y="53"/>
                    </a:lnTo>
                    <a:lnTo>
                      <a:pt x="23" y="51"/>
                    </a:lnTo>
                    <a:lnTo>
                      <a:pt x="25" y="51"/>
                    </a:lnTo>
                    <a:lnTo>
                      <a:pt x="25" y="49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5" y="44"/>
                    </a:lnTo>
                    <a:lnTo>
                      <a:pt x="25" y="42"/>
                    </a:lnTo>
                    <a:lnTo>
                      <a:pt x="23" y="40"/>
                    </a:lnTo>
                    <a:lnTo>
                      <a:pt x="25" y="40"/>
                    </a:lnTo>
                    <a:lnTo>
                      <a:pt x="23" y="40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3" y="34"/>
                    </a:lnTo>
                    <a:lnTo>
                      <a:pt x="21" y="34"/>
                    </a:lnTo>
                    <a:lnTo>
                      <a:pt x="21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17" y="30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15" y="28"/>
                    </a:lnTo>
                    <a:lnTo>
                      <a:pt x="15" y="26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9" y="19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9" y="2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3" y="5"/>
                    </a:lnTo>
                    <a:lnTo>
                      <a:pt x="23" y="3"/>
                    </a:lnTo>
                    <a:lnTo>
                      <a:pt x="25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6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8" y="9"/>
                    </a:lnTo>
                    <a:lnTo>
                      <a:pt x="28" y="7"/>
                    </a:lnTo>
                    <a:lnTo>
                      <a:pt x="30" y="5"/>
                    </a:lnTo>
                    <a:lnTo>
                      <a:pt x="30" y="7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4" y="9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40" y="11"/>
                    </a:lnTo>
                    <a:lnTo>
                      <a:pt x="40" y="13"/>
                    </a:lnTo>
                    <a:lnTo>
                      <a:pt x="42" y="13"/>
                    </a:lnTo>
                    <a:lnTo>
                      <a:pt x="40" y="15"/>
                    </a:lnTo>
                    <a:lnTo>
                      <a:pt x="42" y="15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40" y="24"/>
                    </a:lnTo>
                    <a:lnTo>
                      <a:pt x="40" y="23"/>
                    </a:lnTo>
                    <a:lnTo>
                      <a:pt x="40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6"/>
                    </a:lnTo>
                    <a:lnTo>
                      <a:pt x="46" y="26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4" y="32"/>
                    </a:lnTo>
                    <a:lnTo>
                      <a:pt x="46" y="32"/>
                    </a:lnTo>
                    <a:lnTo>
                      <a:pt x="47" y="32"/>
                    </a:lnTo>
                    <a:lnTo>
                      <a:pt x="46" y="34"/>
                    </a:lnTo>
                    <a:lnTo>
                      <a:pt x="46" y="36"/>
                    </a:lnTo>
                    <a:lnTo>
                      <a:pt x="47" y="36"/>
                    </a:lnTo>
                    <a:lnTo>
                      <a:pt x="49" y="38"/>
                    </a:lnTo>
                    <a:lnTo>
                      <a:pt x="51" y="36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1" y="38"/>
                    </a:lnTo>
                    <a:lnTo>
                      <a:pt x="53" y="40"/>
                    </a:lnTo>
                    <a:lnTo>
                      <a:pt x="51" y="42"/>
                    </a:lnTo>
                    <a:lnTo>
                      <a:pt x="51" y="44"/>
                    </a:lnTo>
                    <a:lnTo>
                      <a:pt x="51" y="45"/>
                    </a:lnTo>
                    <a:lnTo>
                      <a:pt x="53" y="45"/>
                    </a:lnTo>
                    <a:lnTo>
                      <a:pt x="53" y="47"/>
                    </a:lnTo>
                    <a:lnTo>
                      <a:pt x="55" y="47"/>
                    </a:lnTo>
                    <a:lnTo>
                      <a:pt x="53" y="49"/>
                    </a:lnTo>
                    <a:lnTo>
                      <a:pt x="53" y="47"/>
                    </a:lnTo>
                    <a:lnTo>
                      <a:pt x="53" y="49"/>
                    </a:lnTo>
                    <a:lnTo>
                      <a:pt x="51" y="47"/>
                    </a:lnTo>
                    <a:lnTo>
                      <a:pt x="51" y="49"/>
                    </a:lnTo>
                    <a:lnTo>
                      <a:pt x="49" y="47"/>
                    </a:lnTo>
                    <a:lnTo>
                      <a:pt x="49" y="45"/>
                    </a:lnTo>
                    <a:lnTo>
                      <a:pt x="47" y="47"/>
                    </a:lnTo>
                    <a:lnTo>
                      <a:pt x="47" y="49"/>
                    </a:lnTo>
                    <a:lnTo>
                      <a:pt x="46" y="49"/>
                    </a:lnTo>
                    <a:lnTo>
                      <a:pt x="46" y="47"/>
                    </a:lnTo>
                    <a:lnTo>
                      <a:pt x="44" y="47"/>
                    </a:lnTo>
                    <a:lnTo>
                      <a:pt x="46" y="47"/>
                    </a:lnTo>
                    <a:lnTo>
                      <a:pt x="44" y="45"/>
                    </a:lnTo>
                    <a:lnTo>
                      <a:pt x="44" y="47"/>
                    </a:lnTo>
                    <a:lnTo>
                      <a:pt x="42" y="45"/>
                    </a:lnTo>
                    <a:lnTo>
                      <a:pt x="42" y="47"/>
                    </a:lnTo>
                    <a:lnTo>
                      <a:pt x="40" y="49"/>
                    </a:lnTo>
                    <a:lnTo>
                      <a:pt x="40" y="47"/>
                    </a:lnTo>
                    <a:lnTo>
                      <a:pt x="42" y="45"/>
                    </a:lnTo>
                    <a:lnTo>
                      <a:pt x="40" y="44"/>
                    </a:lnTo>
                    <a:lnTo>
                      <a:pt x="40" y="45"/>
                    </a:lnTo>
                    <a:lnTo>
                      <a:pt x="38" y="45"/>
                    </a:lnTo>
                    <a:lnTo>
                      <a:pt x="36" y="45"/>
                    </a:lnTo>
                    <a:lnTo>
                      <a:pt x="38" y="45"/>
                    </a:lnTo>
                    <a:lnTo>
                      <a:pt x="38" y="47"/>
                    </a:lnTo>
                    <a:lnTo>
                      <a:pt x="36" y="47"/>
                    </a:lnTo>
                    <a:lnTo>
                      <a:pt x="36" y="49"/>
                    </a:lnTo>
                    <a:lnTo>
                      <a:pt x="36" y="51"/>
                    </a:lnTo>
                    <a:lnTo>
                      <a:pt x="38" y="53"/>
                    </a:lnTo>
                    <a:lnTo>
                      <a:pt x="36" y="55"/>
                    </a:lnTo>
                    <a:lnTo>
                      <a:pt x="36" y="57"/>
                    </a:lnTo>
                    <a:lnTo>
                      <a:pt x="32" y="57"/>
                    </a:lnTo>
                    <a:lnTo>
                      <a:pt x="32" y="59"/>
                    </a:lnTo>
                    <a:lnTo>
                      <a:pt x="34" y="61"/>
                    </a:lnTo>
                    <a:lnTo>
                      <a:pt x="32" y="61"/>
                    </a:lnTo>
                    <a:lnTo>
                      <a:pt x="32" y="63"/>
                    </a:lnTo>
                    <a:lnTo>
                      <a:pt x="30" y="63"/>
                    </a:lnTo>
                    <a:lnTo>
                      <a:pt x="28" y="63"/>
                    </a:lnTo>
                    <a:lnTo>
                      <a:pt x="28" y="65"/>
                    </a:lnTo>
                    <a:lnTo>
                      <a:pt x="30" y="66"/>
                    </a:lnTo>
                    <a:lnTo>
                      <a:pt x="28" y="66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5" y="6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5" name="Freeform 247">
                <a:extLst>
                  <a:ext uri="{FF2B5EF4-FFF2-40B4-BE49-F238E27FC236}">
                    <a16:creationId xmlns:a16="http://schemas.microsoft.com/office/drawing/2014/main" id="{5F4C2E57-3762-0808-9AAB-7C0A71952F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4231" y="-3624051"/>
                <a:ext cx="241064" cy="211525"/>
              </a:xfrm>
              <a:custGeom>
                <a:avLst/>
                <a:gdLst>
                  <a:gd name="T0" fmla="*/ 126 w 153"/>
                  <a:gd name="T1" fmla="*/ 113 h 134"/>
                  <a:gd name="T2" fmla="*/ 123 w 153"/>
                  <a:gd name="T3" fmla="*/ 113 h 134"/>
                  <a:gd name="T4" fmla="*/ 119 w 153"/>
                  <a:gd name="T5" fmla="*/ 123 h 134"/>
                  <a:gd name="T6" fmla="*/ 119 w 153"/>
                  <a:gd name="T7" fmla="*/ 130 h 134"/>
                  <a:gd name="T8" fmla="*/ 117 w 153"/>
                  <a:gd name="T9" fmla="*/ 132 h 134"/>
                  <a:gd name="T10" fmla="*/ 111 w 153"/>
                  <a:gd name="T11" fmla="*/ 128 h 134"/>
                  <a:gd name="T12" fmla="*/ 102 w 153"/>
                  <a:gd name="T13" fmla="*/ 128 h 134"/>
                  <a:gd name="T14" fmla="*/ 94 w 153"/>
                  <a:gd name="T15" fmla="*/ 123 h 134"/>
                  <a:gd name="T16" fmla="*/ 86 w 153"/>
                  <a:gd name="T17" fmla="*/ 126 h 134"/>
                  <a:gd name="T18" fmla="*/ 79 w 153"/>
                  <a:gd name="T19" fmla="*/ 124 h 134"/>
                  <a:gd name="T20" fmla="*/ 71 w 153"/>
                  <a:gd name="T21" fmla="*/ 126 h 134"/>
                  <a:gd name="T22" fmla="*/ 65 w 153"/>
                  <a:gd name="T23" fmla="*/ 123 h 134"/>
                  <a:gd name="T24" fmla="*/ 56 w 153"/>
                  <a:gd name="T25" fmla="*/ 119 h 134"/>
                  <a:gd name="T26" fmla="*/ 46 w 153"/>
                  <a:gd name="T27" fmla="*/ 117 h 134"/>
                  <a:gd name="T28" fmla="*/ 37 w 153"/>
                  <a:gd name="T29" fmla="*/ 117 h 134"/>
                  <a:gd name="T30" fmla="*/ 23 w 153"/>
                  <a:gd name="T31" fmla="*/ 117 h 134"/>
                  <a:gd name="T32" fmla="*/ 10 w 153"/>
                  <a:gd name="T33" fmla="*/ 124 h 134"/>
                  <a:gd name="T34" fmla="*/ 6 w 153"/>
                  <a:gd name="T35" fmla="*/ 124 h 134"/>
                  <a:gd name="T36" fmla="*/ 8 w 153"/>
                  <a:gd name="T37" fmla="*/ 117 h 134"/>
                  <a:gd name="T38" fmla="*/ 4 w 153"/>
                  <a:gd name="T39" fmla="*/ 109 h 134"/>
                  <a:gd name="T40" fmla="*/ 12 w 153"/>
                  <a:gd name="T41" fmla="*/ 96 h 134"/>
                  <a:gd name="T42" fmla="*/ 6 w 153"/>
                  <a:gd name="T43" fmla="*/ 69 h 134"/>
                  <a:gd name="T44" fmla="*/ 12 w 153"/>
                  <a:gd name="T45" fmla="*/ 61 h 134"/>
                  <a:gd name="T46" fmla="*/ 20 w 153"/>
                  <a:gd name="T47" fmla="*/ 63 h 134"/>
                  <a:gd name="T48" fmla="*/ 27 w 153"/>
                  <a:gd name="T49" fmla="*/ 58 h 134"/>
                  <a:gd name="T50" fmla="*/ 37 w 153"/>
                  <a:gd name="T51" fmla="*/ 54 h 134"/>
                  <a:gd name="T52" fmla="*/ 42 w 153"/>
                  <a:gd name="T53" fmla="*/ 58 h 134"/>
                  <a:gd name="T54" fmla="*/ 39 w 153"/>
                  <a:gd name="T55" fmla="*/ 52 h 134"/>
                  <a:gd name="T56" fmla="*/ 41 w 153"/>
                  <a:gd name="T57" fmla="*/ 42 h 134"/>
                  <a:gd name="T58" fmla="*/ 48 w 153"/>
                  <a:gd name="T59" fmla="*/ 33 h 134"/>
                  <a:gd name="T60" fmla="*/ 56 w 153"/>
                  <a:gd name="T61" fmla="*/ 29 h 134"/>
                  <a:gd name="T62" fmla="*/ 54 w 153"/>
                  <a:gd name="T63" fmla="*/ 21 h 134"/>
                  <a:gd name="T64" fmla="*/ 60 w 153"/>
                  <a:gd name="T65" fmla="*/ 14 h 134"/>
                  <a:gd name="T66" fmla="*/ 71 w 153"/>
                  <a:gd name="T67" fmla="*/ 10 h 134"/>
                  <a:gd name="T68" fmla="*/ 79 w 153"/>
                  <a:gd name="T69" fmla="*/ 2 h 134"/>
                  <a:gd name="T70" fmla="*/ 84 w 153"/>
                  <a:gd name="T71" fmla="*/ 4 h 134"/>
                  <a:gd name="T72" fmla="*/ 90 w 153"/>
                  <a:gd name="T73" fmla="*/ 6 h 134"/>
                  <a:gd name="T74" fmla="*/ 100 w 153"/>
                  <a:gd name="T75" fmla="*/ 8 h 134"/>
                  <a:gd name="T76" fmla="*/ 103 w 153"/>
                  <a:gd name="T77" fmla="*/ 12 h 134"/>
                  <a:gd name="T78" fmla="*/ 115 w 153"/>
                  <a:gd name="T79" fmla="*/ 12 h 134"/>
                  <a:gd name="T80" fmla="*/ 123 w 153"/>
                  <a:gd name="T81" fmla="*/ 18 h 134"/>
                  <a:gd name="T82" fmla="*/ 123 w 153"/>
                  <a:gd name="T83" fmla="*/ 23 h 134"/>
                  <a:gd name="T84" fmla="*/ 123 w 153"/>
                  <a:gd name="T85" fmla="*/ 33 h 134"/>
                  <a:gd name="T86" fmla="*/ 126 w 153"/>
                  <a:gd name="T87" fmla="*/ 42 h 134"/>
                  <a:gd name="T88" fmla="*/ 128 w 153"/>
                  <a:gd name="T89" fmla="*/ 52 h 134"/>
                  <a:gd name="T90" fmla="*/ 132 w 153"/>
                  <a:gd name="T91" fmla="*/ 56 h 134"/>
                  <a:gd name="T92" fmla="*/ 140 w 153"/>
                  <a:gd name="T93" fmla="*/ 60 h 134"/>
                  <a:gd name="T94" fmla="*/ 140 w 153"/>
                  <a:gd name="T95" fmla="*/ 67 h 134"/>
                  <a:gd name="T96" fmla="*/ 147 w 153"/>
                  <a:gd name="T97" fmla="*/ 71 h 134"/>
                  <a:gd name="T98" fmla="*/ 151 w 153"/>
                  <a:gd name="T99" fmla="*/ 79 h 134"/>
                  <a:gd name="T100" fmla="*/ 147 w 153"/>
                  <a:gd name="T101" fmla="*/ 81 h 134"/>
                  <a:gd name="T102" fmla="*/ 142 w 153"/>
                  <a:gd name="T103" fmla="*/ 86 h 134"/>
                  <a:gd name="T104" fmla="*/ 130 w 153"/>
                  <a:gd name="T105" fmla="*/ 82 h 134"/>
                  <a:gd name="T106" fmla="*/ 132 w 153"/>
                  <a:gd name="T107" fmla="*/ 92 h 134"/>
                  <a:gd name="T108" fmla="*/ 134 w 153"/>
                  <a:gd name="T109" fmla="*/ 100 h 134"/>
                  <a:gd name="T110" fmla="*/ 136 w 153"/>
                  <a:gd name="T111" fmla="*/ 107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3" h="134">
                    <a:moveTo>
                      <a:pt x="138" y="111"/>
                    </a:moveTo>
                    <a:lnTo>
                      <a:pt x="136" y="111"/>
                    </a:lnTo>
                    <a:lnTo>
                      <a:pt x="132" y="111"/>
                    </a:lnTo>
                    <a:lnTo>
                      <a:pt x="130" y="111"/>
                    </a:lnTo>
                    <a:lnTo>
                      <a:pt x="130" y="113"/>
                    </a:lnTo>
                    <a:lnTo>
                      <a:pt x="128" y="113"/>
                    </a:lnTo>
                    <a:lnTo>
                      <a:pt x="126" y="113"/>
                    </a:lnTo>
                    <a:lnTo>
                      <a:pt x="126" y="111"/>
                    </a:lnTo>
                    <a:lnTo>
                      <a:pt x="124" y="113"/>
                    </a:lnTo>
                    <a:lnTo>
                      <a:pt x="123" y="113"/>
                    </a:lnTo>
                    <a:lnTo>
                      <a:pt x="124" y="113"/>
                    </a:lnTo>
                    <a:lnTo>
                      <a:pt x="123" y="113"/>
                    </a:lnTo>
                    <a:lnTo>
                      <a:pt x="124" y="113"/>
                    </a:lnTo>
                    <a:lnTo>
                      <a:pt x="123" y="113"/>
                    </a:lnTo>
                    <a:lnTo>
                      <a:pt x="123" y="115"/>
                    </a:lnTo>
                    <a:lnTo>
                      <a:pt x="121" y="115"/>
                    </a:lnTo>
                    <a:lnTo>
                      <a:pt x="123" y="117"/>
                    </a:lnTo>
                    <a:lnTo>
                      <a:pt x="121" y="117"/>
                    </a:lnTo>
                    <a:lnTo>
                      <a:pt x="119" y="119"/>
                    </a:lnTo>
                    <a:lnTo>
                      <a:pt x="119" y="121"/>
                    </a:lnTo>
                    <a:lnTo>
                      <a:pt x="119" y="123"/>
                    </a:lnTo>
                    <a:lnTo>
                      <a:pt x="117" y="123"/>
                    </a:lnTo>
                    <a:lnTo>
                      <a:pt x="117" y="124"/>
                    </a:lnTo>
                    <a:lnTo>
                      <a:pt x="117" y="126"/>
                    </a:lnTo>
                    <a:lnTo>
                      <a:pt x="119" y="126"/>
                    </a:lnTo>
                    <a:lnTo>
                      <a:pt x="117" y="126"/>
                    </a:lnTo>
                    <a:lnTo>
                      <a:pt x="119" y="128"/>
                    </a:lnTo>
                    <a:lnTo>
                      <a:pt x="119" y="130"/>
                    </a:lnTo>
                    <a:lnTo>
                      <a:pt x="119" y="132"/>
                    </a:lnTo>
                    <a:lnTo>
                      <a:pt x="117" y="134"/>
                    </a:lnTo>
                    <a:lnTo>
                      <a:pt x="117" y="132"/>
                    </a:lnTo>
                    <a:lnTo>
                      <a:pt x="117" y="134"/>
                    </a:lnTo>
                    <a:lnTo>
                      <a:pt x="117" y="132"/>
                    </a:lnTo>
                    <a:lnTo>
                      <a:pt x="115" y="132"/>
                    </a:lnTo>
                    <a:lnTo>
                      <a:pt x="117" y="132"/>
                    </a:lnTo>
                    <a:lnTo>
                      <a:pt x="115" y="132"/>
                    </a:lnTo>
                    <a:lnTo>
                      <a:pt x="113" y="130"/>
                    </a:lnTo>
                    <a:lnTo>
                      <a:pt x="115" y="130"/>
                    </a:lnTo>
                    <a:lnTo>
                      <a:pt x="111" y="126"/>
                    </a:lnTo>
                    <a:lnTo>
                      <a:pt x="111" y="128"/>
                    </a:lnTo>
                    <a:lnTo>
                      <a:pt x="111" y="126"/>
                    </a:lnTo>
                    <a:lnTo>
                      <a:pt x="111" y="128"/>
                    </a:lnTo>
                    <a:lnTo>
                      <a:pt x="109" y="126"/>
                    </a:lnTo>
                    <a:lnTo>
                      <a:pt x="109" y="128"/>
                    </a:lnTo>
                    <a:lnTo>
                      <a:pt x="107" y="128"/>
                    </a:lnTo>
                    <a:lnTo>
                      <a:pt x="105" y="128"/>
                    </a:lnTo>
                    <a:lnTo>
                      <a:pt x="105" y="126"/>
                    </a:lnTo>
                    <a:lnTo>
                      <a:pt x="103" y="126"/>
                    </a:lnTo>
                    <a:lnTo>
                      <a:pt x="102" y="128"/>
                    </a:lnTo>
                    <a:lnTo>
                      <a:pt x="100" y="130"/>
                    </a:lnTo>
                    <a:lnTo>
                      <a:pt x="98" y="130"/>
                    </a:lnTo>
                    <a:lnTo>
                      <a:pt x="98" y="128"/>
                    </a:lnTo>
                    <a:lnTo>
                      <a:pt x="96" y="126"/>
                    </a:lnTo>
                    <a:lnTo>
                      <a:pt x="96" y="124"/>
                    </a:lnTo>
                    <a:lnTo>
                      <a:pt x="96" y="123"/>
                    </a:lnTo>
                    <a:lnTo>
                      <a:pt x="94" y="123"/>
                    </a:lnTo>
                    <a:lnTo>
                      <a:pt x="92" y="124"/>
                    </a:lnTo>
                    <a:lnTo>
                      <a:pt x="90" y="126"/>
                    </a:lnTo>
                    <a:lnTo>
                      <a:pt x="88" y="128"/>
                    </a:lnTo>
                    <a:lnTo>
                      <a:pt x="90" y="128"/>
                    </a:lnTo>
                    <a:lnTo>
                      <a:pt x="88" y="130"/>
                    </a:lnTo>
                    <a:lnTo>
                      <a:pt x="88" y="128"/>
                    </a:lnTo>
                    <a:lnTo>
                      <a:pt x="86" y="126"/>
                    </a:lnTo>
                    <a:lnTo>
                      <a:pt x="88" y="126"/>
                    </a:lnTo>
                    <a:lnTo>
                      <a:pt x="84" y="124"/>
                    </a:lnTo>
                    <a:lnTo>
                      <a:pt x="82" y="126"/>
                    </a:lnTo>
                    <a:lnTo>
                      <a:pt x="82" y="124"/>
                    </a:lnTo>
                    <a:lnTo>
                      <a:pt x="81" y="124"/>
                    </a:lnTo>
                    <a:lnTo>
                      <a:pt x="81" y="123"/>
                    </a:lnTo>
                    <a:lnTo>
                      <a:pt x="79" y="124"/>
                    </a:lnTo>
                    <a:lnTo>
                      <a:pt x="77" y="126"/>
                    </a:lnTo>
                    <a:lnTo>
                      <a:pt x="77" y="124"/>
                    </a:lnTo>
                    <a:lnTo>
                      <a:pt x="75" y="124"/>
                    </a:lnTo>
                    <a:lnTo>
                      <a:pt x="75" y="126"/>
                    </a:lnTo>
                    <a:lnTo>
                      <a:pt x="73" y="126"/>
                    </a:lnTo>
                    <a:lnTo>
                      <a:pt x="73" y="128"/>
                    </a:lnTo>
                    <a:lnTo>
                      <a:pt x="71" y="126"/>
                    </a:lnTo>
                    <a:lnTo>
                      <a:pt x="73" y="126"/>
                    </a:lnTo>
                    <a:lnTo>
                      <a:pt x="73" y="124"/>
                    </a:lnTo>
                    <a:lnTo>
                      <a:pt x="71" y="124"/>
                    </a:lnTo>
                    <a:lnTo>
                      <a:pt x="69" y="124"/>
                    </a:lnTo>
                    <a:lnTo>
                      <a:pt x="67" y="124"/>
                    </a:lnTo>
                    <a:lnTo>
                      <a:pt x="65" y="124"/>
                    </a:lnTo>
                    <a:lnTo>
                      <a:pt x="65" y="123"/>
                    </a:lnTo>
                    <a:lnTo>
                      <a:pt x="63" y="123"/>
                    </a:lnTo>
                    <a:lnTo>
                      <a:pt x="63" y="121"/>
                    </a:lnTo>
                    <a:lnTo>
                      <a:pt x="62" y="121"/>
                    </a:lnTo>
                    <a:lnTo>
                      <a:pt x="60" y="121"/>
                    </a:lnTo>
                    <a:lnTo>
                      <a:pt x="58" y="121"/>
                    </a:lnTo>
                    <a:lnTo>
                      <a:pt x="58" y="119"/>
                    </a:lnTo>
                    <a:lnTo>
                      <a:pt x="56" y="119"/>
                    </a:lnTo>
                    <a:lnTo>
                      <a:pt x="54" y="119"/>
                    </a:lnTo>
                    <a:lnTo>
                      <a:pt x="52" y="119"/>
                    </a:lnTo>
                    <a:lnTo>
                      <a:pt x="52" y="117"/>
                    </a:lnTo>
                    <a:lnTo>
                      <a:pt x="50" y="119"/>
                    </a:lnTo>
                    <a:lnTo>
                      <a:pt x="48" y="119"/>
                    </a:lnTo>
                    <a:lnTo>
                      <a:pt x="48" y="117"/>
                    </a:lnTo>
                    <a:lnTo>
                      <a:pt x="46" y="117"/>
                    </a:lnTo>
                    <a:lnTo>
                      <a:pt x="44" y="117"/>
                    </a:lnTo>
                    <a:lnTo>
                      <a:pt x="42" y="117"/>
                    </a:lnTo>
                    <a:lnTo>
                      <a:pt x="42" y="115"/>
                    </a:lnTo>
                    <a:lnTo>
                      <a:pt x="41" y="115"/>
                    </a:lnTo>
                    <a:lnTo>
                      <a:pt x="42" y="117"/>
                    </a:lnTo>
                    <a:lnTo>
                      <a:pt x="41" y="117"/>
                    </a:lnTo>
                    <a:lnTo>
                      <a:pt x="37" y="117"/>
                    </a:lnTo>
                    <a:lnTo>
                      <a:pt x="35" y="117"/>
                    </a:lnTo>
                    <a:lnTo>
                      <a:pt x="33" y="115"/>
                    </a:lnTo>
                    <a:lnTo>
                      <a:pt x="31" y="115"/>
                    </a:lnTo>
                    <a:lnTo>
                      <a:pt x="29" y="117"/>
                    </a:lnTo>
                    <a:lnTo>
                      <a:pt x="27" y="117"/>
                    </a:lnTo>
                    <a:lnTo>
                      <a:pt x="25" y="117"/>
                    </a:lnTo>
                    <a:lnTo>
                      <a:pt x="23" y="117"/>
                    </a:lnTo>
                    <a:lnTo>
                      <a:pt x="20" y="117"/>
                    </a:lnTo>
                    <a:lnTo>
                      <a:pt x="18" y="119"/>
                    </a:lnTo>
                    <a:lnTo>
                      <a:pt x="18" y="121"/>
                    </a:lnTo>
                    <a:lnTo>
                      <a:pt x="16" y="123"/>
                    </a:lnTo>
                    <a:lnTo>
                      <a:pt x="14" y="124"/>
                    </a:lnTo>
                    <a:lnTo>
                      <a:pt x="12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8" y="123"/>
                    </a:lnTo>
                    <a:lnTo>
                      <a:pt x="6" y="124"/>
                    </a:lnTo>
                    <a:lnTo>
                      <a:pt x="8" y="124"/>
                    </a:lnTo>
                    <a:lnTo>
                      <a:pt x="8" y="126"/>
                    </a:lnTo>
                    <a:lnTo>
                      <a:pt x="6" y="126"/>
                    </a:lnTo>
                    <a:lnTo>
                      <a:pt x="6" y="124"/>
                    </a:lnTo>
                    <a:lnTo>
                      <a:pt x="6" y="123"/>
                    </a:lnTo>
                    <a:lnTo>
                      <a:pt x="6" y="121"/>
                    </a:lnTo>
                    <a:lnTo>
                      <a:pt x="8" y="121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8" y="113"/>
                    </a:lnTo>
                    <a:lnTo>
                      <a:pt x="6" y="111"/>
                    </a:lnTo>
                    <a:lnTo>
                      <a:pt x="4" y="111"/>
                    </a:lnTo>
                    <a:lnTo>
                      <a:pt x="4" y="109"/>
                    </a:lnTo>
                    <a:lnTo>
                      <a:pt x="0" y="109"/>
                    </a:lnTo>
                    <a:lnTo>
                      <a:pt x="0" y="107"/>
                    </a:lnTo>
                    <a:lnTo>
                      <a:pt x="2" y="102"/>
                    </a:lnTo>
                    <a:lnTo>
                      <a:pt x="4" y="100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2" y="96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4"/>
                    </a:lnTo>
                    <a:lnTo>
                      <a:pt x="12" y="82"/>
                    </a:lnTo>
                    <a:lnTo>
                      <a:pt x="10" y="82"/>
                    </a:lnTo>
                    <a:lnTo>
                      <a:pt x="8" y="75"/>
                    </a:lnTo>
                    <a:lnTo>
                      <a:pt x="6" y="69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8" y="63"/>
                    </a:lnTo>
                    <a:lnTo>
                      <a:pt x="10" y="63"/>
                    </a:lnTo>
                    <a:lnTo>
                      <a:pt x="12" y="63"/>
                    </a:lnTo>
                    <a:lnTo>
                      <a:pt x="12" y="61"/>
                    </a:lnTo>
                    <a:lnTo>
                      <a:pt x="12" y="63"/>
                    </a:lnTo>
                    <a:lnTo>
                      <a:pt x="14" y="63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63"/>
                    </a:lnTo>
                    <a:lnTo>
                      <a:pt x="18" y="63"/>
                    </a:lnTo>
                    <a:lnTo>
                      <a:pt x="20" y="63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5" y="61"/>
                    </a:lnTo>
                    <a:lnTo>
                      <a:pt x="27" y="61"/>
                    </a:lnTo>
                    <a:lnTo>
                      <a:pt x="27" y="60"/>
                    </a:lnTo>
                    <a:lnTo>
                      <a:pt x="25" y="58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9" y="58"/>
                    </a:lnTo>
                    <a:lnTo>
                      <a:pt x="31" y="58"/>
                    </a:lnTo>
                    <a:lnTo>
                      <a:pt x="33" y="56"/>
                    </a:lnTo>
                    <a:lnTo>
                      <a:pt x="33" y="54"/>
                    </a:lnTo>
                    <a:lnTo>
                      <a:pt x="35" y="54"/>
                    </a:lnTo>
                    <a:lnTo>
                      <a:pt x="37" y="54"/>
                    </a:lnTo>
                    <a:lnTo>
                      <a:pt x="39" y="54"/>
                    </a:lnTo>
                    <a:lnTo>
                      <a:pt x="39" y="56"/>
                    </a:lnTo>
                    <a:lnTo>
                      <a:pt x="37" y="56"/>
                    </a:lnTo>
                    <a:lnTo>
                      <a:pt x="37" y="58"/>
                    </a:lnTo>
                    <a:lnTo>
                      <a:pt x="39" y="58"/>
                    </a:lnTo>
                    <a:lnTo>
                      <a:pt x="41" y="58"/>
                    </a:lnTo>
                    <a:lnTo>
                      <a:pt x="42" y="58"/>
                    </a:lnTo>
                    <a:lnTo>
                      <a:pt x="41" y="56"/>
                    </a:lnTo>
                    <a:lnTo>
                      <a:pt x="42" y="56"/>
                    </a:lnTo>
                    <a:lnTo>
                      <a:pt x="41" y="56"/>
                    </a:lnTo>
                    <a:lnTo>
                      <a:pt x="41" y="54"/>
                    </a:lnTo>
                    <a:lnTo>
                      <a:pt x="41" y="52"/>
                    </a:lnTo>
                    <a:lnTo>
                      <a:pt x="39" y="54"/>
                    </a:lnTo>
                    <a:lnTo>
                      <a:pt x="39" y="52"/>
                    </a:lnTo>
                    <a:lnTo>
                      <a:pt x="39" y="54"/>
                    </a:lnTo>
                    <a:lnTo>
                      <a:pt x="37" y="52"/>
                    </a:lnTo>
                    <a:lnTo>
                      <a:pt x="39" y="52"/>
                    </a:lnTo>
                    <a:lnTo>
                      <a:pt x="39" y="50"/>
                    </a:lnTo>
                    <a:lnTo>
                      <a:pt x="39" y="48"/>
                    </a:lnTo>
                    <a:lnTo>
                      <a:pt x="41" y="46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42" y="39"/>
                    </a:lnTo>
                    <a:lnTo>
                      <a:pt x="42" y="37"/>
                    </a:lnTo>
                    <a:lnTo>
                      <a:pt x="44" y="35"/>
                    </a:lnTo>
                    <a:lnTo>
                      <a:pt x="46" y="35"/>
                    </a:lnTo>
                    <a:lnTo>
                      <a:pt x="48" y="35"/>
                    </a:lnTo>
                    <a:lnTo>
                      <a:pt x="48" y="33"/>
                    </a:lnTo>
                    <a:lnTo>
                      <a:pt x="50" y="31"/>
                    </a:lnTo>
                    <a:lnTo>
                      <a:pt x="48" y="31"/>
                    </a:lnTo>
                    <a:lnTo>
                      <a:pt x="50" y="29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4" y="31"/>
                    </a:lnTo>
                    <a:lnTo>
                      <a:pt x="56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6" y="25"/>
                    </a:lnTo>
                    <a:lnTo>
                      <a:pt x="54" y="25"/>
                    </a:lnTo>
                    <a:lnTo>
                      <a:pt x="52" y="25"/>
                    </a:lnTo>
                    <a:lnTo>
                      <a:pt x="54" y="23"/>
                    </a:lnTo>
                    <a:lnTo>
                      <a:pt x="54" y="21"/>
                    </a:lnTo>
                    <a:lnTo>
                      <a:pt x="54" y="19"/>
                    </a:lnTo>
                    <a:lnTo>
                      <a:pt x="56" y="18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8" y="16"/>
                    </a:lnTo>
                    <a:lnTo>
                      <a:pt x="58" y="14"/>
                    </a:lnTo>
                    <a:lnTo>
                      <a:pt x="60" y="14"/>
                    </a:lnTo>
                    <a:lnTo>
                      <a:pt x="60" y="12"/>
                    </a:lnTo>
                    <a:lnTo>
                      <a:pt x="62" y="10"/>
                    </a:lnTo>
                    <a:lnTo>
                      <a:pt x="63" y="10"/>
                    </a:lnTo>
                    <a:lnTo>
                      <a:pt x="65" y="12"/>
                    </a:lnTo>
                    <a:lnTo>
                      <a:pt x="67" y="12"/>
                    </a:lnTo>
                    <a:lnTo>
                      <a:pt x="71" y="12"/>
                    </a:lnTo>
                    <a:lnTo>
                      <a:pt x="71" y="10"/>
                    </a:lnTo>
                    <a:lnTo>
                      <a:pt x="71" y="8"/>
                    </a:lnTo>
                    <a:lnTo>
                      <a:pt x="73" y="6"/>
                    </a:lnTo>
                    <a:lnTo>
                      <a:pt x="75" y="6"/>
                    </a:lnTo>
                    <a:lnTo>
                      <a:pt x="73" y="4"/>
                    </a:lnTo>
                    <a:lnTo>
                      <a:pt x="75" y="4"/>
                    </a:lnTo>
                    <a:lnTo>
                      <a:pt x="77" y="2"/>
                    </a:lnTo>
                    <a:lnTo>
                      <a:pt x="79" y="2"/>
                    </a:lnTo>
                    <a:lnTo>
                      <a:pt x="79" y="0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1" y="4"/>
                    </a:lnTo>
                    <a:lnTo>
                      <a:pt x="82" y="4"/>
                    </a:lnTo>
                    <a:lnTo>
                      <a:pt x="82" y="2"/>
                    </a:lnTo>
                    <a:lnTo>
                      <a:pt x="84" y="4"/>
                    </a:lnTo>
                    <a:lnTo>
                      <a:pt x="86" y="2"/>
                    </a:lnTo>
                    <a:lnTo>
                      <a:pt x="88" y="2"/>
                    </a:lnTo>
                    <a:lnTo>
                      <a:pt x="86" y="4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4" y="4"/>
                    </a:lnTo>
                    <a:lnTo>
                      <a:pt x="94" y="6"/>
                    </a:lnTo>
                    <a:lnTo>
                      <a:pt x="96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0" y="8"/>
                    </a:lnTo>
                    <a:lnTo>
                      <a:pt x="100" y="10"/>
                    </a:lnTo>
                    <a:lnTo>
                      <a:pt x="100" y="12"/>
                    </a:lnTo>
                    <a:lnTo>
                      <a:pt x="98" y="12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0"/>
                    </a:lnTo>
                    <a:lnTo>
                      <a:pt x="113" y="10"/>
                    </a:lnTo>
                    <a:lnTo>
                      <a:pt x="115" y="10"/>
                    </a:lnTo>
                    <a:lnTo>
                      <a:pt x="115" y="12"/>
                    </a:lnTo>
                    <a:lnTo>
                      <a:pt x="117" y="12"/>
                    </a:lnTo>
                    <a:lnTo>
                      <a:pt x="117" y="14"/>
                    </a:lnTo>
                    <a:lnTo>
                      <a:pt x="119" y="14"/>
                    </a:lnTo>
                    <a:lnTo>
                      <a:pt x="119" y="16"/>
                    </a:lnTo>
                    <a:lnTo>
                      <a:pt x="121" y="16"/>
                    </a:lnTo>
                    <a:lnTo>
                      <a:pt x="121" y="18"/>
                    </a:lnTo>
                    <a:lnTo>
                      <a:pt x="123" y="18"/>
                    </a:lnTo>
                    <a:lnTo>
                      <a:pt x="123" y="16"/>
                    </a:lnTo>
                    <a:lnTo>
                      <a:pt x="124" y="19"/>
                    </a:lnTo>
                    <a:lnTo>
                      <a:pt x="123" y="19"/>
                    </a:lnTo>
                    <a:lnTo>
                      <a:pt x="124" y="19"/>
                    </a:lnTo>
                    <a:lnTo>
                      <a:pt x="123" y="21"/>
                    </a:lnTo>
                    <a:lnTo>
                      <a:pt x="124" y="23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7"/>
                    </a:lnTo>
                    <a:lnTo>
                      <a:pt x="123" y="29"/>
                    </a:lnTo>
                    <a:lnTo>
                      <a:pt x="124" y="29"/>
                    </a:lnTo>
                    <a:lnTo>
                      <a:pt x="124" y="31"/>
                    </a:lnTo>
                    <a:lnTo>
                      <a:pt x="124" y="33"/>
                    </a:lnTo>
                    <a:lnTo>
                      <a:pt x="123" y="33"/>
                    </a:lnTo>
                    <a:lnTo>
                      <a:pt x="124" y="35"/>
                    </a:lnTo>
                    <a:lnTo>
                      <a:pt x="123" y="37"/>
                    </a:lnTo>
                    <a:lnTo>
                      <a:pt x="121" y="39"/>
                    </a:lnTo>
                    <a:lnTo>
                      <a:pt x="123" y="40"/>
                    </a:lnTo>
                    <a:lnTo>
                      <a:pt x="124" y="42"/>
                    </a:lnTo>
                    <a:lnTo>
                      <a:pt x="126" y="44"/>
                    </a:lnTo>
                    <a:lnTo>
                      <a:pt x="126" y="42"/>
                    </a:lnTo>
                    <a:lnTo>
                      <a:pt x="126" y="44"/>
                    </a:lnTo>
                    <a:lnTo>
                      <a:pt x="126" y="42"/>
                    </a:lnTo>
                    <a:lnTo>
                      <a:pt x="128" y="44"/>
                    </a:lnTo>
                    <a:lnTo>
                      <a:pt x="126" y="48"/>
                    </a:lnTo>
                    <a:lnTo>
                      <a:pt x="128" y="48"/>
                    </a:lnTo>
                    <a:lnTo>
                      <a:pt x="128" y="50"/>
                    </a:lnTo>
                    <a:lnTo>
                      <a:pt x="128" y="52"/>
                    </a:lnTo>
                    <a:lnTo>
                      <a:pt x="130" y="52"/>
                    </a:lnTo>
                    <a:lnTo>
                      <a:pt x="128" y="52"/>
                    </a:lnTo>
                    <a:lnTo>
                      <a:pt x="130" y="54"/>
                    </a:lnTo>
                    <a:lnTo>
                      <a:pt x="130" y="56"/>
                    </a:lnTo>
                    <a:lnTo>
                      <a:pt x="130" y="54"/>
                    </a:lnTo>
                    <a:lnTo>
                      <a:pt x="130" y="56"/>
                    </a:lnTo>
                    <a:lnTo>
                      <a:pt x="132" y="56"/>
                    </a:lnTo>
                    <a:lnTo>
                      <a:pt x="132" y="58"/>
                    </a:lnTo>
                    <a:lnTo>
                      <a:pt x="134" y="58"/>
                    </a:lnTo>
                    <a:lnTo>
                      <a:pt x="136" y="60"/>
                    </a:lnTo>
                    <a:lnTo>
                      <a:pt x="136" y="58"/>
                    </a:lnTo>
                    <a:lnTo>
                      <a:pt x="136" y="60"/>
                    </a:lnTo>
                    <a:lnTo>
                      <a:pt x="138" y="60"/>
                    </a:lnTo>
                    <a:lnTo>
                      <a:pt x="140" y="60"/>
                    </a:lnTo>
                    <a:lnTo>
                      <a:pt x="138" y="61"/>
                    </a:lnTo>
                    <a:lnTo>
                      <a:pt x="138" y="63"/>
                    </a:lnTo>
                    <a:lnTo>
                      <a:pt x="138" y="65"/>
                    </a:lnTo>
                    <a:lnTo>
                      <a:pt x="136" y="65"/>
                    </a:lnTo>
                    <a:lnTo>
                      <a:pt x="136" y="67"/>
                    </a:lnTo>
                    <a:lnTo>
                      <a:pt x="138" y="67"/>
                    </a:lnTo>
                    <a:lnTo>
                      <a:pt x="140" y="67"/>
                    </a:lnTo>
                    <a:lnTo>
                      <a:pt x="142" y="67"/>
                    </a:lnTo>
                    <a:lnTo>
                      <a:pt x="143" y="67"/>
                    </a:lnTo>
                    <a:lnTo>
                      <a:pt x="145" y="67"/>
                    </a:lnTo>
                    <a:lnTo>
                      <a:pt x="145" y="69"/>
                    </a:lnTo>
                    <a:lnTo>
                      <a:pt x="147" y="69"/>
                    </a:lnTo>
                    <a:lnTo>
                      <a:pt x="149" y="69"/>
                    </a:lnTo>
                    <a:lnTo>
                      <a:pt x="147" y="71"/>
                    </a:lnTo>
                    <a:lnTo>
                      <a:pt x="147" y="73"/>
                    </a:lnTo>
                    <a:lnTo>
                      <a:pt x="149" y="73"/>
                    </a:lnTo>
                    <a:lnTo>
                      <a:pt x="149" y="75"/>
                    </a:lnTo>
                    <a:lnTo>
                      <a:pt x="151" y="75"/>
                    </a:lnTo>
                    <a:lnTo>
                      <a:pt x="153" y="77"/>
                    </a:lnTo>
                    <a:lnTo>
                      <a:pt x="153" y="79"/>
                    </a:lnTo>
                    <a:lnTo>
                      <a:pt x="151" y="79"/>
                    </a:lnTo>
                    <a:lnTo>
                      <a:pt x="153" y="79"/>
                    </a:lnTo>
                    <a:lnTo>
                      <a:pt x="151" y="79"/>
                    </a:lnTo>
                    <a:lnTo>
                      <a:pt x="151" y="81"/>
                    </a:lnTo>
                    <a:lnTo>
                      <a:pt x="151" y="79"/>
                    </a:lnTo>
                    <a:lnTo>
                      <a:pt x="151" y="81"/>
                    </a:lnTo>
                    <a:lnTo>
                      <a:pt x="149" y="81"/>
                    </a:lnTo>
                    <a:lnTo>
                      <a:pt x="147" y="81"/>
                    </a:lnTo>
                    <a:lnTo>
                      <a:pt x="149" y="81"/>
                    </a:lnTo>
                    <a:lnTo>
                      <a:pt x="147" y="82"/>
                    </a:lnTo>
                    <a:lnTo>
                      <a:pt x="145" y="82"/>
                    </a:lnTo>
                    <a:lnTo>
                      <a:pt x="145" y="84"/>
                    </a:lnTo>
                    <a:lnTo>
                      <a:pt x="143" y="84"/>
                    </a:lnTo>
                    <a:lnTo>
                      <a:pt x="143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8" y="84"/>
                    </a:lnTo>
                    <a:lnTo>
                      <a:pt x="138" y="86"/>
                    </a:lnTo>
                    <a:lnTo>
                      <a:pt x="138" y="84"/>
                    </a:lnTo>
                    <a:lnTo>
                      <a:pt x="136" y="82"/>
                    </a:lnTo>
                    <a:lnTo>
                      <a:pt x="134" y="82"/>
                    </a:lnTo>
                    <a:lnTo>
                      <a:pt x="130" y="82"/>
                    </a:lnTo>
                    <a:lnTo>
                      <a:pt x="132" y="84"/>
                    </a:lnTo>
                    <a:lnTo>
                      <a:pt x="130" y="84"/>
                    </a:lnTo>
                    <a:lnTo>
                      <a:pt x="130" y="86"/>
                    </a:lnTo>
                    <a:lnTo>
                      <a:pt x="128" y="88"/>
                    </a:lnTo>
                    <a:lnTo>
                      <a:pt x="130" y="88"/>
                    </a:lnTo>
                    <a:lnTo>
                      <a:pt x="130" y="90"/>
                    </a:lnTo>
                    <a:lnTo>
                      <a:pt x="132" y="92"/>
                    </a:lnTo>
                    <a:lnTo>
                      <a:pt x="134" y="92"/>
                    </a:lnTo>
                    <a:lnTo>
                      <a:pt x="132" y="92"/>
                    </a:lnTo>
                    <a:lnTo>
                      <a:pt x="134" y="94"/>
                    </a:lnTo>
                    <a:lnTo>
                      <a:pt x="134" y="96"/>
                    </a:lnTo>
                    <a:lnTo>
                      <a:pt x="132" y="96"/>
                    </a:lnTo>
                    <a:lnTo>
                      <a:pt x="134" y="98"/>
                    </a:lnTo>
                    <a:lnTo>
                      <a:pt x="134" y="100"/>
                    </a:lnTo>
                    <a:lnTo>
                      <a:pt x="136" y="100"/>
                    </a:lnTo>
                    <a:lnTo>
                      <a:pt x="134" y="100"/>
                    </a:lnTo>
                    <a:lnTo>
                      <a:pt x="134" y="102"/>
                    </a:lnTo>
                    <a:lnTo>
                      <a:pt x="134" y="103"/>
                    </a:lnTo>
                    <a:lnTo>
                      <a:pt x="134" y="105"/>
                    </a:lnTo>
                    <a:lnTo>
                      <a:pt x="134" y="107"/>
                    </a:lnTo>
                    <a:lnTo>
                      <a:pt x="136" y="107"/>
                    </a:lnTo>
                    <a:lnTo>
                      <a:pt x="136" y="109"/>
                    </a:lnTo>
                    <a:lnTo>
                      <a:pt x="138" y="109"/>
                    </a:lnTo>
                    <a:lnTo>
                      <a:pt x="138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6" name="Freeform 248">
                <a:extLst>
                  <a:ext uri="{FF2B5EF4-FFF2-40B4-BE49-F238E27FC236}">
                    <a16:creationId xmlns:a16="http://schemas.microsoft.com/office/drawing/2014/main" id="{A954DC2E-5829-11D5-070A-C13BFB6205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7511" y="-3710872"/>
                <a:ext cx="184343" cy="112077"/>
              </a:xfrm>
              <a:custGeom>
                <a:avLst/>
                <a:gdLst>
                  <a:gd name="T0" fmla="*/ 105 w 117"/>
                  <a:gd name="T1" fmla="*/ 19 h 71"/>
                  <a:gd name="T2" fmla="*/ 111 w 117"/>
                  <a:gd name="T3" fmla="*/ 23 h 71"/>
                  <a:gd name="T4" fmla="*/ 109 w 117"/>
                  <a:gd name="T5" fmla="*/ 29 h 71"/>
                  <a:gd name="T6" fmla="*/ 107 w 117"/>
                  <a:gd name="T7" fmla="*/ 34 h 71"/>
                  <a:gd name="T8" fmla="*/ 111 w 117"/>
                  <a:gd name="T9" fmla="*/ 38 h 71"/>
                  <a:gd name="T10" fmla="*/ 111 w 117"/>
                  <a:gd name="T11" fmla="*/ 40 h 71"/>
                  <a:gd name="T12" fmla="*/ 115 w 117"/>
                  <a:gd name="T13" fmla="*/ 44 h 71"/>
                  <a:gd name="T14" fmla="*/ 117 w 117"/>
                  <a:gd name="T15" fmla="*/ 48 h 71"/>
                  <a:gd name="T16" fmla="*/ 117 w 117"/>
                  <a:gd name="T17" fmla="*/ 54 h 71"/>
                  <a:gd name="T18" fmla="*/ 113 w 117"/>
                  <a:gd name="T19" fmla="*/ 57 h 71"/>
                  <a:gd name="T20" fmla="*/ 111 w 117"/>
                  <a:gd name="T21" fmla="*/ 61 h 71"/>
                  <a:gd name="T22" fmla="*/ 107 w 117"/>
                  <a:gd name="T23" fmla="*/ 65 h 71"/>
                  <a:gd name="T24" fmla="*/ 101 w 117"/>
                  <a:gd name="T25" fmla="*/ 67 h 71"/>
                  <a:gd name="T26" fmla="*/ 96 w 117"/>
                  <a:gd name="T27" fmla="*/ 67 h 71"/>
                  <a:gd name="T28" fmla="*/ 94 w 117"/>
                  <a:gd name="T29" fmla="*/ 71 h 71"/>
                  <a:gd name="T30" fmla="*/ 90 w 117"/>
                  <a:gd name="T31" fmla="*/ 71 h 71"/>
                  <a:gd name="T32" fmla="*/ 86 w 117"/>
                  <a:gd name="T33" fmla="*/ 67 h 71"/>
                  <a:gd name="T34" fmla="*/ 82 w 117"/>
                  <a:gd name="T35" fmla="*/ 63 h 71"/>
                  <a:gd name="T36" fmla="*/ 77 w 117"/>
                  <a:gd name="T37" fmla="*/ 59 h 71"/>
                  <a:gd name="T38" fmla="*/ 73 w 117"/>
                  <a:gd name="T39" fmla="*/ 55 h 71"/>
                  <a:gd name="T40" fmla="*/ 69 w 117"/>
                  <a:gd name="T41" fmla="*/ 55 h 71"/>
                  <a:gd name="T42" fmla="*/ 65 w 117"/>
                  <a:gd name="T43" fmla="*/ 52 h 71"/>
                  <a:gd name="T44" fmla="*/ 63 w 117"/>
                  <a:gd name="T45" fmla="*/ 48 h 71"/>
                  <a:gd name="T46" fmla="*/ 59 w 117"/>
                  <a:gd name="T47" fmla="*/ 50 h 71"/>
                  <a:gd name="T48" fmla="*/ 57 w 117"/>
                  <a:gd name="T49" fmla="*/ 54 h 71"/>
                  <a:gd name="T50" fmla="*/ 54 w 117"/>
                  <a:gd name="T51" fmla="*/ 54 h 71"/>
                  <a:gd name="T52" fmla="*/ 50 w 117"/>
                  <a:gd name="T53" fmla="*/ 52 h 71"/>
                  <a:gd name="T54" fmla="*/ 44 w 117"/>
                  <a:gd name="T55" fmla="*/ 52 h 71"/>
                  <a:gd name="T56" fmla="*/ 40 w 117"/>
                  <a:gd name="T57" fmla="*/ 50 h 71"/>
                  <a:gd name="T58" fmla="*/ 36 w 117"/>
                  <a:gd name="T59" fmla="*/ 52 h 71"/>
                  <a:gd name="T60" fmla="*/ 31 w 117"/>
                  <a:gd name="T61" fmla="*/ 50 h 71"/>
                  <a:gd name="T62" fmla="*/ 27 w 117"/>
                  <a:gd name="T63" fmla="*/ 50 h 71"/>
                  <a:gd name="T64" fmla="*/ 21 w 117"/>
                  <a:gd name="T65" fmla="*/ 50 h 71"/>
                  <a:gd name="T66" fmla="*/ 16 w 117"/>
                  <a:gd name="T67" fmla="*/ 50 h 71"/>
                  <a:gd name="T68" fmla="*/ 10 w 117"/>
                  <a:gd name="T69" fmla="*/ 54 h 71"/>
                  <a:gd name="T70" fmla="*/ 6 w 117"/>
                  <a:gd name="T71" fmla="*/ 57 h 71"/>
                  <a:gd name="T72" fmla="*/ 0 w 117"/>
                  <a:gd name="T73" fmla="*/ 55 h 71"/>
                  <a:gd name="T74" fmla="*/ 2 w 117"/>
                  <a:gd name="T75" fmla="*/ 46 h 71"/>
                  <a:gd name="T76" fmla="*/ 2 w 117"/>
                  <a:gd name="T77" fmla="*/ 36 h 71"/>
                  <a:gd name="T78" fmla="*/ 8 w 117"/>
                  <a:gd name="T79" fmla="*/ 31 h 71"/>
                  <a:gd name="T80" fmla="*/ 12 w 117"/>
                  <a:gd name="T81" fmla="*/ 19 h 71"/>
                  <a:gd name="T82" fmla="*/ 17 w 117"/>
                  <a:gd name="T83" fmla="*/ 13 h 71"/>
                  <a:gd name="T84" fmla="*/ 27 w 117"/>
                  <a:gd name="T85" fmla="*/ 15 h 71"/>
                  <a:gd name="T86" fmla="*/ 33 w 117"/>
                  <a:gd name="T87" fmla="*/ 19 h 71"/>
                  <a:gd name="T88" fmla="*/ 38 w 117"/>
                  <a:gd name="T89" fmla="*/ 31 h 71"/>
                  <a:gd name="T90" fmla="*/ 44 w 117"/>
                  <a:gd name="T91" fmla="*/ 33 h 71"/>
                  <a:gd name="T92" fmla="*/ 50 w 117"/>
                  <a:gd name="T93" fmla="*/ 31 h 71"/>
                  <a:gd name="T94" fmla="*/ 56 w 117"/>
                  <a:gd name="T95" fmla="*/ 21 h 71"/>
                  <a:gd name="T96" fmla="*/ 56 w 117"/>
                  <a:gd name="T97" fmla="*/ 12 h 71"/>
                  <a:gd name="T98" fmla="*/ 57 w 117"/>
                  <a:gd name="T99" fmla="*/ 4 h 71"/>
                  <a:gd name="T100" fmla="*/ 61 w 117"/>
                  <a:gd name="T101" fmla="*/ 2 h 71"/>
                  <a:gd name="T102" fmla="*/ 67 w 117"/>
                  <a:gd name="T103" fmla="*/ 0 h 71"/>
                  <a:gd name="T104" fmla="*/ 71 w 117"/>
                  <a:gd name="T105" fmla="*/ 2 h 71"/>
                  <a:gd name="T106" fmla="*/ 73 w 117"/>
                  <a:gd name="T107" fmla="*/ 2 h 71"/>
                  <a:gd name="T108" fmla="*/ 77 w 117"/>
                  <a:gd name="T109" fmla="*/ 6 h 71"/>
                  <a:gd name="T110" fmla="*/ 78 w 117"/>
                  <a:gd name="T111" fmla="*/ 8 h 71"/>
                  <a:gd name="T112" fmla="*/ 82 w 117"/>
                  <a:gd name="T113" fmla="*/ 8 h 71"/>
                  <a:gd name="T114" fmla="*/ 84 w 117"/>
                  <a:gd name="T115" fmla="*/ 12 h 71"/>
                  <a:gd name="T116" fmla="*/ 88 w 117"/>
                  <a:gd name="T117" fmla="*/ 15 h 71"/>
                  <a:gd name="T118" fmla="*/ 90 w 117"/>
                  <a:gd name="T119" fmla="*/ 17 h 71"/>
                  <a:gd name="T120" fmla="*/ 96 w 117"/>
                  <a:gd name="T121" fmla="*/ 15 h 71"/>
                  <a:gd name="T122" fmla="*/ 98 w 117"/>
                  <a:gd name="T123" fmla="*/ 15 h 71"/>
                  <a:gd name="T124" fmla="*/ 103 w 117"/>
                  <a:gd name="T125" fmla="*/ 1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7" h="71">
                    <a:moveTo>
                      <a:pt x="103" y="17"/>
                    </a:moveTo>
                    <a:lnTo>
                      <a:pt x="105" y="17"/>
                    </a:lnTo>
                    <a:lnTo>
                      <a:pt x="105" y="19"/>
                    </a:lnTo>
                    <a:lnTo>
                      <a:pt x="107" y="21"/>
                    </a:lnTo>
                    <a:lnTo>
                      <a:pt x="109" y="23"/>
                    </a:lnTo>
                    <a:lnTo>
                      <a:pt x="111" y="23"/>
                    </a:lnTo>
                    <a:lnTo>
                      <a:pt x="111" y="25"/>
                    </a:lnTo>
                    <a:lnTo>
                      <a:pt x="111" y="27"/>
                    </a:lnTo>
                    <a:lnTo>
                      <a:pt x="109" y="29"/>
                    </a:lnTo>
                    <a:lnTo>
                      <a:pt x="109" y="33"/>
                    </a:lnTo>
                    <a:lnTo>
                      <a:pt x="109" y="34"/>
                    </a:lnTo>
                    <a:lnTo>
                      <a:pt x="107" y="34"/>
                    </a:lnTo>
                    <a:lnTo>
                      <a:pt x="107" y="36"/>
                    </a:lnTo>
                    <a:lnTo>
                      <a:pt x="111" y="36"/>
                    </a:lnTo>
                    <a:lnTo>
                      <a:pt x="111" y="38"/>
                    </a:lnTo>
                    <a:lnTo>
                      <a:pt x="113" y="36"/>
                    </a:lnTo>
                    <a:lnTo>
                      <a:pt x="113" y="38"/>
                    </a:lnTo>
                    <a:lnTo>
                      <a:pt x="111" y="40"/>
                    </a:lnTo>
                    <a:lnTo>
                      <a:pt x="113" y="42"/>
                    </a:lnTo>
                    <a:lnTo>
                      <a:pt x="113" y="44"/>
                    </a:lnTo>
                    <a:lnTo>
                      <a:pt x="115" y="44"/>
                    </a:lnTo>
                    <a:lnTo>
                      <a:pt x="115" y="46"/>
                    </a:lnTo>
                    <a:lnTo>
                      <a:pt x="115" y="48"/>
                    </a:lnTo>
                    <a:lnTo>
                      <a:pt x="117" y="48"/>
                    </a:lnTo>
                    <a:lnTo>
                      <a:pt x="117" y="50"/>
                    </a:lnTo>
                    <a:lnTo>
                      <a:pt x="115" y="50"/>
                    </a:lnTo>
                    <a:lnTo>
                      <a:pt x="117" y="54"/>
                    </a:lnTo>
                    <a:lnTo>
                      <a:pt x="115" y="55"/>
                    </a:lnTo>
                    <a:lnTo>
                      <a:pt x="115" y="57"/>
                    </a:lnTo>
                    <a:lnTo>
                      <a:pt x="113" y="57"/>
                    </a:lnTo>
                    <a:lnTo>
                      <a:pt x="111" y="59"/>
                    </a:lnTo>
                    <a:lnTo>
                      <a:pt x="109" y="59"/>
                    </a:lnTo>
                    <a:lnTo>
                      <a:pt x="111" y="61"/>
                    </a:lnTo>
                    <a:lnTo>
                      <a:pt x="109" y="61"/>
                    </a:lnTo>
                    <a:lnTo>
                      <a:pt x="107" y="63"/>
                    </a:lnTo>
                    <a:lnTo>
                      <a:pt x="107" y="65"/>
                    </a:lnTo>
                    <a:lnTo>
                      <a:pt x="107" y="67"/>
                    </a:lnTo>
                    <a:lnTo>
                      <a:pt x="103" y="67"/>
                    </a:lnTo>
                    <a:lnTo>
                      <a:pt x="101" y="67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6" y="67"/>
                    </a:lnTo>
                    <a:lnTo>
                      <a:pt x="96" y="69"/>
                    </a:lnTo>
                    <a:lnTo>
                      <a:pt x="94" y="69"/>
                    </a:lnTo>
                    <a:lnTo>
                      <a:pt x="94" y="71"/>
                    </a:lnTo>
                    <a:lnTo>
                      <a:pt x="92" y="69"/>
                    </a:lnTo>
                    <a:lnTo>
                      <a:pt x="92" y="71"/>
                    </a:lnTo>
                    <a:lnTo>
                      <a:pt x="90" y="71"/>
                    </a:lnTo>
                    <a:lnTo>
                      <a:pt x="88" y="69"/>
                    </a:lnTo>
                    <a:lnTo>
                      <a:pt x="86" y="69"/>
                    </a:lnTo>
                    <a:lnTo>
                      <a:pt x="86" y="67"/>
                    </a:lnTo>
                    <a:lnTo>
                      <a:pt x="84" y="65"/>
                    </a:lnTo>
                    <a:lnTo>
                      <a:pt x="82" y="65"/>
                    </a:lnTo>
                    <a:lnTo>
                      <a:pt x="82" y="63"/>
                    </a:lnTo>
                    <a:lnTo>
                      <a:pt x="78" y="61"/>
                    </a:lnTo>
                    <a:lnTo>
                      <a:pt x="78" y="59"/>
                    </a:lnTo>
                    <a:lnTo>
                      <a:pt x="77" y="59"/>
                    </a:lnTo>
                    <a:lnTo>
                      <a:pt x="77" y="57"/>
                    </a:lnTo>
                    <a:lnTo>
                      <a:pt x="75" y="57"/>
                    </a:lnTo>
                    <a:lnTo>
                      <a:pt x="73" y="55"/>
                    </a:lnTo>
                    <a:lnTo>
                      <a:pt x="73" y="57"/>
                    </a:lnTo>
                    <a:lnTo>
                      <a:pt x="71" y="57"/>
                    </a:lnTo>
                    <a:lnTo>
                      <a:pt x="69" y="55"/>
                    </a:lnTo>
                    <a:lnTo>
                      <a:pt x="67" y="55"/>
                    </a:lnTo>
                    <a:lnTo>
                      <a:pt x="65" y="54"/>
                    </a:lnTo>
                    <a:lnTo>
                      <a:pt x="65" y="52"/>
                    </a:lnTo>
                    <a:lnTo>
                      <a:pt x="65" y="50"/>
                    </a:lnTo>
                    <a:lnTo>
                      <a:pt x="63" y="50"/>
                    </a:lnTo>
                    <a:lnTo>
                      <a:pt x="63" y="48"/>
                    </a:lnTo>
                    <a:lnTo>
                      <a:pt x="63" y="50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9" y="52"/>
                    </a:lnTo>
                    <a:lnTo>
                      <a:pt x="57" y="52"/>
                    </a:lnTo>
                    <a:lnTo>
                      <a:pt x="57" y="54"/>
                    </a:lnTo>
                    <a:lnTo>
                      <a:pt x="56" y="54"/>
                    </a:lnTo>
                    <a:lnTo>
                      <a:pt x="54" y="52"/>
                    </a:lnTo>
                    <a:lnTo>
                      <a:pt x="54" y="54"/>
                    </a:lnTo>
                    <a:lnTo>
                      <a:pt x="52" y="54"/>
                    </a:lnTo>
                    <a:lnTo>
                      <a:pt x="50" y="54"/>
                    </a:lnTo>
                    <a:lnTo>
                      <a:pt x="50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5" y="52"/>
                    </a:lnTo>
                    <a:lnTo>
                      <a:pt x="33" y="50"/>
                    </a:lnTo>
                    <a:lnTo>
                      <a:pt x="31" y="50"/>
                    </a:lnTo>
                    <a:lnTo>
                      <a:pt x="29" y="50"/>
                    </a:lnTo>
                    <a:lnTo>
                      <a:pt x="29" y="52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3" y="50"/>
                    </a:lnTo>
                    <a:lnTo>
                      <a:pt x="21" y="50"/>
                    </a:lnTo>
                    <a:lnTo>
                      <a:pt x="17" y="50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6" y="55"/>
                    </a:lnTo>
                    <a:lnTo>
                      <a:pt x="6" y="57"/>
                    </a:lnTo>
                    <a:lnTo>
                      <a:pt x="4" y="59"/>
                    </a:lnTo>
                    <a:lnTo>
                      <a:pt x="2" y="59"/>
                    </a:lnTo>
                    <a:lnTo>
                      <a:pt x="0" y="55"/>
                    </a:lnTo>
                    <a:lnTo>
                      <a:pt x="0" y="52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0" y="46"/>
                    </a:lnTo>
                    <a:lnTo>
                      <a:pt x="2" y="40"/>
                    </a:lnTo>
                    <a:lnTo>
                      <a:pt x="2" y="36"/>
                    </a:lnTo>
                    <a:lnTo>
                      <a:pt x="6" y="34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23"/>
                    </a:lnTo>
                    <a:lnTo>
                      <a:pt x="10" y="21"/>
                    </a:lnTo>
                    <a:lnTo>
                      <a:pt x="12" y="19"/>
                    </a:lnTo>
                    <a:lnTo>
                      <a:pt x="12" y="15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27" y="10"/>
                    </a:lnTo>
                    <a:lnTo>
                      <a:pt x="27" y="12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31" y="17"/>
                    </a:lnTo>
                    <a:lnTo>
                      <a:pt x="33" y="19"/>
                    </a:lnTo>
                    <a:lnTo>
                      <a:pt x="35" y="21"/>
                    </a:lnTo>
                    <a:lnTo>
                      <a:pt x="36" y="29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42" y="33"/>
                    </a:lnTo>
                    <a:lnTo>
                      <a:pt x="44" y="33"/>
                    </a:lnTo>
                    <a:lnTo>
                      <a:pt x="46" y="33"/>
                    </a:lnTo>
                    <a:lnTo>
                      <a:pt x="48" y="33"/>
                    </a:lnTo>
                    <a:lnTo>
                      <a:pt x="50" y="31"/>
                    </a:lnTo>
                    <a:lnTo>
                      <a:pt x="52" y="29"/>
                    </a:lnTo>
                    <a:lnTo>
                      <a:pt x="56" y="25"/>
                    </a:lnTo>
                    <a:lnTo>
                      <a:pt x="56" y="21"/>
                    </a:lnTo>
                    <a:lnTo>
                      <a:pt x="56" y="15"/>
                    </a:lnTo>
                    <a:lnTo>
                      <a:pt x="56" y="13"/>
                    </a:lnTo>
                    <a:lnTo>
                      <a:pt x="56" y="12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7" y="4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1" y="2"/>
                    </a:lnTo>
                    <a:lnTo>
                      <a:pt x="63" y="4"/>
                    </a:lnTo>
                    <a:lnTo>
                      <a:pt x="65" y="2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69" y="0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3" y="4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4"/>
                    </a:lnTo>
                    <a:lnTo>
                      <a:pt x="78" y="6"/>
                    </a:lnTo>
                    <a:lnTo>
                      <a:pt x="78" y="8"/>
                    </a:lnTo>
                    <a:lnTo>
                      <a:pt x="80" y="8"/>
                    </a:lnTo>
                    <a:lnTo>
                      <a:pt x="80" y="6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2"/>
                    </a:lnTo>
                    <a:lnTo>
                      <a:pt x="84" y="13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7"/>
                    </a:lnTo>
                    <a:lnTo>
                      <a:pt x="90" y="15"/>
                    </a:lnTo>
                    <a:lnTo>
                      <a:pt x="90" y="17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6" y="15"/>
                    </a:lnTo>
                    <a:lnTo>
                      <a:pt x="96" y="13"/>
                    </a:lnTo>
                    <a:lnTo>
                      <a:pt x="98" y="13"/>
                    </a:lnTo>
                    <a:lnTo>
                      <a:pt x="98" y="15"/>
                    </a:lnTo>
                    <a:lnTo>
                      <a:pt x="99" y="15"/>
                    </a:lnTo>
                    <a:lnTo>
                      <a:pt x="101" y="15"/>
                    </a:lnTo>
                    <a:lnTo>
                      <a:pt x="103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7" name="Freeform 16">
                <a:extLst>
                  <a:ext uri="{FF2B5EF4-FFF2-40B4-BE49-F238E27FC236}">
                    <a16:creationId xmlns:a16="http://schemas.microsoft.com/office/drawing/2014/main" id="{A441ECD4-520A-7789-D7FF-09408E33211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372650" y="-1373282"/>
                <a:ext cx="1064253" cy="1248398"/>
              </a:xfrm>
              <a:custGeom>
                <a:avLst/>
                <a:gdLst>
                  <a:gd name="T0" fmla="*/ 622 w 685"/>
                  <a:gd name="T1" fmla="*/ 260 h 798"/>
                  <a:gd name="T2" fmla="*/ 599 w 685"/>
                  <a:gd name="T3" fmla="*/ 407 h 798"/>
                  <a:gd name="T4" fmla="*/ 599 w 685"/>
                  <a:gd name="T5" fmla="*/ 521 h 798"/>
                  <a:gd name="T6" fmla="*/ 590 w 685"/>
                  <a:gd name="T7" fmla="*/ 657 h 798"/>
                  <a:gd name="T8" fmla="*/ 601 w 685"/>
                  <a:gd name="T9" fmla="*/ 722 h 798"/>
                  <a:gd name="T10" fmla="*/ 569 w 685"/>
                  <a:gd name="T11" fmla="*/ 706 h 798"/>
                  <a:gd name="T12" fmla="*/ 584 w 685"/>
                  <a:gd name="T13" fmla="*/ 685 h 798"/>
                  <a:gd name="T14" fmla="*/ 569 w 685"/>
                  <a:gd name="T15" fmla="*/ 670 h 798"/>
                  <a:gd name="T16" fmla="*/ 553 w 685"/>
                  <a:gd name="T17" fmla="*/ 642 h 798"/>
                  <a:gd name="T18" fmla="*/ 565 w 685"/>
                  <a:gd name="T19" fmla="*/ 600 h 798"/>
                  <a:gd name="T20" fmla="*/ 559 w 685"/>
                  <a:gd name="T21" fmla="*/ 582 h 798"/>
                  <a:gd name="T22" fmla="*/ 538 w 685"/>
                  <a:gd name="T23" fmla="*/ 565 h 798"/>
                  <a:gd name="T24" fmla="*/ 557 w 685"/>
                  <a:gd name="T25" fmla="*/ 550 h 798"/>
                  <a:gd name="T26" fmla="*/ 580 w 685"/>
                  <a:gd name="T27" fmla="*/ 497 h 798"/>
                  <a:gd name="T28" fmla="*/ 569 w 685"/>
                  <a:gd name="T29" fmla="*/ 447 h 798"/>
                  <a:gd name="T30" fmla="*/ 599 w 685"/>
                  <a:gd name="T31" fmla="*/ 283 h 798"/>
                  <a:gd name="T32" fmla="*/ 620 w 685"/>
                  <a:gd name="T33" fmla="*/ 115 h 798"/>
                  <a:gd name="T34" fmla="*/ 647 w 685"/>
                  <a:gd name="T35" fmla="*/ 46 h 798"/>
                  <a:gd name="T36" fmla="*/ 609 w 685"/>
                  <a:gd name="T37" fmla="*/ 762 h 798"/>
                  <a:gd name="T38" fmla="*/ 620 w 685"/>
                  <a:gd name="T39" fmla="*/ 752 h 798"/>
                  <a:gd name="T40" fmla="*/ 647 w 685"/>
                  <a:gd name="T41" fmla="*/ 705 h 798"/>
                  <a:gd name="T42" fmla="*/ 555 w 685"/>
                  <a:gd name="T43" fmla="*/ 613 h 798"/>
                  <a:gd name="T44" fmla="*/ 542 w 685"/>
                  <a:gd name="T45" fmla="*/ 628 h 798"/>
                  <a:gd name="T46" fmla="*/ 588 w 685"/>
                  <a:gd name="T47" fmla="*/ 720 h 798"/>
                  <a:gd name="T48" fmla="*/ 655 w 685"/>
                  <a:gd name="T49" fmla="*/ 779 h 798"/>
                  <a:gd name="T50" fmla="*/ 630 w 685"/>
                  <a:gd name="T51" fmla="*/ 781 h 798"/>
                  <a:gd name="T52" fmla="*/ 582 w 685"/>
                  <a:gd name="T53" fmla="*/ 747 h 798"/>
                  <a:gd name="T54" fmla="*/ 656 w 685"/>
                  <a:gd name="T55" fmla="*/ 771 h 798"/>
                  <a:gd name="T56" fmla="*/ 567 w 685"/>
                  <a:gd name="T57" fmla="*/ 720 h 798"/>
                  <a:gd name="T58" fmla="*/ 613 w 685"/>
                  <a:gd name="T59" fmla="*/ 750 h 798"/>
                  <a:gd name="T60" fmla="*/ 542 w 685"/>
                  <a:gd name="T61" fmla="*/ 643 h 798"/>
                  <a:gd name="T62" fmla="*/ 544 w 685"/>
                  <a:gd name="T63" fmla="*/ 602 h 798"/>
                  <a:gd name="T64" fmla="*/ 555 w 685"/>
                  <a:gd name="T65" fmla="*/ 602 h 798"/>
                  <a:gd name="T66" fmla="*/ 624 w 685"/>
                  <a:gd name="T67" fmla="*/ 773 h 798"/>
                  <a:gd name="T68" fmla="*/ 555 w 685"/>
                  <a:gd name="T69" fmla="*/ 651 h 798"/>
                  <a:gd name="T70" fmla="*/ 542 w 685"/>
                  <a:gd name="T71" fmla="*/ 607 h 798"/>
                  <a:gd name="T72" fmla="*/ 550 w 685"/>
                  <a:gd name="T73" fmla="*/ 672 h 798"/>
                  <a:gd name="T74" fmla="*/ 559 w 685"/>
                  <a:gd name="T75" fmla="*/ 693 h 798"/>
                  <a:gd name="T76" fmla="*/ 548 w 685"/>
                  <a:gd name="T77" fmla="*/ 619 h 798"/>
                  <a:gd name="T78" fmla="*/ 540 w 685"/>
                  <a:gd name="T79" fmla="*/ 617 h 798"/>
                  <a:gd name="T80" fmla="*/ 553 w 685"/>
                  <a:gd name="T81" fmla="*/ 661 h 798"/>
                  <a:gd name="T82" fmla="*/ 590 w 685"/>
                  <a:gd name="T83" fmla="*/ 745 h 798"/>
                  <a:gd name="T84" fmla="*/ 559 w 685"/>
                  <a:gd name="T85" fmla="*/ 630 h 798"/>
                  <a:gd name="T86" fmla="*/ 550 w 685"/>
                  <a:gd name="T87" fmla="*/ 491 h 798"/>
                  <a:gd name="T88" fmla="*/ 573 w 685"/>
                  <a:gd name="T89" fmla="*/ 747 h 798"/>
                  <a:gd name="T90" fmla="*/ 548 w 685"/>
                  <a:gd name="T91" fmla="*/ 605 h 798"/>
                  <a:gd name="T92" fmla="*/ 588 w 685"/>
                  <a:gd name="T93" fmla="*/ 754 h 798"/>
                  <a:gd name="T94" fmla="*/ 544 w 685"/>
                  <a:gd name="T95" fmla="*/ 621 h 798"/>
                  <a:gd name="T96" fmla="*/ 553 w 685"/>
                  <a:gd name="T97" fmla="*/ 653 h 798"/>
                  <a:gd name="T98" fmla="*/ 553 w 685"/>
                  <a:gd name="T99" fmla="*/ 685 h 798"/>
                  <a:gd name="T100" fmla="*/ 553 w 685"/>
                  <a:gd name="T101" fmla="*/ 699 h 798"/>
                  <a:gd name="T102" fmla="*/ 590 w 685"/>
                  <a:gd name="T103" fmla="*/ 752 h 798"/>
                  <a:gd name="T104" fmla="*/ 546 w 685"/>
                  <a:gd name="T105" fmla="*/ 563 h 798"/>
                  <a:gd name="T106" fmla="*/ 557 w 685"/>
                  <a:gd name="T107" fmla="*/ 720 h 798"/>
                  <a:gd name="T108" fmla="*/ 620 w 685"/>
                  <a:gd name="T109" fmla="*/ 771 h 798"/>
                  <a:gd name="T110" fmla="*/ 576 w 685"/>
                  <a:gd name="T111" fmla="*/ 735 h 798"/>
                  <a:gd name="T112" fmla="*/ 544 w 685"/>
                  <a:gd name="T113" fmla="*/ 619 h 798"/>
                  <a:gd name="T114" fmla="*/ 628 w 685"/>
                  <a:gd name="T115" fmla="*/ 752 h 798"/>
                  <a:gd name="T116" fmla="*/ 557 w 685"/>
                  <a:gd name="T117" fmla="*/ 672 h 798"/>
                  <a:gd name="T118" fmla="*/ 609 w 685"/>
                  <a:gd name="T119" fmla="*/ 764 h 798"/>
                  <a:gd name="T120" fmla="*/ 582 w 685"/>
                  <a:gd name="T121" fmla="*/ 747 h 798"/>
                  <a:gd name="T122" fmla="*/ 576 w 685"/>
                  <a:gd name="T123" fmla="*/ 737 h 798"/>
                  <a:gd name="T124" fmla="*/ 565 w 685"/>
                  <a:gd name="T125" fmla="*/ 722 h 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85" h="798">
                    <a:moveTo>
                      <a:pt x="672" y="92"/>
                    </a:moveTo>
                    <a:lnTo>
                      <a:pt x="675" y="94"/>
                    </a:lnTo>
                    <a:lnTo>
                      <a:pt x="670" y="113"/>
                    </a:lnTo>
                    <a:lnTo>
                      <a:pt x="655" y="119"/>
                    </a:lnTo>
                    <a:lnTo>
                      <a:pt x="655" y="121"/>
                    </a:lnTo>
                    <a:lnTo>
                      <a:pt x="653" y="121"/>
                    </a:lnTo>
                    <a:lnTo>
                      <a:pt x="653" y="123"/>
                    </a:lnTo>
                    <a:lnTo>
                      <a:pt x="651" y="123"/>
                    </a:lnTo>
                    <a:lnTo>
                      <a:pt x="651" y="125"/>
                    </a:lnTo>
                    <a:lnTo>
                      <a:pt x="651" y="126"/>
                    </a:lnTo>
                    <a:lnTo>
                      <a:pt x="651" y="128"/>
                    </a:lnTo>
                    <a:lnTo>
                      <a:pt x="653" y="128"/>
                    </a:lnTo>
                    <a:lnTo>
                      <a:pt x="653" y="130"/>
                    </a:lnTo>
                    <a:lnTo>
                      <a:pt x="655" y="132"/>
                    </a:lnTo>
                    <a:lnTo>
                      <a:pt x="653" y="132"/>
                    </a:lnTo>
                    <a:lnTo>
                      <a:pt x="651" y="132"/>
                    </a:lnTo>
                    <a:lnTo>
                      <a:pt x="651" y="134"/>
                    </a:lnTo>
                    <a:lnTo>
                      <a:pt x="651" y="136"/>
                    </a:lnTo>
                    <a:lnTo>
                      <a:pt x="649" y="138"/>
                    </a:lnTo>
                    <a:lnTo>
                      <a:pt x="651" y="138"/>
                    </a:lnTo>
                    <a:lnTo>
                      <a:pt x="651" y="140"/>
                    </a:lnTo>
                    <a:lnTo>
                      <a:pt x="651" y="142"/>
                    </a:lnTo>
                    <a:lnTo>
                      <a:pt x="653" y="151"/>
                    </a:lnTo>
                    <a:lnTo>
                      <a:pt x="651" y="151"/>
                    </a:lnTo>
                    <a:lnTo>
                      <a:pt x="649" y="155"/>
                    </a:lnTo>
                    <a:lnTo>
                      <a:pt x="655" y="163"/>
                    </a:lnTo>
                    <a:lnTo>
                      <a:pt x="655" y="165"/>
                    </a:lnTo>
                    <a:lnTo>
                      <a:pt x="655" y="166"/>
                    </a:lnTo>
                    <a:lnTo>
                      <a:pt x="653" y="166"/>
                    </a:lnTo>
                    <a:lnTo>
                      <a:pt x="651" y="166"/>
                    </a:lnTo>
                    <a:lnTo>
                      <a:pt x="651" y="168"/>
                    </a:lnTo>
                    <a:lnTo>
                      <a:pt x="649" y="168"/>
                    </a:lnTo>
                    <a:lnTo>
                      <a:pt x="649" y="166"/>
                    </a:lnTo>
                    <a:lnTo>
                      <a:pt x="647" y="166"/>
                    </a:lnTo>
                    <a:lnTo>
                      <a:pt x="647" y="168"/>
                    </a:lnTo>
                    <a:lnTo>
                      <a:pt x="645" y="168"/>
                    </a:lnTo>
                    <a:lnTo>
                      <a:pt x="645" y="170"/>
                    </a:lnTo>
                    <a:lnTo>
                      <a:pt x="645" y="172"/>
                    </a:lnTo>
                    <a:lnTo>
                      <a:pt x="643" y="172"/>
                    </a:lnTo>
                    <a:lnTo>
                      <a:pt x="643" y="174"/>
                    </a:lnTo>
                    <a:lnTo>
                      <a:pt x="645" y="174"/>
                    </a:lnTo>
                    <a:lnTo>
                      <a:pt x="643" y="174"/>
                    </a:lnTo>
                    <a:lnTo>
                      <a:pt x="643" y="176"/>
                    </a:lnTo>
                    <a:lnTo>
                      <a:pt x="643" y="178"/>
                    </a:lnTo>
                    <a:lnTo>
                      <a:pt x="641" y="178"/>
                    </a:lnTo>
                    <a:lnTo>
                      <a:pt x="641" y="180"/>
                    </a:lnTo>
                    <a:lnTo>
                      <a:pt x="641" y="182"/>
                    </a:lnTo>
                    <a:lnTo>
                      <a:pt x="639" y="182"/>
                    </a:lnTo>
                    <a:lnTo>
                      <a:pt x="639" y="184"/>
                    </a:lnTo>
                    <a:lnTo>
                      <a:pt x="637" y="186"/>
                    </a:lnTo>
                    <a:lnTo>
                      <a:pt x="637" y="187"/>
                    </a:lnTo>
                    <a:lnTo>
                      <a:pt x="635" y="186"/>
                    </a:lnTo>
                    <a:lnTo>
                      <a:pt x="635" y="189"/>
                    </a:lnTo>
                    <a:lnTo>
                      <a:pt x="634" y="189"/>
                    </a:lnTo>
                    <a:lnTo>
                      <a:pt x="634" y="191"/>
                    </a:lnTo>
                    <a:lnTo>
                      <a:pt x="632" y="191"/>
                    </a:lnTo>
                    <a:lnTo>
                      <a:pt x="634" y="191"/>
                    </a:lnTo>
                    <a:lnTo>
                      <a:pt x="632" y="191"/>
                    </a:lnTo>
                    <a:lnTo>
                      <a:pt x="634" y="193"/>
                    </a:lnTo>
                    <a:lnTo>
                      <a:pt x="632" y="193"/>
                    </a:lnTo>
                    <a:lnTo>
                      <a:pt x="634" y="193"/>
                    </a:lnTo>
                    <a:lnTo>
                      <a:pt x="632" y="193"/>
                    </a:lnTo>
                    <a:lnTo>
                      <a:pt x="632" y="195"/>
                    </a:lnTo>
                    <a:lnTo>
                      <a:pt x="632" y="197"/>
                    </a:lnTo>
                    <a:lnTo>
                      <a:pt x="632" y="199"/>
                    </a:lnTo>
                    <a:lnTo>
                      <a:pt x="632" y="201"/>
                    </a:lnTo>
                    <a:lnTo>
                      <a:pt x="630" y="203"/>
                    </a:lnTo>
                    <a:lnTo>
                      <a:pt x="630" y="205"/>
                    </a:lnTo>
                    <a:lnTo>
                      <a:pt x="628" y="205"/>
                    </a:lnTo>
                    <a:lnTo>
                      <a:pt x="628" y="207"/>
                    </a:lnTo>
                    <a:lnTo>
                      <a:pt x="626" y="207"/>
                    </a:lnTo>
                    <a:lnTo>
                      <a:pt x="628" y="208"/>
                    </a:lnTo>
                    <a:lnTo>
                      <a:pt x="626" y="208"/>
                    </a:lnTo>
                    <a:lnTo>
                      <a:pt x="628" y="208"/>
                    </a:lnTo>
                    <a:lnTo>
                      <a:pt x="628" y="210"/>
                    </a:lnTo>
                    <a:lnTo>
                      <a:pt x="628" y="212"/>
                    </a:lnTo>
                    <a:lnTo>
                      <a:pt x="630" y="214"/>
                    </a:lnTo>
                    <a:lnTo>
                      <a:pt x="628" y="216"/>
                    </a:lnTo>
                    <a:lnTo>
                      <a:pt x="630" y="216"/>
                    </a:lnTo>
                    <a:lnTo>
                      <a:pt x="630" y="218"/>
                    </a:lnTo>
                    <a:lnTo>
                      <a:pt x="628" y="218"/>
                    </a:lnTo>
                    <a:lnTo>
                      <a:pt x="630" y="218"/>
                    </a:lnTo>
                    <a:lnTo>
                      <a:pt x="628" y="220"/>
                    </a:lnTo>
                    <a:lnTo>
                      <a:pt x="628" y="222"/>
                    </a:lnTo>
                    <a:lnTo>
                      <a:pt x="630" y="222"/>
                    </a:lnTo>
                    <a:lnTo>
                      <a:pt x="630" y="224"/>
                    </a:lnTo>
                    <a:lnTo>
                      <a:pt x="628" y="226"/>
                    </a:lnTo>
                    <a:lnTo>
                      <a:pt x="630" y="226"/>
                    </a:lnTo>
                    <a:lnTo>
                      <a:pt x="628" y="226"/>
                    </a:lnTo>
                    <a:lnTo>
                      <a:pt x="626" y="226"/>
                    </a:lnTo>
                    <a:lnTo>
                      <a:pt x="624" y="226"/>
                    </a:lnTo>
                    <a:lnTo>
                      <a:pt x="626" y="228"/>
                    </a:lnTo>
                    <a:lnTo>
                      <a:pt x="624" y="228"/>
                    </a:lnTo>
                    <a:lnTo>
                      <a:pt x="624" y="229"/>
                    </a:lnTo>
                    <a:lnTo>
                      <a:pt x="624" y="231"/>
                    </a:lnTo>
                    <a:lnTo>
                      <a:pt x="624" y="233"/>
                    </a:lnTo>
                    <a:lnTo>
                      <a:pt x="622" y="233"/>
                    </a:lnTo>
                    <a:lnTo>
                      <a:pt x="622" y="235"/>
                    </a:lnTo>
                    <a:lnTo>
                      <a:pt x="622" y="237"/>
                    </a:lnTo>
                    <a:lnTo>
                      <a:pt x="622" y="239"/>
                    </a:lnTo>
                    <a:lnTo>
                      <a:pt x="622" y="241"/>
                    </a:lnTo>
                    <a:lnTo>
                      <a:pt x="620" y="241"/>
                    </a:lnTo>
                    <a:lnTo>
                      <a:pt x="620" y="239"/>
                    </a:lnTo>
                    <a:lnTo>
                      <a:pt x="620" y="241"/>
                    </a:lnTo>
                    <a:lnTo>
                      <a:pt x="618" y="241"/>
                    </a:lnTo>
                    <a:lnTo>
                      <a:pt x="618" y="243"/>
                    </a:lnTo>
                    <a:lnTo>
                      <a:pt x="618" y="245"/>
                    </a:lnTo>
                    <a:lnTo>
                      <a:pt x="618" y="247"/>
                    </a:lnTo>
                    <a:lnTo>
                      <a:pt x="618" y="249"/>
                    </a:lnTo>
                    <a:lnTo>
                      <a:pt x="618" y="250"/>
                    </a:lnTo>
                    <a:lnTo>
                      <a:pt x="620" y="250"/>
                    </a:lnTo>
                    <a:lnTo>
                      <a:pt x="620" y="252"/>
                    </a:lnTo>
                    <a:lnTo>
                      <a:pt x="620" y="254"/>
                    </a:lnTo>
                    <a:lnTo>
                      <a:pt x="622" y="254"/>
                    </a:lnTo>
                    <a:lnTo>
                      <a:pt x="624" y="256"/>
                    </a:lnTo>
                    <a:lnTo>
                      <a:pt x="622" y="258"/>
                    </a:lnTo>
                    <a:lnTo>
                      <a:pt x="622" y="256"/>
                    </a:lnTo>
                    <a:lnTo>
                      <a:pt x="620" y="258"/>
                    </a:lnTo>
                    <a:lnTo>
                      <a:pt x="622" y="258"/>
                    </a:lnTo>
                    <a:lnTo>
                      <a:pt x="622" y="260"/>
                    </a:lnTo>
                    <a:lnTo>
                      <a:pt x="622" y="262"/>
                    </a:lnTo>
                    <a:lnTo>
                      <a:pt x="624" y="262"/>
                    </a:lnTo>
                    <a:lnTo>
                      <a:pt x="624" y="264"/>
                    </a:lnTo>
                    <a:lnTo>
                      <a:pt x="624" y="266"/>
                    </a:lnTo>
                    <a:lnTo>
                      <a:pt x="626" y="266"/>
                    </a:lnTo>
                    <a:lnTo>
                      <a:pt x="626" y="268"/>
                    </a:lnTo>
                    <a:lnTo>
                      <a:pt x="624" y="268"/>
                    </a:lnTo>
                    <a:lnTo>
                      <a:pt x="624" y="270"/>
                    </a:lnTo>
                    <a:lnTo>
                      <a:pt x="626" y="271"/>
                    </a:lnTo>
                    <a:lnTo>
                      <a:pt x="626" y="273"/>
                    </a:lnTo>
                    <a:lnTo>
                      <a:pt x="628" y="273"/>
                    </a:lnTo>
                    <a:lnTo>
                      <a:pt x="628" y="275"/>
                    </a:lnTo>
                    <a:lnTo>
                      <a:pt x="626" y="275"/>
                    </a:lnTo>
                    <a:lnTo>
                      <a:pt x="626" y="277"/>
                    </a:lnTo>
                    <a:lnTo>
                      <a:pt x="626" y="279"/>
                    </a:lnTo>
                    <a:lnTo>
                      <a:pt x="626" y="281"/>
                    </a:lnTo>
                    <a:lnTo>
                      <a:pt x="628" y="281"/>
                    </a:lnTo>
                    <a:lnTo>
                      <a:pt x="628" y="279"/>
                    </a:lnTo>
                    <a:lnTo>
                      <a:pt x="630" y="281"/>
                    </a:lnTo>
                    <a:lnTo>
                      <a:pt x="632" y="281"/>
                    </a:lnTo>
                    <a:lnTo>
                      <a:pt x="632" y="283"/>
                    </a:lnTo>
                    <a:lnTo>
                      <a:pt x="630" y="283"/>
                    </a:lnTo>
                    <a:lnTo>
                      <a:pt x="630" y="285"/>
                    </a:lnTo>
                    <a:lnTo>
                      <a:pt x="630" y="289"/>
                    </a:lnTo>
                    <a:lnTo>
                      <a:pt x="630" y="291"/>
                    </a:lnTo>
                    <a:lnTo>
                      <a:pt x="630" y="292"/>
                    </a:lnTo>
                    <a:lnTo>
                      <a:pt x="628" y="294"/>
                    </a:lnTo>
                    <a:lnTo>
                      <a:pt x="630" y="294"/>
                    </a:lnTo>
                    <a:lnTo>
                      <a:pt x="630" y="296"/>
                    </a:lnTo>
                    <a:lnTo>
                      <a:pt x="630" y="298"/>
                    </a:lnTo>
                    <a:lnTo>
                      <a:pt x="630" y="300"/>
                    </a:lnTo>
                    <a:lnTo>
                      <a:pt x="628" y="300"/>
                    </a:lnTo>
                    <a:lnTo>
                      <a:pt x="626" y="300"/>
                    </a:lnTo>
                    <a:lnTo>
                      <a:pt x="628" y="302"/>
                    </a:lnTo>
                    <a:lnTo>
                      <a:pt x="626" y="304"/>
                    </a:lnTo>
                    <a:lnTo>
                      <a:pt x="624" y="306"/>
                    </a:lnTo>
                    <a:lnTo>
                      <a:pt x="624" y="308"/>
                    </a:lnTo>
                    <a:lnTo>
                      <a:pt x="622" y="310"/>
                    </a:lnTo>
                    <a:lnTo>
                      <a:pt x="624" y="310"/>
                    </a:lnTo>
                    <a:lnTo>
                      <a:pt x="622" y="311"/>
                    </a:lnTo>
                    <a:lnTo>
                      <a:pt x="622" y="313"/>
                    </a:lnTo>
                    <a:lnTo>
                      <a:pt x="622" y="315"/>
                    </a:lnTo>
                    <a:lnTo>
                      <a:pt x="622" y="317"/>
                    </a:lnTo>
                    <a:lnTo>
                      <a:pt x="620" y="317"/>
                    </a:lnTo>
                    <a:lnTo>
                      <a:pt x="618" y="317"/>
                    </a:lnTo>
                    <a:lnTo>
                      <a:pt x="618" y="319"/>
                    </a:lnTo>
                    <a:lnTo>
                      <a:pt x="620" y="319"/>
                    </a:lnTo>
                    <a:lnTo>
                      <a:pt x="620" y="321"/>
                    </a:lnTo>
                    <a:lnTo>
                      <a:pt x="620" y="323"/>
                    </a:lnTo>
                    <a:lnTo>
                      <a:pt x="622" y="323"/>
                    </a:lnTo>
                    <a:lnTo>
                      <a:pt x="620" y="325"/>
                    </a:lnTo>
                    <a:lnTo>
                      <a:pt x="620" y="327"/>
                    </a:lnTo>
                    <a:lnTo>
                      <a:pt x="622" y="329"/>
                    </a:lnTo>
                    <a:lnTo>
                      <a:pt x="622" y="331"/>
                    </a:lnTo>
                    <a:lnTo>
                      <a:pt x="620" y="331"/>
                    </a:lnTo>
                    <a:lnTo>
                      <a:pt x="622" y="332"/>
                    </a:lnTo>
                    <a:lnTo>
                      <a:pt x="620" y="332"/>
                    </a:lnTo>
                    <a:lnTo>
                      <a:pt x="622" y="332"/>
                    </a:lnTo>
                    <a:lnTo>
                      <a:pt x="622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18" y="336"/>
                    </a:lnTo>
                    <a:lnTo>
                      <a:pt x="616" y="338"/>
                    </a:lnTo>
                    <a:lnTo>
                      <a:pt x="616" y="340"/>
                    </a:lnTo>
                    <a:lnTo>
                      <a:pt x="616" y="342"/>
                    </a:lnTo>
                    <a:lnTo>
                      <a:pt x="614" y="342"/>
                    </a:lnTo>
                    <a:lnTo>
                      <a:pt x="614" y="340"/>
                    </a:lnTo>
                    <a:lnTo>
                      <a:pt x="614" y="342"/>
                    </a:lnTo>
                    <a:lnTo>
                      <a:pt x="613" y="340"/>
                    </a:lnTo>
                    <a:lnTo>
                      <a:pt x="613" y="342"/>
                    </a:lnTo>
                    <a:lnTo>
                      <a:pt x="613" y="344"/>
                    </a:lnTo>
                    <a:lnTo>
                      <a:pt x="611" y="342"/>
                    </a:lnTo>
                    <a:lnTo>
                      <a:pt x="611" y="346"/>
                    </a:lnTo>
                    <a:lnTo>
                      <a:pt x="611" y="348"/>
                    </a:lnTo>
                    <a:lnTo>
                      <a:pt x="611" y="346"/>
                    </a:lnTo>
                    <a:lnTo>
                      <a:pt x="609" y="346"/>
                    </a:lnTo>
                    <a:lnTo>
                      <a:pt x="609" y="350"/>
                    </a:lnTo>
                    <a:lnTo>
                      <a:pt x="609" y="352"/>
                    </a:lnTo>
                    <a:lnTo>
                      <a:pt x="611" y="352"/>
                    </a:lnTo>
                    <a:lnTo>
                      <a:pt x="609" y="353"/>
                    </a:lnTo>
                    <a:lnTo>
                      <a:pt x="611" y="355"/>
                    </a:lnTo>
                    <a:lnTo>
                      <a:pt x="609" y="355"/>
                    </a:lnTo>
                    <a:lnTo>
                      <a:pt x="609" y="357"/>
                    </a:lnTo>
                    <a:lnTo>
                      <a:pt x="609" y="359"/>
                    </a:lnTo>
                    <a:lnTo>
                      <a:pt x="609" y="361"/>
                    </a:lnTo>
                    <a:lnTo>
                      <a:pt x="609" y="363"/>
                    </a:lnTo>
                    <a:lnTo>
                      <a:pt x="609" y="365"/>
                    </a:lnTo>
                    <a:lnTo>
                      <a:pt x="609" y="367"/>
                    </a:lnTo>
                    <a:lnTo>
                      <a:pt x="609" y="369"/>
                    </a:lnTo>
                    <a:lnTo>
                      <a:pt x="609" y="371"/>
                    </a:lnTo>
                    <a:lnTo>
                      <a:pt x="609" y="373"/>
                    </a:lnTo>
                    <a:lnTo>
                      <a:pt x="611" y="373"/>
                    </a:lnTo>
                    <a:lnTo>
                      <a:pt x="611" y="374"/>
                    </a:lnTo>
                    <a:lnTo>
                      <a:pt x="611" y="376"/>
                    </a:lnTo>
                    <a:lnTo>
                      <a:pt x="611" y="378"/>
                    </a:lnTo>
                    <a:lnTo>
                      <a:pt x="611" y="380"/>
                    </a:lnTo>
                    <a:lnTo>
                      <a:pt x="613" y="380"/>
                    </a:lnTo>
                    <a:lnTo>
                      <a:pt x="613" y="382"/>
                    </a:lnTo>
                    <a:lnTo>
                      <a:pt x="613" y="384"/>
                    </a:lnTo>
                    <a:lnTo>
                      <a:pt x="614" y="386"/>
                    </a:lnTo>
                    <a:lnTo>
                      <a:pt x="613" y="386"/>
                    </a:lnTo>
                    <a:lnTo>
                      <a:pt x="613" y="388"/>
                    </a:lnTo>
                    <a:lnTo>
                      <a:pt x="611" y="388"/>
                    </a:lnTo>
                    <a:lnTo>
                      <a:pt x="609" y="390"/>
                    </a:lnTo>
                    <a:lnTo>
                      <a:pt x="607" y="390"/>
                    </a:lnTo>
                    <a:lnTo>
                      <a:pt x="605" y="392"/>
                    </a:lnTo>
                    <a:lnTo>
                      <a:pt x="605" y="394"/>
                    </a:lnTo>
                    <a:lnTo>
                      <a:pt x="605" y="395"/>
                    </a:lnTo>
                    <a:lnTo>
                      <a:pt x="605" y="397"/>
                    </a:lnTo>
                    <a:lnTo>
                      <a:pt x="605" y="399"/>
                    </a:lnTo>
                    <a:lnTo>
                      <a:pt x="605" y="401"/>
                    </a:lnTo>
                    <a:lnTo>
                      <a:pt x="605" y="403"/>
                    </a:lnTo>
                    <a:lnTo>
                      <a:pt x="603" y="403"/>
                    </a:lnTo>
                    <a:lnTo>
                      <a:pt x="603" y="405"/>
                    </a:lnTo>
                    <a:lnTo>
                      <a:pt x="605" y="405"/>
                    </a:lnTo>
                    <a:lnTo>
                      <a:pt x="603" y="407"/>
                    </a:lnTo>
                    <a:lnTo>
                      <a:pt x="601" y="407"/>
                    </a:lnTo>
                    <a:lnTo>
                      <a:pt x="601" y="405"/>
                    </a:lnTo>
                    <a:lnTo>
                      <a:pt x="601" y="407"/>
                    </a:lnTo>
                    <a:lnTo>
                      <a:pt x="599" y="407"/>
                    </a:lnTo>
                    <a:lnTo>
                      <a:pt x="601" y="407"/>
                    </a:lnTo>
                    <a:lnTo>
                      <a:pt x="599" y="407"/>
                    </a:lnTo>
                    <a:lnTo>
                      <a:pt x="601" y="409"/>
                    </a:lnTo>
                    <a:lnTo>
                      <a:pt x="599" y="409"/>
                    </a:lnTo>
                    <a:lnTo>
                      <a:pt x="601" y="411"/>
                    </a:lnTo>
                    <a:lnTo>
                      <a:pt x="601" y="413"/>
                    </a:lnTo>
                    <a:lnTo>
                      <a:pt x="601" y="415"/>
                    </a:lnTo>
                    <a:lnTo>
                      <a:pt x="601" y="416"/>
                    </a:lnTo>
                    <a:lnTo>
                      <a:pt x="599" y="416"/>
                    </a:lnTo>
                    <a:lnTo>
                      <a:pt x="597" y="416"/>
                    </a:lnTo>
                    <a:lnTo>
                      <a:pt x="599" y="416"/>
                    </a:lnTo>
                    <a:lnTo>
                      <a:pt x="597" y="418"/>
                    </a:lnTo>
                    <a:lnTo>
                      <a:pt x="599" y="418"/>
                    </a:lnTo>
                    <a:lnTo>
                      <a:pt x="597" y="418"/>
                    </a:lnTo>
                    <a:lnTo>
                      <a:pt x="599" y="420"/>
                    </a:lnTo>
                    <a:lnTo>
                      <a:pt x="601" y="420"/>
                    </a:lnTo>
                    <a:lnTo>
                      <a:pt x="601" y="422"/>
                    </a:lnTo>
                    <a:lnTo>
                      <a:pt x="599" y="422"/>
                    </a:lnTo>
                    <a:lnTo>
                      <a:pt x="597" y="422"/>
                    </a:lnTo>
                    <a:lnTo>
                      <a:pt x="597" y="424"/>
                    </a:lnTo>
                    <a:lnTo>
                      <a:pt x="597" y="426"/>
                    </a:lnTo>
                    <a:lnTo>
                      <a:pt x="597" y="428"/>
                    </a:lnTo>
                    <a:lnTo>
                      <a:pt x="595" y="430"/>
                    </a:lnTo>
                    <a:lnTo>
                      <a:pt x="597" y="430"/>
                    </a:lnTo>
                    <a:lnTo>
                      <a:pt x="597" y="432"/>
                    </a:lnTo>
                    <a:lnTo>
                      <a:pt x="597" y="434"/>
                    </a:lnTo>
                    <a:lnTo>
                      <a:pt x="597" y="436"/>
                    </a:lnTo>
                    <a:lnTo>
                      <a:pt x="599" y="436"/>
                    </a:lnTo>
                    <a:lnTo>
                      <a:pt x="597" y="437"/>
                    </a:lnTo>
                    <a:lnTo>
                      <a:pt x="597" y="439"/>
                    </a:lnTo>
                    <a:lnTo>
                      <a:pt x="597" y="441"/>
                    </a:lnTo>
                    <a:lnTo>
                      <a:pt x="597" y="443"/>
                    </a:lnTo>
                    <a:lnTo>
                      <a:pt x="597" y="445"/>
                    </a:lnTo>
                    <a:lnTo>
                      <a:pt x="597" y="447"/>
                    </a:lnTo>
                    <a:lnTo>
                      <a:pt x="599" y="447"/>
                    </a:lnTo>
                    <a:lnTo>
                      <a:pt x="597" y="447"/>
                    </a:lnTo>
                    <a:lnTo>
                      <a:pt x="597" y="449"/>
                    </a:lnTo>
                    <a:lnTo>
                      <a:pt x="599" y="449"/>
                    </a:lnTo>
                    <a:lnTo>
                      <a:pt x="599" y="451"/>
                    </a:lnTo>
                    <a:lnTo>
                      <a:pt x="599" y="453"/>
                    </a:lnTo>
                    <a:lnTo>
                      <a:pt x="599" y="455"/>
                    </a:lnTo>
                    <a:lnTo>
                      <a:pt x="599" y="457"/>
                    </a:lnTo>
                    <a:lnTo>
                      <a:pt x="599" y="458"/>
                    </a:lnTo>
                    <a:lnTo>
                      <a:pt x="597" y="460"/>
                    </a:lnTo>
                    <a:lnTo>
                      <a:pt x="595" y="460"/>
                    </a:lnTo>
                    <a:lnTo>
                      <a:pt x="595" y="458"/>
                    </a:lnTo>
                    <a:lnTo>
                      <a:pt x="593" y="458"/>
                    </a:lnTo>
                    <a:lnTo>
                      <a:pt x="593" y="460"/>
                    </a:lnTo>
                    <a:lnTo>
                      <a:pt x="593" y="458"/>
                    </a:lnTo>
                    <a:lnTo>
                      <a:pt x="592" y="460"/>
                    </a:lnTo>
                    <a:lnTo>
                      <a:pt x="593" y="460"/>
                    </a:lnTo>
                    <a:lnTo>
                      <a:pt x="593" y="462"/>
                    </a:lnTo>
                    <a:lnTo>
                      <a:pt x="593" y="464"/>
                    </a:lnTo>
                    <a:lnTo>
                      <a:pt x="595" y="464"/>
                    </a:lnTo>
                    <a:lnTo>
                      <a:pt x="595" y="466"/>
                    </a:lnTo>
                    <a:lnTo>
                      <a:pt x="595" y="468"/>
                    </a:lnTo>
                    <a:lnTo>
                      <a:pt x="593" y="468"/>
                    </a:lnTo>
                    <a:lnTo>
                      <a:pt x="593" y="470"/>
                    </a:lnTo>
                    <a:lnTo>
                      <a:pt x="593" y="472"/>
                    </a:lnTo>
                    <a:lnTo>
                      <a:pt x="593" y="474"/>
                    </a:lnTo>
                    <a:lnTo>
                      <a:pt x="593" y="476"/>
                    </a:lnTo>
                    <a:lnTo>
                      <a:pt x="593" y="477"/>
                    </a:lnTo>
                    <a:lnTo>
                      <a:pt x="595" y="479"/>
                    </a:lnTo>
                    <a:lnTo>
                      <a:pt x="597" y="479"/>
                    </a:lnTo>
                    <a:lnTo>
                      <a:pt x="597" y="481"/>
                    </a:lnTo>
                    <a:lnTo>
                      <a:pt x="599" y="481"/>
                    </a:lnTo>
                    <a:lnTo>
                      <a:pt x="599" y="483"/>
                    </a:lnTo>
                    <a:lnTo>
                      <a:pt x="599" y="485"/>
                    </a:lnTo>
                    <a:lnTo>
                      <a:pt x="597" y="485"/>
                    </a:lnTo>
                    <a:lnTo>
                      <a:pt x="597" y="487"/>
                    </a:lnTo>
                    <a:lnTo>
                      <a:pt x="597" y="489"/>
                    </a:lnTo>
                    <a:lnTo>
                      <a:pt x="599" y="489"/>
                    </a:lnTo>
                    <a:lnTo>
                      <a:pt x="599" y="491"/>
                    </a:lnTo>
                    <a:lnTo>
                      <a:pt x="601" y="491"/>
                    </a:lnTo>
                    <a:lnTo>
                      <a:pt x="603" y="493"/>
                    </a:lnTo>
                    <a:lnTo>
                      <a:pt x="601" y="493"/>
                    </a:lnTo>
                    <a:lnTo>
                      <a:pt x="601" y="495"/>
                    </a:lnTo>
                    <a:lnTo>
                      <a:pt x="599" y="495"/>
                    </a:lnTo>
                    <a:lnTo>
                      <a:pt x="599" y="497"/>
                    </a:lnTo>
                    <a:lnTo>
                      <a:pt x="601" y="498"/>
                    </a:lnTo>
                    <a:lnTo>
                      <a:pt x="599" y="502"/>
                    </a:lnTo>
                    <a:lnTo>
                      <a:pt x="597" y="502"/>
                    </a:lnTo>
                    <a:lnTo>
                      <a:pt x="599" y="504"/>
                    </a:lnTo>
                    <a:lnTo>
                      <a:pt x="599" y="506"/>
                    </a:lnTo>
                    <a:lnTo>
                      <a:pt x="597" y="506"/>
                    </a:lnTo>
                    <a:lnTo>
                      <a:pt x="599" y="506"/>
                    </a:lnTo>
                    <a:lnTo>
                      <a:pt x="599" y="508"/>
                    </a:lnTo>
                    <a:lnTo>
                      <a:pt x="597" y="508"/>
                    </a:lnTo>
                    <a:lnTo>
                      <a:pt x="599" y="508"/>
                    </a:lnTo>
                    <a:lnTo>
                      <a:pt x="601" y="508"/>
                    </a:lnTo>
                    <a:lnTo>
                      <a:pt x="605" y="508"/>
                    </a:lnTo>
                    <a:lnTo>
                      <a:pt x="605" y="510"/>
                    </a:lnTo>
                    <a:lnTo>
                      <a:pt x="607" y="508"/>
                    </a:lnTo>
                    <a:lnTo>
                      <a:pt x="609" y="510"/>
                    </a:lnTo>
                    <a:lnTo>
                      <a:pt x="611" y="512"/>
                    </a:lnTo>
                    <a:lnTo>
                      <a:pt x="609" y="514"/>
                    </a:lnTo>
                    <a:lnTo>
                      <a:pt x="607" y="514"/>
                    </a:lnTo>
                    <a:lnTo>
                      <a:pt x="609" y="516"/>
                    </a:lnTo>
                    <a:lnTo>
                      <a:pt x="607" y="518"/>
                    </a:lnTo>
                    <a:lnTo>
                      <a:pt x="605" y="518"/>
                    </a:lnTo>
                    <a:lnTo>
                      <a:pt x="603" y="516"/>
                    </a:lnTo>
                    <a:lnTo>
                      <a:pt x="601" y="518"/>
                    </a:lnTo>
                    <a:lnTo>
                      <a:pt x="599" y="518"/>
                    </a:lnTo>
                    <a:lnTo>
                      <a:pt x="599" y="516"/>
                    </a:lnTo>
                    <a:lnTo>
                      <a:pt x="597" y="518"/>
                    </a:lnTo>
                    <a:lnTo>
                      <a:pt x="599" y="518"/>
                    </a:lnTo>
                    <a:lnTo>
                      <a:pt x="597" y="518"/>
                    </a:lnTo>
                    <a:lnTo>
                      <a:pt x="595" y="518"/>
                    </a:lnTo>
                    <a:lnTo>
                      <a:pt x="595" y="516"/>
                    </a:lnTo>
                    <a:lnTo>
                      <a:pt x="595" y="518"/>
                    </a:lnTo>
                    <a:lnTo>
                      <a:pt x="593" y="516"/>
                    </a:lnTo>
                    <a:lnTo>
                      <a:pt x="593" y="518"/>
                    </a:lnTo>
                    <a:lnTo>
                      <a:pt x="595" y="518"/>
                    </a:lnTo>
                    <a:lnTo>
                      <a:pt x="593" y="518"/>
                    </a:lnTo>
                    <a:lnTo>
                      <a:pt x="595" y="519"/>
                    </a:lnTo>
                    <a:lnTo>
                      <a:pt x="597" y="521"/>
                    </a:lnTo>
                    <a:lnTo>
                      <a:pt x="599" y="519"/>
                    </a:lnTo>
                    <a:lnTo>
                      <a:pt x="599" y="521"/>
                    </a:lnTo>
                    <a:lnTo>
                      <a:pt x="599" y="519"/>
                    </a:lnTo>
                    <a:lnTo>
                      <a:pt x="599" y="521"/>
                    </a:lnTo>
                    <a:lnTo>
                      <a:pt x="601" y="521"/>
                    </a:lnTo>
                    <a:lnTo>
                      <a:pt x="603" y="521"/>
                    </a:lnTo>
                    <a:lnTo>
                      <a:pt x="603" y="523"/>
                    </a:lnTo>
                    <a:lnTo>
                      <a:pt x="603" y="525"/>
                    </a:lnTo>
                    <a:lnTo>
                      <a:pt x="605" y="525"/>
                    </a:lnTo>
                    <a:lnTo>
                      <a:pt x="605" y="527"/>
                    </a:lnTo>
                    <a:lnTo>
                      <a:pt x="607" y="527"/>
                    </a:lnTo>
                    <a:lnTo>
                      <a:pt x="605" y="527"/>
                    </a:lnTo>
                    <a:lnTo>
                      <a:pt x="607" y="529"/>
                    </a:lnTo>
                    <a:lnTo>
                      <a:pt x="605" y="529"/>
                    </a:lnTo>
                    <a:lnTo>
                      <a:pt x="605" y="531"/>
                    </a:lnTo>
                    <a:lnTo>
                      <a:pt x="603" y="531"/>
                    </a:lnTo>
                    <a:lnTo>
                      <a:pt x="603" y="533"/>
                    </a:lnTo>
                    <a:lnTo>
                      <a:pt x="603" y="535"/>
                    </a:lnTo>
                    <a:lnTo>
                      <a:pt x="601" y="533"/>
                    </a:lnTo>
                    <a:lnTo>
                      <a:pt x="601" y="535"/>
                    </a:lnTo>
                    <a:lnTo>
                      <a:pt x="599" y="535"/>
                    </a:lnTo>
                    <a:lnTo>
                      <a:pt x="599" y="537"/>
                    </a:lnTo>
                    <a:lnTo>
                      <a:pt x="599" y="539"/>
                    </a:lnTo>
                    <a:lnTo>
                      <a:pt x="599" y="540"/>
                    </a:lnTo>
                    <a:lnTo>
                      <a:pt x="601" y="542"/>
                    </a:lnTo>
                    <a:lnTo>
                      <a:pt x="601" y="544"/>
                    </a:lnTo>
                    <a:lnTo>
                      <a:pt x="599" y="546"/>
                    </a:lnTo>
                    <a:lnTo>
                      <a:pt x="599" y="548"/>
                    </a:lnTo>
                    <a:lnTo>
                      <a:pt x="597" y="548"/>
                    </a:lnTo>
                    <a:lnTo>
                      <a:pt x="597" y="550"/>
                    </a:lnTo>
                    <a:lnTo>
                      <a:pt x="599" y="550"/>
                    </a:lnTo>
                    <a:lnTo>
                      <a:pt x="599" y="552"/>
                    </a:lnTo>
                    <a:lnTo>
                      <a:pt x="599" y="554"/>
                    </a:lnTo>
                    <a:lnTo>
                      <a:pt x="601" y="556"/>
                    </a:lnTo>
                    <a:lnTo>
                      <a:pt x="601" y="560"/>
                    </a:lnTo>
                    <a:lnTo>
                      <a:pt x="601" y="561"/>
                    </a:lnTo>
                    <a:lnTo>
                      <a:pt x="597" y="563"/>
                    </a:lnTo>
                    <a:lnTo>
                      <a:pt x="595" y="563"/>
                    </a:lnTo>
                    <a:lnTo>
                      <a:pt x="597" y="565"/>
                    </a:lnTo>
                    <a:lnTo>
                      <a:pt x="595" y="565"/>
                    </a:lnTo>
                    <a:lnTo>
                      <a:pt x="595" y="567"/>
                    </a:lnTo>
                    <a:lnTo>
                      <a:pt x="597" y="569"/>
                    </a:lnTo>
                    <a:lnTo>
                      <a:pt x="595" y="569"/>
                    </a:lnTo>
                    <a:lnTo>
                      <a:pt x="597" y="571"/>
                    </a:lnTo>
                    <a:lnTo>
                      <a:pt x="597" y="573"/>
                    </a:lnTo>
                    <a:lnTo>
                      <a:pt x="595" y="573"/>
                    </a:lnTo>
                    <a:lnTo>
                      <a:pt x="595" y="575"/>
                    </a:lnTo>
                    <a:lnTo>
                      <a:pt x="595" y="577"/>
                    </a:lnTo>
                    <a:lnTo>
                      <a:pt x="593" y="575"/>
                    </a:lnTo>
                    <a:lnTo>
                      <a:pt x="593" y="577"/>
                    </a:lnTo>
                    <a:lnTo>
                      <a:pt x="592" y="577"/>
                    </a:lnTo>
                    <a:lnTo>
                      <a:pt x="592" y="579"/>
                    </a:lnTo>
                    <a:lnTo>
                      <a:pt x="590" y="579"/>
                    </a:lnTo>
                    <a:lnTo>
                      <a:pt x="592" y="581"/>
                    </a:lnTo>
                    <a:lnTo>
                      <a:pt x="590" y="581"/>
                    </a:lnTo>
                    <a:lnTo>
                      <a:pt x="590" y="582"/>
                    </a:lnTo>
                    <a:lnTo>
                      <a:pt x="590" y="584"/>
                    </a:lnTo>
                    <a:lnTo>
                      <a:pt x="588" y="584"/>
                    </a:lnTo>
                    <a:lnTo>
                      <a:pt x="590" y="584"/>
                    </a:lnTo>
                    <a:lnTo>
                      <a:pt x="590" y="586"/>
                    </a:lnTo>
                    <a:lnTo>
                      <a:pt x="588" y="586"/>
                    </a:lnTo>
                    <a:lnTo>
                      <a:pt x="588" y="584"/>
                    </a:lnTo>
                    <a:lnTo>
                      <a:pt x="588" y="586"/>
                    </a:lnTo>
                    <a:lnTo>
                      <a:pt x="588" y="588"/>
                    </a:lnTo>
                    <a:lnTo>
                      <a:pt x="588" y="590"/>
                    </a:lnTo>
                    <a:lnTo>
                      <a:pt x="588" y="592"/>
                    </a:lnTo>
                    <a:lnTo>
                      <a:pt x="590" y="594"/>
                    </a:lnTo>
                    <a:lnTo>
                      <a:pt x="592" y="596"/>
                    </a:lnTo>
                    <a:lnTo>
                      <a:pt x="590" y="596"/>
                    </a:lnTo>
                    <a:lnTo>
                      <a:pt x="592" y="600"/>
                    </a:lnTo>
                    <a:lnTo>
                      <a:pt x="590" y="600"/>
                    </a:lnTo>
                    <a:lnTo>
                      <a:pt x="590" y="602"/>
                    </a:lnTo>
                    <a:lnTo>
                      <a:pt x="590" y="603"/>
                    </a:lnTo>
                    <a:lnTo>
                      <a:pt x="588" y="603"/>
                    </a:lnTo>
                    <a:lnTo>
                      <a:pt x="586" y="603"/>
                    </a:lnTo>
                    <a:lnTo>
                      <a:pt x="588" y="607"/>
                    </a:lnTo>
                    <a:lnTo>
                      <a:pt x="588" y="611"/>
                    </a:lnTo>
                    <a:lnTo>
                      <a:pt x="584" y="613"/>
                    </a:lnTo>
                    <a:lnTo>
                      <a:pt x="582" y="615"/>
                    </a:lnTo>
                    <a:lnTo>
                      <a:pt x="580" y="615"/>
                    </a:lnTo>
                    <a:lnTo>
                      <a:pt x="580" y="617"/>
                    </a:lnTo>
                    <a:lnTo>
                      <a:pt x="578" y="617"/>
                    </a:lnTo>
                    <a:lnTo>
                      <a:pt x="578" y="619"/>
                    </a:lnTo>
                    <a:lnTo>
                      <a:pt x="578" y="621"/>
                    </a:lnTo>
                    <a:lnTo>
                      <a:pt x="578" y="623"/>
                    </a:lnTo>
                    <a:lnTo>
                      <a:pt x="578" y="621"/>
                    </a:lnTo>
                    <a:lnTo>
                      <a:pt x="578" y="623"/>
                    </a:lnTo>
                    <a:lnTo>
                      <a:pt x="573" y="621"/>
                    </a:lnTo>
                    <a:lnTo>
                      <a:pt x="573" y="623"/>
                    </a:lnTo>
                    <a:lnTo>
                      <a:pt x="573" y="624"/>
                    </a:lnTo>
                    <a:lnTo>
                      <a:pt x="573" y="626"/>
                    </a:lnTo>
                    <a:lnTo>
                      <a:pt x="571" y="628"/>
                    </a:lnTo>
                    <a:lnTo>
                      <a:pt x="573" y="630"/>
                    </a:lnTo>
                    <a:lnTo>
                      <a:pt x="571" y="632"/>
                    </a:lnTo>
                    <a:lnTo>
                      <a:pt x="573" y="634"/>
                    </a:lnTo>
                    <a:lnTo>
                      <a:pt x="573" y="636"/>
                    </a:lnTo>
                    <a:lnTo>
                      <a:pt x="571" y="638"/>
                    </a:lnTo>
                    <a:lnTo>
                      <a:pt x="571" y="640"/>
                    </a:lnTo>
                    <a:lnTo>
                      <a:pt x="573" y="642"/>
                    </a:lnTo>
                    <a:lnTo>
                      <a:pt x="571" y="643"/>
                    </a:lnTo>
                    <a:lnTo>
                      <a:pt x="571" y="645"/>
                    </a:lnTo>
                    <a:lnTo>
                      <a:pt x="571" y="647"/>
                    </a:lnTo>
                    <a:lnTo>
                      <a:pt x="573" y="647"/>
                    </a:lnTo>
                    <a:lnTo>
                      <a:pt x="573" y="649"/>
                    </a:lnTo>
                    <a:lnTo>
                      <a:pt x="573" y="651"/>
                    </a:lnTo>
                    <a:lnTo>
                      <a:pt x="574" y="653"/>
                    </a:lnTo>
                    <a:lnTo>
                      <a:pt x="573" y="653"/>
                    </a:lnTo>
                    <a:lnTo>
                      <a:pt x="574" y="655"/>
                    </a:lnTo>
                    <a:lnTo>
                      <a:pt x="574" y="657"/>
                    </a:lnTo>
                    <a:lnTo>
                      <a:pt x="576" y="657"/>
                    </a:lnTo>
                    <a:lnTo>
                      <a:pt x="576" y="659"/>
                    </a:lnTo>
                    <a:lnTo>
                      <a:pt x="574" y="659"/>
                    </a:lnTo>
                    <a:lnTo>
                      <a:pt x="574" y="661"/>
                    </a:lnTo>
                    <a:lnTo>
                      <a:pt x="576" y="661"/>
                    </a:lnTo>
                    <a:lnTo>
                      <a:pt x="578" y="659"/>
                    </a:lnTo>
                    <a:lnTo>
                      <a:pt x="580" y="659"/>
                    </a:lnTo>
                    <a:lnTo>
                      <a:pt x="582" y="657"/>
                    </a:lnTo>
                    <a:lnTo>
                      <a:pt x="584" y="655"/>
                    </a:lnTo>
                    <a:lnTo>
                      <a:pt x="584" y="657"/>
                    </a:lnTo>
                    <a:lnTo>
                      <a:pt x="586" y="657"/>
                    </a:lnTo>
                    <a:lnTo>
                      <a:pt x="586" y="655"/>
                    </a:lnTo>
                    <a:lnTo>
                      <a:pt x="588" y="655"/>
                    </a:lnTo>
                    <a:lnTo>
                      <a:pt x="590" y="655"/>
                    </a:lnTo>
                    <a:lnTo>
                      <a:pt x="590" y="657"/>
                    </a:lnTo>
                    <a:lnTo>
                      <a:pt x="592" y="657"/>
                    </a:lnTo>
                    <a:lnTo>
                      <a:pt x="590" y="659"/>
                    </a:lnTo>
                    <a:lnTo>
                      <a:pt x="592" y="661"/>
                    </a:lnTo>
                    <a:lnTo>
                      <a:pt x="592" y="666"/>
                    </a:lnTo>
                    <a:lnTo>
                      <a:pt x="590" y="666"/>
                    </a:lnTo>
                    <a:lnTo>
                      <a:pt x="590" y="668"/>
                    </a:lnTo>
                    <a:lnTo>
                      <a:pt x="590" y="670"/>
                    </a:lnTo>
                    <a:lnTo>
                      <a:pt x="592" y="670"/>
                    </a:lnTo>
                    <a:lnTo>
                      <a:pt x="592" y="672"/>
                    </a:lnTo>
                    <a:lnTo>
                      <a:pt x="590" y="672"/>
                    </a:lnTo>
                    <a:lnTo>
                      <a:pt x="590" y="674"/>
                    </a:lnTo>
                    <a:lnTo>
                      <a:pt x="590" y="676"/>
                    </a:lnTo>
                    <a:lnTo>
                      <a:pt x="590" y="678"/>
                    </a:lnTo>
                    <a:lnTo>
                      <a:pt x="588" y="680"/>
                    </a:lnTo>
                    <a:lnTo>
                      <a:pt x="590" y="680"/>
                    </a:lnTo>
                    <a:lnTo>
                      <a:pt x="590" y="682"/>
                    </a:lnTo>
                    <a:lnTo>
                      <a:pt x="592" y="682"/>
                    </a:lnTo>
                    <a:lnTo>
                      <a:pt x="592" y="684"/>
                    </a:lnTo>
                    <a:lnTo>
                      <a:pt x="593" y="684"/>
                    </a:lnTo>
                    <a:lnTo>
                      <a:pt x="595" y="685"/>
                    </a:lnTo>
                    <a:lnTo>
                      <a:pt x="597" y="687"/>
                    </a:lnTo>
                    <a:lnTo>
                      <a:pt x="595" y="689"/>
                    </a:lnTo>
                    <a:lnTo>
                      <a:pt x="597" y="691"/>
                    </a:lnTo>
                    <a:lnTo>
                      <a:pt x="628" y="691"/>
                    </a:lnTo>
                    <a:lnTo>
                      <a:pt x="635" y="695"/>
                    </a:lnTo>
                    <a:lnTo>
                      <a:pt x="641" y="695"/>
                    </a:lnTo>
                    <a:lnTo>
                      <a:pt x="645" y="697"/>
                    </a:lnTo>
                    <a:lnTo>
                      <a:pt x="649" y="699"/>
                    </a:lnTo>
                    <a:lnTo>
                      <a:pt x="651" y="699"/>
                    </a:lnTo>
                    <a:lnTo>
                      <a:pt x="653" y="699"/>
                    </a:lnTo>
                    <a:lnTo>
                      <a:pt x="653" y="701"/>
                    </a:lnTo>
                    <a:lnTo>
                      <a:pt x="651" y="699"/>
                    </a:lnTo>
                    <a:lnTo>
                      <a:pt x="649" y="699"/>
                    </a:lnTo>
                    <a:lnTo>
                      <a:pt x="647" y="699"/>
                    </a:lnTo>
                    <a:lnTo>
                      <a:pt x="643" y="699"/>
                    </a:lnTo>
                    <a:lnTo>
                      <a:pt x="641" y="697"/>
                    </a:lnTo>
                    <a:lnTo>
                      <a:pt x="641" y="695"/>
                    </a:lnTo>
                    <a:lnTo>
                      <a:pt x="639" y="695"/>
                    </a:lnTo>
                    <a:lnTo>
                      <a:pt x="637" y="697"/>
                    </a:lnTo>
                    <a:lnTo>
                      <a:pt x="635" y="697"/>
                    </a:lnTo>
                    <a:lnTo>
                      <a:pt x="635" y="699"/>
                    </a:lnTo>
                    <a:lnTo>
                      <a:pt x="635" y="701"/>
                    </a:lnTo>
                    <a:lnTo>
                      <a:pt x="634" y="701"/>
                    </a:lnTo>
                    <a:lnTo>
                      <a:pt x="634" y="703"/>
                    </a:lnTo>
                    <a:lnTo>
                      <a:pt x="635" y="703"/>
                    </a:lnTo>
                    <a:lnTo>
                      <a:pt x="632" y="705"/>
                    </a:lnTo>
                    <a:lnTo>
                      <a:pt x="630" y="703"/>
                    </a:lnTo>
                    <a:lnTo>
                      <a:pt x="628" y="705"/>
                    </a:lnTo>
                    <a:lnTo>
                      <a:pt x="624" y="706"/>
                    </a:lnTo>
                    <a:lnTo>
                      <a:pt x="624" y="708"/>
                    </a:lnTo>
                    <a:lnTo>
                      <a:pt x="622" y="706"/>
                    </a:lnTo>
                    <a:lnTo>
                      <a:pt x="622" y="708"/>
                    </a:lnTo>
                    <a:lnTo>
                      <a:pt x="618" y="710"/>
                    </a:lnTo>
                    <a:lnTo>
                      <a:pt x="618" y="708"/>
                    </a:lnTo>
                    <a:lnTo>
                      <a:pt x="620" y="708"/>
                    </a:lnTo>
                    <a:lnTo>
                      <a:pt x="618" y="708"/>
                    </a:lnTo>
                    <a:lnTo>
                      <a:pt x="616" y="708"/>
                    </a:lnTo>
                    <a:lnTo>
                      <a:pt x="616" y="710"/>
                    </a:lnTo>
                    <a:lnTo>
                      <a:pt x="614" y="708"/>
                    </a:lnTo>
                    <a:lnTo>
                      <a:pt x="614" y="710"/>
                    </a:lnTo>
                    <a:lnTo>
                      <a:pt x="614" y="708"/>
                    </a:lnTo>
                    <a:lnTo>
                      <a:pt x="613" y="710"/>
                    </a:lnTo>
                    <a:lnTo>
                      <a:pt x="614" y="710"/>
                    </a:lnTo>
                    <a:lnTo>
                      <a:pt x="616" y="710"/>
                    </a:lnTo>
                    <a:lnTo>
                      <a:pt x="614" y="712"/>
                    </a:lnTo>
                    <a:lnTo>
                      <a:pt x="614" y="714"/>
                    </a:lnTo>
                    <a:lnTo>
                      <a:pt x="613" y="714"/>
                    </a:lnTo>
                    <a:lnTo>
                      <a:pt x="614" y="714"/>
                    </a:lnTo>
                    <a:lnTo>
                      <a:pt x="614" y="716"/>
                    </a:lnTo>
                    <a:lnTo>
                      <a:pt x="613" y="720"/>
                    </a:lnTo>
                    <a:lnTo>
                      <a:pt x="614" y="720"/>
                    </a:lnTo>
                    <a:lnTo>
                      <a:pt x="613" y="722"/>
                    </a:lnTo>
                    <a:lnTo>
                      <a:pt x="613" y="726"/>
                    </a:lnTo>
                    <a:lnTo>
                      <a:pt x="611" y="727"/>
                    </a:lnTo>
                    <a:lnTo>
                      <a:pt x="613" y="733"/>
                    </a:lnTo>
                    <a:lnTo>
                      <a:pt x="613" y="735"/>
                    </a:lnTo>
                    <a:lnTo>
                      <a:pt x="613" y="737"/>
                    </a:lnTo>
                    <a:lnTo>
                      <a:pt x="611" y="739"/>
                    </a:lnTo>
                    <a:lnTo>
                      <a:pt x="609" y="739"/>
                    </a:lnTo>
                    <a:lnTo>
                      <a:pt x="607" y="741"/>
                    </a:lnTo>
                    <a:lnTo>
                      <a:pt x="605" y="739"/>
                    </a:lnTo>
                    <a:lnTo>
                      <a:pt x="603" y="739"/>
                    </a:lnTo>
                    <a:lnTo>
                      <a:pt x="601" y="739"/>
                    </a:lnTo>
                    <a:lnTo>
                      <a:pt x="599" y="737"/>
                    </a:lnTo>
                    <a:lnTo>
                      <a:pt x="597" y="737"/>
                    </a:lnTo>
                    <a:lnTo>
                      <a:pt x="597" y="735"/>
                    </a:lnTo>
                    <a:lnTo>
                      <a:pt x="595" y="735"/>
                    </a:lnTo>
                    <a:lnTo>
                      <a:pt x="593" y="735"/>
                    </a:lnTo>
                    <a:lnTo>
                      <a:pt x="592" y="733"/>
                    </a:lnTo>
                    <a:lnTo>
                      <a:pt x="590" y="731"/>
                    </a:lnTo>
                    <a:lnTo>
                      <a:pt x="590" y="729"/>
                    </a:lnTo>
                    <a:lnTo>
                      <a:pt x="588" y="729"/>
                    </a:lnTo>
                    <a:lnTo>
                      <a:pt x="588" y="727"/>
                    </a:lnTo>
                    <a:lnTo>
                      <a:pt x="590" y="726"/>
                    </a:lnTo>
                    <a:lnTo>
                      <a:pt x="588" y="726"/>
                    </a:lnTo>
                    <a:lnTo>
                      <a:pt x="590" y="724"/>
                    </a:lnTo>
                    <a:lnTo>
                      <a:pt x="593" y="724"/>
                    </a:lnTo>
                    <a:lnTo>
                      <a:pt x="593" y="726"/>
                    </a:lnTo>
                    <a:lnTo>
                      <a:pt x="593" y="727"/>
                    </a:lnTo>
                    <a:lnTo>
                      <a:pt x="592" y="727"/>
                    </a:lnTo>
                    <a:lnTo>
                      <a:pt x="592" y="729"/>
                    </a:lnTo>
                    <a:lnTo>
                      <a:pt x="593" y="727"/>
                    </a:lnTo>
                    <a:lnTo>
                      <a:pt x="595" y="727"/>
                    </a:lnTo>
                    <a:lnTo>
                      <a:pt x="595" y="724"/>
                    </a:lnTo>
                    <a:lnTo>
                      <a:pt x="597" y="722"/>
                    </a:lnTo>
                    <a:lnTo>
                      <a:pt x="597" y="724"/>
                    </a:lnTo>
                    <a:lnTo>
                      <a:pt x="597" y="726"/>
                    </a:lnTo>
                    <a:lnTo>
                      <a:pt x="599" y="727"/>
                    </a:lnTo>
                    <a:lnTo>
                      <a:pt x="599" y="729"/>
                    </a:lnTo>
                    <a:lnTo>
                      <a:pt x="597" y="729"/>
                    </a:lnTo>
                    <a:lnTo>
                      <a:pt x="597" y="731"/>
                    </a:lnTo>
                    <a:lnTo>
                      <a:pt x="595" y="731"/>
                    </a:lnTo>
                    <a:lnTo>
                      <a:pt x="597" y="731"/>
                    </a:lnTo>
                    <a:lnTo>
                      <a:pt x="599" y="731"/>
                    </a:lnTo>
                    <a:lnTo>
                      <a:pt x="599" y="729"/>
                    </a:lnTo>
                    <a:lnTo>
                      <a:pt x="599" y="727"/>
                    </a:lnTo>
                    <a:lnTo>
                      <a:pt x="599" y="726"/>
                    </a:lnTo>
                    <a:lnTo>
                      <a:pt x="599" y="724"/>
                    </a:lnTo>
                    <a:lnTo>
                      <a:pt x="599" y="722"/>
                    </a:lnTo>
                    <a:lnTo>
                      <a:pt x="601" y="722"/>
                    </a:lnTo>
                    <a:lnTo>
                      <a:pt x="603" y="722"/>
                    </a:lnTo>
                    <a:lnTo>
                      <a:pt x="603" y="720"/>
                    </a:lnTo>
                    <a:lnTo>
                      <a:pt x="605" y="720"/>
                    </a:lnTo>
                    <a:lnTo>
                      <a:pt x="607" y="718"/>
                    </a:lnTo>
                    <a:lnTo>
                      <a:pt x="607" y="716"/>
                    </a:lnTo>
                    <a:lnTo>
                      <a:pt x="609" y="714"/>
                    </a:lnTo>
                    <a:lnTo>
                      <a:pt x="609" y="712"/>
                    </a:lnTo>
                    <a:lnTo>
                      <a:pt x="607" y="710"/>
                    </a:lnTo>
                    <a:lnTo>
                      <a:pt x="607" y="712"/>
                    </a:lnTo>
                    <a:lnTo>
                      <a:pt x="605" y="712"/>
                    </a:lnTo>
                    <a:lnTo>
                      <a:pt x="605" y="710"/>
                    </a:lnTo>
                    <a:lnTo>
                      <a:pt x="605" y="708"/>
                    </a:lnTo>
                    <a:lnTo>
                      <a:pt x="603" y="705"/>
                    </a:lnTo>
                    <a:lnTo>
                      <a:pt x="601" y="706"/>
                    </a:lnTo>
                    <a:lnTo>
                      <a:pt x="601" y="705"/>
                    </a:lnTo>
                    <a:lnTo>
                      <a:pt x="599" y="705"/>
                    </a:lnTo>
                    <a:lnTo>
                      <a:pt x="597" y="705"/>
                    </a:lnTo>
                    <a:lnTo>
                      <a:pt x="595" y="705"/>
                    </a:lnTo>
                    <a:lnTo>
                      <a:pt x="593" y="705"/>
                    </a:lnTo>
                    <a:lnTo>
                      <a:pt x="592" y="705"/>
                    </a:lnTo>
                    <a:lnTo>
                      <a:pt x="590" y="705"/>
                    </a:lnTo>
                    <a:lnTo>
                      <a:pt x="590" y="706"/>
                    </a:lnTo>
                    <a:lnTo>
                      <a:pt x="588" y="706"/>
                    </a:lnTo>
                    <a:lnTo>
                      <a:pt x="590" y="706"/>
                    </a:lnTo>
                    <a:lnTo>
                      <a:pt x="588" y="708"/>
                    </a:lnTo>
                    <a:lnTo>
                      <a:pt x="586" y="706"/>
                    </a:lnTo>
                    <a:lnTo>
                      <a:pt x="588" y="705"/>
                    </a:lnTo>
                    <a:lnTo>
                      <a:pt x="590" y="705"/>
                    </a:lnTo>
                    <a:lnTo>
                      <a:pt x="588" y="705"/>
                    </a:lnTo>
                    <a:lnTo>
                      <a:pt x="586" y="706"/>
                    </a:lnTo>
                    <a:lnTo>
                      <a:pt x="586" y="705"/>
                    </a:lnTo>
                    <a:lnTo>
                      <a:pt x="584" y="706"/>
                    </a:lnTo>
                    <a:lnTo>
                      <a:pt x="582" y="705"/>
                    </a:lnTo>
                    <a:lnTo>
                      <a:pt x="582" y="706"/>
                    </a:lnTo>
                    <a:lnTo>
                      <a:pt x="580" y="706"/>
                    </a:lnTo>
                    <a:lnTo>
                      <a:pt x="582" y="706"/>
                    </a:lnTo>
                    <a:lnTo>
                      <a:pt x="580" y="708"/>
                    </a:lnTo>
                    <a:lnTo>
                      <a:pt x="582" y="706"/>
                    </a:lnTo>
                    <a:lnTo>
                      <a:pt x="584" y="706"/>
                    </a:lnTo>
                    <a:lnTo>
                      <a:pt x="584" y="708"/>
                    </a:lnTo>
                    <a:lnTo>
                      <a:pt x="584" y="706"/>
                    </a:lnTo>
                    <a:lnTo>
                      <a:pt x="584" y="708"/>
                    </a:lnTo>
                    <a:lnTo>
                      <a:pt x="582" y="712"/>
                    </a:lnTo>
                    <a:lnTo>
                      <a:pt x="580" y="710"/>
                    </a:lnTo>
                    <a:lnTo>
                      <a:pt x="580" y="712"/>
                    </a:lnTo>
                    <a:lnTo>
                      <a:pt x="578" y="712"/>
                    </a:lnTo>
                    <a:lnTo>
                      <a:pt x="580" y="714"/>
                    </a:lnTo>
                    <a:lnTo>
                      <a:pt x="580" y="716"/>
                    </a:lnTo>
                    <a:lnTo>
                      <a:pt x="580" y="718"/>
                    </a:lnTo>
                    <a:lnTo>
                      <a:pt x="578" y="718"/>
                    </a:lnTo>
                    <a:lnTo>
                      <a:pt x="578" y="720"/>
                    </a:lnTo>
                    <a:lnTo>
                      <a:pt x="576" y="718"/>
                    </a:lnTo>
                    <a:lnTo>
                      <a:pt x="576" y="720"/>
                    </a:lnTo>
                    <a:lnTo>
                      <a:pt x="574" y="718"/>
                    </a:lnTo>
                    <a:lnTo>
                      <a:pt x="573" y="718"/>
                    </a:lnTo>
                    <a:lnTo>
                      <a:pt x="574" y="716"/>
                    </a:lnTo>
                    <a:lnTo>
                      <a:pt x="574" y="718"/>
                    </a:lnTo>
                    <a:lnTo>
                      <a:pt x="574" y="716"/>
                    </a:lnTo>
                    <a:lnTo>
                      <a:pt x="573" y="716"/>
                    </a:lnTo>
                    <a:lnTo>
                      <a:pt x="574" y="716"/>
                    </a:lnTo>
                    <a:lnTo>
                      <a:pt x="576" y="716"/>
                    </a:lnTo>
                    <a:lnTo>
                      <a:pt x="574" y="716"/>
                    </a:lnTo>
                    <a:lnTo>
                      <a:pt x="576" y="716"/>
                    </a:lnTo>
                    <a:lnTo>
                      <a:pt x="576" y="714"/>
                    </a:lnTo>
                    <a:lnTo>
                      <a:pt x="574" y="716"/>
                    </a:lnTo>
                    <a:lnTo>
                      <a:pt x="574" y="714"/>
                    </a:lnTo>
                    <a:lnTo>
                      <a:pt x="574" y="716"/>
                    </a:lnTo>
                    <a:lnTo>
                      <a:pt x="573" y="716"/>
                    </a:lnTo>
                    <a:lnTo>
                      <a:pt x="573" y="714"/>
                    </a:lnTo>
                    <a:lnTo>
                      <a:pt x="571" y="714"/>
                    </a:lnTo>
                    <a:lnTo>
                      <a:pt x="569" y="714"/>
                    </a:lnTo>
                    <a:lnTo>
                      <a:pt x="567" y="714"/>
                    </a:lnTo>
                    <a:lnTo>
                      <a:pt x="569" y="714"/>
                    </a:lnTo>
                    <a:lnTo>
                      <a:pt x="567" y="714"/>
                    </a:lnTo>
                    <a:lnTo>
                      <a:pt x="569" y="712"/>
                    </a:lnTo>
                    <a:lnTo>
                      <a:pt x="569" y="714"/>
                    </a:lnTo>
                    <a:lnTo>
                      <a:pt x="569" y="712"/>
                    </a:lnTo>
                    <a:lnTo>
                      <a:pt x="571" y="714"/>
                    </a:lnTo>
                    <a:lnTo>
                      <a:pt x="569" y="712"/>
                    </a:lnTo>
                    <a:lnTo>
                      <a:pt x="571" y="712"/>
                    </a:lnTo>
                    <a:lnTo>
                      <a:pt x="573" y="714"/>
                    </a:lnTo>
                    <a:lnTo>
                      <a:pt x="574" y="714"/>
                    </a:lnTo>
                    <a:lnTo>
                      <a:pt x="573" y="714"/>
                    </a:lnTo>
                    <a:lnTo>
                      <a:pt x="571" y="712"/>
                    </a:lnTo>
                    <a:lnTo>
                      <a:pt x="571" y="710"/>
                    </a:lnTo>
                    <a:lnTo>
                      <a:pt x="573" y="712"/>
                    </a:lnTo>
                    <a:lnTo>
                      <a:pt x="573" y="710"/>
                    </a:lnTo>
                    <a:lnTo>
                      <a:pt x="574" y="712"/>
                    </a:lnTo>
                    <a:lnTo>
                      <a:pt x="573" y="712"/>
                    </a:lnTo>
                    <a:lnTo>
                      <a:pt x="574" y="712"/>
                    </a:lnTo>
                    <a:lnTo>
                      <a:pt x="576" y="712"/>
                    </a:lnTo>
                    <a:lnTo>
                      <a:pt x="576" y="710"/>
                    </a:lnTo>
                    <a:lnTo>
                      <a:pt x="574" y="710"/>
                    </a:lnTo>
                    <a:lnTo>
                      <a:pt x="576" y="708"/>
                    </a:lnTo>
                    <a:lnTo>
                      <a:pt x="574" y="708"/>
                    </a:lnTo>
                    <a:lnTo>
                      <a:pt x="574" y="706"/>
                    </a:lnTo>
                    <a:lnTo>
                      <a:pt x="574" y="705"/>
                    </a:lnTo>
                    <a:lnTo>
                      <a:pt x="573" y="705"/>
                    </a:lnTo>
                    <a:lnTo>
                      <a:pt x="574" y="706"/>
                    </a:lnTo>
                    <a:lnTo>
                      <a:pt x="573" y="706"/>
                    </a:lnTo>
                    <a:lnTo>
                      <a:pt x="574" y="706"/>
                    </a:lnTo>
                    <a:lnTo>
                      <a:pt x="574" y="708"/>
                    </a:lnTo>
                    <a:lnTo>
                      <a:pt x="573" y="708"/>
                    </a:lnTo>
                    <a:lnTo>
                      <a:pt x="573" y="706"/>
                    </a:lnTo>
                    <a:lnTo>
                      <a:pt x="573" y="708"/>
                    </a:lnTo>
                    <a:lnTo>
                      <a:pt x="571" y="708"/>
                    </a:lnTo>
                    <a:lnTo>
                      <a:pt x="573" y="708"/>
                    </a:lnTo>
                    <a:lnTo>
                      <a:pt x="571" y="708"/>
                    </a:lnTo>
                    <a:lnTo>
                      <a:pt x="571" y="710"/>
                    </a:lnTo>
                    <a:lnTo>
                      <a:pt x="569" y="710"/>
                    </a:lnTo>
                    <a:lnTo>
                      <a:pt x="569" y="712"/>
                    </a:lnTo>
                    <a:lnTo>
                      <a:pt x="569" y="710"/>
                    </a:lnTo>
                    <a:lnTo>
                      <a:pt x="569" y="708"/>
                    </a:lnTo>
                    <a:lnTo>
                      <a:pt x="569" y="706"/>
                    </a:lnTo>
                    <a:lnTo>
                      <a:pt x="569" y="708"/>
                    </a:lnTo>
                    <a:lnTo>
                      <a:pt x="571" y="708"/>
                    </a:lnTo>
                    <a:lnTo>
                      <a:pt x="569" y="708"/>
                    </a:lnTo>
                    <a:lnTo>
                      <a:pt x="571" y="708"/>
                    </a:lnTo>
                    <a:lnTo>
                      <a:pt x="569" y="708"/>
                    </a:lnTo>
                    <a:lnTo>
                      <a:pt x="569" y="706"/>
                    </a:lnTo>
                    <a:lnTo>
                      <a:pt x="571" y="706"/>
                    </a:lnTo>
                    <a:lnTo>
                      <a:pt x="569" y="706"/>
                    </a:lnTo>
                    <a:lnTo>
                      <a:pt x="571" y="706"/>
                    </a:lnTo>
                    <a:lnTo>
                      <a:pt x="571" y="705"/>
                    </a:lnTo>
                    <a:lnTo>
                      <a:pt x="571" y="706"/>
                    </a:lnTo>
                    <a:lnTo>
                      <a:pt x="571" y="705"/>
                    </a:lnTo>
                    <a:lnTo>
                      <a:pt x="571" y="703"/>
                    </a:lnTo>
                    <a:lnTo>
                      <a:pt x="573" y="705"/>
                    </a:lnTo>
                    <a:lnTo>
                      <a:pt x="573" y="703"/>
                    </a:lnTo>
                    <a:lnTo>
                      <a:pt x="571" y="703"/>
                    </a:lnTo>
                    <a:lnTo>
                      <a:pt x="573" y="701"/>
                    </a:lnTo>
                    <a:lnTo>
                      <a:pt x="571" y="703"/>
                    </a:lnTo>
                    <a:lnTo>
                      <a:pt x="569" y="703"/>
                    </a:lnTo>
                    <a:lnTo>
                      <a:pt x="569" y="701"/>
                    </a:lnTo>
                    <a:lnTo>
                      <a:pt x="571" y="701"/>
                    </a:lnTo>
                    <a:lnTo>
                      <a:pt x="571" y="699"/>
                    </a:lnTo>
                    <a:lnTo>
                      <a:pt x="571" y="697"/>
                    </a:lnTo>
                    <a:lnTo>
                      <a:pt x="571" y="695"/>
                    </a:lnTo>
                    <a:lnTo>
                      <a:pt x="569" y="695"/>
                    </a:lnTo>
                    <a:lnTo>
                      <a:pt x="569" y="693"/>
                    </a:lnTo>
                    <a:lnTo>
                      <a:pt x="569" y="691"/>
                    </a:lnTo>
                    <a:lnTo>
                      <a:pt x="569" y="693"/>
                    </a:lnTo>
                    <a:lnTo>
                      <a:pt x="571" y="693"/>
                    </a:lnTo>
                    <a:lnTo>
                      <a:pt x="571" y="695"/>
                    </a:lnTo>
                    <a:lnTo>
                      <a:pt x="573" y="695"/>
                    </a:lnTo>
                    <a:lnTo>
                      <a:pt x="571" y="695"/>
                    </a:lnTo>
                    <a:lnTo>
                      <a:pt x="573" y="693"/>
                    </a:lnTo>
                    <a:lnTo>
                      <a:pt x="574" y="697"/>
                    </a:lnTo>
                    <a:lnTo>
                      <a:pt x="576" y="695"/>
                    </a:lnTo>
                    <a:lnTo>
                      <a:pt x="576" y="693"/>
                    </a:lnTo>
                    <a:lnTo>
                      <a:pt x="576" y="695"/>
                    </a:lnTo>
                    <a:lnTo>
                      <a:pt x="578" y="693"/>
                    </a:lnTo>
                    <a:lnTo>
                      <a:pt x="580" y="691"/>
                    </a:lnTo>
                    <a:lnTo>
                      <a:pt x="580" y="695"/>
                    </a:lnTo>
                    <a:lnTo>
                      <a:pt x="578" y="695"/>
                    </a:lnTo>
                    <a:lnTo>
                      <a:pt x="578" y="697"/>
                    </a:lnTo>
                    <a:lnTo>
                      <a:pt x="578" y="695"/>
                    </a:lnTo>
                    <a:lnTo>
                      <a:pt x="580" y="695"/>
                    </a:lnTo>
                    <a:lnTo>
                      <a:pt x="580" y="697"/>
                    </a:lnTo>
                    <a:lnTo>
                      <a:pt x="580" y="699"/>
                    </a:lnTo>
                    <a:lnTo>
                      <a:pt x="580" y="697"/>
                    </a:lnTo>
                    <a:lnTo>
                      <a:pt x="582" y="699"/>
                    </a:lnTo>
                    <a:lnTo>
                      <a:pt x="580" y="699"/>
                    </a:lnTo>
                    <a:lnTo>
                      <a:pt x="580" y="697"/>
                    </a:lnTo>
                    <a:lnTo>
                      <a:pt x="582" y="697"/>
                    </a:lnTo>
                    <a:lnTo>
                      <a:pt x="582" y="695"/>
                    </a:lnTo>
                    <a:lnTo>
                      <a:pt x="582" y="693"/>
                    </a:lnTo>
                    <a:lnTo>
                      <a:pt x="584" y="693"/>
                    </a:lnTo>
                    <a:lnTo>
                      <a:pt x="584" y="691"/>
                    </a:lnTo>
                    <a:lnTo>
                      <a:pt x="582" y="693"/>
                    </a:lnTo>
                    <a:lnTo>
                      <a:pt x="582" y="695"/>
                    </a:lnTo>
                    <a:lnTo>
                      <a:pt x="580" y="697"/>
                    </a:lnTo>
                    <a:lnTo>
                      <a:pt x="580" y="695"/>
                    </a:lnTo>
                    <a:lnTo>
                      <a:pt x="580" y="693"/>
                    </a:lnTo>
                    <a:lnTo>
                      <a:pt x="580" y="691"/>
                    </a:lnTo>
                    <a:lnTo>
                      <a:pt x="580" y="693"/>
                    </a:lnTo>
                    <a:lnTo>
                      <a:pt x="582" y="689"/>
                    </a:lnTo>
                    <a:lnTo>
                      <a:pt x="584" y="689"/>
                    </a:lnTo>
                    <a:lnTo>
                      <a:pt x="584" y="691"/>
                    </a:lnTo>
                    <a:lnTo>
                      <a:pt x="584" y="693"/>
                    </a:lnTo>
                    <a:lnTo>
                      <a:pt x="586" y="693"/>
                    </a:lnTo>
                    <a:lnTo>
                      <a:pt x="588" y="697"/>
                    </a:lnTo>
                    <a:lnTo>
                      <a:pt x="586" y="697"/>
                    </a:lnTo>
                    <a:lnTo>
                      <a:pt x="586" y="699"/>
                    </a:lnTo>
                    <a:lnTo>
                      <a:pt x="586" y="701"/>
                    </a:lnTo>
                    <a:lnTo>
                      <a:pt x="584" y="699"/>
                    </a:lnTo>
                    <a:lnTo>
                      <a:pt x="584" y="701"/>
                    </a:lnTo>
                    <a:lnTo>
                      <a:pt x="582" y="701"/>
                    </a:lnTo>
                    <a:lnTo>
                      <a:pt x="584" y="701"/>
                    </a:lnTo>
                    <a:lnTo>
                      <a:pt x="582" y="701"/>
                    </a:lnTo>
                    <a:lnTo>
                      <a:pt x="582" y="703"/>
                    </a:lnTo>
                    <a:lnTo>
                      <a:pt x="582" y="701"/>
                    </a:lnTo>
                    <a:lnTo>
                      <a:pt x="582" y="703"/>
                    </a:lnTo>
                    <a:lnTo>
                      <a:pt x="580" y="703"/>
                    </a:lnTo>
                    <a:lnTo>
                      <a:pt x="580" y="705"/>
                    </a:lnTo>
                    <a:lnTo>
                      <a:pt x="584" y="703"/>
                    </a:lnTo>
                    <a:lnTo>
                      <a:pt x="586" y="703"/>
                    </a:lnTo>
                    <a:lnTo>
                      <a:pt x="584" y="703"/>
                    </a:lnTo>
                    <a:lnTo>
                      <a:pt x="586" y="703"/>
                    </a:lnTo>
                    <a:lnTo>
                      <a:pt x="584" y="701"/>
                    </a:lnTo>
                    <a:lnTo>
                      <a:pt x="586" y="701"/>
                    </a:lnTo>
                    <a:lnTo>
                      <a:pt x="588" y="699"/>
                    </a:lnTo>
                    <a:lnTo>
                      <a:pt x="588" y="697"/>
                    </a:lnTo>
                    <a:lnTo>
                      <a:pt x="584" y="691"/>
                    </a:lnTo>
                    <a:lnTo>
                      <a:pt x="586" y="689"/>
                    </a:lnTo>
                    <a:lnTo>
                      <a:pt x="586" y="687"/>
                    </a:lnTo>
                    <a:lnTo>
                      <a:pt x="586" y="689"/>
                    </a:lnTo>
                    <a:lnTo>
                      <a:pt x="588" y="689"/>
                    </a:lnTo>
                    <a:lnTo>
                      <a:pt x="588" y="687"/>
                    </a:lnTo>
                    <a:lnTo>
                      <a:pt x="588" y="685"/>
                    </a:lnTo>
                    <a:lnTo>
                      <a:pt x="588" y="684"/>
                    </a:lnTo>
                    <a:lnTo>
                      <a:pt x="586" y="682"/>
                    </a:lnTo>
                    <a:lnTo>
                      <a:pt x="584" y="680"/>
                    </a:lnTo>
                    <a:lnTo>
                      <a:pt x="586" y="682"/>
                    </a:lnTo>
                    <a:lnTo>
                      <a:pt x="584" y="682"/>
                    </a:lnTo>
                    <a:lnTo>
                      <a:pt x="584" y="680"/>
                    </a:lnTo>
                    <a:lnTo>
                      <a:pt x="582" y="680"/>
                    </a:lnTo>
                    <a:lnTo>
                      <a:pt x="582" y="678"/>
                    </a:lnTo>
                    <a:lnTo>
                      <a:pt x="582" y="680"/>
                    </a:lnTo>
                    <a:lnTo>
                      <a:pt x="580" y="678"/>
                    </a:lnTo>
                    <a:lnTo>
                      <a:pt x="578" y="678"/>
                    </a:lnTo>
                    <a:lnTo>
                      <a:pt x="578" y="676"/>
                    </a:lnTo>
                    <a:lnTo>
                      <a:pt x="576" y="676"/>
                    </a:lnTo>
                    <a:lnTo>
                      <a:pt x="576" y="678"/>
                    </a:lnTo>
                    <a:lnTo>
                      <a:pt x="576" y="676"/>
                    </a:lnTo>
                    <a:lnTo>
                      <a:pt x="574" y="678"/>
                    </a:lnTo>
                    <a:lnTo>
                      <a:pt x="576" y="678"/>
                    </a:lnTo>
                    <a:lnTo>
                      <a:pt x="578" y="678"/>
                    </a:lnTo>
                    <a:lnTo>
                      <a:pt x="578" y="680"/>
                    </a:lnTo>
                    <a:lnTo>
                      <a:pt x="580" y="678"/>
                    </a:lnTo>
                    <a:lnTo>
                      <a:pt x="580" y="680"/>
                    </a:lnTo>
                    <a:lnTo>
                      <a:pt x="582" y="680"/>
                    </a:lnTo>
                    <a:lnTo>
                      <a:pt x="584" y="680"/>
                    </a:lnTo>
                    <a:lnTo>
                      <a:pt x="584" y="684"/>
                    </a:lnTo>
                    <a:lnTo>
                      <a:pt x="586" y="682"/>
                    </a:lnTo>
                    <a:lnTo>
                      <a:pt x="586" y="684"/>
                    </a:lnTo>
                    <a:lnTo>
                      <a:pt x="588" y="684"/>
                    </a:lnTo>
                    <a:lnTo>
                      <a:pt x="586" y="684"/>
                    </a:lnTo>
                    <a:lnTo>
                      <a:pt x="586" y="685"/>
                    </a:lnTo>
                    <a:lnTo>
                      <a:pt x="584" y="685"/>
                    </a:lnTo>
                    <a:lnTo>
                      <a:pt x="582" y="684"/>
                    </a:lnTo>
                    <a:lnTo>
                      <a:pt x="580" y="685"/>
                    </a:lnTo>
                    <a:lnTo>
                      <a:pt x="580" y="684"/>
                    </a:lnTo>
                    <a:lnTo>
                      <a:pt x="580" y="685"/>
                    </a:lnTo>
                    <a:lnTo>
                      <a:pt x="580" y="684"/>
                    </a:lnTo>
                    <a:lnTo>
                      <a:pt x="578" y="684"/>
                    </a:lnTo>
                    <a:lnTo>
                      <a:pt x="578" y="682"/>
                    </a:lnTo>
                    <a:lnTo>
                      <a:pt x="578" y="684"/>
                    </a:lnTo>
                    <a:lnTo>
                      <a:pt x="576" y="682"/>
                    </a:lnTo>
                    <a:lnTo>
                      <a:pt x="576" y="680"/>
                    </a:lnTo>
                    <a:lnTo>
                      <a:pt x="576" y="682"/>
                    </a:lnTo>
                    <a:lnTo>
                      <a:pt x="574" y="680"/>
                    </a:lnTo>
                    <a:lnTo>
                      <a:pt x="576" y="682"/>
                    </a:lnTo>
                    <a:lnTo>
                      <a:pt x="574" y="682"/>
                    </a:lnTo>
                    <a:lnTo>
                      <a:pt x="576" y="682"/>
                    </a:lnTo>
                    <a:lnTo>
                      <a:pt x="578" y="684"/>
                    </a:lnTo>
                    <a:lnTo>
                      <a:pt x="580" y="685"/>
                    </a:lnTo>
                    <a:lnTo>
                      <a:pt x="578" y="685"/>
                    </a:lnTo>
                    <a:lnTo>
                      <a:pt x="578" y="684"/>
                    </a:lnTo>
                    <a:lnTo>
                      <a:pt x="578" y="685"/>
                    </a:lnTo>
                    <a:lnTo>
                      <a:pt x="576" y="685"/>
                    </a:lnTo>
                    <a:lnTo>
                      <a:pt x="578" y="684"/>
                    </a:lnTo>
                    <a:lnTo>
                      <a:pt x="578" y="685"/>
                    </a:lnTo>
                    <a:lnTo>
                      <a:pt x="578" y="687"/>
                    </a:lnTo>
                    <a:lnTo>
                      <a:pt x="576" y="687"/>
                    </a:lnTo>
                    <a:lnTo>
                      <a:pt x="578" y="687"/>
                    </a:lnTo>
                    <a:lnTo>
                      <a:pt x="580" y="685"/>
                    </a:lnTo>
                    <a:lnTo>
                      <a:pt x="580" y="687"/>
                    </a:lnTo>
                    <a:lnTo>
                      <a:pt x="578" y="689"/>
                    </a:lnTo>
                    <a:lnTo>
                      <a:pt x="576" y="691"/>
                    </a:lnTo>
                    <a:lnTo>
                      <a:pt x="576" y="693"/>
                    </a:lnTo>
                    <a:lnTo>
                      <a:pt x="578" y="693"/>
                    </a:lnTo>
                    <a:lnTo>
                      <a:pt x="576" y="693"/>
                    </a:lnTo>
                    <a:lnTo>
                      <a:pt x="576" y="691"/>
                    </a:lnTo>
                    <a:lnTo>
                      <a:pt x="576" y="689"/>
                    </a:lnTo>
                    <a:lnTo>
                      <a:pt x="574" y="687"/>
                    </a:lnTo>
                    <a:lnTo>
                      <a:pt x="574" y="689"/>
                    </a:lnTo>
                    <a:lnTo>
                      <a:pt x="574" y="687"/>
                    </a:lnTo>
                    <a:lnTo>
                      <a:pt x="576" y="687"/>
                    </a:lnTo>
                    <a:lnTo>
                      <a:pt x="574" y="687"/>
                    </a:lnTo>
                    <a:lnTo>
                      <a:pt x="574" y="684"/>
                    </a:lnTo>
                    <a:lnTo>
                      <a:pt x="573" y="682"/>
                    </a:lnTo>
                    <a:lnTo>
                      <a:pt x="574" y="684"/>
                    </a:lnTo>
                    <a:lnTo>
                      <a:pt x="574" y="685"/>
                    </a:lnTo>
                    <a:lnTo>
                      <a:pt x="574" y="687"/>
                    </a:lnTo>
                    <a:lnTo>
                      <a:pt x="574" y="685"/>
                    </a:lnTo>
                    <a:lnTo>
                      <a:pt x="574" y="687"/>
                    </a:lnTo>
                    <a:lnTo>
                      <a:pt x="576" y="693"/>
                    </a:lnTo>
                    <a:lnTo>
                      <a:pt x="574" y="695"/>
                    </a:lnTo>
                    <a:lnTo>
                      <a:pt x="573" y="693"/>
                    </a:lnTo>
                    <a:lnTo>
                      <a:pt x="571" y="693"/>
                    </a:lnTo>
                    <a:lnTo>
                      <a:pt x="571" y="691"/>
                    </a:lnTo>
                    <a:lnTo>
                      <a:pt x="571" y="689"/>
                    </a:lnTo>
                    <a:lnTo>
                      <a:pt x="571" y="687"/>
                    </a:lnTo>
                    <a:lnTo>
                      <a:pt x="569" y="687"/>
                    </a:lnTo>
                    <a:lnTo>
                      <a:pt x="569" y="685"/>
                    </a:lnTo>
                    <a:lnTo>
                      <a:pt x="571" y="685"/>
                    </a:lnTo>
                    <a:lnTo>
                      <a:pt x="573" y="689"/>
                    </a:lnTo>
                    <a:lnTo>
                      <a:pt x="571" y="689"/>
                    </a:lnTo>
                    <a:lnTo>
                      <a:pt x="573" y="689"/>
                    </a:lnTo>
                    <a:lnTo>
                      <a:pt x="573" y="691"/>
                    </a:lnTo>
                    <a:lnTo>
                      <a:pt x="574" y="691"/>
                    </a:lnTo>
                    <a:lnTo>
                      <a:pt x="573" y="691"/>
                    </a:lnTo>
                    <a:lnTo>
                      <a:pt x="574" y="691"/>
                    </a:lnTo>
                    <a:lnTo>
                      <a:pt x="573" y="689"/>
                    </a:lnTo>
                    <a:lnTo>
                      <a:pt x="573" y="687"/>
                    </a:lnTo>
                    <a:lnTo>
                      <a:pt x="571" y="685"/>
                    </a:lnTo>
                    <a:lnTo>
                      <a:pt x="573" y="685"/>
                    </a:lnTo>
                    <a:lnTo>
                      <a:pt x="571" y="685"/>
                    </a:lnTo>
                    <a:lnTo>
                      <a:pt x="571" y="684"/>
                    </a:lnTo>
                    <a:lnTo>
                      <a:pt x="573" y="684"/>
                    </a:lnTo>
                    <a:lnTo>
                      <a:pt x="573" y="682"/>
                    </a:lnTo>
                    <a:lnTo>
                      <a:pt x="571" y="682"/>
                    </a:lnTo>
                    <a:lnTo>
                      <a:pt x="571" y="684"/>
                    </a:lnTo>
                    <a:lnTo>
                      <a:pt x="571" y="682"/>
                    </a:lnTo>
                    <a:lnTo>
                      <a:pt x="571" y="684"/>
                    </a:lnTo>
                    <a:lnTo>
                      <a:pt x="569" y="682"/>
                    </a:lnTo>
                    <a:lnTo>
                      <a:pt x="571" y="682"/>
                    </a:lnTo>
                    <a:lnTo>
                      <a:pt x="569" y="684"/>
                    </a:lnTo>
                    <a:lnTo>
                      <a:pt x="569" y="685"/>
                    </a:lnTo>
                    <a:lnTo>
                      <a:pt x="569" y="684"/>
                    </a:lnTo>
                    <a:lnTo>
                      <a:pt x="567" y="684"/>
                    </a:lnTo>
                    <a:lnTo>
                      <a:pt x="569" y="684"/>
                    </a:lnTo>
                    <a:lnTo>
                      <a:pt x="567" y="684"/>
                    </a:lnTo>
                    <a:lnTo>
                      <a:pt x="567" y="682"/>
                    </a:lnTo>
                    <a:lnTo>
                      <a:pt x="569" y="682"/>
                    </a:lnTo>
                    <a:lnTo>
                      <a:pt x="567" y="682"/>
                    </a:lnTo>
                    <a:lnTo>
                      <a:pt x="565" y="682"/>
                    </a:lnTo>
                    <a:lnTo>
                      <a:pt x="565" y="680"/>
                    </a:lnTo>
                    <a:lnTo>
                      <a:pt x="565" y="682"/>
                    </a:lnTo>
                    <a:lnTo>
                      <a:pt x="565" y="680"/>
                    </a:lnTo>
                    <a:lnTo>
                      <a:pt x="567" y="680"/>
                    </a:lnTo>
                    <a:lnTo>
                      <a:pt x="565" y="680"/>
                    </a:lnTo>
                    <a:lnTo>
                      <a:pt x="567" y="680"/>
                    </a:lnTo>
                    <a:lnTo>
                      <a:pt x="567" y="678"/>
                    </a:lnTo>
                    <a:lnTo>
                      <a:pt x="565" y="680"/>
                    </a:lnTo>
                    <a:lnTo>
                      <a:pt x="565" y="678"/>
                    </a:lnTo>
                    <a:lnTo>
                      <a:pt x="565" y="676"/>
                    </a:lnTo>
                    <a:lnTo>
                      <a:pt x="565" y="678"/>
                    </a:lnTo>
                    <a:lnTo>
                      <a:pt x="565" y="676"/>
                    </a:lnTo>
                    <a:lnTo>
                      <a:pt x="565" y="674"/>
                    </a:lnTo>
                    <a:lnTo>
                      <a:pt x="567" y="676"/>
                    </a:lnTo>
                    <a:lnTo>
                      <a:pt x="567" y="674"/>
                    </a:lnTo>
                    <a:lnTo>
                      <a:pt x="567" y="678"/>
                    </a:lnTo>
                    <a:lnTo>
                      <a:pt x="569" y="676"/>
                    </a:lnTo>
                    <a:lnTo>
                      <a:pt x="569" y="678"/>
                    </a:lnTo>
                    <a:lnTo>
                      <a:pt x="569" y="680"/>
                    </a:lnTo>
                    <a:lnTo>
                      <a:pt x="571" y="680"/>
                    </a:lnTo>
                    <a:lnTo>
                      <a:pt x="571" y="682"/>
                    </a:lnTo>
                    <a:lnTo>
                      <a:pt x="571" y="680"/>
                    </a:lnTo>
                    <a:lnTo>
                      <a:pt x="569" y="678"/>
                    </a:lnTo>
                    <a:lnTo>
                      <a:pt x="571" y="678"/>
                    </a:lnTo>
                    <a:lnTo>
                      <a:pt x="569" y="678"/>
                    </a:lnTo>
                    <a:lnTo>
                      <a:pt x="569" y="676"/>
                    </a:lnTo>
                    <a:lnTo>
                      <a:pt x="571" y="676"/>
                    </a:lnTo>
                    <a:lnTo>
                      <a:pt x="569" y="676"/>
                    </a:lnTo>
                    <a:lnTo>
                      <a:pt x="569" y="672"/>
                    </a:lnTo>
                    <a:lnTo>
                      <a:pt x="567" y="672"/>
                    </a:lnTo>
                    <a:lnTo>
                      <a:pt x="567" y="670"/>
                    </a:lnTo>
                    <a:lnTo>
                      <a:pt x="569" y="670"/>
                    </a:lnTo>
                    <a:lnTo>
                      <a:pt x="569" y="672"/>
                    </a:lnTo>
                    <a:lnTo>
                      <a:pt x="569" y="670"/>
                    </a:lnTo>
                    <a:lnTo>
                      <a:pt x="569" y="668"/>
                    </a:lnTo>
                    <a:lnTo>
                      <a:pt x="567" y="666"/>
                    </a:lnTo>
                    <a:lnTo>
                      <a:pt x="567" y="668"/>
                    </a:lnTo>
                    <a:lnTo>
                      <a:pt x="567" y="670"/>
                    </a:lnTo>
                    <a:lnTo>
                      <a:pt x="565" y="672"/>
                    </a:lnTo>
                    <a:lnTo>
                      <a:pt x="565" y="668"/>
                    </a:lnTo>
                    <a:lnTo>
                      <a:pt x="563" y="668"/>
                    </a:lnTo>
                    <a:lnTo>
                      <a:pt x="563" y="670"/>
                    </a:lnTo>
                    <a:lnTo>
                      <a:pt x="561" y="670"/>
                    </a:lnTo>
                    <a:lnTo>
                      <a:pt x="561" y="668"/>
                    </a:lnTo>
                    <a:lnTo>
                      <a:pt x="561" y="666"/>
                    </a:lnTo>
                    <a:lnTo>
                      <a:pt x="563" y="664"/>
                    </a:lnTo>
                    <a:lnTo>
                      <a:pt x="561" y="664"/>
                    </a:lnTo>
                    <a:lnTo>
                      <a:pt x="563" y="664"/>
                    </a:lnTo>
                    <a:lnTo>
                      <a:pt x="561" y="664"/>
                    </a:lnTo>
                    <a:lnTo>
                      <a:pt x="561" y="666"/>
                    </a:lnTo>
                    <a:lnTo>
                      <a:pt x="559" y="664"/>
                    </a:lnTo>
                    <a:lnTo>
                      <a:pt x="561" y="663"/>
                    </a:lnTo>
                    <a:lnTo>
                      <a:pt x="563" y="663"/>
                    </a:lnTo>
                    <a:lnTo>
                      <a:pt x="565" y="663"/>
                    </a:lnTo>
                    <a:lnTo>
                      <a:pt x="567" y="663"/>
                    </a:lnTo>
                    <a:lnTo>
                      <a:pt x="565" y="663"/>
                    </a:lnTo>
                    <a:lnTo>
                      <a:pt x="567" y="664"/>
                    </a:lnTo>
                    <a:lnTo>
                      <a:pt x="569" y="664"/>
                    </a:lnTo>
                    <a:lnTo>
                      <a:pt x="569" y="663"/>
                    </a:lnTo>
                    <a:lnTo>
                      <a:pt x="567" y="663"/>
                    </a:lnTo>
                    <a:lnTo>
                      <a:pt x="565" y="661"/>
                    </a:lnTo>
                    <a:lnTo>
                      <a:pt x="567" y="661"/>
                    </a:lnTo>
                    <a:lnTo>
                      <a:pt x="569" y="661"/>
                    </a:lnTo>
                    <a:lnTo>
                      <a:pt x="567" y="661"/>
                    </a:lnTo>
                    <a:lnTo>
                      <a:pt x="567" y="659"/>
                    </a:lnTo>
                    <a:lnTo>
                      <a:pt x="567" y="657"/>
                    </a:lnTo>
                    <a:lnTo>
                      <a:pt x="569" y="657"/>
                    </a:lnTo>
                    <a:lnTo>
                      <a:pt x="569" y="655"/>
                    </a:lnTo>
                    <a:lnTo>
                      <a:pt x="571" y="657"/>
                    </a:lnTo>
                    <a:lnTo>
                      <a:pt x="573" y="657"/>
                    </a:lnTo>
                    <a:lnTo>
                      <a:pt x="571" y="657"/>
                    </a:lnTo>
                    <a:lnTo>
                      <a:pt x="571" y="655"/>
                    </a:lnTo>
                    <a:lnTo>
                      <a:pt x="569" y="655"/>
                    </a:lnTo>
                    <a:lnTo>
                      <a:pt x="567" y="653"/>
                    </a:lnTo>
                    <a:lnTo>
                      <a:pt x="569" y="653"/>
                    </a:lnTo>
                    <a:lnTo>
                      <a:pt x="571" y="651"/>
                    </a:lnTo>
                    <a:lnTo>
                      <a:pt x="571" y="649"/>
                    </a:lnTo>
                    <a:lnTo>
                      <a:pt x="571" y="651"/>
                    </a:lnTo>
                    <a:lnTo>
                      <a:pt x="569" y="653"/>
                    </a:lnTo>
                    <a:lnTo>
                      <a:pt x="569" y="651"/>
                    </a:lnTo>
                    <a:lnTo>
                      <a:pt x="569" y="653"/>
                    </a:lnTo>
                    <a:lnTo>
                      <a:pt x="567" y="653"/>
                    </a:lnTo>
                    <a:lnTo>
                      <a:pt x="567" y="655"/>
                    </a:lnTo>
                    <a:lnTo>
                      <a:pt x="567" y="657"/>
                    </a:lnTo>
                    <a:lnTo>
                      <a:pt x="567" y="659"/>
                    </a:lnTo>
                    <a:lnTo>
                      <a:pt x="565" y="659"/>
                    </a:lnTo>
                    <a:lnTo>
                      <a:pt x="565" y="661"/>
                    </a:lnTo>
                    <a:lnTo>
                      <a:pt x="563" y="661"/>
                    </a:lnTo>
                    <a:lnTo>
                      <a:pt x="561" y="659"/>
                    </a:lnTo>
                    <a:lnTo>
                      <a:pt x="563" y="659"/>
                    </a:lnTo>
                    <a:lnTo>
                      <a:pt x="563" y="657"/>
                    </a:lnTo>
                    <a:lnTo>
                      <a:pt x="561" y="657"/>
                    </a:lnTo>
                    <a:lnTo>
                      <a:pt x="561" y="659"/>
                    </a:lnTo>
                    <a:lnTo>
                      <a:pt x="561" y="657"/>
                    </a:lnTo>
                    <a:lnTo>
                      <a:pt x="559" y="655"/>
                    </a:lnTo>
                    <a:lnTo>
                      <a:pt x="561" y="655"/>
                    </a:lnTo>
                    <a:lnTo>
                      <a:pt x="561" y="653"/>
                    </a:lnTo>
                    <a:lnTo>
                      <a:pt x="563" y="655"/>
                    </a:lnTo>
                    <a:lnTo>
                      <a:pt x="561" y="653"/>
                    </a:lnTo>
                    <a:lnTo>
                      <a:pt x="561" y="655"/>
                    </a:lnTo>
                    <a:lnTo>
                      <a:pt x="559" y="653"/>
                    </a:lnTo>
                    <a:lnTo>
                      <a:pt x="559" y="651"/>
                    </a:lnTo>
                    <a:lnTo>
                      <a:pt x="561" y="651"/>
                    </a:lnTo>
                    <a:lnTo>
                      <a:pt x="561" y="653"/>
                    </a:lnTo>
                    <a:lnTo>
                      <a:pt x="561" y="651"/>
                    </a:lnTo>
                    <a:lnTo>
                      <a:pt x="561" y="653"/>
                    </a:lnTo>
                    <a:lnTo>
                      <a:pt x="561" y="651"/>
                    </a:lnTo>
                    <a:lnTo>
                      <a:pt x="563" y="653"/>
                    </a:lnTo>
                    <a:lnTo>
                      <a:pt x="563" y="655"/>
                    </a:lnTo>
                    <a:lnTo>
                      <a:pt x="565" y="653"/>
                    </a:lnTo>
                    <a:lnTo>
                      <a:pt x="563" y="653"/>
                    </a:lnTo>
                    <a:lnTo>
                      <a:pt x="563" y="651"/>
                    </a:lnTo>
                    <a:lnTo>
                      <a:pt x="563" y="653"/>
                    </a:lnTo>
                    <a:lnTo>
                      <a:pt x="561" y="651"/>
                    </a:lnTo>
                    <a:lnTo>
                      <a:pt x="563" y="651"/>
                    </a:lnTo>
                    <a:lnTo>
                      <a:pt x="563" y="649"/>
                    </a:lnTo>
                    <a:lnTo>
                      <a:pt x="565" y="649"/>
                    </a:lnTo>
                    <a:lnTo>
                      <a:pt x="563" y="649"/>
                    </a:lnTo>
                    <a:lnTo>
                      <a:pt x="561" y="651"/>
                    </a:lnTo>
                    <a:lnTo>
                      <a:pt x="561" y="649"/>
                    </a:lnTo>
                    <a:lnTo>
                      <a:pt x="561" y="651"/>
                    </a:lnTo>
                    <a:lnTo>
                      <a:pt x="559" y="651"/>
                    </a:lnTo>
                    <a:lnTo>
                      <a:pt x="561" y="651"/>
                    </a:lnTo>
                    <a:lnTo>
                      <a:pt x="559" y="651"/>
                    </a:lnTo>
                    <a:lnTo>
                      <a:pt x="559" y="649"/>
                    </a:lnTo>
                    <a:lnTo>
                      <a:pt x="559" y="647"/>
                    </a:lnTo>
                    <a:lnTo>
                      <a:pt x="559" y="645"/>
                    </a:lnTo>
                    <a:lnTo>
                      <a:pt x="559" y="647"/>
                    </a:lnTo>
                    <a:lnTo>
                      <a:pt x="559" y="645"/>
                    </a:lnTo>
                    <a:lnTo>
                      <a:pt x="559" y="647"/>
                    </a:lnTo>
                    <a:lnTo>
                      <a:pt x="559" y="649"/>
                    </a:lnTo>
                    <a:lnTo>
                      <a:pt x="557" y="649"/>
                    </a:lnTo>
                    <a:lnTo>
                      <a:pt x="555" y="649"/>
                    </a:lnTo>
                    <a:lnTo>
                      <a:pt x="557" y="647"/>
                    </a:lnTo>
                    <a:lnTo>
                      <a:pt x="555" y="649"/>
                    </a:lnTo>
                    <a:lnTo>
                      <a:pt x="555" y="647"/>
                    </a:lnTo>
                    <a:lnTo>
                      <a:pt x="555" y="645"/>
                    </a:lnTo>
                    <a:lnTo>
                      <a:pt x="553" y="645"/>
                    </a:lnTo>
                    <a:lnTo>
                      <a:pt x="555" y="645"/>
                    </a:lnTo>
                    <a:lnTo>
                      <a:pt x="555" y="643"/>
                    </a:lnTo>
                    <a:lnTo>
                      <a:pt x="553" y="645"/>
                    </a:lnTo>
                    <a:lnTo>
                      <a:pt x="552" y="645"/>
                    </a:lnTo>
                    <a:lnTo>
                      <a:pt x="553" y="643"/>
                    </a:lnTo>
                    <a:lnTo>
                      <a:pt x="555" y="642"/>
                    </a:lnTo>
                    <a:lnTo>
                      <a:pt x="555" y="643"/>
                    </a:lnTo>
                    <a:lnTo>
                      <a:pt x="555" y="642"/>
                    </a:lnTo>
                    <a:lnTo>
                      <a:pt x="557" y="643"/>
                    </a:lnTo>
                    <a:lnTo>
                      <a:pt x="557" y="642"/>
                    </a:lnTo>
                    <a:lnTo>
                      <a:pt x="557" y="643"/>
                    </a:lnTo>
                    <a:lnTo>
                      <a:pt x="557" y="642"/>
                    </a:lnTo>
                    <a:lnTo>
                      <a:pt x="555" y="642"/>
                    </a:lnTo>
                    <a:lnTo>
                      <a:pt x="553" y="642"/>
                    </a:lnTo>
                    <a:lnTo>
                      <a:pt x="555" y="642"/>
                    </a:lnTo>
                    <a:lnTo>
                      <a:pt x="557" y="640"/>
                    </a:lnTo>
                    <a:lnTo>
                      <a:pt x="557" y="642"/>
                    </a:lnTo>
                    <a:lnTo>
                      <a:pt x="557" y="643"/>
                    </a:lnTo>
                    <a:lnTo>
                      <a:pt x="557" y="642"/>
                    </a:lnTo>
                    <a:lnTo>
                      <a:pt x="559" y="643"/>
                    </a:lnTo>
                    <a:lnTo>
                      <a:pt x="559" y="645"/>
                    </a:lnTo>
                    <a:lnTo>
                      <a:pt x="559" y="643"/>
                    </a:lnTo>
                    <a:lnTo>
                      <a:pt x="559" y="645"/>
                    </a:lnTo>
                    <a:lnTo>
                      <a:pt x="561" y="645"/>
                    </a:lnTo>
                    <a:lnTo>
                      <a:pt x="561" y="647"/>
                    </a:lnTo>
                    <a:lnTo>
                      <a:pt x="561" y="645"/>
                    </a:lnTo>
                    <a:lnTo>
                      <a:pt x="563" y="645"/>
                    </a:lnTo>
                    <a:lnTo>
                      <a:pt x="563" y="647"/>
                    </a:lnTo>
                    <a:lnTo>
                      <a:pt x="565" y="647"/>
                    </a:lnTo>
                    <a:lnTo>
                      <a:pt x="563" y="645"/>
                    </a:lnTo>
                    <a:lnTo>
                      <a:pt x="561" y="645"/>
                    </a:lnTo>
                    <a:lnTo>
                      <a:pt x="561" y="643"/>
                    </a:lnTo>
                    <a:lnTo>
                      <a:pt x="559" y="642"/>
                    </a:lnTo>
                    <a:lnTo>
                      <a:pt x="557" y="640"/>
                    </a:lnTo>
                    <a:lnTo>
                      <a:pt x="559" y="638"/>
                    </a:lnTo>
                    <a:lnTo>
                      <a:pt x="559" y="640"/>
                    </a:lnTo>
                    <a:lnTo>
                      <a:pt x="559" y="638"/>
                    </a:lnTo>
                    <a:lnTo>
                      <a:pt x="561" y="638"/>
                    </a:lnTo>
                    <a:lnTo>
                      <a:pt x="561" y="640"/>
                    </a:lnTo>
                    <a:lnTo>
                      <a:pt x="563" y="640"/>
                    </a:lnTo>
                    <a:lnTo>
                      <a:pt x="563" y="642"/>
                    </a:lnTo>
                    <a:lnTo>
                      <a:pt x="563" y="640"/>
                    </a:lnTo>
                    <a:lnTo>
                      <a:pt x="565" y="638"/>
                    </a:lnTo>
                    <a:lnTo>
                      <a:pt x="567" y="638"/>
                    </a:lnTo>
                    <a:lnTo>
                      <a:pt x="565" y="638"/>
                    </a:lnTo>
                    <a:lnTo>
                      <a:pt x="565" y="636"/>
                    </a:lnTo>
                    <a:lnTo>
                      <a:pt x="567" y="636"/>
                    </a:lnTo>
                    <a:lnTo>
                      <a:pt x="565" y="636"/>
                    </a:lnTo>
                    <a:lnTo>
                      <a:pt x="565" y="638"/>
                    </a:lnTo>
                    <a:lnTo>
                      <a:pt x="563" y="640"/>
                    </a:lnTo>
                    <a:lnTo>
                      <a:pt x="561" y="638"/>
                    </a:lnTo>
                    <a:lnTo>
                      <a:pt x="559" y="638"/>
                    </a:lnTo>
                    <a:lnTo>
                      <a:pt x="561" y="638"/>
                    </a:lnTo>
                    <a:lnTo>
                      <a:pt x="559" y="638"/>
                    </a:lnTo>
                    <a:lnTo>
                      <a:pt x="559" y="634"/>
                    </a:lnTo>
                    <a:lnTo>
                      <a:pt x="559" y="636"/>
                    </a:lnTo>
                    <a:lnTo>
                      <a:pt x="559" y="634"/>
                    </a:lnTo>
                    <a:lnTo>
                      <a:pt x="561" y="634"/>
                    </a:lnTo>
                    <a:lnTo>
                      <a:pt x="563" y="634"/>
                    </a:lnTo>
                    <a:lnTo>
                      <a:pt x="563" y="632"/>
                    </a:lnTo>
                    <a:lnTo>
                      <a:pt x="563" y="634"/>
                    </a:lnTo>
                    <a:lnTo>
                      <a:pt x="561" y="634"/>
                    </a:lnTo>
                    <a:lnTo>
                      <a:pt x="559" y="634"/>
                    </a:lnTo>
                    <a:lnTo>
                      <a:pt x="559" y="632"/>
                    </a:lnTo>
                    <a:lnTo>
                      <a:pt x="559" y="630"/>
                    </a:lnTo>
                    <a:lnTo>
                      <a:pt x="561" y="630"/>
                    </a:lnTo>
                    <a:lnTo>
                      <a:pt x="561" y="628"/>
                    </a:lnTo>
                    <a:lnTo>
                      <a:pt x="561" y="630"/>
                    </a:lnTo>
                    <a:lnTo>
                      <a:pt x="563" y="628"/>
                    </a:lnTo>
                    <a:lnTo>
                      <a:pt x="565" y="630"/>
                    </a:lnTo>
                    <a:lnTo>
                      <a:pt x="563" y="632"/>
                    </a:lnTo>
                    <a:lnTo>
                      <a:pt x="565" y="630"/>
                    </a:lnTo>
                    <a:lnTo>
                      <a:pt x="565" y="628"/>
                    </a:lnTo>
                    <a:lnTo>
                      <a:pt x="567" y="632"/>
                    </a:lnTo>
                    <a:lnTo>
                      <a:pt x="569" y="634"/>
                    </a:lnTo>
                    <a:lnTo>
                      <a:pt x="569" y="632"/>
                    </a:lnTo>
                    <a:lnTo>
                      <a:pt x="567" y="632"/>
                    </a:lnTo>
                    <a:lnTo>
                      <a:pt x="565" y="628"/>
                    </a:lnTo>
                    <a:lnTo>
                      <a:pt x="563" y="628"/>
                    </a:lnTo>
                    <a:lnTo>
                      <a:pt x="563" y="623"/>
                    </a:lnTo>
                    <a:lnTo>
                      <a:pt x="565" y="623"/>
                    </a:lnTo>
                    <a:lnTo>
                      <a:pt x="567" y="624"/>
                    </a:lnTo>
                    <a:lnTo>
                      <a:pt x="565" y="623"/>
                    </a:lnTo>
                    <a:lnTo>
                      <a:pt x="563" y="621"/>
                    </a:lnTo>
                    <a:lnTo>
                      <a:pt x="561" y="621"/>
                    </a:lnTo>
                    <a:lnTo>
                      <a:pt x="563" y="623"/>
                    </a:lnTo>
                    <a:lnTo>
                      <a:pt x="561" y="624"/>
                    </a:lnTo>
                    <a:lnTo>
                      <a:pt x="561" y="626"/>
                    </a:lnTo>
                    <a:lnTo>
                      <a:pt x="561" y="628"/>
                    </a:lnTo>
                    <a:lnTo>
                      <a:pt x="559" y="626"/>
                    </a:lnTo>
                    <a:lnTo>
                      <a:pt x="559" y="624"/>
                    </a:lnTo>
                    <a:lnTo>
                      <a:pt x="559" y="626"/>
                    </a:lnTo>
                    <a:lnTo>
                      <a:pt x="557" y="624"/>
                    </a:lnTo>
                    <a:lnTo>
                      <a:pt x="557" y="623"/>
                    </a:lnTo>
                    <a:lnTo>
                      <a:pt x="557" y="621"/>
                    </a:lnTo>
                    <a:lnTo>
                      <a:pt x="559" y="621"/>
                    </a:lnTo>
                    <a:lnTo>
                      <a:pt x="557" y="619"/>
                    </a:lnTo>
                    <a:lnTo>
                      <a:pt x="557" y="617"/>
                    </a:lnTo>
                    <a:lnTo>
                      <a:pt x="557" y="615"/>
                    </a:lnTo>
                    <a:lnTo>
                      <a:pt x="557" y="613"/>
                    </a:lnTo>
                    <a:lnTo>
                      <a:pt x="559" y="613"/>
                    </a:lnTo>
                    <a:lnTo>
                      <a:pt x="557" y="613"/>
                    </a:lnTo>
                    <a:lnTo>
                      <a:pt x="557" y="611"/>
                    </a:lnTo>
                    <a:lnTo>
                      <a:pt x="557" y="613"/>
                    </a:lnTo>
                    <a:lnTo>
                      <a:pt x="557" y="611"/>
                    </a:lnTo>
                    <a:lnTo>
                      <a:pt x="559" y="609"/>
                    </a:lnTo>
                    <a:lnTo>
                      <a:pt x="561" y="607"/>
                    </a:lnTo>
                    <a:lnTo>
                      <a:pt x="563" y="609"/>
                    </a:lnTo>
                    <a:lnTo>
                      <a:pt x="565" y="609"/>
                    </a:lnTo>
                    <a:lnTo>
                      <a:pt x="563" y="609"/>
                    </a:lnTo>
                    <a:lnTo>
                      <a:pt x="563" y="607"/>
                    </a:lnTo>
                    <a:lnTo>
                      <a:pt x="561" y="607"/>
                    </a:lnTo>
                    <a:lnTo>
                      <a:pt x="559" y="609"/>
                    </a:lnTo>
                    <a:lnTo>
                      <a:pt x="559" y="607"/>
                    </a:lnTo>
                    <a:lnTo>
                      <a:pt x="561" y="607"/>
                    </a:lnTo>
                    <a:lnTo>
                      <a:pt x="559" y="607"/>
                    </a:lnTo>
                    <a:lnTo>
                      <a:pt x="557" y="605"/>
                    </a:lnTo>
                    <a:lnTo>
                      <a:pt x="559" y="603"/>
                    </a:lnTo>
                    <a:lnTo>
                      <a:pt x="561" y="603"/>
                    </a:lnTo>
                    <a:lnTo>
                      <a:pt x="559" y="603"/>
                    </a:lnTo>
                    <a:lnTo>
                      <a:pt x="561" y="603"/>
                    </a:lnTo>
                    <a:lnTo>
                      <a:pt x="563" y="603"/>
                    </a:lnTo>
                    <a:lnTo>
                      <a:pt x="563" y="605"/>
                    </a:lnTo>
                    <a:lnTo>
                      <a:pt x="563" y="603"/>
                    </a:lnTo>
                    <a:lnTo>
                      <a:pt x="565" y="605"/>
                    </a:lnTo>
                    <a:lnTo>
                      <a:pt x="563" y="603"/>
                    </a:lnTo>
                    <a:lnTo>
                      <a:pt x="565" y="603"/>
                    </a:lnTo>
                    <a:lnTo>
                      <a:pt x="565" y="602"/>
                    </a:lnTo>
                    <a:lnTo>
                      <a:pt x="567" y="602"/>
                    </a:lnTo>
                    <a:lnTo>
                      <a:pt x="565" y="602"/>
                    </a:lnTo>
                    <a:lnTo>
                      <a:pt x="563" y="602"/>
                    </a:lnTo>
                    <a:lnTo>
                      <a:pt x="563" y="600"/>
                    </a:lnTo>
                    <a:lnTo>
                      <a:pt x="561" y="600"/>
                    </a:lnTo>
                    <a:lnTo>
                      <a:pt x="565" y="600"/>
                    </a:lnTo>
                    <a:lnTo>
                      <a:pt x="563" y="598"/>
                    </a:lnTo>
                    <a:lnTo>
                      <a:pt x="559" y="600"/>
                    </a:lnTo>
                    <a:lnTo>
                      <a:pt x="561" y="598"/>
                    </a:lnTo>
                    <a:lnTo>
                      <a:pt x="559" y="598"/>
                    </a:lnTo>
                    <a:lnTo>
                      <a:pt x="559" y="596"/>
                    </a:lnTo>
                    <a:lnTo>
                      <a:pt x="557" y="596"/>
                    </a:lnTo>
                    <a:lnTo>
                      <a:pt x="555" y="594"/>
                    </a:lnTo>
                    <a:lnTo>
                      <a:pt x="557" y="592"/>
                    </a:lnTo>
                    <a:lnTo>
                      <a:pt x="555" y="594"/>
                    </a:lnTo>
                    <a:lnTo>
                      <a:pt x="557" y="592"/>
                    </a:lnTo>
                    <a:lnTo>
                      <a:pt x="555" y="594"/>
                    </a:lnTo>
                    <a:lnTo>
                      <a:pt x="553" y="592"/>
                    </a:lnTo>
                    <a:lnTo>
                      <a:pt x="553" y="590"/>
                    </a:lnTo>
                    <a:lnTo>
                      <a:pt x="555" y="590"/>
                    </a:lnTo>
                    <a:lnTo>
                      <a:pt x="557" y="590"/>
                    </a:lnTo>
                    <a:lnTo>
                      <a:pt x="559" y="592"/>
                    </a:lnTo>
                    <a:lnTo>
                      <a:pt x="561" y="596"/>
                    </a:lnTo>
                    <a:lnTo>
                      <a:pt x="559" y="596"/>
                    </a:lnTo>
                    <a:lnTo>
                      <a:pt x="561" y="598"/>
                    </a:lnTo>
                    <a:lnTo>
                      <a:pt x="561" y="596"/>
                    </a:lnTo>
                    <a:lnTo>
                      <a:pt x="561" y="598"/>
                    </a:lnTo>
                    <a:lnTo>
                      <a:pt x="563" y="596"/>
                    </a:lnTo>
                    <a:lnTo>
                      <a:pt x="561" y="596"/>
                    </a:lnTo>
                    <a:lnTo>
                      <a:pt x="561" y="594"/>
                    </a:lnTo>
                    <a:lnTo>
                      <a:pt x="559" y="592"/>
                    </a:lnTo>
                    <a:lnTo>
                      <a:pt x="561" y="592"/>
                    </a:lnTo>
                    <a:lnTo>
                      <a:pt x="561" y="590"/>
                    </a:lnTo>
                    <a:lnTo>
                      <a:pt x="561" y="594"/>
                    </a:lnTo>
                    <a:lnTo>
                      <a:pt x="563" y="592"/>
                    </a:lnTo>
                    <a:lnTo>
                      <a:pt x="561" y="592"/>
                    </a:lnTo>
                    <a:lnTo>
                      <a:pt x="561" y="590"/>
                    </a:lnTo>
                    <a:lnTo>
                      <a:pt x="563" y="592"/>
                    </a:lnTo>
                    <a:lnTo>
                      <a:pt x="561" y="590"/>
                    </a:lnTo>
                    <a:lnTo>
                      <a:pt x="563" y="590"/>
                    </a:lnTo>
                    <a:lnTo>
                      <a:pt x="563" y="592"/>
                    </a:lnTo>
                    <a:lnTo>
                      <a:pt x="563" y="590"/>
                    </a:lnTo>
                    <a:lnTo>
                      <a:pt x="565" y="592"/>
                    </a:lnTo>
                    <a:lnTo>
                      <a:pt x="563" y="592"/>
                    </a:lnTo>
                    <a:lnTo>
                      <a:pt x="565" y="592"/>
                    </a:lnTo>
                    <a:lnTo>
                      <a:pt x="567" y="592"/>
                    </a:lnTo>
                    <a:lnTo>
                      <a:pt x="567" y="594"/>
                    </a:lnTo>
                    <a:lnTo>
                      <a:pt x="567" y="592"/>
                    </a:lnTo>
                    <a:lnTo>
                      <a:pt x="569" y="592"/>
                    </a:lnTo>
                    <a:lnTo>
                      <a:pt x="569" y="594"/>
                    </a:lnTo>
                    <a:lnTo>
                      <a:pt x="567" y="594"/>
                    </a:lnTo>
                    <a:lnTo>
                      <a:pt x="569" y="594"/>
                    </a:lnTo>
                    <a:lnTo>
                      <a:pt x="571" y="594"/>
                    </a:lnTo>
                    <a:lnTo>
                      <a:pt x="571" y="596"/>
                    </a:lnTo>
                    <a:lnTo>
                      <a:pt x="571" y="598"/>
                    </a:lnTo>
                    <a:lnTo>
                      <a:pt x="571" y="596"/>
                    </a:lnTo>
                    <a:lnTo>
                      <a:pt x="571" y="598"/>
                    </a:lnTo>
                    <a:lnTo>
                      <a:pt x="573" y="598"/>
                    </a:lnTo>
                    <a:lnTo>
                      <a:pt x="573" y="596"/>
                    </a:lnTo>
                    <a:lnTo>
                      <a:pt x="574" y="596"/>
                    </a:lnTo>
                    <a:lnTo>
                      <a:pt x="576" y="596"/>
                    </a:lnTo>
                    <a:lnTo>
                      <a:pt x="576" y="592"/>
                    </a:lnTo>
                    <a:lnTo>
                      <a:pt x="576" y="594"/>
                    </a:lnTo>
                    <a:lnTo>
                      <a:pt x="574" y="596"/>
                    </a:lnTo>
                    <a:lnTo>
                      <a:pt x="574" y="594"/>
                    </a:lnTo>
                    <a:lnTo>
                      <a:pt x="573" y="594"/>
                    </a:lnTo>
                    <a:lnTo>
                      <a:pt x="571" y="592"/>
                    </a:lnTo>
                    <a:lnTo>
                      <a:pt x="573" y="590"/>
                    </a:lnTo>
                    <a:lnTo>
                      <a:pt x="571" y="592"/>
                    </a:lnTo>
                    <a:lnTo>
                      <a:pt x="571" y="590"/>
                    </a:lnTo>
                    <a:lnTo>
                      <a:pt x="571" y="588"/>
                    </a:lnTo>
                    <a:lnTo>
                      <a:pt x="571" y="590"/>
                    </a:lnTo>
                    <a:lnTo>
                      <a:pt x="573" y="590"/>
                    </a:lnTo>
                    <a:lnTo>
                      <a:pt x="574" y="590"/>
                    </a:lnTo>
                    <a:lnTo>
                      <a:pt x="576" y="590"/>
                    </a:lnTo>
                    <a:lnTo>
                      <a:pt x="574" y="590"/>
                    </a:lnTo>
                    <a:lnTo>
                      <a:pt x="573" y="590"/>
                    </a:lnTo>
                    <a:lnTo>
                      <a:pt x="573" y="588"/>
                    </a:lnTo>
                    <a:lnTo>
                      <a:pt x="571" y="586"/>
                    </a:lnTo>
                    <a:lnTo>
                      <a:pt x="569" y="586"/>
                    </a:lnTo>
                    <a:lnTo>
                      <a:pt x="569" y="584"/>
                    </a:lnTo>
                    <a:lnTo>
                      <a:pt x="569" y="582"/>
                    </a:lnTo>
                    <a:lnTo>
                      <a:pt x="571" y="582"/>
                    </a:lnTo>
                    <a:lnTo>
                      <a:pt x="569" y="582"/>
                    </a:lnTo>
                    <a:lnTo>
                      <a:pt x="569" y="584"/>
                    </a:lnTo>
                    <a:lnTo>
                      <a:pt x="569" y="586"/>
                    </a:lnTo>
                    <a:lnTo>
                      <a:pt x="565" y="588"/>
                    </a:lnTo>
                    <a:lnTo>
                      <a:pt x="565" y="586"/>
                    </a:lnTo>
                    <a:lnTo>
                      <a:pt x="563" y="586"/>
                    </a:lnTo>
                    <a:lnTo>
                      <a:pt x="561" y="586"/>
                    </a:lnTo>
                    <a:lnTo>
                      <a:pt x="559" y="586"/>
                    </a:lnTo>
                    <a:lnTo>
                      <a:pt x="557" y="586"/>
                    </a:lnTo>
                    <a:lnTo>
                      <a:pt x="559" y="584"/>
                    </a:lnTo>
                    <a:lnTo>
                      <a:pt x="559" y="586"/>
                    </a:lnTo>
                    <a:lnTo>
                      <a:pt x="559" y="584"/>
                    </a:lnTo>
                    <a:lnTo>
                      <a:pt x="557" y="586"/>
                    </a:lnTo>
                    <a:lnTo>
                      <a:pt x="555" y="586"/>
                    </a:lnTo>
                    <a:lnTo>
                      <a:pt x="557" y="584"/>
                    </a:lnTo>
                    <a:lnTo>
                      <a:pt x="555" y="586"/>
                    </a:lnTo>
                    <a:lnTo>
                      <a:pt x="553" y="584"/>
                    </a:lnTo>
                    <a:lnTo>
                      <a:pt x="555" y="584"/>
                    </a:lnTo>
                    <a:lnTo>
                      <a:pt x="553" y="584"/>
                    </a:lnTo>
                    <a:lnTo>
                      <a:pt x="553" y="582"/>
                    </a:lnTo>
                    <a:lnTo>
                      <a:pt x="555" y="582"/>
                    </a:lnTo>
                    <a:lnTo>
                      <a:pt x="553" y="582"/>
                    </a:lnTo>
                    <a:lnTo>
                      <a:pt x="555" y="581"/>
                    </a:lnTo>
                    <a:lnTo>
                      <a:pt x="557" y="582"/>
                    </a:lnTo>
                    <a:lnTo>
                      <a:pt x="557" y="581"/>
                    </a:lnTo>
                    <a:lnTo>
                      <a:pt x="557" y="582"/>
                    </a:lnTo>
                    <a:lnTo>
                      <a:pt x="557" y="581"/>
                    </a:lnTo>
                    <a:lnTo>
                      <a:pt x="559" y="582"/>
                    </a:lnTo>
                    <a:lnTo>
                      <a:pt x="557" y="582"/>
                    </a:lnTo>
                    <a:lnTo>
                      <a:pt x="559" y="582"/>
                    </a:lnTo>
                    <a:lnTo>
                      <a:pt x="557" y="582"/>
                    </a:lnTo>
                    <a:lnTo>
                      <a:pt x="555" y="584"/>
                    </a:lnTo>
                    <a:lnTo>
                      <a:pt x="555" y="582"/>
                    </a:lnTo>
                    <a:lnTo>
                      <a:pt x="555" y="584"/>
                    </a:lnTo>
                    <a:lnTo>
                      <a:pt x="557" y="584"/>
                    </a:lnTo>
                    <a:lnTo>
                      <a:pt x="559" y="582"/>
                    </a:lnTo>
                    <a:lnTo>
                      <a:pt x="559" y="584"/>
                    </a:lnTo>
                    <a:lnTo>
                      <a:pt x="561" y="586"/>
                    </a:lnTo>
                    <a:lnTo>
                      <a:pt x="561" y="584"/>
                    </a:lnTo>
                    <a:lnTo>
                      <a:pt x="563" y="584"/>
                    </a:lnTo>
                    <a:lnTo>
                      <a:pt x="561" y="584"/>
                    </a:lnTo>
                    <a:lnTo>
                      <a:pt x="559" y="584"/>
                    </a:lnTo>
                    <a:lnTo>
                      <a:pt x="559" y="582"/>
                    </a:lnTo>
                    <a:lnTo>
                      <a:pt x="563" y="582"/>
                    </a:lnTo>
                    <a:lnTo>
                      <a:pt x="561" y="582"/>
                    </a:lnTo>
                    <a:lnTo>
                      <a:pt x="559" y="582"/>
                    </a:lnTo>
                    <a:lnTo>
                      <a:pt x="561" y="582"/>
                    </a:lnTo>
                    <a:lnTo>
                      <a:pt x="559" y="582"/>
                    </a:lnTo>
                    <a:lnTo>
                      <a:pt x="561" y="582"/>
                    </a:lnTo>
                    <a:lnTo>
                      <a:pt x="563" y="582"/>
                    </a:lnTo>
                    <a:lnTo>
                      <a:pt x="565" y="582"/>
                    </a:lnTo>
                    <a:lnTo>
                      <a:pt x="563" y="582"/>
                    </a:lnTo>
                    <a:lnTo>
                      <a:pt x="563" y="581"/>
                    </a:lnTo>
                    <a:lnTo>
                      <a:pt x="565" y="579"/>
                    </a:lnTo>
                    <a:lnTo>
                      <a:pt x="563" y="581"/>
                    </a:lnTo>
                    <a:lnTo>
                      <a:pt x="561" y="581"/>
                    </a:lnTo>
                    <a:lnTo>
                      <a:pt x="559" y="582"/>
                    </a:lnTo>
                    <a:lnTo>
                      <a:pt x="559" y="581"/>
                    </a:lnTo>
                    <a:lnTo>
                      <a:pt x="561" y="579"/>
                    </a:lnTo>
                    <a:lnTo>
                      <a:pt x="563" y="579"/>
                    </a:lnTo>
                    <a:lnTo>
                      <a:pt x="561" y="579"/>
                    </a:lnTo>
                    <a:lnTo>
                      <a:pt x="559" y="581"/>
                    </a:lnTo>
                    <a:lnTo>
                      <a:pt x="557" y="579"/>
                    </a:lnTo>
                    <a:lnTo>
                      <a:pt x="557" y="581"/>
                    </a:lnTo>
                    <a:lnTo>
                      <a:pt x="559" y="581"/>
                    </a:lnTo>
                    <a:lnTo>
                      <a:pt x="557" y="581"/>
                    </a:lnTo>
                    <a:lnTo>
                      <a:pt x="557" y="579"/>
                    </a:lnTo>
                    <a:lnTo>
                      <a:pt x="559" y="579"/>
                    </a:lnTo>
                    <a:lnTo>
                      <a:pt x="559" y="577"/>
                    </a:lnTo>
                    <a:lnTo>
                      <a:pt x="559" y="579"/>
                    </a:lnTo>
                    <a:lnTo>
                      <a:pt x="557" y="579"/>
                    </a:lnTo>
                    <a:lnTo>
                      <a:pt x="557" y="577"/>
                    </a:lnTo>
                    <a:lnTo>
                      <a:pt x="557" y="579"/>
                    </a:lnTo>
                    <a:lnTo>
                      <a:pt x="557" y="577"/>
                    </a:lnTo>
                    <a:lnTo>
                      <a:pt x="557" y="579"/>
                    </a:lnTo>
                    <a:lnTo>
                      <a:pt x="555" y="579"/>
                    </a:lnTo>
                    <a:lnTo>
                      <a:pt x="555" y="577"/>
                    </a:lnTo>
                    <a:lnTo>
                      <a:pt x="557" y="577"/>
                    </a:lnTo>
                    <a:lnTo>
                      <a:pt x="557" y="575"/>
                    </a:lnTo>
                    <a:lnTo>
                      <a:pt x="559" y="575"/>
                    </a:lnTo>
                    <a:lnTo>
                      <a:pt x="559" y="573"/>
                    </a:lnTo>
                    <a:lnTo>
                      <a:pt x="561" y="573"/>
                    </a:lnTo>
                    <a:lnTo>
                      <a:pt x="559" y="573"/>
                    </a:lnTo>
                    <a:lnTo>
                      <a:pt x="561" y="573"/>
                    </a:lnTo>
                    <a:lnTo>
                      <a:pt x="561" y="577"/>
                    </a:lnTo>
                    <a:lnTo>
                      <a:pt x="561" y="575"/>
                    </a:lnTo>
                    <a:lnTo>
                      <a:pt x="561" y="573"/>
                    </a:lnTo>
                    <a:lnTo>
                      <a:pt x="563" y="575"/>
                    </a:lnTo>
                    <a:lnTo>
                      <a:pt x="563" y="573"/>
                    </a:lnTo>
                    <a:lnTo>
                      <a:pt x="563" y="571"/>
                    </a:lnTo>
                    <a:lnTo>
                      <a:pt x="563" y="573"/>
                    </a:lnTo>
                    <a:lnTo>
                      <a:pt x="563" y="571"/>
                    </a:lnTo>
                    <a:lnTo>
                      <a:pt x="565" y="569"/>
                    </a:lnTo>
                    <a:lnTo>
                      <a:pt x="563" y="571"/>
                    </a:lnTo>
                    <a:lnTo>
                      <a:pt x="561" y="571"/>
                    </a:lnTo>
                    <a:lnTo>
                      <a:pt x="561" y="567"/>
                    </a:lnTo>
                    <a:lnTo>
                      <a:pt x="563" y="567"/>
                    </a:lnTo>
                    <a:lnTo>
                      <a:pt x="563" y="569"/>
                    </a:lnTo>
                    <a:lnTo>
                      <a:pt x="563" y="567"/>
                    </a:lnTo>
                    <a:lnTo>
                      <a:pt x="561" y="565"/>
                    </a:lnTo>
                    <a:lnTo>
                      <a:pt x="559" y="563"/>
                    </a:lnTo>
                    <a:lnTo>
                      <a:pt x="557" y="563"/>
                    </a:lnTo>
                    <a:lnTo>
                      <a:pt x="559" y="563"/>
                    </a:lnTo>
                    <a:lnTo>
                      <a:pt x="561" y="563"/>
                    </a:lnTo>
                    <a:lnTo>
                      <a:pt x="559" y="563"/>
                    </a:lnTo>
                    <a:lnTo>
                      <a:pt x="559" y="561"/>
                    </a:lnTo>
                    <a:lnTo>
                      <a:pt x="559" y="563"/>
                    </a:lnTo>
                    <a:lnTo>
                      <a:pt x="559" y="561"/>
                    </a:lnTo>
                    <a:lnTo>
                      <a:pt x="559" y="563"/>
                    </a:lnTo>
                    <a:lnTo>
                      <a:pt x="559" y="561"/>
                    </a:lnTo>
                    <a:lnTo>
                      <a:pt x="557" y="561"/>
                    </a:lnTo>
                    <a:lnTo>
                      <a:pt x="555" y="561"/>
                    </a:lnTo>
                    <a:lnTo>
                      <a:pt x="557" y="561"/>
                    </a:lnTo>
                    <a:lnTo>
                      <a:pt x="557" y="563"/>
                    </a:lnTo>
                    <a:lnTo>
                      <a:pt x="555" y="563"/>
                    </a:lnTo>
                    <a:lnTo>
                      <a:pt x="553" y="563"/>
                    </a:lnTo>
                    <a:lnTo>
                      <a:pt x="555" y="563"/>
                    </a:lnTo>
                    <a:lnTo>
                      <a:pt x="557" y="565"/>
                    </a:lnTo>
                    <a:lnTo>
                      <a:pt x="555" y="565"/>
                    </a:lnTo>
                    <a:lnTo>
                      <a:pt x="553" y="565"/>
                    </a:lnTo>
                    <a:lnTo>
                      <a:pt x="553" y="563"/>
                    </a:lnTo>
                    <a:lnTo>
                      <a:pt x="552" y="563"/>
                    </a:lnTo>
                    <a:lnTo>
                      <a:pt x="552" y="561"/>
                    </a:lnTo>
                    <a:lnTo>
                      <a:pt x="552" y="563"/>
                    </a:lnTo>
                    <a:lnTo>
                      <a:pt x="550" y="563"/>
                    </a:lnTo>
                    <a:lnTo>
                      <a:pt x="550" y="561"/>
                    </a:lnTo>
                    <a:lnTo>
                      <a:pt x="548" y="561"/>
                    </a:lnTo>
                    <a:lnTo>
                      <a:pt x="548" y="560"/>
                    </a:lnTo>
                    <a:lnTo>
                      <a:pt x="550" y="556"/>
                    </a:lnTo>
                    <a:lnTo>
                      <a:pt x="550" y="554"/>
                    </a:lnTo>
                    <a:lnTo>
                      <a:pt x="550" y="556"/>
                    </a:lnTo>
                    <a:lnTo>
                      <a:pt x="548" y="556"/>
                    </a:lnTo>
                    <a:lnTo>
                      <a:pt x="548" y="558"/>
                    </a:lnTo>
                    <a:lnTo>
                      <a:pt x="548" y="556"/>
                    </a:lnTo>
                    <a:lnTo>
                      <a:pt x="548" y="558"/>
                    </a:lnTo>
                    <a:lnTo>
                      <a:pt x="546" y="558"/>
                    </a:lnTo>
                    <a:lnTo>
                      <a:pt x="546" y="560"/>
                    </a:lnTo>
                    <a:lnTo>
                      <a:pt x="546" y="558"/>
                    </a:lnTo>
                    <a:lnTo>
                      <a:pt x="544" y="558"/>
                    </a:lnTo>
                    <a:lnTo>
                      <a:pt x="546" y="560"/>
                    </a:lnTo>
                    <a:lnTo>
                      <a:pt x="544" y="560"/>
                    </a:lnTo>
                    <a:lnTo>
                      <a:pt x="542" y="560"/>
                    </a:lnTo>
                    <a:lnTo>
                      <a:pt x="544" y="560"/>
                    </a:lnTo>
                    <a:lnTo>
                      <a:pt x="542" y="560"/>
                    </a:lnTo>
                    <a:lnTo>
                      <a:pt x="540" y="560"/>
                    </a:lnTo>
                    <a:lnTo>
                      <a:pt x="540" y="561"/>
                    </a:lnTo>
                    <a:lnTo>
                      <a:pt x="538" y="563"/>
                    </a:lnTo>
                    <a:lnTo>
                      <a:pt x="540" y="563"/>
                    </a:lnTo>
                    <a:lnTo>
                      <a:pt x="540" y="561"/>
                    </a:lnTo>
                    <a:lnTo>
                      <a:pt x="542" y="561"/>
                    </a:lnTo>
                    <a:lnTo>
                      <a:pt x="542" y="563"/>
                    </a:lnTo>
                    <a:lnTo>
                      <a:pt x="542" y="561"/>
                    </a:lnTo>
                    <a:lnTo>
                      <a:pt x="542" y="563"/>
                    </a:lnTo>
                    <a:lnTo>
                      <a:pt x="544" y="563"/>
                    </a:lnTo>
                    <a:lnTo>
                      <a:pt x="542" y="563"/>
                    </a:lnTo>
                    <a:lnTo>
                      <a:pt x="542" y="565"/>
                    </a:lnTo>
                    <a:lnTo>
                      <a:pt x="544" y="565"/>
                    </a:lnTo>
                    <a:lnTo>
                      <a:pt x="544" y="563"/>
                    </a:lnTo>
                    <a:lnTo>
                      <a:pt x="544" y="565"/>
                    </a:lnTo>
                    <a:lnTo>
                      <a:pt x="542" y="567"/>
                    </a:lnTo>
                    <a:lnTo>
                      <a:pt x="540" y="567"/>
                    </a:lnTo>
                    <a:lnTo>
                      <a:pt x="540" y="565"/>
                    </a:lnTo>
                    <a:lnTo>
                      <a:pt x="538" y="565"/>
                    </a:lnTo>
                    <a:lnTo>
                      <a:pt x="538" y="563"/>
                    </a:lnTo>
                    <a:lnTo>
                      <a:pt x="538" y="561"/>
                    </a:lnTo>
                    <a:lnTo>
                      <a:pt x="538" y="560"/>
                    </a:lnTo>
                    <a:lnTo>
                      <a:pt x="538" y="558"/>
                    </a:lnTo>
                    <a:lnTo>
                      <a:pt x="540" y="558"/>
                    </a:lnTo>
                    <a:lnTo>
                      <a:pt x="540" y="560"/>
                    </a:lnTo>
                    <a:lnTo>
                      <a:pt x="540" y="558"/>
                    </a:lnTo>
                    <a:lnTo>
                      <a:pt x="540" y="556"/>
                    </a:lnTo>
                    <a:lnTo>
                      <a:pt x="540" y="558"/>
                    </a:lnTo>
                    <a:lnTo>
                      <a:pt x="542" y="556"/>
                    </a:lnTo>
                    <a:lnTo>
                      <a:pt x="542" y="558"/>
                    </a:lnTo>
                    <a:lnTo>
                      <a:pt x="542" y="556"/>
                    </a:lnTo>
                    <a:lnTo>
                      <a:pt x="542" y="554"/>
                    </a:lnTo>
                    <a:lnTo>
                      <a:pt x="542" y="556"/>
                    </a:lnTo>
                    <a:lnTo>
                      <a:pt x="544" y="556"/>
                    </a:lnTo>
                    <a:lnTo>
                      <a:pt x="542" y="556"/>
                    </a:lnTo>
                    <a:lnTo>
                      <a:pt x="542" y="554"/>
                    </a:lnTo>
                    <a:lnTo>
                      <a:pt x="542" y="556"/>
                    </a:lnTo>
                    <a:lnTo>
                      <a:pt x="542" y="554"/>
                    </a:lnTo>
                    <a:lnTo>
                      <a:pt x="544" y="554"/>
                    </a:lnTo>
                    <a:lnTo>
                      <a:pt x="546" y="554"/>
                    </a:lnTo>
                    <a:lnTo>
                      <a:pt x="544" y="554"/>
                    </a:lnTo>
                    <a:lnTo>
                      <a:pt x="546" y="552"/>
                    </a:lnTo>
                    <a:lnTo>
                      <a:pt x="548" y="554"/>
                    </a:lnTo>
                    <a:lnTo>
                      <a:pt x="550" y="554"/>
                    </a:lnTo>
                    <a:lnTo>
                      <a:pt x="548" y="552"/>
                    </a:lnTo>
                    <a:lnTo>
                      <a:pt x="546" y="552"/>
                    </a:lnTo>
                    <a:lnTo>
                      <a:pt x="548" y="552"/>
                    </a:lnTo>
                    <a:lnTo>
                      <a:pt x="546" y="552"/>
                    </a:lnTo>
                    <a:lnTo>
                      <a:pt x="546" y="550"/>
                    </a:lnTo>
                    <a:lnTo>
                      <a:pt x="548" y="550"/>
                    </a:lnTo>
                    <a:lnTo>
                      <a:pt x="550" y="552"/>
                    </a:lnTo>
                    <a:lnTo>
                      <a:pt x="550" y="550"/>
                    </a:lnTo>
                    <a:lnTo>
                      <a:pt x="550" y="548"/>
                    </a:lnTo>
                    <a:lnTo>
                      <a:pt x="552" y="548"/>
                    </a:lnTo>
                    <a:lnTo>
                      <a:pt x="552" y="550"/>
                    </a:lnTo>
                    <a:lnTo>
                      <a:pt x="552" y="548"/>
                    </a:lnTo>
                    <a:lnTo>
                      <a:pt x="553" y="548"/>
                    </a:lnTo>
                    <a:lnTo>
                      <a:pt x="552" y="548"/>
                    </a:lnTo>
                    <a:lnTo>
                      <a:pt x="552" y="546"/>
                    </a:lnTo>
                    <a:lnTo>
                      <a:pt x="553" y="546"/>
                    </a:lnTo>
                    <a:lnTo>
                      <a:pt x="555" y="546"/>
                    </a:lnTo>
                    <a:lnTo>
                      <a:pt x="553" y="546"/>
                    </a:lnTo>
                    <a:lnTo>
                      <a:pt x="552" y="546"/>
                    </a:lnTo>
                    <a:lnTo>
                      <a:pt x="553" y="544"/>
                    </a:lnTo>
                    <a:lnTo>
                      <a:pt x="553" y="542"/>
                    </a:lnTo>
                    <a:lnTo>
                      <a:pt x="552" y="544"/>
                    </a:lnTo>
                    <a:lnTo>
                      <a:pt x="553" y="544"/>
                    </a:lnTo>
                    <a:lnTo>
                      <a:pt x="552" y="544"/>
                    </a:lnTo>
                    <a:lnTo>
                      <a:pt x="552" y="546"/>
                    </a:lnTo>
                    <a:lnTo>
                      <a:pt x="550" y="546"/>
                    </a:lnTo>
                    <a:lnTo>
                      <a:pt x="550" y="548"/>
                    </a:lnTo>
                    <a:lnTo>
                      <a:pt x="548" y="548"/>
                    </a:lnTo>
                    <a:lnTo>
                      <a:pt x="548" y="546"/>
                    </a:lnTo>
                    <a:lnTo>
                      <a:pt x="550" y="544"/>
                    </a:lnTo>
                    <a:lnTo>
                      <a:pt x="550" y="546"/>
                    </a:lnTo>
                    <a:lnTo>
                      <a:pt x="552" y="544"/>
                    </a:lnTo>
                    <a:lnTo>
                      <a:pt x="550" y="544"/>
                    </a:lnTo>
                    <a:lnTo>
                      <a:pt x="548" y="544"/>
                    </a:lnTo>
                    <a:lnTo>
                      <a:pt x="550" y="544"/>
                    </a:lnTo>
                    <a:lnTo>
                      <a:pt x="548" y="544"/>
                    </a:lnTo>
                    <a:lnTo>
                      <a:pt x="546" y="542"/>
                    </a:lnTo>
                    <a:lnTo>
                      <a:pt x="548" y="542"/>
                    </a:lnTo>
                    <a:lnTo>
                      <a:pt x="550" y="542"/>
                    </a:lnTo>
                    <a:lnTo>
                      <a:pt x="552" y="544"/>
                    </a:lnTo>
                    <a:lnTo>
                      <a:pt x="550" y="542"/>
                    </a:lnTo>
                    <a:lnTo>
                      <a:pt x="552" y="542"/>
                    </a:lnTo>
                    <a:lnTo>
                      <a:pt x="552" y="540"/>
                    </a:lnTo>
                    <a:lnTo>
                      <a:pt x="553" y="540"/>
                    </a:lnTo>
                    <a:lnTo>
                      <a:pt x="552" y="542"/>
                    </a:lnTo>
                    <a:lnTo>
                      <a:pt x="553" y="542"/>
                    </a:lnTo>
                    <a:lnTo>
                      <a:pt x="553" y="540"/>
                    </a:lnTo>
                    <a:lnTo>
                      <a:pt x="555" y="540"/>
                    </a:lnTo>
                    <a:lnTo>
                      <a:pt x="555" y="542"/>
                    </a:lnTo>
                    <a:lnTo>
                      <a:pt x="555" y="540"/>
                    </a:lnTo>
                    <a:lnTo>
                      <a:pt x="555" y="542"/>
                    </a:lnTo>
                    <a:lnTo>
                      <a:pt x="557" y="542"/>
                    </a:lnTo>
                    <a:lnTo>
                      <a:pt x="555" y="544"/>
                    </a:lnTo>
                    <a:lnTo>
                      <a:pt x="557" y="542"/>
                    </a:lnTo>
                    <a:lnTo>
                      <a:pt x="557" y="544"/>
                    </a:lnTo>
                    <a:lnTo>
                      <a:pt x="555" y="546"/>
                    </a:lnTo>
                    <a:lnTo>
                      <a:pt x="557" y="546"/>
                    </a:lnTo>
                    <a:lnTo>
                      <a:pt x="557" y="544"/>
                    </a:lnTo>
                    <a:lnTo>
                      <a:pt x="559" y="544"/>
                    </a:lnTo>
                    <a:lnTo>
                      <a:pt x="557" y="542"/>
                    </a:lnTo>
                    <a:lnTo>
                      <a:pt x="557" y="540"/>
                    </a:lnTo>
                    <a:lnTo>
                      <a:pt x="557" y="542"/>
                    </a:lnTo>
                    <a:lnTo>
                      <a:pt x="557" y="540"/>
                    </a:lnTo>
                    <a:lnTo>
                      <a:pt x="559" y="540"/>
                    </a:lnTo>
                    <a:lnTo>
                      <a:pt x="559" y="542"/>
                    </a:lnTo>
                    <a:lnTo>
                      <a:pt x="559" y="540"/>
                    </a:lnTo>
                    <a:lnTo>
                      <a:pt x="561" y="540"/>
                    </a:lnTo>
                    <a:lnTo>
                      <a:pt x="563" y="540"/>
                    </a:lnTo>
                    <a:lnTo>
                      <a:pt x="563" y="542"/>
                    </a:lnTo>
                    <a:lnTo>
                      <a:pt x="559" y="542"/>
                    </a:lnTo>
                    <a:lnTo>
                      <a:pt x="561" y="542"/>
                    </a:lnTo>
                    <a:lnTo>
                      <a:pt x="563" y="542"/>
                    </a:lnTo>
                    <a:lnTo>
                      <a:pt x="561" y="544"/>
                    </a:lnTo>
                    <a:lnTo>
                      <a:pt x="563" y="542"/>
                    </a:lnTo>
                    <a:lnTo>
                      <a:pt x="563" y="544"/>
                    </a:lnTo>
                    <a:lnTo>
                      <a:pt x="561" y="544"/>
                    </a:lnTo>
                    <a:lnTo>
                      <a:pt x="561" y="546"/>
                    </a:lnTo>
                    <a:lnTo>
                      <a:pt x="559" y="546"/>
                    </a:lnTo>
                    <a:lnTo>
                      <a:pt x="559" y="544"/>
                    </a:lnTo>
                    <a:lnTo>
                      <a:pt x="559" y="546"/>
                    </a:lnTo>
                    <a:lnTo>
                      <a:pt x="563" y="544"/>
                    </a:lnTo>
                    <a:lnTo>
                      <a:pt x="563" y="548"/>
                    </a:lnTo>
                    <a:lnTo>
                      <a:pt x="561" y="548"/>
                    </a:lnTo>
                    <a:lnTo>
                      <a:pt x="559" y="548"/>
                    </a:lnTo>
                    <a:lnTo>
                      <a:pt x="561" y="548"/>
                    </a:lnTo>
                    <a:lnTo>
                      <a:pt x="563" y="548"/>
                    </a:lnTo>
                    <a:lnTo>
                      <a:pt x="563" y="546"/>
                    </a:lnTo>
                    <a:lnTo>
                      <a:pt x="563" y="544"/>
                    </a:lnTo>
                    <a:lnTo>
                      <a:pt x="565" y="546"/>
                    </a:lnTo>
                    <a:lnTo>
                      <a:pt x="563" y="548"/>
                    </a:lnTo>
                    <a:lnTo>
                      <a:pt x="561" y="550"/>
                    </a:lnTo>
                    <a:lnTo>
                      <a:pt x="559" y="550"/>
                    </a:lnTo>
                    <a:lnTo>
                      <a:pt x="557" y="550"/>
                    </a:lnTo>
                    <a:lnTo>
                      <a:pt x="557" y="548"/>
                    </a:lnTo>
                    <a:lnTo>
                      <a:pt x="557" y="550"/>
                    </a:lnTo>
                    <a:lnTo>
                      <a:pt x="559" y="550"/>
                    </a:lnTo>
                    <a:lnTo>
                      <a:pt x="561" y="550"/>
                    </a:lnTo>
                    <a:lnTo>
                      <a:pt x="563" y="548"/>
                    </a:lnTo>
                    <a:lnTo>
                      <a:pt x="563" y="550"/>
                    </a:lnTo>
                    <a:lnTo>
                      <a:pt x="565" y="548"/>
                    </a:lnTo>
                    <a:lnTo>
                      <a:pt x="567" y="548"/>
                    </a:lnTo>
                    <a:lnTo>
                      <a:pt x="567" y="550"/>
                    </a:lnTo>
                    <a:lnTo>
                      <a:pt x="569" y="550"/>
                    </a:lnTo>
                    <a:lnTo>
                      <a:pt x="567" y="554"/>
                    </a:lnTo>
                    <a:lnTo>
                      <a:pt x="567" y="556"/>
                    </a:lnTo>
                    <a:lnTo>
                      <a:pt x="565" y="556"/>
                    </a:lnTo>
                    <a:lnTo>
                      <a:pt x="567" y="558"/>
                    </a:lnTo>
                    <a:lnTo>
                      <a:pt x="565" y="556"/>
                    </a:lnTo>
                    <a:lnTo>
                      <a:pt x="565" y="558"/>
                    </a:lnTo>
                    <a:lnTo>
                      <a:pt x="567" y="558"/>
                    </a:lnTo>
                    <a:lnTo>
                      <a:pt x="567" y="556"/>
                    </a:lnTo>
                    <a:lnTo>
                      <a:pt x="569" y="556"/>
                    </a:lnTo>
                    <a:lnTo>
                      <a:pt x="567" y="556"/>
                    </a:lnTo>
                    <a:lnTo>
                      <a:pt x="569" y="556"/>
                    </a:lnTo>
                    <a:lnTo>
                      <a:pt x="569" y="554"/>
                    </a:lnTo>
                    <a:lnTo>
                      <a:pt x="567" y="554"/>
                    </a:lnTo>
                    <a:lnTo>
                      <a:pt x="569" y="554"/>
                    </a:lnTo>
                    <a:lnTo>
                      <a:pt x="571" y="552"/>
                    </a:lnTo>
                    <a:lnTo>
                      <a:pt x="573" y="552"/>
                    </a:lnTo>
                    <a:lnTo>
                      <a:pt x="571" y="552"/>
                    </a:lnTo>
                    <a:lnTo>
                      <a:pt x="573" y="548"/>
                    </a:lnTo>
                    <a:lnTo>
                      <a:pt x="573" y="546"/>
                    </a:lnTo>
                    <a:lnTo>
                      <a:pt x="574" y="546"/>
                    </a:lnTo>
                    <a:lnTo>
                      <a:pt x="574" y="544"/>
                    </a:lnTo>
                    <a:lnTo>
                      <a:pt x="573" y="544"/>
                    </a:lnTo>
                    <a:lnTo>
                      <a:pt x="573" y="546"/>
                    </a:lnTo>
                    <a:lnTo>
                      <a:pt x="571" y="548"/>
                    </a:lnTo>
                    <a:lnTo>
                      <a:pt x="571" y="550"/>
                    </a:lnTo>
                    <a:lnTo>
                      <a:pt x="569" y="552"/>
                    </a:lnTo>
                    <a:lnTo>
                      <a:pt x="569" y="550"/>
                    </a:lnTo>
                    <a:lnTo>
                      <a:pt x="571" y="550"/>
                    </a:lnTo>
                    <a:lnTo>
                      <a:pt x="569" y="548"/>
                    </a:lnTo>
                    <a:lnTo>
                      <a:pt x="571" y="546"/>
                    </a:lnTo>
                    <a:lnTo>
                      <a:pt x="569" y="544"/>
                    </a:lnTo>
                    <a:lnTo>
                      <a:pt x="571" y="544"/>
                    </a:lnTo>
                    <a:lnTo>
                      <a:pt x="571" y="542"/>
                    </a:lnTo>
                    <a:lnTo>
                      <a:pt x="573" y="542"/>
                    </a:lnTo>
                    <a:lnTo>
                      <a:pt x="571" y="540"/>
                    </a:lnTo>
                    <a:lnTo>
                      <a:pt x="574" y="539"/>
                    </a:lnTo>
                    <a:lnTo>
                      <a:pt x="576" y="537"/>
                    </a:lnTo>
                    <a:lnTo>
                      <a:pt x="576" y="539"/>
                    </a:lnTo>
                    <a:lnTo>
                      <a:pt x="576" y="537"/>
                    </a:lnTo>
                    <a:lnTo>
                      <a:pt x="578" y="537"/>
                    </a:lnTo>
                    <a:lnTo>
                      <a:pt x="574" y="537"/>
                    </a:lnTo>
                    <a:lnTo>
                      <a:pt x="576" y="535"/>
                    </a:lnTo>
                    <a:lnTo>
                      <a:pt x="574" y="535"/>
                    </a:lnTo>
                    <a:lnTo>
                      <a:pt x="574" y="537"/>
                    </a:lnTo>
                    <a:lnTo>
                      <a:pt x="573" y="539"/>
                    </a:lnTo>
                    <a:lnTo>
                      <a:pt x="571" y="540"/>
                    </a:lnTo>
                    <a:lnTo>
                      <a:pt x="573" y="533"/>
                    </a:lnTo>
                    <a:lnTo>
                      <a:pt x="573" y="531"/>
                    </a:lnTo>
                    <a:lnTo>
                      <a:pt x="573" y="533"/>
                    </a:lnTo>
                    <a:lnTo>
                      <a:pt x="574" y="531"/>
                    </a:lnTo>
                    <a:lnTo>
                      <a:pt x="574" y="529"/>
                    </a:lnTo>
                    <a:lnTo>
                      <a:pt x="574" y="531"/>
                    </a:lnTo>
                    <a:lnTo>
                      <a:pt x="574" y="529"/>
                    </a:lnTo>
                    <a:lnTo>
                      <a:pt x="576" y="529"/>
                    </a:lnTo>
                    <a:lnTo>
                      <a:pt x="576" y="531"/>
                    </a:lnTo>
                    <a:lnTo>
                      <a:pt x="578" y="531"/>
                    </a:lnTo>
                    <a:lnTo>
                      <a:pt x="580" y="531"/>
                    </a:lnTo>
                    <a:lnTo>
                      <a:pt x="580" y="533"/>
                    </a:lnTo>
                    <a:lnTo>
                      <a:pt x="582" y="533"/>
                    </a:lnTo>
                    <a:lnTo>
                      <a:pt x="582" y="531"/>
                    </a:lnTo>
                    <a:lnTo>
                      <a:pt x="580" y="531"/>
                    </a:lnTo>
                    <a:lnTo>
                      <a:pt x="578" y="529"/>
                    </a:lnTo>
                    <a:lnTo>
                      <a:pt x="576" y="527"/>
                    </a:lnTo>
                    <a:lnTo>
                      <a:pt x="574" y="527"/>
                    </a:lnTo>
                    <a:lnTo>
                      <a:pt x="574" y="529"/>
                    </a:lnTo>
                    <a:lnTo>
                      <a:pt x="573" y="529"/>
                    </a:lnTo>
                    <a:lnTo>
                      <a:pt x="573" y="527"/>
                    </a:lnTo>
                    <a:lnTo>
                      <a:pt x="571" y="527"/>
                    </a:lnTo>
                    <a:lnTo>
                      <a:pt x="573" y="527"/>
                    </a:lnTo>
                    <a:lnTo>
                      <a:pt x="574" y="527"/>
                    </a:lnTo>
                    <a:lnTo>
                      <a:pt x="574" y="525"/>
                    </a:lnTo>
                    <a:lnTo>
                      <a:pt x="574" y="523"/>
                    </a:lnTo>
                    <a:lnTo>
                      <a:pt x="574" y="521"/>
                    </a:lnTo>
                    <a:lnTo>
                      <a:pt x="576" y="521"/>
                    </a:lnTo>
                    <a:lnTo>
                      <a:pt x="578" y="521"/>
                    </a:lnTo>
                    <a:lnTo>
                      <a:pt x="580" y="519"/>
                    </a:lnTo>
                    <a:lnTo>
                      <a:pt x="584" y="516"/>
                    </a:lnTo>
                    <a:lnTo>
                      <a:pt x="584" y="514"/>
                    </a:lnTo>
                    <a:lnTo>
                      <a:pt x="586" y="512"/>
                    </a:lnTo>
                    <a:lnTo>
                      <a:pt x="586" y="510"/>
                    </a:lnTo>
                    <a:lnTo>
                      <a:pt x="588" y="512"/>
                    </a:lnTo>
                    <a:lnTo>
                      <a:pt x="586" y="510"/>
                    </a:lnTo>
                    <a:lnTo>
                      <a:pt x="586" y="508"/>
                    </a:lnTo>
                    <a:lnTo>
                      <a:pt x="586" y="506"/>
                    </a:lnTo>
                    <a:lnTo>
                      <a:pt x="586" y="508"/>
                    </a:lnTo>
                    <a:lnTo>
                      <a:pt x="586" y="510"/>
                    </a:lnTo>
                    <a:lnTo>
                      <a:pt x="584" y="512"/>
                    </a:lnTo>
                    <a:lnTo>
                      <a:pt x="584" y="510"/>
                    </a:lnTo>
                    <a:lnTo>
                      <a:pt x="582" y="510"/>
                    </a:lnTo>
                    <a:lnTo>
                      <a:pt x="582" y="508"/>
                    </a:lnTo>
                    <a:lnTo>
                      <a:pt x="580" y="508"/>
                    </a:lnTo>
                    <a:lnTo>
                      <a:pt x="582" y="506"/>
                    </a:lnTo>
                    <a:lnTo>
                      <a:pt x="580" y="506"/>
                    </a:lnTo>
                    <a:lnTo>
                      <a:pt x="578" y="506"/>
                    </a:lnTo>
                    <a:lnTo>
                      <a:pt x="578" y="504"/>
                    </a:lnTo>
                    <a:lnTo>
                      <a:pt x="578" y="506"/>
                    </a:lnTo>
                    <a:lnTo>
                      <a:pt x="576" y="506"/>
                    </a:lnTo>
                    <a:lnTo>
                      <a:pt x="576" y="504"/>
                    </a:lnTo>
                    <a:lnTo>
                      <a:pt x="578" y="504"/>
                    </a:lnTo>
                    <a:lnTo>
                      <a:pt x="578" y="502"/>
                    </a:lnTo>
                    <a:lnTo>
                      <a:pt x="576" y="504"/>
                    </a:lnTo>
                    <a:lnTo>
                      <a:pt x="574" y="504"/>
                    </a:lnTo>
                    <a:lnTo>
                      <a:pt x="574" y="502"/>
                    </a:lnTo>
                    <a:lnTo>
                      <a:pt x="576" y="504"/>
                    </a:lnTo>
                    <a:lnTo>
                      <a:pt x="574" y="502"/>
                    </a:lnTo>
                    <a:lnTo>
                      <a:pt x="576" y="502"/>
                    </a:lnTo>
                    <a:lnTo>
                      <a:pt x="576" y="500"/>
                    </a:lnTo>
                    <a:lnTo>
                      <a:pt x="578" y="502"/>
                    </a:lnTo>
                    <a:lnTo>
                      <a:pt x="578" y="500"/>
                    </a:lnTo>
                    <a:lnTo>
                      <a:pt x="578" y="498"/>
                    </a:lnTo>
                    <a:lnTo>
                      <a:pt x="578" y="497"/>
                    </a:lnTo>
                    <a:lnTo>
                      <a:pt x="580" y="497"/>
                    </a:lnTo>
                    <a:lnTo>
                      <a:pt x="580" y="495"/>
                    </a:lnTo>
                    <a:lnTo>
                      <a:pt x="582" y="495"/>
                    </a:lnTo>
                    <a:lnTo>
                      <a:pt x="582" y="497"/>
                    </a:lnTo>
                    <a:lnTo>
                      <a:pt x="584" y="497"/>
                    </a:lnTo>
                    <a:lnTo>
                      <a:pt x="582" y="495"/>
                    </a:lnTo>
                    <a:lnTo>
                      <a:pt x="582" y="493"/>
                    </a:lnTo>
                    <a:lnTo>
                      <a:pt x="582" y="495"/>
                    </a:lnTo>
                    <a:lnTo>
                      <a:pt x="580" y="495"/>
                    </a:lnTo>
                    <a:lnTo>
                      <a:pt x="578" y="495"/>
                    </a:lnTo>
                    <a:lnTo>
                      <a:pt x="578" y="493"/>
                    </a:lnTo>
                    <a:lnTo>
                      <a:pt x="580" y="493"/>
                    </a:lnTo>
                    <a:lnTo>
                      <a:pt x="580" y="491"/>
                    </a:lnTo>
                    <a:lnTo>
                      <a:pt x="582" y="491"/>
                    </a:lnTo>
                    <a:lnTo>
                      <a:pt x="580" y="491"/>
                    </a:lnTo>
                    <a:lnTo>
                      <a:pt x="578" y="487"/>
                    </a:lnTo>
                    <a:lnTo>
                      <a:pt x="578" y="485"/>
                    </a:lnTo>
                    <a:lnTo>
                      <a:pt x="580" y="483"/>
                    </a:lnTo>
                    <a:lnTo>
                      <a:pt x="582" y="483"/>
                    </a:lnTo>
                    <a:lnTo>
                      <a:pt x="580" y="481"/>
                    </a:lnTo>
                    <a:lnTo>
                      <a:pt x="582" y="477"/>
                    </a:lnTo>
                    <a:lnTo>
                      <a:pt x="584" y="477"/>
                    </a:lnTo>
                    <a:lnTo>
                      <a:pt x="584" y="479"/>
                    </a:lnTo>
                    <a:lnTo>
                      <a:pt x="584" y="477"/>
                    </a:lnTo>
                    <a:lnTo>
                      <a:pt x="582" y="477"/>
                    </a:lnTo>
                    <a:lnTo>
                      <a:pt x="582" y="476"/>
                    </a:lnTo>
                    <a:lnTo>
                      <a:pt x="584" y="477"/>
                    </a:lnTo>
                    <a:lnTo>
                      <a:pt x="584" y="476"/>
                    </a:lnTo>
                    <a:lnTo>
                      <a:pt x="582" y="476"/>
                    </a:lnTo>
                    <a:lnTo>
                      <a:pt x="582" y="474"/>
                    </a:lnTo>
                    <a:lnTo>
                      <a:pt x="582" y="472"/>
                    </a:lnTo>
                    <a:lnTo>
                      <a:pt x="582" y="470"/>
                    </a:lnTo>
                    <a:lnTo>
                      <a:pt x="582" y="468"/>
                    </a:lnTo>
                    <a:lnTo>
                      <a:pt x="582" y="466"/>
                    </a:lnTo>
                    <a:lnTo>
                      <a:pt x="584" y="468"/>
                    </a:lnTo>
                    <a:lnTo>
                      <a:pt x="586" y="468"/>
                    </a:lnTo>
                    <a:lnTo>
                      <a:pt x="588" y="468"/>
                    </a:lnTo>
                    <a:lnTo>
                      <a:pt x="586" y="468"/>
                    </a:lnTo>
                    <a:lnTo>
                      <a:pt x="584" y="466"/>
                    </a:lnTo>
                    <a:lnTo>
                      <a:pt x="584" y="464"/>
                    </a:lnTo>
                    <a:lnTo>
                      <a:pt x="582" y="462"/>
                    </a:lnTo>
                    <a:lnTo>
                      <a:pt x="584" y="462"/>
                    </a:lnTo>
                    <a:lnTo>
                      <a:pt x="584" y="460"/>
                    </a:lnTo>
                    <a:lnTo>
                      <a:pt x="586" y="460"/>
                    </a:lnTo>
                    <a:lnTo>
                      <a:pt x="588" y="462"/>
                    </a:lnTo>
                    <a:lnTo>
                      <a:pt x="588" y="464"/>
                    </a:lnTo>
                    <a:lnTo>
                      <a:pt x="588" y="466"/>
                    </a:lnTo>
                    <a:lnTo>
                      <a:pt x="590" y="466"/>
                    </a:lnTo>
                    <a:lnTo>
                      <a:pt x="590" y="464"/>
                    </a:lnTo>
                    <a:lnTo>
                      <a:pt x="588" y="464"/>
                    </a:lnTo>
                    <a:lnTo>
                      <a:pt x="588" y="462"/>
                    </a:lnTo>
                    <a:lnTo>
                      <a:pt x="590" y="462"/>
                    </a:lnTo>
                    <a:lnTo>
                      <a:pt x="588" y="462"/>
                    </a:lnTo>
                    <a:lnTo>
                      <a:pt x="588" y="460"/>
                    </a:lnTo>
                    <a:lnTo>
                      <a:pt x="590" y="460"/>
                    </a:lnTo>
                    <a:lnTo>
                      <a:pt x="588" y="460"/>
                    </a:lnTo>
                    <a:lnTo>
                      <a:pt x="588" y="458"/>
                    </a:lnTo>
                    <a:lnTo>
                      <a:pt x="588" y="457"/>
                    </a:lnTo>
                    <a:lnTo>
                      <a:pt x="588" y="455"/>
                    </a:lnTo>
                    <a:lnTo>
                      <a:pt x="588" y="457"/>
                    </a:lnTo>
                    <a:lnTo>
                      <a:pt x="586" y="457"/>
                    </a:lnTo>
                    <a:lnTo>
                      <a:pt x="584" y="457"/>
                    </a:lnTo>
                    <a:lnTo>
                      <a:pt x="582" y="457"/>
                    </a:lnTo>
                    <a:lnTo>
                      <a:pt x="582" y="455"/>
                    </a:lnTo>
                    <a:lnTo>
                      <a:pt x="582" y="453"/>
                    </a:lnTo>
                    <a:lnTo>
                      <a:pt x="584" y="451"/>
                    </a:lnTo>
                    <a:lnTo>
                      <a:pt x="586" y="451"/>
                    </a:lnTo>
                    <a:lnTo>
                      <a:pt x="588" y="451"/>
                    </a:lnTo>
                    <a:lnTo>
                      <a:pt x="590" y="449"/>
                    </a:lnTo>
                    <a:lnTo>
                      <a:pt x="590" y="447"/>
                    </a:lnTo>
                    <a:lnTo>
                      <a:pt x="592" y="445"/>
                    </a:lnTo>
                    <a:lnTo>
                      <a:pt x="590" y="445"/>
                    </a:lnTo>
                    <a:lnTo>
                      <a:pt x="592" y="443"/>
                    </a:lnTo>
                    <a:lnTo>
                      <a:pt x="590" y="443"/>
                    </a:lnTo>
                    <a:lnTo>
                      <a:pt x="592" y="443"/>
                    </a:lnTo>
                    <a:lnTo>
                      <a:pt x="590" y="445"/>
                    </a:lnTo>
                    <a:lnTo>
                      <a:pt x="590" y="449"/>
                    </a:lnTo>
                    <a:lnTo>
                      <a:pt x="588" y="449"/>
                    </a:lnTo>
                    <a:lnTo>
                      <a:pt x="586" y="451"/>
                    </a:lnTo>
                    <a:lnTo>
                      <a:pt x="586" y="449"/>
                    </a:lnTo>
                    <a:lnTo>
                      <a:pt x="584" y="449"/>
                    </a:lnTo>
                    <a:lnTo>
                      <a:pt x="584" y="447"/>
                    </a:lnTo>
                    <a:lnTo>
                      <a:pt x="584" y="445"/>
                    </a:lnTo>
                    <a:lnTo>
                      <a:pt x="582" y="445"/>
                    </a:lnTo>
                    <a:lnTo>
                      <a:pt x="580" y="445"/>
                    </a:lnTo>
                    <a:lnTo>
                      <a:pt x="578" y="445"/>
                    </a:lnTo>
                    <a:lnTo>
                      <a:pt x="578" y="447"/>
                    </a:lnTo>
                    <a:lnTo>
                      <a:pt x="578" y="449"/>
                    </a:lnTo>
                    <a:lnTo>
                      <a:pt x="578" y="451"/>
                    </a:lnTo>
                    <a:lnTo>
                      <a:pt x="578" y="449"/>
                    </a:lnTo>
                    <a:lnTo>
                      <a:pt x="578" y="451"/>
                    </a:lnTo>
                    <a:lnTo>
                      <a:pt x="576" y="451"/>
                    </a:lnTo>
                    <a:lnTo>
                      <a:pt x="576" y="449"/>
                    </a:lnTo>
                    <a:lnTo>
                      <a:pt x="576" y="451"/>
                    </a:lnTo>
                    <a:lnTo>
                      <a:pt x="578" y="451"/>
                    </a:lnTo>
                    <a:lnTo>
                      <a:pt x="576" y="451"/>
                    </a:lnTo>
                    <a:lnTo>
                      <a:pt x="576" y="453"/>
                    </a:lnTo>
                    <a:lnTo>
                      <a:pt x="576" y="451"/>
                    </a:lnTo>
                    <a:lnTo>
                      <a:pt x="573" y="451"/>
                    </a:lnTo>
                    <a:lnTo>
                      <a:pt x="574" y="453"/>
                    </a:lnTo>
                    <a:lnTo>
                      <a:pt x="573" y="453"/>
                    </a:lnTo>
                    <a:lnTo>
                      <a:pt x="573" y="451"/>
                    </a:lnTo>
                    <a:lnTo>
                      <a:pt x="573" y="453"/>
                    </a:lnTo>
                    <a:lnTo>
                      <a:pt x="571" y="451"/>
                    </a:lnTo>
                    <a:lnTo>
                      <a:pt x="567" y="451"/>
                    </a:lnTo>
                    <a:lnTo>
                      <a:pt x="569" y="451"/>
                    </a:lnTo>
                    <a:lnTo>
                      <a:pt x="569" y="449"/>
                    </a:lnTo>
                    <a:lnTo>
                      <a:pt x="569" y="451"/>
                    </a:lnTo>
                    <a:lnTo>
                      <a:pt x="569" y="449"/>
                    </a:lnTo>
                    <a:lnTo>
                      <a:pt x="569" y="447"/>
                    </a:lnTo>
                    <a:lnTo>
                      <a:pt x="571" y="449"/>
                    </a:lnTo>
                    <a:lnTo>
                      <a:pt x="571" y="447"/>
                    </a:lnTo>
                    <a:lnTo>
                      <a:pt x="573" y="449"/>
                    </a:lnTo>
                    <a:lnTo>
                      <a:pt x="571" y="447"/>
                    </a:lnTo>
                    <a:lnTo>
                      <a:pt x="573" y="447"/>
                    </a:lnTo>
                    <a:lnTo>
                      <a:pt x="573" y="445"/>
                    </a:lnTo>
                    <a:lnTo>
                      <a:pt x="574" y="445"/>
                    </a:lnTo>
                    <a:lnTo>
                      <a:pt x="573" y="445"/>
                    </a:lnTo>
                    <a:lnTo>
                      <a:pt x="573" y="447"/>
                    </a:lnTo>
                    <a:lnTo>
                      <a:pt x="571" y="447"/>
                    </a:lnTo>
                    <a:lnTo>
                      <a:pt x="569" y="447"/>
                    </a:lnTo>
                    <a:lnTo>
                      <a:pt x="571" y="447"/>
                    </a:lnTo>
                    <a:lnTo>
                      <a:pt x="569" y="447"/>
                    </a:lnTo>
                    <a:lnTo>
                      <a:pt x="569" y="445"/>
                    </a:lnTo>
                    <a:lnTo>
                      <a:pt x="569" y="447"/>
                    </a:lnTo>
                    <a:lnTo>
                      <a:pt x="567" y="447"/>
                    </a:lnTo>
                    <a:lnTo>
                      <a:pt x="567" y="445"/>
                    </a:lnTo>
                    <a:lnTo>
                      <a:pt x="567" y="443"/>
                    </a:lnTo>
                    <a:lnTo>
                      <a:pt x="567" y="441"/>
                    </a:lnTo>
                    <a:lnTo>
                      <a:pt x="565" y="439"/>
                    </a:lnTo>
                    <a:lnTo>
                      <a:pt x="565" y="437"/>
                    </a:lnTo>
                    <a:lnTo>
                      <a:pt x="565" y="436"/>
                    </a:lnTo>
                    <a:lnTo>
                      <a:pt x="565" y="434"/>
                    </a:lnTo>
                    <a:lnTo>
                      <a:pt x="567" y="434"/>
                    </a:lnTo>
                    <a:lnTo>
                      <a:pt x="567" y="432"/>
                    </a:lnTo>
                    <a:lnTo>
                      <a:pt x="565" y="432"/>
                    </a:lnTo>
                    <a:lnTo>
                      <a:pt x="567" y="432"/>
                    </a:lnTo>
                    <a:lnTo>
                      <a:pt x="567" y="430"/>
                    </a:lnTo>
                    <a:lnTo>
                      <a:pt x="567" y="428"/>
                    </a:lnTo>
                    <a:lnTo>
                      <a:pt x="567" y="426"/>
                    </a:lnTo>
                    <a:lnTo>
                      <a:pt x="569" y="426"/>
                    </a:lnTo>
                    <a:lnTo>
                      <a:pt x="569" y="424"/>
                    </a:lnTo>
                    <a:lnTo>
                      <a:pt x="567" y="424"/>
                    </a:lnTo>
                    <a:lnTo>
                      <a:pt x="567" y="422"/>
                    </a:lnTo>
                    <a:lnTo>
                      <a:pt x="569" y="420"/>
                    </a:lnTo>
                    <a:lnTo>
                      <a:pt x="567" y="420"/>
                    </a:lnTo>
                    <a:lnTo>
                      <a:pt x="569" y="418"/>
                    </a:lnTo>
                    <a:lnTo>
                      <a:pt x="569" y="416"/>
                    </a:lnTo>
                    <a:lnTo>
                      <a:pt x="569" y="415"/>
                    </a:lnTo>
                    <a:lnTo>
                      <a:pt x="569" y="413"/>
                    </a:lnTo>
                    <a:lnTo>
                      <a:pt x="571" y="413"/>
                    </a:lnTo>
                    <a:lnTo>
                      <a:pt x="573" y="413"/>
                    </a:lnTo>
                    <a:lnTo>
                      <a:pt x="573" y="411"/>
                    </a:lnTo>
                    <a:lnTo>
                      <a:pt x="573" y="413"/>
                    </a:lnTo>
                    <a:lnTo>
                      <a:pt x="574" y="413"/>
                    </a:lnTo>
                    <a:lnTo>
                      <a:pt x="574" y="411"/>
                    </a:lnTo>
                    <a:lnTo>
                      <a:pt x="573" y="411"/>
                    </a:lnTo>
                    <a:lnTo>
                      <a:pt x="573" y="409"/>
                    </a:lnTo>
                    <a:lnTo>
                      <a:pt x="573" y="407"/>
                    </a:lnTo>
                    <a:lnTo>
                      <a:pt x="574" y="407"/>
                    </a:lnTo>
                    <a:lnTo>
                      <a:pt x="574" y="405"/>
                    </a:lnTo>
                    <a:lnTo>
                      <a:pt x="576" y="405"/>
                    </a:lnTo>
                    <a:lnTo>
                      <a:pt x="576" y="403"/>
                    </a:lnTo>
                    <a:lnTo>
                      <a:pt x="574" y="403"/>
                    </a:lnTo>
                    <a:lnTo>
                      <a:pt x="576" y="403"/>
                    </a:lnTo>
                    <a:lnTo>
                      <a:pt x="576" y="401"/>
                    </a:lnTo>
                    <a:lnTo>
                      <a:pt x="576" y="399"/>
                    </a:lnTo>
                    <a:lnTo>
                      <a:pt x="573" y="390"/>
                    </a:lnTo>
                    <a:lnTo>
                      <a:pt x="573" y="388"/>
                    </a:lnTo>
                    <a:lnTo>
                      <a:pt x="573" y="390"/>
                    </a:lnTo>
                    <a:lnTo>
                      <a:pt x="573" y="386"/>
                    </a:lnTo>
                    <a:lnTo>
                      <a:pt x="571" y="380"/>
                    </a:lnTo>
                    <a:lnTo>
                      <a:pt x="573" y="380"/>
                    </a:lnTo>
                    <a:lnTo>
                      <a:pt x="571" y="378"/>
                    </a:lnTo>
                    <a:lnTo>
                      <a:pt x="573" y="378"/>
                    </a:lnTo>
                    <a:lnTo>
                      <a:pt x="573" y="376"/>
                    </a:lnTo>
                    <a:lnTo>
                      <a:pt x="573" y="374"/>
                    </a:lnTo>
                    <a:lnTo>
                      <a:pt x="573" y="373"/>
                    </a:lnTo>
                    <a:lnTo>
                      <a:pt x="571" y="371"/>
                    </a:lnTo>
                    <a:lnTo>
                      <a:pt x="569" y="367"/>
                    </a:lnTo>
                    <a:lnTo>
                      <a:pt x="569" y="365"/>
                    </a:lnTo>
                    <a:lnTo>
                      <a:pt x="571" y="363"/>
                    </a:lnTo>
                    <a:lnTo>
                      <a:pt x="569" y="361"/>
                    </a:lnTo>
                    <a:lnTo>
                      <a:pt x="569" y="359"/>
                    </a:lnTo>
                    <a:lnTo>
                      <a:pt x="569" y="361"/>
                    </a:lnTo>
                    <a:lnTo>
                      <a:pt x="569" y="359"/>
                    </a:lnTo>
                    <a:lnTo>
                      <a:pt x="569" y="357"/>
                    </a:lnTo>
                    <a:lnTo>
                      <a:pt x="571" y="355"/>
                    </a:lnTo>
                    <a:lnTo>
                      <a:pt x="571" y="357"/>
                    </a:lnTo>
                    <a:lnTo>
                      <a:pt x="573" y="357"/>
                    </a:lnTo>
                    <a:lnTo>
                      <a:pt x="574" y="357"/>
                    </a:lnTo>
                    <a:lnTo>
                      <a:pt x="576" y="357"/>
                    </a:lnTo>
                    <a:lnTo>
                      <a:pt x="576" y="355"/>
                    </a:lnTo>
                    <a:lnTo>
                      <a:pt x="576" y="353"/>
                    </a:lnTo>
                    <a:lnTo>
                      <a:pt x="576" y="352"/>
                    </a:lnTo>
                    <a:lnTo>
                      <a:pt x="576" y="350"/>
                    </a:lnTo>
                    <a:lnTo>
                      <a:pt x="578" y="350"/>
                    </a:lnTo>
                    <a:lnTo>
                      <a:pt x="576" y="350"/>
                    </a:lnTo>
                    <a:lnTo>
                      <a:pt x="576" y="348"/>
                    </a:lnTo>
                    <a:lnTo>
                      <a:pt x="578" y="348"/>
                    </a:lnTo>
                    <a:lnTo>
                      <a:pt x="576" y="348"/>
                    </a:lnTo>
                    <a:lnTo>
                      <a:pt x="578" y="348"/>
                    </a:lnTo>
                    <a:lnTo>
                      <a:pt x="578" y="346"/>
                    </a:lnTo>
                    <a:lnTo>
                      <a:pt x="578" y="348"/>
                    </a:lnTo>
                    <a:lnTo>
                      <a:pt x="580" y="348"/>
                    </a:lnTo>
                    <a:lnTo>
                      <a:pt x="580" y="346"/>
                    </a:lnTo>
                    <a:lnTo>
                      <a:pt x="580" y="344"/>
                    </a:lnTo>
                    <a:lnTo>
                      <a:pt x="580" y="342"/>
                    </a:lnTo>
                    <a:lnTo>
                      <a:pt x="582" y="342"/>
                    </a:lnTo>
                    <a:lnTo>
                      <a:pt x="582" y="340"/>
                    </a:lnTo>
                    <a:lnTo>
                      <a:pt x="582" y="338"/>
                    </a:lnTo>
                    <a:lnTo>
                      <a:pt x="582" y="336"/>
                    </a:lnTo>
                    <a:lnTo>
                      <a:pt x="582" y="334"/>
                    </a:lnTo>
                    <a:lnTo>
                      <a:pt x="584" y="334"/>
                    </a:lnTo>
                    <a:lnTo>
                      <a:pt x="582" y="332"/>
                    </a:lnTo>
                    <a:lnTo>
                      <a:pt x="584" y="332"/>
                    </a:lnTo>
                    <a:lnTo>
                      <a:pt x="586" y="331"/>
                    </a:lnTo>
                    <a:lnTo>
                      <a:pt x="586" y="329"/>
                    </a:lnTo>
                    <a:lnTo>
                      <a:pt x="586" y="327"/>
                    </a:lnTo>
                    <a:lnTo>
                      <a:pt x="586" y="325"/>
                    </a:lnTo>
                    <a:lnTo>
                      <a:pt x="588" y="323"/>
                    </a:lnTo>
                    <a:lnTo>
                      <a:pt x="588" y="321"/>
                    </a:lnTo>
                    <a:lnTo>
                      <a:pt x="590" y="319"/>
                    </a:lnTo>
                    <a:lnTo>
                      <a:pt x="590" y="317"/>
                    </a:lnTo>
                    <a:lnTo>
                      <a:pt x="592" y="315"/>
                    </a:lnTo>
                    <a:lnTo>
                      <a:pt x="593" y="311"/>
                    </a:lnTo>
                    <a:lnTo>
                      <a:pt x="593" y="310"/>
                    </a:lnTo>
                    <a:lnTo>
                      <a:pt x="593" y="308"/>
                    </a:lnTo>
                    <a:lnTo>
                      <a:pt x="595" y="306"/>
                    </a:lnTo>
                    <a:lnTo>
                      <a:pt x="595" y="304"/>
                    </a:lnTo>
                    <a:lnTo>
                      <a:pt x="595" y="302"/>
                    </a:lnTo>
                    <a:lnTo>
                      <a:pt x="595" y="298"/>
                    </a:lnTo>
                    <a:lnTo>
                      <a:pt x="595" y="296"/>
                    </a:lnTo>
                    <a:lnTo>
                      <a:pt x="597" y="294"/>
                    </a:lnTo>
                    <a:lnTo>
                      <a:pt x="597" y="292"/>
                    </a:lnTo>
                    <a:lnTo>
                      <a:pt x="599" y="291"/>
                    </a:lnTo>
                    <a:lnTo>
                      <a:pt x="599" y="289"/>
                    </a:lnTo>
                    <a:lnTo>
                      <a:pt x="601" y="289"/>
                    </a:lnTo>
                    <a:lnTo>
                      <a:pt x="601" y="287"/>
                    </a:lnTo>
                    <a:lnTo>
                      <a:pt x="601" y="285"/>
                    </a:lnTo>
                    <a:lnTo>
                      <a:pt x="599" y="283"/>
                    </a:lnTo>
                    <a:lnTo>
                      <a:pt x="601" y="283"/>
                    </a:lnTo>
                    <a:lnTo>
                      <a:pt x="601" y="281"/>
                    </a:lnTo>
                    <a:lnTo>
                      <a:pt x="601" y="279"/>
                    </a:lnTo>
                    <a:lnTo>
                      <a:pt x="599" y="279"/>
                    </a:lnTo>
                    <a:lnTo>
                      <a:pt x="601" y="279"/>
                    </a:lnTo>
                    <a:lnTo>
                      <a:pt x="599" y="277"/>
                    </a:lnTo>
                    <a:lnTo>
                      <a:pt x="601" y="277"/>
                    </a:lnTo>
                    <a:lnTo>
                      <a:pt x="601" y="275"/>
                    </a:lnTo>
                    <a:lnTo>
                      <a:pt x="603" y="275"/>
                    </a:lnTo>
                    <a:lnTo>
                      <a:pt x="603" y="273"/>
                    </a:lnTo>
                    <a:lnTo>
                      <a:pt x="603" y="271"/>
                    </a:lnTo>
                    <a:lnTo>
                      <a:pt x="603" y="270"/>
                    </a:lnTo>
                    <a:lnTo>
                      <a:pt x="605" y="268"/>
                    </a:lnTo>
                    <a:lnTo>
                      <a:pt x="603" y="266"/>
                    </a:lnTo>
                    <a:lnTo>
                      <a:pt x="605" y="266"/>
                    </a:lnTo>
                    <a:lnTo>
                      <a:pt x="605" y="264"/>
                    </a:lnTo>
                    <a:lnTo>
                      <a:pt x="603" y="264"/>
                    </a:lnTo>
                    <a:lnTo>
                      <a:pt x="603" y="262"/>
                    </a:lnTo>
                    <a:lnTo>
                      <a:pt x="603" y="260"/>
                    </a:lnTo>
                    <a:lnTo>
                      <a:pt x="603" y="258"/>
                    </a:lnTo>
                    <a:lnTo>
                      <a:pt x="603" y="256"/>
                    </a:lnTo>
                    <a:lnTo>
                      <a:pt x="603" y="254"/>
                    </a:lnTo>
                    <a:lnTo>
                      <a:pt x="603" y="252"/>
                    </a:lnTo>
                    <a:lnTo>
                      <a:pt x="603" y="249"/>
                    </a:lnTo>
                    <a:lnTo>
                      <a:pt x="603" y="247"/>
                    </a:lnTo>
                    <a:lnTo>
                      <a:pt x="601" y="245"/>
                    </a:lnTo>
                    <a:lnTo>
                      <a:pt x="601" y="243"/>
                    </a:lnTo>
                    <a:lnTo>
                      <a:pt x="601" y="241"/>
                    </a:lnTo>
                    <a:lnTo>
                      <a:pt x="601" y="237"/>
                    </a:lnTo>
                    <a:lnTo>
                      <a:pt x="599" y="233"/>
                    </a:lnTo>
                    <a:lnTo>
                      <a:pt x="601" y="233"/>
                    </a:lnTo>
                    <a:lnTo>
                      <a:pt x="599" y="233"/>
                    </a:lnTo>
                    <a:lnTo>
                      <a:pt x="601" y="231"/>
                    </a:lnTo>
                    <a:lnTo>
                      <a:pt x="599" y="229"/>
                    </a:lnTo>
                    <a:lnTo>
                      <a:pt x="601" y="229"/>
                    </a:lnTo>
                    <a:lnTo>
                      <a:pt x="601" y="228"/>
                    </a:lnTo>
                    <a:lnTo>
                      <a:pt x="601" y="226"/>
                    </a:lnTo>
                    <a:lnTo>
                      <a:pt x="601" y="224"/>
                    </a:lnTo>
                    <a:lnTo>
                      <a:pt x="601" y="226"/>
                    </a:lnTo>
                    <a:lnTo>
                      <a:pt x="603" y="224"/>
                    </a:lnTo>
                    <a:lnTo>
                      <a:pt x="605" y="224"/>
                    </a:lnTo>
                    <a:lnTo>
                      <a:pt x="605" y="222"/>
                    </a:lnTo>
                    <a:lnTo>
                      <a:pt x="605" y="224"/>
                    </a:lnTo>
                    <a:lnTo>
                      <a:pt x="605" y="222"/>
                    </a:lnTo>
                    <a:lnTo>
                      <a:pt x="605" y="220"/>
                    </a:lnTo>
                    <a:lnTo>
                      <a:pt x="605" y="218"/>
                    </a:lnTo>
                    <a:lnTo>
                      <a:pt x="605" y="220"/>
                    </a:lnTo>
                    <a:lnTo>
                      <a:pt x="605" y="218"/>
                    </a:lnTo>
                    <a:lnTo>
                      <a:pt x="607" y="218"/>
                    </a:lnTo>
                    <a:lnTo>
                      <a:pt x="607" y="216"/>
                    </a:lnTo>
                    <a:lnTo>
                      <a:pt x="607" y="214"/>
                    </a:lnTo>
                    <a:lnTo>
                      <a:pt x="607" y="212"/>
                    </a:lnTo>
                    <a:lnTo>
                      <a:pt x="607" y="210"/>
                    </a:lnTo>
                    <a:lnTo>
                      <a:pt x="607" y="208"/>
                    </a:lnTo>
                    <a:lnTo>
                      <a:pt x="607" y="207"/>
                    </a:lnTo>
                    <a:lnTo>
                      <a:pt x="605" y="207"/>
                    </a:lnTo>
                    <a:lnTo>
                      <a:pt x="603" y="205"/>
                    </a:lnTo>
                    <a:lnTo>
                      <a:pt x="603" y="203"/>
                    </a:lnTo>
                    <a:lnTo>
                      <a:pt x="605" y="203"/>
                    </a:lnTo>
                    <a:lnTo>
                      <a:pt x="603" y="203"/>
                    </a:lnTo>
                    <a:lnTo>
                      <a:pt x="603" y="201"/>
                    </a:lnTo>
                    <a:lnTo>
                      <a:pt x="603" y="199"/>
                    </a:lnTo>
                    <a:lnTo>
                      <a:pt x="605" y="197"/>
                    </a:lnTo>
                    <a:lnTo>
                      <a:pt x="607" y="195"/>
                    </a:lnTo>
                    <a:lnTo>
                      <a:pt x="607" y="193"/>
                    </a:lnTo>
                    <a:lnTo>
                      <a:pt x="607" y="191"/>
                    </a:lnTo>
                    <a:lnTo>
                      <a:pt x="609" y="191"/>
                    </a:lnTo>
                    <a:lnTo>
                      <a:pt x="609" y="189"/>
                    </a:lnTo>
                    <a:lnTo>
                      <a:pt x="609" y="187"/>
                    </a:lnTo>
                    <a:lnTo>
                      <a:pt x="609" y="186"/>
                    </a:lnTo>
                    <a:lnTo>
                      <a:pt x="609" y="184"/>
                    </a:lnTo>
                    <a:lnTo>
                      <a:pt x="609" y="182"/>
                    </a:lnTo>
                    <a:lnTo>
                      <a:pt x="609" y="180"/>
                    </a:lnTo>
                    <a:lnTo>
                      <a:pt x="611" y="180"/>
                    </a:lnTo>
                    <a:lnTo>
                      <a:pt x="611" y="178"/>
                    </a:lnTo>
                    <a:lnTo>
                      <a:pt x="611" y="176"/>
                    </a:lnTo>
                    <a:lnTo>
                      <a:pt x="611" y="178"/>
                    </a:lnTo>
                    <a:lnTo>
                      <a:pt x="613" y="176"/>
                    </a:lnTo>
                    <a:lnTo>
                      <a:pt x="613" y="174"/>
                    </a:lnTo>
                    <a:lnTo>
                      <a:pt x="613" y="172"/>
                    </a:lnTo>
                    <a:lnTo>
                      <a:pt x="613" y="170"/>
                    </a:lnTo>
                    <a:lnTo>
                      <a:pt x="613" y="168"/>
                    </a:lnTo>
                    <a:lnTo>
                      <a:pt x="613" y="166"/>
                    </a:lnTo>
                    <a:lnTo>
                      <a:pt x="613" y="168"/>
                    </a:lnTo>
                    <a:lnTo>
                      <a:pt x="614" y="166"/>
                    </a:lnTo>
                    <a:lnTo>
                      <a:pt x="613" y="166"/>
                    </a:lnTo>
                    <a:lnTo>
                      <a:pt x="614" y="166"/>
                    </a:lnTo>
                    <a:lnTo>
                      <a:pt x="614" y="165"/>
                    </a:lnTo>
                    <a:lnTo>
                      <a:pt x="614" y="163"/>
                    </a:lnTo>
                    <a:lnTo>
                      <a:pt x="614" y="161"/>
                    </a:lnTo>
                    <a:lnTo>
                      <a:pt x="616" y="161"/>
                    </a:lnTo>
                    <a:lnTo>
                      <a:pt x="614" y="159"/>
                    </a:lnTo>
                    <a:lnTo>
                      <a:pt x="616" y="159"/>
                    </a:lnTo>
                    <a:lnTo>
                      <a:pt x="616" y="157"/>
                    </a:lnTo>
                    <a:lnTo>
                      <a:pt x="616" y="155"/>
                    </a:lnTo>
                    <a:lnTo>
                      <a:pt x="616" y="153"/>
                    </a:lnTo>
                    <a:lnTo>
                      <a:pt x="616" y="151"/>
                    </a:lnTo>
                    <a:lnTo>
                      <a:pt x="616" y="149"/>
                    </a:lnTo>
                    <a:lnTo>
                      <a:pt x="616" y="147"/>
                    </a:lnTo>
                    <a:lnTo>
                      <a:pt x="616" y="145"/>
                    </a:lnTo>
                    <a:lnTo>
                      <a:pt x="616" y="144"/>
                    </a:lnTo>
                    <a:lnTo>
                      <a:pt x="616" y="142"/>
                    </a:lnTo>
                    <a:lnTo>
                      <a:pt x="616" y="140"/>
                    </a:lnTo>
                    <a:lnTo>
                      <a:pt x="616" y="138"/>
                    </a:lnTo>
                    <a:lnTo>
                      <a:pt x="618" y="138"/>
                    </a:lnTo>
                    <a:lnTo>
                      <a:pt x="618" y="136"/>
                    </a:lnTo>
                    <a:lnTo>
                      <a:pt x="620" y="136"/>
                    </a:lnTo>
                    <a:lnTo>
                      <a:pt x="620" y="134"/>
                    </a:lnTo>
                    <a:lnTo>
                      <a:pt x="620" y="132"/>
                    </a:lnTo>
                    <a:lnTo>
                      <a:pt x="618" y="132"/>
                    </a:lnTo>
                    <a:lnTo>
                      <a:pt x="620" y="130"/>
                    </a:lnTo>
                    <a:lnTo>
                      <a:pt x="620" y="128"/>
                    </a:lnTo>
                    <a:lnTo>
                      <a:pt x="618" y="128"/>
                    </a:lnTo>
                    <a:lnTo>
                      <a:pt x="618" y="126"/>
                    </a:lnTo>
                    <a:lnTo>
                      <a:pt x="618" y="125"/>
                    </a:lnTo>
                    <a:lnTo>
                      <a:pt x="618" y="123"/>
                    </a:lnTo>
                    <a:lnTo>
                      <a:pt x="618" y="119"/>
                    </a:lnTo>
                    <a:lnTo>
                      <a:pt x="618" y="117"/>
                    </a:lnTo>
                    <a:lnTo>
                      <a:pt x="618" y="115"/>
                    </a:lnTo>
                    <a:lnTo>
                      <a:pt x="620" y="115"/>
                    </a:lnTo>
                    <a:lnTo>
                      <a:pt x="618" y="115"/>
                    </a:lnTo>
                    <a:lnTo>
                      <a:pt x="620" y="115"/>
                    </a:lnTo>
                    <a:lnTo>
                      <a:pt x="620" y="113"/>
                    </a:lnTo>
                    <a:lnTo>
                      <a:pt x="618" y="113"/>
                    </a:lnTo>
                    <a:lnTo>
                      <a:pt x="618" y="111"/>
                    </a:lnTo>
                    <a:lnTo>
                      <a:pt x="620" y="111"/>
                    </a:lnTo>
                    <a:lnTo>
                      <a:pt x="618" y="109"/>
                    </a:lnTo>
                    <a:lnTo>
                      <a:pt x="620" y="109"/>
                    </a:lnTo>
                    <a:lnTo>
                      <a:pt x="620" y="107"/>
                    </a:lnTo>
                    <a:lnTo>
                      <a:pt x="620" y="105"/>
                    </a:lnTo>
                    <a:lnTo>
                      <a:pt x="620" y="104"/>
                    </a:lnTo>
                    <a:lnTo>
                      <a:pt x="618" y="104"/>
                    </a:lnTo>
                    <a:lnTo>
                      <a:pt x="616" y="104"/>
                    </a:lnTo>
                    <a:lnTo>
                      <a:pt x="618" y="104"/>
                    </a:lnTo>
                    <a:lnTo>
                      <a:pt x="618" y="102"/>
                    </a:lnTo>
                    <a:lnTo>
                      <a:pt x="618" y="100"/>
                    </a:lnTo>
                    <a:lnTo>
                      <a:pt x="618" y="98"/>
                    </a:lnTo>
                    <a:lnTo>
                      <a:pt x="618" y="96"/>
                    </a:lnTo>
                    <a:lnTo>
                      <a:pt x="620" y="96"/>
                    </a:lnTo>
                    <a:lnTo>
                      <a:pt x="622" y="96"/>
                    </a:lnTo>
                    <a:lnTo>
                      <a:pt x="622" y="94"/>
                    </a:lnTo>
                    <a:lnTo>
                      <a:pt x="622" y="90"/>
                    </a:lnTo>
                    <a:lnTo>
                      <a:pt x="622" y="88"/>
                    </a:lnTo>
                    <a:lnTo>
                      <a:pt x="624" y="88"/>
                    </a:lnTo>
                    <a:lnTo>
                      <a:pt x="622" y="88"/>
                    </a:lnTo>
                    <a:lnTo>
                      <a:pt x="624" y="86"/>
                    </a:lnTo>
                    <a:lnTo>
                      <a:pt x="622" y="84"/>
                    </a:lnTo>
                    <a:lnTo>
                      <a:pt x="624" y="84"/>
                    </a:lnTo>
                    <a:lnTo>
                      <a:pt x="624" y="83"/>
                    </a:lnTo>
                    <a:lnTo>
                      <a:pt x="624" y="79"/>
                    </a:lnTo>
                    <a:lnTo>
                      <a:pt x="624" y="77"/>
                    </a:lnTo>
                    <a:lnTo>
                      <a:pt x="624" y="75"/>
                    </a:lnTo>
                    <a:lnTo>
                      <a:pt x="626" y="75"/>
                    </a:lnTo>
                    <a:lnTo>
                      <a:pt x="624" y="73"/>
                    </a:lnTo>
                    <a:lnTo>
                      <a:pt x="624" y="71"/>
                    </a:lnTo>
                    <a:lnTo>
                      <a:pt x="626" y="71"/>
                    </a:lnTo>
                    <a:lnTo>
                      <a:pt x="626" y="69"/>
                    </a:lnTo>
                    <a:lnTo>
                      <a:pt x="626" y="67"/>
                    </a:lnTo>
                    <a:lnTo>
                      <a:pt x="626" y="65"/>
                    </a:lnTo>
                    <a:lnTo>
                      <a:pt x="626" y="63"/>
                    </a:lnTo>
                    <a:lnTo>
                      <a:pt x="626" y="62"/>
                    </a:lnTo>
                    <a:lnTo>
                      <a:pt x="624" y="62"/>
                    </a:lnTo>
                    <a:lnTo>
                      <a:pt x="626" y="60"/>
                    </a:lnTo>
                    <a:lnTo>
                      <a:pt x="626" y="58"/>
                    </a:lnTo>
                    <a:lnTo>
                      <a:pt x="624" y="58"/>
                    </a:lnTo>
                    <a:lnTo>
                      <a:pt x="624" y="56"/>
                    </a:lnTo>
                    <a:lnTo>
                      <a:pt x="624" y="54"/>
                    </a:lnTo>
                    <a:lnTo>
                      <a:pt x="624" y="52"/>
                    </a:lnTo>
                    <a:lnTo>
                      <a:pt x="624" y="50"/>
                    </a:lnTo>
                    <a:lnTo>
                      <a:pt x="626" y="48"/>
                    </a:lnTo>
                    <a:lnTo>
                      <a:pt x="624" y="46"/>
                    </a:lnTo>
                    <a:lnTo>
                      <a:pt x="626" y="46"/>
                    </a:lnTo>
                    <a:lnTo>
                      <a:pt x="624" y="46"/>
                    </a:lnTo>
                    <a:lnTo>
                      <a:pt x="626" y="44"/>
                    </a:lnTo>
                    <a:lnTo>
                      <a:pt x="626" y="42"/>
                    </a:lnTo>
                    <a:lnTo>
                      <a:pt x="624" y="42"/>
                    </a:lnTo>
                    <a:lnTo>
                      <a:pt x="626" y="41"/>
                    </a:lnTo>
                    <a:lnTo>
                      <a:pt x="624" y="41"/>
                    </a:lnTo>
                    <a:lnTo>
                      <a:pt x="624" y="39"/>
                    </a:lnTo>
                    <a:lnTo>
                      <a:pt x="624" y="37"/>
                    </a:lnTo>
                    <a:lnTo>
                      <a:pt x="624" y="35"/>
                    </a:lnTo>
                    <a:lnTo>
                      <a:pt x="624" y="33"/>
                    </a:lnTo>
                    <a:lnTo>
                      <a:pt x="622" y="31"/>
                    </a:lnTo>
                    <a:lnTo>
                      <a:pt x="622" y="29"/>
                    </a:lnTo>
                    <a:lnTo>
                      <a:pt x="622" y="27"/>
                    </a:lnTo>
                    <a:lnTo>
                      <a:pt x="622" y="25"/>
                    </a:lnTo>
                    <a:lnTo>
                      <a:pt x="622" y="23"/>
                    </a:lnTo>
                    <a:lnTo>
                      <a:pt x="622" y="21"/>
                    </a:lnTo>
                    <a:lnTo>
                      <a:pt x="622" y="20"/>
                    </a:lnTo>
                    <a:lnTo>
                      <a:pt x="622" y="18"/>
                    </a:lnTo>
                    <a:lnTo>
                      <a:pt x="622" y="16"/>
                    </a:lnTo>
                    <a:lnTo>
                      <a:pt x="624" y="16"/>
                    </a:lnTo>
                    <a:lnTo>
                      <a:pt x="628" y="14"/>
                    </a:lnTo>
                    <a:lnTo>
                      <a:pt x="632" y="12"/>
                    </a:lnTo>
                    <a:lnTo>
                      <a:pt x="632" y="10"/>
                    </a:lnTo>
                    <a:lnTo>
                      <a:pt x="632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6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5" y="0"/>
                    </a:lnTo>
                    <a:lnTo>
                      <a:pt x="635" y="2"/>
                    </a:lnTo>
                    <a:lnTo>
                      <a:pt x="637" y="4"/>
                    </a:lnTo>
                    <a:lnTo>
                      <a:pt x="637" y="6"/>
                    </a:lnTo>
                    <a:lnTo>
                      <a:pt x="639" y="8"/>
                    </a:lnTo>
                    <a:lnTo>
                      <a:pt x="637" y="8"/>
                    </a:lnTo>
                    <a:lnTo>
                      <a:pt x="639" y="8"/>
                    </a:lnTo>
                    <a:lnTo>
                      <a:pt x="639" y="10"/>
                    </a:lnTo>
                    <a:lnTo>
                      <a:pt x="641" y="10"/>
                    </a:lnTo>
                    <a:lnTo>
                      <a:pt x="643" y="10"/>
                    </a:lnTo>
                    <a:lnTo>
                      <a:pt x="641" y="12"/>
                    </a:lnTo>
                    <a:lnTo>
                      <a:pt x="641" y="14"/>
                    </a:lnTo>
                    <a:lnTo>
                      <a:pt x="643" y="14"/>
                    </a:lnTo>
                    <a:lnTo>
                      <a:pt x="641" y="14"/>
                    </a:lnTo>
                    <a:lnTo>
                      <a:pt x="643" y="16"/>
                    </a:lnTo>
                    <a:lnTo>
                      <a:pt x="643" y="18"/>
                    </a:lnTo>
                    <a:lnTo>
                      <a:pt x="643" y="20"/>
                    </a:lnTo>
                    <a:lnTo>
                      <a:pt x="643" y="21"/>
                    </a:lnTo>
                    <a:lnTo>
                      <a:pt x="645" y="23"/>
                    </a:lnTo>
                    <a:lnTo>
                      <a:pt x="645" y="25"/>
                    </a:lnTo>
                    <a:lnTo>
                      <a:pt x="643" y="25"/>
                    </a:lnTo>
                    <a:lnTo>
                      <a:pt x="645" y="27"/>
                    </a:lnTo>
                    <a:lnTo>
                      <a:pt x="647" y="27"/>
                    </a:lnTo>
                    <a:lnTo>
                      <a:pt x="647" y="29"/>
                    </a:lnTo>
                    <a:lnTo>
                      <a:pt x="649" y="29"/>
                    </a:lnTo>
                    <a:lnTo>
                      <a:pt x="649" y="31"/>
                    </a:lnTo>
                    <a:lnTo>
                      <a:pt x="651" y="31"/>
                    </a:lnTo>
                    <a:lnTo>
                      <a:pt x="651" y="33"/>
                    </a:lnTo>
                    <a:lnTo>
                      <a:pt x="653" y="33"/>
                    </a:lnTo>
                    <a:lnTo>
                      <a:pt x="653" y="35"/>
                    </a:lnTo>
                    <a:lnTo>
                      <a:pt x="649" y="37"/>
                    </a:lnTo>
                    <a:lnTo>
                      <a:pt x="649" y="39"/>
                    </a:lnTo>
                    <a:lnTo>
                      <a:pt x="649" y="41"/>
                    </a:lnTo>
                    <a:lnTo>
                      <a:pt x="651" y="41"/>
                    </a:lnTo>
                    <a:lnTo>
                      <a:pt x="651" y="42"/>
                    </a:lnTo>
                    <a:lnTo>
                      <a:pt x="651" y="44"/>
                    </a:lnTo>
                    <a:lnTo>
                      <a:pt x="649" y="44"/>
                    </a:lnTo>
                    <a:lnTo>
                      <a:pt x="647" y="44"/>
                    </a:lnTo>
                    <a:lnTo>
                      <a:pt x="647" y="46"/>
                    </a:lnTo>
                    <a:lnTo>
                      <a:pt x="649" y="46"/>
                    </a:lnTo>
                    <a:lnTo>
                      <a:pt x="647" y="46"/>
                    </a:lnTo>
                    <a:lnTo>
                      <a:pt x="649" y="46"/>
                    </a:lnTo>
                    <a:lnTo>
                      <a:pt x="647" y="46"/>
                    </a:lnTo>
                    <a:lnTo>
                      <a:pt x="649" y="46"/>
                    </a:lnTo>
                    <a:lnTo>
                      <a:pt x="647" y="46"/>
                    </a:lnTo>
                    <a:lnTo>
                      <a:pt x="647" y="48"/>
                    </a:lnTo>
                    <a:lnTo>
                      <a:pt x="649" y="48"/>
                    </a:lnTo>
                    <a:lnTo>
                      <a:pt x="649" y="50"/>
                    </a:lnTo>
                    <a:lnTo>
                      <a:pt x="647" y="50"/>
                    </a:lnTo>
                    <a:lnTo>
                      <a:pt x="649" y="52"/>
                    </a:lnTo>
                    <a:lnTo>
                      <a:pt x="651" y="52"/>
                    </a:lnTo>
                    <a:lnTo>
                      <a:pt x="651" y="54"/>
                    </a:lnTo>
                    <a:lnTo>
                      <a:pt x="653" y="54"/>
                    </a:lnTo>
                    <a:lnTo>
                      <a:pt x="651" y="54"/>
                    </a:lnTo>
                    <a:lnTo>
                      <a:pt x="651" y="56"/>
                    </a:lnTo>
                    <a:lnTo>
                      <a:pt x="651" y="58"/>
                    </a:lnTo>
                    <a:lnTo>
                      <a:pt x="651" y="60"/>
                    </a:lnTo>
                    <a:lnTo>
                      <a:pt x="653" y="60"/>
                    </a:lnTo>
                    <a:lnTo>
                      <a:pt x="655" y="62"/>
                    </a:lnTo>
                    <a:lnTo>
                      <a:pt x="656" y="65"/>
                    </a:lnTo>
                    <a:lnTo>
                      <a:pt x="656" y="71"/>
                    </a:lnTo>
                    <a:lnTo>
                      <a:pt x="658" y="73"/>
                    </a:lnTo>
                    <a:lnTo>
                      <a:pt x="658" y="77"/>
                    </a:lnTo>
                    <a:lnTo>
                      <a:pt x="658" y="79"/>
                    </a:lnTo>
                    <a:lnTo>
                      <a:pt x="660" y="79"/>
                    </a:lnTo>
                    <a:lnTo>
                      <a:pt x="660" y="81"/>
                    </a:lnTo>
                    <a:lnTo>
                      <a:pt x="660" y="83"/>
                    </a:lnTo>
                    <a:lnTo>
                      <a:pt x="660" y="84"/>
                    </a:lnTo>
                    <a:lnTo>
                      <a:pt x="660" y="86"/>
                    </a:lnTo>
                    <a:lnTo>
                      <a:pt x="662" y="86"/>
                    </a:lnTo>
                    <a:lnTo>
                      <a:pt x="662" y="88"/>
                    </a:lnTo>
                    <a:lnTo>
                      <a:pt x="660" y="88"/>
                    </a:lnTo>
                    <a:lnTo>
                      <a:pt x="660" y="90"/>
                    </a:lnTo>
                    <a:lnTo>
                      <a:pt x="660" y="92"/>
                    </a:lnTo>
                    <a:lnTo>
                      <a:pt x="662" y="92"/>
                    </a:lnTo>
                    <a:lnTo>
                      <a:pt x="666" y="92"/>
                    </a:lnTo>
                    <a:lnTo>
                      <a:pt x="672" y="92"/>
                    </a:lnTo>
                    <a:close/>
                    <a:moveTo>
                      <a:pt x="649" y="708"/>
                    </a:moveTo>
                    <a:lnTo>
                      <a:pt x="649" y="716"/>
                    </a:lnTo>
                    <a:lnTo>
                      <a:pt x="649" y="747"/>
                    </a:lnTo>
                    <a:lnTo>
                      <a:pt x="649" y="768"/>
                    </a:lnTo>
                    <a:lnTo>
                      <a:pt x="647" y="768"/>
                    </a:lnTo>
                    <a:lnTo>
                      <a:pt x="647" y="766"/>
                    </a:lnTo>
                    <a:lnTo>
                      <a:pt x="647" y="768"/>
                    </a:lnTo>
                    <a:lnTo>
                      <a:pt x="649" y="768"/>
                    </a:lnTo>
                    <a:lnTo>
                      <a:pt x="647" y="769"/>
                    </a:lnTo>
                    <a:lnTo>
                      <a:pt x="645" y="769"/>
                    </a:lnTo>
                    <a:lnTo>
                      <a:pt x="641" y="769"/>
                    </a:lnTo>
                    <a:lnTo>
                      <a:pt x="639" y="769"/>
                    </a:lnTo>
                    <a:lnTo>
                      <a:pt x="637" y="768"/>
                    </a:lnTo>
                    <a:lnTo>
                      <a:pt x="635" y="768"/>
                    </a:lnTo>
                    <a:lnTo>
                      <a:pt x="632" y="766"/>
                    </a:lnTo>
                    <a:lnTo>
                      <a:pt x="634" y="766"/>
                    </a:lnTo>
                    <a:lnTo>
                      <a:pt x="634" y="764"/>
                    </a:lnTo>
                    <a:lnTo>
                      <a:pt x="634" y="766"/>
                    </a:lnTo>
                    <a:lnTo>
                      <a:pt x="632" y="764"/>
                    </a:lnTo>
                    <a:lnTo>
                      <a:pt x="632" y="762"/>
                    </a:lnTo>
                    <a:lnTo>
                      <a:pt x="632" y="764"/>
                    </a:lnTo>
                    <a:lnTo>
                      <a:pt x="632" y="766"/>
                    </a:lnTo>
                    <a:lnTo>
                      <a:pt x="632" y="764"/>
                    </a:lnTo>
                    <a:lnTo>
                      <a:pt x="630" y="764"/>
                    </a:lnTo>
                    <a:lnTo>
                      <a:pt x="632" y="764"/>
                    </a:lnTo>
                    <a:lnTo>
                      <a:pt x="632" y="766"/>
                    </a:lnTo>
                    <a:lnTo>
                      <a:pt x="630" y="766"/>
                    </a:lnTo>
                    <a:lnTo>
                      <a:pt x="628" y="766"/>
                    </a:lnTo>
                    <a:lnTo>
                      <a:pt x="628" y="764"/>
                    </a:lnTo>
                    <a:lnTo>
                      <a:pt x="628" y="766"/>
                    </a:lnTo>
                    <a:lnTo>
                      <a:pt x="628" y="768"/>
                    </a:lnTo>
                    <a:lnTo>
                      <a:pt x="626" y="768"/>
                    </a:lnTo>
                    <a:lnTo>
                      <a:pt x="626" y="766"/>
                    </a:lnTo>
                    <a:lnTo>
                      <a:pt x="624" y="768"/>
                    </a:lnTo>
                    <a:lnTo>
                      <a:pt x="624" y="766"/>
                    </a:lnTo>
                    <a:lnTo>
                      <a:pt x="624" y="768"/>
                    </a:lnTo>
                    <a:lnTo>
                      <a:pt x="622" y="768"/>
                    </a:lnTo>
                    <a:lnTo>
                      <a:pt x="622" y="766"/>
                    </a:lnTo>
                    <a:lnTo>
                      <a:pt x="624" y="764"/>
                    </a:lnTo>
                    <a:lnTo>
                      <a:pt x="624" y="762"/>
                    </a:lnTo>
                    <a:lnTo>
                      <a:pt x="622" y="764"/>
                    </a:lnTo>
                    <a:lnTo>
                      <a:pt x="622" y="768"/>
                    </a:lnTo>
                    <a:lnTo>
                      <a:pt x="620" y="766"/>
                    </a:lnTo>
                    <a:lnTo>
                      <a:pt x="618" y="766"/>
                    </a:lnTo>
                    <a:lnTo>
                      <a:pt x="618" y="764"/>
                    </a:lnTo>
                    <a:lnTo>
                      <a:pt x="618" y="766"/>
                    </a:lnTo>
                    <a:lnTo>
                      <a:pt x="616" y="766"/>
                    </a:lnTo>
                    <a:lnTo>
                      <a:pt x="616" y="768"/>
                    </a:lnTo>
                    <a:lnTo>
                      <a:pt x="614" y="766"/>
                    </a:lnTo>
                    <a:lnTo>
                      <a:pt x="614" y="768"/>
                    </a:lnTo>
                    <a:lnTo>
                      <a:pt x="614" y="766"/>
                    </a:lnTo>
                    <a:lnTo>
                      <a:pt x="616" y="764"/>
                    </a:lnTo>
                    <a:lnTo>
                      <a:pt x="618" y="764"/>
                    </a:lnTo>
                    <a:lnTo>
                      <a:pt x="620" y="762"/>
                    </a:lnTo>
                    <a:lnTo>
                      <a:pt x="620" y="760"/>
                    </a:lnTo>
                    <a:lnTo>
                      <a:pt x="618" y="760"/>
                    </a:lnTo>
                    <a:lnTo>
                      <a:pt x="618" y="762"/>
                    </a:lnTo>
                    <a:lnTo>
                      <a:pt x="616" y="762"/>
                    </a:lnTo>
                    <a:lnTo>
                      <a:pt x="618" y="762"/>
                    </a:lnTo>
                    <a:lnTo>
                      <a:pt x="618" y="764"/>
                    </a:lnTo>
                    <a:lnTo>
                      <a:pt x="616" y="764"/>
                    </a:lnTo>
                    <a:lnTo>
                      <a:pt x="614" y="764"/>
                    </a:lnTo>
                    <a:lnTo>
                      <a:pt x="613" y="764"/>
                    </a:lnTo>
                    <a:lnTo>
                      <a:pt x="614" y="764"/>
                    </a:lnTo>
                    <a:lnTo>
                      <a:pt x="614" y="762"/>
                    </a:lnTo>
                    <a:lnTo>
                      <a:pt x="613" y="762"/>
                    </a:lnTo>
                    <a:lnTo>
                      <a:pt x="611" y="764"/>
                    </a:lnTo>
                    <a:lnTo>
                      <a:pt x="611" y="766"/>
                    </a:lnTo>
                    <a:lnTo>
                      <a:pt x="611" y="764"/>
                    </a:lnTo>
                    <a:lnTo>
                      <a:pt x="613" y="764"/>
                    </a:lnTo>
                    <a:lnTo>
                      <a:pt x="613" y="762"/>
                    </a:lnTo>
                    <a:lnTo>
                      <a:pt x="611" y="764"/>
                    </a:lnTo>
                    <a:lnTo>
                      <a:pt x="613" y="762"/>
                    </a:lnTo>
                    <a:lnTo>
                      <a:pt x="611" y="762"/>
                    </a:lnTo>
                    <a:lnTo>
                      <a:pt x="613" y="762"/>
                    </a:lnTo>
                    <a:lnTo>
                      <a:pt x="611" y="764"/>
                    </a:lnTo>
                    <a:lnTo>
                      <a:pt x="611" y="762"/>
                    </a:lnTo>
                    <a:lnTo>
                      <a:pt x="613" y="760"/>
                    </a:lnTo>
                    <a:lnTo>
                      <a:pt x="611" y="760"/>
                    </a:lnTo>
                    <a:lnTo>
                      <a:pt x="611" y="762"/>
                    </a:lnTo>
                    <a:lnTo>
                      <a:pt x="611" y="760"/>
                    </a:lnTo>
                    <a:lnTo>
                      <a:pt x="609" y="762"/>
                    </a:lnTo>
                    <a:lnTo>
                      <a:pt x="607" y="762"/>
                    </a:lnTo>
                    <a:lnTo>
                      <a:pt x="609" y="760"/>
                    </a:lnTo>
                    <a:lnTo>
                      <a:pt x="607" y="760"/>
                    </a:lnTo>
                    <a:lnTo>
                      <a:pt x="609" y="760"/>
                    </a:lnTo>
                    <a:lnTo>
                      <a:pt x="607" y="760"/>
                    </a:lnTo>
                    <a:lnTo>
                      <a:pt x="607" y="758"/>
                    </a:lnTo>
                    <a:lnTo>
                      <a:pt x="609" y="758"/>
                    </a:lnTo>
                    <a:lnTo>
                      <a:pt x="607" y="758"/>
                    </a:lnTo>
                    <a:lnTo>
                      <a:pt x="607" y="760"/>
                    </a:lnTo>
                    <a:lnTo>
                      <a:pt x="607" y="758"/>
                    </a:lnTo>
                    <a:lnTo>
                      <a:pt x="605" y="758"/>
                    </a:lnTo>
                    <a:lnTo>
                      <a:pt x="605" y="760"/>
                    </a:lnTo>
                    <a:lnTo>
                      <a:pt x="607" y="760"/>
                    </a:lnTo>
                    <a:lnTo>
                      <a:pt x="605" y="760"/>
                    </a:lnTo>
                    <a:lnTo>
                      <a:pt x="605" y="762"/>
                    </a:lnTo>
                    <a:lnTo>
                      <a:pt x="605" y="760"/>
                    </a:lnTo>
                    <a:lnTo>
                      <a:pt x="603" y="760"/>
                    </a:lnTo>
                    <a:lnTo>
                      <a:pt x="605" y="762"/>
                    </a:lnTo>
                    <a:lnTo>
                      <a:pt x="603" y="762"/>
                    </a:lnTo>
                    <a:lnTo>
                      <a:pt x="605" y="762"/>
                    </a:lnTo>
                    <a:lnTo>
                      <a:pt x="603" y="762"/>
                    </a:lnTo>
                    <a:lnTo>
                      <a:pt x="603" y="760"/>
                    </a:lnTo>
                    <a:lnTo>
                      <a:pt x="603" y="762"/>
                    </a:lnTo>
                    <a:lnTo>
                      <a:pt x="601" y="762"/>
                    </a:lnTo>
                    <a:lnTo>
                      <a:pt x="603" y="760"/>
                    </a:lnTo>
                    <a:lnTo>
                      <a:pt x="601" y="760"/>
                    </a:lnTo>
                    <a:lnTo>
                      <a:pt x="603" y="760"/>
                    </a:lnTo>
                    <a:lnTo>
                      <a:pt x="601" y="760"/>
                    </a:lnTo>
                    <a:lnTo>
                      <a:pt x="601" y="762"/>
                    </a:lnTo>
                    <a:lnTo>
                      <a:pt x="601" y="760"/>
                    </a:lnTo>
                    <a:lnTo>
                      <a:pt x="599" y="760"/>
                    </a:lnTo>
                    <a:lnTo>
                      <a:pt x="597" y="760"/>
                    </a:lnTo>
                    <a:lnTo>
                      <a:pt x="599" y="760"/>
                    </a:lnTo>
                    <a:lnTo>
                      <a:pt x="597" y="760"/>
                    </a:lnTo>
                    <a:lnTo>
                      <a:pt x="599" y="760"/>
                    </a:lnTo>
                    <a:lnTo>
                      <a:pt x="599" y="762"/>
                    </a:lnTo>
                    <a:lnTo>
                      <a:pt x="597" y="760"/>
                    </a:lnTo>
                    <a:lnTo>
                      <a:pt x="597" y="762"/>
                    </a:lnTo>
                    <a:lnTo>
                      <a:pt x="597" y="760"/>
                    </a:lnTo>
                    <a:lnTo>
                      <a:pt x="595" y="760"/>
                    </a:lnTo>
                    <a:lnTo>
                      <a:pt x="597" y="760"/>
                    </a:lnTo>
                    <a:lnTo>
                      <a:pt x="597" y="758"/>
                    </a:lnTo>
                    <a:lnTo>
                      <a:pt x="595" y="758"/>
                    </a:lnTo>
                    <a:lnTo>
                      <a:pt x="595" y="756"/>
                    </a:lnTo>
                    <a:lnTo>
                      <a:pt x="595" y="758"/>
                    </a:lnTo>
                    <a:lnTo>
                      <a:pt x="595" y="756"/>
                    </a:lnTo>
                    <a:lnTo>
                      <a:pt x="597" y="758"/>
                    </a:lnTo>
                    <a:lnTo>
                      <a:pt x="595" y="756"/>
                    </a:lnTo>
                    <a:lnTo>
                      <a:pt x="597" y="756"/>
                    </a:lnTo>
                    <a:lnTo>
                      <a:pt x="597" y="758"/>
                    </a:lnTo>
                    <a:lnTo>
                      <a:pt x="597" y="756"/>
                    </a:lnTo>
                    <a:lnTo>
                      <a:pt x="597" y="758"/>
                    </a:lnTo>
                    <a:lnTo>
                      <a:pt x="599" y="758"/>
                    </a:lnTo>
                    <a:lnTo>
                      <a:pt x="601" y="758"/>
                    </a:lnTo>
                    <a:lnTo>
                      <a:pt x="599" y="758"/>
                    </a:lnTo>
                    <a:lnTo>
                      <a:pt x="601" y="758"/>
                    </a:lnTo>
                    <a:lnTo>
                      <a:pt x="599" y="756"/>
                    </a:lnTo>
                    <a:lnTo>
                      <a:pt x="601" y="758"/>
                    </a:lnTo>
                    <a:lnTo>
                      <a:pt x="603" y="758"/>
                    </a:lnTo>
                    <a:lnTo>
                      <a:pt x="601" y="758"/>
                    </a:lnTo>
                    <a:lnTo>
                      <a:pt x="601" y="756"/>
                    </a:lnTo>
                    <a:lnTo>
                      <a:pt x="599" y="756"/>
                    </a:lnTo>
                    <a:lnTo>
                      <a:pt x="601" y="756"/>
                    </a:lnTo>
                    <a:lnTo>
                      <a:pt x="599" y="756"/>
                    </a:lnTo>
                    <a:lnTo>
                      <a:pt x="597" y="756"/>
                    </a:lnTo>
                    <a:lnTo>
                      <a:pt x="599" y="756"/>
                    </a:lnTo>
                    <a:lnTo>
                      <a:pt x="597" y="754"/>
                    </a:lnTo>
                    <a:lnTo>
                      <a:pt x="599" y="754"/>
                    </a:lnTo>
                    <a:lnTo>
                      <a:pt x="601" y="756"/>
                    </a:lnTo>
                    <a:lnTo>
                      <a:pt x="603" y="758"/>
                    </a:lnTo>
                    <a:lnTo>
                      <a:pt x="603" y="756"/>
                    </a:lnTo>
                    <a:lnTo>
                      <a:pt x="601" y="756"/>
                    </a:lnTo>
                    <a:lnTo>
                      <a:pt x="603" y="756"/>
                    </a:lnTo>
                    <a:lnTo>
                      <a:pt x="601" y="756"/>
                    </a:lnTo>
                    <a:lnTo>
                      <a:pt x="603" y="756"/>
                    </a:lnTo>
                    <a:lnTo>
                      <a:pt x="601" y="754"/>
                    </a:lnTo>
                    <a:lnTo>
                      <a:pt x="603" y="756"/>
                    </a:lnTo>
                    <a:lnTo>
                      <a:pt x="603" y="754"/>
                    </a:lnTo>
                    <a:lnTo>
                      <a:pt x="603" y="756"/>
                    </a:lnTo>
                    <a:lnTo>
                      <a:pt x="605" y="754"/>
                    </a:lnTo>
                    <a:lnTo>
                      <a:pt x="605" y="756"/>
                    </a:lnTo>
                    <a:lnTo>
                      <a:pt x="607" y="754"/>
                    </a:lnTo>
                    <a:lnTo>
                      <a:pt x="605" y="754"/>
                    </a:lnTo>
                    <a:lnTo>
                      <a:pt x="609" y="754"/>
                    </a:lnTo>
                    <a:lnTo>
                      <a:pt x="609" y="756"/>
                    </a:lnTo>
                    <a:lnTo>
                      <a:pt x="609" y="754"/>
                    </a:lnTo>
                    <a:lnTo>
                      <a:pt x="609" y="756"/>
                    </a:lnTo>
                    <a:lnTo>
                      <a:pt x="611" y="756"/>
                    </a:lnTo>
                    <a:lnTo>
                      <a:pt x="613" y="756"/>
                    </a:lnTo>
                    <a:lnTo>
                      <a:pt x="613" y="758"/>
                    </a:lnTo>
                    <a:lnTo>
                      <a:pt x="613" y="756"/>
                    </a:lnTo>
                    <a:lnTo>
                      <a:pt x="613" y="754"/>
                    </a:lnTo>
                    <a:lnTo>
                      <a:pt x="613" y="752"/>
                    </a:lnTo>
                    <a:lnTo>
                      <a:pt x="614" y="752"/>
                    </a:lnTo>
                    <a:lnTo>
                      <a:pt x="616" y="752"/>
                    </a:lnTo>
                    <a:lnTo>
                      <a:pt x="616" y="754"/>
                    </a:lnTo>
                    <a:lnTo>
                      <a:pt x="616" y="752"/>
                    </a:lnTo>
                    <a:lnTo>
                      <a:pt x="616" y="754"/>
                    </a:lnTo>
                    <a:lnTo>
                      <a:pt x="616" y="752"/>
                    </a:lnTo>
                    <a:lnTo>
                      <a:pt x="618" y="752"/>
                    </a:lnTo>
                    <a:lnTo>
                      <a:pt x="616" y="756"/>
                    </a:lnTo>
                    <a:lnTo>
                      <a:pt x="614" y="760"/>
                    </a:lnTo>
                    <a:lnTo>
                      <a:pt x="616" y="758"/>
                    </a:lnTo>
                    <a:lnTo>
                      <a:pt x="616" y="760"/>
                    </a:lnTo>
                    <a:lnTo>
                      <a:pt x="618" y="760"/>
                    </a:lnTo>
                    <a:lnTo>
                      <a:pt x="616" y="758"/>
                    </a:lnTo>
                    <a:lnTo>
                      <a:pt x="616" y="756"/>
                    </a:lnTo>
                    <a:lnTo>
                      <a:pt x="618" y="754"/>
                    </a:lnTo>
                    <a:lnTo>
                      <a:pt x="620" y="756"/>
                    </a:lnTo>
                    <a:lnTo>
                      <a:pt x="622" y="758"/>
                    </a:lnTo>
                    <a:lnTo>
                      <a:pt x="624" y="760"/>
                    </a:lnTo>
                    <a:lnTo>
                      <a:pt x="622" y="758"/>
                    </a:lnTo>
                    <a:lnTo>
                      <a:pt x="624" y="758"/>
                    </a:lnTo>
                    <a:lnTo>
                      <a:pt x="626" y="758"/>
                    </a:lnTo>
                    <a:lnTo>
                      <a:pt x="624" y="758"/>
                    </a:lnTo>
                    <a:lnTo>
                      <a:pt x="620" y="756"/>
                    </a:lnTo>
                    <a:lnTo>
                      <a:pt x="620" y="754"/>
                    </a:lnTo>
                    <a:lnTo>
                      <a:pt x="618" y="754"/>
                    </a:lnTo>
                    <a:lnTo>
                      <a:pt x="618" y="752"/>
                    </a:lnTo>
                    <a:lnTo>
                      <a:pt x="620" y="752"/>
                    </a:lnTo>
                    <a:lnTo>
                      <a:pt x="618" y="752"/>
                    </a:lnTo>
                    <a:lnTo>
                      <a:pt x="618" y="750"/>
                    </a:lnTo>
                    <a:lnTo>
                      <a:pt x="614" y="750"/>
                    </a:lnTo>
                    <a:lnTo>
                      <a:pt x="613" y="750"/>
                    </a:lnTo>
                    <a:lnTo>
                      <a:pt x="613" y="748"/>
                    </a:lnTo>
                    <a:lnTo>
                      <a:pt x="614" y="748"/>
                    </a:lnTo>
                    <a:lnTo>
                      <a:pt x="613" y="747"/>
                    </a:lnTo>
                    <a:lnTo>
                      <a:pt x="614" y="747"/>
                    </a:lnTo>
                    <a:lnTo>
                      <a:pt x="618" y="750"/>
                    </a:lnTo>
                    <a:lnTo>
                      <a:pt x="622" y="752"/>
                    </a:lnTo>
                    <a:lnTo>
                      <a:pt x="624" y="754"/>
                    </a:lnTo>
                    <a:lnTo>
                      <a:pt x="626" y="756"/>
                    </a:lnTo>
                    <a:lnTo>
                      <a:pt x="624" y="754"/>
                    </a:lnTo>
                    <a:lnTo>
                      <a:pt x="626" y="754"/>
                    </a:lnTo>
                    <a:lnTo>
                      <a:pt x="624" y="754"/>
                    </a:lnTo>
                    <a:lnTo>
                      <a:pt x="626" y="754"/>
                    </a:lnTo>
                    <a:lnTo>
                      <a:pt x="624" y="754"/>
                    </a:lnTo>
                    <a:lnTo>
                      <a:pt x="624" y="752"/>
                    </a:lnTo>
                    <a:lnTo>
                      <a:pt x="626" y="752"/>
                    </a:lnTo>
                    <a:lnTo>
                      <a:pt x="626" y="750"/>
                    </a:lnTo>
                    <a:lnTo>
                      <a:pt x="628" y="750"/>
                    </a:lnTo>
                    <a:lnTo>
                      <a:pt x="628" y="752"/>
                    </a:lnTo>
                    <a:lnTo>
                      <a:pt x="628" y="754"/>
                    </a:lnTo>
                    <a:lnTo>
                      <a:pt x="630" y="754"/>
                    </a:lnTo>
                    <a:lnTo>
                      <a:pt x="630" y="756"/>
                    </a:lnTo>
                    <a:lnTo>
                      <a:pt x="630" y="754"/>
                    </a:lnTo>
                    <a:lnTo>
                      <a:pt x="630" y="756"/>
                    </a:lnTo>
                    <a:lnTo>
                      <a:pt x="628" y="758"/>
                    </a:lnTo>
                    <a:lnTo>
                      <a:pt x="630" y="758"/>
                    </a:lnTo>
                    <a:lnTo>
                      <a:pt x="630" y="756"/>
                    </a:lnTo>
                    <a:lnTo>
                      <a:pt x="632" y="758"/>
                    </a:lnTo>
                    <a:lnTo>
                      <a:pt x="630" y="760"/>
                    </a:lnTo>
                    <a:lnTo>
                      <a:pt x="632" y="758"/>
                    </a:lnTo>
                    <a:lnTo>
                      <a:pt x="632" y="760"/>
                    </a:lnTo>
                    <a:lnTo>
                      <a:pt x="632" y="758"/>
                    </a:lnTo>
                    <a:lnTo>
                      <a:pt x="632" y="756"/>
                    </a:lnTo>
                    <a:lnTo>
                      <a:pt x="630" y="754"/>
                    </a:lnTo>
                    <a:lnTo>
                      <a:pt x="630" y="752"/>
                    </a:lnTo>
                    <a:lnTo>
                      <a:pt x="630" y="750"/>
                    </a:lnTo>
                    <a:lnTo>
                      <a:pt x="632" y="752"/>
                    </a:lnTo>
                    <a:lnTo>
                      <a:pt x="634" y="754"/>
                    </a:lnTo>
                    <a:lnTo>
                      <a:pt x="634" y="756"/>
                    </a:lnTo>
                    <a:lnTo>
                      <a:pt x="634" y="754"/>
                    </a:lnTo>
                    <a:lnTo>
                      <a:pt x="634" y="756"/>
                    </a:lnTo>
                    <a:lnTo>
                      <a:pt x="635" y="756"/>
                    </a:lnTo>
                    <a:lnTo>
                      <a:pt x="634" y="754"/>
                    </a:lnTo>
                    <a:lnTo>
                      <a:pt x="634" y="752"/>
                    </a:lnTo>
                    <a:lnTo>
                      <a:pt x="635" y="752"/>
                    </a:lnTo>
                    <a:lnTo>
                      <a:pt x="637" y="754"/>
                    </a:lnTo>
                    <a:lnTo>
                      <a:pt x="639" y="756"/>
                    </a:lnTo>
                    <a:lnTo>
                      <a:pt x="637" y="758"/>
                    </a:lnTo>
                    <a:lnTo>
                      <a:pt x="637" y="760"/>
                    </a:lnTo>
                    <a:lnTo>
                      <a:pt x="637" y="762"/>
                    </a:lnTo>
                    <a:lnTo>
                      <a:pt x="635" y="762"/>
                    </a:lnTo>
                    <a:lnTo>
                      <a:pt x="637" y="762"/>
                    </a:lnTo>
                    <a:lnTo>
                      <a:pt x="637" y="764"/>
                    </a:lnTo>
                    <a:lnTo>
                      <a:pt x="637" y="760"/>
                    </a:lnTo>
                    <a:lnTo>
                      <a:pt x="639" y="758"/>
                    </a:lnTo>
                    <a:lnTo>
                      <a:pt x="641" y="758"/>
                    </a:lnTo>
                    <a:lnTo>
                      <a:pt x="641" y="760"/>
                    </a:lnTo>
                    <a:lnTo>
                      <a:pt x="641" y="758"/>
                    </a:lnTo>
                    <a:lnTo>
                      <a:pt x="641" y="756"/>
                    </a:lnTo>
                    <a:lnTo>
                      <a:pt x="643" y="756"/>
                    </a:lnTo>
                    <a:lnTo>
                      <a:pt x="641" y="754"/>
                    </a:lnTo>
                    <a:lnTo>
                      <a:pt x="635" y="750"/>
                    </a:lnTo>
                    <a:lnTo>
                      <a:pt x="628" y="748"/>
                    </a:lnTo>
                    <a:lnTo>
                      <a:pt x="630" y="748"/>
                    </a:lnTo>
                    <a:lnTo>
                      <a:pt x="628" y="747"/>
                    </a:lnTo>
                    <a:lnTo>
                      <a:pt x="626" y="745"/>
                    </a:lnTo>
                    <a:lnTo>
                      <a:pt x="626" y="741"/>
                    </a:lnTo>
                    <a:lnTo>
                      <a:pt x="624" y="739"/>
                    </a:lnTo>
                    <a:lnTo>
                      <a:pt x="626" y="737"/>
                    </a:lnTo>
                    <a:lnTo>
                      <a:pt x="628" y="735"/>
                    </a:lnTo>
                    <a:lnTo>
                      <a:pt x="632" y="735"/>
                    </a:lnTo>
                    <a:lnTo>
                      <a:pt x="632" y="733"/>
                    </a:lnTo>
                    <a:lnTo>
                      <a:pt x="634" y="733"/>
                    </a:lnTo>
                    <a:lnTo>
                      <a:pt x="637" y="731"/>
                    </a:lnTo>
                    <a:lnTo>
                      <a:pt x="637" y="729"/>
                    </a:lnTo>
                    <a:lnTo>
                      <a:pt x="637" y="727"/>
                    </a:lnTo>
                    <a:lnTo>
                      <a:pt x="637" y="726"/>
                    </a:lnTo>
                    <a:lnTo>
                      <a:pt x="635" y="726"/>
                    </a:lnTo>
                    <a:lnTo>
                      <a:pt x="634" y="726"/>
                    </a:lnTo>
                    <a:lnTo>
                      <a:pt x="630" y="727"/>
                    </a:lnTo>
                    <a:lnTo>
                      <a:pt x="626" y="729"/>
                    </a:lnTo>
                    <a:lnTo>
                      <a:pt x="624" y="729"/>
                    </a:lnTo>
                    <a:lnTo>
                      <a:pt x="622" y="729"/>
                    </a:lnTo>
                    <a:lnTo>
                      <a:pt x="622" y="727"/>
                    </a:lnTo>
                    <a:lnTo>
                      <a:pt x="620" y="727"/>
                    </a:lnTo>
                    <a:lnTo>
                      <a:pt x="620" y="726"/>
                    </a:lnTo>
                    <a:lnTo>
                      <a:pt x="622" y="726"/>
                    </a:lnTo>
                    <a:lnTo>
                      <a:pt x="620" y="724"/>
                    </a:lnTo>
                    <a:lnTo>
                      <a:pt x="620" y="726"/>
                    </a:lnTo>
                    <a:lnTo>
                      <a:pt x="620" y="724"/>
                    </a:lnTo>
                    <a:lnTo>
                      <a:pt x="620" y="718"/>
                    </a:lnTo>
                    <a:lnTo>
                      <a:pt x="622" y="716"/>
                    </a:lnTo>
                    <a:lnTo>
                      <a:pt x="622" y="718"/>
                    </a:lnTo>
                    <a:lnTo>
                      <a:pt x="624" y="718"/>
                    </a:lnTo>
                    <a:lnTo>
                      <a:pt x="626" y="718"/>
                    </a:lnTo>
                    <a:lnTo>
                      <a:pt x="626" y="714"/>
                    </a:lnTo>
                    <a:lnTo>
                      <a:pt x="624" y="714"/>
                    </a:lnTo>
                    <a:lnTo>
                      <a:pt x="622" y="714"/>
                    </a:lnTo>
                    <a:lnTo>
                      <a:pt x="624" y="712"/>
                    </a:lnTo>
                    <a:lnTo>
                      <a:pt x="622" y="712"/>
                    </a:lnTo>
                    <a:lnTo>
                      <a:pt x="622" y="710"/>
                    </a:lnTo>
                    <a:lnTo>
                      <a:pt x="620" y="710"/>
                    </a:lnTo>
                    <a:lnTo>
                      <a:pt x="622" y="710"/>
                    </a:lnTo>
                    <a:lnTo>
                      <a:pt x="626" y="710"/>
                    </a:lnTo>
                    <a:lnTo>
                      <a:pt x="628" y="712"/>
                    </a:lnTo>
                    <a:lnTo>
                      <a:pt x="630" y="710"/>
                    </a:lnTo>
                    <a:lnTo>
                      <a:pt x="632" y="710"/>
                    </a:lnTo>
                    <a:lnTo>
                      <a:pt x="634" y="706"/>
                    </a:lnTo>
                    <a:lnTo>
                      <a:pt x="634" y="705"/>
                    </a:lnTo>
                    <a:lnTo>
                      <a:pt x="635" y="703"/>
                    </a:lnTo>
                    <a:lnTo>
                      <a:pt x="637" y="703"/>
                    </a:lnTo>
                    <a:lnTo>
                      <a:pt x="639" y="706"/>
                    </a:lnTo>
                    <a:lnTo>
                      <a:pt x="641" y="708"/>
                    </a:lnTo>
                    <a:lnTo>
                      <a:pt x="643" y="708"/>
                    </a:lnTo>
                    <a:lnTo>
                      <a:pt x="645" y="708"/>
                    </a:lnTo>
                    <a:lnTo>
                      <a:pt x="647" y="706"/>
                    </a:lnTo>
                    <a:lnTo>
                      <a:pt x="647" y="705"/>
                    </a:lnTo>
                    <a:lnTo>
                      <a:pt x="647" y="706"/>
                    </a:lnTo>
                    <a:lnTo>
                      <a:pt x="647" y="705"/>
                    </a:lnTo>
                    <a:lnTo>
                      <a:pt x="649" y="708"/>
                    </a:lnTo>
                    <a:close/>
                    <a:moveTo>
                      <a:pt x="565" y="451"/>
                    </a:moveTo>
                    <a:lnTo>
                      <a:pt x="565" y="453"/>
                    </a:lnTo>
                    <a:lnTo>
                      <a:pt x="567" y="453"/>
                    </a:lnTo>
                    <a:lnTo>
                      <a:pt x="565" y="453"/>
                    </a:lnTo>
                    <a:lnTo>
                      <a:pt x="563" y="453"/>
                    </a:lnTo>
                    <a:lnTo>
                      <a:pt x="567" y="455"/>
                    </a:lnTo>
                    <a:lnTo>
                      <a:pt x="567" y="453"/>
                    </a:lnTo>
                    <a:lnTo>
                      <a:pt x="567" y="455"/>
                    </a:lnTo>
                    <a:lnTo>
                      <a:pt x="569" y="455"/>
                    </a:lnTo>
                    <a:lnTo>
                      <a:pt x="567" y="455"/>
                    </a:lnTo>
                    <a:lnTo>
                      <a:pt x="567" y="453"/>
                    </a:lnTo>
                    <a:lnTo>
                      <a:pt x="569" y="453"/>
                    </a:lnTo>
                    <a:lnTo>
                      <a:pt x="571" y="453"/>
                    </a:lnTo>
                    <a:lnTo>
                      <a:pt x="573" y="453"/>
                    </a:lnTo>
                    <a:lnTo>
                      <a:pt x="571" y="453"/>
                    </a:lnTo>
                    <a:lnTo>
                      <a:pt x="573" y="455"/>
                    </a:lnTo>
                    <a:lnTo>
                      <a:pt x="571" y="455"/>
                    </a:lnTo>
                    <a:lnTo>
                      <a:pt x="573" y="457"/>
                    </a:lnTo>
                    <a:lnTo>
                      <a:pt x="573" y="458"/>
                    </a:lnTo>
                    <a:lnTo>
                      <a:pt x="573" y="460"/>
                    </a:lnTo>
                    <a:lnTo>
                      <a:pt x="574" y="460"/>
                    </a:lnTo>
                    <a:lnTo>
                      <a:pt x="574" y="462"/>
                    </a:lnTo>
                    <a:lnTo>
                      <a:pt x="573" y="462"/>
                    </a:lnTo>
                    <a:lnTo>
                      <a:pt x="574" y="462"/>
                    </a:lnTo>
                    <a:lnTo>
                      <a:pt x="574" y="464"/>
                    </a:lnTo>
                    <a:lnTo>
                      <a:pt x="573" y="462"/>
                    </a:lnTo>
                    <a:lnTo>
                      <a:pt x="573" y="464"/>
                    </a:lnTo>
                    <a:lnTo>
                      <a:pt x="573" y="462"/>
                    </a:lnTo>
                    <a:lnTo>
                      <a:pt x="573" y="464"/>
                    </a:lnTo>
                    <a:lnTo>
                      <a:pt x="571" y="464"/>
                    </a:lnTo>
                    <a:lnTo>
                      <a:pt x="569" y="464"/>
                    </a:lnTo>
                    <a:lnTo>
                      <a:pt x="569" y="466"/>
                    </a:lnTo>
                    <a:lnTo>
                      <a:pt x="571" y="468"/>
                    </a:lnTo>
                    <a:lnTo>
                      <a:pt x="569" y="468"/>
                    </a:lnTo>
                    <a:lnTo>
                      <a:pt x="567" y="468"/>
                    </a:lnTo>
                    <a:lnTo>
                      <a:pt x="569" y="466"/>
                    </a:lnTo>
                    <a:lnTo>
                      <a:pt x="567" y="466"/>
                    </a:lnTo>
                    <a:lnTo>
                      <a:pt x="567" y="468"/>
                    </a:lnTo>
                    <a:lnTo>
                      <a:pt x="567" y="470"/>
                    </a:lnTo>
                    <a:lnTo>
                      <a:pt x="569" y="470"/>
                    </a:lnTo>
                    <a:lnTo>
                      <a:pt x="569" y="472"/>
                    </a:lnTo>
                    <a:lnTo>
                      <a:pt x="571" y="472"/>
                    </a:lnTo>
                    <a:lnTo>
                      <a:pt x="573" y="474"/>
                    </a:lnTo>
                    <a:lnTo>
                      <a:pt x="573" y="476"/>
                    </a:lnTo>
                    <a:lnTo>
                      <a:pt x="571" y="476"/>
                    </a:lnTo>
                    <a:lnTo>
                      <a:pt x="571" y="474"/>
                    </a:lnTo>
                    <a:lnTo>
                      <a:pt x="569" y="474"/>
                    </a:lnTo>
                    <a:lnTo>
                      <a:pt x="571" y="474"/>
                    </a:lnTo>
                    <a:lnTo>
                      <a:pt x="571" y="476"/>
                    </a:lnTo>
                    <a:lnTo>
                      <a:pt x="569" y="476"/>
                    </a:lnTo>
                    <a:lnTo>
                      <a:pt x="569" y="474"/>
                    </a:lnTo>
                    <a:lnTo>
                      <a:pt x="567" y="474"/>
                    </a:lnTo>
                    <a:lnTo>
                      <a:pt x="569" y="476"/>
                    </a:lnTo>
                    <a:lnTo>
                      <a:pt x="571" y="476"/>
                    </a:lnTo>
                    <a:lnTo>
                      <a:pt x="569" y="476"/>
                    </a:lnTo>
                    <a:lnTo>
                      <a:pt x="571" y="477"/>
                    </a:lnTo>
                    <a:lnTo>
                      <a:pt x="571" y="479"/>
                    </a:lnTo>
                    <a:lnTo>
                      <a:pt x="573" y="479"/>
                    </a:lnTo>
                    <a:lnTo>
                      <a:pt x="573" y="481"/>
                    </a:lnTo>
                    <a:lnTo>
                      <a:pt x="571" y="481"/>
                    </a:lnTo>
                    <a:lnTo>
                      <a:pt x="571" y="479"/>
                    </a:lnTo>
                    <a:lnTo>
                      <a:pt x="571" y="481"/>
                    </a:lnTo>
                    <a:lnTo>
                      <a:pt x="571" y="479"/>
                    </a:lnTo>
                    <a:lnTo>
                      <a:pt x="569" y="481"/>
                    </a:lnTo>
                    <a:lnTo>
                      <a:pt x="569" y="479"/>
                    </a:lnTo>
                    <a:lnTo>
                      <a:pt x="567" y="481"/>
                    </a:lnTo>
                    <a:lnTo>
                      <a:pt x="569" y="481"/>
                    </a:lnTo>
                    <a:lnTo>
                      <a:pt x="567" y="481"/>
                    </a:lnTo>
                    <a:lnTo>
                      <a:pt x="569" y="483"/>
                    </a:lnTo>
                    <a:lnTo>
                      <a:pt x="569" y="485"/>
                    </a:lnTo>
                    <a:lnTo>
                      <a:pt x="567" y="485"/>
                    </a:lnTo>
                    <a:lnTo>
                      <a:pt x="567" y="483"/>
                    </a:lnTo>
                    <a:lnTo>
                      <a:pt x="565" y="483"/>
                    </a:lnTo>
                    <a:lnTo>
                      <a:pt x="567" y="485"/>
                    </a:lnTo>
                    <a:lnTo>
                      <a:pt x="567" y="487"/>
                    </a:lnTo>
                    <a:lnTo>
                      <a:pt x="565" y="485"/>
                    </a:lnTo>
                    <a:lnTo>
                      <a:pt x="567" y="487"/>
                    </a:lnTo>
                    <a:lnTo>
                      <a:pt x="565" y="487"/>
                    </a:lnTo>
                    <a:lnTo>
                      <a:pt x="565" y="485"/>
                    </a:lnTo>
                    <a:lnTo>
                      <a:pt x="563" y="487"/>
                    </a:lnTo>
                    <a:lnTo>
                      <a:pt x="563" y="485"/>
                    </a:lnTo>
                    <a:lnTo>
                      <a:pt x="563" y="487"/>
                    </a:lnTo>
                    <a:lnTo>
                      <a:pt x="561" y="487"/>
                    </a:lnTo>
                    <a:lnTo>
                      <a:pt x="561" y="485"/>
                    </a:lnTo>
                    <a:lnTo>
                      <a:pt x="559" y="485"/>
                    </a:lnTo>
                    <a:lnTo>
                      <a:pt x="559" y="483"/>
                    </a:lnTo>
                    <a:lnTo>
                      <a:pt x="557" y="483"/>
                    </a:lnTo>
                    <a:lnTo>
                      <a:pt x="557" y="481"/>
                    </a:lnTo>
                    <a:lnTo>
                      <a:pt x="559" y="481"/>
                    </a:lnTo>
                    <a:lnTo>
                      <a:pt x="559" y="479"/>
                    </a:lnTo>
                    <a:lnTo>
                      <a:pt x="559" y="477"/>
                    </a:lnTo>
                    <a:lnTo>
                      <a:pt x="561" y="477"/>
                    </a:lnTo>
                    <a:lnTo>
                      <a:pt x="559" y="476"/>
                    </a:lnTo>
                    <a:lnTo>
                      <a:pt x="561" y="476"/>
                    </a:lnTo>
                    <a:lnTo>
                      <a:pt x="561" y="474"/>
                    </a:lnTo>
                    <a:lnTo>
                      <a:pt x="561" y="472"/>
                    </a:lnTo>
                    <a:lnTo>
                      <a:pt x="561" y="470"/>
                    </a:lnTo>
                    <a:lnTo>
                      <a:pt x="561" y="468"/>
                    </a:lnTo>
                    <a:lnTo>
                      <a:pt x="561" y="466"/>
                    </a:lnTo>
                    <a:lnTo>
                      <a:pt x="561" y="462"/>
                    </a:lnTo>
                    <a:lnTo>
                      <a:pt x="561" y="460"/>
                    </a:lnTo>
                    <a:lnTo>
                      <a:pt x="563" y="458"/>
                    </a:lnTo>
                    <a:lnTo>
                      <a:pt x="563" y="455"/>
                    </a:lnTo>
                    <a:lnTo>
                      <a:pt x="563" y="453"/>
                    </a:lnTo>
                    <a:lnTo>
                      <a:pt x="563" y="451"/>
                    </a:lnTo>
                    <a:lnTo>
                      <a:pt x="565" y="453"/>
                    </a:lnTo>
                    <a:lnTo>
                      <a:pt x="565" y="451"/>
                    </a:lnTo>
                    <a:close/>
                    <a:moveTo>
                      <a:pt x="553" y="607"/>
                    </a:moveTo>
                    <a:lnTo>
                      <a:pt x="553" y="609"/>
                    </a:lnTo>
                    <a:lnTo>
                      <a:pt x="555" y="609"/>
                    </a:lnTo>
                    <a:lnTo>
                      <a:pt x="555" y="611"/>
                    </a:lnTo>
                    <a:lnTo>
                      <a:pt x="553" y="613"/>
                    </a:lnTo>
                    <a:lnTo>
                      <a:pt x="555" y="611"/>
                    </a:lnTo>
                    <a:lnTo>
                      <a:pt x="555" y="609"/>
                    </a:lnTo>
                    <a:lnTo>
                      <a:pt x="555" y="607"/>
                    </a:lnTo>
                    <a:lnTo>
                      <a:pt x="557" y="609"/>
                    </a:lnTo>
                    <a:lnTo>
                      <a:pt x="555" y="613"/>
                    </a:lnTo>
                    <a:lnTo>
                      <a:pt x="555" y="615"/>
                    </a:lnTo>
                    <a:lnTo>
                      <a:pt x="555" y="613"/>
                    </a:lnTo>
                    <a:lnTo>
                      <a:pt x="557" y="613"/>
                    </a:lnTo>
                    <a:lnTo>
                      <a:pt x="557" y="615"/>
                    </a:lnTo>
                    <a:lnTo>
                      <a:pt x="555" y="615"/>
                    </a:lnTo>
                    <a:lnTo>
                      <a:pt x="557" y="617"/>
                    </a:lnTo>
                    <a:lnTo>
                      <a:pt x="557" y="619"/>
                    </a:lnTo>
                    <a:lnTo>
                      <a:pt x="557" y="621"/>
                    </a:lnTo>
                    <a:lnTo>
                      <a:pt x="557" y="623"/>
                    </a:lnTo>
                    <a:lnTo>
                      <a:pt x="557" y="624"/>
                    </a:lnTo>
                    <a:lnTo>
                      <a:pt x="557" y="626"/>
                    </a:lnTo>
                    <a:lnTo>
                      <a:pt x="555" y="628"/>
                    </a:lnTo>
                    <a:lnTo>
                      <a:pt x="557" y="630"/>
                    </a:lnTo>
                    <a:lnTo>
                      <a:pt x="555" y="630"/>
                    </a:lnTo>
                    <a:lnTo>
                      <a:pt x="555" y="632"/>
                    </a:lnTo>
                    <a:lnTo>
                      <a:pt x="555" y="630"/>
                    </a:lnTo>
                    <a:lnTo>
                      <a:pt x="555" y="632"/>
                    </a:lnTo>
                    <a:lnTo>
                      <a:pt x="555" y="630"/>
                    </a:lnTo>
                    <a:lnTo>
                      <a:pt x="557" y="630"/>
                    </a:lnTo>
                    <a:lnTo>
                      <a:pt x="557" y="632"/>
                    </a:lnTo>
                    <a:lnTo>
                      <a:pt x="557" y="634"/>
                    </a:lnTo>
                    <a:lnTo>
                      <a:pt x="555" y="634"/>
                    </a:lnTo>
                    <a:lnTo>
                      <a:pt x="557" y="634"/>
                    </a:lnTo>
                    <a:lnTo>
                      <a:pt x="557" y="638"/>
                    </a:lnTo>
                    <a:lnTo>
                      <a:pt x="557" y="636"/>
                    </a:lnTo>
                    <a:lnTo>
                      <a:pt x="555" y="636"/>
                    </a:lnTo>
                    <a:lnTo>
                      <a:pt x="557" y="636"/>
                    </a:lnTo>
                    <a:lnTo>
                      <a:pt x="557" y="638"/>
                    </a:lnTo>
                    <a:lnTo>
                      <a:pt x="555" y="640"/>
                    </a:lnTo>
                    <a:lnTo>
                      <a:pt x="553" y="638"/>
                    </a:lnTo>
                    <a:lnTo>
                      <a:pt x="553" y="636"/>
                    </a:lnTo>
                    <a:lnTo>
                      <a:pt x="553" y="638"/>
                    </a:lnTo>
                    <a:lnTo>
                      <a:pt x="555" y="640"/>
                    </a:lnTo>
                    <a:lnTo>
                      <a:pt x="553" y="642"/>
                    </a:lnTo>
                    <a:lnTo>
                      <a:pt x="553" y="640"/>
                    </a:lnTo>
                    <a:lnTo>
                      <a:pt x="553" y="642"/>
                    </a:lnTo>
                    <a:lnTo>
                      <a:pt x="552" y="640"/>
                    </a:lnTo>
                    <a:lnTo>
                      <a:pt x="552" y="642"/>
                    </a:lnTo>
                    <a:lnTo>
                      <a:pt x="550" y="642"/>
                    </a:lnTo>
                    <a:lnTo>
                      <a:pt x="552" y="640"/>
                    </a:lnTo>
                    <a:lnTo>
                      <a:pt x="550" y="642"/>
                    </a:lnTo>
                    <a:lnTo>
                      <a:pt x="550" y="640"/>
                    </a:lnTo>
                    <a:lnTo>
                      <a:pt x="550" y="638"/>
                    </a:lnTo>
                    <a:lnTo>
                      <a:pt x="552" y="638"/>
                    </a:lnTo>
                    <a:lnTo>
                      <a:pt x="553" y="638"/>
                    </a:lnTo>
                    <a:lnTo>
                      <a:pt x="552" y="638"/>
                    </a:lnTo>
                    <a:lnTo>
                      <a:pt x="550" y="638"/>
                    </a:lnTo>
                    <a:lnTo>
                      <a:pt x="550" y="640"/>
                    </a:lnTo>
                    <a:lnTo>
                      <a:pt x="550" y="638"/>
                    </a:lnTo>
                    <a:lnTo>
                      <a:pt x="550" y="636"/>
                    </a:lnTo>
                    <a:lnTo>
                      <a:pt x="552" y="638"/>
                    </a:lnTo>
                    <a:lnTo>
                      <a:pt x="553" y="636"/>
                    </a:lnTo>
                    <a:lnTo>
                      <a:pt x="552" y="636"/>
                    </a:lnTo>
                    <a:lnTo>
                      <a:pt x="550" y="636"/>
                    </a:lnTo>
                    <a:lnTo>
                      <a:pt x="552" y="634"/>
                    </a:lnTo>
                    <a:lnTo>
                      <a:pt x="552" y="632"/>
                    </a:lnTo>
                    <a:lnTo>
                      <a:pt x="552" y="634"/>
                    </a:lnTo>
                    <a:lnTo>
                      <a:pt x="550" y="636"/>
                    </a:lnTo>
                    <a:lnTo>
                      <a:pt x="550" y="634"/>
                    </a:lnTo>
                    <a:lnTo>
                      <a:pt x="550" y="632"/>
                    </a:lnTo>
                    <a:lnTo>
                      <a:pt x="550" y="630"/>
                    </a:lnTo>
                    <a:lnTo>
                      <a:pt x="552" y="630"/>
                    </a:lnTo>
                    <a:lnTo>
                      <a:pt x="553" y="630"/>
                    </a:lnTo>
                    <a:lnTo>
                      <a:pt x="552" y="630"/>
                    </a:lnTo>
                    <a:lnTo>
                      <a:pt x="552" y="628"/>
                    </a:lnTo>
                    <a:lnTo>
                      <a:pt x="552" y="630"/>
                    </a:lnTo>
                    <a:lnTo>
                      <a:pt x="550" y="630"/>
                    </a:lnTo>
                    <a:lnTo>
                      <a:pt x="550" y="628"/>
                    </a:lnTo>
                    <a:lnTo>
                      <a:pt x="550" y="630"/>
                    </a:lnTo>
                    <a:lnTo>
                      <a:pt x="550" y="628"/>
                    </a:lnTo>
                    <a:lnTo>
                      <a:pt x="552" y="626"/>
                    </a:lnTo>
                    <a:lnTo>
                      <a:pt x="553" y="626"/>
                    </a:lnTo>
                    <a:lnTo>
                      <a:pt x="552" y="626"/>
                    </a:lnTo>
                    <a:lnTo>
                      <a:pt x="555" y="623"/>
                    </a:lnTo>
                    <a:lnTo>
                      <a:pt x="553" y="623"/>
                    </a:lnTo>
                    <a:lnTo>
                      <a:pt x="552" y="624"/>
                    </a:lnTo>
                    <a:lnTo>
                      <a:pt x="552" y="626"/>
                    </a:lnTo>
                    <a:lnTo>
                      <a:pt x="550" y="628"/>
                    </a:lnTo>
                    <a:lnTo>
                      <a:pt x="550" y="624"/>
                    </a:lnTo>
                    <a:lnTo>
                      <a:pt x="550" y="628"/>
                    </a:lnTo>
                    <a:lnTo>
                      <a:pt x="548" y="628"/>
                    </a:lnTo>
                    <a:lnTo>
                      <a:pt x="550" y="626"/>
                    </a:lnTo>
                    <a:lnTo>
                      <a:pt x="548" y="628"/>
                    </a:lnTo>
                    <a:lnTo>
                      <a:pt x="548" y="626"/>
                    </a:lnTo>
                    <a:lnTo>
                      <a:pt x="548" y="628"/>
                    </a:lnTo>
                    <a:lnTo>
                      <a:pt x="548" y="630"/>
                    </a:lnTo>
                    <a:lnTo>
                      <a:pt x="548" y="628"/>
                    </a:lnTo>
                    <a:lnTo>
                      <a:pt x="548" y="630"/>
                    </a:lnTo>
                    <a:lnTo>
                      <a:pt x="546" y="628"/>
                    </a:lnTo>
                    <a:lnTo>
                      <a:pt x="548" y="630"/>
                    </a:lnTo>
                    <a:lnTo>
                      <a:pt x="548" y="632"/>
                    </a:lnTo>
                    <a:lnTo>
                      <a:pt x="548" y="630"/>
                    </a:lnTo>
                    <a:lnTo>
                      <a:pt x="550" y="630"/>
                    </a:lnTo>
                    <a:lnTo>
                      <a:pt x="548" y="632"/>
                    </a:lnTo>
                    <a:lnTo>
                      <a:pt x="548" y="634"/>
                    </a:lnTo>
                    <a:lnTo>
                      <a:pt x="548" y="632"/>
                    </a:lnTo>
                    <a:lnTo>
                      <a:pt x="548" y="634"/>
                    </a:lnTo>
                    <a:lnTo>
                      <a:pt x="550" y="634"/>
                    </a:lnTo>
                    <a:lnTo>
                      <a:pt x="550" y="636"/>
                    </a:lnTo>
                    <a:lnTo>
                      <a:pt x="548" y="636"/>
                    </a:lnTo>
                    <a:lnTo>
                      <a:pt x="550" y="636"/>
                    </a:lnTo>
                    <a:lnTo>
                      <a:pt x="548" y="636"/>
                    </a:lnTo>
                    <a:lnTo>
                      <a:pt x="548" y="638"/>
                    </a:lnTo>
                    <a:lnTo>
                      <a:pt x="548" y="636"/>
                    </a:lnTo>
                    <a:lnTo>
                      <a:pt x="546" y="636"/>
                    </a:lnTo>
                    <a:lnTo>
                      <a:pt x="546" y="634"/>
                    </a:lnTo>
                    <a:lnTo>
                      <a:pt x="544" y="634"/>
                    </a:lnTo>
                    <a:lnTo>
                      <a:pt x="544" y="632"/>
                    </a:lnTo>
                    <a:lnTo>
                      <a:pt x="546" y="632"/>
                    </a:lnTo>
                    <a:lnTo>
                      <a:pt x="544" y="632"/>
                    </a:lnTo>
                    <a:lnTo>
                      <a:pt x="546" y="632"/>
                    </a:lnTo>
                    <a:lnTo>
                      <a:pt x="546" y="630"/>
                    </a:lnTo>
                    <a:lnTo>
                      <a:pt x="544" y="630"/>
                    </a:lnTo>
                    <a:lnTo>
                      <a:pt x="546" y="630"/>
                    </a:lnTo>
                    <a:lnTo>
                      <a:pt x="544" y="630"/>
                    </a:lnTo>
                    <a:lnTo>
                      <a:pt x="546" y="628"/>
                    </a:lnTo>
                    <a:lnTo>
                      <a:pt x="544" y="628"/>
                    </a:lnTo>
                    <a:lnTo>
                      <a:pt x="546" y="628"/>
                    </a:lnTo>
                    <a:lnTo>
                      <a:pt x="544" y="628"/>
                    </a:lnTo>
                    <a:lnTo>
                      <a:pt x="542" y="628"/>
                    </a:lnTo>
                    <a:lnTo>
                      <a:pt x="544" y="628"/>
                    </a:lnTo>
                    <a:lnTo>
                      <a:pt x="544" y="626"/>
                    </a:lnTo>
                    <a:lnTo>
                      <a:pt x="542" y="628"/>
                    </a:lnTo>
                    <a:lnTo>
                      <a:pt x="542" y="626"/>
                    </a:lnTo>
                    <a:lnTo>
                      <a:pt x="542" y="628"/>
                    </a:lnTo>
                    <a:lnTo>
                      <a:pt x="542" y="626"/>
                    </a:lnTo>
                    <a:lnTo>
                      <a:pt x="544" y="626"/>
                    </a:lnTo>
                    <a:lnTo>
                      <a:pt x="542" y="626"/>
                    </a:lnTo>
                    <a:lnTo>
                      <a:pt x="540" y="624"/>
                    </a:lnTo>
                    <a:lnTo>
                      <a:pt x="540" y="623"/>
                    </a:lnTo>
                    <a:lnTo>
                      <a:pt x="542" y="621"/>
                    </a:lnTo>
                    <a:lnTo>
                      <a:pt x="542" y="623"/>
                    </a:lnTo>
                    <a:lnTo>
                      <a:pt x="544" y="623"/>
                    </a:lnTo>
                    <a:lnTo>
                      <a:pt x="542" y="624"/>
                    </a:lnTo>
                    <a:lnTo>
                      <a:pt x="544" y="624"/>
                    </a:lnTo>
                    <a:lnTo>
                      <a:pt x="544" y="626"/>
                    </a:lnTo>
                    <a:lnTo>
                      <a:pt x="546" y="626"/>
                    </a:lnTo>
                    <a:lnTo>
                      <a:pt x="544" y="626"/>
                    </a:lnTo>
                    <a:lnTo>
                      <a:pt x="546" y="626"/>
                    </a:lnTo>
                    <a:lnTo>
                      <a:pt x="548" y="624"/>
                    </a:lnTo>
                    <a:lnTo>
                      <a:pt x="546" y="626"/>
                    </a:lnTo>
                    <a:lnTo>
                      <a:pt x="544" y="626"/>
                    </a:lnTo>
                    <a:lnTo>
                      <a:pt x="544" y="624"/>
                    </a:lnTo>
                    <a:lnTo>
                      <a:pt x="546" y="624"/>
                    </a:lnTo>
                    <a:lnTo>
                      <a:pt x="544" y="624"/>
                    </a:lnTo>
                    <a:lnTo>
                      <a:pt x="544" y="623"/>
                    </a:lnTo>
                    <a:lnTo>
                      <a:pt x="542" y="623"/>
                    </a:lnTo>
                    <a:lnTo>
                      <a:pt x="544" y="623"/>
                    </a:lnTo>
                    <a:lnTo>
                      <a:pt x="544" y="621"/>
                    </a:lnTo>
                    <a:lnTo>
                      <a:pt x="542" y="621"/>
                    </a:lnTo>
                    <a:lnTo>
                      <a:pt x="544" y="621"/>
                    </a:lnTo>
                    <a:lnTo>
                      <a:pt x="544" y="623"/>
                    </a:lnTo>
                    <a:lnTo>
                      <a:pt x="544" y="621"/>
                    </a:lnTo>
                    <a:lnTo>
                      <a:pt x="546" y="624"/>
                    </a:lnTo>
                    <a:lnTo>
                      <a:pt x="548" y="624"/>
                    </a:lnTo>
                    <a:lnTo>
                      <a:pt x="546" y="624"/>
                    </a:lnTo>
                    <a:lnTo>
                      <a:pt x="546" y="623"/>
                    </a:lnTo>
                    <a:lnTo>
                      <a:pt x="546" y="621"/>
                    </a:lnTo>
                    <a:lnTo>
                      <a:pt x="546" y="623"/>
                    </a:lnTo>
                    <a:lnTo>
                      <a:pt x="548" y="624"/>
                    </a:lnTo>
                    <a:lnTo>
                      <a:pt x="546" y="623"/>
                    </a:lnTo>
                    <a:lnTo>
                      <a:pt x="546" y="621"/>
                    </a:lnTo>
                    <a:lnTo>
                      <a:pt x="548" y="623"/>
                    </a:lnTo>
                    <a:lnTo>
                      <a:pt x="548" y="621"/>
                    </a:lnTo>
                    <a:lnTo>
                      <a:pt x="548" y="623"/>
                    </a:lnTo>
                    <a:lnTo>
                      <a:pt x="548" y="621"/>
                    </a:lnTo>
                    <a:lnTo>
                      <a:pt x="546" y="619"/>
                    </a:lnTo>
                    <a:lnTo>
                      <a:pt x="548" y="621"/>
                    </a:lnTo>
                    <a:lnTo>
                      <a:pt x="550" y="623"/>
                    </a:lnTo>
                    <a:lnTo>
                      <a:pt x="550" y="624"/>
                    </a:lnTo>
                    <a:lnTo>
                      <a:pt x="550" y="623"/>
                    </a:lnTo>
                    <a:lnTo>
                      <a:pt x="550" y="621"/>
                    </a:lnTo>
                    <a:lnTo>
                      <a:pt x="552" y="621"/>
                    </a:lnTo>
                    <a:lnTo>
                      <a:pt x="550" y="621"/>
                    </a:lnTo>
                    <a:lnTo>
                      <a:pt x="552" y="619"/>
                    </a:lnTo>
                    <a:lnTo>
                      <a:pt x="552" y="621"/>
                    </a:lnTo>
                    <a:lnTo>
                      <a:pt x="552" y="619"/>
                    </a:lnTo>
                    <a:lnTo>
                      <a:pt x="552" y="617"/>
                    </a:lnTo>
                    <a:lnTo>
                      <a:pt x="550" y="615"/>
                    </a:lnTo>
                    <a:lnTo>
                      <a:pt x="552" y="615"/>
                    </a:lnTo>
                    <a:lnTo>
                      <a:pt x="552" y="617"/>
                    </a:lnTo>
                    <a:lnTo>
                      <a:pt x="552" y="615"/>
                    </a:lnTo>
                    <a:lnTo>
                      <a:pt x="552" y="613"/>
                    </a:lnTo>
                    <a:lnTo>
                      <a:pt x="550" y="615"/>
                    </a:lnTo>
                    <a:lnTo>
                      <a:pt x="550" y="613"/>
                    </a:lnTo>
                    <a:lnTo>
                      <a:pt x="550" y="615"/>
                    </a:lnTo>
                    <a:lnTo>
                      <a:pt x="548" y="613"/>
                    </a:lnTo>
                    <a:lnTo>
                      <a:pt x="550" y="613"/>
                    </a:lnTo>
                    <a:lnTo>
                      <a:pt x="548" y="613"/>
                    </a:lnTo>
                    <a:lnTo>
                      <a:pt x="550" y="611"/>
                    </a:lnTo>
                    <a:lnTo>
                      <a:pt x="552" y="611"/>
                    </a:lnTo>
                    <a:lnTo>
                      <a:pt x="550" y="611"/>
                    </a:lnTo>
                    <a:lnTo>
                      <a:pt x="552" y="611"/>
                    </a:lnTo>
                    <a:lnTo>
                      <a:pt x="550" y="611"/>
                    </a:lnTo>
                    <a:lnTo>
                      <a:pt x="548" y="613"/>
                    </a:lnTo>
                    <a:lnTo>
                      <a:pt x="548" y="611"/>
                    </a:lnTo>
                    <a:lnTo>
                      <a:pt x="548" y="609"/>
                    </a:lnTo>
                    <a:lnTo>
                      <a:pt x="550" y="611"/>
                    </a:lnTo>
                    <a:lnTo>
                      <a:pt x="550" y="609"/>
                    </a:lnTo>
                    <a:lnTo>
                      <a:pt x="550" y="611"/>
                    </a:lnTo>
                    <a:lnTo>
                      <a:pt x="550" y="609"/>
                    </a:lnTo>
                    <a:lnTo>
                      <a:pt x="548" y="609"/>
                    </a:lnTo>
                    <a:lnTo>
                      <a:pt x="550" y="609"/>
                    </a:lnTo>
                    <a:lnTo>
                      <a:pt x="548" y="609"/>
                    </a:lnTo>
                    <a:lnTo>
                      <a:pt x="550" y="609"/>
                    </a:lnTo>
                    <a:lnTo>
                      <a:pt x="552" y="607"/>
                    </a:lnTo>
                    <a:lnTo>
                      <a:pt x="550" y="607"/>
                    </a:lnTo>
                    <a:lnTo>
                      <a:pt x="552" y="607"/>
                    </a:lnTo>
                    <a:lnTo>
                      <a:pt x="552" y="609"/>
                    </a:lnTo>
                    <a:lnTo>
                      <a:pt x="552" y="607"/>
                    </a:lnTo>
                    <a:lnTo>
                      <a:pt x="552" y="609"/>
                    </a:lnTo>
                    <a:lnTo>
                      <a:pt x="552" y="607"/>
                    </a:lnTo>
                    <a:lnTo>
                      <a:pt x="553" y="607"/>
                    </a:lnTo>
                    <a:close/>
                    <a:moveTo>
                      <a:pt x="595" y="708"/>
                    </a:moveTo>
                    <a:lnTo>
                      <a:pt x="595" y="706"/>
                    </a:lnTo>
                    <a:lnTo>
                      <a:pt x="595" y="708"/>
                    </a:lnTo>
                    <a:lnTo>
                      <a:pt x="597" y="708"/>
                    </a:lnTo>
                    <a:lnTo>
                      <a:pt x="599" y="708"/>
                    </a:lnTo>
                    <a:lnTo>
                      <a:pt x="601" y="708"/>
                    </a:lnTo>
                    <a:lnTo>
                      <a:pt x="603" y="706"/>
                    </a:lnTo>
                    <a:lnTo>
                      <a:pt x="605" y="708"/>
                    </a:lnTo>
                    <a:lnTo>
                      <a:pt x="605" y="710"/>
                    </a:lnTo>
                    <a:lnTo>
                      <a:pt x="605" y="712"/>
                    </a:lnTo>
                    <a:lnTo>
                      <a:pt x="603" y="712"/>
                    </a:lnTo>
                    <a:lnTo>
                      <a:pt x="603" y="714"/>
                    </a:lnTo>
                    <a:lnTo>
                      <a:pt x="601" y="714"/>
                    </a:lnTo>
                    <a:lnTo>
                      <a:pt x="597" y="716"/>
                    </a:lnTo>
                    <a:lnTo>
                      <a:pt x="595" y="720"/>
                    </a:lnTo>
                    <a:lnTo>
                      <a:pt x="593" y="720"/>
                    </a:lnTo>
                    <a:lnTo>
                      <a:pt x="592" y="718"/>
                    </a:lnTo>
                    <a:lnTo>
                      <a:pt x="590" y="718"/>
                    </a:lnTo>
                    <a:lnTo>
                      <a:pt x="592" y="720"/>
                    </a:lnTo>
                    <a:lnTo>
                      <a:pt x="592" y="718"/>
                    </a:lnTo>
                    <a:lnTo>
                      <a:pt x="590" y="718"/>
                    </a:lnTo>
                    <a:lnTo>
                      <a:pt x="588" y="718"/>
                    </a:lnTo>
                    <a:lnTo>
                      <a:pt x="586" y="720"/>
                    </a:lnTo>
                    <a:lnTo>
                      <a:pt x="586" y="718"/>
                    </a:lnTo>
                    <a:lnTo>
                      <a:pt x="586" y="720"/>
                    </a:lnTo>
                    <a:lnTo>
                      <a:pt x="588" y="718"/>
                    </a:lnTo>
                    <a:lnTo>
                      <a:pt x="588" y="720"/>
                    </a:lnTo>
                    <a:lnTo>
                      <a:pt x="590" y="720"/>
                    </a:lnTo>
                    <a:lnTo>
                      <a:pt x="592" y="722"/>
                    </a:lnTo>
                    <a:lnTo>
                      <a:pt x="592" y="720"/>
                    </a:lnTo>
                    <a:lnTo>
                      <a:pt x="592" y="722"/>
                    </a:lnTo>
                    <a:lnTo>
                      <a:pt x="590" y="722"/>
                    </a:lnTo>
                    <a:lnTo>
                      <a:pt x="590" y="724"/>
                    </a:lnTo>
                    <a:lnTo>
                      <a:pt x="588" y="722"/>
                    </a:lnTo>
                    <a:lnTo>
                      <a:pt x="588" y="724"/>
                    </a:lnTo>
                    <a:lnTo>
                      <a:pt x="588" y="722"/>
                    </a:lnTo>
                    <a:lnTo>
                      <a:pt x="586" y="722"/>
                    </a:lnTo>
                    <a:lnTo>
                      <a:pt x="588" y="724"/>
                    </a:lnTo>
                    <a:lnTo>
                      <a:pt x="590" y="724"/>
                    </a:lnTo>
                    <a:lnTo>
                      <a:pt x="588" y="726"/>
                    </a:lnTo>
                    <a:lnTo>
                      <a:pt x="588" y="724"/>
                    </a:lnTo>
                    <a:lnTo>
                      <a:pt x="586" y="724"/>
                    </a:lnTo>
                    <a:lnTo>
                      <a:pt x="588" y="724"/>
                    </a:lnTo>
                    <a:lnTo>
                      <a:pt x="588" y="726"/>
                    </a:lnTo>
                    <a:lnTo>
                      <a:pt x="588" y="727"/>
                    </a:lnTo>
                    <a:lnTo>
                      <a:pt x="586" y="727"/>
                    </a:lnTo>
                    <a:lnTo>
                      <a:pt x="586" y="726"/>
                    </a:lnTo>
                    <a:lnTo>
                      <a:pt x="584" y="726"/>
                    </a:lnTo>
                    <a:lnTo>
                      <a:pt x="586" y="727"/>
                    </a:lnTo>
                    <a:lnTo>
                      <a:pt x="588" y="727"/>
                    </a:lnTo>
                    <a:lnTo>
                      <a:pt x="590" y="731"/>
                    </a:lnTo>
                    <a:lnTo>
                      <a:pt x="588" y="731"/>
                    </a:lnTo>
                    <a:lnTo>
                      <a:pt x="586" y="731"/>
                    </a:lnTo>
                    <a:lnTo>
                      <a:pt x="588" y="729"/>
                    </a:lnTo>
                    <a:lnTo>
                      <a:pt x="586" y="731"/>
                    </a:lnTo>
                    <a:lnTo>
                      <a:pt x="586" y="729"/>
                    </a:lnTo>
                    <a:lnTo>
                      <a:pt x="584" y="729"/>
                    </a:lnTo>
                    <a:lnTo>
                      <a:pt x="584" y="727"/>
                    </a:lnTo>
                    <a:lnTo>
                      <a:pt x="582" y="727"/>
                    </a:lnTo>
                    <a:lnTo>
                      <a:pt x="580" y="727"/>
                    </a:lnTo>
                    <a:lnTo>
                      <a:pt x="582" y="726"/>
                    </a:lnTo>
                    <a:lnTo>
                      <a:pt x="580" y="726"/>
                    </a:lnTo>
                    <a:lnTo>
                      <a:pt x="578" y="724"/>
                    </a:lnTo>
                    <a:lnTo>
                      <a:pt x="578" y="726"/>
                    </a:lnTo>
                    <a:lnTo>
                      <a:pt x="578" y="724"/>
                    </a:lnTo>
                    <a:lnTo>
                      <a:pt x="576" y="724"/>
                    </a:lnTo>
                    <a:lnTo>
                      <a:pt x="576" y="722"/>
                    </a:lnTo>
                    <a:lnTo>
                      <a:pt x="576" y="724"/>
                    </a:lnTo>
                    <a:lnTo>
                      <a:pt x="576" y="722"/>
                    </a:lnTo>
                    <a:lnTo>
                      <a:pt x="574" y="722"/>
                    </a:lnTo>
                    <a:lnTo>
                      <a:pt x="574" y="720"/>
                    </a:lnTo>
                    <a:lnTo>
                      <a:pt x="576" y="722"/>
                    </a:lnTo>
                    <a:lnTo>
                      <a:pt x="578" y="722"/>
                    </a:lnTo>
                    <a:lnTo>
                      <a:pt x="580" y="722"/>
                    </a:lnTo>
                    <a:lnTo>
                      <a:pt x="582" y="722"/>
                    </a:lnTo>
                    <a:lnTo>
                      <a:pt x="584" y="724"/>
                    </a:lnTo>
                    <a:lnTo>
                      <a:pt x="584" y="726"/>
                    </a:lnTo>
                    <a:lnTo>
                      <a:pt x="584" y="724"/>
                    </a:lnTo>
                    <a:lnTo>
                      <a:pt x="584" y="726"/>
                    </a:lnTo>
                    <a:lnTo>
                      <a:pt x="584" y="724"/>
                    </a:lnTo>
                    <a:lnTo>
                      <a:pt x="582" y="722"/>
                    </a:lnTo>
                    <a:lnTo>
                      <a:pt x="584" y="722"/>
                    </a:lnTo>
                    <a:lnTo>
                      <a:pt x="582" y="722"/>
                    </a:lnTo>
                    <a:lnTo>
                      <a:pt x="584" y="722"/>
                    </a:lnTo>
                    <a:lnTo>
                      <a:pt x="582" y="720"/>
                    </a:lnTo>
                    <a:lnTo>
                      <a:pt x="584" y="722"/>
                    </a:lnTo>
                    <a:lnTo>
                      <a:pt x="586" y="722"/>
                    </a:lnTo>
                    <a:lnTo>
                      <a:pt x="584" y="720"/>
                    </a:lnTo>
                    <a:lnTo>
                      <a:pt x="582" y="720"/>
                    </a:lnTo>
                    <a:lnTo>
                      <a:pt x="582" y="722"/>
                    </a:lnTo>
                    <a:lnTo>
                      <a:pt x="580" y="720"/>
                    </a:lnTo>
                    <a:lnTo>
                      <a:pt x="582" y="718"/>
                    </a:lnTo>
                    <a:lnTo>
                      <a:pt x="580" y="718"/>
                    </a:lnTo>
                    <a:lnTo>
                      <a:pt x="580" y="716"/>
                    </a:lnTo>
                    <a:lnTo>
                      <a:pt x="580" y="714"/>
                    </a:lnTo>
                    <a:lnTo>
                      <a:pt x="582" y="714"/>
                    </a:lnTo>
                    <a:lnTo>
                      <a:pt x="580" y="712"/>
                    </a:lnTo>
                    <a:lnTo>
                      <a:pt x="582" y="710"/>
                    </a:lnTo>
                    <a:lnTo>
                      <a:pt x="582" y="712"/>
                    </a:lnTo>
                    <a:lnTo>
                      <a:pt x="584" y="710"/>
                    </a:lnTo>
                    <a:lnTo>
                      <a:pt x="586" y="710"/>
                    </a:lnTo>
                    <a:lnTo>
                      <a:pt x="586" y="712"/>
                    </a:lnTo>
                    <a:lnTo>
                      <a:pt x="584" y="714"/>
                    </a:lnTo>
                    <a:lnTo>
                      <a:pt x="584" y="712"/>
                    </a:lnTo>
                    <a:lnTo>
                      <a:pt x="586" y="712"/>
                    </a:lnTo>
                    <a:lnTo>
                      <a:pt x="588" y="712"/>
                    </a:lnTo>
                    <a:lnTo>
                      <a:pt x="586" y="712"/>
                    </a:lnTo>
                    <a:lnTo>
                      <a:pt x="586" y="714"/>
                    </a:lnTo>
                    <a:lnTo>
                      <a:pt x="586" y="712"/>
                    </a:lnTo>
                    <a:lnTo>
                      <a:pt x="586" y="714"/>
                    </a:lnTo>
                    <a:lnTo>
                      <a:pt x="588" y="712"/>
                    </a:lnTo>
                    <a:lnTo>
                      <a:pt x="588" y="714"/>
                    </a:lnTo>
                    <a:lnTo>
                      <a:pt x="590" y="714"/>
                    </a:lnTo>
                    <a:lnTo>
                      <a:pt x="588" y="712"/>
                    </a:lnTo>
                    <a:lnTo>
                      <a:pt x="590" y="710"/>
                    </a:lnTo>
                    <a:lnTo>
                      <a:pt x="592" y="710"/>
                    </a:lnTo>
                    <a:lnTo>
                      <a:pt x="592" y="708"/>
                    </a:lnTo>
                    <a:lnTo>
                      <a:pt x="593" y="706"/>
                    </a:lnTo>
                    <a:lnTo>
                      <a:pt x="593" y="708"/>
                    </a:lnTo>
                    <a:lnTo>
                      <a:pt x="595" y="708"/>
                    </a:lnTo>
                    <a:lnTo>
                      <a:pt x="595" y="706"/>
                    </a:lnTo>
                    <a:lnTo>
                      <a:pt x="595" y="708"/>
                    </a:lnTo>
                    <a:close/>
                    <a:moveTo>
                      <a:pt x="651" y="769"/>
                    </a:moveTo>
                    <a:lnTo>
                      <a:pt x="653" y="769"/>
                    </a:lnTo>
                    <a:lnTo>
                      <a:pt x="655" y="771"/>
                    </a:lnTo>
                    <a:lnTo>
                      <a:pt x="655" y="773"/>
                    </a:lnTo>
                    <a:lnTo>
                      <a:pt x="653" y="773"/>
                    </a:lnTo>
                    <a:lnTo>
                      <a:pt x="653" y="771"/>
                    </a:lnTo>
                    <a:lnTo>
                      <a:pt x="653" y="773"/>
                    </a:lnTo>
                    <a:lnTo>
                      <a:pt x="651" y="773"/>
                    </a:lnTo>
                    <a:lnTo>
                      <a:pt x="649" y="773"/>
                    </a:lnTo>
                    <a:lnTo>
                      <a:pt x="651" y="773"/>
                    </a:lnTo>
                    <a:lnTo>
                      <a:pt x="651" y="775"/>
                    </a:lnTo>
                    <a:lnTo>
                      <a:pt x="649" y="775"/>
                    </a:lnTo>
                    <a:lnTo>
                      <a:pt x="647" y="775"/>
                    </a:lnTo>
                    <a:lnTo>
                      <a:pt x="643" y="771"/>
                    </a:lnTo>
                    <a:lnTo>
                      <a:pt x="641" y="773"/>
                    </a:lnTo>
                    <a:lnTo>
                      <a:pt x="643" y="773"/>
                    </a:lnTo>
                    <a:lnTo>
                      <a:pt x="645" y="775"/>
                    </a:lnTo>
                    <a:lnTo>
                      <a:pt x="647" y="775"/>
                    </a:lnTo>
                    <a:lnTo>
                      <a:pt x="649" y="775"/>
                    </a:lnTo>
                    <a:lnTo>
                      <a:pt x="651" y="777"/>
                    </a:lnTo>
                    <a:lnTo>
                      <a:pt x="655" y="775"/>
                    </a:lnTo>
                    <a:lnTo>
                      <a:pt x="655" y="777"/>
                    </a:lnTo>
                    <a:lnTo>
                      <a:pt x="656" y="777"/>
                    </a:lnTo>
                    <a:lnTo>
                      <a:pt x="656" y="779"/>
                    </a:lnTo>
                    <a:lnTo>
                      <a:pt x="655" y="779"/>
                    </a:lnTo>
                    <a:lnTo>
                      <a:pt x="653" y="779"/>
                    </a:lnTo>
                    <a:lnTo>
                      <a:pt x="651" y="779"/>
                    </a:lnTo>
                    <a:lnTo>
                      <a:pt x="653" y="779"/>
                    </a:lnTo>
                    <a:lnTo>
                      <a:pt x="651" y="779"/>
                    </a:lnTo>
                    <a:lnTo>
                      <a:pt x="649" y="777"/>
                    </a:lnTo>
                    <a:lnTo>
                      <a:pt x="647" y="779"/>
                    </a:lnTo>
                    <a:lnTo>
                      <a:pt x="649" y="779"/>
                    </a:lnTo>
                    <a:lnTo>
                      <a:pt x="649" y="781"/>
                    </a:lnTo>
                    <a:lnTo>
                      <a:pt x="651" y="781"/>
                    </a:lnTo>
                    <a:lnTo>
                      <a:pt x="653" y="781"/>
                    </a:lnTo>
                    <a:lnTo>
                      <a:pt x="655" y="781"/>
                    </a:lnTo>
                    <a:lnTo>
                      <a:pt x="655" y="783"/>
                    </a:lnTo>
                    <a:lnTo>
                      <a:pt x="655" y="781"/>
                    </a:lnTo>
                    <a:lnTo>
                      <a:pt x="656" y="783"/>
                    </a:lnTo>
                    <a:lnTo>
                      <a:pt x="656" y="781"/>
                    </a:lnTo>
                    <a:lnTo>
                      <a:pt x="656" y="783"/>
                    </a:lnTo>
                    <a:lnTo>
                      <a:pt x="656" y="785"/>
                    </a:lnTo>
                    <a:lnTo>
                      <a:pt x="658" y="785"/>
                    </a:lnTo>
                    <a:lnTo>
                      <a:pt x="656" y="785"/>
                    </a:lnTo>
                    <a:lnTo>
                      <a:pt x="658" y="787"/>
                    </a:lnTo>
                    <a:lnTo>
                      <a:pt x="658" y="785"/>
                    </a:lnTo>
                    <a:lnTo>
                      <a:pt x="658" y="787"/>
                    </a:lnTo>
                    <a:lnTo>
                      <a:pt x="660" y="787"/>
                    </a:lnTo>
                    <a:lnTo>
                      <a:pt x="658" y="789"/>
                    </a:lnTo>
                    <a:lnTo>
                      <a:pt x="660" y="789"/>
                    </a:lnTo>
                    <a:lnTo>
                      <a:pt x="658" y="789"/>
                    </a:lnTo>
                    <a:lnTo>
                      <a:pt x="660" y="789"/>
                    </a:lnTo>
                    <a:lnTo>
                      <a:pt x="658" y="789"/>
                    </a:lnTo>
                    <a:lnTo>
                      <a:pt x="658" y="790"/>
                    </a:lnTo>
                    <a:lnTo>
                      <a:pt x="660" y="790"/>
                    </a:lnTo>
                    <a:lnTo>
                      <a:pt x="658" y="790"/>
                    </a:lnTo>
                    <a:lnTo>
                      <a:pt x="656" y="789"/>
                    </a:lnTo>
                    <a:lnTo>
                      <a:pt x="656" y="787"/>
                    </a:lnTo>
                    <a:lnTo>
                      <a:pt x="656" y="789"/>
                    </a:lnTo>
                    <a:lnTo>
                      <a:pt x="655" y="789"/>
                    </a:lnTo>
                    <a:lnTo>
                      <a:pt x="655" y="787"/>
                    </a:lnTo>
                    <a:lnTo>
                      <a:pt x="656" y="787"/>
                    </a:lnTo>
                    <a:lnTo>
                      <a:pt x="655" y="785"/>
                    </a:lnTo>
                    <a:lnTo>
                      <a:pt x="653" y="785"/>
                    </a:lnTo>
                    <a:lnTo>
                      <a:pt x="655" y="783"/>
                    </a:lnTo>
                    <a:lnTo>
                      <a:pt x="653" y="785"/>
                    </a:lnTo>
                    <a:lnTo>
                      <a:pt x="651" y="785"/>
                    </a:lnTo>
                    <a:lnTo>
                      <a:pt x="651" y="783"/>
                    </a:lnTo>
                    <a:lnTo>
                      <a:pt x="649" y="783"/>
                    </a:lnTo>
                    <a:lnTo>
                      <a:pt x="651" y="783"/>
                    </a:lnTo>
                    <a:lnTo>
                      <a:pt x="649" y="783"/>
                    </a:lnTo>
                    <a:lnTo>
                      <a:pt x="651" y="785"/>
                    </a:lnTo>
                    <a:lnTo>
                      <a:pt x="649" y="783"/>
                    </a:lnTo>
                    <a:lnTo>
                      <a:pt x="649" y="785"/>
                    </a:lnTo>
                    <a:lnTo>
                      <a:pt x="647" y="783"/>
                    </a:lnTo>
                    <a:lnTo>
                      <a:pt x="647" y="785"/>
                    </a:lnTo>
                    <a:lnTo>
                      <a:pt x="645" y="785"/>
                    </a:lnTo>
                    <a:lnTo>
                      <a:pt x="645" y="783"/>
                    </a:lnTo>
                    <a:lnTo>
                      <a:pt x="645" y="781"/>
                    </a:lnTo>
                    <a:lnTo>
                      <a:pt x="647" y="781"/>
                    </a:lnTo>
                    <a:lnTo>
                      <a:pt x="647" y="783"/>
                    </a:lnTo>
                    <a:lnTo>
                      <a:pt x="647" y="781"/>
                    </a:lnTo>
                    <a:lnTo>
                      <a:pt x="645" y="783"/>
                    </a:lnTo>
                    <a:lnTo>
                      <a:pt x="645" y="781"/>
                    </a:lnTo>
                    <a:lnTo>
                      <a:pt x="645" y="779"/>
                    </a:lnTo>
                    <a:lnTo>
                      <a:pt x="647" y="777"/>
                    </a:lnTo>
                    <a:lnTo>
                      <a:pt x="645" y="777"/>
                    </a:lnTo>
                    <a:lnTo>
                      <a:pt x="647" y="775"/>
                    </a:lnTo>
                    <a:lnTo>
                      <a:pt x="645" y="777"/>
                    </a:lnTo>
                    <a:lnTo>
                      <a:pt x="643" y="779"/>
                    </a:lnTo>
                    <a:lnTo>
                      <a:pt x="643" y="777"/>
                    </a:lnTo>
                    <a:lnTo>
                      <a:pt x="641" y="777"/>
                    </a:lnTo>
                    <a:lnTo>
                      <a:pt x="641" y="775"/>
                    </a:lnTo>
                    <a:lnTo>
                      <a:pt x="641" y="777"/>
                    </a:lnTo>
                    <a:lnTo>
                      <a:pt x="641" y="779"/>
                    </a:lnTo>
                    <a:lnTo>
                      <a:pt x="641" y="777"/>
                    </a:lnTo>
                    <a:lnTo>
                      <a:pt x="639" y="777"/>
                    </a:lnTo>
                    <a:lnTo>
                      <a:pt x="641" y="777"/>
                    </a:lnTo>
                    <a:lnTo>
                      <a:pt x="639" y="777"/>
                    </a:lnTo>
                    <a:lnTo>
                      <a:pt x="639" y="775"/>
                    </a:lnTo>
                    <a:lnTo>
                      <a:pt x="639" y="777"/>
                    </a:lnTo>
                    <a:lnTo>
                      <a:pt x="637" y="777"/>
                    </a:lnTo>
                    <a:lnTo>
                      <a:pt x="639" y="777"/>
                    </a:lnTo>
                    <a:lnTo>
                      <a:pt x="637" y="779"/>
                    </a:lnTo>
                    <a:lnTo>
                      <a:pt x="639" y="777"/>
                    </a:lnTo>
                    <a:lnTo>
                      <a:pt x="639" y="779"/>
                    </a:lnTo>
                    <a:lnTo>
                      <a:pt x="637" y="779"/>
                    </a:lnTo>
                    <a:lnTo>
                      <a:pt x="637" y="777"/>
                    </a:lnTo>
                    <a:lnTo>
                      <a:pt x="635" y="779"/>
                    </a:lnTo>
                    <a:lnTo>
                      <a:pt x="637" y="779"/>
                    </a:lnTo>
                    <a:lnTo>
                      <a:pt x="639" y="781"/>
                    </a:lnTo>
                    <a:lnTo>
                      <a:pt x="637" y="781"/>
                    </a:lnTo>
                    <a:lnTo>
                      <a:pt x="639" y="781"/>
                    </a:lnTo>
                    <a:lnTo>
                      <a:pt x="639" y="783"/>
                    </a:lnTo>
                    <a:lnTo>
                      <a:pt x="639" y="781"/>
                    </a:lnTo>
                    <a:lnTo>
                      <a:pt x="639" y="783"/>
                    </a:lnTo>
                    <a:lnTo>
                      <a:pt x="641" y="783"/>
                    </a:lnTo>
                    <a:lnTo>
                      <a:pt x="639" y="783"/>
                    </a:lnTo>
                    <a:lnTo>
                      <a:pt x="639" y="785"/>
                    </a:lnTo>
                    <a:lnTo>
                      <a:pt x="639" y="783"/>
                    </a:lnTo>
                    <a:lnTo>
                      <a:pt x="639" y="785"/>
                    </a:lnTo>
                    <a:lnTo>
                      <a:pt x="641" y="785"/>
                    </a:lnTo>
                    <a:lnTo>
                      <a:pt x="639" y="785"/>
                    </a:lnTo>
                    <a:lnTo>
                      <a:pt x="641" y="785"/>
                    </a:lnTo>
                    <a:lnTo>
                      <a:pt x="641" y="783"/>
                    </a:lnTo>
                    <a:lnTo>
                      <a:pt x="641" y="785"/>
                    </a:lnTo>
                    <a:lnTo>
                      <a:pt x="641" y="787"/>
                    </a:lnTo>
                    <a:lnTo>
                      <a:pt x="641" y="785"/>
                    </a:lnTo>
                    <a:lnTo>
                      <a:pt x="639" y="785"/>
                    </a:lnTo>
                    <a:lnTo>
                      <a:pt x="637" y="783"/>
                    </a:lnTo>
                    <a:lnTo>
                      <a:pt x="637" y="785"/>
                    </a:lnTo>
                    <a:lnTo>
                      <a:pt x="637" y="787"/>
                    </a:lnTo>
                    <a:lnTo>
                      <a:pt x="637" y="785"/>
                    </a:lnTo>
                    <a:lnTo>
                      <a:pt x="635" y="783"/>
                    </a:lnTo>
                    <a:lnTo>
                      <a:pt x="637" y="783"/>
                    </a:lnTo>
                    <a:lnTo>
                      <a:pt x="635" y="783"/>
                    </a:lnTo>
                    <a:lnTo>
                      <a:pt x="637" y="783"/>
                    </a:lnTo>
                    <a:lnTo>
                      <a:pt x="635" y="783"/>
                    </a:lnTo>
                    <a:lnTo>
                      <a:pt x="635" y="781"/>
                    </a:lnTo>
                    <a:lnTo>
                      <a:pt x="635" y="783"/>
                    </a:lnTo>
                    <a:lnTo>
                      <a:pt x="634" y="781"/>
                    </a:lnTo>
                    <a:lnTo>
                      <a:pt x="635" y="781"/>
                    </a:lnTo>
                    <a:lnTo>
                      <a:pt x="634" y="781"/>
                    </a:lnTo>
                    <a:lnTo>
                      <a:pt x="632" y="781"/>
                    </a:lnTo>
                    <a:lnTo>
                      <a:pt x="630" y="781"/>
                    </a:lnTo>
                    <a:lnTo>
                      <a:pt x="632" y="781"/>
                    </a:lnTo>
                    <a:lnTo>
                      <a:pt x="630" y="781"/>
                    </a:lnTo>
                    <a:lnTo>
                      <a:pt x="632" y="779"/>
                    </a:lnTo>
                    <a:lnTo>
                      <a:pt x="635" y="779"/>
                    </a:lnTo>
                    <a:lnTo>
                      <a:pt x="632" y="779"/>
                    </a:lnTo>
                    <a:lnTo>
                      <a:pt x="634" y="779"/>
                    </a:lnTo>
                    <a:lnTo>
                      <a:pt x="634" y="777"/>
                    </a:lnTo>
                    <a:lnTo>
                      <a:pt x="635" y="777"/>
                    </a:lnTo>
                    <a:lnTo>
                      <a:pt x="634" y="777"/>
                    </a:lnTo>
                    <a:lnTo>
                      <a:pt x="632" y="777"/>
                    </a:lnTo>
                    <a:lnTo>
                      <a:pt x="634" y="777"/>
                    </a:lnTo>
                    <a:lnTo>
                      <a:pt x="634" y="779"/>
                    </a:lnTo>
                    <a:lnTo>
                      <a:pt x="630" y="779"/>
                    </a:lnTo>
                    <a:lnTo>
                      <a:pt x="628" y="779"/>
                    </a:lnTo>
                    <a:lnTo>
                      <a:pt x="628" y="777"/>
                    </a:lnTo>
                    <a:lnTo>
                      <a:pt x="630" y="779"/>
                    </a:lnTo>
                    <a:lnTo>
                      <a:pt x="630" y="777"/>
                    </a:lnTo>
                    <a:lnTo>
                      <a:pt x="628" y="777"/>
                    </a:lnTo>
                    <a:lnTo>
                      <a:pt x="630" y="777"/>
                    </a:lnTo>
                    <a:lnTo>
                      <a:pt x="630" y="775"/>
                    </a:lnTo>
                    <a:lnTo>
                      <a:pt x="630" y="777"/>
                    </a:lnTo>
                    <a:lnTo>
                      <a:pt x="628" y="777"/>
                    </a:lnTo>
                    <a:lnTo>
                      <a:pt x="628" y="775"/>
                    </a:lnTo>
                    <a:lnTo>
                      <a:pt x="626" y="775"/>
                    </a:lnTo>
                    <a:lnTo>
                      <a:pt x="628" y="775"/>
                    </a:lnTo>
                    <a:lnTo>
                      <a:pt x="626" y="775"/>
                    </a:lnTo>
                    <a:lnTo>
                      <a:pt x="628" y="775"/>
                    </a:lnTo>
                    <a:lnTo>
                      <a:pt x="628" y="773"/>
                    </a:lnTo>
                    <a:lnTo>
                      <a:pt x="630" y="773"/>
                    </a:lnTo>
                    <a:lnTo>
                      <a:pt x="632" y="773"/>
                    </a:lnTo>
                    <a:lnTo>
                      <a:pt x="634" y="773"/>
                    </a:lnTo>
                    <a:lnTo>
                      <a:pt x="634" y="771"/>
                    </a:lnTo>
                    <a:lnTo>
                      <a:pt x="635" y="775"/>
                    </a:lnTo>
                    <a:lnTo>
                      <a:pt x="634" y="775"/>
                    </a:lnTo>
                    <a:lnTo>
                      <a:pt x="635" y="775"/>
                    </a:lnTo>
                    <a:lnTo>
                      <a:pt x="635" y="771"/>
                    </a:lnTo>
                    <a:lnTo>
                      <a:pt x="637" y="771"/>
                    </a:lnTo>
                    <a:lnTo>
                      <a:pt x="635" y="773"/>
                    </a:lnTo>
                    <a:lnTo>
                      <a:pt x="637" y="773"/>
                    </a:lnTo>
                    <a:lnTo>
                      <a:pt x="637" y="771"/>
                    </a:lnTo>
                    <a:lnTo>
                      <a:pt x="639" y="771"/>
                    </a:lnTo>
                    <a:lnTo>
                      <a:pt x="641" y="771"/>
                    </a:lnTo>
                    <a:lnTo>
                      <a:pt x="639" y="771"/>
                    </a:lnTo>
                    <a:lnTo>
                      <a:pt x="641" y="771"/>
                    </a:lnTo>
                    <a:lnTo>
                      <a:pt x="643" y="771"/>
                    </a:lnTo>
                    <a:lnTo>
                      <a:pt x="647" y="771"/>
                    </a:lnTo>
                    <a:lnTo>
                      <a:pt x="647" y="769"/>
                    </a:lnTo>
                    <a:lnTo>
                      <a:pt x="651" y="769"/>
                    </a:lnTo>
                    <a:close/>
                    <a:moveTo>
                      <a:pt x="578" y="727"/>
                    </a:moveTo>
                    <a:lnTo>
                      <a:pt x="580" y="727"/>
                    </a:lnTo>
                    <a:lnTo>
                      <a:pt x="578" y="727"/>
                    </a:lnTo>
                    <a:lnTo>
                      <a:pt x="580" y="727"/>
                    </a:lnTo>
                    <a:lnTo>
                      <a:pt x="580" y="729"/>
                    </a:lnTo>
                    <a:lnTo>
                      <a:pt x="580" y="727"/>
                    </a:lnTo>
                    <a:lnTo>
                      <a:pt x="580" y="729"/>
                    </a:lnTo>
                    <a:lnTo>
                      <a:pt x="582" y="729"/>
                    </a:lnTo>
                    <a:lnTo>
                      <a:pt x="580" y="729"/>
                    </a:lnTo>
                    <a:lnTo>
                      <a:pt x="580" y="731"/>
                    </a:lnTo>
                    <a:lnTo>
                      <a:pt x="582" y="729"/>
                    </a:lnTo>
                    <a:lnTo>
                      <a:pt x="582" y="731"/>
                    </a:lnTo>
                    <a:lnTo>
                      <a:pt x="580" y="731"/>
                    </a:lnTo>
                    <a:lnTo>
                      <a:pt x="582" y="731"/>
                    </a:lnTo>
                    <a:lnTo>
                      <a:pt x="582" y="733"/>
                    </a:lnTo>
                    <a:lnTo>
                      <a:pt x="582" y="735"/>
                    </a:lnTo>
                    <a:lnTo>
                      <a:pt x="582" y="733"/>
                    </a:lnTo>
                    <a:lnTo>
                      <a:pt x="582" y="731"/>
                    </a:lnTo>
                    <a:lnTo>
                      <a:pt x="582" y="729"/>
                    </a:lnTo>
                    <a:lnTo>
                      <a:pt x="584" y="729"/>
                    </a:lnTo>
                    <a:lnTo>
                      <a:pt x="584" y="731"/>
                    </a:lnTo>
                    <a:lnTo>
                      <a:pt x="584" y="733"/>
                    </a:lnTo>
                    <a:lnTo>
                      <a:pt x="586" y="733"/>
                    </a:lnTo>
                    <a:lnTo>
                      <a:pt x="584" y="731"/>
                    </a:lnTo>
                    <a:lnTo>
                      <a:pt x="586" y="731"/>
                    </a:lnTo>
                    <a:lnTo>
                      <a:pt x="588" y="731"/>
                    </a:lnTo>
                    <a:lnTo>
                      <a:pt x="588" y="733"/>
                    </a:lnTo>
                    <a:lnTo>
                      <a:pt x="590" y="733"/>
                    </a:lnTo>
                    <a:lnTo>
                      <a:pt x="586" y="735"/>
                    </a:lnTo>
                    <a:lnTo>
                      <a:pt x="588" y="735"/>
                    </a:lnTo>
                    <a:lnTo>
                      <a:pt x="586" y="735"/>
                    </a:lnTo>
                    <a:lnTo>
                      <a:pt x="588" y="735"/>
                    </a:lnTo>
                    <a:lnTo>
                      <a:pt x="588" y="737"/>
                    </a:lnTo>
                    <a:lnTo>
                      <a:pt x="588" y="735"/>
                    </a:lnTo>
                    <a:lnTo>
                      <a:pt x="588" y="737"/>
                    </a:lnTo>
                    <a:lnTo>
                      <a:pt x="590" y="735"/>
                    </a:lnTo>
                    <a:lnTo>
                      <a:pt x="588" y="735"/>
                    </a:lnTo>
                    <a:lnTo>
                      <a:pt x="590" y="735"/>
                    </a:lnTo>
                    <a:lnTo>
                      <a:pt x="592" y="737"/>
                    </a:lnTo>
                    <a:lnTo>
                      <a:pt x="590" y="737"/>
                    </a:lnTo>
                    <a:lnTo>
                      <a:pt x="592" y="737"/>
                    </a:lnTo>
                    <a:lnTo>
                      <a:pt x="593" y="737"/>
                    </a:lnTo>
                    <a:lnTo>
                      <a:pt x="592" y="739"/>
                    </a:lnTo>
                    <a:lnTo>
                      <a:pt x="590" y="739"/>
                    </a:lnTo>
                    <a:lnTo>
                      <a:pt x="588" y="739"/>
                    </a:lnTo>
                    <a:lnTo>
                      <a:pt x="590" y="739"/>
                    </a:lnTo>
                    <a:lnTo>
                      <a:pt x="590" y="741"/>
                    </a:lnTo>
                    <a:lnTo>
                      <a:pt x="588" y="741"/>
                    </a:lnTo>
                    <a:lnTo>
                      <a:pt x="590" y="741"/>
                    </a:lnTo>
                    <a:lnTo>
                      <a:pt x="590" y="743"/>
                    </a:lnTo>
                    <a:lnTo>
                      <a:pt x="588" y="743"/>
                    </a:lnTo>
                    <a:lnTo>
                      <a:pt x="590" y="743"/>
                    </a:lnTo>
                    <a:lnTo>
                      <a:pt x="590" y="745"/>
                    </a:lnTo>
                    <a:lnTo>
                      <a:pt x="588" y="745"/>
                    </a:lnTo>
                    <a:lnTo>
                      <a:pt x="588" y="743"/>
                    </a:lnTo>
                    <a:lnTo>
                      <a:pt x="588" y="745"/>
                    </a:lnTo>
                    <a:lnTo>
                      <a:pt x="586" y="743"/>
                    </a:lnTo>
                    <a:lnTo>
                      <a:pt x="588" y="745"/>
                    </a:lnTo>
                    <a:lnTo>
                      <a:pt x="586" y="745"/>
                    </a:lnTo>
                    <a:lnTo>
                      <a:pt x="586" y="743"/>
                    </a:lnTo>
                    <a:lnTo>
                      <a:pt x="586" y="745"/>
                    </a:lnTo>
                    <a:lnTo>
                      <a:pt x="588" y="745"/>
                    </a:lnTo>
                    <a:lnTo>
                      <a:pt x="588" y="747"/>
                    </a:lnTo>
                    <a:lnTo>
                      <a:pt x="586" y="747"/>
                    </a:lnTo>
                    <a:lnTo>
                      <a:pt x="586" y="745"/>
                    </a:lnTo>
                    <a:lnTo>
                      <a:pt x="584" y="747"/>
                    </a:lnTo>
                    <a:lnTo>
                      <a:pt x="586" y="745"/>
                    </a:lnTo>
                    <a:lnTo>
                      <a:pt x="584" y="745"/>
                    </a:lnTo>
                    <a:lnTo>
                      <a:pt x="584" y="747"/>
                    </a:lnTo>
                    <a:lnTo>
                      <a:pt x="582" y="747"/>
                    </a:lnTo>
                    <a:lnTo>
                      <a:pt x="580" y="747"/>
                    </a:lnTo>
                    <a:lnTo>
                      <a:pt x="582" y="747"/>
                    </a:lnTo>
                    <a:lnTo>
                      <a:pt x="580" y="747"/>
                    </a:lnTo>
                    <a:lnTo>
                      <a:pt x="582" y="747"/>
                    </a:lnTo>
                    <a:lnTo>
                      <a:pt x="580" y="747"/>
                    </a:lnTo>
                    <a:lnTo>
                      <a:pt x="578" y="747"/>
                    </a:lnTo>
                    <a:lnTo>
                      <a:pt x="578" y="745"/>
                    </a:lnTo>
                    <a:lnTo>
                      <a:pt x="580" y="745"/>
                    </a:lnTo>
                    <a:lnTo>
                      <a:pt x="582" y="745"/>
                    </a:lnTo>
                    <a:lnTo>
                      <a:pt x="582" y="747"/>
                    </a:lnTo>
                    <a:lnTo>
                      <a:pt x="580" y="745"/>
                    </a:lnTo>
                    <a:lnTo>
                      <a:pt x="582" y="745"/>
                    </a:lnTo>
                    <a:lnTo>
                      <a:pt x="584" y="745"/>
                    </a:lnTo>
                    <a:lnTo>
                      <a:pt x="582" y="745"/>
                    </a:lnTo>
                    <a:lnTo>
                      <a:pt x="582" y="743"/>
                    </a:lnTo>
                    <a:lnTo>
                      <a:pt x="582" y="745"/>
                    </a:lnTo>
                    <a:lnTo>
                      <a:pt x="584" y="743"/>
                    </a:lnTo>
                    <a:lnTo>
                      <a:pt x="582" y="743"/>
                    </a:lnTo>
                    <a:lnTo>
                      <a:pt x="584" y="743"/>
                    </a:lnTo>
                    <a:lnTo>
                      <a:pt x="582" y="743"/>
                    </a:lnTo>
                    <a:lnTo>
                      <a:pt x="584" y="741"/>
                    </a:lnTo>
                    <a:lnTo>
                      <a:pt x="586" y="741"/>
                    </a:lnTo>
                    <a:lnTo>
                      <a:pt x="584" y="739"/>
                    </a:lnTo>
                    <a:lnTo>
                      <a:pt x="584" y="741"/>
                    </a:lnTo>
                    <a:lnTo>
                      <a:pt x="584" y="739"/>
                    </a:lnTo>
                    <a:lnTo>
                      <a:pt x="584" y="741"/>
                    </a:lnTo>
                    <a:lnTo>
                      <a:pt x="582" y="741"/>
                    </a:lnTo>
                    <a:lnTo>
                      <a:pt x="584" y="741"/>
                    </a:lnTo>
                    <a:lnTo>
                      <a:pt x="582" y="741"/>
                    </a:lnTo>
                    <a:lnTo>
                      <a:pt x="584" y="739"/>
                    </a:lnTo>
                    <a:lnTo>
                      <a:pt x="582" y="741"/>
                    </a:lnTo>
                    <a:lnTo>
                      <a:pt x="580" y="743"/>
                    </a:lnTo>
                    <a:lnTo>
                      <a:pt x="580" y="741"/>
                    </a:lnTo>
                    <a:lnTo>
                      <a:pt x="582" y="741"/>
                    </a:lnTo>
                    <a:lnTo>
                      <a:pt x="582" y="739"/>
                    </a:lnTo>
                    <a:lnTo>
                      <a:pt x="584" y="737"/>
                    </a:lnTo>
                    <a:lnTo>
                      <a:pt x="582" y="739"/>
                    </a:lnTo>
                    <a:lnTo>
                      <a:pt x="582" y="737"/>
                    </a:lnTo>
                    <a:lnTo>
                      <a:pt x="582" y="739"/>
                    </a:lnTo>
                    <a:lnTo>
                      <a:pt x="582" y="737"/>
                    </a:lnTo>
                    <a:lnTo>
                      <a:pt x="582" y="739"/>
                    </a:lnTo>
                    <a:lnTo>
                      <a:pt x="580" y="741"/>
                    </a:lnTo>
                    <a:lnTo>
                      <a:pt x="580" y="739"/>
                    </a:lnTo>
                    <a:lnTo>
                      <a:pt x="580" y="741"/>
                    </a:lnTo>
                    <a:lnTo>
                      <a:pt x="578" y="741"/>
                    </a:lnTo>
                    <a:lnTo>
                      <a:pt x="580" y="739"/>
                    </a:lnTo>
                    <a:lnTo>
                      <a:pt x="578" y="739"/>
                    </a:lnTo>
                    <a:lnTo>
                      <a:pt x="580" y="739"/>
                    </a:lnTo>
                    <a:lnTo>
                      <a:pt x="580" y="737"/>
                    </a:lnTo>
                    <a:lnTo>
                      <a:pt x="582" y="737"/>
                    </a:lnTo>
                    <a:lnTo>
                      <a:pt x="582" y="735"/>
                    </a:lnTo>
                    <a:lnTo>
                      <a:pt x="582" y="737"/>
                    </a:lnTo>
                    <a:lnTo>
                      <a:pt x="582" y="735"/>
                    </a:lnTo>
                    <a:lnTo>
                      <a:pt x="582" y="737"/>
                    </a:lnTo>
                    <a:lnTo>
                      <a:pt x="580" y="735"/>
                    </a:lnTo>
                    <a:lnTo>
                      <a:pt x="576" y="735"/>
                    </a:lnTo>
                    <a:lnTo>
                      <a:pt x="578" y="735"/>
                    </a:lnTo>
                    <a:lnTo>
                      <a:pt x="580" y="735"/>
                    </a:lnTo>
                    <a:lnTo>
                      <a:pt x="580" y="733"/>
                    </a:lnTo>
                    <a:lnTo>
                      <a:pt x="578" y="733"/>
                    </a:lnTo>
                    <a:lnTo>
                      <a:pt x="580" y="731"/>
                    </a:lnTo>
                    <a:lnTo>
                      <a:pt x="578" y="731"/>
                    </a:lnTo>
                    <a:lnTo>
                      <a:pt x="580" y="731"/>
                    </a:lnTo>
                    <a:lnTo>
                      <a:pt x="578" y="731"/>
                    </a:lnTo>
                    <a:lnTo>
                      <a:pt x="578" y="733"/>
                    </a:lnTo>
                    <a:lnTo>
                      <a:pt x="578" y="731"/>
                    </a:lnTo>
                    <a:lnTo>
                      <a:pt x="578" y="733"/>
                    </a:lnTo>
                    <a:lnTo>
                      <a:pt x="576" y="733"/>
                    </a:lnTo>
                    <a:lnTo>
                      <a:pt x="578" y="733"/>
                    </a:lnTo>
                    <a:lnTo>
                      <a:pt x="576" y="733"/>
                    </a:lnTo>
                    <a:lnTo>
                      <a:pt x="574" y="733"/>
                    </a:lnTo>
                    <a:lnTo>
                      <a:pt x="576" y="733"/>
                    </a:lnTo>
                    <a:lnTo>
                      <a:pt x="574" y="733"/>
                    </a:lnTo>
                    <a:lnTo>
                      <a:pt x="576" y="731"/>
                    </a:lnTo>
                    <a:lnTo>
                      <a:pt x="574" y="731"/>
                    </a:lnTo>
                    <a:lnTo>
                      <a:pt x="573" y="729"/>
                    </a:lnTo>
                    <a:lnTo>
                      <a:pt x="574" y="729"/>
                    </a:lnTo>
                    <a:lnTo>
                      <a:pt x="576" y="729"/>
                    </a:lnTo>
                    <a:lnTo>
                      <a:pt x="576" y="731"/>
                    </a:lnTo>
                    <a:lnTo>
                      <a:pt x="576" y="729"/>
                    </a:lnTo>
                    <a:lnTo>
                      <a:pt x="578" y="731"/>
                    </a:lnTo>
                    <a:lnTo>
                      <a:pt x="578" y="729"/>
                    </a:lnTo>
                    <a:lnTo>
                      <a:pt x="576" y="727"/>
                    </a:lnTo>
                    <a:lnTo>
                      <a:pt x="578" y="727"/>
                    </a:lnTo>
                    <a:close/>
                    <a:moveTo>
                      <a:pt x="660" y="768"/>
                    </a:moveTo>
                    <a:lnTo>
                      <a:pt x="662" y="768"/>
                    </a:lnTo>
                    <a:lnTo>
                      <a:pt x="662" y="769"/>
                    </a:lnTo>
                    <a:lnTo>
                      <a:pt x="664" y="769"/>
                    </a:lnTo>
                    <a:lnTo>
                      <a:pt x="666" y="769"/>
                    </a:lnTo>
                    <a:lnTo>
                      <a:pt x="668" y="769"/>
                    </a:lnTo>
                    <a:lnTo>
                      <a:pt x="670" y="769"/>
                    </a:lnTo>
                    <a:lnTo>
                      <a:pt x="672" y="769"/>
                    </a:lnTo>
                    <a:lnTo>
                      <a:pt x="674" y="773"/>
                    </a:lnTo>
                    <a:lnTo>
                      <a:pt x="674" y="775"/>
                    </a:lnTo>
                    <a:lnTo>
                      <a:pt x="674" y="777"/>
                    </a:lnTo>
                    <a:lnTo>
                      <a:pt x="672" y="779"/>
                    </a:lnTo>
                    <a:lnTo>
                      <a:pt x="670" y="781"/>
                    </a:lnTo>
                    <a:lnTo>
                      <a:pt x="668" y="779"/>
                    </a:lnTo>
                    <a:lnTo>
                      <a:pt x="668" y="777"/>
                    </a:lnTo>
                    <a:lnTo>
                      <a:pt x="668" y="775"/>
                    </a:lnTo>
                    <a:lnTo>
                      <a:pt x="666" y="777"/>
                    </a:lnTo>
                    <a:lnTo>
                      <a:pt x="666" y="779"/>
                    </a:lnTo>
                    <a:lnTo>
                      <a:pt x="664" y="777"/>
                    </a:lnTo>
                    <a:lnTo>
                      <a:pt x="662" y="777"/>
                    </a:lnTo>
                    <a:lnTo>
                      <a:pt x="660" y="777"/>
                    </a:lnTo>
                    <a:lnTo>
                      <a:pt x="662" y="777"/>
                    </a:lnTo>
                    <a:lnTo>
                      <a:pt x="660" y="777"/>
                    </a:lnTo>
                    <a:lnTo>
                      <a:pt x="662" y="777"/>
                    </a:lnTo>
                    <a:lnTo>
                      <a:pt x="664" y="777"/>
                    </a:lnTo>
                    <a:lnTo>
                      <a:pt x="662" y="777"/>
                    </a:lnTo>
                    <a:lnTo>
                      <a:pt x="660" y="777"/>
                    </a:lnTo>
                    <a:lnTo>
                      <a:pt x="662" y="775"/>
                    </a:lnTo>
                    <a:lnTo>
                      <a:pt x="660" y="777"/>
                    </a:lnTo>
                    <a:lnTo>
                      <a:pt x="660" y="775"/>
                    </a:lnTo>
                    <a:lnTo>
                      <a:pt x="660" y="777"/>
                    </a:lnTo>
                    <a:lnTo>
                      <a:pt x="658" y="777"/>
                    </a:lnTo>
                    <a:lnTo>
                      <a:pt x="656" y="777"/>
                    </a:lnTo>
                    <a:lnTo>
                      <a:pt x="656" y="775"/>
                    </a:lnTo>
                    <a:lnTo>
                      <a:pt x="658" y="775"/>
                    </a:lnTo>
                    <a:lnTo>
                      <a:pt x="656" y="775"/>
                    </a:lnTo>
                    <a:lnTo>
                      <a:pt x="656" y="773"/>
                    </a:lnTo>
                    <a:lnTo>
                      <a:pt x="656" y="771"/>
                    </a:lnTo>
                    <a:lnTo>
                      <a:pt x="656" y="769"/>
                    </a:lnTo>
                    <a:lnTo>
                      <a:pt x="656" y="771"/>
                    </a:lnTo>
                    <a:lnTo>
                      <a:pt x="655" y="771"/>
                    </a:lnTo>
                    <a:lnTo>
                      <a:pt x="653" y="769"/>
                    </a:lnTo>
                    <a:lnTo>
                      <a:pt x="655" y="769"/>
                    </a:lnTo>
                    <a:lnTo>
                      <a:pt x="656" y="769"/>
                    </a:lnTo>
                    <a:lnTo>
                      <a:pt x="656" y="768"/>
                    </a:lnTo>
                    <a:lnTo>
                      <a:pt x="660" y="768"/>
                    </a:lnTo>
                    <a:close/>
                    <a:moveTo>
                      <a:pt x="580" y="508"/>
                    </a:moveTo>
                    <a:lnTo>
                      <a:pt x="580" y="510"/>
                    </a:lnTo>
                    <a:lnTo>
                      <a:pt x="580" y="508"/>
                    </a:lnTo>
                    <a:lnTo>
                      <a:pt x="582" y="510"/>
                    </a:lnTo>
                    <a:lnTo>
                      <a:pt x="580" y="512"/>
                    </a:lnTo>
                    <a:lnTo>
                      <a:pt x="582" y="510"/>
                    </a:lnTo>
                    <a:lnTo>
                      <a:pt x="584" y="510"/>
                    </a:lnTo>
                    <a:lnTo>
                      <a:pt x="584" y="512"/>
                    </a:lnTo>
                    <a:lnTo>
                      <a:pt x="582" y="514"/>
                    </a:lnTo>
                    <a:lnTo>
                      <a:pt x="580" y="514"/>
                    </a:lnTo>
                    <a:lnTo>
                      <a:pt x="580" y="512"/>
                    </a:lnTo>
                    <a:lnTo>
                      <a:pt x="580" y="514"/>
                    </a:lnTo>
                    <a:lnTo>
                      <a:pt x="582" y="514"/>
                    </a:lnTo>
                    <a:lnTo>
                      <a:pt x="582" y="516"/>
                    </a:lnTo>
                    <a:lnTo>
                      <a:pt x="580" y="518"/>
                    </a:lnTo>
                    <a:lnTo>
                      <a:pt x="578" y="519"/>
                    </a:lnTo>
                    <a:lnTo>
                      <a:pt x="576" y="521"/>
                    </a:lnTo>
                    <a:lnTo>
                      <a:pt x="574" y="521"/>
                    </a:lnTo>
                    <a:lnTo>
                      <a:pt x="574" y="519"/>
                    </a:lnTo>
                    <a:lnTo>
                      <a:pt x="573" y="518"/>
                    </a:lnTo>
                    <a:lnTo>
                      <a:pt x="574" y="518"/>
                    </a:lnTo>
                    <a:lnTo>
                      <a:pt x="576" y="518"/>
                    </a:lnTo>
                    <a:lnTo>
                      <a:pt x="574" y="518"/>
                    </a:lnTo>
                    <a:lnTo>
                      <a:pt x="576" y="516"/>
                    </a:lnTo>
                    <a:lnTo>
                      <a:pt x="574" y="518"/>
                    </a:lnTo>
                    <a:lnTo>
                      <a:pt x="573" y="518"/>
                    </a:lnTo>
                    <a:lnTo>
                      <a:pt x="574" y="516"/>
                    </a:lnTo>
                    <a:lnTo>
                      <a:pt x="573" y="516"/>
                    </a:lnTo>
                    <a:lnTo>
                      <a:pt x="573" y="514"/>
                    </a:lnTo>
                    <a:lnTo>
                      <a:pt x="573" y="512"/>
                    </a:lnTo>
                    <a:lnTo>
                      <a:pt x="573" y="514"/>
                    </a:lnTo>
                    <a:lnTo>
                      <a:pt x="574" y="512"/>
                    </a:lnTo>
                    <a:lnTo>
                      <a:pt x="574" y="514"/>
                    </a:lnTo>
                    <a:lnTo>
                      <a:pt x="576" y="514"/>
                    </a:lnTo>
                    <a:lnTo>
                      <a:pt x="574" y="512"/>
                    </a:lnTo>
                    <a:lnTo>
                      <a:pt x="576" y="512"/>
                    </a:lnTo>
                    <a:lnTo>
                      <a:pt x="578" y="512"/>
                    </a:lnTo>
                    <a:lnTo>
                      <a:pt x="576" y="512"/>
                    </a:lnTo>
                    <a:lnTo>
                      <a:pt x="578" y="512"/>
                    </a:lnTo>
                    <a:lnTo>
                      <a:pt x="576" y="512"/>
                    </a:lnTo>
                    <a:lnTo>
                      <a:pt x="576" y="510"/>
                    </a:lnTo>
                    <a:lnTo>
                      <a:pt x="576" y="508"/>
                    </a:lnTo>
                    <a:lnTo>
                      <a:pt x="578" y="510"/>
                    </a:lnTo>
                    <a:lnTo>
                      <a:pt x="578" y="508"/>
                    </a:lnTo>
                    <a:lnTo>
                      <a:pt x="580" y="508"/>
                    </a:lnTo>
                    <a:close/>
                    <a:moveTo>
                      <a:pt x="620" y="731"/>
                    </a:moveTo>
                    <a:lnTo>
                      <a:pt x="620" y="735"/>
                    </a:lnTo>
                    <a:lnTo>
                      <a:pt x="620" y="737"/>
                    </a:lnTo>
                    <a:lnTo>
                      <a:pt x="620" y="739"/>
                    </a:lnTo>
                    <a:lnTo>
                      <a:pt x="620" y="741"/>
                    </a:lnTo>
                    <a:lnTo>
                      <a:pt x="622" y="745"/>
                    </a:lnTo>
                    <a:lnTo>
                      <a:pt x="620" y="745"/>
                    </a:lnTo>
                    <a:lnTo>
                      <a:pt x="616" y="741"/>
                    </a:lnTo>
                    <a:lnTo>
                      <a:pt x="616" y="743"/>
                    </a:lnTo>
                    <a:lnTo>
                      <a:pt x="618" y="745"/>
                    </a:lnTo>
                    <a:lnTo>
                      <a:pt x="618" y="747"/>
                    </a:lnTo>
                    <a:lnTo>
                      <a:pt x="618" y="748"/>
                    </a:lnTo>
                    <a:lnTo>
                      <a:pt x="618" y="747"/>
                    </a:lnTo>
                    <a:lnTo>
                      <a:pt x="622" y="748"/>
                    </a:lnTo>
                    <a:lnTo>
                      <a:pt x="624" y="748"/>
                    </a:lnTo>
                    <a:lnTo>
                      <a:pt x="622" y="750"/>
                    </a:lnTo>
                    <a:lnTo>
                      <a:pt x="624" y="750"/>
                    </a:lnTo>
                    <a:lnTo>
                      <a:pt x="622" y="750"/>
                    </a:lnTo>
                    <a:lnTo>
                      <a:pt x="620" y="750"/>
                    </a:lnTo>
                    <a:lnTo>
                      <a:pt x="616" y="748"/>
                    </a:lnTo>
                    <a:lnTo>
                      <a:pt x="614" y="747"/>
                    </a:lnTo>
                    <a:lnTo>
                      <a:pt x="613" y="745"/>
                    </a:lnTo>
                    <a:lnTo>
                      <a:pt x="613" y="743"/>
                    </a:lnTo>
                    <a:lnTo>
                      <a:pt x="613" y="741"/>
                    </a:lnTo>
                    <a:lnTo>
                      <a:pt x="614" y="741"/>
                    </a:lnTo>
                    <a:lnTo>
                      <a:pt x="613" y="741"/>
                    </a:lnTo>
                    <a:lnTo>
                      <a:pt x="614" y="739"/>
                    </a:lnTo>
                    <a:lnTo>
                      <a:pt x="613" y="739"/>
                    </a:lnTo>
                    <a:lnTo>
                      <a:pt x="614" y="739"/>
                    </a:lnTo>
                    <a:lnTo>
                      <a:pt x="618" y="741"/>
                    </a:lnTo>
                    <a:lnTo>
                      <a:pt x="618" y="739"/>
                    </a:lnTo>
                    <a:lnTo>
                      <a:pt x="616" y="737"/>
                    </a:lnTo>
                    <a:lnTo>
                      <a:pt x="616" y="735"/>
                    </a:lnTo>
                    <a:lnTo>
                      <a:pt x="618" y="733"/>
                    </a:lnTo>
                    <a:lnTo>
                      <a:pt x="618" y="731"/>
                    </a:lnTo>
                    <a:lnTo>
                      <a:pt x="620" y="731"/>
                    </a:lnTo>
                    <a:close/>
                    <a:moveTo>
                      <a:pt x="553" y="710"/>
                    </a:moveTo>
                    <a:lnTo>
                      <a:pt x="555" y="710"/>
                    </a:lnTo>
                    <a:lnTo>
                      <a:pt x="555" y="712"/>
                    </a:lnTo>
                    <a:lnTo>
                      <a:pt x="557" y="712"/>
                    </a:lnTo>
                    <a:lnTo>
                      <a:pt x="555" y="712"/>
                    </a:lnTo>
                    <a:lnTo>
                      <a:pt x="557" y="712"/>
                    </a:lnTo>
                    <a:lnTo>
                      <a:pt x="555" y="712"/>
                    </a:lnTo>
                    <a:lnTo>
                      <a:pt x="555" y="714"/>
                    </a:lnTo>
                    <a:lnTo>
                      <a:pt x="557" y="714"/>
                    </a:lnTo>
                    <a:lnTo>
                      <a:pt x="557" y="716"/>
                    </a:lnTo>
                    <a:lnTo>
                      <a:pt x="557" y="714"/>
                    </a:lnTo>
                    <a:lnTo>
                      <a:pt x="559" y="716"/>
                    </a:lnTo>
                    <a:lnTo>
                      <a:pt x="557" y="714"/>
                    </a:lnTo>
                    <a:lnTo>
                      <a:pt x="559" y="714"/>
                    </a:lnTo>
                    <a:lnTo>
                      <a:pt x="559" y="716"/>
                    </a:lnTo>
                    <a:lnTo>
                      <a:pt x="561" y="716"/>
                    </a:lnTo>
                    <a:lnTo>
                      <a:pt x="561" y="718"/>
                    </a:lnTo>
                    <a:lnTo>
                      <a:pt x="561" y="716"/>
                    </a:lnTo>
                    <a:lnTo>
                      <a:pt x="563" y="716"/>
                    </a:lnTo>
                    <a:lnTo>
                      <a:pt x="561" y="716"/>
                    </a:lnTo>
                    <a:lnTo>
                      <a:pt x="563" y="716"/>
                    </a:lnTo>
                    <a:lnTo>
                      <a:pt x="561" y="716"/>
                    </a:lnTo>
                    <a:lnTo>
                      <a:pt x="563" y="716"/>
                    </a:lnTo>
                    <a:lnTo>
                      <a:pt x="565" y="716"/>
                    </a:lnTo>
                    <a:lnTo>
                      <a:pt x="565" y="718"/>
                    </a:lnTo>
                    <a:lnTo>
                      <a:pt x="565" y="716"/>
                    </a:lnTo>
                    <a:lnTo>
                      <a:pt x="565" y="718"/>
                    </a:lnTo>
                    <a:lnTo>
                      <a:pt x="563" y="718"/>
                    </a:lnTo>
                    <a:lnTo>
                      <a:pt x="565" y="718"/>
                    </a:lnTo>
                    <a:lnTo>
                      <a:pt x="567" y="718"/>
                    </a:lnTo>
                    <a:lnTo>
                      <a:pt x="567" y="720"/>
                    </a:lnTo>
                    <a:lnTo>
                      <a:pt x="567" y="718"/>
                    </a:lnTo>
                    <a:lnTo>
                      <a:pt x="569" y="718"/>
                    </a:lnTo>
                    <a:lnTo>
                      <a:pt x="567" y="720"/>
                    </a:lnTo>
                    <a:lnTo>
                      <a:pt x="569" y="718"/>
                    </a:lnTo>
                    <a:lnTo>
                      <a:pt x="569" y="720"/>
                    </a:lnTo>
                    <a:lnTo>
                      <a:pt x="569" y="722"/>
                    </a:lnTo>
                    <a:lnTo>
                      <a:pt x="569" y="720"/>
                    </a:lnTo>
                    <a:lnTo>
                      <a:pt x="571" y="722"/>
                    </a:lnTo>
                    <a:lnTo>
                      <a:pt x="571" y="720"/>
                    </a:lnTo>
                    <a:lnTo>
                      <a:pt x="569" y="720"/>
                    </a:lnTo>
                    <a:lnTo>
                      <a:pt x="571" y="718"/>
                    </a:lnTo>
                    <a:lnTo>
                      <a:pt x="571" y="720"/>
                    </a:lnTo>
                    <a:lnTo>
                      <a:pt x="569" y="720"/>
                    </a:lnTo>
                    <a:lnTo>
                      <a:pt x="571" y="720"/>
                    </a:lnTo>
                    <a:lnTo>
                      <a:pt x="571" y="722"/>
                    </a:lnTo>
                    <a:lnTo>
                      <a:pt x="571" y="724"/>
                    </a:lnTo>
                    <a:lnTo>
                      <a:pt x="573" y="724"/>
                    </a:lnTo>
                    <a:lnTo>
                      <a:pt x="571" y="724"/>
                    </a:lnTo>
                    <a:lnTo>
                      <a:pt x="573" y="724"/>
                    </a:lnTo>
                    <a:lnTo>
                      <a:pt x="573" y="722"/>
                    </a:lnTo>
                    <a:lnTo>
                      <a:pt x="573" y="724"/>
                    </a:lnTo>
                    <a:lnTo>
                      <a:pt x="571" y="722"/>
                    </a:lnTo>
                    <a:lnTo>
                      <a:pt x="573" y="722"/>
                    </a:lnTo>
                    <a:lnTo>
                      <a:pt x="571" y="722"/>
                    </a:lnTo>
                    <a:lnTo>
                      <a:pt x="573" y="722"/>
                    </a:lnTo>
                    <a:lnTo>
                      <a:pt x="571" y="722"/>
                    </a:lnTo>
                    <a:lnTo>
                      <a:pt x="573" y="720"/>
                    </a:lnTo>
                    <a:lnTo>
                      <a:pt x="573" y="722"/>
                    </a:lnTo>
                    <a:lnTo>
                      <a:pt x="574" y="722"/>
                    </a:lnTo>
                    <a:lnTo>
                      <a:pt x="573" y="722"/>
                    </a:lnTo>
                    <a:lnTo>
                      <a:pt x="574" y="722"/>
                    </a:lnTo>
                    <a:lnTo>
                      <a:pt x="574" y="724"/>
                    </a:lnTo>
                    <a:lnTo>
                      <a:pt x="573" y="724"/>
                    </a:lnTo>
                    <a:lnTo>
                      <a:pt x="574" y="724"/>
                    </a:lnTo>
                    <a:lnTo>
                      <a:pt x="576" y="724"/>
                    </a:lnTo>
                    <a:lnTo>
                      <a:pt x="576" y="726"/>
                    </a:lnTo>
                    <a:lnTo>
                      <a:pt x="578" y="726"/>
                    </a:lnTo>
                    <a:lnTo>
                      <a:pt x="578" y="727"/>
                    </a:lnTo>
                    <a:lnTo>
                      <a:pt x="576" y="727"/>
                    </a:lnTo>
                    <a:lnTo>
                      <a:pt x="576" y="726"/>
                    </a:lnTo>
                    <a:lnTo>
                      <a:pt x="576" y="727"/>
                    </a:lnTo>
                    <a:lnTo>
                      <a:pt x="576" y="726"/>
                    </a:lnTo>
                    <a:lnTo>
                      <a:pt x="576" y="727"/>
                    </a:lnTo>
                    <a:lnTo>
                      <a:pt x="574" y="726"/>
                    </a:lnTo>
                    <a:lnTo>
                      <a:pt x="573" y="726"/>
                    </a:lnTo>
                    <a:lnTo>
                      <a:pt x="571" y="726"/>
                    </a:lnTo>
                    <a:lnTo>
                      <a:pt x="569" y="726"/>
                    </a:lnTo>
                    <a:lnTo>
                      <a:pt x="571" y="726"/>
                    </a:lnTo>
                    <a:lnTo>
                      <a:pt x="571" y="724"/>
                    </a:lnTo>
                    <a:lnTo>
                      <a:pt x="573" y="726"/>
                    </a:lnTo>
                    <a:lnTo>
                      <a:pt x="571" y="724"/>
                    </a:lnTo>
                    <a:lnTo>
                      <a:pt x="571" y="722"/>
                    </a:lnTo>
                    <a:lnTo>
                      <a:pt x="571" y="724"/>
                    </a:lnTo>
                    <a:lnTo>
                      <a:pt x="569" y="722"/>
                    </a:lnTo>
                    <a:lnTo>
                      <a:pt x="569" y="720"/>
                    </a:lnTo>
                    <a:lnTo>
                      <a:pt x="569" y="722"/>
                    </a:lnTo>
                    <a:lnTo>
                      <a:pt x="567" y="722"/>
                    </a:lnTo>
                    <a:lnTo>
                      <a:pt x="569" y="722"/>
                    </a:lnTo>
                    <a:lnTo>
                      <a:pt x="567" y="722"/>
                    </a:lnTo>
                    <a:lnTo>
                      <a:pt x="567" y="720"/>
                    </a:lnTo>
                    <a:lnTo>
                      <a:pt x="567" y="722"/>
                    </a:lnTo>
                    <a:lnTo>
                      <a:pt x="567" y="720"/>
                    </a:lnTo>
                    <a:lnTo>
                      <a:pt x="565" y="718"/>
                    </a:lnTo>
                    <a:lnTo>
                      <a:pt x="565" y="720"/>
                    </a:lnTo>
                    <a:lnTo>
                      <a:pt x="563" y="718"/>
                    </a:lnTo>
                    <a:lnTo>
                      <a:pt x="561" y="718"/>
                    </a:lnTo>
                    <a:lnTo>
                      <a:pt x="565" y="720"/>
                    </a:lnTo>
                    <a:lnTo>
                      <a:pt x="563" y="720"/>
                    </a:lnTo>
                    <a:lnTo>
                      <a:pt x="561" y="720"/>
                    </a:lnTo>
                    <a:lnTo>
                      <a:pt x="561" y="718"/>
                    </a:lnTo>
                    <a:lnTo>
                      <a:pt x="559" y="718"/>
                    </a:lnTo>
                    <a:lnTo>
                      <a:pt x="561" y="720"/>
                    </a:lnTo>
                    <a:lnTo>
                      <a:pt x="559" y="720"/>
                    </a:lnTo>
                    <a:lnTo>
                      <a:pt x="559" y="718"/>
                    </a:lnTo>
                    <a:lnTo>
                      <a:pt x="557" y="718"/>
                    </a:lnTo>
                    <a:lnTo>
                      <a:pt x="557" y="716"/>
                    </a:lnTo>
                    <a:lnTo>
                      <a:pt x="555" y="716"/>
                    </a:lnTo>
                    <a:lnTo>
                      <a:pt x="557" y="716"/>
                    </a:lnTo>
                    <a:lnTo>
                      <a:pt x="555" y="716"/>
                    </a:lnTo>
                    <a:lnTo>
                      <a:pt x="555" y="714"/>
                    </a:lnTo>
                    <a:lnTo>
                      <a:pt x="555" y="716"/>
                    </a:lnTo>
                    <a:lnTo>
                      <a:pt x="553" y="716"/>
                    </a:lnTo>
                    <a:lnTo>
                      <a:pt x="553" y="714"/>
                    </a:lnTo>
                    <a:lnTo>
                      <a:pt x="555" y="714"/>
                    </a:lnTo>
                    <a:lnTo>
                      <a:pt x="553" y="712"/>
                    </a:lnTo>
                    <a:lnTo>
                      <a:pt x="553" y="714"/>
                    </a:lnTo>
                    <a:lnTo>
                      <a:pt x="555" y="712"/>
                    </a:lnTo>
                    <a:lnTo>
                      <a:pt x="553" y="712"/>
                    </a:lnTo>
                    <a:lnTo>
                      <a:pt x="552" y="712"/>
                    </a:lnTo>
                    <a:lnTo>
                      <a:pt x="553" y="710"/>
                    </a:lnTo>
                    <a:lnTo>
                      <a:pt x="552" y="710"/>
                    </a:lnTo>
                    <a:lnTo>
                      <a:pt x="553" y="710"/>
                    </a:lnTo>
                    <a:lnTo>
                      <a:pt x="553" y="708"/>
                    </a:lnTo>
                    <a:lnTo>
                      <a:pt x="553" y="710"/>
                    </a:lnTo>
                    <a:close/>
                    <a:moveTo>
                      <a:pt x="601" y="741"/>
                    </a:moveTo>
                    <a:lnTo>
                      <a:pt x="603" y="743"/>
                    </a:lnTo>
                    <a:lnTo>
                      <a:pt x="601" y="743"/>
                    </a:lnTo>
                    <a:lnTo>
                      <a:pt x="603" y="743"/>
                    </a:lnTo>
                    <a:lnTo>
                      <a:pt x="605" y="743"/>
                    </a:lnTo>
                    <a:lnTo>
                      <a:pt x="605" y="745"/>
                    </a:lnTo>
                    <a:lnTo>
                      <a:pt x="605" y="747"/>
                    </a:lnTo>
                    <a:lnTo>
                      <a:pt x="605" y="745"/>
                    </a:lnTo>
                    <a:lnTo>
                      <a:pt x="605" y="743"/>
                    </a:lnTo>
                    <a:lnTo>
                      <a:pt x="607" y="743"/>
                    </a:lnTo>
                    <a:lnTo>
                      <a:pt x="607" y="745"/>
                    </a:lnTo>
                    <a:lnTo>
                      <a:pt x="607" y="747"/>
                    </a:lnTo>
                    <a:lnTo>
                      <a:pt x="609" y="747"/>
                    </a:lnTo>
                    <a:lnTo>
                      <a:pt x="609" y="748"/>
                    </a:lnTo>
                    <a:lnTo>
                      <a:pt x="609" y="747"/>
                    </a:lnTo>
                    <a:lnTo>
                      <a:pt x="609" y="748"/>
                    </a:lnTo>
                    <a:lnTo>
                      <a:pt x="609" y="747"/>
                    </a:lnTo>
                    <a:lnTo>
                      <a:pt x="611" y="747"/>
                    </a:lnTo>
                    <a:lnTo>
                      <a:pt x="611" y="745"/>
                    </a:lnTo>
                    <a:lnTo>
                      <a:pt x="611" y="747"/>
                    </a:lnTo>
                    <a:lnTo>
                      <a:pt x="611" y="745"/>
                    </a:lnTo>
                    <a:lnTo>
                      <a:pt x="611" y="747"/>
                    </a:lnTo>
                    <a:lnTo>
                      <a:pt x="611" y="748"/>
                    </a:lnTo>
                    <a:lnTo>
                      <a:pt x="611" y="750"/>
                    </a:lnTo>
                    <a:lnTo>
                      <a:pt x="613" y="748"/>
                    </a:lnTo>
                    <a:lnTo>
                      <a:pt x="613" y="750"/>
                    </a:lnTo>
                    <a:lnTo>
                      <a:pt x="611" y="750"/>
                    </a:lnTo>
                    <a:lnTo>
                      <a:pt x="613" y="750"/>
                    </a:lnTo>
                    <a:lnTo>
                      <a:pt x="611" y="752"/>
                    </a:lnTo>
                    <a:lnTo>
                      <a:pt x="609" y="752"/>
                    </a:lnTo>
                    <a:lnTo>
                      <a:pt x="611" y="752"/>
                    </a:lnTo>
                    <a:lnTo>
                      <a:pt x="609" y="754"/>
                    </a:lnTo>
                    <a:lnTo>
                      <a:pt x="609" y="752"/>
                    </a:lnTo>
                    <a:lnTo>
                      <a:pt x="609" y="754"/>
                    </a:lnTo>
                    <a:lnTo>
                      <a:pt x="609" y="752"/>
                    </a:lnTo>
                    <a:lnTo>
                      <a:pt x="609" y="754"/>
                    </a:lnTo>
                    <a:lnTo>
                      <a:pt x="607" y="752"/>
                    </a:lnTo>
                    <a:lnTo>
                      <a:pt x="605" y="752"/>
                    </a:lnTo>
                    <a:lnTo>
                      <a:pt x="605" y="750"/>
                    </a:lnTo>
                    <a:lnTo>
                      <a:pt x="607" y="752"/>
                    </a:lnTo>
                    <a:lnTo>
                      <a:pt x="607" y="750"/>
                    </a:lnTo>
                    <a:lnTo>
                      <a:pt x="609" y="752"/>
                    </a:lnTo>
                    <a:lnTo>
                      <a:pt x="607" y="750"/>
                    </a:lnTo>
                    <a:lnTo>
                      <a:pt x="609" y="750"/>
                    </a:lnTo>
                    <a:lnTo>
                      <a:pt x="607" y="748"/>
                    </a:lnTo>
                    <a:lnTo>
                      <a:pt x="607" y="750"/>
                    </a:lnTo>
                    <a:lnTo>
                      <a:pt x="607" y="748"/>
                    </a:lnTo>
                    <a:lnTo>
                      <a:pt x="605" y="750"/>
                    </a:lnTo>
                    <a:lnTo>
                      <a:pt x="605" y="748"/>
                    </a:lnTo>
                    <a:lnTo>
                      <a:pt x="605" y="747"/>
                    </a:lnTo>
                    <a:lnTo>
                      <a:pt x="605" y="748"/>
                    </a:lnTo>
                    <a:lnTo>
                      <a:pt x="605" y="747"/>
                    </a:lnTo>
                    <a:lnTo>
                      <a:pt x="605" y="748"/>
                    </a:lnTo>
                    <a:lnTo>
                      <a:pt x="603" y="747"/>
                    </a:lnTo>
                    <a:lnTo>
                      <a:pt x="605" y="748"/>
                    </a:lnTo>
                    <a:lnTo>
                      <a:pt x="603" y="748"/>
                    </a:lnTo>
                    <a:lnTo>
                      <a:pt x="603" y="750"/>
                    </a:lnTo>
                    <a:lnTo>
                      <a:pt x="605" y="750"/>
                    </a:lnTo>
                    <a:lnTo>
                      <a:pt x="605" y="752"/>
                    </a:lnTo>
                    <a:lnTo>
                      <a:pt x="603" y="752"/>
                    </a:lnTo>
                    <a:lnTo>
                      <a:pt x="603" y="750"/>
                    </a:lnTo>
                    <a:lnTo>
                      <a:pt x="603" y="748"/>
                    </a:lnTo>
                    <a:lnTo>
                      <a:pt x="603" y="750"/>
                    </a:lnTo>
                    <a:lnTo>
                      <a:pt x="601" y="748"/>
                    </a:lnTo>
                    <a:lnTo>
                      <a:pt x="603" y="748"/>
                    </a:lnTo>
                    <a:lnTo>
                      <a:pt x="601" y="748"/>
                    </a:lnTo>
                    <a:lnTo>
                      <a:pt x="601" y="750"/>
                    </a:lnTo>
                    <a:lnTo>
                      <a:pt x="599" y="748"/>
                    </a:lnTo>
                    <a:lnTo>
                      <a:pt x="603" y="747"/>
                    </a:lnTo>
                    <a:lnTo>
                      <a:pt x="601" y="747"/>
                    </a:lnTo>
                    <a:lnTo>
                      <a:pt x="601" y="745"/>
                    </a:lnTo>
                    <a:lnTo>
                      <a:pt x="601" y="743"/>
                    </a:lnTo>
                    <a:lnTo>
                      <a:pt x="601" y="741"/>
                    </a:lnTo>
                    <a:close/>
                    <a:moveTo>
                      <a:pt x="542" y="640"/>
                    </a:moveTo>
                    <a:lnTo>
                      <a:pt x="544" y="640"/>
                    </a:lnTo>
                    <a:lnTo>
                      <a:pt x="542" y="642"/>
                    </a:lnTo>
                    <a:lnTo>
                      <a:pt x="544" y="642"/>
                    </a:lnTo>
                    <a:lnTo>
                      <a:pt x="544" y="640"/>
                    </a:lnTo>
                    <a:lnTo>
                      <a:pt x="544" y="642"/>
                    </a:lnTo>
                    <a:lnTo>
                      <a:pt x="544" y="640"/>
                    </a:lnTo>
                    <a:lnTo>
                      <a:pt x="546" y="640"/>
                    </a:lnTo>
                    <a:lnTo>
                      <a:pt x="544" y="640"/>
                    </a:lnTo>
                    <a:lnTo>
                      <a:pt x="546" y="640"/>
                    </a:lnTo>
                    <a:lnTo>
                      <a:pt x="546" y="642"/>
                    </a:lnTo>
                    <a:lnTo>
                      <a:pt x="548" y="642"/>
                    </a:lnTo>
                    <a:lnTo>
                      <a:pt x="546" y="643"/>
                    </a:lnTo>
                    <a:lnTo>
                      <a:pt x="548" y="643"/>
                    </a:lnTo>
                    <a:lnTo>
                      <a:pt x="548" y="642"/>
                    </a:lnTo>
                    <a:lnTo>
                      <a:pt x="550" y="642"/>
                    </a:lnTo>
                    <a:lnTo>
                      <a:pt x="548" y="643"/>
                    </a:lnTo>
                    <a:lnTo>
                      <a:pt x="550" y="642"/>
                    </a:lnTo>
                    <a:lnTo>
                      <a:pt x="550" y="643"/>
                    </a:lnTo>
                    <a:lnTo>
                      <a:pt x="552" y="643"/>
                    </a:lnTo>
                    <a:lnTo>
                      <a:pt x="550" y="643"/>
                    </a:lnTo>
                    <a:lnTo>
                      <a:pt x="550" y="642"/>
                    </a:lnTo>
                    <a:lnTo>
                      <a:pt x="550" y="643"/>
                    </a:lnTo>
                    <a:lnTo>
                      <a:pt x="550" y="642"/>
                    </a:lnTo>
                    <a:lnTo>
                      <a:pt x="550" y="643"/>
                    </a:lnTo>
                    <a:lnTo>
                      <a:pt x="552" y="643"/>
                    </a:lnTo>
                    <a:lnTo>
                      <a:pt x="552" y="645"/>
                    </a:lnTo>
                    <a:lnTo>
                      <a:pt x="550" y="643"/>
                    </a:lnTo>
                    <a:lnTo>
                      <a:pt x="552" y="645"/>
                    </a:lnTo>
                    <a:lnTo>
                      <a:pt x="550" y="645"/>
                    </a:lnTo>
                    <a:lnTo>
                      <a:pt x="552" y="645"/>
                    </a:lnTo>
                    <a:lnTo>
                      <a:pt x="550" y="645"/>
                    </a:lnTo>
                    <a:lnTo>
                      <a:pt x="548" y="645"/>
                    </a:lnTo>
                    <a:lnTo>
                      <a:pt x="550" y="645"/>
                    </a:lnTo>
                    <a:lnTo>
                      <a:pt x="548" y="645"/>
                    </a:lnTo>
                    <a:lnTo>
                      <a:pt x="548" y="647"/>
                    </a:lnTo>
                    <a:lnTo>
                      <a:pt x="546" y="647"/>
                    </a:lnTo>
                    <a:lnTo>
                      <a:pt x="548" y="647"/>
                    </a:lnTo>
                    <a:lnTo>
                      <a:pt x="546" y="647"/>
                    </a:lnTo>
                    <a:lnTo>
                      <a:pt x="546" y="649"/>
                    </a:lnTo>
                    <a:lnTo>
                      <a:pt x="544" y="651"/>
                    </a:lnTo>
                    <a:lnTo>
                      <a:pt x="546" y="649"/>
                    </a:lnTo>
                    <a:lnTo>
                      <a:pt x="548" y="649"/>
                    </a:lnTo>
                    <a:lnTo>
                      <a:pt x="546" y="649"/>
                    </a:lnTo>
                    <a:lnTo>
                      <a:pt x="548" y="647"/>
                    </a:lnTo>
                    <a:lnTo>
                      <a:pt x="550" y="647"/>
                    </a:lnTo>
                    <a:lnTo>
                      <a:pt x="550" y="649"/>
                    </a:lnTo>
                    <a:lnTo>
                      <a:pt x="548" y="649"/>
                    </a:lnTo>
                    <a:lnTo>
                      <a:pt x="548" y="647"/>
                    </a:lnTo>
                    <a:lnTo>
                      <a:pt x="548" y="649"/>
                    </a:lnTo>
                    <a:lnTo>
                      <a:pt x="546" y="649"/>
                    </a:lnTo>
                    <a:lnTo>
                      <a:pt x="548" y="649"/>
                    </a:lnTo>
                    <a:lnTo>
                      <a:pt x="546" y="649"/>
                    </a:lnTo>
                    <a:lnTo>
                      <a:pt x="546" y="651"/>
                    </a:lnTo>
                    <a:lnTo>
                      <a:pt x="544" y="651"/>
                    </a:lnTo>
                    <a:lnTo>
                      <a:pt x="542" y="651"/>
                    </a:lnTo>
                    <a:lnTo>
                      <a:pt x="544" y="649"/>
                    </a:lnTo>
                    <a:lnTo>
                      <a:pt x="544" y="647"/>
                    </a:lnTo>
                    <a:lnTo>
                      <a:pt x="544" y="649"/>
                    </a:lnTo>
                    <a:lnTo>
                      <a:pt x="542" y="649"/>
                    </a:lnTo>
                    <a:lnTo>
                      <a:pt x="542" y="647"/>
                    </a:lnTo>
                    <a:lnTo>
                      <a:pt x="544" y="647"/>
                    </a:lnTo>
                    <a:lnTo>
                      <a:pt x="542" y="647"/>
                    </a:lnTo>
                    <a:lnTo>
                      <a:pt x="542" y="649"/>
                    </a:lnTo>
                    <a:lnTo>
                      <a:pt x="540" y="651"/>
                    </a:lnTo>
                    <a:lnTo>
                      <a:pt x="540" y="649"/>
                    </a:lnTo>
                    <a:lnTo>
                      <a:pt x="542" y="649"/>
                    </a:lnTo>
                    <a:lnTo>
                      <a:pt x="540" y="649"/>
                    </a:lnTo>
                    <a:lnTo>
                      <a:pt x="540" y="647"/>
                    </a:lnTo>
                    <a:lnTo>
                      <a:pt x="542" y="645"/>
                    </a:lnTo>
                    <a:lnTo>
                      <a:pt x="540" y="645"/>
                    </a:lnTo>
                    <a:lnTo>
                      <a:pt x="542" y="645"/>
                    </a:lnTo>
                    <a:lnTo>
                      <a:pt x="542" y="643"/>
                    </a:lnTo>
                    <a:lnTo>
                      <a:pt x="544" y="643"/>
                    </a:lnTo>
                    <a:lnTo>
                      <a:pt x="544" y="645"/>
                    </a:lnTo>
                    <a:lnTo>
                      <a:pt x="542" y="645"/>
                    </a:lnTo>
                    <a:lnTo>
                      <a:pt x="544" y="645"/>
                    </a:lnTo>
                    <a:lnTo>
                      <a:pt x="544" y="647"/>
                    </a:lnTo>
                    <a:lnTo>
                      <a:pt x="546" y="645"/>
                    </a:lnTo>
                    <a:lnTo>
                      <a:pt x="546" y="643"/>
                    </a:lnTo>
                    <a:lnTo>
                      <a:pt x="544" y="643"/>
                    </a:lnTo>
                    <a:lnTo>
                      <a:pt x="542" y="643"/>
                    </a:lnTo>
                    <a:lnTo>
                      <a:pt x="542" y="642"/>
                    </a:lnTo>
                    <a:lnTo>
                      <a:pt x="542" y="640"/>
                    </a:lnTo>
                    <a:lnTo>
                      <a:pt x="542" y="642"/>
                    </a:lnTo>
                    <a:lnTo>
                      <a:pt x="542" y="640"/>
                    </a:lnTo>
                    <a:close/>
                    <a:moveTo>
                      <a:pt x="597" y="739"/>
                    </a:moveTo>
                    <a:lnTo>
                      <a:pt x="597" y="741"/>
                    </a:lnTo>
                    <a:lnTo>
                      <a:pt x="599" y="741"/>
                    </a:lnTo>
                    <a:lnTo>
                      <a:pt x="597" y="741"/>
                    </a:lnTo>
                    <a:lnTo>
                      <a:pt x="599" y="743"/>
                    </a:lnTo>
                    <a:lnTo>
                      <a:pt x="597" y="743"/>
                    </a:lnTo>
                    <a:lnTo>
                      <a:pt x="599" y="743"/>
                    </a:lnTo>
                    <a:lnTo>
                      <a:pt x="599" y="741"/>
                    </a:lnTo>
                    <a:lnTo>
                      <a:pt x="601" y="741"/>
                    </a:lnTo>
                    <a:lnTo>
                      <a:pt x="601" y="743"/>
                    </a:lnTo>
                    <a:lnTo>
                      <a:pt x="599" y="743"/>
                    </a:lnTo>
                    <a:lnTo>
                      <a:pt x="601" y="743"/>
                    </a:lnTo>
                    <a:lnTo>
                      <a:pt x="601" y="745"/>
                    </a:lnTo>
                    <a:lnTo>
                      <a:pt x="599" y="745"/>
                    </a:lnTo>
                    <a:lnTo>
                      <a:pt x="601" y="745"/>
                    </a:lnTo>
                    <a:lnTo>
                      <a:pt x="599" y="747"/>
                    </a:lnTo>
                    <a:lnTo>
                      <a:pt x="601" y="745"/>
                    </a:lnTo>
                    <a:lnTo>
                      <a:pt x="601" y="747"/>
                    </a:lnTo>
                    <a:lnTo>
                      <a:pt x="599" y="748"/>
                    </a:lnTo>
                    <a:lnTo>
                      <a:pt x="599" y="747"/>
                    </a:lnTo>
                    <a:lnTo>
                      <a:pt x="597" y="747"/>
                    </a:lnTo>
                    <a:lnTo>
                      <a:pt x="597" y="745"/>
                    </a:lnTo>
                    <a:lnTo>
                      <a:pt x="597" y="747"/>
                    </a:lnTo>
                    <a:lnTo>
                      <a:pt x="597" y="745"/>
                    </a:lnTo>
                    <a:lnTo>
                      <a:pt x="595" y="745"/>
                    </a:lnTo>
                    <a:lnTo>
                      <a:pt x="597" y="745"/>
                    </a:lnTo>
                    <a:lnTo>
                      <a:pt x="597" y="747"/>
                    </a:lnTo>
                    <a:lnTo>
                      <a:pt x="599" y="748"/>
                    </a:lnTo>
                    <a:lnTo>
                      <a:pt x="597" y="748"/>
                    </a:lnTo>
                    <a:lnTo>
                      <a:pt x="599" y="748"/>
                    </a:lnTo>
                    <a:lnTo>
                      <a:pt x="599" y="750"/>
                    </a:lnTo>
                    <a:lnTo>
                      <a:pt x="597" y="750"/>
                    </a:lnTo>
                    <a:lnTo>
                      <a:pt x="599" y="750"/>
                    </a:lnTo>
                    <a:lnTo>
                      <a:pt x="597" y="750"/>
                    </a:lnTo>
                    <a:lnTo>
                      <a:pt x="599" y="750"/>
                    </a:lnTo>
                    <a:lnTo>
                      <a:pt x="597" y="752"/>
                    </a:lnTo>
                    <a:lnTo>
                      <a:pt x="599" y="752"/>
                    </a:lnTo>
                    <a:lnTo>
                      <a:pt x="597" y="752"/>
                    </a:lnTo>
                    <a:lnTo>
                      <a:pt x="595" y="752"/>
                    </a:lnTo>
                    <a:lnTo>
                      <a:pt x="597" y="750"/>
                    </a:lnTo>
                    <a:lnTo>
                      <a:pt x="595" y="750"/>
                    </a:lnTo>
                    <a:lnTo>
                      <a:pt x="595" y="748"/>
                    </a:lnTo>
                    <a:lnTo>
                      <a:pt x="593" y="748"/>
                    </a:lnTo>
                    <a:lnTo>
                      <a:pt x="593" y="747"/>
                    </a:lnTo>
                    <a:lnTo>
                      <a:pt x="595" y="747"/>
                    </a:lnTo>
                    <a:lnTo>
                      <a:pt x="593" y="747"/>
                    </a:lnTo>
                    <a:lnTo>
                      <a:pt x="595" y="747"/>
                    </a:lnTo>
                    <a:lnTo>
                      <a:pt x="593" y="747"/>
                    </a:lnTo>
                    <a:lnTo>
                      <a:pt x="593" y="745"/>
                    </a:lnTo>
                    <a:lnTo>
                      <a:pt x="593" y="747"/>
                    </a:lnTo>
                    <a:lnTo>
                      <a:pt x="593" y="745"/>
                    </a:lnTo>
                    <a:lnTo>
                      <a:pt x="593" y="747"/>
                    </a:lnTo>
                    <a:lnTo>
                      <a:pt x="592" y="747"/>
                    </a:lnTo>
                    <a:lnTo>
                      <a:pt x="592" y="745"/>
                    </a:lnTo>
                    <a:lnTo>
                      <a:pt x="593" y="743"/>
                    </a:lnTo>
                    <a:lnTo>
                      <a:pt x="592" y="743"/>
                    </a:lnTo>
                    <a:lnTo>
                      <a:pt x="592" y="741"/>
                    </a:lnTo>
                    <a:lnTo>
                      <a:pt x="593" y="741"/>
                    </a:lnTo>
                    <a:lnTo>
                      <a:pt x="593" y="743"/>
                    </a:lnTo>
                    <a:lnTo>
                      <a:pt x="595" y="743"/>
                    </a:lnTo>
                    <a:lnTo>
                      <a:pt x="593" y="743"/>
                    </a:lnTo>
                    <a:lnTo>
                      <a:pt x="595" y="743"/>
                    </a:lnTo>
                    <a:lnTo>
                      <a:pt x="593" y="743"/>
                    </a:lnTo>
                    <a:lnTo>
                      <a:pt x="595" y="741"/>
                    </a:lnTo>
                    <a:lnTo>
                      <a:pt x="595" y="739"/>
                    </a:lnTo>
                    <a:lnTo>
                      <a:pt x="597" y="739"/>
                    </a:lnTo>
                    <a:close/>
                    <a:moveTo>
                      <a:pt x="542" y="592"/>
                    </a:moveTo>
                    <a:lnTo>
                      <a:pt x="544" y="592"/>
                    </a:lnTo>
                    <a:lnTo>
                      <a:pt x="544" y="594"/>
                    </a:lnTo>
                    <a:lnTo>
                      <a:pt x="542" y="594"/>
                    </a:lnTo>
                    <a:lnTo>
                      <a:pt x="544" y="594"/>
                    </a:lnTo>
                    <a:lnTo>
                      <a:pt x="542" y="594"/>
                    </a:lnTo>
                    <a:lnTo>
                      <a:pt x="544" y="594"/>
                    </a:lnTo>
                    <a:lnTo>
                      <a:pt x="542" y="596"/>
                    </a:lnTo>
                    <a:lnTo>
                      <a:pt x="544" y="594"/>
                    </a:lnTo>
                    <a:lnTo>
                      <a:pt x="544" y="596"/>
                    </a:lnTo>
                    <a:lnTo>
                      <a:pt x="544" y="594"/>
                    </a:lnTo>
                    <a:lnTo>
                      <a:pt x="544" y="596"/>
                    </a:lnTo>
                    <a:lnTo>
                      <a:pt x="544" y="598"/>
                    </a:lnTo>
                    <a:lnTo>
                      <a:pt x="544" y="596"/>
                    </a:lnTo>
                    <a:lnTo>
                      <a:pt x="544" y="598"/>
                    </a:lnTo>
                    <a:lnTo>
                      <a:pt x="546" y="598"/>
                    </a:lnTo>
                    <a:lnTo>
                      <a:pt x="544" y="598"/>
                    </a:lnTo>
                    <a:lnTo>
                      <a:pt x="546" y="598"/>
                    </a:lnTo>
                    <a:lnTo>
                      <a:pt x="546" y="600"/>
                    </a:lnTo>
                    <a:lnTo>
                      <a:pt x="546" y="602"/>
                    </a:lnTo>
                    <a:lnTo>
                      <a:pt x="546" y="600"/>
                    </a:lnTo>
                    <a:lnTo>
                      <a:pt x="548" y="603"/>
                    </a:lnTo>
                    <a:lnTo>
                      <a:pt x="548" y="602"/>
                    </a:lnTo>
                    <a:lnTo>
                      <a:pt x="546" y="603"/>
                    </a:lnTo>
                    <a:lnTo>
                      <a:pt x="548" y="603"/>
                    </a:lnTo>
                    <a:lnTo>
                      <a:pt x="548" y="605"/>
                    </a:lnTo>
                    <a:lnTo>
                      <a:pt x="546" y="607"/>
                    </a:lnTo>
                    <a:lnTo>
                      <a:pt x="544" y="607"/>
                    </a:lnTo>
                    <a:lnTo>
                      <a:pt x="546" y="607"/>
                    </a:lnTo>
                    <a:lnTo>
                      <a:pt x="544" y="607"/>
                    </a:lnTo>
                    <a:lnTo>
                      <a:pt x="546" y="605"/>
                    </a:lnTo>
                    <a:lnTo>
                      <a:pt x="544" y="607"/>
                    </a:lnTo>
                    <a:lnTo>
                      <a:pt x="544" y="605"/>
                    </a:lnTo>
                    <a:lnTo>
                      <a:pt x="546" y="605"/>
                    </a:lnTo>
                    <a:lnTo>
                      <a:pt x="544" y="605"/>
                    </a:lnTo>
                    <a:lnTo>
                      <a:pt x="544" y="603"/>
                    </a:lnTo>
                    <a:lnTo>
                      <a:pt x="544" y="602"/>
                    </a:lnTo>
                    <a:lnTo>
                      <a:pt x="546" y="602"/>
                    </a:lnTo>
                    <a:lnTo>
                      <a:pt x="544" y="602"/>
                    </a:lnTo>
                    <a:lnTo>
                      <a:pt x="544" y="600"/>
                    </a:lnTo>
                    <a:lnTo>
                      <a:pt x="544" y="602"/>
                    </a:lnTo>
                    <a:lnTo>
                      <a:pt x="544" y="600"/>
                    </a:lnTo>
                    <a:lnTo>
                      <a:pt x="542" y="602"/>
                    </a:lnTo>
                    <a:lnTo>
                      <a:pt x="542" y="600"/>
                    </a:lnTo>
                    <a:lnTo>
                      <a:pt x="540" y="602"/>
                    </a:lnTo>
                    <a:lnTo>
                      <a:pt x="540" y="600"/>
                    </a:lnTo>
                    <a:lnTo>
                      <a:pt x="542" y="600"/>
                    </a:lnTo>
                    <a:lnTo>
                      <a:pt x="544" y="598"/>
                    </a:lnTo>
                    <a:lnTo>
                      <a:pt x="542" y="600"/>
                    </a:lnTo>
                    <a:lnTo>
                      <a:pt x="542" y="596"/>
                    </a:lnTo>
                    <a:lnTo>
                      <a:pt x="542" y="600"/>
                    </a:lnTo>
                    <a:lnTo>
                      <a:pt x="540" y="600"/>
                    </a:lnTo>
                    <a:lnTo>
                      <a:pt x="542" y="600"/>
                    </a:lnTo>
                    <a:lnTo>
                      <a:pt x="540" y="600"/>
                    </a:lnTo>
                    <a:lnTo>
                      <a:pt x="542" y="598"/>
                    </a:lnTo>
                    <a:lnTo>
                      <a:pt x="542" y="596"/>
                    </a:lnTo>
                    <a:lnTo>
                      <a:pt x="542" y="598"/>
                    </a:lnTo>
                    <a:lnTo>
                      <a:pt x="542" y="596"/>
                    </a:lnTo>
                    <a:lnTo>
                      <a:pt x="542" y="598"/>
                    </a:lnTo>
                    <a:lnTo>
                      <a:pt x="540" y="598"/>
                    </a:lnTo>
                    <a:lnTo>
                      <a:pt x="540" y="596"/>
                    </a:lnTo>
                    <a:lnTo>
                      <a:pt x="540" y="594"/>
                    </a:lnTo>
                    <a:lnTo>
                      <a:pt x="540" y="592"/>
                    </a:lnTo>
                    <a:lnTo>
                      <a:pt x="540" y="594"/>
                    </a:lnTo>
                    <a:lnTo>
                      <a:pt x="540" y="592"/>
                    </a:lnTo>
                    <a:lnTo>
                      <a:pt x="542" y="592"/>
                    </a:lnTo>
                    <a:lnTo>
                      <a:pt x="542" y="594"/>
                    </a:lnTo>
                    <a:lnTo>
                      <a:pt x="542" y="592"/>
                    </a:lnTo>
                    <a:lnTo>
                      <a:pt x="542" y="594"/>
                    </a:lnTo>
                    <a:lnTo>
                      <a:pt x="542" y="592"/>
                    </a:lnTo>
                    <a:close/>
                    <a:moveTo>
                      <a:pt x="553" y="657"/>
                    </a:moveTo>
                    <a:lnTo>
                      <a:pt x="553" y="659"/>
                    </a:lnTo>
                    <a:lnTo>
                      <a:pt x="555" y="659"/>
                    </a:lnTo>
                    <a:lnTo>
                      <a:pt x="557" y="659"/>
                    </a:lnTo>
                    <a:lnTo>
                      <a:pt x="557" y="661"/>
                    </a:lnTo>
                    <a:lnTo>
                      <a:pt x="557" y="659"/>
                    </a:lnTo>
                    <a:lnTo>
                      <a:pt x="555" y="661"/>
                    </a:lnTo>
                    <a:lnTo>
                      <a:pt x="557" y="661"/>
                    </a:lnTo>
                    <a:lnTo>
                      <a:pt x="555" y="661"/>
                    </a:lnTo>
                    <a:lnTo>
                      <a:pt x="557" y="661"/>
                    </a:lnTo>
                    <a:lnTo>
                      <a:pt x="557" y="663"/>
                    </a:lnTo>
                    <a:lnTo>
                      <a:pt x="557" y="664"/>
                    </a:lnTo>
                    <a:lnTo>
                      <a:pt x="557" y="663"/>
                    </a:lnTo>
                    <a:lnTo>
                      <a:pt x="557" y="664"/>
                    </a:lnTo>
                    <a:lnTo>
                      <a:pt x="557" y="666"/>
                    </a:lnTo>
                    <a:lnTo>
                      <a:pt x="557" y="664"/>
                    </a:lnTo>
                    <a:lnTo>
                      <a:pt x="555" y="664"/>
                    </a:lnTo>
                    <a:lnTo>
                      <a:pt x="557" y="666"/>
                    </a:lnTo>
                    <a:lnTo>
                      <a:pt x="555" y="666"/>
                    </a:lnTo>
                    <a:lnTo>
                      <a:pt x="557" y="666"/>
                    </a:lnTo>
                    <a:lnTo>
                      <a:pt x="557" y="668"/>
                    </a:lnTo>
                    <a:lnTo>
                      <a:pt x="557" y="670"/>
                    </a:lnTo>
                    <a:lnTo>
                      <a:pt x="555" y="670"/>
                    </a:lnTo>
                    <a:lnTo>
                      <a:pt x="557" y="670"/>
                    </a:lnTo>
                    <a:lnTo>
                      <a:pt x="557" y="672"/>
                    </a:lnTo>
                    <a:lnTo>
                      <a:pt x="557" y="670"/>
                    </a:lnTo>
                    <a:lnTo>
                      <a:pt x="555" y="670"/>
                    </a:lnTo>
                    <a:lnTo>
                      <a:pt x="555" y="668"/>
                    </a:lnTo>
                    <a:lnTo>
                      <a:pt x="555" y="670"/>
                    </a:lnTo>
                    <a:lnTo>
                      <a:pt x="555" y="668"/>
                    </a:lnTo>
                    <a:lnTo>
                      <a:pt x="555" y="670"/>
                    </a:lnTo>
                    <a:lnTo>
                      <a:pt x="553" y="668"/>
                    </a:lnTo>
                    <a:lnTo>
                      <a:pt x="555" y="666"/>
                    </a:lnTo>
                    <a:lnTo>
                      <a:pt x="553" y="666"/>
                    </a:lnTo>
                    <a:lnTo>
                      <a:pt x="555" y="664"/>
                    </a:lnTo>
                    <a:lnTo>
                      <a:pt x="553" y="666"/>
                    </a:lnTo>
                    <a:lnTo>
                      <a:pt x="555" y="664"/>
                    </a:lnTo>
                    <a:lnTo>
                      <a:pt x="553" y="666"/>
                    </a:lnTo>
                    <a:lnTo>
                      <a:pt x="553" y="668"/>
                    </a:lnTo>
                    <a:lnTo>
                      <a:pt x="553" y="666"/>
                    </a:lnTo>
                    <a:lnTo>
                      <a:pt x="553" y="668"/>
                    </a:lnTo>
                    <a:lnTo>
                      <a:pt x="552" y="668"/>
                    </a:lnTo>
                    <a:lnTo>
                      <a:pt x="553" y="666"/>
                    </a:lnTo>
                    <a:lnTo>
                      <a:pt x="552" y="668"/>
                    </a:lnTo>
                    <a:lnTo>
                      <a:pt x="552" y="666"/>
                    </a:lnTo>
                    <a:lnTo>
                      <a:pt x="553" y="666"/>
                    </a:lnTo>
                    <a:lnTo>
                      <a:pt x="553" y="664"/>
                    </a:lnTo>
                    <a:lnTo>
                      <a:pt x="552" y="664"/>
                    </a:lnTo>
                    <a:lnTo>
                      <a:pt x="552" y="666"/>
                    </a:lnTo>
                    <a:lnTo>
                      <a:pt x="550" y="666"/>
                    </a:lnTo>
                    <a:lnTo>
                      <a:pt x="552" y="666"/>
                    </a:lnTo>
                    <a:lnTo>
                      <a:pt x="550" y="666"/>
                    </a:lnTo>
                    <a:lnTo>
                      <a:pt x="550" y="664"/>
                    </a:lnTo>
                    <a:lnTo>
                      <a:pt x="552" y="664"/>
                    </a:lnTo>
                    <a:lnTo>
                      <a:pt x="550" y="664"/>
                    </a:lnTo>
                    <a:lnTo>
                      <a:pt x="552" y="664"/>
                    </a:lnTo>
                    <a:lnTo>
                      <a:pt x="550" y="664"/>
                    </a:lnTo>
                    <a:lnTo>
                      <a:pt x="552" y="664"/>
                    </a:lnTo>
                    <a:lnTo>
                      <a:pt x="550" y="663"/>
                    </a:lnTo>
                    <a:lnTo>
                      <a:pt x="550" y="664"/>
                    </a:lnTo>
                    <a:lnTo>
                      <a:pt x="548" y="664"/>
                    </a:lnTo>
                    <a:lnTo>
                      <a:pt x="550" y="664"/>
                    </a:lnTo>
                    <a:lnTo>
                      <a:pt x="548" y="664"/>
                    </a:lnTo>
                    <a:lnTo>
                      <a:pt x="548" y="663"/>
                    </a:lnTo>
                    <a:lnTo>
                      <a:pt x="550" y="663"/>
                    </a:lnTo>
                    <a:lnTo>
                      <a:pt x="552" y="663"/>
                    </a:lnTo>
                    <a:lnTo>
                      <a:pt x="553" y="663"/>
                    </a:lnTo>
                    <a:lnTo>
                      <a:pt x="553" y="664"/>
                    </a:lnTo>
                    <a:lnTo>
                      <a:pt x="553" y="663"/>
                    </a:lnTo>
                    <a:lnTo>
                      <a:pt x="553" y="664"/>
                    </a:lnTo>
                    <a:lnTo>
                      <a:pt x="553" y="663"/>
                    </a:lnTo>
                    <a:lnTo>
                      <a:pt x="555" y="663"/>
                    </a:lnTo>
                    <a:lnTo>
                      <a:pt x="553" y="663"/>
                    </a:lnTo>
                    <a:lnTo>
                      <a:pt x="555" y="663"/>
                    </a:lnTo>
                    <a:lnTo>
                      <a:pt x="553" y="663"/>
                    </a:lnTo>
                    <a:lnTo>
                      <a:pt x="553" y="661"/>
                    </a:lnTo>
                    <a:lnTo>
                      <a:pt x="555" y="661"/>
                    </a:lnTo>
                    <a:lnTo>
                      <a:pt x="553" y="661"/>
                    </a:lnTo>
                    <a:lnTo>
                      <a:pt x="555" y="661"/>
                    </a:lnTo>
                    <a:lnTo>
                      <a:pt x="553" y="661"/>
                    </a:lnTo>
                    <a:lnTo>
                      <a:pt x="553" y="659"/>
                    </a:lnTo>
                    <a:lnTo>
                      <a:pt x="553" y="657"/>
                    </a:lnTo>
                    <a:close/>
                    <a:moveTo>
                      <a:pt x="553" y="594"/>
                    </a:moveTo>
                    <a:lnTo>
                      <a:pt x="553" y="596"/>
                    </a:lnTo>
                    <a:lnTo>
                      <a:pt x="553" y="598"/>
                    </a:lnTo>
                    <a:lnTo>
                      <a:pt x="553" y="596"/>
                    </a:lnTo>
                    <a:lnTo>
                      <a:pt x="553" y="598"/>
                    </a:lnTo>
                    <a:lnTo>
                      <a:pt x="555" y="600"/>
                    </a:lnTo>
                    <a:lnTo>
                      <a:pt x="555" y="602"/>
                    </a:lnTo>
                    <a:lnTo>
                      <a:pt x="553" y="602"/>
                    </a:lnTo>
                    <a:lnTo>
                      <a:pt x="555" y="602"/>
                    </a:lnTo>
                    <a:lnTo>
                      <a:pt x="555" y="603"/>
                    </a:lnTo>
                    <a:lnTo>
                      <a:pt x="555" y="605"/>
                    </a:lnTo>
                    <a:lnTo>
                      <a:pt x="555" y="607"/>
                    </a:lnTo>
                    <a:lnTo>
                      <a:pt x="557" y="605"/>
                    </a:lnTo>
                    <a:lnTo>
                      <a:pt x="555" y="605"/>
                    </a:lnTo>
                    <a:lnTo>
                      <a:pt x="557" y="605"/>
                    </a:lnTo>
                    <a:lnTo>
                      <a:pt x="557" y="607"/>
                    </a:lnTo>
                    <a:lnTo>
                      <a:pt x="555" y="607"/>
                    </a:lnTo>
                    <a:lnTo>
                      <a:pt x="553" y="607"/>
                    </a:lnTo>
                    <a:lnTo>
                      <a:pt x="553" y="605"/>
                    </a:lnTo>
                    <a:lnTo>
                      <a:pt x="553" y="607"/>
                    </a:lnTo>
                    <a:lnTo>
                      <a:pt x="552" y="607"/>
                    </a:lnTo>
                    <a:lnTo>
                      <a:pt x="550" y="605"/>
                    </a:lnTo>
                    <a:lnTo>
                      <a:pt x="548" y="605"/>
                    </a:lnTo>
                    <a:lnTo>
                      <a:pt x="548" y="603"/>
                    </a:lnTo>
                    <a:lnTo>
                      <a:pt x="550" y="602"/>
                    </a:lnTo>
                    <a:lnTo>
                      <a:pt x="552" y="600"/>
                    </a:lnTo>
                    <a:lnTo>
                      <a:pt x="552" y="603"/>
                    </a:lnTo>
                    <a:lnTo>
                      <a:pt x="552" y="602"/>
                    </a:lnTo>
                    <a:lnTo>
                      <a:pt x="552" y="603"/>
                    </a:lnTo>
                    <a:lnTo>
                      <a:pt x="552" y="605"/>
                    </a:lnTo>
                    <a:lnTo>
                      <a:pt x="552" y="603"/>
                    </a:lnTo>
                    <a:lnTo>
                      <a:pt x="553" y="602"/>
                    </a:lnTo>
                    <a:lnTo>
                      <a:pt x="553" y="603"/>
                    </a:lnTo>
                    <a:lnTo>
                      <a:pt x="553" y="602"/>
                    </a:lnTo>
                    <a:lnTo>
                      <a:pt x="552" y="602"/>
                    </a:lnTo>
                    <a:lnTo>
                      <a:pt x="552" y="600"/>
                    </a:lnTo>
                    <a:lnTo>
                      <a:pt x="552" y="598"/>
                    </a:lnTo>
                    <a:lnTo>
                      <a:pt x="553" y="596"/>
                    </a:lnTo>
                    <a:lnTo>
                      <a:pt x="552" y="596"/>
                    </a:lnTo>
                    <a:lnTo>
                      <a:pt x="553" y="594"/>
                    </a:lnTo>
                    <a:close/>
                    <a:moveTo>
                      <a:pt x="559" y="693"/>
                    </a:moveTo>
                    <a:lnTo>
                      <a:pt x="561" y="693"/>
                    </a:lnTo>
                    <a:lnTo>
                      <a:pt x="563" y="693"/>
                    </a:lnTo>
                    <a:lnTo>
                      <a:pt x="563" y="695"/>
                    </a:lnTo>
                    <a:lnTo>
                      <a:pt x="563" y="693"/>
                    </a:lnTo>
                    <a:lnTo>
                      <a:pt x="563" y="695"/>
                    </a:lnTo>
                    <a:lnTo>
                      <a:pt x="565" y="695"/>
                    </a:lnTo>
                    <a:lnTo>
                      <a:pt x="567" y="697"/>
                    </a:lnTo>
                    <a:lnTo>
                      <a:pt x="567" y="699"/>
                    </a:lnTo>
                    <a:lnTo>
                      <a:pt x="569" y="699"/>
                    </a:lnTo>
                    <a:lnTo>
                      <a:pt x="567" y="701"/>
                    </a:lnTo>
                    <a:lnTo>
                      <a:pt x="569" y="701"/>
                    </a:lnTo>
                    <a:lnTo>
                      <a:pt x="569" y="703"/>
                    </a:lnTo>
                    <a:lnTo>
                      <a:pt x="569" y="705"/>
                    </a:lnTo>
                    <a:lnTo>
                      <a:pt x="569" y="706"/>
                    </a:lnTo>
                    <a:lnTo>
                      <a:pt x="569" y="705"/>
                    </a:lnTo>
                    <a:lnTo>
                      <a:pt x="569" y="706"/>
                    </a:lnTo>
                    <a:lnTo>
                      <a:pt x="567" y="705"/>
                    </a:lnTo>
                    <a:lnTo>
                      <a:pt x="567" y="706"/>
                    </a:lnTo>
                    <a:lnTo>
                      <a:pt x="569" y="706"/>
                    </a:lnTo>
                    <a:lnTo>
                      <a:pt x="567" y="706"/>
                    </a:lnTo>
                    <a:lnTo>
                      <a:pt x="569" y="706"/>
                    </a:lnTo>
                    <a:lnTo>
                      <a:pt x="567" y="708"/>
                    </a:lnTo>
                    <a:lnTo>
                      <a:pt x="567" y="710"/>
                    </a:lnTo>
                    <a:lnTo>
                      <a:pt x="567" y="708"/>
                    </a:lnTo>
                    <a:lnTo>
                      <a:pt x="567" y="710"/>
                    </a:lnTo>
                    <a:lnTo>
                      <a:pt x="565" y="710"/>
                    </a:lnTo>
                    <a:lnTo>
                      <a:pt x="565" y="708"/>
                    </a:lnTo>
                    <a:lnTo>
                      <a:pt x="567" y="706"/>
                    </a:lnTo>
                    <a:lnTo>
                      <a:pt x="565" y="708"/>
                    </a:lnTo>
                    <a:lnTo>
                      <a:pt x="567" y="705"/>
                    </a:lnTo>
                    <a:lnTo>
                      <a:pt x="565" y="706"/>
                    </a:lnTo>
                    <a:lnTo>
                      <a:pt x="565" y="705"/>
                    </a:lnTo>
                    <a:lnTo>
                      <a:pt x="565" y="706"/>
                    </a:lnTo>
                    <a:lnTo>
                      <a:pt x="563" y="706"/>
                    </a:lnTo>
                    <a:lnTo>
                      <a:pt x="565" y="706"/>
                    </a:lnTo>
                    <a:lnTo>
                      <a:pt x="563" y="708"/>
                    </a:lnTo>
                    <a:lnTo>
                      <a:pt x="563" y="706"/>
                    </a:lnTo>
                    <a:lnTo>
                      <a:pt x="563" y="705"/>
                    </a:lnTo>
                    <a:lnTo>
                      <a:pt x="565" y="705"/>
                    </a:lnTo>
                    <a:lnTo>
                      <a:pt x="563" y="705"/>
                    </a:lnTo>
                    <a:lnTo>
                      <a:pt x="565" y="705"/>
                    </a:lnTo>
                    <a:lnTo>
                      <a:pt x="565" y="703"/>
                    </a:lnTo>
                    <a:lnTo>
                      <a:pt x="565" y="705"/>
                    </a:lnTo>
                    <a:lnTo>
                      <a:pt x="565" y="703"/>
                    </a:lnTo>
                    <a:lnTo>
                      <a:pt x="567" y="703"/>
                    </a:lnTo>
                    <a:lnTo>
                      <a:pt x="565" y="703"/>
                    </a:lnTo>
                    <a:lnTo>
                      <a:pt x="567" y="703"/>
                    </a:lnTo>
                    <a:lnTo>
                      <a:pt x="569" y="701"/>
                    </a:lnTo>
                    <a:lnTo>
                      <a:pt x="567" y="701"/>
                    </a:lnTo>
                    <a:lnTo>
                      <a:pt x="565" y="701"/>
                    </a:lnTo>
                    <a:lnTo>
                      <a:pt x="567" y="701"/>
                    </a:lnTo>
                    <a:lnTo>
                      <a:pt x="565" y="701"/>
                    </a:lnTo>
                    <a:lnTo>
                      <a:pt x="567" y="701"/>
                    </a:lnTo>
                    <a:lnTo>
                      <a:pt x="567" y="699"/>
                    </a:lnTo>
                    <a:lnTo>
                      <a:pt x="567" y="701"/>
                    </a:lnTo>
                    <a:lnTo>
                      <a:pt x="567" y="699"/>
                    </a:lnTo>
                    <a:lnTo>
                      <a:pt x="563" y="697"/>
                    </a:lnTo>
                    <a:lnTo>
                      <a:pt x="563" y="695"/>
                    </a:lnTo>
                    <a:lnTo>
                      <a:pt x="561" y="695"/>
                    </a:lnTo>
                    <a:lnTo>
                      <a:pt x="559" y="693"/>
                    </a:lnTo>
                    <a:close/>
                    <a:moveTo>
                      <a:pt x="622" y="768"/>
                    </a:moveTo>
                    <a:lnTo>
                      <a:pt x="622" y="769"/>
                    </a:lnTo>
                    <a:lnTo>
                      <a:pt x="620" y="769"/>
                    </a:lnTo>
                    <a:lnTo>
                      <a:pt x="622" y="769"/>
                    </a:lnTo>
                    <a:lnTo>
                      <a:pt x="624" y="769"/>
                    </a:lnTo>
                    <a:lnTo>
                      <a:pt x="622" y="771"/>
                    </a:lnTo>
                    <a:lnTo>
                      <a:pt x="622" y="769"/>
                    </a:lnTo>
                    <a:lnTo>
                      <a:pt x="622" y="771"/>
                    </a:lnTo>
                    <a:lnTo>
                      <a:pt x="620" y="771"/>
                    </a:lnTo>
                    <a:lnTo>
                      <a:pt x="620" y="769"/>
                    </a:lnTo>
                    <a:lnTo>
                      <a:pt x="618" y="769"/>
                    </a:lnTo>
                    <a:lnTo>
                      <a:pt x="620" y="771"/>
                    </a:lnTo>
                    <a:lnTo>
                      <a:pt x="618" y="771"/>
                    </a:lnTo>
                    <a:lnTo>
                      <a:pt x="616" y="771"/>
                    </a:lnTo>
                    <a:lnTo>
                      <a:pt x="614" y="771"/>
                    </a:lnTo>
                    <a:lnTo>
                      <a:pt x="616" y="771"/>
                    </a:lnTo>
                    <a:lnTo>
                      <a:pt x="618" y="771"/>
                    </a:lnTo>
                    <a:lnTo>
                      <a:pt x="618" y="773"/>
                    </a:lnTo>
                    <a:lnTo>
                      <a:pt x="618" y="771"/>
                    </a:lnTo>
                    <a:lnTo>
                      <a:pt x="620" y="771"/>
                    </a:lnTo>
                    <a:lnTo>
                      <a:pt x="618" y="771"/>
                    </a:lnTo>
                    <a:lnTo>
                      <a:pt x="620" y="771"/>
                    </a:lnTo>
                    <a:lnTo>
                      <a:pt x="618" y="773"/>
                    </a:lnTo>
                    <a:lnTo>
                      <a:pt x="620" y="773"/>
                    </a:lnTo>
                    <a:lnTo>
                      <a:pt x="618" y="773"/>
                    </a:lnTo>
                    <a:lnTo>
                      <a:pt x="622" y="771"/>
                    </a:lnTo>
                    <a:lnTo>
                      <a:pt x="622" y="773"/>
                    </a:lnTo>
                    <a:lnTo>
                      <a:pt x="624" y="773"/>
                    </a:lnTo>
                    <a:lnTo>
                      <a:pt x="622" y="775"/>
                    </a:lnTo>
                    <a:lnTo>
                      <a:pt x="620" y="773"/>
                    </a:lnTo>
                    <a:lnTo>
                      <a:pt x="620" y="775"/>
                    </a:lnTo>
                    <a:lnTo>
                      <a:pt x="620" y="773"/>
                    </a:lnTo>
                    <a:lnTo>
                      <a:pt x="620" y="775"/>
                    </a:lnTo>
                    <a:lnTo>
                      <a:pt x="622" y="775"/>
                    </a:lnTo>
                    <a:lnTo>
                      <a:pt x="620" y="775"/>
                    </a:lnTo>
                    <a:lnTo>
                      <a:pt x="622" y="775"/>
                    </a:lnTo>
                    <a:lnTo>
                      <a:pt x="620" y="777"/>
                    </a:lnTo>
                    <a:lnTo>
                      <a:pt x="620" y="775"/>
                    </a:lnTo>
                    <a:lnTo>
                      <a:pt x="620" y="777"/>
                    </a:lnTo>
                    <a:lnTo>
                      <a:pt x="618" y="777"/>
                    </a:lnTo>
                    <a:lnTo>
                      <a:pt x="620" y="777"/>
                    </a:lnTo>
                    <a:lnTo>
                      <a:pt x="618" y="775"/>
                    </a:lnTo>
                    <a:lnTo>
                      <a:pt x="618" y="777"/>
                    </a:lnTo>
                    <a:lnTo>
                      <a:pt x="618" y="775"/>
                    </a:lnTo>
                    <a:lnTo>
                      <a:pt x="618" y="773"/>
                    </a:lnTo>
                    <a:lnTo>
                      <a:pt x="616" y="773"/>
                    </a:lnTo>
                    <a:lnTo>
                      <a:pt x="618" y="773"/>
                    </a:lnTo>
                    <a:lnTo>
                      <a:pt x="616" y="773"/>
                    </a:lnTo>
                    <a:lnTo>
                      <a:pt x="616" y="775"/>
                    </a:lnTo>
                    <a:lnTo>
                      <a:pt x="616" y="773"/>
                    </a:lnTo>
                    <a:lnTo>
                      <a:pt x="616" y="775"/>
                    </a:lnTo>
                    <a:lnTo>
                      <a:pt x="614" y="773"/>
                    </a:lnTo>
                    <a:lnTo>
                      <a:pt x="616" y="773"/>
                    </a:lnTo>
                    <a:lnTo>
                      <a:pt x="614" y="771"/>
                    </a:lnTo>
                    <a:lnTo>
                      <a:pt x="614" y="773"/>
                    </a:lnTo>
                    <a:lnTo>
                      <a:pt x="613" y="773"/>
                    </a:lnTo>
                    <a:lnTo>
                      <a:pt x="611" y="773"/>
                    </a:lnTo>
                    <a:lnTo>
                      <a:pt x="611" y="771"/>
                    </a:lnTo>
                    <a:lnTo>
                      <a:pt x="613" y="771"/>
                    </a:lnTo>
                    <a:lnTo>
                      <a:pt x="611" y="771"/>
                    </a:lnTo>
                    <a:lnTo>
                      <a:pt x="613" y="771"/>
                    </a:lnTo>
                    <a:lnTo>
                      <a:pt x="611" y="769"/>
                    </a:lnTo>
                    <a:lnTo>
                      <a:pt x="613" y="769"/>
                    </a:lnTo>
                    <a:lnTo>
                      <a:pt x="614" y="769"/>
                    </a:lnTo>
                    <a:lnTo>
                      <a:pt x="613" y="769"/>
                    </a:lnTo>
                    <a:lnTo>
                      <a:pt x="614" y="769"/>
                    </a:lnTo>
                    <a:lnTo>
                      <a:pt x="616" y="769"/>
                    </a:lnTo>
                    <a:lnTo>
                      <a:pt x="614" y="769"/>
                    </a:lnTo>
                    <a:lnTo>
                      <a:pt x="616" y="769"/>
                    </a:lnTo>
                    <a:lnTo>
                      <a:pt x="616" y="771"/>
                    </a:lnTo>
                    <a:lnTo>
                      <a:pt x="618" y="769"/>
                    </a:lnTo>
                    <a:lnTo>
                      <a:pt x="618" y="771"/>
                    </a:lnTo>
                    <a:lnTo>
                      <a:pt x="618" y="769"/>
                    </a:lnTo>
                    <a:lnTo>
                      <a:pt x="620" y="768"/>
                    </a:lnTo>
                    <a:lnTo>
                      <a:pt x="622" y="768"/>
                    </a:lnTo>
                    <a:close/>
                    <a:moveTo>
                      <a:pt x="567" y="521"/>
                    </a:moveTo>
                    <a:lnTo>
                      <a:pt x="567" y="523"/>
                    </a:lnTo>
                    <a:lnTo>
                      <a:pt x="569" y="523"/>
                    </a:lnTo>
                    <a:lnTo>
                      <a:pt x="569" y="525"/>
                    </a:lnTo>
                    <a:lnTo>
                      <a:pt x="569" y="527"/>
                    </a:lnTo>
                    <a:lnTo>
                      <a:pt x="569" y="529"/>
                    </a:lnTo>
                    <a:lnTo>
                      <a:pt x="567" y="529"/>
                    </a:lnTo>
                    <a:lnTo>
                      <a:pt x="569" y="529"/>
                    </a:lnTo>
                    <a:lnTo>
                      <a:pt x="567" y="529"/>
                    </a:lnTo>
                    <a:lnTo>
                      <a:pt x="567" y="527"/>
                    </a:lnTo>
                    <a:lnTo>
                      <a:pt x="565" y="527"/>
                    </a:lnTo>
                    <a:lnTo>
                      <a:pt x="563" y="527"/>
                    </a:lnTo>
                    <a:lnTo>
                      <a:pt x="565" y="527"/>
                    </a:lnTo>
                    <a:lnTo>
                      <a:pt x="567" y="527"/>
                    </a:lnTo>
                    <a:lnTo>
                      <a:pt x="565" y="527"/>
                    </a:lnTo>
                    <a:lnTo>
                      <a:pt x="563" y="527"/>
                    </a:lnTo>
                    <a:lnTo>
                      <a:pt x="563" y="525"/>
                    </a:lnTo>
                    <a:lnTo>
                      <a:pt x="561" y="525"/>
                    </a:lnTo>
                    <a:lnTo>
                      <a:pt x="561" y="523"/>
                    </a:lnTo>
                    <a:lnTo>
                      <a:pt x="561" y="525"/>
                    </a:lnTo>
                    <a:lnTo>
                      <a:pt x="559" y="523"/>
                    </a:lnTo>
                    <a:lnTo>
                      <a:pt x="561" y="523"/>
                    </a:lnTo>
                    <a:lnTo>
                      <a:pt x="563" y="523"/>
                    </a:lnTo>
                    <a:lnTo>
                      <a:pt x="565" y="523"/>
                    </a:lnTo>
                    <a:lnTo>
                      <a:pt x="565" y="521"/>
                    </a:lnTo>
                    <a:lnTo>
                      <a:pt x="567" y="521"/>
                    </a:lnTo>
                    <a:close/>
                    <a:moveTo>
                      <a:pt x="555" y="651"/>
                    </a:moveTo>
                    <a:lnTo>
                      <a:pt x="557" y="651"/>
                    </a:lnTo>
                    <a:lnTo>
                      <a:pt x="559" y="653"/>
                    </a:lnTo>
                    <a:lnTo>
                      <a:pt x="559" y="655"/>
                    </a:lnTo>
                    <a:lnTo>
                      <a:pt x="561" y="657"/>
                    </a:lnTo>
                    <a:lnTo>
                      <a:pt x="559" y="657"/>
                    </a:lnTo>
                    <a:lnTo>
                      <a:pt x="559" y="659"/>
                    </a:lnTo>
                    <a:lnTo>
                      <a:pt x="559" y="657"/>
                    </a:lnTo>
                    <a:lnTo>
                      <a:pt x="561" y="657"/>
                    </a:lnTo>
                    <a:lnTo>
                      <a:pt x="561" y="659"/>
                    </a:lnTo>
                    <a:lnTo>
                      <a:pt x="561" y="661"/>
                    </a:lnTo>
                    <a:lnTo>
                      <a:pt x="559" y="661"/>
                    </a:lnTo>
                    <a:lnTo>
                      <a:pt x="561" y="661"/>
                    </a:lnTo>
                    <a:lnTo>
                      <a:pt x="559" y="659"/>
                    </a:lnTo>
                    <a:lnTo>
                      <a:pt x="559" y="661"/>
                    </a:lnTo>
                    <a:lnTo>
                      <a:pt x="559" y="659"/>
                    </a:lnTo>
                    <a:lnTo>
                      <a:pt x="559" y="661"/>
                    </a:lnTo>
                    <a:lnTo>
                      <a:pt x="559" y="659"/>
                    </a:lnTo>
                    <a:lnTo>
                      <a:pt x="559" y="661"/>
                    </a:lnTo>
                    <a:lnTo>
                      <a:pt x="559" y="663"/>
                    </a:lnTo>
                    <a:lnTo>
                      <a:pt x="559" y="661"/>
                    </a:lnTo>
                    <a:lnTo>
                      <a:pt x="557" y="661"/>
                    </a:lnTo>
                    <a:lnTo>
                      <a:pt x="557" y="659"/>
                    </a:lnTo>
                    <a:lnTo>
                      <a:pt x="555" y="659"/>
                    </a:lnTo>
                    <a:lnTo>
                      <a:pt x="555" y="657"/>
                    </a:lnTo>
                    <a:lnTo>
                      <a:pt x="553" y="657"/>
                    </a:lnTo>
                    <a:lnTo>
                      <a:pt x="555" y="657"/>
                    </a:lnTo>
                    <a:lnTo>
                      <a:pt x="553" y="657"/>
                    </a:lnTo>
                    <a:lnTo>
                      <a:pt x="553" y="655"/>
                    </a:lnTo>
                    <a:lnTo>
                      <a:pt x="555" y="655"/>
                    </a:lnTo>
                    <a:lnTo>
                      <a:pt x="555" y="657"/>
                    </a:lnTo>
                    <a:lnTo>
                      <a:pt x="555" y="655"/>
                    </a:lnTo>
                    <a:lnTo>
                      <a:pt x="555" y="653"/>
                    </a:lnTo>
                    <a:lnTo>
                      <a:pt x="557" y="655"/>
                    </a:lnTo>
                    <a:lnTo>
                      <a:pt x="557" y="653"/>
                    </a:lnTo>
                    <a:lnTo>
                      <a:pt x="557" y="655"/>
                    </a:lnTo>
                    <a:lnTo>
                      <a:pt x="557" y="653"/>
                    </a:lnTo>
                    <a:lnTo>
                      <a:pt x="555" y="653"/>
                    </a:lnTo>
                    <a:lnTo>
                      <a:pt x="555" y="651"/>
                    </a:lnTo>
                    <a:lnTo>
                      <a:pt x="555" y="653"/>
                    </a:lnTo>
                    <a:lnTo>
                      <a:pt x="553" y="653"/>
                    </a:lnTo>
                    <a:lnTo>
                      <a:pt x="553" y="651"/>
                    </a:lnTo>
                    <a:lnTo>
                      <a:pt x="553" y="653"/>
                    </a:lnTo>
                    <a:lnTo>
                      <a:pt x="553" y="651"/>
                    </a:lnTo>
                    <a:lnTo>
                      <a:pt x="553" y="653"/>
                    </a:lnTo>
                    <a:lnTo>
                      <a:pt x="553" y="651"/>
                    </a:lnTo>
                    <a:lnTo>
                      <a:pt x="555" y="651"/>
                    </a:lnTo>
                    <a:close/>
                    <a:moveTo>
                      <a:pt x="546" y="594"/>
                    </a:moveTo>
                    <a:lnTo>
                      <a:pt x="548" y="594"/>
                    </a:lnTo>
                    <a:lnTo>
                      <a:pt x="550" y="594"/>
                    </a:lnTo>
                    <a:lnTo>
                      <a:pt x="550" y="596"/>
                    </a:lnTo>
                    <a:lnTo>
                      <a:pt x="550" y="598"/>
                    </a:lnTo>
                    <a:lnTo>
                      <a:pt x="550" y="596"/>
                    </a:lnTo>
                    <a:lnTo>
                      <a:pt x="550" y="598"/>
                    </a:lnTo>
                    <a:lnTo>
                      <a:pt x="552" y="596"/>
                    </a:lnTo>
                    <a:lnTo>
                      <a:pt x="552" y="598"/>
                    </a:lnTo>
                    <a:lnTo>
                      <a:pt x="550" y="598"/>
                    </a:lnTo>
                    <a:lnTo>
                      <a:pt x="552" y="598"/>
                    </a:lnTo>
                    <a:lnTo>
                      <a:pt x="552" y="600"/>
                    </a:lnTo>
                    <a:lnTo>
                      <a:pt x="550" y="600"/>
                    </a:lnTo>
                    <a:lnTo>
                      <a:pt x="548" y="602"/>
                    </a:lnTo>
                    <a:lnTo>
                      <a:pt x="548" y="600"/>
                    </a:lnTo>
                    <a:lnTo>
                      <a:pt x="546" y="600"/>
                    </a:lnTo>
                    <a:lnTo>
                      <a:pt x="546" y="598"/>
                    </a:lnTo>
                    <a:lnTo>
                      <a:pt x="548" y="598"/>
                    </a:lnTo>
                    <a:lnTo>
                      <a:pt x="546" y="598"/>
                    </a:lnTo>
                    <a:lnTo>
                      <a:pt x="548" y="596"/>
                    </a:lnTo>
                    <a:lnTo>
                      <a:pt x="546" y="598"/>
                    </a:lnTo>
                    <a:lnTo>
                      <a:pt x="546" y="596"/>
                    </a:lnTo>
                    <a:lnTo>
                      <a:pt x="546" y="598"/>
                    </a:lnTo>
                    <a:lnTo>
                      <a:pt x="546" y="596"/>
                    </a:lnTo>
                    <a:lnTo>
                      <a:pt x="546" y="594"/>
                    </a:lnTo>
                    <a:lnTo>
                      <a:pt x="546" y="596"/>
                    </a:lnTo>
                    <a:lnTo>
                      <a:pt x="546" y="594"/>
                    </a:lnTo>
                    <a:lnTo>
                      <a:pt x="544" y="594"/>
                    </a:lnTo>
                    <a:lnTo>
                      <a:pt x="546" y="594"/>
                    </a:lnTo>
                    <a:close/>
                    <a:moveTo>
                      <a:pt x="557" y="684"/>
                    </a:moveTo>
                    <a:lnTo>
                      <a:pt x="559" y="684"/>
                    </a:lnTo>
                    <a:lnTo>
                      <a:pt x="557" y="685"/>
                    </a:lnTo>
                    <a:lnTo>
                      <a:pt x="559" y="684"/>
                    </a:lnTo>
                    <a:lnTo>
                      <a:pt x="559" y="685"/>
                    </a:lnTo>
                    <a:lnTo>
                      <a:pt x="561" y="685"/>
                    </a:lnTo>
                    <a:lnTo>
                      <a:pt x="561" y="687"/>
                    </a:lnTo>
                    <a:lnTo>
                      <a:pt x="561" y="685"/>
                    </a:lnTo>
                    <a:lnTo>
                      <a:pt x="561" y="687"/>
                    </a:lnTo>
                    <a:lnTo>
                      <a:pt x="563" y="687"/>
                    </a:lnTo>
                    <a:lnTo>
                      <a:pt x="563" y="689"/>
                    </a:lnTo>
                    <a:lnTo>
                      <a:pt x="563" y="687"/>
                    </a:lnTo>
                    <a:lnTo>
                      <a:pt x="563" y="689"/>
                    </a:lnTo>
                    <a:lnTo>
                      <a:pt x="565" y="689"/>
                    </a:lnTo>
                    <a:lnTo>
                      <a:pt x="563" y="691"/>
                    </a:lnTo>
                    <a:lnTo>
                      <a:pt x="565" y="689"/>
                    </a:lnTo>
                    <a:lnTo>
                      <a:pt x="567" y="691"/>
                    </a:lnTo>
                    <a:lnTo>
                      <a:pt x="567" y="693"/>
                    </a:lnTo>
                    <a:lnTo>
                      <a:pt x="569" y="693"/>
                    </a:lnTo>
                    <a:lnTo>
                      <a:pt x="569" y="695"/>
                    </a:lnTo>
                    <a:lnTo>
                      <a:pt x="569" y="697"/>
                    </a:lnTo>
                    <a:lnTo>
                      <a:pt x="567" y="695"/>
                    </a:lnTo>
                    <a:lnTo>
                      <a:pt x="565" y="693"/>
                    </a:lnTo>
                    <a:lnTo>
                      <a:pt x="563" y="693"/>
                    </a:lnTo>
                    <a:lnTo>
                      <a:pt x="563" y="691"/>
                    </a:lnTo>
                    <a:lnTo>
                      <a:pt x="565" y="691"/>
                    </a:lnTo>
                    <a:lnTo>
                      <a:pt x="563" y="691"/>
                    </a:lnTo>
                    <a:lnTo>
                      <a:pt x="563" y="689"/>
                    </a:lnTo>
                    <a:lnTo>
                      <a:pt x="561" y="689"/>
                    </a:lnTo>
                    <a:lnTo>
                      <a:pt x="559" y="689"/>
                    </a:lnTo>
                    <a:lnTo>
                      <a:pt x="559" y="687"/>
                    </a:lnTo>
                    <a:lnTo>
                      <a:pt x="559" y="689"/>
                    </a:lnTo>
                    <a:lnTo>
                      <a:pt x="559" y="687"/>
                    </a:lnTo>
                    <a:lnTo>
                      <a:pt x="557" y="687"/>
                    </a:lnTo>
                    <a:lnTo>
                      <a:pt x="557" y="685"/>
                    </a:lnTo>
                    <a:lnTo>
                      <a:pt x="555" y="684"/>
                    </a:lnTo>
                    <a:lnTo>
                      <a:pt x="557" y="685"/>
                    </a:lnTo>
                    <a:lnTo>
                      <a:pt x="555" y="684"/>
                    </a:lnTo>
                    <a:lnTo>
                      <a:pt x="557" y="684"/>
                    </a:lnTo>
                    <a:close/>
                    <a:moveTo>
                      <a:pt x="632" y="768"/>
                    </a:moveTo>
                    <a:lnTo>
                      <a:pt x="634" y="768"/>
                    </a:lnTo>
                    <a:lnTo>
                      <a:pt x="635" y="768"/>
                    </a:lnTo>
                    <a:lnTo>
                      <a:pt x="635" y="769"/>
                    </a:lnTo>
                    <a:lnTo>
                      <a:pt x="635" y="768"/>
                    </a:lnTo>
                    <a:lnTo>
                      <a:pt x="639" y="769"/>
                    </a:lnTo>
                    <a:lnTo>
                      <a:pt x="641" y="769"/>
                    </a:lnTo>
                    <a:lnTo>
                      <a:pt x="639" y="771"/>
                    </a:lnTo>
                    <a:lnTo>
                      <a:pt x="637" y="769"/>
                    </a:lnTo>
                    <a:lnTo>
                      <a:pt x="639" y="771"/>
                    </a:lnTo>
                    <a:lnTo>
                      <a:pt x="637" y="771"/>
                    </a:lnTo>
                    <a:lnTo>
                      <a:pt x="635" y="771"/>
                    </a:lnTo>
                    <a:lnTo>
                      <a:pt x="634" y="771"/>
                    </a:lnTo>
                    <a:lnTo>
                      <a:pt x="634" y="773"/>
                    </a:lnTo>
                    <a:lnTo>
                      <a:pt x="632" y="771"/>
                    </a:lnTo>
                    <a:lnTo>
                      <a:pt x="630" y="773"/>
                    </a:lnTo>
                    <a:lnTo>
                      <a:pt x="630" y="771"/>
                    </a:lnTo>
                    <a:lnTo>
                      <a:pt x="630" y="773"/>
                    </a:lnTo>
                    <a:lnTo>
                      <a:pt x="630" y="771"/>
                    </a:lnTo>
                    <a:lnTo>
                      <a:pt x="630" y="773"/>
                    </a:lnTo>
                    <a:lnTo>
                      <a:pt x="628" y="773"/>
                    </a:lnTo>
                    <a:lnTo>
                      <a:pt x="630" y="771"/>
                    </a:lnTo>
                    <a:lnTo>
                      <a:pt x="628" y="771"/>
                    </a:lnTo>
                    <a:lnTo>
                      <a:pt x="628" y="769"/>
                    </a:lnTo>
                    <a:lnTo>
                      <a:pt x="630" y="769"/>
                    </a:lnTo>
                    <a:lnTo>
                      <a:pt x="628" y="769"/>
                    </a:lnTo>
                    <a:lnTo>
                      <a:pt x="630" y="768"/>
                    </a:lnTo>
                    <a:lnTo>
                      <a:pt x="632" y="769"/>
                    </a:lnTo>
                    <a:lnTo>
                      <a:pt x="632" y="771"/>
                    </a:lnTo>
                    <a:lnTo>
                      <a:pt x="632" y="769"/>
                    </a:lnTo>
                    <a:lnTo>
                      <a:pt x="634" y="769"/>
                    </a:lnTo>
                    <a:lnTo>
                      <a:pt x="632" y="769"/>
                    </a:lnTo>
                    <a:lnTo>
                      <a:pt x="634" y="769"/>
                    </a:lnTo>
                    <a:lnTo>
                      <a:pt x="632" y="768"/>
                    </a:lnTo>
                    <a:close/>
                    <a:moveTo>
                      <a:pt x="544" y="602"/>
                    </a:moveTo>
                    <a:lnTo>
                      <a:pt x="542" y="603"/>
                    </a:lnTo>
                    <a:lnTo>
                      <a:pt x="544" y="603"/>
                    </a:lnTo>
                    <a:lnTo>
                      <a:pt x="544" y="602"/>
                    </a:lnTo>
                    <a:lnTo>
                      <a:pt x="544" y="603"/>
                    </a:lnTo>
                    <a:lnTo>
                      <a:pt x="542" y="603"/>
                    </a:lnTo>
                    <a:lnTo>
                      <a:pt x="544" y="603"/>
                    </a:lnTo>
                    <a:lnTo>
                      <a:pt x="544" y="605"/>
                    </a:lnTo>
                    <a:lnTo>
                      <a:pt x="542" y="607"/>
                    </a:lnTo>
                    <a:lnTo>
                      <a:pt x="542" y="609"/>
                    </a:lnTo>
                    <a:lnTo>
                      <a:pt x="540" y="609"/>
                    </a:lnTo>
                    <a:lnTo>
                      <a:pt x="542" y="607"/>
                    </a:lnTo>
                    <a:lnTo>
                      <a:pt x="540" y="609"/>
                    </a:lnTo>
                    <a:lnTo>
                      <a:pt x="538" y="609"/>
                    </a:lnTo>
                    <a:lnTo>
                      <a:pt x="538" y="607"/>
                    </a:lnTo>
                    <a:lnTo>
                      <a:pt x="540" y="609"/>
                    </a:lnTo>
                    <a:lnTo>
                      <a:pt x="540" y="607"/>
                    </a:lnTo>
                    <a:lnTo>
                      <a:pt x="542" y="607"/>
                    </a:lnTo>
                    <a:lnTo>
                      <a:pt x="544" y="605"/>
                    </a:lnTo>
                    <a:lnTo>
                      <a:pt x="540" y="607"/>
                    </a:lnTo>
                    <a:lnTo>
                      <a:pt x="538" y="607"/>
                    </a:lnTo>
                    <a:lnTo>
                      <a:pt x="540" y="605"/>
                    </a:lnTo>
                    <a:lnTo>
                      <a:pt x="542" y="607"/>
                    </a:lnTo>
                    <a:lnTo>
                      <a:pt x="540" y="607"/>
                    </a:lnTo>
                    <a:lnTo>
                      <a:pt x="542" y="605"/>
                    </a:lnTo>
                    <a:lnTo>
                      <a:pt x="540" y="605"/>
                    </a:lnTo>
                    <a:lnTo>
                      <a:pt x="542" y="603"/>
                    </a:lnTo>
                    <a:lnTo>
                      <a:pt x="540" y="605"/>
                    </a:lnTo>
                    <a:lnTo>
                      <a:pt x="538" y="605"/>
                    </a:lnTo>
                    <a:lnTo>
                      <a:pt x="538" y="603"/>
                    </a:lnTo>
                    <a:lnTo>
                      <a:pt x="538" y="602"/>
                    </a:lnTo>
                    <a:lnTo>
                      <a:pt x="540" y="602"/>
                    </a:lnTo>
                    <a:lnTo>
                      <a:pt x="540" y="603"/>
                    </a:lnTo>
                    <a:lnTo>
                      <a:pt x="542" y="602"/>
                    </a:lnTo>
                    <a:lnTo>
                      <a:pt x="540" y="602"/>
                    </a:lnTo>
                    <a:lnTo>
                      <a:pt x="542" y="602"/>
                    </a:lnTo>
                    <a:lnTo>
                      <a:pt x="542" y="603"/>
                    </a:lnTo>
                    <a:lnTo>
                      <a:pt x="542" y="602"/>
                    </a:lnTo>
                    <a:lnTo>
                      <a:pt x="544" y="602"/>
                    </a:lnTo>
                    <a:close/>
                    <a:moveTo>
                      <a:pt x="563" y="586"/>
                    </a:moveTo>
                    <a:lnTo>
                      <a:pt x="563" y="588"/>
                    </a:lnTo>
                    <a:lnTo>
                      <a:pt x="565" y="586"/>
                    </a:lnTo>
                    <a:lnTo>
                      <a:pt x="567" y="588"/>
                    </a:lnTo>
                    <a:lnTo>
                      <a:pt x="567" y="590"/>
                    </a:lnTo>
                    <a:lnTo>
                      <a:pt x="565" y="590"/>
                    </a:lnTo>
                    <a:lnTo>
                      <a:pt x="567" y="590"/>
                    </a:lnTo>
                    <a:lnTo>
                      <a:pt x="565" y="588"/>
                    </a:lnTo>
                    <a:lnTo>
                      <a:pt x="565" y="590"/>
                    </a:lnTo>
                    <a:lnTo>
                      <a:pt x="563" y="590"/>
                    </a:lnTo>
                    <a:lnTo>
                      <a:pt x="561" y="590"/>
                    </a:lnTo>
                    <a:lnTo>
                      <a:pt x="559" y="590"/>
                    </a:lnTo>
                    <a:lnTo>
                      <a:pt x="559" y="588"/>
                    </a:lnTo>
                    <a:lnTo>
                      <a:pt x="559" y="590"/>
                    </a:lnTo>
                    <a:lnTo>
                      <a:pt x="557" y="590"/>
                    </a:lnTo>
                    <a:lnTo>
                      <a:pt x="555" y="588"/>
                    </a:lnTo>
                    <a:lnTo>
                      <a:pt x="557" y="588"/>
                    </a:lnTo>
                    <a:lnTo>
                      <a:pt x="559" y="586"/>
                    </a:lnTo>
                    <a:lnTo>
                      <a:pt x="561" y="588"/>
                    </a:lnTo>
                    <a:lnTo>
                      <a:pt x="559" y="586"/>
                    </a:lnTo>
                    <a:lnTo>
                      <a:pt x="561" y="586"/>
                    </a:lnTo>
                    <a:lnTo>
                      <a:pt x="563" y="588"/>
                    </a:lnTo>
                    <a:lnTo>
                      <a:pt x="561" y="586"/>
                    </a:lnTo>
                    <a:lnTo>
                      <a:pt x="563" y="586"/>
                    </a:lnTo>
                    <a:close/>
                    <a:moveTo>
                      <a:pt x="540" y="630"/>
                    </a:moveTo>
                    <a:lnTo>
                      <a:pt x="542" y="630"/>
                    </a:lnTo>
                    <a:lnTo>
                      <a:pt x="544" y="632"/>
                    </a:lnTo>
                    <a:lnTo>
                      <a:pt x="546" y="636"/>
                    </a:lnTo>
                    <a:lnTo>
                      <a:pt x="546" y="638"/>
                    </a:lnTo>
                    <a:lnTo>
                      <a:pt x="546" y="636"/>
                    </a:lnTo>
                    <a:lnTo>
                      <a:pt x="544" y="636"/>
                    </a:lnTo>
                    <a:lnTo>
                      <a:pt x="544" y="638"/>
                    </a:lnTo>
                    <a:lnTo>
                      <a:pt x="542" y="638"/>
                    </a:lnTo>
                    <a:lnTo>
                      <a:pt x="542" y="636"/>
                    </a:lnTo>
                    <a:lnTo>
                      <a:pt x="542" y="634"/>
                    </a:lnTo>
                    <a:lnTo>
                      <a:pt x="542" y="632"/>
                    </a:lnTo>
                    <a:lnTo>
                      <a:pt x="542" y="634"/>
                    </a:lnTo>
                    <a:lnTo>
                      <a:pt x="540" y="634"/>
                    </a:lnTo>
                    <a:lnTo>
                      <a:pt x="538" y="636"/>
                    </a:lnTo>
                    <a:lnTo>
                      <a:pt x="538" y="634"/>
                    </a:lnTo>
                    <a:lnTo>
                      <a:pt x="540" y="634"/>
                    </a:lnTo>
                    <a:lnTo>
                      <a:pt x="540" y="632"/>
                    </a:lnTo>
                    <a:lnTo>
                      <a:pt x="540" y="634"/>
                    </a:lnTo>
                    <a:lnTo>
                      <a:pt x="540" y="632"/>
                    </a:lnTo>
                    <a:lnTo>
                      <a:pt x="538" y="632"/>
                    </a:lnTo>
                    <a:lnTo>
                      <a:pt x="538" y="630"/>
                    </a:lnTo>
                    <a:lnTo>
                      <a:pt x="540" y="630"/>
                    </a:lnTo>
                    <a:close/>
                    <a:moveTo>
                      <a:pt x="561" y="514"/>
                    </a:moveTo>
                    <a:lnTo>
                      <a:pt x="565" y="514"/>
                    </a:lnTo>
                    <a:lnTo>
                      <a:pt x="567" y="516"/>
                    </a:lnTo>
                    <a:lnTo>
                      <a:pt x="565" y="516"/>
                    </a:lnTo>
                    <a:lnTo>
                      <a:pt x="565" y="514"/>
                    </a:lnTo>
                    <a:lnTo>
                      <a:pt x="563" y="514"/>
                    </a:lnTo>
                    <a:lnTo>
                      <a:pt x="565" y="516"/>
                    </a:lnTo>
                    <a:lnTo>
                      <a:pt x="563" y="518"/>
                    </a:lnTo>
                    <a:lnTo>
                      <a:pt x="561" y="518"/>
                    </a:lnTo>
                    <a:lnTo>
                      <a:pt x="559" y="518"/>
                    </a:lnTo>
                    <a:lnTo>
                      <a:pt x="557" y="516"/>
                    </a:lnTo>
                    <a:lnTo>
                      <a:pt x="561" y="516"/>
                    </a:lnTo>
                    <a:lnTo>
                      <a:pt x="559" y="516"/>
                    </a:lnTo>
                    <a:lnTo>
                      <a:pt x="561" y="516"/>
                    </a:lnTo>
                    <a:lnTo>
                      <a:pt x="559" y="516"/>
                    </a:lnTo>
                    <a:lnTo>
                      <a:pt x="557" y="516"/>
                    </a:lnTo>
                    <a:lnTo>
                      <a:pt x="557" y="514"/>
                    </a:lnTo>
                    <a:lnTo>
                      <a:pt x="559" y="514"/>
                    </a:lnTo>
                    <a:lnTo>
                      <a:pt x="561" y="514"/>
                    </a:lnTo>
                    <a:close/>
                    <a:moveTo>
                      <a:pt x="553" y="670"/>
                    </a:moveTo>
                    <a:lnTo>
                      <a:pt x="555" y="670"/>
                    </a:lnTo>
                    <a:lnTo>
                      <a:pt x="555" y="672"/>
                    </a:lnTo>
                    <a:lnTo>
                      <a:pt x="555" y="670"/>
                    </a:lnTo>
                    <a:lnTo>
                      <a:pt x="555" y="672"/>
                    </a:lnTo>
                    <a:lnTo>
                      <a:pt x="553" y="672"/>
                    </a:lnTo>
                    <a:lnTo>
                      <a:pt x="553" y="670"/>
                    </a:lnTo>
                    <a:lnTo>
                      <a:pt x="553" y="672"/>
                    </a:lnTo>
                    <a:lnTo>
                      <a:pt x="555" y="672"/>
                    </a:lnTo>
                    <a:lnTo>
                      <a:pt x="555" y="674"/>
                    </a:lnTo>
                    <a:lnTo>
                      <a:pt x="555" y="672"/>
                    </a:lnTo>
                    <a:lnTo>
                      <a:pt x="555" y="674"/>
                    </a:lnTo>
                    <a:lnTo>
                      <a:pt x="553" y="676"/>
                    </a:lnTo>
                    <a:lnTo>
                      <a:pt x="553" y="674"/>
                    </a:lnTo>
                    <a:lnTo>
                      <a:pt x="553" y="672"/>
                    </a:lnTo>
                    <a:lnTo>
                      <a:pt x="552" y="672"/>
                    </a:lnTo>
                    <a:lnTo>
                      <a:pt x="553" y="674"/>
                    </a:lnTo>
                    <a:lnTo>
                      <a:pt x="552" y="674"/>
                    </a:lnTo>
                    <a:lnTo>
                      <a:pt x="552" y="676"/>
                    </a:lnTo>
                    <a:lnTo>
                      <a:pt x="550" y="676"/>
                    </a:lnTo>
                    <a:lnTo>
                      <a:pt x="548" y="678"/>
                    </a:lnTo>
                    <a:lnTo>
                      <a:pt x="548" y="676"/>
                    </a:lnTo>
                    <a:lnTo>
                      <a:pt x="550" y="676"/>
                    </a:lnTo>
                    <a:lnTo>
                      <a:pt x="550" y="674"/>
                    </a:lnTo>
                    <a:lnTo>
                      <a:pt x="552" y="674"/>
                    </a:lnTo>
                    <a:lnTo>
                      <a:pt x="550" y="674"/>
                    </a:lnTo>
                    <a:lnTo>
                      <a:pt x="548" y="674"/>
                    </a:lnTo>
                    <a:lnTo>
                      <a:pt x="550" y="674"/>
                    </a:lnTo>
                    <a:lnTo>
                      <a:pt x="548" y="674"/>
                    </a:lnTo>
                    <a:lnTo>
                      <a:pt x="548" y="672"/>
                    </a:lnTo>
                    <a:lnTo>
                      <a:pt x="550" y="672"/>
                    </a:lnTo>
                    <a:lnTo>
                      <a:pt x="552" y="672"/>
                    </a:lnTo>
                    <a:lnTo>
                      <a:pt x="550" y="672"/>
                    </a:lnTo>
                    <a:lnTo>
                      <a:pt x="550" y="670"/>
                    </a:lnTo>
                    <a:lnTo>
                      <a:pt x="552" y="672"/>
                    </a:lnTo>
                    <a:lnTo>
                      <a:pt x="552" y="670"/>
                    </a:lnTo>
                    <a:lnTo>
                      <a:pt x="553" y="670"/>
                    </a:lnTo>
                    <a:close/>
                    <a:moveTo>
                      <a:pt x="542" y="651"/>
                    </a:moveTo>
                    <a:lnTo>
                      <a:pt x="542" y="653"/>
                    </a:lnTo>
                    <a:lnTo>
                      <a:pt x="542" y="651"/>
                    </a:lnTo>
                    <a:lnTo>
                      <a:pt x="544" y="651"/>
                    </a:lnTo>
                    <a:lnTo>
                      <a:pt x="544" y="653"/>
                    </a:lnTo>
                    <a:lnTo>
                      <a:pt x="544" y="651"/>
                    </a:lnTo>
                    <a:lnTo>
                      <a:pt x="544" y="653"/>
                    </a:lnTo>
                    <a:lnTo>
                      <a:pt x="548" y="653"/>
                    </a:lnTo>
                    <a:lnTo>
                      <a:pt x="546" y="653"/>
                    </a:lnTo>
                    <a:lnTo>
                      <a:pt x="546" y="655"/>
                    </a:lnTo>
                    <a:lnTo>
                      <a:pt x="544" y="655"/>
                    </a:lnTo>
                    <a:lnTo>
                      <a:pt x="544" y="653"/>
                    </a:lnTo>
                    <a:lnTo>
                      <a:pt x="544" y="655"/>
                    </a:lnTo>
                    <a:lnTo>
                      <a:pt x="546" y="655"/>
                    </a:lnTo>
                    <a:lnTo>
                      <a:pt x="544" y="655"/>
                    </a:lnTo>
                    <a:lnTo>
                      <a:pt x="544" y="653"/>
                    </a:lnTo>
                    <a:lnTo>
                      <a:pt x="542" y="653"/>
                    </a:lnTo>
                    <a:lnTo>
                      <a:pt x="542" y="655"/>
                    </a:lnTo>
                    <a:lnTo>
                      <a:pt x="544" y="655"/>
                    </a:lnTo>
                    <a:lnTo>
                      <a:pt x="544" y="657"/>
                    </a:lnTo>
                    <a:lnTo>
                      <a:pt x="542" y="655"/>
                    </a:lnTo>
                    <a:lnTo>
                      <a:pt x="544" y="657"/>
                    </a:lnTo>
                    <a:lnTo>
                      <a:pt x="542" y="657"/>
                    </a:lnTo>
                    <a:lnTo>
                      <a:pt x="544" y="659"/>
                    </a:lnTo>
                    <a:lnTo>
                      <a:pt x="544" y="661"/>
                    </a:lnTo>
                    <a:lnTo>
                      <a:pt x="542" y="661"/>
                    </a:lnTo>
                    <a:lnTo>
                      <a:pt x="542" y="659"/>
                    </a:lnTo>
                    <a:lnTo>
                      <a:pt x="540" y="659"/>
                    </a:lnTo>
                    <a:lnTo>
                      <a:pt x="542" y="659"/>
                    </a:lnTo>
                    <a:lnTo>
                      <a:pt x="540" y="659"/>
                    </a:lnTo>
                    <a:lnTo>
                      <a:pt x="540" y="657"/>
                    </a:lnTo>
                    <a:lnTo>
                      <a:pt x="542" y="657"/>
                    </a:lnTo>
                    <a:lnTo>
                      <a:pt x="540" y="657"/>
                    </a:lnTo>
                    <a:lnTo>
                      <a:pt x="540" y="655"/>
                    </a:lnTo>
                    <a:lnTo>
                      <a:pt x="540" y="657"/>
                    </a:lnTo>
                    <a:lnTo>
                      <a:pt x="540" y="655"/>
                    </a:lnTo>
                    <a:lnTo>
                      <a:pt x="542" y="655"/>
                    </a:lnTo>
                    <a:lnTo>
                      <a:pt x="542" y="653"/>
                    </a:lnTo>
                    <a:lnTo>
                      <a:pt x="540" y="655"/>
                    </a:lnTo>
                    <a:lnTo>
                      <a:pt x="540" y="653"/>
                    </a:lnTo>
                    <a:lnTo>
                      <a:pt x="540" y="651"/>
                    </a:lnTo>
                    <a:lnTo>
                      <a:pt x="542" y="653"/>
                    </a:lnTo>
                    <a:lnTo>
                      <a:pt x="540" y="651"/>
                    </a:lnTo>
                    <a:lnTo>
                      <a:pt x="542" y="651"/>
                    </a:lnTo>
                    <a:close/>
                    <a:moveTo>
                      <a:pt x="540" y="611"/>
                    </a:moveTo>
                    <a:lnTo>
                      <a:pt x="542" y="611"/>
                    </a:lnTo>
                    <a:lnTo>
                      <a:pt x="540" y="613"/>
                    </a:lnTo>
                    <a:lnTo>
                      <a:pt x="542" y="611"/>
                    </a:lnTo>
                    <a:lnTo>
                      <a:pt x="542" y="613"/>
                    </a:lnTo>
                    <a:lnTo>
                      <a:pt x="542" y="611"/>
                    </a:lnTo>
                    <a:lnTo>
                      <a:pt x="542" y="613"/>
                    </a:lnTo>
                    <a:lnTo>
                      <a:pt x="544" y="613"/>
                    </a:lnTo>
                    <a:lnTo>
                      <a:pt x="542" y="611"/>
                    </a:lnTo>
                    <a:lnTo>
                      <a:pt x="544" y="611"/>
                    </a:lnTo>
                    <a:lnTo>
                      <a:pt x="544" y="613"/>
                    </a:lnTo>
                    <a:lnTo>
                      <a:pt x="546" y="615"/>
                    </a:lnTo>
                    <a:lnTo>
                      <a:pt x="544" y="615"/>
                    </a:lnTo>
                    <a:lnTo>
                      <a:pt x="546" y="615"/>
                    </a:lnTo>
                    <a:lnTo>
                      <a:pt x="544" y="617"/>
                    </a:lnTo>
                    <a:lnTo>
                      <a:pt x="544" y="615"/>
                    </a:lnTo>
                    <a:lnTo>
                      <a:pt x="544" y="613"/>
                    </a:lnTo>
                    <a:lnTo>
                      <a:pt x="542" y="615"/>
                    </a:lnTo>
                    <a:lnTo>
                      <a:pt x="542" y="613"/>
                    </a:lnTo>
                    <a:lnTo>
                      <a:pt x="540" y="617"/>
                    </a:lnTo>
                    <a:lnTo>
                      <a:pt x="538" y="615"/>
                    </a:lnTo>
                    <a:lnTo>
                      <a:pt x="540" y="615"/>
                    </a:lnTo>
                    <a:lnTo>
                      <a:pt x="542" y="613"/>
                    </a:lnTo>
                    <a:lnTo>
                      <a:pt x="540" y="613"/>
                    </a:lnTo>
                    <a:lnTo>
                      <a:pt x="540" y="615"/>
                    </a:lnTo>
                    <a:lnTo>
                      <a:pt x="538" y="613"/>
                    </a:lnTo>
                    <a:lnTo>
                      <a:pt x="538" y="611"/>
                    </a:lnTo>
                    <a:lnTo>
                      <a:pt x="540" y="611"/>
                    </a:lnTo>
                    <a:close/>
                    <a:moveTo>
                      <a:pt x="550" y="682"/>
                    </a:moveTo>
                    <a:lnTo>
                      <a:pt x="552" y="682"/>
                    </a:lnTo>
                    <a:lnTo>
                      <a:pt x="552" y="684"/>
                    </a:lnTo>
                    <a:lnTo>
                      <a:pt x="552" y="685"/>
                    </a:lnTo>
                    <a:lnTo>
                      <a:pt x="552" y="687"/>
                    </a:lnTo>
                    <a:lnTo>
                      <a:pt x="552" y="689"/>
                    </a:lnTo>
                    <a:lnTo>
                      <a:pt x="550" y="689"/>
                    </a:lnTo>
                    <a:lnTo>
                      <a:pt x="552" y="689"/>
                    </a:lnTo>
                    <a:lnTo>
                      <a:pt x="550" y="689"/>
                    </a:lnTo>
                    <a:lnTo>
                      <a:pt x="552" y="689"/>
                    </a:lnTo>
                    <a:lnTo>
                      <a:pt x="550" y="689"/>
                    </a:lnTo>
                    <a:lnTo>
                      <a:pt x="550" y="691"/>
                    </a:lnTo>
                    <a:lnTo>
                      <a:pt x="550" y="693"/>
                    </a:lnTo>
                    <a:lnTo>
                      <a:pt x="550" y="695"/>
                    </a:lnTo>
                    <a:lnTo>
                      <a:pt x="548" y="693"/>
                    </a:lnTo>
                    <a:lnTo>
                      <a:pt x="550" y="693"/>
                    </a:lnTo>
                    <a:lnTo>
                      <a:pt x="548" y="693"/>
                    </a:lnTo>
                    <a:lnTo>
                      <a:pt x="548" y="691"/>
                    </a:lnTo>
                    <a:lnTo>
                      <a:pt x="548" y="693"/>
                    </a:lnTo>
                    <a:lnTo>
                      <a:pt x="548" y="691"/>
                    </a:lnTo>
                    <a:lnTo>
                      <a:pt x="548" y="693"/>
                    </a:lnTo>
                    <a:lnTo>
                      <a:pt x="548" y="691"/>
                    </a:lnTo>
                    <a:lnTo>
                      <a:pt x="548" y="689"/>
                    </a:lnTo>
                    <a:lnTo>
                      <a:pt x="548" y="687"/>
                    </a:lnTo>
                    <a:lnTo>
                      <a:pt x="548" y="685"/>
                    </a:lnTo>
                    <a:lnTo>
                      <a:pt x="550" y="685"/>
                    </a:lnTo>
                    <a:lnTo>
                      <a:pt x="550" y="687"/>
                    </a:lnTo>
                    <a:lnTo>
                      <a:pt x="550" y="689"/>
                    </a:lnTo>
                    <a:lnTo>
                      <a:pt x="550" y="687"/>
                    </a:lnTo>
                    <a:lnTo>
                      <a:pt x="550" y="689"/>
                    </a:lnTo>
                    <a:lnTo>
                      <a:pt x="550" y="687"/>
                    </a:lnTo>
                    <a:lnTo>
                      <a:pt x="550" y="689"/>
                    </a:lnTo>
                    <a:lnTo>
                      <a:pt x="550" y="687"/>
                    </a:lnTo>
                    <a:lnTo>
                      <a:pt x="552" y="687"/>
                    </a:lnTo>
                    <a:lnTo>
                      <a:pt x="552" y="685"/>
                    </a:lnTo>
                    <a:lnTo>
                      <a:pt x="550" y="687"/>
                    </a:lnTo>
                    <a:lnTo>
                      <a:pt x="550" y="685"/>
                    </a:lnTo>
                    <a:lnTo>
                      <a:pt x="550" y="684"/>
                    </a:lnTo>
                    <a:lnTo>
                      <a:pt x="550" y="685"/>
                    </a:lnTo>
                    <a:lnTo>
                      <a:pt x="550" y="684"/>
                    </a:lnTo>
                    <a:lnTo>
                      <a:pt x="552" y="685"/>
                    </a:lnTo>
                    <a:lnTo>
                      <a:pt x="550" y="684"/>
                    </a:lnTo>
                    <a:lnTo>
                      <a:pt x="550" y="682"/>
                    </a:lnTo>
                    <a:close/>
                    <a:moveTo>
                      <a:pt x="559" y="693"/>
                    </a:moveTo>
                    <a:lnTo>
                      <a:pt x="561" y="693"/>
                    </a:lnTo>
                    <a:lnTo>
                      <a:pt x="563" y="697"/>
                    </a:lnTo>
                    <a:lnTo>
                      <a:pt x="565" y="699"/>
                    </a:lnTo>
                    <a:lnTo>
                      <a:pt x="565" y="701"/>
                    </a:lnTo>
                    <a:lnTo>
                      <a:pt x="563" y="699"/>
                    </a:lnTo>
                    <a:lnTo>
                      <a:pt x="565" y="701"/>
                    </a:lnTo>
                    <a:lnTo>
                      <a:pt x="563" y="699"/>
                    </a:lnTo>
                    <a:lnTo>
                      <a:pt x="565" y="701"/>
                    </a:lnTo>
                    <a:lnTo>
                      <a:pt x="563" y="701"/>
                    </a:lnTo>
                    <a:lnTo>
                      <a:pt x="561" y="701"/>
                    </a:lnTo>
                    <a:lnTo>
                      <a:pt x="561" y="699"/>
                    </a:lnTo>
                    <a:lnTo>
                      <a:pt x="559" y="701"/>
                    </a:lnTo>
                    <a:lnTo>
                      <a:pt x="559" y="699"/>
                    </a:lnTo>
                    <a:lnTo>
                      <a:pt x="561" y="699"/>
                    </a:lnTo>
                    <a:lnTo>
                      <a:pt x="561" y="697"/>
                    </a:lnTo>
                    <a:lnTo>
                      <a:pt x="559" y="695"/>
                    </a:lnTo>
                    <a:lnTo>
                      <a:pt x="561" y="695"/>
                    </a:lnTo>
                    <a:lnTo>
                      <a:pt x="559" y="695"/>
                    </a:lnTo>
                    <a:lnTo>
                      <a:pt x="559" y="697"/>
                    </a:lnTo>
                    <a:lnTo>
                      <a:pt x="557" y="697"/>
                    </a:lnTo>
                    <a:lnTo>
                      <a:pt x="557" y="695"/>
                    </a:lnTo>
                    <a:lnTo>
                      <a:pt x="555" y="695"/>
                    </a:lnTo>
                    <a:lnTo>
                      <a:pt x="557" y="695"/>
                    </a:lnTo>
                    <a:lnTo>
                      <a:pt x="559" y="695"/>
                    </a:lnTo>
                    <a:lnTo>
                      <a:pt x="559" y="697"/>
                    </a:lnTo>
                    <a:lnTo>
                      <a:pt x="559" y="695"/>
                    </a:lnTo>
                    <a:lnTo>
                      <a:pt x="557" y="695"/>
                    </a:lnTo>
                    <a:lnTo>
                      <a:pt x="557" y="693"/>
                    </a:lnTo>
                    <a:lnTo>
                      <a:pt x="557" y="695"/>
                    </a:lnTo>
                    <a:lnTo>
                      <a:pt x="559" y="695"/>
                    </a:lnTo>
                    <a:lnTo>
                      <a:pt x="559" y="693"/>
                    </a:lnTo>
                    <a:close/>
                    <a:moveTo>
                      <a:pt x="563" y="678"/>
                    </a:moveTo>
                    <a:lnTo>
                      <a:pt x="563" y="680"/>
                    </a:lnTo>
                    <a:lnTo>
                      <a:pt x="563" y="682"/>
                    </a:lnTo>
                    <a:lnTo>
                      <a:pt x="563" y="684"/>
                    </a:lnTo>
                    <a:lnTo>
                      <a:pt x="565" y="684"/>
                    </a:lnTo>
                    <a:lnTo>
                      <a:pt x="563" y="684"/>
                    </a:lnTo>
                    <a:lnTo>
                      <a:pt x="565" y="684"/>
                    </a:lnTo>
                    <a:lnTo>
                      <a:pt x="565" y="685"/>
                    </a:lnTo>
                    <a:lnTo>
                      <a:pt x="567" y="685"/>
                    </a:lnTo>
                    <a:lnTo>
                      <a:pt x="567" y="687"/>
                    </a:lnTo>
                    <a:lnTo>
                      <a:pt x="569" y="689"/>
                    </a:lnTo>
                    <a:lnTo>
                      <a:pt x="567" y="691"/>
                    </a:lnTo>
                    <a:lnTo>
                      <a:pt x="567" y="689"/>
                    </a:lnTo>
                    <a:lnTo>
                      <a:pt x="565" y="689"/>
                    </a:lnTo>
                    <a:lnTo>
                      <a:pt x="567" y="689"/>
                    </a:lnTo>
                    <a:lnTo>
                      <a:pt x="567" y="687"/>
                    </a:lnTo>
                    <a:lnTo>
                      <a:pt x="565" y="687"/>
                    </a:lnTo>
                    <a:lnTo>
                      <a:pt x="567" y="687"/>
                    </a:lnTo>
                    <a:lnTo>
                      <a:pt x="565" y="687"/>
                    </a:lnTo>
                    <a:lnTo>
                      <a:pt x="567" y="687"/>
                    </a:lnTo>
                    <a:lnTo>
                      <a:pt x="565" y="687"/>
                    </a:lnTo>
                    <a:lnTo>
                      <a:pt x="563" y="685"/>
                    </a:lnTo>
                    <a:lnTo>
                      <a:pt x="565" y="685"/>
                    </a:lnTo>
                    <a:lnTo>
                      <a:pt x="563" y="685"/>
                    </a:lnTo>
                    <a:lnTo>
                      <a:pt x="565" y="685"/>
                    </a:lnTo>
                    <a:lnTo>
                      <a:pt x="563" y="685"/>
                    </a:lnTo>
                    <a:lnTo>
                      <a:pt x="561" y="684"/>
                    </a:lnTo>
                    <a:lnTo>
                      <a:pt x="559" y="684"/>
                    </a:lnTo>
                    <a:lnTo>
                      <a:pt x="561" y="684"/>
                    </a:lnTo>
                    <a:lnTo>
                      <a:pt x="559" y="684"/>
                    </a:lnTo>
                    <a:lnTo>
                      <a:pt x="561" y="684"/>
                    </a:lnTo>
                    <a:lnTo>
                      <a:pt x="559" y="682"/>
                    </a:lnTo>
                    <a:lnTo>
                      <a:pt x="561" y="684"/>
                    </a:lnTo>
                    <a:lnTo>
                      <a:pt x="561" y="682"/>
                    </a:lnTo>
                    <a:lnTo>
                      <a:pt x="563" y="682"/>
                    </a:lnTo>
                    <a:lnTo>
                      <a:pt x="561" y="682"/>
                    </a:lnTo>
                    <a:lnTo>
                      <a:pt x="561" y="680"/>
                    </a:lnTo>
                    <a:lnTo>
                      <a:pt x="561" y="682"/>
                    </a:lnTo>
                    <a:lnTo>
                      <a:pt x="561" y="680"/>
                    </a:lnTo>
                    <a:lnTo>
                      <a:pt x="563" y="680"/>
                    </a:lnTo>
                    <a:lnTo>
                      <a:pt x="561" y="680"/>
                    </a:lnTo>
                    <a:lnTo>
                      <a:pt x="563" y="680"/>
                    </a:lnTo>
                    <a:lnTo>
                      <a:pt x="561" y="680"/>
                    </a:lnTo>
                    <a:lnTo>
                      <a:pt x="563" y="680"/>
                    </a:lnTo>
                    <a:lnTo>
                      <a:pt x="563" y="678"/>
                    </a:lnTo>
                    <a:lnTo>
                      <a:pt x="563" y="680"/>
                    </a:lnTo>
                    <a:lnTo>
                      <a:pt x="563" y="678"/>
                    </a:lnTo>
                    <a:close/>
                    <a:moveTo>
                      <a:pt x="557" y="533"/>
                    </a:moveTo>
                    <a:lnTo>
                      <a:pt x="559" y="533"/>
                    </a:lnTo>
                    <a:lnTo>
                      <a:pt x="557" y="535"/>
                    </a:lnTo>
                    <a:lnTo>
                      <a:pt x="559" y="533"/>
                    </a:lnTo>
                    <a:lnTo>
                      <a:pt x="561" y="535"/>
                    </a:lnTo>
                    <a:lnTo>
                      <a:pt x="559" y="535"/>
                    </a:lnTo>
                    <a:lnTo>
                      <a:pt x="557" y="535"/>
                    </a:lnTo>
                    <a:lnTo>
                      <a:pt x="559" y="535"/>
                    </a:lnTo>
                    <a:lnTo>
                      <a:pt x="561" y="535"/>
                    </a:lnTo>
                    <a:lnTo>
                      <a:pt x="561" y="537"/>
                    </a:lnTo>
                    <a:lnTo>
                      <a:pt x="561" y="539"/>
                    </a:lnTo>
                    <a:lnTo>
                      <a:pt x="559" y="539"/>
                    </a:lnTo>
                    <a:lnTo>
                      <a:pt x="559" y="537"/>
                    </a:lnTo>
                    <a:lnTo>
                      <a:pt x="559" y="539"/>
                    </a:lnTo>
                    <a:lnTo>
                      <a:pt x="557" y="537"/>
                    </a:lnTo>
                    <a:lnTo>
                      <a:pt x="559" y="539"/>
                    </a:lnTo>
                    <a:lnTo>
                      <a:pt x="557" y="539"/>
                    </a:lnTo>
                    <a:lnTo>
                      <a:pt x="559" y="539"/>
                    </a:lnTo>
                    <a:lnTo>
                      <a:pt x="557" y="539"/>
                    </a:lnTo>
                    <a:lnTo>
                      <a:pt x="559" y="539"/>
                    </a:lnTo>
                    <a:lnTo>
                      <a:pt x="557" y="540"/>
                    </a:lnTo>
                    <a:lnTo>
                      <a:pt x="555" y="539"/>
                    </a:lnTo>
                    <a:lnTo>
                      <a:pt x="557" y="539"/>
                    </a:lnTo>
                    <a:lnTo>
                      <a:pt x="555" y="539"/>
                    </a:lnTo>
                    <a:lnTo>
                      <a:pt x="557" y="539"/>
                    </a:lnTo>
                    <a:lnTo>
                      <a:pt x="557" y="537"/>
                    </a:lnTo>
                    <a:lnTo>
                      <a:pt x="555" y="537"/>
                    </a:lnTo>
                    <a:lnTo>
                      <a:pt x="555" y="535"/>
                    </a:lnTo>
                    <a:lnTo>
                      <a:pt x="555" y="537"/>
                    </a:lnTo>
                    <a:lnTo>
                      <a:pt x="557" y="537"/>
                    </a:lnTo>
                    <a:lnTo>
                      <a:pt x="557" y="535"/>
                    </a:lnTo>
                    <a:lnTo>
                      <a:pt x="557" y="533"/>
                    </a:lnTo>
                    <a:close/>
                    <a:moveTo>
                      <a:pt x="548" y="617"/>
                    </a:moveTo>
                    <a:lnTo>
                      <a:pt x="550" y="617"/>
                    </a:lnTo>
                    <a:lnTo>
                      <a:pt x="548" y="615"/>
                    </a:lnTo>
                    <a:lnTo>
                      <a:pt x="550" y="615"/>
                    </a:lnTo>
                    <a:lnTo>
                      <a:pt x="550" y="617"/>
                    </a:lnTo>
                    <a:lnTo>
                      <a:pt x="550" y="619"/>
                    </a:lnTo>
                    <a:lnTo>
                      <a:pt x="550" y="623"/>
                    </a:lnTo>
                    <a:lnTo>
                      <a:pt x="550" y="621"/>
                    </a:lnTo>
                    <a:lnTo>
                      <a:pt x="548" y="621"/>
                    </a:lnTo>
                    <a:lnTo>
                      <a:pt x="548" y="619"/>
                    </a:lnTo>
                    <a:lnTo>
                      <a:pt x="546" y="619"/>
                    </a:lnTo>
                    <a:lnTo>
                      <a:pt x="546" y="617"/>
                    </a:lnTo>
                    <a:lnTo>
                      <a:pt x="544" y="619"/>
                    </a:lnTo>
                    <a:lnTo>
                      <a:pt x="546" y="617"/>
                    </a:lnTo>
                    <a:lnTo>
                      <a:pt x="546" y="615"/>
                    </a:lnTo>
                    <a:lnTo>
                      <a:pt x="546" y="617"/>
                    </a:lnTo>
                    <a:lnTo>
                      <a:pt x="546" y="615"/>
                    </a:lnTo>
                    <a:lnTo>
                      <a:pt x="548" y="617"/>
                    </a:lnTo>
                    <a:lnTo>
                      <a:pt x="546" y="615"/>
                    </a:lnTo>
                    <a:lnTo>
                      <a:pt x="548" y="615"/>
                    </a:lnTo>
                    <a:lnTo>
                      <a:pt x="548" y="617"/>
                    </a:lnTo>
                    <a:close/>
                    <a:moveTo>
                      <a:pt x="569" y="533"/>
                    </a:moveTo>
                    <a:lnTo>
                      <a:pt x="571" y="533"/>
                    </a:lnTo>
                    <a:lnTo>
                      <a:pt x="571" y="535"/>
                    </a:lnTo>
                    <a:lnTo>
                      <a:pt x="571" y="533"/>
                    </a:lnTo>
                    <a:lnTo>
                      <a:pt x="569" y="533"/>
                    </a:lnTo>
                    <a:lnTo>
                      <a:pt x="571" y="535"/>
                    </a:lnTo>
                    <a:lnTo>
                      <a:pt x="571" y="533"/>
                    </a:lnTo>
                    <a:lnTo>
                      <a:pt x="571" y="535"/>
                    </a:lnTo>
                    <a:lnTo>
                      <a:pt x="571" y="537"/>
                    </a:lnTo>
                    <a:lnTo>
                      <a:pt x="569" y="537"/>
                    </a:lnTo>
                    <a:lnTo>
                      <a:pt x="571" y="537"/>
                    </a:lnTo>
                    <a:lnTo>
                      <a:pt x="571" y="539"/>
                    </a:lnTo>
                    <a:lnTo>
                      <a:pt x="569" y="539"/>
                    </a:lnTo>
                    <a:lnTo>
                      <a:pt x="567" y="537"/>
                    </a:lnTo>
                    <a:lnTo>
                      <a:pt x="567" y="535"/>
                    </a:lnTo>
                    <a:lnTo>
                      <a:pt x="567" y="533"/>
                    </a:lnTo>
                    <a:lnTo>
                      <a:pt x="569" y="533"/>
                    </a:lnTo>
                    <a:lnTo>
                      <a:pt x="569" y="531"/>
                    </a:lnTo>
                    <a:lnTo>
                      <a:pt x="569" y="533"/>
                    </a:lnTo>
                    <a:close/>
                    <a:moveTo>
                      <a:pt x="548" y="588"/>
                    </a:moveTo>
                    <a:lnTo>
                      <a:pt x="550" y="590"/>
                    </a:lnTo>
                    <a:lnTo>
                      <a:pt x="548" y="590"/>
                    </a:lnTo>
                    <a:lnTo>
                      <a:pt x="550" y="590"/>
                    </a:lnTo>
                    <a:lnTo>
                      <a:pt x="550" y="592"/>
                    </a:lnTo>
                    <a:lnTo>
                      <a:pt x="550" y="590"/>
                    </a:lnTo>
                    <a:lnTo>
                      <a:pt x="550" y="592"/>
                    </a:lnTo>
                    <a:lnTo>
                      <a:pt x="552" y="592"/>
                    </a:lnTo>
                    <a:lnTo>
                      <a:pt x="552" y="594"/>
                    </a:lnTo>
                    <a:lnTo>
                      <a:pt x="552" y="592"/>
                    </a:lnTo>
                    <a:lnTo>
                      <a:pt x="552" y="594"/>
                    </a:lnTo>
                    <a:lnTo>
                      <a:pt x="550" y="594"/>
                    </a:lnTo>
                    <a:lnTo>
                      <a:pt x="548" y="592"/>
                    </a:lnTo>
                    <a:lnTo>
                      <a:pt x="550" y="594"/>
                    </a:lnTo>
                    <a:lnTo>
                      <a:pt x="552" y="594"/>
                    </a:lnTo>
                    <a:lnTo>
                      <a:pt x="550" y="596"/>
                    </a:lnTo>
                    <a:lnTo>
                      <a:pt x="550" y="594"/>
                    </a:lnTo>
                    <a:lnTo>
                      <a:pt x="548" y="592"/>
                    </a:lnTo>
                    <a:lnTo>
                      <a:pt x="546" y="594"/>
                    </a:lnTo>
                    <a:lnTo>
                      <a:pt x="546" y="592"/>
                    </a:lnTo>
                    <a:lnTo>
                      <a:pt x="548" y="592"/>
                    </a:lnTo>
                    <a:lnTo>
                      <a:pt x="546" y="592"/>
                    </a:lnTo>
                    <a:lnTo>
                      <a:pt x="548" y="592"/>
                    </a:lnTo>
                    <a:lnTo>
                      <a:pt x="546" y="592"/>
                    </a:lnTo>
                    <a:lnTo>
                      <a:pt x="548" y="592"/>
                    </a:lnTo>
                    <a:lnTo>
                      <a:pt x="548" y="590"/>
                    </a:lnTo>
                    <a:lnTo>
                      <a:pt x="548" y="592"/>
                    </a:lnTo>
                    <a:lnTo>
                      <a:pt x="550" y="592"/>
                    </a:lnTo>
                    <a:lnTo>
                      <a:pt x="548" y="590"/>
                    </a:lnTo>
                    <a:lnTo>
                      <a:pt x="548" y="592"/>
                    </a:lnTo>
                    <a:lnTo>
                      <a:pt x="546" y="590"/>
                    </a:lnTo>
                    <a:lnTo>
                      <a:pt x="548" y="592"/>
                    </a:lnTo>
                    <a:lnTo>
                      <a:pt x="546" y="592"/>
                    </a:lnTo>
                    <a:lnTo>
                      <a:pt x="544" y="592"/>
                    </a:lnTo>
                    <a:lnTo>
                      <a:pt x="546" y="592"/>
                    </a:lnTo>
                    <a:lnTo>
                      <a:pt x="546" y="590"/>
                    </a:lnTo>
                    <a:lnTo>
                      <a:pt x="544" y="592"/>
                    </a:lnTo>
                    <a:lnTo>
                      <a:pt x="544" y="590"/>
                    </a:lnTo>
                    <a:lnTo>
                      <a:pt x="546" y="590"/>
                    </a:lnTo>
                    <a:lnTo>
                      <a:pt x="548" y="590"/>
                    </a:lnTo>
                    <a:lnTo>
                      <a:pt x="548" y="588"/>
                    </a:lnTo>
                    <a:lnTo>
                      <a:pt x="548" y="590"/>
                    </a:lnTo>
                    <a:lnTo>
                      <a:pt x="548" y="588"/>
                    </a:lnTo>
                    <a:close/>
                    <a:moveTo>
                      <a:pt x="546" y="672"/>
                    </a:moveTo>
                    <a:lnTo>
                      <a:pt x="546" y="674"/>
                    </a:lnTo>
                    <a:lnTo>
                      <a:pt x="546" y="672"/>
                    </a:lnTo>
                    <a:lnTo>
                      <a:pt x="546" y="674"/>
                    </a:lnTo>
                    <a:lnTo>
                      <a:pt x="548" y="674"/>
                    </a:lnTo>
                    <a:lnTo>
                      <a:pt x="548" y="672"/>
                    </a:lnTo>
                    <a:lnTo>
                      <a:pt x="548" y="674"/>
                    </a:lnTo>
                    <a:lnTo>
                      <a:pt x="548" y="672"/>
                    </a:lnTo>
                    <a:lnTo>
                      <a:pt x="548" y="674"/>
                    </a:lnTo>
                    <a:lnTo>
                      <a:pt x="548" y="676"/>
                    </a:lnTo>
                    <a:lnTo>
                      <a:pt x="548" y="674"/>
                    </a:lnTo>
                    <a:lnTo>
                      <a:pt x="546" y="674"/>
                    </a:lnTo>
                    <a:lnTo>
                      <a:pt x="548" y="676"/>
                    </a:lnTo>
                    <a:lnTo>
                      <a:pt x="546" y="674"/>
                    </a:lnTo>
                    <a:lnTo>
                      <a:pt x="546" y="676"/>
                    </a:lnTo>
                    <a:lnTo>
                      <a:pt x="546" y="678"/>
                    </a:lnTo>
                    <a:lnTo>
                      <a:pt x="546" y="676"/>
                    </a:lnTo>
                    <a:lnTo>
                      <a:pt x="546" y="678"/>
                    </a:lnTo>
                    <a:lnTo>
                      <a:pt x="546" y="680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0"/>
                    </a:lnTo>
                    <a:lnTo>
                      <a:pt x="542" y="682"/>
                    </a:lnTo>
                    <a:lnTo>
                      <a:pt x="542" y="680"/>
                    </a:lnTo>
                    <a:lnTo>
                      <a:pt x="542" y="678"/>
                    </a:lnTo>
                    <a:lnTo>
                      <a:pt x="544" y="678"/>
                    </a:lnTo>
                    <a:lnTo>
                      <a:pt x="544" y="676"/>
                    </a:lnTo>
                    <a:lnTo>
                      <a:pt x="544" y="674"/>
                    </a:lnTo>
                    <a:lnTo>
                      <a:pt x="546" y="674"/>
                    </a:lnTo>
                    <a:lnTo>
                      <a:pt x="544" y="674"/>
                    </a:lnTo>
                    <a:lnTo>
                      <a:pt x="544" y="672"/>
                    </a:lnTo>
                    <a:lnTo>
                      <a:pt x="546" y="672"/>
                    </a:lnTo>
                    <a:close/>
                    <a:moveTo>
                      <a:pt x="544" y="615"/>
                    </a:moveTo>
                    <a:lnTo>
                      <a:pt x="542" y="617"/>
                    </a:lnTo>
                    <a:lnTo>
                      <a:pt x="544" y="615"/>
                    </a:lnTo>
                    <a:lnTo>
                      <a:pt x="544" y="617"/>
                    </a:lnTo>
                    <a:lnTo>
                      <a:pt x="542" y="619"/>
                    </a:lnTo>
                    <a:lnTo>
                      <a:pt x="542" y="617"/>
                    </a:lnTo>
                    <a:lnTo>
                      <a:pt x="542" y="619"/>
                    </a:lnTo>
                    <a:lnTo>
                      <a:pt x="540" y="619"/>
                    </a:lnTo>
                    <a:lnTo>
                      <a:pt x="542" y="619"/>
                    </a:lnTo>
                    <a:lnTo>
                      <a:pt x="540" y="621"/>
                    </a:lnTo>
                    <a:lnTo>
                      <a:pt x="538" y="621"/>
                    </a:lnTo>
                    <a:lnTo>
                      <a:pt x="538" y="619"/>
                    </a:lnTo>
                    <a:lnTo>
                      <a:pt x="538" y="621"/>
                    </a:lnTo>
                    <a:lnTo>
                      <a:pt x="538" y="619"/>
                    </a:lnTo>
                    <a:lnTo>
                      <a:pt x="540" y="617"/>
                    </a:lnTo>
                    <a:lnTo>
                      <a:pt x="538" y="619"/>
                    </a:lnTo>
                    <a:lnTo>
                      <a:pt x="540" y="619"/>
                    </a:lnTo>
                    <a:lnTo>
                      <a:pt x="540" y="617"/>
                    </a:lnTo>
                    <a:lnTo>
                      <a:pt x="542" y="617"/>
                    </a:lnTo>
                    <a:lnTo>
                      <a:pt x="540" y="617"/>
                    </a:lnTo>
                    <a:lnTo>
                      <a:pt x="542" y="617"/>
                    </a:lnTo>
                    <a:lnTo>
                      <a:pt x="542" y="615"/>
                    </a:lnTo>
                    <a:lnTo>
                      <a:pt x="544" y="613"/>
                    </a:lnTo>
                    <a:lnTo>
                      <a:pt x="544" y="615"/>
                    </a:lnTo>
                    <a:close/>
                    <a:moveTo>
                      <a:pt x="571" y="727"/>
                    </a:moveTo>
                    <a:lnTo>
                      <a:pt x="573" y="727"/>
                    </a:lnTo>
                    <a:lnTo>
                      <a:pt x="571" y="727"/>
                    </a:lnTo>
                    <a:lnTo>
                      <a:pt x="573" y="727"/>
                    </a:lnTo>
                    <a:lnTo>
                      <a:pt x="574" y="727"/>
                    </a:lnTo>
                    <a:lnTo>
                      <a:pt x="574" y="729"/>
                    </a:lnTo>
                    <a:lnTo>
                      <a:pt x="574" y="727"/>
                    </a:lnTo>
                    <a:lnTo>
                      <a:pt x="573" y="727"/>
                    </a:lnTo>
                    <a:lnTo>
                      <a:pt x="573" y="729"/>
                    </a:lnTo>
                    <a:lnTo>
                      <a:pt x="571" y="729"/>
                    </a:lnTo>
                    <a:lnTo>
                      <a:pt x="573" y="729"/>
                    </a:lnTo>
                    <a:lnTo>
                      <a:pt x="574" y="731"/>
                    </a:lnTo>
                    <a:lnTo>
                      <a:pt x="573" y="731"/>
                    </a:lnTo>
                    <a:lnTo>
                      <a:pt x="574" y="731"/>
                    </a:lnTo>
                    <a:lnTo>
                      <a:pt x="574" y="733"/>
                    </a:lnTo>
                    <a:lnTo>
                      <a:pt x="573" y="731"/>
                    </a:lnTo>
                    <a:lnTo>
                      <a:pt x="573" y="733"/>
                    </a:lnTo>
                    <a:lnTo>
                      <a:pt x="573" y="731"/>
                    </a:lnTo>
                    <a:lnTo>
                      <a:pt x="571" y="731"/>
                    </a:lnTo>
                    <a:lnTo>
                      <a:pt x="571" y="733"/>
                    </a:lnTo>
                    <a:lnTo>
                      <a:pt x="571" y="731"/>
                    </a:lnTo>
                    <a:lnTo>
                      <a:pt x="569" y="731"/>
                    </a:lnTo>
                    <a:lnTo>
                      <a:pt x="571" y="731"/>
                    </a:lnTo>
                    <a:lnTo>
                      <a:pt x="569" y="731"/>
                    </a:lnTo>
                    <a:lnTo>
                      <a:pt x="567" y="729"/>
                    </a:lnTo>
                    <a:lnTo>
                      <a:pt x="569" y="729"/>
                    </a:lnTo>
                    <a:lnTo>
                      <a:pt x="567" y="729"/>
                    </a:lnTo>
                    <a:lnTo>
                      <a:pt x="567" y="727"/>
                    </a:lnTo>
                    <a:lnTo>
                      <a:pt x="569" y="729"/>
                    </a:lnTo>
                    <a:lnTo>
                      <a:pt x="571" y="731"/>
                    </a:lnTo>
                    <a:lnTo>
                      <a:pt x="571" y="729"/>
                    </a:lnTo>
                    <a:lnTo>
                      <a:pt x="571" y="731"/>
                    </a:lnTo>
                    <a:lnTo>
                      <a:pt x="573" y="731"/>
                    </a:lnTo>
                    <a:lnTo>
                      <a:pt x="571" y="731"/>
                    </a:lnTo>
                    <a:lnTo>
                      <a:pt x="571" y="729"/>
                    </a:lnTo>
                    <a:lnTo>
                      <a:pt x="569" y="729"/>
                    </a:lnTo>
                    <a:lnTo>
                      <a:pt x="571" y="729"/>
                    </a:lnTo>
                    <a:lnTo>
                      <a:pt x="573" y="729"/>
                    </a:lnTo>
                    <a:lnTo>
                      <a:pt x="571" y="729"/>
                    </a:lnTo>
                    <a:lnTo>
                      <a:pt x="573" y="729"/>
                    </a:lnTo>
                    <a:lnTo>
                      <a:pt x="571" y="729"/>
                    </a:lnTo>
                    <a:lnTo>
                      <a:pt x="571" y="727"/>
                    </a:lnTo>
                    <a:close/>
                    <a:moveTo>
                      <a:pt x="561" y="519"/>
                    </a:moveTo>
                    <a:lnTo>
                      <a:pt x="563" y="519"/>
                    </a:lnTo>
                    <a:lnTo>
                      <a:pt x="565" y="519"/>
                    </a:lnTo>
                    <a:lnTo>
                      <a:pt x="565" y="521"/>
                    </a:lnTo>
                    <a:lnTo>
                      <a:pt x="563" y="521"/>
                    </a:lnTo>
                    <a:lnTo>
                      <a:pt x="561" y="521"/>
                    </a:lnTo>
                    <a:lnTo>
                      <a:pt x="561" y="523"/>
                    </a:lnTo>
                    <a:lnTo>
                      <a:pt x="559" y="523"/>
                    </a:lnTo>
                    <a:lnTo>
                      <a:pt x="557" y="523"/>
                    </a:lnTo>
                    <a:lnTo>
                      <a:pt x="557" y="521"/>
                    </a:lnTo>
                    <a:lnTo>
                      <a:pt x="559" y="521"/>
                    </a:lnTo>
                    <a:lnTo>
                      <a:pt x="561" y="519"/>
                    </a:lnTo>
                    <a:close/>
                    <a:moveTo>
                      <a:pt x="553" y="684"/>
                    </a:moveTo>
                    <a:lnTo>
                      <a:pt x="553" y="685"/>
                    </a:lnTo>
                    <a:lnTo>
                      <a:pt x="553" y="687"/>
                    </a:lnTo>
                    <a:lnTo>
                      <a:pt x="553" y="685"/>
                    </a:lnTo>
                    <a:lnTo>
                      <a:pt x="553" y="687"/>
                    </a:lnTo>
                    <a:lnTo>
                      <a:pt x="553" y="685"/>
                    </a:lnTo>
                    <a:lnTo>
                      <a:pt x="555" y="687"/>
                    </a:lnTo>
                    <a:lnTo>
                      <a:pt x="553" y="687"/>
                    </a:lnTo>
                    <a:lnTo>
                      <a:pt x="553" y="689"/>
                    </a:lnTo>
                    <a:lnTo>
                      <a:pt x="552" y="689"/>
                    </a:lnTo>
                    <a:lnTo>
                      <a:pt x="553" y="689"/>
                    </a:lnTo>
                    <a:lnTo>
                      <a:pt x="552" y="691"/>
                    </a:lnTo>
                    <a:lnTo>
                      <a:pt x="553" y="691"/>
                    </a:lnTo>
                    <a:lnTo>
                      <a:pt x="553" y="689"/>
                    </a:lnTo>
                    <a:lnTo>
                      <a:pt x="553" y="691"/>
                    </a:lnTo>
                    <a:lnTo>
                      <a:pt x="552" y="693"/>
                    </a:lnTo>
                    <a:lnTo>
                      <a:pt x="552" y="691"/>
                    </a:lnTo>
                    <a:lnTo>
                      <a:pt x="552" y="693"/>
                    </a:lnTo>
                    <a:lnTo>
                      <a:pt x="550" y="695"/>
                    </a:lnTo>
                    <a:lnTo>
                      <a:pt x="550" y="693"/>
                    </a:lnTo>
                    <a:lnTo>
                      <a:pt x="552" y="693"/>
                    </a:lnTo>
                    <a:lnTo>
                      <a:pt x="552" y="691"/>
                    </a:lnTo>
                    <a:lnTo>
                      <a:pt x="550" y="691"/>
                    </a:lnTo>
                    <a:lnTo>
                      <a:pt x="552" y="689"/>
                    </a:lnTo>
                    <a:lnTo>
                      <a:pt x="552" y="687"/>
                    </a:lnTo>
                    <a:lnTo>
                      <a:pt x="552" y="685"/>
                    </a:lnTo>
                    <a:lnTo>
                      <a:pt x="553" y="687"/>
                    </a:lnTo>
                    <a:lnTo>
                      <a:pt x="552" y="687"/>
                    </a:lnTo>
                    <a:lnTo>
                      <a:pt x="553" y="687"/>
                    </a:lnTo>
                    <a:lnTo>
                      <a:pt x="552" y="685"/>
                    </a:lnTo>
                    <a:lnTo>
                      <a:pt x="553" y="685"/>
                    </a:lnTo>
                    <a:lnTo>
                      <a:pt x="553" y="684"/>
                    </a:lnTo>
                    <a:close/>
                    <a:moveTo>
                      <a:pt x="559" y="508"/>
                    </a:moveTo>
                    <a:lnTo>
                      <a:pt x="561" y="510"/>
                    </a:lnTo>
                    <a:lnTo>
                      <a:pt x="559" y="510"/>
                    </a:lnTo>
                    <a:lnTo>
                      <a:pt x="559" y="512"/>
                    </a:lnTo>
                    <a:lnTo>
                      <a:pt x="559" y="510"/>
                    </a:lnTo>
                    <a:lnTo>
                      <a:pt x="561" y="510"/>
                    </a:lnTo>
                    <a:lnTo>
                      <a:pt x="563" y="512"/>
                    </a:lnTo>
                    <a:lnTo>
                      <a:pt x="561" y="512"/>
                    </a:lnTo>
                    <a:lnTo>
                      <a:pt x="559" y="512"/>
                    </a:lnTo>
                    <a:lnTo>
                      <a:pt x="557" y="512"/>
                    </a:lnTo>
                    <a:lnTo>
                      <a:pt x="559" y="512"/>
                    </a:lnTo>
                    <a:lnTo>
                      <a:pt x="557" y="510"/>
                    </a:lnTo>
                    <a:lnTo>
                      <a:pt x="557" y="512"/>
                    </a:lnTo>
                    <a:lnTo>
                      <a:pt x="555" y="512"/>
                    </a:lnTo>
                    <a:lnTo>
                      <a:pt x="555" y="510"/>
                    </a:lnTo>
                    <a:lnTo>
                      <a:pt x="557" y="510"/>
                    </a:lnTo>
                    <a:lnTo>
                      <a:pt x="557" y="508"/>
                    </a:lnTo>
                    <a:lnTo>
                      <a:pt x="559" y="508"/>
                    </a:lnTo>
                    <a:close/>
                    <a:moveTo>
                      <a:pt x="552" y="657"/>
                    </a:moveTo>
                    <a:lnTo>
                      <a:pt x="552" y="659"/>
                    </a:lnTo>
                    <a:lnTo>
                      <a:pt x="552" y="657"/>
                    </a:lnTo>
                    <a:lnTo>
                      <a:pt x="552" y="659"/>
                    </a:lnTo>
                    <a:lnTo>
                      <a:pt x="552" y="661"/>
                    </a:lnTo>
                    <a:lnTo>
                      <a:pt x="552" y="659"/>
                    </a:lnTo>
                    <a:lnTo>
                      <a:pt x="553" y="661"/>
                    </a:lnTo>
                    <a:lnTo>
                      <a:pt x="552" y="661"/>
                    </a:lnTo>
                    <a:lnTo>
                      <a:pt x="553" y="661"/>
                    </a:lnTo>
                    <a:lnTo>
                      <a:pt x="552" y="661"/>
                    </a:lnTo>
                    <a:lnTo>
                      <a:pt x="552" y="663"/>
                    </a:lnTo>
                    <a:lnTo>
                      <a:pt x="553" y="661"/>
                    </a:lnTo>
                    <a:lnTo>
                      <a:pt x="553" y="663"/>
                    </a:lnTo>
                    <a:lnTo>
                      <a:pt x="550" y="663"/>
                    </a:lnTo>
                    <a:lnTo>
                      <a:pt x="550" y="661"/>
                    </a:lnTo>
                    <a:lnTo>
                      <a:pt x="550" y="663"/>
                    </a:lnTo>
                    <a:lnTo>
                      <a:pt x="550" y="661"/>
                    </a:lnTo>
                    <a:lnTo>
                      <a:pt x="548" y="659"/>
                    </a:lnTo>
                    <a:lnTo>
                      <a:pt x="550" y="659"/>
                    </a:lnTo>
                    <a:lnTo>
                      <a:pt x="548" y="659"/>
                    </a:lnTo>
                    <a:lnTo>
                      <a:pt x="550" y="659"/>
                    </a:lnTo>
                    <a:lnTo>
                      <a:pt x="548" y="659"/>
                    </a:lnTo>
                    <a:lnTo>
                      <a:pt x="550" y="657"/>
                    </a:lnTo>
                    <a:lnTo>
                      <a:pt x="550" y="659"/>
                    </a:lnTo>
                    <a:lnTo>
                      <a:pt x="552" y="659"/>
                    </a:lnTo>
                    <a:lnTo>
                      <a:pt x="550" y="657"/>
                    </a:lnTo>
                    <a:lnTo>
                      <a:pt x="552" y="657"/>
                    </a:lnTo>
                    <a:lnTo>
                      <a:pt x="550" y="657"/>
                    </a:lnTo>
                    <a:lnTo>
                      <a:pt x="552" y="657"/>
                    </a:lnTo>
                    <a:close/>
                    <a:moveTo>
                      <a:pt x="563" y="527"/>
                    </a:moveTo>
                    <a:lnTo>
                      <a:pt x="565" y="527"/>
                    </a:lnTo>
                    <a:lnTo>
                      <a:pt x="567" y="527"/>
                    </a:lnTo>
                    <a:lnTo>
                      <a:pt x="567" y="529"/>
                    </a:lnTo>
                    <a:lnTo>
                      <a:pt x="567" y="531"/>
                    </a:lnTo>
                    <a:lnTo>
                      <a:pt x="565" y="531"/>
                    </a:lnTo>
                    <a:lnTo>
                      <a:pt x="565" y="529"/>
                    </a:lnTo>
                    <a:lnTo>
                      <a:pt x="563" y="531"/>
                    </a:lnTo>
                    <a:lnTo>
                      <a:pt x="563" y="529"/>
                    </a:lnTo>
                    <a:lnTo>
                      <a:pt x="563" y="531"/>
                    </a:lnTo>
                    <a:lnTo>
                      <a:pt x="561" y="529"/>
                    </a:lnTo>
                    <a:lnTo>
                      <a:pt x="561" y="527"/>
                    </a:lnTo>
                    <a:lnTo>
                      <a:pt x="563" y="527"/>
                    </a:lnTo>
                    <a:close/>
                    <a:moveTo>
                      <a:pt x="607" y="766"/>
                    </a:moveTo>
                    <a:lnTo>
                      <a:pt x="609" y="766"/>
                    </a:lnTo>
                    <a:lnTo>
                      <a:pt x="609" y="768"/>
                    </a:lnTo>
                    <a:lnTo>
                      <a:pt x="609" y="766"/>
                    </a:lnTo>
                    <a:lnTo>
                      <a:pt x="611" y="768"/>
                    </a:lnTo>
                    <a:lnTo>
                      <a:pt x="609" y="768"/>
                    </a:lnTo>
                    <a:lnTo>
                      <a:pt x="611" y="768"/>
                    </a:lnTo>
                    <a:lnTo>
                      <a:pt x="613" y="768"/>
                    </a:lnTo>
                    <a:lnTo>
                      <a:pt x="611" y="768"/>
                    </a:lnTo>
                    <a:lnTo>
                      <a:pt x="611" y="769"/>
                    </a:lnTo>
                    <a:lnTo>
                      <a:pt x="613" y="769"/>
                    </a:lnTo>
                    <a:lnTo>
                      <a:pt x="611" y="769"/>
                    </a:lnTo>
                    <a:lnTo>
                      <a:pt x="609" y="769"/>
                    </a:lnTo>
                    <a:lnTo>
                      <a:pt x="609" y="768"/>
                    </a:lnTo>
                    <a:lnTo>
                      <a:pt x="611" y="768"/>
                    </a:lnTo>
                    <a:lnTo>
                      <a:pt x="609" y="768"/>
                    </a:lnTo>
                    <a:lnTo>
                      <a:pt x="607" y="768"/>
                    </a:lnTo>
                    <a:lnTo>
                      <a:pt x="609" y="768"/>
                    </a:lnTo>
                    <a:lnTo>
                      <a:pt x="607" y="768"/>
                    </a:lnTo>
                    <a:lnTo>
                      <a:pt x="605" y="768"/>
                    </a:lnTo>
                    <a:lnTo>
                      <a:pt x="607" y="768"/>
                    </a:lnTo>
                    <a:lnTo>
                      <a:pt x="605" y="769"/>
                    </a:lnTo>
                    <a:lnTo>
                      <a:pt x="607" y="769"/>
                    </a:lnTo>
                    <a:lnTo>
                      <a:pt x="605" y="769"/>
                    </a:lnTo>
                    <a:lnTo>
                      <a:pt x="605" y="768"/>
                    </a:lnTo>
                    <a:lnTo>
                      <a:pt x="605" y="769"/>
                    </a:lnTo>
                    <a:lnTo>
                      <a:pt x="605" y="768"/>
                    </a:lnTo>
                    <a:lnTo>
                      <a:pt x="603" y="768"/>
                    </a:lnTo>
                    <a:lnTo>
                      <a:pt x="605" y="766"/>
                    </a:lnTo>
                    <a:lnTo>
                      <a:pt x="607" y="766"/>
                    </a:lnTo>
                    <a:close/>
                    <a:moveTo>
                      <a:pt x="569" y="512"/>
                    </a:moveTo>
                    <a:lnTo>
                      <a:pt x="571" y="512"/>
                    </a:lnTo>
                    <a:lnTo>
                      <a:pt x="569" y="512"/>
                    </a:lnTo>
                    <a:lnTo>
                      <a:pt x="569" y="514"/>
                    </a:lnTo>
                    <a:lnTo>
                      <a:pt x="571" y="514"/>
                    </a:lnTo>
                    <a:lnTo>
                      <a:pt x="569" y="516"/>
                    </a:lnTo>
                    <a:lnTo>
                      <a:pt x="571" y="514"/>
                    </a:lnTo>
                    <a:lnTo>
                      <a:pt x="571" y="516"/>
                    </a:lnTo>
                    <a:lnTo>
                      <a:pt x="569" y="516"/>
                    </a:lnTo>
                    <a:lnTo>
                      <a:pt x="567" y="516"/>
                    </a:lnTo>
                    <a:lnTo>
                      <a:pt x="567" y="514"/>
                    </a:lnTo>
                    <a:lnTo>
                      <a:pt x="565" y="514"/>
                    </a:lnTo>
                    <a:lnTo>
                      <a:pt x="567" y="512"/>
                    </a:lnTo>
                    <a:lnTo>
                      <a:pt x="567" y="514"/>
                    </a:lnTo>
                    <a:lnTo>
                      <a:pt x="567" y="512"/>
                    </a:lnTo>
                    <a:lnTo>
                      <a:pt x="569" y="512"/>
                    </a:lnTo>
                    <a:close/>
                    <a:moveTo>
                      <a:pt x="569" y="540"/>
                    </a:moveTo>
                    <a:lnTo>
                      <a:pt x="569" y="542"/>
                    </a:lnTo>
                    <a:lnTo>
                      <a:pt x="569" y="546"/>
                    </a:lnTo>
                    <a:lnTo>
                      <a:pt x="567" y="544"/>
                    </a:lnTo>
                    <a:lnTo>
                      <a:pt x="569" y="542"/>
                    </a:lnTo>
                    <a:lnTo>
                      <a:pt x="567" y="544"/>
                    </a:lnTo>
                    <a:lnTo>
                      <a:pt x="569" y="542"/>
                    </a:lnTo>
                    <a:lnTo>
                      <a:pt x="567" y="542"/>
                    </a:lnTo>
                    <a:lnTo>
                      <a:pt x="567" y="544"/>
                    </a:lnTo>
                    <a:lnTo>
                      <a:pt x="565" y="544"/>
                    </a:lnTo>
                    <a:lnTo>
                      <a:pt x="565" y="542"/>
                    </a:lnTo>
                    <a:lnTo>
                      <a:pt x="567" y="542"/>
                    </a:lnTo>
                    <a:lnTo>
                      <a:pt x="567" y="540"/>
                    </a:lnTo>
                    <a:lnTo>
                      <a:pt x="569" y="540"/>
                    </a:lnTo>
                    <a:close/>
                    <a:moveTo>
                      <a:pt x="563" y="502"/>
                    </a:moveTo>
                    <a:lnTo>
                      <a:pt x="563" y="504"/>
                    </a:lnTo>
                    <a:lnTo>
                      <a:pt x="563" y="502"/>
                    </a:lnTo>
                    <a:lnTo>
                      <a:pt x="565" y="504"/>
                    </a:lnTo>
                    <a:lnTo>
                      <a:pt x="567" y="504"/>
                    </a:lnTo>
                    <a:lnTo>
                      <a:pt x="565" y="504"/>
                    </a:lnTo>
                    <a:lnTo>
                      <a:pt x="565" y="506"/>
                    </a:lnTo>
                    <a:lnTo>
                      <a:pt x="563" y="504"/>
                    </a:lnTo>
                    <a:lnTo>
                      <a:pt x="563" y="506"/>
                    </a:lnTo>
                    <a:lnTo>
                      <a:pt x="565" y="506"/>
                    </a:lnTo>
                    <a:lnTo>
                      <a:pt x="567" y="506"/>
                    </a:lnTo>
                    <a:lnTo>
                      <a:pt x="567" y="508"/>
                    </a:lnTo>
                    <a:lnTo>
                      <a:pt x="565" y="508"/>
                    </a:lnTo>
                    <a:lnTo>
                      <a:pt x="565" y="506"/>
                    </a:lnTo>
                    <a:lnTo>
                      <a:pt x="565" y="508"/>
                    </a:lnTo>
                    <a:lnTo>
                      <a:pt x="565" y="506"/>
                    </a:lnTo>
                    <a:lnTo>
                      <a:pt x="565" y="508"/>
                    </a:lnTo>
                    <a:lnTo>
                      <a:pt x="563" y="508"/>
                    </a:lnTo>
                    <a:lnTo>
                      <a:pt x="563" y="506"/>
                    </a:lnTo>
                    <a:lnTo>
                      <a:pt x="565" y="506"/>
                    </a:lnTo>
                    <a:lnTo>
                      <a:pt x="563" y="506"/>
                    </a:lnTo>
                    <a:lnTo>
                      <a:pt x="563" y="504"/>
                    </a:lnTo>
                    <a:lnTo>
                      <a:pt x="561" y="504"/>
                    </a:lnTo>
                    <a:lnTo>
                      <a:pt x="563" y="502"/>
                    </a:lnTo>
                    <a:close/>
                    <a:moveTo>
                      <a:pt x="590" y="745"/>
                    </a:moveTo>
                    <a:lnTo>
                      <a:pt x="592" y="747"/>
                    </a:lnTo>
                    <a:lnTo>
                      <a:pt x="592" y="748"/>
                    </a:lnTo>
                    <a:lnTo>
                      <a:pt x="592" y="747"/>
                    </a:lnTo>
                    <a:lnTo>
                      <a:pt x="592" y="748"/>
                    </a:lnTo>
                    <a:lnTo>
                      <a:pt x="590" y="748"/>
                    </a:lnTo>
                    <a:lnTo>
                      <a:pt x="592" y="750"/>
                    </a:lnTo>
                    <a:lnTo>
                      <a:pt x="590" y="750"/>
                    </a:lnTo>
                    <a:lnTo>
                      <a:pt x="590" y="752"/>
                    </a:lnTo>
                    <a:lnTo>
                      <a:pt x="590" y="750"/>
                    </a:lnTo>
                    <a:lnTo>
                      <a:pt x="588" y="750"/>
                    </a:lnTo>
                    <a:lnTo>
                      <a:pt x="588" y="748"/>
                    </a:lnTo>
                    <a:lnTo>
                      <a:pt x="590" y="748"/>
                    </a:lnTo>
                    <a:lnTo>
                      <a:pt x="588" y="748"/>
                    </a:lnTo>
                    <a:lnTo>
                      <a:pt x="590" y="748"/>
                    </a:lnTo>
                    <a:lnTo>
                      <a:pt x="590" y="747"/>
                    </a:lnTo>
                    <a:lnTo>
                      <a:pt x="588" y="748"/>
                    </a:lnTo>
                    <a:lnTo>
                      <a:pt x="590" y="747"/>
                    </a:lnTo>
                    <a:lnTo>
                      <a:pt x="588" y="747"/>
                    </a:lnTo>
                    <a:lnTo>
                      <a:pt x="590" y="747"/>
                    </a:lnTo>
                    <a:lnTo>
                      <a:pt x="588" y="747"/>
                    </a:lnTo>
                    <a:lnTo>
                      <a:pt x="590" y="745"/>
                    </a:lnTo>
                    <a:close/>
                    <a:moveTo>
                      <a:pt x="670" y="787"/>
                    </a:moveTo>
                    <a:lnTo>
                      <a:pt x="670" y="789"/>
                    </a:lnTo>
                    <a:lnTo>
                      <a:pt x="670" y="790"/>
                    </a:lnTo>
                    <a:lnTo>
                      <a:pt x="672" y="790"/>
                    </a:lnTo>
                    <a:lnTo>
                      <a:pt x="670" y="790"/>
                    </a:lnTo>
                    <a:lnTo>
                      <a:pt x="670" y="792"/>
                    </a:lnTo>
                    <a:lnTo>
                      <a:pt x="672" y="792"/>
                    </a:lnTo>
                    <a:lnTo>
                      <a:pt x="670" y="792"/>
                    </a:lnTo>
                    <a:lnTo>
                      <a:pt x="668" y="792"/>
                    </a:lnTo>
                    <a:lnTo>
                      <a:pt x="666" y="790"/>
                    </a:lnTo>
                    <a:lnTo>
                      <a:pt x="666" y="792"/>
                    </a:lnTo>
                    <a:lnTo>
                      <a:pt x="666" y="790"/>
                    </a:lnTo>
                    <a:lnTo>
                      <a:pt x="666" y="789"/>
                    </a:lnTo>
                    <a:lnTo>
                      <a:pt x="668" y="789"/>
                    </a:lnTo>
                    <a:lnTo>
                      <a:pt x="666" y="790"/>
                    </a:lnTo>
                    <a:lnTo>
                      <a:pt x="668" y="789"/>
                    </a:lnTo>
                    <a:lnTo>
                      <a:pt x="668" y="790"/>
                    </a:lnTo>
                    <a:lnTo>
                      <a:pt x="668" y="789"/>
                    </a:lnTo>
                    <a:lnTo>
                      <a:pt x="668" y="787"/>
                    </a:lnTo>
                    <a:lnTo>
                      <a:pt x="670" y="787"/>
                    </a:lnTo>
                    <a:close/>
                    <a:moveTo>
                      <a:pt x="563" y="535"/>
                    </a:moveTo>
                    <a:lnTo>
                      <a:pt x="565" y="535"/>
                    </a:lnTo>
                    <a:lnTo>
                      <a:pt x="567" y="537"/>
                    </a:lnTo>
                    <a:lnTo>
                      <a:pt x="565" y="539"/>
                    </a:lnTo>
                    <a:lnTo>
                      <a:pt x="563" y="539"/>
                    </a:lnTo>
                    <a:lnTo>
                      <a:pt x="563" y="537"/>
                    </a:lnTo>
                    <a:lnTo>
                      <a:pt x="563" y="535"/>
                    </a:lnTo>
                    <a:close/>
                    <a:moveTo>
                      <a:pt x="565" y="544"/>
                    </a:moveTo>
                    <a:lnTo>
                      <a:pt x="567" y="544"/>
                    </a:lnTo>
                    <a:lnTo>
                      <a:pt x="567" y="546"/>
                    </a:lnTo>
                    <a:lnTo>
                      <a:pt x="569" y="546"/>
                    </a:lnTo>
                    <a:lnTo>
                      <a:pt x="569" y="548"/>
                    </a:lnTo>
                    <a:lnTo>
                      <a:pt x="569" y="550"/>
                    </a:lnTo>
                    <a:lnTo>
                      <a:pt x="567" y="548"/>
                    </a:lnTo>
                    <a:lnTo>
                      <a:pt x="565" y="546"/>
                    </a:lnTo>
                    <a:lnTo>
                      <a:pt x="565" y="544"/>
                    </a:lnTo>
                    <a:close/>
                    <a:moveTo>
                      <a:pt x="555" y="594"/>
                    </a:moveTo>
                    <a:lnTo>
                      <a:pt x="559" y="598"/>
                    </a:lnTo>
                    <a:lnTo>
                      <a:pt x="557" y="600"/>
                    </a:lnTo>
                    <a:lnTo>
                      <a:pt x="555" y="598"/>
                    </a:lnTo>
                    <a:lnTo>
                      <a:pt x="557" y="598"/>
                    </a:lnTo>
                    <a:lnTo>
                      <a:pt x="555" y="598"/>
                    </a:lnTo>
                    <a:lnTo>
                      <a:pt x="557" y="596"/>
                    </a:lnTo>
                    <a:lnTo>
                      <a:pt x="555" y="596"/>
                    </a:lnTo>
                    <a:lnTo>
                      <a:pt x="555" y="598"/>
                    </a:lnTo>
                    <a:lnTo>
                      <a:pt x="555" y="596"/>
                    </a:lnTo>
                    <a:lnTo>
                      <a:pt x="555" y="594"/>
                    </a:lnTo>
                    <a:lnTo>
                      <a:pt x="555" y="596"/>
                    </a:lnTo>
                    <a:lnTo>
                      <a:pt x="555" y="594"/>
                    </a:lnTo>
                    <a:close/>
                    <a:moveTo>
                      <a:pt x="563" y="531"/>
                    </a:moveTo>
                    <a:lnTo>
                      <a:pt x="565" y="533"/>
                    </a:lnTo>
                    <a:lnTo>
                      <a:pt x="567" y="533"/>
                    </a:lnTo>
                    <a:lnTo>
                      <a:pt x="567" y="535"/>
                    </a:lnTo>
                    <a:lnTo>
                      <a:pt x="565" y="535"/>
                    </a:lnTo>
                    <a:lnTo>
                      <a:pt x="565" y="533"/>
                    </a:lnTo>
                    <a:lnTo>
                      <a:pt x="565" y="535"/>
                    </a:lnTo>
                    <a:lnTo>
                      <a:pt x="563" y="533"/>
                    </a:lnTo>
                    <a:lnTo>
                      <a:pt x="563" y="535"/>
                    </a:lnTo>
                    <a:lnTo>
                      <a:pt x="561" y="535"/>
                    </a:lnTo>
                    <a:lnTo>
                      <a:pt x="563" y="535"/>
                    </a:lnTo>
                    <a:lnTo>
                      <a:pt x="561" y="535"/>
                    </a:lnTo>
                    <a:lnTo>
                      <a:pt x="563" y="533"/>
                    </a:lnTo>
                    <a:lnTo>
                      <a:pt x="563" y="535"/>
                    </a:lnTo>
                    <a:lnTo>
                      <a:pt x="563" y="533"/>
                    </a:lnTo>
                    <a:lnTo>
                      <a:pt x="565" y="533"/>
                    </a:lnTo>
                    <a:lnTo>
                      <a:pt x="563" y="533"/>
                    </a:lnTo>
                    <a:lnTo>
                      <a:pt x="563" y="531"/>
                    </a:lnTo>
                    <a:close/>
                    <a:moveTo>
                      <a:pt x="544" y="609"/>
                    </a:moveTo>
                    <a:lnTo>
                      <a:pt x="548" y="611"/>
                    </a:lnTo>
                    <a:lnTo>
                      <a:pt x="548" y="613"/>
                    </a:lnTo>
                    <a:lnTo>
                      <a:pt x="546" y="613"/>
                    </a:lnTo>
                    <a:lnTo>
                      <a:pt x="548" y="613"/>
                    </a:lnTo>
                    <a:lnTo>
                      <a:pt x="548" y="615"/>
                    </a:lnTo>
                    <a:lnTo>
                      <a:pt x="546" y="613"/>
                    </a:lnTo>
                    <a:lnTo>
                      <a:pt x="546" y="615"/>
                    </a:lnTo>
                    <a:lnTo>
                      <a:pt x="544" y="613"/>
                    </a:lnTo>
                    <a:lnTo>
                      <a:pt x="544" y="611"/>
                    </a:lnTo>
                    <a:lnTo>
                      <a:pt x="546" y="613"/>
                    </a:lnTo>
                    <a:lnTo>
                      <a:pt x="544" y="611"/>
                    </a:lnTo>
                    <a:lnTo>
                      <a:pt x="544" y="609"/>
                    </a:lnTo>
                    <a:close/>
                    <a:moveTo>
                      <a:pt x="567" y="495"/>
                    </a:moveTo>
                    <a:lnTo>
                      <a:pt x="567" y="497"/>
                    </a:lnTo>
                    <a:lnTo>
                      <a:pt x="565" y="497"/>
                    </a:lnTo>
                    <a:lnTo>
                      <a:pt x="565" y="498"/>
                    </a:lnTo>
                    <a:lnTo>
                      <a:pt x="563" y="498"/>
                    </a:lnTo>
                    <a:lnTo>
                      <a:pt x="563" y="497"/>
                    </a:lnTo>
                    <a:lnTo>
                      <a:pt x="563" y="498"/>
                    </a:lnTo>
                    <a:lnTo>
                      <a:pt x="563" y="497"/>
                    </a:lnTo>
                    <a:lnTo>
                      <a:pt x="563" y="498"/>
                    </a:lnTo>
                    <a:lnTo>
                      <a:pt x="563" y="497"/>
                    </a:lnTo>
                    <a:lnTo>
                      <a:pt x="561" y="497"/>
                    </a:lnTo>
                    <a:lnTo>
                      <a:pt x="563" y="495"/>
                    </a:lnTo>
                    <a:lnTo>
                      <a:pt x="565" y="497"/>
                    </a:lnTo>
                    <a:lnTo>
                      <a:pt x="565" y="495"/>
                    </a:lnTo>
                    <a:lnTo>
                      <a:pt x="567" y="495"/>
                    </a:lnTo>
                    <a:close/>
                    <a:moveTo>
                      <a:pt x="557" y="626"/>
                    </a:moveTo>
                    <a:lnTo>
                      <a:pt x="559" y="626"/>
                    </a:lnTo>
                    <a:lnTo>
                      <a:pt x="559" y="628"/>
                    </a:lnTo>
                    <a:lnTo>
                      <a:pt x="559" y="630"/>
                    </a:lnTo>
                    <a:lnTo>
                      <a:pt x="557" y="630"/>
                    </a:lnTo>
                    <a:lnTo>
                      <a:pt x="557" y="628"/>
                    </a:lnTo>
                    <a:lnTo>
                      <a:pt x="557" y="626"/>
                    </a:lnTo>
                    <a:close/>
                    <a:moveTo>
                      <a:pt x="550" y="586"/>
                    </a:moveTo>
                    <a:lnTo>
                      <a:pt x="552" y="586"/>
                    </a:lnTo>
                    <a:lnTo>
                      <a:pt x="552" y="588"/>
                    </a:lnTo>
                    <a:lnTo>
                      <a:pt x="552" y="590"/>
                    </a:lnTo>
                    <a:lnTo>
                      <a:pt x="552" y="588"/>
                    </a:lnTo>
                    <a:lnTo>
                      <a:pt x="550" y="588"/>
                    </a:lnTo>
                    <a:lnTo>
                      <a:pt x="552" y="590"/>
                    </a:lnTo>
                    <a:lnTo>
                      <a:pt x="550" y="590"/>
                    </a:lnTo>
                    <a:lnTo>
                      <a:pt x="552" y="590"/>
                    </a:lnTo>
                    <a:lnTo>
                      <a:pt x="552" y="592"/>
                    </a:lnTo>
                    <a:lnTo>
                      <a:pt x="550" y="592"/>
                    </a:lnTo>
                    <a:lnTo>
                      <a:pt x="550" y="590"/>
                    </a:lnTo>
                    <a:lnTo>
                      <a:pt x="548" y="590"/>
                    </a:lnTo>
                    <a:lnTo>
                      <a:pt x="550" y="590"/>
                    </a:lnTo>
                    <a:lnTo>
                      <a:pt x="550" y="588"/>
                    </a:lnTo>
                    <a:lnTo>
                      <a:pt x="552" y="588"/>
                    </a:lnTo>
                    <a:lnTo>
                      <a:pt x="550" y="586"/>
                    </a:lnTo>
                    <a:close/>
                    <a:moveTo>
                      <a:pt x="548" y="607"/>
                    </a:moveTo>
                    <a:lnTo>
                      <a:pt x="548" y="611"/>
                    </a:lnTo>
                    <a:lnTo>
                      <a:pt x="546" y="611"/>
                    </a:lnTo>
                    <a:lnTo>
                      <a:pt x="546" y="609"/>
                    </a:lnTo>
                    <a:lnTo>
                      <a:pt x="544" y="609"/>
                    </a:lnTo>
                    <a:lnTo>
                      <a:pt x="546" y="609"/>
                    </a:lnTo>
                    <a:lnTo>
                      <a:pt x="546" y="607"/>
                    </a:lnTo>
                    <a:lnTo>
                      <a:pt x="548" y="605"/>
                    </a:lnTo>
                    <a:lnTo>
                      <a:pt x="548" y="607"/>
                    </a:lnTo>
                    <a:close/>
                    <a:moveTo>
                      <a:pt x="559" y="598"/>
                    </a:moveTo>
                    <a:lnTo>
                      <a:pt x="559" y="600"/>
                    </a:lnTo>
                    <a:lnTo>
                      <a:pt x="561" y="600"/>
                    </a:lnTo>
                    <a:lnTo>
                      <a:pt x="559" y="600"/>
                    </a:lnTo>
                    <a:lnTo>
                      <a:pt x="561" y="602"/>
                    </a:lnTo>
                    <a:lnTo>
                      <a:pt x="559" y="603"/>
                    </a:lnTo>
                    <a:lnTo>
                      <a:pt x="559" y="602"/>
                    </a:lnTo>
                    <a:lnTo>
                      <a:pt x="557" y="600"/>
                    </a:lnTo>
                    <a:lnTo>
                      <a:pt x="559" y="602"/>
                    </a:lnTo>
                    <a:lnTo>
                      <a:pt x="557" y="600"/>
                    </a:lnTo>
                    <a:lnTo>
                      <a:pt x="559" y="598"/>
                    </a:lnTo>
                    <a:close/>
                    <a:moveTo>
                      <a:pt x="559" y="663"/>
                    </a:moveTo>
                    <a:lnTo>
                      <a:pt x="559" y="666"/>
                    </a:lnTo>
                    <a:lnTo>
                      <a:pt x="561" y="668"/>
                    </a:lnTo>
                    <a:lnTo>
                      <a:pt x="561" y="670"/>
                    </a:lnTo>
                    <a:lnTo>
                      <a:pt x="559" y="672"/>
                    </a:lnTo>
                    <a:lnTo>
                      <a:pt x="559" y="664"/>
                    </a:lnTo>
                    <a:lnTo>
                      <a:pt x="559" y="663"/>
                    </a:lnTo>
                    <a:close/>
                    <a:moveTo>
                      <a:pt x="557" y="525"/>
                    </a:moveTo>
                    <a:lnTo>
                      <a:pt x="559" y="525"/>
                    </a:lnTo>
                    <a:lnTo>
                      <a:pt x="559" y="527"/>
                    </a:lnTo>
                    <a:lnTo>
                      <a:pt x="561" y="527"/>
                    </a:lnTo>
                    <a:lnTo>
                      <a:pt x="561" y="529"/>
                    </a:lnTo>
                    <a:lnTo>
                      <a:pt x="559" y="529"/>
                    </a:lnTo>
                    <a:lnTo>
                      <a:pt x="561" y="529"/>
                    </a:lnTo>
                    <a:lnTo>
                      <a:pt x="561" y="531"/>
                    </a:lnTo>
                    <a:lnTo>
                      <a:pt x="559" y="529"/>
                    </a:lnTo>
                    <a:lnTo>
                      <a:pt x="559" y="527"/>
                    </a:lnTo>
                    <a:lnTo>
                      <a:pt x="559" y="529"/>
                    </a:lnTo>
                    <a:lnTo>
                      <a:pt x="559" y="527"/>
                    </a:lnTo>
                    <a:lnTo>
                      <a:pt x="559" y="529"/>
                    </a:lnTo>
                    <a:lnTo>
                      <a:pt x="557" y="529"/>
                    </a:lnTo>
                    <a:lnTo>
                      <a:pt x="557" y="527"/>
                    </a:lnTo>
                    <a:lnTo>
                      <a:pt x="557" y="525"/>
                    </a:lnTo>
                    <a:close/>
                    <a:moveTo>
                      <a:pt x="546" y="584"/>
                    </a:moveTo>
                    <a:lnTo>
                      <a:pt x="548" y="584"/>
                    </a:lnTo>
                    <a:lnTo>
                      <a:pt x="548" y="586"/>
                    </a:lnTo>
                    <a:lnTo>
                      <a:pt x="546" y="586"/>
                    </a:lnTo>
                    <a:lnTo>
                      <a:pt x="548" y="586"/>
                    </a:lnTo>
                    <a:lnTo>
                      <a:pt x="546" y="588"/>
                    </a:lnTo>
                    <a:lnTo>
                      <a:pt x="546" y="586"/>
                    </a:lnTo>
                    <a:lnTo>
                      <a:pt x="544" y="586"/>
                    </a:lnTo>
                    <a:lnTo>
                      <a:pt x="546" y="586"/>
                    </a:lnTo>
                    <a:lnTo>
                      <a:pt x="546" y="588"/>
                    </a:lnTo>
                    <a:lnTo>
                      <a:pt x="544" y="586"/>
                    </a:lnTo>
                    <a:lnTo>
                      <a:pt x="542" y="586"/>
                    </a:lnTo>
                    <a:lnTo>
                      <a:pt x="542" y="584"/>
                    </a:lnTo>
                    <a:lnTo>
                      <a:pt x="544" y="584"/>
                    </a:lnTo>
                    <a:lnTo>
                      <a:pt x="544" y="586"/>
                    </a:lnTo>
                    <a:lnTo>
                      <a:pt x="544" y="584"/>
                    </a:lnTo>
                    <a:lnTo>
                      <a:pt x="546" y="586"/>
                    </a:lnTo>
                    <a:lnTo>
                      <a:pt x="546" y="584"/>
                    </a:lnTo>
                    <a:close/>
                    <a:moveTo>
                      <a:pt x="582" y="687"/>
                    </a:moveTo>
                    <a:lnTo>
                      <a:pt x="580" y="689"/>
                    </a:lnTo>
                    <a:lnTo>
                      <a:pt x="580" y="691"/>
                    </a:lnTo>
                    <a:lnTo>
                      <a:pt x="578" y="693"/>
                    </a:lnTo>
                    <a:lnTo>
                      <a:pt x="578" y="691"/>
                    </a:lnTo>
                    <a:lnTo>
                      <a:pt x="578" y="689"/>
                    </a:lnTo>
                    <a:lnTo>
                      <a:pt x="580" y="687"/>
                    </a:lnTo>
                    <a:lnTo>
                      <a:pt x="582" y="687"/>
                    </a:lnTo>
                    <a:close/>
                    <a:moveTo>
                      <a:pt x="557" y="529"/>
                    </a:moveTo>
                    <a:lnTo>
                      <a:pt x="559" y="529"/>
                    </a:lnTo>
                    <a:lnTo>
                      <a:pt x="559" y="531"/>
                    </a:lnTo>
                    <a:lnTo>
                      <a:pt x="557" y="531"/>
                    </a:lnTo>
                    <a:lnTo>
                      <a:pt x="555" y="529"/>
                    </a:lnTo>
                    <a:lnTo>
                      <a:pt x="557" y="529"/>
                    </a:lnTo>
                    <a:close/>
                    <a:moveTo>
                      <a:pt x="553" y="649"/>
                    </a:moveTo>
                    <a:lnTo>
                      <a:pt x="555" y="649"/>
                    </a:lnTo>
                    <a:lnTo>
                      <a:pt x="555" y="651"/>
                    </a:lnTo>
                    <a:lnTo>
                      <a:pt x="553" y="649"/>
                    </a:lnTo>
                    <a:lnTo>
                      <a:pt x="553" y="651"/>
                    </a:lnTo>
                    <a:lnTo>
                      <a:pt x="552" y="651"/>
                    </a:lnTo>
                    <a:lnTo>
                      <a:pt x="552" y="653"/>
                    </a:lnTo>
                    <a:lnTo>
                      <a:pt x="552" y="651"/>
                    </a:lnTo>
                    <a:lnTo>
                      <a:pt x="552" y="649"/>
                    </a:lnTo>
                    <a:lnTo>
                      <a:pt x="552" y="651"/>
                    </a:lnTo>
                    <a:lnTo>
                      <a:pt x="552" y="649"/>
                    </a:lnTo>
                    <a:lnTo>
                      <a:pt x="553" y="649"/>
                    </a:lnTo>
                    <a:close/>
                    <a:moveTo>
                      <a:pt x="677" y="777"/>
                    </a:moveTo>
                    <a:lnTo>
                      <a:pt x="677" y="779"/>
                    </a:lnTo>
                    <a:lnTo>
                      <a:pt x="677" y="781"/>
                    </a:lnTo>
                    <a:lnTo>
                      <a:pt x="675" y="781"/>
                    </a:lnTo>
                    <a:lnTo>
                      <a:pt x="674" y="779"/>
                    </a:lnTo>
                    <a:lnTo>
                      <a:pt x="675" y="777"/>
                    </a:lnTo>
                    <a:lnTo>
                      <a:pt x="677" y="777"/>
                    </a:lnTo>
                    <a:close/>
                    <a:moveTo>
                      <a:pt x="552" y="489"/>
                    </a:moveTo>
                    <a:lnTo>
                      <a:pt x="553" y="491"/>
                    </a:lnTo>
                    <a:lnTo>
                      <a:pt x="555" y="491"/>
                    </a:lnTo>
                    <a:lnTo>
                      <a:pt x="553" y="491"/>
                    </a:lnTo>
                    <a:lnTo>
                      <a:pt x="552" y="493"/>
                    </a:lnTo>
                    <a:lnTo>
                      <a:pt x="550" y="491"/>
                    </a:lnTo>
                    <a:lnTo>
                      <a:pt x="552" y="491"/>
                    </a:lnTo>
                    <a:lnTo>
                      <a:pt x="552" y="489"/>
                    </a:lnTo>
                    <a:close/>
                    <a:moveTo>
                      <a:pt x="563" y="670"/>
                    </a:moveTo>
                    <a:lnTo>
                      <a:pt x="565" y="670"/>
                    </a:lnTo>
                    <a:lnTo>
                      <a:pt x="565" y="674"/>
                    </a:lnTo>
                    <a:lnTo>
                      <a:pt x="565" y="672"/>
                    </a:lnTo>
                    <a:lnTo>
                      <a:pt x="565" y="674"/>
                    </a:lnTo>
                    <a:lnTo>
                      <a:pt x="563" y="674"/>
                    </a:lnTo>
                    <a:lnTo>
                      <a:pt x="563" y="672"/>
                    </a:lnTo>
                    <a:lnTo>
                      <a:pt x="561" y="672"/>
                    </a:lnTo>
                    <a:lnTo>
                      <a:pt x="563" y="670"/>
                    </a:lnTo>
                    <a:close/>
                    <a:moveTo>
                      <a:pt x="666" y="792"/>
                    </a:moveTo>
                    <a:lnTo>
                      <a:pt x="666" y="794"/>
                    </a:lnTo>
                    <a:lnTo>
                      <a:pt x="668" y="794"/>
                    </a:lnTo>
                    <a:lnTo>
                      <a:pt x="666" y="794"/>
                    </a:lnTo>
                    <a:lnTo>
                      <a:pt x="666" y="796"/>
                    </a:lnTo>
                    <a:lnTo>
                      <a:pt x="664" y="796"/>
                    </a:lnTo>
                    <a:lnTo>
                      <a:pt x="666" y="794"/>
                    </a:lnTo>
                    <a:lnTo>
                      <a:pt x="664" y="794"/>
                    </a:lnTo>
                    <a:lnTo>
                      <a:pt x="664" y="796"/>
                    </a:lnTo>
                    <a:lnTo>
                      <a:pt x="662" y="794"/>
                    </a:lnTo>
                    <a:lnTo>
                      <a:pt x="662" y="796"/>
                    </a:lnTo>
                    <a:lnTo>
                      <a:pt x="662" y="794"/>
                    </a:lnTo>
                    <a:lnTo>
                      <a:pt x="660" y="796"/>
                    </a:lnTo>
                    <a:lnTo>
                      <a:pt x="660" y="794"/>
                    </a:lnTo>
                    <a:lnTo>
                      <a:pt x="662" y="794"/>
                    </a:lnTo>
                    <a:lnTo>
                      <a:pt x="664" y="794"/>
                    </a:lnTo>
                    <a:lnTo>
                      <a:pt x="666" y="794"/>
                    </a:lnTo>
                    <a:lnTo>
                      <a:pt x="666" y="792"/>
                    </a:lnTo>
                    <a:close/>
                    <a:moveTo>
                      <a:pt x="548" y="684"/>
                    </a:moveTo>
                    <a:lnTo>
                      <a:pt x="548" y="685"/>
                    </a:lnTo>
                    <a:lnTo>
                      <a:pt x="548" y="687"/>
                    </a:lnTo>
                    <a:lnTo>
                      <a:pt x="546" y="687"/>
                    </a:lnTo>
                    <a:lnTo>
                      <a:pt x="548" y="689"/>
                    </a:lnTo>
                    <a:lnTo>
                      <a:pt x="546" y="689"/>
                    </a:lnTo>
                    <a:lnTo>
                      <a:pt x="546" y="687"/>
                    </a:lnTo>
                    <a:lnTo>
                      <a:pt x="546" y="685"/>
                    </a:lnTo>
                    <a:lnTo>
                      <a:pt x="546" y="684"/>
                    </a:lnTo>
                    <a:lnTo>
                      <a:pt x="548" y="684"/>
                    </a:lnTo>
                    <a:close/>
                    <a:moveTo>
                      <a:pt x="618" y="766"/>
                    </a:moveTo>
                    <a:lnTo>
                      <a:pt x="618" y="768"/>
                    </a:lnTo>
                    <a:lnTo>
                      <a:pt x="618" y="766"/>
                    </a:lnTo>
                    <a:lnTo>
                      <a:pt x="622" y="768"/>
                    </a:lnTo>
                    <a:lnTo>
                      <a:pt x="618" y="768"/>
                    </a:lnTo>
                    <a:lnTo>
                      <a:pt x="618" y="769"/>
                    </a:lnTo>
                    <a:lnTo>
                      <a:pt x="616" y="769"/>
                    </a:lnTo>
                    <a:lnTo>
                      <a:pt x="616" y="768"/>
                    </a:lnTo>
                    <a:lnTo>
                      <a:pt x="614" y="768"/>
                    </a:lnTo>
                    <a:lnTo>
                      <a:pt x="616" y="768"/>
                    </a:lnTo>
                    <a:lnTo>
                      <a:pt x="616" y="766"/>
                    </a:lnTo>
                    <a:lnTo>
                      <a:pt x="616" y="768"/>
                    </a:lnTo>
                    <a:lnTo>
                      <a:pt x="618" y="766"/>
                    </a:lnTo>
                    <a:close/>
                    <a:moveTo>
                      <a:pt x="555" y="535"/>
                    </a:moveTo>
                    <a:lnTo>
                      <a:pt x="555" y="537"/>
                    </a:lnTo>
                    <a:lnTo>
                      <a:pt x="555" y="539"/>
                    </a:lnTo>
                    <a:lnTo>
                      <a:pt x="553" y="539"/>
                    </a:lnTo>
                    <a:lnTo>
                      <a:pt x="553" y="537"/>
                    </a:lnTo>
                    <a:lnTo>
                      <a:pt x="553" y="535"/>
                    </a:lnTo>
                    <a:lnTo>
                      <a:pt x="555" y="535"/>
                    </a:lnTo>
                    <a:close/>
                    <a:moveTo>
                      <a:pt x="550" y="695"/>
                    </a:moveTo>
                    <a:lnTo>
                      <a:pt x="550" y="697"/>
                    </a:lnTo>
                    <a:lnTo>
                      <a:pt x="552" y="697"/>
                    </a:lnTo>
                    <a:lnTo>
                      <a:pt x="553" y="697"/>
                    </a:lnTo>
                    <a:lnTo>
                      <a:pt x="553" y="695"/>
                    </a:lnTo>
                    <a:lnTo>
                      <a:pt x="553" y="697"/>
                    </a:lnTo>
                    <a:lnTo>
                      <a:pt x="553" y="699"/>
                    </a:lnTo>
                    <a:lnTo>
                      <a:pt x="552" y="699"/>
                    </a:lnTo>
                    <a:lnTo>
                      <a:pt x="552" y="697"/>
                    </a:lnTo>
                    <a:lnTo>
                      <a:pt x="550" y="697"/>
                    </a:lnTo>
                    <a:lnTo>
                      <a:pt x="550" y="695"/>
                    </a:lnTo>
                    <a:close/>
                    <a:moveTo>
                      <a:pt x="555" y="689"/>
                    </a:moveTo>
                    <a:lnTo>
                      <a:pt x="557" y="689"/>
                    </a:lnTo>
                    <a:lnTo>
                      <a:pt x="555" y="689"/>
                    </a:lnTo>
                    <a:lnTo>
                      <a:pt x="557" y="689"/>
                    </a:lnTo>
                    <a:lnTo>
                      <a:pt x="555" y="691"/>
                    </a:lnTo>
                    <a:lnTo>
                      <a:pt x="553" y="693"/>
                    </a:lnTo>
                    <a:lnTo>
                      <a:pt x="553" y="691"/>
                    </a:lnTo>
                    <a:lnTo>
                      <a:pt x="553" y="693"/>
                    </a:lnTo>
                    <a:lnTo>
                      <a:pt x="552" y="693"/>
                    </a:lnTo>
                    <a:lnTo>
                      <a:pt x="553" y="691"/>
                    </a:lnTo>
                    <a:lnTo>
                      <a:pt x="553" y="689"/>
                    </a:lnTo>
                    <a:lnTo>
                      <a:pt x="553" y="691"/>
                    </a:lnTo>
                    <a:lnTo>
                      <a:pt x="555" y="691"/>
                    </a:lnTo>
                    <a:lnTo>
                      <a:pt x="553" y="689"/>
                    </a:lnTo>
                    <a:lnTo>
                      <a:pt x="555" y="689"/>
                    </a:lnTo>
                    <a:close/>
                    <a:moveTo>
                      <a:pt x="567" y="518"/>
                    </a:moveTo>
                    <a:lnTo>
                      <a:pt x="567" y="519"/>
                    </a:lnTo>
                    <a:lnTo>
                      <a:pt x="569" y="519"/>
                    </a:lnTo>
                    <a:lnTo>
                      <a:pt x="567" y="519"/>
                    </a:lnTo>
                    <a:lnTo>
                      <a:pt x="569" y="521"/>
                    </a:lnTo>
                    <a:lnTo>
                      <a:pt x="567" y="521"/>
                    </a:lnTo>
                    <a:lnTo>
                      <a:pt x="565" y="519"/>
                    </a:lnTo>
                    <a:lnTo>
                      <a:pt x="567" y="519"/>
                    </a:lnTo>
                    <a:lnTo>
                      <a:pt x="565" y="519"/>
                    </a:lnTo>
                    <a:lnTo>
                      <a:pt x="567" y="518"/>
                    </a:lnTo>
                    <a:lnTo>
                      <a:pt x="565" y="518"/>
                    </a:lnTo>
                    <a:lnTo>
                      <a:pt x="567" y="518"/>
                    </a:lnTo>
                    <a:close/>
                    <a:moveTo>
                      <a:pt x="563" y="539"/>
                    </a:moveTo>
                    <a:lnTo>
                      <a:pt x="565" y="539"/>
                    </a:lnTo>
                    <a:lnTo>
                      <a:pt x="565" y="540"/>
                    </a:lnTo>
                    <a:lnTo>
                      <a:pt x="565" y="542"/>
                    </a:lnTo>
                    <a:lnTo>
                      <a:pt x="563" y="542"/>
                    </a:lnTo>
                    <a:lnTo>
                      <a:pt x="565" y="540"/>
                    </a:lnTo>
                    <a:lnTo>
                      <a:pt x="563" y="542"/>
                    </a:lnTo>
                    <a:lnTo>
                      <a:pt x="563" y="540"/>
                    </a:lnTo>
                    <a:lnTo>
                      <a:pt x="563" y="539"/>
                    </a:lnTo>
                    <a:close/>
                    <a:moveTo>
                      <a:pt x="573" y="743"/>
                    </a:moveTo>
                    <a:lnTo>
                      <a:pt x="574" y="743"/>
                    </a:lnTo>
                    <a:lnTo>
                      <a:pt x="574" y="745"/>
                    </a:lnTo>
                    <a:lnTo>
                      <a:pt x="574" y="743"/>
                    </a:lnTo>
                    <a:lnTo>
                      <a:pt x="574" y="745"/>
                    </a:lnTo>
                    <a:lnTo>
                      <a:pt x="576" y="745"/>
                    </a:lnTo>
                    <a:lnTo>
                      <a:pt x="576" y="747"/>
                    </a:lnTo>
                    <a:lnTo>
                      <a:pt x="576" y="745"/>
                    </a:lnTo>
                    <a:lnTo>
                      <a:pt x="576" y="747"/>
                    </a:lnTo>
                    <a:lnTo>
                      <a:pt x="574" y="747"/>
                    </a:lnTo>
                    <a:lnTo>
                      <a:pt x="574" y="745"/>
                    </a:lnTo>
                    <a:lnTo>
                      <a:pt x="573" y="747"/>
                    </a:lnTo>
                    <a:lnTo>
                      <a:pt x="573" y="745"/>
                    </a:lnTo>
                    <a:lnTo>
                      <a:pt x="573" y="747"/>
                    </a:lnTo>
                    <a:lnTo>
                      <a:pt x="573" y="745"/>
                    </a:lnTo>
                    <a:lnTo>
                      <a:pt x="573" y="743"/>
                    </a:lnTo>
                    <a:close/>
                    <a:moveTo>
                      <a:pt x="561" y="672"/>
                    </a:moveTo>
                    <a:lnTo>
                      <a:pt x="561" y="674"/>
                    </a:lnTo>
                    <a:lnTo>
                      <a:pt x="563" y="676"/>
                    </a:lnTo>
                    <a:lnTo>
                      <a:pt x="561" y="676"/>
                    </a:lnTo>
                    <a:lnTo>
                      <a:pt x="559" y="676"/>
                    </a:lnTo>
                    <a:lnTo>
                      <a:pt x="561" y="674"/>
                    </a:lnTo>
                    <a:lnTo>
                      <a:pt x="559" y="674"/>
                    </a:lnTo>
                    <a:lnTo>
                      <a:pt x="559" y="672"/>
                    </a:lnTo>
                    <a:lnTo>
                      <a:pt x="561" y="672"/>
                    </a:lnTo>
                    <a:close/>
                    <a:moveTo>
                      <a:pt x="546" y="518"/>
                    </a:moveTo>
                    <a:lnTo>
                      <a:pt x="548" y="519"/>
                    </a:lnTo>
                    <a:lnTo>
                      <a:pt x="546" y="519"/>
                    </a:lnTo>
                    <a:lnTo>
                      <a:pt x="544" y="518"/>
                    </a:lnTo>
                    <a:lnTo>
                      <a:pt x="546" y="518"/>
                    </a:lnTo>
                    <a:close/>
                    <a:moveTo>
                      <a:pt x="683" y="775"/>
                    </a:moveTo>
                    <a:lnTo>
                      <a:pt x="683" y="777"/>
                    </a:lnTo>
                    <a:lnTo>
                      <a:pt x="685" y="777"/>
                    </a:lnTo>
                    <a:lnTo>
                      <a:pt x="683" y="777"/>
                    </a:lnTo>
                    <a:lnTo>
                      <a:pt x="683" y="779"/>
                    </a:lnTo>
                    <a:lnTo>
                      <a:pt x="681" y="779"/>
                    </a:lnTo>
                    <a:lnTo>
                      <a:pt x="681" y="777"/>
                    </a:lnTo>
                    <a:lnTo>
                      <a:pt x="683" y="775"/>
                    </a:lnTo>
                    <a:close/>
                    <a:moveTo>
                      <a:pt x="557" y="600"/>
                    </a:moveTo>
                    <a:lnTo>
                      <a:pt x="559" y="603"/>
                    </a:lnTo>
                    <a:lnTo>
                      <a:pt x="557" y="603"/>
                    </a:lnTo>
                    <a:lnTo>
                      <a:pt x="557" y="602"/>
                    </a:lnTo>
                    <a:lnTo>
                      <a:pt x="555" y="600"/>
                    </a:lnTo>
                    <a:lnTo>
                      <a:pt x="557" y="600"/>
                    </a:lnTo>
                    <a:close/>
                    <a:moveTo>
                      <a:pt x="557" y="516"/>
                    </a:moveTo>
                    <a:lnTo>
                      <a:pt x="557" y="518"/>
                    </a:lnTo>
                    <a:lnTo>
                      <a:pt x="559" y="518"/>
                    </a:lnTo>
                    <a:lnTo>
                      <a:pt x="557" y="519"/>
                    </a:lnTo>
                    <a:lnTo>
                      <a:pt x="557" y="518"/>
                    </a:lnTo>
                    <a:lnTo>
                      <a:pt x="555" y="516"/>
                    </a:lnTo>
                    <a:lnTo>
                      <a:pt x="557" y="516"/>
                    </a:lnTo>
                    <a:close/>
                    <a:moveTo>
                      <a:pt x="561" y="508"/>
                    </a:moveTo>
                    <a:lnTo>
                      <a:pt x="563" y="510"/>
                    </a:lnTo>
                    <a:lnTo>
                      <a:pt x="565" y="510"/>
                    </a:lnTo>
                    <a:lnTo>
                      <a:pt x="563" y="510"/>
                    </a:lnTo>
                    <a:lnTo>
                      <a:pt x="565" y="510"/>
                    </a:lnTo>
                    <a:lnTo>
                      <a:pt x="565" y="512"/>
                    </a:lnTo>
                    <a:lnTo>
                      <a:pt x="563" y="512"/>
                    </a:lnTo>
                    <a:lnTo>
                      <a:pt x="561" y="512"/>
                    </a:lnTo>
                    <a:lnTo>
                      <a:pt x="561" y="510"/>
                    </a:lnTo>
                    <a:lnTo>
                      <a:pt x="563" y="510"/>
                    </a:lnTo>
                    <a:lnTo>
                      <a:pt x="565" y="512"/>
                    </a:lnTo>
                    <a:lnTo>
                      <a:pt x="563" y="512"/>
                    </a:lnTo>
                    <a:lnTo>
                      <a:pt x="561" y="512"/>
                    </a:lnTo>
                    <a:lnTo>
                      <a:pt x="563" y="512"/>
                    </a:lnTo>
                    <a:lnTo>
                      <a:pt x="565" y="512"/>
                    </a:lnTo>
                    <a:lnTo>
                      <a:pt x="565" y="510"/>
                    </a:lnTo>
                    <a:lnTo>
                      <a:pt x="563" y="510"/>
                    </a:lnTo>
                    <a:lnTo>
                      <a:pt x="561" y="510"/>
                    </a:lnTo>
                    <a:lnTo>
                      <a:pt x="563" y="510"/>
                    </a:lnTo>
                    <a:lnTo>
                      <a:pt x="561" y="510"/>
                    </a:lnTo>
                    <a:lnTo>
                      <a:pt x="561" y="508"/>
                    </a:lnTo>
                    <a:close/>
                    <a:moveTo>
                      <a:pt x="626" y="769"/>
                    </a:moveTo>
                    <a:lnTo>
                      <a:pt x="628" y="769"/>
                    </a:lnTo>
                    <a:lnTo>
                      <a:pt x="628" y="771"/>
                    </a:lnTo>
                    <a:lnTo>
                      <a:pt x="626" y="771"/>
                    </a:lnTo>
                    <a:lnTo>
                      <a:pt x="628" y="769"/>
                    </a:lnTo>
                    <a:lnTo>
                      <a:pt x="626" y="771"/>
                    </a:lnTo>
                    <a:lnTo>
                      <a:pt x="626" y="769"/>
                    </a:lnTo>
                    <a:lnTo>
                      <a:pt x="626" y="771"/>
                    </a:lnTo>
                    <a:lnTo>
                      <a:pt x="624" y="771"/>
                    </a:lnTo>
                    <a:lnTo>
                      <a:pt x="624" y="769"/>
                    </a:lnTo>
                    <a:lnTo>
                      <a:pt x="626" y="769"/>
                    </a:lnTo>
                    <a:lnTo>
                      <a:pt x="624" y="769"/>
                    </a:lnTo>
                    <a:lnTo>
                      <a:pt x="626" y="769"/>
                    </a:lnTo>
                    <a:close/>
                    <a:moveTo>
                      <a:pt x="561" y="600"/>
                    </a:moveTo>
                    <a:lnTo>
                      <a:pt x="563" y="602"/>
                    </a:lnTo>
                    <a:lnTo>
                      <a:pt x="563" y="603"/>
                    </a:lnTo>
                    <a:lnTo>
                      <a:pt x="561" y="602"/>
                    </a:lnTo>
                    <a:lnTo>
                      <a:pt x="561" y="600"/>
                    </a:lnTo>
                    <a:close/>
                    <a:moveTo>
                      <a:pt x="563" y="529"/>
                    </a:moveTo>
                    <a:lnTo>
                      <a:pt x="565" y="531"/>
                    </a:lnTo>
                    <a:lnTo>
                      <a:pt x="563" y="531"/>
                    </a:lnTo>
                    <a:lnTo>
                      <a:pt x="565" y="531"/>
                    </a:lnTo>
                    <a:lnTo>
                      <a:pt x="567" y="531"/>
                    </a:lnTo>
                    <a:lnTo>
                      <a:pt x="565" y="533"/>
                    </a:lnTo>
                    <a:lnTo>
                      <a:pt x="565" y="531"/>
                    </a:lnTo>
                    <a:lnTo>
                      <a:pt x="563" y="531"/>
                    </a:lnTo>
                    <a:lnTo>
                      <a:pt x="563" y="529"/>
                    </a:lnTo>
                    <a:close/>
                    <a:moveTo>
                      <a:pt x="574" y="497"/>
                    </a:moveTo>
                    <a:lnTo>
                      <a:pt x="578" y="497"/>
                    </a:lnTo>
                    <a:lnTo>
                      <a:pt x="578" y="500"/>
                    </a:lnTo>
                    <a:lnTo>
                      <a:pt x="574" y="500"/>
                    </a:lnTo>
                    <a:lnTo>
                      <a:pt x="574" y="497"/>
                    </a:lnTo>
                    <a:close/>
                    <a:moveTo>
                      <a:pt x="565" y="672"/>
                    </a:moveTo>
                    <a:lnTo>
                      <a:pt x="569" y="672"/>
                    </a:lnTo>
                    <a:lnTo>
                      <a:pt x="569" y="674"/>
                    </a:lnTo>
                    <a:lnTo>
                      <a:pt x="565" y="674"/>
                    </a:lnTo>
                    <a:lnTo>
                      <a:pt x="565" y="672"/>
                    </a:lnTo>
                    <a:close/>
                    <a:moveTo>
                      <a:pt x="0" y="166"/>
                    </a:moveTo>
                    <a:lnTo>
                      <a:pt x="2" y="166"/>
                    </a:lnTo>
                    <a:lnTo>
                      <a:pt x="4" y="166"/>
                    </a:lnTo>
                    <a:lnTo>
                      <a:pt x="2" y="168"/>
                    </a:lnTo>
                    <a:lnTo>
                      <a:pt x="0" y="168"/>
                    </a:lnTo>
                    <a:lnTo>
                      <a:pt x="0" y="166"/>
                    </a:lnTo>
                    <a:close/>
                    <a:moveTo>
                      <a:pt x="569" y="498"/>
                    </a:moveTo>
                    <a:lnTo>
                      <a:pt x="571" y="500"/>
                    </a:lnTo>
                    <a:lnTo>
                      <a:pt x="569" y="500"/>
                    </a:lnTo>
                    <a:lnTo>
                      <a:pt x="571" y="500"/>
                    </a:lnTo>
                    <a:lnTo>
                      <a:pt x="571" y="502"/>
                    </a:lnTo>
                    <a:lnTo>
                      <a:pt x="569" y="502"/>
                    </a:lnTo>
                    <a:lnTo>
                      <a:pt x="569" y="500"/>
                    </a:lnTo>
                    <a:lnTo>
                      <a:pt x="569" y="502"/>
                    </a:lnTo>
                    <a:lnTo>
                      <a:pt x="569" y="500"/>
                    </a:lnTo>
                    <a:lnTo>
                      <a:pt x="569" y="498"/>
                    </a:lnTo>
                    <a:close/>
                    <a:moveTo>
                      <a:pt x="622" y="745"/>
                    </a:moveTo>
                    <a:lnTo>
                      <a:pt x="622" y="747"/>
                    </a:lnTo>
                    <a:lnTo>
                      <a:pt x="622" y="748"/>
                    </a:lnTo>
                    <a:lnTo>
                      <a:pt x="620" y="747"/>
                    </a:lnTo>
                    <a:lnTo>
                      <a:pt x="618" y="747"/>
                    </a:lnTo>
                    <a:lnTo>
                      <a:pt x="618" y="745"/>
                    </a:lnTo>
                    <a:lnTo>
                      <a:pt x="620" y="747"/>
                    </a:lnTo>
                    <a:lnTo>
                      <a:pt x="622" y="745"/>
                    </a:lnTo>
                    <a:close/>
                    <a:moveTo>
                      <a:pt x="548" y="605"/>
                    </a:moveTo>
                    <a:lnTo>
                      <a:pt x="550" y="607"/>
                    </a:lnTo>
                    <a:lnTo>
                      <a:pt x="552" y="607"/>
                    </a:lnTo>
                    <a:lnTo>
                      <a:pt x="550" y="609"/>
                    </a:lnTo>
                    <a:lnTo>
                      <a:pt x="548" y="609"/>
                    </a:lnTo>
                    <a:lnTo>
                      <a:pt x="548" y="607"/>
                    </a:lnTo>
                    <a:lnTo>
                      <a:pt x="550" y="607"/>
                    </a:lnTo>
                    <a:lnTo>
                      <a:pt x="548" y="607"/>
                    </a:lnTo>
                    <a:lnTo>
                      <a:pt x="548" y="605"/>
                    </a:lnTo>
                    <a:close/>
                    <a:moveTo>
                      <a:pt x="576" y="739"/>
                    </a:moveTo>
                    <a:lnTo>
                      <a:pt x="578" y="739"/>
                    </a:lnTo>
                    <a:lnTo>
                      <a:pt x="578" y="741"/>
                    </a:lnTo>
                    <a:lnTo>
                      <a:pt x="576" y="741"/>
                    </a:lnTo>
                    <a:lnTo>
                      <a:pt x="578" y="741"/>
                    </a:lnTo>
                    <a:lnTo>
                      <a:pt x="576" y="741"/>
                    </a:lnTo>
                    <a:lnTo>
                      <a:pt x="576" y="739"/>
                    </a:lnTo>
                    <a:lnTo>
                      <a:pt x="576" y="741"/>
                    </a:lnTo>
                    <a:lnTo>
                      <a:pt x="576" y="739"/>
                    </a:lnTo>
                    <a:lnTo>
                      <a:pt x="574" y="739"/>
                    </a:lnTo>
                    <a:lnTo>
                      <a:pt x="574" y="741"/>
                    </a:lnTo>
                    <a:lnTo>
                      <a:pt x="574" y="739"/>
                    </a:lnTo>
                    <a:lnTo>
                      <a:pt x="576" y="739"/>
                    </a:lnTo>
                    <a:lnTo>
                      <a:pt x="574" y="739"/>
                    </a:lnTo>
                    <a:lnTo>
                      <a:pt x="576" y="739"/>
                    </a:lnTo>
                    <a:close/>
                    <a:moveTo>
                      <a:pt x="559" y="569"/>
                    </a:moveTo>
                    <a:lnTo>
                      <a:pt x="557" y="571"/>
                    </a:lnTo>
                    <a:lnTo>
                      <a:pt x="557" y="569"/>
                    </a:lnTo>
                    <a:lnTo>
                      <a:pt x="559" y="569"/>
                    </a:lnTo>
                    <a:close/>
                    <a:moveTo>
                      <a:pt x="571" y="464"/>
                    </a:moveTo>
                    <a:lnTo>
                      <a:pt x="571" y="466"/>
                    </a:lnTo>
                    <a:lnTo>
                      <a:pt x="573" y="466"/>
                    </a:lnTo>
                    <a:lnTo>
                      <a:pt x="573" y="468"/>
                    </a:lnTo>
                    <a:lnTo>
                      <a:pt x="571" y="468"/>
                    </a:lnTo>
                    <a:lnTo>
                      <a:pt x="571" y="466"/>
                    </a:lnTo>
                    <a:lnTo>
                      <a:pt x="569" y="466"/>
                    </a:lnTo>
                    <a:lnTo>
                      <a:pt x="571" y="466"/>
                    </a:lnTo>
                    <a:lnTo>
                      <a:pt x="569" y="464"/>
                    </a:lnTo>
                    <a:lnTo>
                      <a:pt x="571" y="464"/>
                    </a:lnTo>
                    <a:close/>
                    <a:moveTo>
                      <a:pt x="553" y="514"/>
                    </a:moveTo>
                    <a:lnTo>
                      <a:pt x="557" y="514"/>
                    </a:lnTo>
                    <a:lnTo>
                      <a:pt x="555" y="514"/>
                    </a:lnTo>
                    <a:lnTo>
                      <a:pt x="557" y="516"/>
                    </a:lnTo>
                    <a:lnTo>
                      <a:pt x="555" y="516"/>
                    </a:lnTo>
                    <a:lnTo>
                      <a:pt x="553" y="516"/>
                    </a:lnTo>
                    <a:lnTo>
                      <a:pt x="553" y="514"/>
                    </a:lnTo>
                    <a:close/>
                    <a:moveTo>
                      <a:pt x="563" y="506"/>
                    </a:moveTo>
                    <a:lnTo>
                      <a:pt x="563" y="508"/>
                    </a:lnTo>
                    <a:lnTo>
                      <a:pt x="565" y="508"/>
                    </a:lnTo>
                    <a:lnTo>
                      <a:pt x="565" y="510"/>
                    </a:lnTo>
                    <a:lnTo>
                      <a:pt x="563" y="508"/>
                    </a:lnTo>
                    <a:lnTo>
                      <a:pt x="563" y="506"/>
                    </a:lnTo>
                    <a:close/>
                    <a:moveTo>
                      <a:pt x="557" y="523"/>
                    </a:moveTo>
                    <a:lnTo>
                      <a:pt x="559" y="523"/>
                    </a:lnTo>
                    <a:lnTo>
                      <a:pt x="559" y="525"/>
                    </a:lnTo>
                    <a:lnTo>
                      <a:pt x="557" y="525"/>
                    </a:lnTo>
                    <a:lnTo>
                      <a:pt x="557" y="523"/>
                    </a:lnTo>
                    <a:close/>
                    <a:moveTo>
                      <a:pt x="559" y="539"/>
                    </a:moveTo>
                    <a:lnTo>
                      <a:pt x="561" y="539"/>
                    </a:lnTo>
                    <a:lnTo>
                      <a:pt x="559" y="539"/>
                    </a:lnTo>
                    <a:lnTo>
                      <a:pt x="561" y="540"/>
                    </a:lnTo>
                    <a:lnTo>
                      <a:pt x="561" y="539"/>
                    </a:lnTo>
                    <a:lnTo>
                      <a:pt x="561" y="540"/>
                    </a:lnTo>
                    <a:lnTo>
                      <a:pt x="559" y="540"/>
                    </a:lnTo>
                    <a:lnTo>
                      <a:pt x="559" y="539"/>
                    </a:lnTo>
                    <a:close/>
                    <a:moveTo>
                      <a:pt x="548" y="657"/>
                    </a:moveTo>
                    <a:lnTo>
                      <a:pt x="548" y="659"/>
                    </a:lnTo>
                    <a:lnTo>
                      <a:pt x="548" y="661"/>
                    </a:lnTo>
                    <a:lnTo>
                      <a:pt x="546" y="659"/>
                    </a:lnTo>
                    <a:lnTo>
                      <a:pt x="548" y="659"/>
                    </a:lnTo>
                    <a:lnTo>
                      <a:pt x="546" y="659"/>
                    </a:lnTo>
                    <a:lnTo>
                      <a:pt x="546" y="657"/>
                    </a:lnTo>
                    <a:lnTo>
                      <a:pt x="548" y="659"/>
                    </a:lnTo>
                    <a:lnTo>
                      <a:pt x="548" y="657"/>
                    </a:lnTo>
                    <a:lnTo>
                      <a:pt x="546" y="657"/>
                    </a:lnTo>
                    <a:lnTo>
                      <a:pt x="548" y="657"/>
                    </a:lnTo>
                    <a:close/>
                    <a:moveTo>
                      <a:pt x="674" y="771"/>
                    </a:moveTo>
                    <a:lnTo>
                      <a:pt x="675" y="771"/>
                    </a:lnTo>
                    <a:lnTo>
                      <a:pt x="677" y="771"/>
                    </a:lnTo>
                    <a:lnTo>
                      <a:pt x="677" y="773"/>
                    </a:lnTo>
                    <a:lnTo>
                      <a:pt x="675" y="771"/>
                    </a:lnTo>
                    <a:lnTo>
                      <a:pt x="674" y="771"/>
                    </a:lnTo>
                    <a:close/>
                    <a:moveTo>
                      <a:pt x="563" y="518"/>
                    </a:moveTo>
                    <a:lnTo>
                      <a:pt x="565" y="518"/>
                    </a:lnTo>
                    <a:lnTo>
                      <a:pt x="565" y="519"/>
                    </a:lnTo>
                    <a:lnTo>
                      <a:pt x="563" y="519"/>
                    </a:lnTo>
                    <a:lnTo>
                      <a:pt x="563" y="518"/>
                    </a:lnTo>
                    <a:lnTo>
                      <a:pt x="561" y="518"/>
                    </a:lnTo>
                    <a:lnTo>
                      <a:pt x="563" y="518"/>
                    </a:lnTo>
                    <a:close/>
                    <a:moveTo>
                      <a:pt x="555" y="693"/>
                    </a:moveTo>
                    <a:lnTo>
                      <a:pt x="553" y="693"/>
                    </a:lnTo>
                    <a:lnTo>
                      <a:pt x="553" y="695"/>
                    </a:lnTo>
                    <a:lnTo>
                      <a:pt x="553" y="693"/>
                    </a:lnTo>
                    <a:lnTo>
                      <a:pt x="553" y="695"/>
                    </a:lnTo>
                    <a:lnTo>
                      <a:pt x="552" y="697"/>
                    </a:lnTo>
                    <a:lnTo>
                      <a:pt x="552" y="695"/>
                    </a:lnTo>
                    <a:lnTo>
                      <a:pt x="553" y="693"/>
                    </a:lnTo>
                    <a:lnTo>
                      <a:pt x="555" y="693"/>
                    </a:lnTo>
                    <a:close/>
                    <a:moveTo>
                      <a:pt x="569" y="516"/>
                    </a:moveTo>
                    <a:lnTo>
                      <a:pt x="571" y="516"/>
                    </a:lnTo>
                    <a:lnTo>
                      <a:pt x="571" y="519"/>
                    </a:lnTo>
                    <a:lnTo>
                      <a:pt x="569" y="519"/>
                    </a:lnTo>
                    <a:lnTo>
                      <a:pt x="569" y="516"/>
                    </a:lnTo>
                    <a:close/>
                    <a:moveTo>
                      <a:pt x="548" y="584"/>
                    </a:moveTo>
                    <a:lnTo>
                      <a:pt x="550" y="584"/>
                    </a:lnTo>
                    <a:lnTo>
                      <a:pt x="548" y="584"/>
                    </a:lnTo>
                    <a:lnTo>
                      <a:pt x="550" y="584"/>
                    </a:lnTo>
                    <a:lnTo>
                      <a:pt x="550" y="586"/>
                    </a:lnTo>
                    <a:lnTo>
                      <a:pt x="550" y="584"/>
                    </a:lnTo>
                    <a:lnTo>
                      <a:pt x="550" y="586"/>
                    </a:lnTo>
                    <a:lnTo>
                      <a:pt x="550" y="584"/>
                    </a:lnTo>
                    <a:lnTo>
                      <a:pt x="550" y="586"/>
                    </a:lnTo>
                    <a:lnTo>
                      <a:pt x="548" y="586"/>
                    </a:lnTo>
                    <a:lnTo>
                      <a:pt x="548" y="584"/>
                    </a:lnTo>
                    <a:close/>
                    <a:moveTo>
                      <a:pt x="590" y="752"/>
                    </a:moveTo>
                    <a:lnTo>
                      <a:pt x="592" y="752"/>
                    </a:lnTo>
                    <a:lnTo>
                      <a:pt x="590" y="754"/>
                    </a:lnTo>
                    <a:lnTo>
                      <a:pt x="590" y="752"/>
                    </a:lnTo>
                    <a:lnTo>
                      <a:pt x="590" y="754"/>
                    </a:lnTo>
                    <a:lnTo>
                      <a:pt x="588" y="754"/>
                    </a:lnTo>
                    <a:lnTo>
                      <a:pt x="590" y="754"/>
                    </a:lnTo>
                    <a:lnTo>
                      <a:pt x="588" y="754"/>
                    </a:lnTo>
                    <a:lnTo>
                      <a:pt x="588" y="756"/>
                    </a:lnTo>
                    <a:lnTo>
                      <a:pt x="588" y="754"/>
                    </a:lnTo>
                    <a:lnTo>
                      <a:pt x="586" y="752"/>
                    </a:lnTo>
                    <a:lnTo>
                      <a:pt x="588" y="754"/>
                    </a:lnTo>
                    <a:lnTo>
                      <a:pt x="588" y="752"/>
                    </a:lnTo>
                    <a:lnTo>
                      <a:pt x="590" y="752"/>
                    </a:lnTo>
                    <a:close/>
                    <a:moveTo>
                      <a:pt x="565" y="502"/>
                    </a:moveTo>
                    <a:lnTo>
                      <a:pt x="567" y="502"/>
                    </a:lnTo>
                    <a:lnTo>
                      <a:pt x="565" y="504"/>
                    </a:lnTo>
                    <a:lnTo>
                      <a:pt x="567" y="502"/>
                    </a:lnTo>
                    <a:lnTo>
                      <a:pt x="567" y="504"/>
                    </a:lnTo>
                    <a:lnTo>
                      <a:pt x="567" y="502"/>
                    </a:lnTo>
                    <a:lnTo>
                      <a:pt x="567" y="504"/>
                    </a:lnTo>
                    <a:lnTo>
                      <a:pt x="565" y="504"/>
                    </a:lnTo>
                    <a:lnTo>
                      <a:pt x="563" y="502"/>
                    </a:lnTo>
                    <a:lnTo>
                      <a:pt x="565" y="502"/>
                    </a:lnTo>
                    <a:close/>
                    <a:moveTo>
                      <a:pt x="565" y="682"/>
                    </a:moveTo>
                    <a:lnTo>
                      <a:pt x="567" y="682"/>
                    </a:lnTo>
                    <a:lnTo>
                      <a:pt x="567" y="684"/>
                    </a:lnTo>
                    <a:lnTo>
                      <a:pt x="567" y="685"/>
                    </a:lnTo>
                    <a:lnTo>
                      <a:pt x="565" y="685"/>
                    </a:lnTo>
                    <a:lnTo>
                      <a:pt x="565" y="684"/>
                    </a:lnTo>
                    <a:lnTo>
                      <a:pt x="565" y="682"/>
                    </a:lnTo>
                    <a:close/>
                    <a:moveTo>
                      <a:pt x="592" y="739"/>
                    </a:moveTo>
                    <a:lnTo>
                      <a:pt x="595" y="739"/>
                    </a:lnTo>
                    <a:lnTo>
                      <a:pt x="595" y="743"/>
                    </a:lnTo>
                    <a:lnTo>
                      <a:pt x="592" y="743"/>
                    </a:lnTo>
                    <a:lnTo>
                      <a:pt x="592" y="739"/>
                    </a:lnTo>
                    <a:close/>
                    <a:moveTo>
                      <a:pt x="550" y="666"/>
                    </a:moveTo>
                    <a:lnTo>
                      <a:pt x="550" y="668"/>
                    </a:lnTo>
                    <a:lnTo>
                      <a:pt x="552" y="668"/>
                    </a:lnTo>
                    <a:lnTo>
                      <a:pt x="550" y="668"/>
                    </a:lnTo>
                    <a:lnTo>
                      <a:pt x="548" y="668"/>
                    </a:lnTo>
                    <a:lnTo>
                      <a:pt x="550" y="668"/>
                    </a:lnTo>
                    <a:lnTo>
                      <a:pt x="548" y="670"/>
                    </a:lnTo>
                    <a:lnTo>
                      <a:pt x="548" y="668"/>
                    </a:lnTo>
                    <a:lnTo>
                      <a:pt x="548" y="666"/>
                    </a:lnTo>
                    <a:lnTo>
                      <a:pt x="550" y="668"/>
                    </a:lnTo>
                    <a:lnTo>
                      <a:pt x="550" y="666"/>
                    </a:lnTo>
                    <a:close/>
                    <a:moveTo>
                      <a:pt x="555" y="533"/>
                    </a:moveTo>
                    <a:lnTo>
                      <a:pt x="557" y="533"/>
                    </a:lnTo>
                    <a:lnTo>
                      <a:pt x="557" y="535"/>
                    </a:lnTo>
                    <a:lnTo>
                      <a:pt x="555" y="535"/>
                    </a:lnTo>
                    <a:lnTo>
                      <a:pt x="555" y="533"/>
                    </a:lnTo>
                    <a:close/>
                    <a:moveTo>
                      <a:pt x="538" y="615"/>
                    </a:moveTo>
                    <a:lnTo>
                      <a:pt x="540" y="615"/>
                    </a:lnTo>
                    <a:lnTo>
                      <a:pt x="540" y="617"/>
                    </a:lnTo>
                    <a:lnTo>
                      <a:pt x="538" y="617"/>
                    </a:lnTo>
                    <a:lnTo>
                      <a:pt x="538" y="615"/>
                    </a:lnTo>
                    <a:lnTo>
                      <a:pt x="536" y="617"/>
                    </a:lnTo>
                    <a:lnTo>
                      <a:pt x="536" y="615"/>
                    </a:lnTo>
                    <a:lnTo>
                      <a:pt x="538" y="615"/>
                    </a:lnTo>
                    <a:close/>
                    <a:moveTo>
                      <a:pt x="571" y="468"/>
                    </a:moveTo>
                    <a:lnTo>
                      <a:pt x="571" y="470"/>
                    </a:lnTo>
                    <a:lnTo>
                      <a:pt x="571" y="472"/>
                    </a:lnTo>
                    <a:lnTo>
                      <a:pt x="571" y="470"/>
                    </a:lnTo>
                    <a:lnTo>
                      <a:pt x="571" y="472"/>
                    </a:lnTo>
                    <a:lnTo>
                      <a:pt x="571" y="470"/>
                    </a:lnTo>
                    <a:lnTo>
                      <a:pt x="569" y="470"/>
                    </a:lnTo>
                    <a:lnTo>
                      <a:pt x="567" y="470"/>
                    </a:lnTo>
                    <a:lnTo>
                      <a:pt x="569" y="470"/>
                    </a:lnTo>
                    <a:lnTo>
                      <a:pt x="571" y="468"/>
                    </a:lnTo>
                    <a:close/>
                    <a:moveTo>
                      <a:pt x="565" y="720"/>
                    </a:moveTo>
                    <a:lnTo>
                      <a:pt x="567" y="720"/>
                    </a:lnTo>
                    <a:lnTo>
                      <a:pt x="567" y="722"/>
                    </a:lnTo>
                    <a:lnTo>
                      <a:pt x="567" y="724"/>
                    </a:lnTo>
                    <a:lnTo>
                      <a:pt x="567" y="722"/>
                    </a:lnTo>
                    <a:lnTo>
                      <a:pt x="565" y="720"/>
                    </a:lnTo>
                    <a:lnTo>
                      <a:pt x="565" y="722"/>
                    </a:lnTo>
                    <a:lnTo>
                      <a:pt x="565" y="720"/>
                    </a:lnTo>
                    <a:close/>
                    <a:moveTo>
                      <a:pt x="553" y="666"/>
                    </a:moveTo>
                    <a:lnTo>
                      <a:pt x="553" y="668"/>
                    </a:lnTo>
                    <a:lnTo>
                      <a:pt x="555" y="670"/>
                    </a:lnTo>
                    <a:lnTo>
                      <a:pt x="553" y="668"/>
                    </a:lnTo>
                    <a:lnTo>
                      <a:pt x="553" y="670"/>
                    </a:lnTo>
                    <a:lnTo>
                      <a:pt x="552" y="670"/>
                    </a:lnTo>
                    <a:lnTo>
                      <a:pt x="552" y="668"/>
                    </a:lnTo>
                    <a:lnTo>
                      <a:pt x="552" y="670"/>
                    </a:lnTo>
                    <a:lnTo>
                      <a:pt x="552" y="668"/>
                    </a:lnTo>
                    <a:lnTo>
                      <a:pt x="553" y="668"/>
                    </a:lnTo>
                    <a:lnTo>
                      <a:pt x="553" y="666"/>
                    </a:lnTo>
                    <a:close/>
                    <a:moveTo>
                      <a:pt x="557" y="504"/>
                    </a:moveTo>
                    <a:lnTo>
                      <a:pt x="559" y="504"/>
                    </a:lnTo>
                    <a:lnTo>
                      <a:pt x="559" y="506"/>
                    </a:lnTo>
                    <a:lnTo>
                      <a:pt x="557" y="506"/>
                    </a:lnTo>
                    <a:lnTo>
                      <a:pt x="557" y="504"/>
                    </a:lnTo>
                    <a:close/>
                    <a:moveTo>
                      <a:pt x="567" y="731"/>
                    </a:moveTo>
                    <a:lnTo>
                      <a:pt x="569" y="731"/>
                    </a:lnTo>
                    <a:lnTo>
                      <a:pt x="569" y="733"/>
                    </a:lnTo>
                    <a:lnTo>
                      <a:pt x="569" y="731"/>
                    </a:lnTo>
                    <a:lnTo>
                      <a:pt x="569" y="733"/>
                    </a:lnTo>
                    <a:lnTo>
                      <a:pt x="569" y="731"/>
                    </a:lnTo>
                    <a:lnTo>
                      <a:pt x="567" y="731"/>
                    </a:lnTo>
                    <a:lnTo>
                      <a:pt x="567" y="733"/>
                    </a:lnTo>
                    <a:lnTo>
                      <a:pt x="567" y="731"/>
                    </a:lnTo>
                    <a:lnTo>
                      <a:pt x="565" y="731"/>
                    </a:lnTo>
                    <a:lnTo>
                      <a:pt x="567" y="731"/>
                    </a:lnTo>
                    <a:close/>
                    <a:moveTo>
                      <a:pt x="578" y="735"/>
                    </a:moveTo>
                    <a:lnTo>
                      <a:pt x="582" y="737"/>
                    </a:lnTo>
                    <a:lnTo>
                      <a:pt x="580" y="737"/>
                    </a:lnTo>
                    <a:lnTo>
                      <a:pt x="578" y="737"/>
                    </a:lnTo>
                    <a:lnTo>
                      <a:pt x="580" y="737"/>
                    </a:lnTo>
                    <a:lnTo>
                      <a:pt x="578" y="737"/>
                    </a:lnTo>
                    <a:lnTo>
                      <a:pt x="578" y="735"/>
                    </a:lnTo>
                    <a:close/>
                    <a:moveTo>
                      <a:pt x="664" y="785"/>
                    </a:moveTo>
                    <a:lnTo>
                      <a:pt x="666" y="785"/>
                    </a:lnTo>
                    <a:lnTo>
                      <a:pt x="666" y="787"/>
                    </a:lnTo>
                    <a:lnTo>
                      <a:pt x="664" y="789"/>
                    </a:lnTo>
                    <a:lnTo>
                      <a:pt x="662" y="789"/>
                    </a:lnTo>
                    <a:lnTo>
                      <a:pt x="664" y="787"/>
                    </a:lnTo>
                    <a:lnTo>
                      <a:pt x="664" y="785"/>
                    </a:lnTo>
                    <a:close/>
                    <a:moveTo>
                      <a:pt x="567" y="588"/>
                    </a:moveTo>
                    <a:lnTo>
                      <a:pt x="571" y="588"/>
                    </a:lnTo>
                    <a:lnTo>
                      <a:pt x="571" y="592"/>
                    </a:lnTo>
                    <a:lnTo>
                      <a:pt x="567" y="592"/>
                    </a:lnTo>
                    <a:lnTo>
                      <a:pt x="567" y="588"/>
                    </a:lnTo>
                    <a:close/>
                    <a:moveTo>
                      <a:pt x="544" y="619"/>
                    </a:moveTo>
                    <a:lnTo>
                      <a:pt x="548" y="619"/>
                    </a:lnTo>
                    <a:lnTo>
                      <a:pt x="548" y="621"/>
                    </a:lnTo>
                    <a:lnTo>
                      <a:pt x="544" y="621"/>
                    </a:lnTo>
                    <a:lnTo>
                      <a:pt x="544" y="619"/>
                    </a:lnTo>
                    <a:close/>
                    <a:moveTo>
                      <a:pt x="563" y="724"/>
                    </a:moveTo>
                    <a:lnTo>
                      <a:pt x="561" y="724"/>
                    </a:lnTo>
                    <a:lnTo>
                      <a:pt x="561" y="726"/>
                    </a:lnTo>
                    <a:lnTo>
                      <a:pt x="559" y="726"/>
                    </a:lnTo>
                    <a:lnTo>
                      <a:pt x="563" y="724"/>
                    </a:lnTo>
                    <a:close/>
                    <a:moveTo>
                      <a:pt x="550" y="512"/>
                    </a:moveTo>
                    <a:lnTo>
                      <a:pt x="552" y="512"/>
                    </a:lnTo>
                    <a:lnTo>
                      <a:pt x="552" y="516"/>
                    </a:lnTo>
                    <a:lnTo>
                      <a:pt x="550" y="516"/>
                    </a:lnTo>
                    <a:lnTo>
                      <a:pt x="550" y="512"/>
                    </a:lnTo>
                    <a:close/>
                    <a:moveTo>
                      <a:pt x="670" y="794"/>
                    </a:moveTo>
                    <a:lnTo>
                      <a:pt x="672" y="794"/>
                    </a:lnTo>
                    <a:lnTo>
                      <a:pt x="672" y="796"/>
                    </a:lnTo>
                    <a:lnTo>
                      <a:pt x="670" y="794"/>
                    </a:lnTo>
                    <a:lnTo>
                      <a:pt x="668" y="794"/>
                    </a:lnTo>
                    <a:lnTo>
                      <a:pt x="670" y="794"/>
                    </a:lnTo>
                    <a:close/>
                    <a:moveTo>
                      <a:pt x="590" y="731"/>
                    </a:moveTo>
                    <a:lnTo>
                      <a:pt x="592" y="731"/>
                    </a:lnTo>
                    <a:lnTo>
                      <a:pt x="592" y="735"/>
                    </a:lnTo>
                    <a:lnTo>
                      <a:pt x="590" y="735"/>
                    </a:lnTo>
                    <a:lnTo>
                      <a:pt x="590" y="731"/>
                    </a:lnTo>
                    <a:close/>
                    <a:moveTo>
                      <a:pt x="628" y="779"/>
                    </a:moveTo>
                    <a:lnTo>
                      <a:pt x="628" y="781"/>
                    </a:lnTo>
                    <a:lnTo>
                      <a:pt x="628" y="783"/>
                    </a:lnTo>
                    <a:lnTo>
                      <a:pt x="626" y="783"/>
                    </a:lnTo>
                    <a:lnTo>
                      <a:pt x="626" y="781"/>
                    </a:lnTo>
                    <a:lnTo>
                      <a:pt x="624" y="781"/>
                    </a:lnTo>
                    <a:lnTo>
                      <a:pt x="626" y="779"/>
                    </a:lnTo>
                    <a:lnTo>
                      <a:pt x="628" y="781"/>
                    </a:lnTo>
                    <a:lnTo>
                      <a:pt x="628" y="779"/>
                    </a:lnTo>
                    <a:close/>
                    <a:moveTo>
                      <a:pt x="630" y="781"/>
                    </a:moveTo>
                    <a:lnTo>
                      <a:pt x="634" y="781"/>
                    </a:lnTo>
                    <a:lnTo>
                      <a:pt x="634" y="785"/>
                    </a:lnTo>
                    <a:lnTo>
                      <a:pt x="630" y="785"/>
                    </a:lnTo>
                    <a:lnTo>
                      <a:pt x="630" y="781"/>
                    </a:lnTo>
                    <a:close/>
                    <a:moveTo>
                      <a:pt x="571" y="476"/>
                    </a:moveTo>
                    <a:lnTo>
                      <a:pt x="574" y="477"/>
                    </a:lnTo>
                    <a:lnTo>
                      <a:pt x="573" y="477"/>
                    </a:lnTo>
                    <a:lnTo>
                      <a:pt x="571" y="477"/>
                    </a:lnTo>
                    <a:lnTo>
                      <a:pt x="571" y="476"/>
                    </a:lnTo>
                    <a:close/>
                    <a:moveTo>
                      <a:pt x="595" y="760"/>
                    </a:moveTo>
                    <a:lnTo>
                      <a:pt x="597" y="762"/>
                    </a:lnTo>
                    <a:lnTo>
                      <a:pt x="597" y="764"/>
                    </a:lnTo>
                    <a:lnTo>
                      <a:pt x="595" y="764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5" y="762"/>
                    </a:lnTo>
                    <a:lnTo>
                      <a:pt x="593" y="762"/>
                    </a:lnTo>
                    <a:lnTo>
                      <a:pt x="595" y="760"/>
                    </a:lnTo>
                    <a:close/>
                    <a:moveTo>
                      <a:pt x="550" y="668"/>
                    </a:moveTo>
                    <a:lnTo>
                      <a:pt x="550" y="670"/>
                    </a:lnTo>
                    <a:lnTo>
                      <a:pt x="552" y="670"/>
                    </a:lnTo>
                    <a:lnTo>
                      <a:pt x="550" y="670"/>
                    </a:lnTo>
                    <a:lnTo>
                      <a:pt x="548" y="670"/>
                    </a:lnTo>
                    <a:lnTo>
                      <a:pt x="550" y="668"/>
                    </a:lnTo>
                    <a:close/>
                    <a:moveTo>
                      <a:pt x="565" y="508"/>
                    </a:moveTo>
                    <a:lnTo>
                      <a:pt x="567" y="508"/>
                    </a:lnTo>
                    <a:lnTo>
                      <a:pt x="567" y="510"/>
                    </a:lnTo>
                    <a:lnTo>
                      <a:pt x="565" y="510"/>
                    </a:lnTo>
                    <a:lnTo>
                      <a:pt x="565" y="508"/>
                    </a:lnTo>
                    <a:close/>
                    <a:moveTo>
                      <a:pt x="574" y="506"/>
                    </a:moveTo>
                    <a:lnTo>
                      <a:pt x="576" y="506"/>
                    </a:lnTo>
                    <a:lnTo>
                      <a:pt x="576" y="508"/>
                    </a:lnTo>
                    <a:lnTo>
                      <a:pt x="574" y="508"/>
                    </a:lnTo>
                    <a:lnTo>
                      <a:pt x="574" y="506"/>
                    </a:lnTo>
                    <a:close/>
                    <a:moveTo>
                      <a:pt x="578" y="451"/>
                    </a:moveTo>
                    <a:lnTo>
                      <a:pt x="580" y="451"/>
                    </a:lnTo>
                    <a:lnTo>
                      <a:pt x="580" y="453"/>
                    </a:lnTo>
                    <a:lnTo>
                      <a:pt x="578" y="453"/>
                    </a:lnTo>
                    <a:lnTo>
                      <a:pt x="578" y="451"/>
                    </a:lnTo>
                    <a:close/>
                    <a:moveTo>
                      <a:pt x="567" y="508"/>
                    </a:moveTo>
                    <a:lnTo>
                      <a:pt x="569" y="508"/>
                    </a:lnTo>
                    <a:lnTo>
                      <a:pt x="569" y="510"/>
                    </a:lnTo>
                    <a:lnTo>
                      <a:pt x="567" y="510"/>
                    </a:lnTo>
                    <a:lnTo>
                      <a:pt x="567" y="508"/>
                    </a:lnTo>
                    <a:close/>
                    <a:moveTo>
                      <a:pt x="550" y="670"/>
                    </a:moveTo>
                    <a:lnTo>
                      <a:pt x="550" y="672"/>
                    </a:lnTo>
                    <a:lnTo>
                      <a:pt x="548" y="672"/>
                    </a:lnTo>
                    <a:lnTo>
                      <a:pt x="546" y="672"/>
                    </a:lnTo>
                    <a:lnTo>
                      <a:pt x="548" y="672"/>
                    </a:lnTo>
                    <a:lnTo>
                      <a:pt x="548" y="670"/>
                    </a:lnTo>
                    <a:lnTo>
                      <a:pt x="550" y="672"/>
                    </a:lnTo>
                    <a:lnTo>
                      <a:pt x="548" y="670"/>
                    </a:lnTo>
                    <a:lnTo>
                      <a:pt x="550" y="670"/>
                    </a:lnTo>
                    <a:close/>
                    <a:moveTo>
                      <a:pt x="586" y="458"/>
                    </a:moveTo>
                    <a:lnTo>
                      <a:pt x="588" y="458"/>
                    </a:lnTo>
                    <a:lnTo>
                      <a:pt x="588" y="460"/>
                    </a:lnTo>
                    <a:lnTo>
                      <a:pt x="586" y="460"/>
                    </a:lnTo>
                    <a:lnTo>
                      <a:pt x="586" y="458"/>
                    </a:lnTo>
                    <a:close/>
                    <a:moveTo>
                      <a:pt x="559" y="519"/>
                    </a:moveTo>
                    <a:lnTo>
                      <a:pt x="557" y="521"/>
                    </a:lnTo>
                    <a:lnTo>
                      <a:pt x="557" y="519"/>
                    </a:lnTo>
                    <a:lnTo>
                      <a:pt x="559" y="519"/>
                    </a:lnTo>
                    <a:close/>
                    <a:moveTo>
                      <a:pt x="550" y="535"/>
                    </a:moveTo>
                    <a:lnTo>
                      <a:pt x="552" y="535"/>
                    </a:lnTo>
                    <a:lnTo>
                      <a:pt x="552" y="539"/>
                    </a:lnTo>
                    <a:lnTo>
                      <a:pt x="550" y="539"/>
                    </a:lnTo>
                    <a:lnTo>
                      <a:pt x="550" y="535"/>
                    </a:lnTo>
                    <a:close/>
                    <a:moveTo>
                      <a:pt x="555" y="586"/>
                    </a:moveTo>
                    <a:lnTo>
                      <a:pt x="559" y="586"/>
                    </a:lnTo>
                    <a:lnTo>
                      <a:pt x="559" y="588"/>
                    </a:lnTo>
                    <a:lnTo>
                      <a:pt x="555" y="588"/>
                    </a:lnTo>
                    <a:lnTo>
                      <a:pt x="555" y="586"/>
                    </a:lnTo>
                    <a:close/>
                    <a:moveTo>
                      <a:pt x="567" y="485"/>
                    </a:moveTo>
                    <a:lnTo>
                      <a:pt x="569" y="485"/>
                    </a:lnTo>
                    <a:lnTo>
                      <a:pt x="569" y="487"/>
                    </a:lnTo>
                    <a:lnTo>
                      <a:pt x="567" y="487"/>
                    </a:lnTo>
                    <a:lnTo>
                      <a:pt x="567" y="485"/>
                    </a:lnTo>
                    <a:close/>
                    <a:moveTo>
                      <a:pt x="542" y="605"/>
                    </a:moveTo>
                    <a:lnTo>
                      <a:pt x="544" y="605"/>
                    </a:lnTo>
                    <a:lnTo>
                      <a:pt x="544" y="609"/>
                    </a:lnTo>
                    <a:lnTo>
                      <a:pt x="542" y="609"/>
                    </a:lnTo>
                    <a:lnTo>
                      <a:pt x="542" y="605"/>
                    </a:lnTo>
                    <a:close/>
                    <a:moveTo>
                      <a:pt x="561" y="506"/>
                    </a:moveTo>
                    <a:lnTo>
                      <a:pt x="563" y="506"/>
                    </a:lnTo>
                    <a:lnTo>
                      <a:pt x="563" y="510"/>
                    </a:lnTo>
                    <a:lnTo>
                      <a:pt x="561" y="510"/>
                    </a:lnTo>
                    <a:lnTo>
                      <a:pt x="561" y="506"/>
                    </a:lnTo>
                    <a:close/>
                    <a:moveTo>
                      <a:pt x="553" y="653"/>
                    </a:moveTo>
                    <a:lnTo>
                      <a:pt x="555" y="653"/>
                    </a:lnTo>
                    <a:lnTo>
                      <a:pt x="555" y="655"/>
                    </a:lnTo>
                    <a:lnTo>
                      <a:pt x="553" y="655"/>
                    </a:lnTo>
                    <a:lnTo>
                      <a:pt x="553" y="653"/>
                    </a:lnTo>
                    <a:close/>
                    <a:moveTo>
                      <a:pt x="590" y="754"/>
                    </a:moveTo>
                    <a:lnTo>
                      <a:pt x="592" y="754"/>
                    </a:lnTo>
                    <a:lnTo>
                      <a:pt x="592" y="756"/>
                    </a:lnTo>
                    <a:lnTo>
                      <a:pt x="590" y="756"/>
                    </a:lnTo>
                    <a:lnTo>
                      <a:pt x="590" y="754"/>
                    </a:lnTo>
                    <a:close/>
                    <a:moveTo>
                      <a:pt x="664" y="787"/>
                    </a:moveTo>
                    <a:lnTo>
                      <a:pt x="666" y="787"/>
                    </a:lnTo>
                    <a:lnTo>
                      <a:pt x="666" y="790"/>
                    </a:lnTo>
                    <a:lnTo>
                      <a:pt x="664" y="790"/>
                    </a:lnTo>
                    <a:lnTo>
                      <a:pt x="664" y="787"/>
                    </a:lnTo>
                    <a:close/>
                    <a:moveTo>
                      <a:pt x="565" y="497"/>
                    </a:moveTo>
                    <a:lnTo>
                      <a:pt x="569" y="497"/>
                    </a:lnTo>
                    <a:lnTo>
                      <a:pt x="569" y="498"/>
                    </a:lnTo>
                    <a:lnTo>
                      <a:pt x="565" y="498"/>
                    </a:lnTo>
                    <a:lnTo>
                      <a:pt x="565" y="497"/>
                    </a:lnTo>
                    <a:close/>
                    <a:moveTo>
                      <a:pt x="573" y="733"/>
                    </a:moveTo>
                    <a:lnTo>
                      <a:pt x="574" y="733"/>
                    </a:lnTo>
                    <a:lnTo>
                      <a:pt x="576" y="735"/>
                    </a:lnTo>
                    <a:lnTo>
                      <a:pt x="574" y="735"/>
                    </a:lnTo>
                    <a:lnTo>
                      <a:pt x="574" y="733"/>
                    </a:lnTo>
                    <a:lnTo>
                      <a:pt x="573" y="733"/>
                    </a:lnTo>
                    <a:close/>
                    <a:moveTo>
                      <a:pt x="641" y="781"/>
                    </a:moveTo>
                    <a:lnTo>
                      <a:pt x="643" y="781"/>
                    </a:lnTo>
                    <a:lnTo>
                      <a:pt x="641" y="783"/>
                    </a:lnTo>
                    <a:lnTo>
                      <a:pt x="643" y="783"/>
                    </a:lnTo>
                    <a:lnTo>
                      <a:pt x="641" y="783"/>
                    </a:lnTo>
                    <a:lnTo>
                      <a:pt x="641" y="781"/>
                    </a:lnTo>
                    <a:lnTo>
                      <a:pt x="639" y="781"/>
                    </a:lnTo>
                    <a:lnTo>
                      <a:pt x="641" y="781"/>
                    </a:lnTo>
                    <a:close/>
                    <a:moveTo>
                      <a:pt x="552" y="590"/>
                    </a:moveTo>
                    <a:lnTo>
                      <a:pt x="553" y="590"/>
                    </a:lnTo>
                    <a:lnTo>
                      <a:pt x="553" y="592"/>
                    </a:lnTo>
                    <a:lnTo>
                      <a:pt x="552" y="592"/>
                    </a:lnTo>
                    <a:lnTo>
                      <a:pt x="552" y="590"/>
                    </a:lnTo>
                    <a:close/>
                    <a:moveTo>
                      <a:pt x="643" y="777"/>
                    </a:moveTo>
                    <a:lnTo>
                      <a:pt x="645" y="777"/>
                    </a:lnTo>
                    <a:lnTo>
                      <a:pt x="645" y="781"/>
                    </a:lnTo>
                    <a:lnTo>
                      <a:pt x="643" y="781"/>
                    </a:lnTo>
                    <a:lnTo>
                      <a:pt x="643" y="777"/>
                    </a:lnTo>
                    <a:close/>
                    <a:moveTo>
                      <a:pt x="634" y="783"/>
                    </a:moveTo>
                    <a:lnTo>
                      <a:pt x="635" y="783"/>
                    </a:lnTo>
                    <a:lnTo>
                      <a:pt x="635" y="785"/>
                    </a:lnTo>
                    <a:lnTo>
                      <a:pt x="634" y="785"/>
                    </a:lnTo>
                    <a:lnTo>
                      <a:pt x="634" y="783"/>
                    </a:lnTo>
                    <a:close/>
                    <a:moveTo>
                      <a:pt x="555" y="539"/>
                    </a:moveTo>
                    <a:lnTo>
                      <a:pt x="555" y="540"/>
                    </a:lnTo>
                    <a:lnTo>
                      <a:pt x="555" y="539"/>
                    </a:lnTo>
                    <a:close/>
                    <a:moveTo>
                      <a:pt x="567" y="685"/>
                    </a:moveTo>
                    <a:lnTo>
                      <a:pt x="569" y="685"/>
                    </a:lnTo>
                    <a:lnTo>
                      <a:pt x="569" y="689"/>
                    </a:lnTo>
                    <a:lnTo>
                      <a:pt x="567" y="689"/>
                    </a:lnTo>
                    <a:lnTo>
                      <a:pt x="567" y="685"/>
                    </a:lnTo>
                    <a:close/>
                    <a:moveTo>
                      <a:pt x="672" y="794"/>
                    </a:moveTo>
                    <a:lnTo>
                      <a:pt x="674" y="794"/>
                    </a:lnTo>
                    <a:lnTo>
                      <a:pt x="674" y="796"/>
                    </a:lnTo>
                    <a:lnTo>
                      <a:pt x="672" y="796"/>
                    </a:lnTo>
                    <a:lnTo>
                      <a:pt x="672" y="794"/>
                    </a:lnTo>
                    <a:close/>
                    <a:moveTo>
                      <a:pt x="557" y="506"/>
                    </a:moveTo>
                    <a:lnTo>
                      <a:pt x="559" y="506"/>
                    </a:lnTo>
                    <a:lnTo>
                      <a:pt x="559" y="508"/>
                    </a:lnTo>
                    <a:lnTo>
                      <a:pt x="557" y="508"/>
                    </a:lnTo>
                    <a:lnTo>
                      <a:pt x="557" y="506"/>
                    </a:lnTo>
                    <a:close/>
                    <a:moveTo>
                      <a:pt x="563" y="701"/>
                    </a:moveTo>
                    <a:lnTo>
                      <a:pt x="567" y="701"/>
                    </a:lnTo>
                    <a:lnTo>
                      <a:pt x="567" y="703"/>
                    </a:lnTo>
                    <a:lnTo>
                      <a:pt x="563" y="703"/>
                    </a:lnTo>
                    <a:lnTo>
                      <a:pt x="563" y="701"/>
                    </a:lnTo>
                    <a:close/>
                    <a:moveTo>
                      <a:pt x="553" y="586"/>
                    </a:moveTo>
                    <a:lnTo>
                      <a:pt x="555" y="586"/>
                    </a:lnTo>
                    <a:lnTo>
                      <a:pt x="555" y="588"/>
                    </a:lnTo>
                    <a:lnTo>
                      <a:pt x="553" y="588"/>
                    </a:lnTo>
                    <a:lnTo>
                      <a:pt x="553" y="586"/>
                    </a:lnTo>
                    <a:close/>
                    <a:moveTo>
                      <a:pt x="565" y="720"/>
                    </a:moveTo>
                    <a:lnTo>
                      <a:pt x="565" y="722"/>
                    </a:lnTo>
                    <a:lnTo>
                      <a:pt x="565" y="724"/>
                    </a:lnTo>
                    <a:lnTo>
                      <a:pt x="565" y="722"/>
                    </a:lnTo>
                    <a:lnTo>
                      <a:pt x="563" y="722"/>
                    </a:lnTo>
                    <a:lnTo>
                      <a:pt x="563" y="720"/>
                    </a:lnTo>
                    <a:lnTo>
                      <a:pt x="565" y="720"/>
                    </a:lnTo>
                    <a:close/>
                    <a:moveTo>
                      <a:pt x="548" y="676"/>
                    </a:moveTo>
                    <a:lnTo>
                      <a:pt x="550" y="676"/>
                    </a:lnTo>
                    <a:lnTo>
                      <a:pt x="550" y="680"/>
                    </a:lnTo>
                    <a:lnTo>
                      <a:pt x="548" y="680"/>
                    </a:lnTo>
                    <a:lnTo>
                      <a:pt x="548" y="676"/>
                    </a:lnTo>
                    <a:close/>
                    <a:moveTo>
                      <a:pt x="573" y="523"/>
                    </a:moveTo>
                    <a:lnTo>
                      <a:pt x="574" y="523"/>
                    </a:lnTo>
                    <a:lnTo>
                      <a:pt x="574" y="525"/>
                    </a:lnTo>
                    <a:lnTo>
                      <a:pt x="573" y="525"/>
                    </a:lnTo>
                    <a:lnTo>
                      <a:pt x="573" y="523"/>
                    </a:lnTo>
                    <a:close/>
                    <a:moveTo>
                      <a:pt x="565" y="539"/>
                    </a:moveTo>
                    <a:lnTo>
                      <a:pt x="567" y="539"/>
                    </a:lnTo>
                    <a:lnTo>
                      <a:pt x="567" y="540"/>
                    </a:lnTo>
                    <a:lnTo>
                      <a:pt x="565" y="540"/>
                    </a:lnTo>
                    <a:lnTo>
                      <a:pt x="565" y="539"/>
                    </a:lnTo>
                    <a:close/>
                    <a:moveTo>
                      <a:pt x="548" y="664"/>
                    </a:moveTo>
                    <a:lnTo>
                      <a:pt x="552" y="664"/>
                    </a:lnTo>
                    <a:lnTo>
                      <a:pt x="552" y="666"/>
                    </a:lnTo>
                    <a:lnTo>
                      <a:pt x="548" y="666"/>
                    </a:lnTo>
                    <a:lnTo>
                      <a:pt x="548" y="664"/>
                    </a:lnTo>
                    <a:close/>
                    <a:moveTo>
                      <a:pt x="454" y="289"/>
                    </a:moveTo>
                    <a:lnTo>
                      <a:pt x="456" y="289"/>
                    </a:lnTo>
                    <a:lnTo>
                      <a:pt x="456" y="291"/>
                    </a:lnTo>
                    <a:lnTo>
                      <a:pt x="454" y="291"/>
                    </a:lnTo>
                    <a:lnTo>
                      <a:pt x="454" y="289"/>
                    </a:lnTo>
                    <a:close/>
                    <a:moveTo>
                      <a:pt x="578" y="506"/>
                    </a:moveTo>
                    <a:lnTo>
                      <a:pt x="580" y="506"/>
                    </a:lnTo>
                    <a:lnTo>
                      <a:pt x="580" y="508"/>
                    </a:lnTo>
                    <a:lnTo>
                      <a:pt x="578" y="508"/>
                    </a:lnTo>
                    <a:lnTo>
                      <a:pt x="578" y="506"/>
                    </a:lnTo>
                    <a:close/>
                    <a:moveTo>
                      <a:pt x="553" y="586"/>
                    </a:moveTo>
                    <a:lnTo>
                      <a:pt x="553" y="588"/>
                    </a:lnTo>
                    <a:lnTo>
                      <a:pt x="553" y="586"/>
                    </a:lnTo>
                    <a:close/>
                    <a:moveTo>
                      <a:pt x="565" y="380"/>
                    </a:moveTo>
                    <a:lnTo>
                      <a:pt x="565" y="382"/>
                    </a:lnTo>
                    <a:lnTo>
                      <a:pt x="565" y="380"/>
                    </a:lnTo>
                    <a:close/>
                    <a:moveTo>
                      <a:pt x="553" y="685"/>
                    </a:moveTo>
                    <a:lnTo>
                      <a:pt x="555" y="685"/>
                    </a:lnTo>
                    <a:lnTo>
                      <a:pt x="555" y="689"/>
                    </a:lnTo>
                    <a:lnTo>
                      <a:pt x="553" y="689"/>
                    </a:lnTo>
                    <a:lnTo>
                      <a:pt x="553" y="685"/>
                    </a:lnTo>
                    <a:close/>
                    <a:moveTo>
                      <a:pt x="567" y="504"/>
                    </a:moveTo>
                    <a:lnTo>
                      <a:pt x="569" y="504"/>
                    </a:lnTo>
                    <a:lnTo>
                      <a:pt x="569" y="506"/>
                    </a:lnTo>
                    <a:lnTo>
                      <a:pt x="567" y="506"/>
                    </a:lnTo>
                    <a:lnTo>
                      <a:pt x="567" y="504"/>
                    </a:lnTo>
                    <a:close/>
                    <a:moveTo>
                      <a:pt x="601" y="762"/>
                    </a:moveTo>
                    <a:lnTo>
                      <a:pt x="603" y="762"/>
                    </a:lnTo>
                    <a:lnTo>
                      <a:pt x="603" y="764"/>
                    </a:lnTo>
                    <a:lnTo>
                      <a:pt x="601" y="764"/>
                    </a:lnTo>
                    <a:lnTo>
                      <a:pt x="601" y="762"/>
                    </a:lnTo>
                    <a:close/>
                    <a:moveTo>
                      <a:pt x="553" y="647"/>
                    </a:moveTo>
                    <a:lnTo>
                      <a:pt x="555" y="647"/>
                    </a:lnTo>
                    <a:lnTo>
                      <a:pt x="553" y="647"/>
                    </a:lnTo>
                    <a:lnTo>
                      <a:pt x="552" y="647"/>
                    </a:lnTo>
                    <a:lnTo>
                      <a:pt x="553" y="647"/>
                    </a:lnTo>
                    <a:close/>
                    <a:moveTo>
                      <a:pt x="565" y="498"/>
                    </a:moveTo>
                    <a:lnTo>
                      <a:pt x="567" y="498"/>
                    </a:lnTo>
                    <a:lnTo>
                      <a:pt x="567" y="500"/>
                    </a:lnTo>
                    <a:lnTo>
                      <a:pt x="565" y="500"/>
                    </a:lnTo>
                    <a:lnTo>
                      <a:pt x="565" y="498"/>
                    </a:lnTo>
                    <a:close/>
                    <a:moveTo>
                      <a:pt x="607" y="769"/>
                    </a:moveTo>
                    <a:lnTo>
                      <a:pt x="609" y="769"/>
                    </a:lnTo>
                    <a:lnTo>
                      <a:pt x="609" y="771"/>
                    </a:lnTo>
                    <a:lnTo>
                      <a:pt x="607" y="771"/>
                    </a:lnTo>
                    <a:lnTo>
                      <a:pt x="607" y="769"/>
                    </a:lnTo>
                    <a:close/>
                    <a:moveTo>
                      <a:pt x="588" y="710"/>
                    </a:moveTo>
                    <a:lnTo>
                      <a:pt x="590" y="710"/>
                    </a:lnTo>
                    <a:lnTo>
                      <a:pt x="588" y="710"/>
                    </a:lnTo>
                    <a:close/>
                    <a:moveTo>
                      <a:pt x="592" y="754"/>
                    </a:moveTo>
                    <a:lnTo>
                      <a:pt x="593" y="754"/>
                    </a:lnTo>
                    <a:lnTo>
                      <a:pt x="593" y="756"/>
                    </a:lnTo>
                    <a:lnTo>
                      <a:pt x="592" y="756"/>
                    </a:lnTo>
                    <a:lnTo>
                      <a:pt x="592" y="754"/>
                    </a:lnTo>
                    <a:close/>
                    <a:moveTo>
                      <a:pt x="538" y="626"/>
                    </a:moveTo>
                    <a:lnTo>
                      <a:pt x="540" y="626"/>
                    </a:lnTo>
                    <a:lnTo>
                      <a:pt x="540" y="628"/>
                    </a:lnTo>
                    <a:lnTo>
                      <a:pt x="538" y="628"/>
                    </a:lnTo>
                    <a:lnTo>
                      <a:pt x="538" y="626"/>
                    </a:lnTo>
                    <a:close/>
                    <a:moveTo>
                      <a:pt x="614" y="712"/>
                    </a:moveTo>
                    <a:lnTo>
                      <a:pt x="616" y="712"/>
                    </a:lnTo>
                    <a:lnTo>
                      <a:pt x="616" y="714"/>
                    </a:lnTo>
                    <a:lnTo>
                      <a:pt x="614" y="714"/>
                    </a:lnTo>
                    <a:lnTo>
                      <a:pt x="614" y="712"/>
                    </a:lnTo>
                    <a:close/>
                    <a:moveTo>
                      <a:pt x="599" y="750"/>
                    </a:moveTo>
                    <a:lnTo>
                      <a:pt x="601" y="750"/>
                    </a:lnTo>
                    <a:lnTo>
                      <a:pt x="601" y="752"/>
                    </a:lnTo>
                    <a:lnTo>
                      <a:pt x="599" y="752"/>
                    </a:lnTo>
                    <a:lnTo>
                      <a:pt x="599" y="750"/>
                    </a:lnTo>
                    <a:close/>
                    <a:moveTo>
                      <a:pt x="655" y="775"/>
                    </a:moveTo>
                    <a:lnTo>
                      <a:pt x="656" y="775"/>
                    </a:lnTo>
                    <a:lnTo>
                      <a:pt x="656" y="777"/>
                    </a:lnTo>
                    <a:lnTo>
                      <a:pt x="655" y="777"/>
                    </a:lnTo>
                    <a:lnTo>
                      <a:pt x="655" y="775"/>
                    </a:lnTo>
                    <a:close/>
                    <a:moveTo>
                      <a:pt x="578" y="472"/>
                    </a:moveTo>
                    <a:lnTo>
                      <a:pt x="580" y="472"/>
                    </a:lnTo>
                    <a:lnTo>
                      <a:pt x="580" y="474"/>
                    </a:lnTo>
                    <a:lnTo>
                      <a:pt x="578" y="474"/>
                    </a:lnTo>
                    <a:lnTo>
                      <a:pt x="578" y="472"/>
                    </a:lnTo>
                    <a:close/>
                    <a:moveTo>
                      <a:pt x="576" y="462"/>
                    </a:moveTo>
                    <a:lnTo>
                      <a:pt x="578" y="462"/>
                    </a:lnTo>
                    <a:lnTo>
                      <a:pt x="578" y="464"/>
                    </a:lnTo>
                    <a:lnTo>
                      <a:pt x="576" y="464"/>
                    </a:lnTo>
                    <a:lnTo>
                      <a:pt x="576" y="462"/>
                    </a:lnTo>
                    <a:close/>
                    <a:moveTo>
                      <a:pt x="567" y="537"/>
                    </a:moveTo>
                    <a:lnTo>
                      <a:pt x="569" y="537"/>
                    </a:lnTo>
                    <a:lnTo>
                      <a:pt x="569" y="539"/>
                    </a:lnTo>
                    <a:lnTo>
                      <a:pt x="567" y="539"/>
                    </a:lnTo>
                    <a:lnTo>
                      <a:pt x="567" y="537"/>
                    </a:lnTo>
                    <a:close/>
                    <a:moveTo>
                      <a:pt x="565" y="695"/>
                    </a:moveTo>
                    <a:lnTo>
                      <a:pt x="567" y="695"/>
                    </a:lnTo>
                    <a:lnTo>
                      <a:pt x="567" y="697"/>
                    </a:lnTo>
                    <a:lnTo>
                      <a:pt x="565" y="697"/>
                    </a:lnTo>
                    <a:lnTo>
                      <a:pt x="565" y="695"/>
                    </a:lnTo>
                    <a:close/>
                    <a:moveTo>
                      <a:pt x="485" y="287"/>
                    </a:moveTo>
                    <a:lnTo>
                      <a:pt x="489" y="287"/>
                    </a:lnTo>
                    <a:lnTo>
                      <a:pt x="489" y="289"/>
                    </a:lnTo>
                    <a:lnTo>
                      <a:pt x="485" y="289"/>
                    </a:lnTo>
                    <a:lnTo>
                      <a:pt x="485" y="287"/>
                    </a:lnTo>
                    <a:close/>
                    <a:moveTo>
                      <a:pt x="552" y="674"/>
                    </a:moveTo>
                    <a:lnTo>
                      <a:pt x="553" y="674"/>
                    </a:lnTo>
                    <a:lnTo>
                      <a:pt x="553" y="676"/>
                    </a:lnTo>
                    <a:lnTo>
                      <a:pt x="552" y="676"/>
                    </a:lnTo>
                    <a:lnTo>
                      <a:pt x="552" y="674"/>
                    </a:lnTo>
                    <a:close/>
                    <a:moveTo>
                      <a:pt x="561" y="504"/>
                    </a:moveTo>
                    <a:lnTo>
                      <a:pt x="563" y="504"/>
                    </a:lnTo>
                    <a:lnTo>
                      <a:pt x="563" y="506"/>
                    </a:lnTo>
                    <a:lnTo>
                      <a:pt x="561" y="506"/>
                    </a:lnTo>
                    <a:lnTo>
                      <a:pt x="561" y="504"/>
                    </a:lnTo>
                    <a:close/>
                    <a:moveTo>
                      <a:pt x="599" y="762"/>
                    </a:moveTo>
                    <a:lnTo>
                      <a:pt x="601" y="762"/>
                    </a:lnTo>
                    <a:lnTo>
                      <a:pt x="601" y="764"/>
                    </a:lnTo>
                    <a:lnTo>
                      <a:pt x="599" y="764"/>
                    </a:lnTo>
                    <a:lnTo>
                      <a:pt x="599" y="762"/>
                    </a:lnTo>
                    <a:close/>
                    <a:moveTo>
                      <a:pt x="546" y="649"/>
                    </a:moveTo>
                    <a:lnTo>
                      <a:pt x="548" y="649"/>
                    </a:lnTo>
                    <a:lnTo>
                      <a:pt x="548" y="651"/>
                    </a:lnTo>
                    <a:lnTo>
                      <a:pt x="546" y="651"/>
                    </a:lnTo>
                    <a:lnTo>
                      <a:pt x="546" y="649"/>
                    </a:lnTo>
                    <a:close/>
                    <a:moveTo>
                      <a:pt x="571" y="529"/>
                    </a:moveTo>
                    <a:lnTo>
                      <a:pt x="573" y="529"/>
                    </a:lnTo>
                    <a:lnTo>
                      <a:pt x="573" y="531"/>
                    </a:lnTo>
                    <a:lnTo>
                      <a:pt x="571" y="531"/>
                    </a:lnTo>
                    <a:lnTo>
                      <a:pt x="571" y="529"/>
                    </a:lnTo>
                    <a:close/>
                    <a:moveTo>
                      <a:pt x="555" y="525"/>
                    </a:moveTo>
                    <a:lnTo>
                      <a:pt x="555" y="527"/>
                    </a:lnTo>
                    <a:lnTo>
                      <a:pt x="555" y="525"/>
                    </a:lnTo>
                    <a:close/>
                    <a:moveTo>
                      <a:pt x="580" y="449"/>
                    </a:moveTo>
                    <a:lnTo>
                      <a:pt x="582" y="449"/>
                    </a:lnTo>
                    <a:lnTo>
                      <a:pt x="582" y="451"/>
                    </a:lnTo>
                    <a:lnTo>
                      <a:pt x="580" y="451"/>
                    </a:lnTo>
                    <a:lnTo>
                      <a:pt x="580" y="449"/>
                    </a:lnTo>
                    <a:close/>
                    <a:moveTo>
                      <a:pt x="553" y="699"/>
                    </a:moveTo>
                    <a:lnTo>
                      <a:pt x="555" y="699"/>
                    </a:lnTo>
                    <a:lnTo>
                      <a:pt x="555" y="701"/>
                    </a:lnTo>
                    <a:lnTo>
                      <a:pt x="553" y="701"/>
                    </a:lnTo>
                    <a:lnTo>
                      <a:pt x="553" y="699"/>
                    </a:lnTo>
                    <a:close/>
                    <a:moveTo>
                      <a:pt x="557" y="502"/>
                    </a:moveTo>
                    <a:lnTo>
                      <a:pt x="559" y="502"/>
                    </a:lnTo>
                    <a:lnTo>
                      <a:pt x="559" y="504"/>
                    </a:lnTo>
                    <a:lnTo>
                      <a:pt x="557" y="504"/>
                    </a:lnTo>
                    <a:lnTo>
                      <a:pt x="557" y="502"/>
                    </a:lnTo>
                    <a:close/>
                    <a:moveTo>
                      <a:pt x="584" y="747"/>
                    </a:moveTo>
                    <a:lnTo>
                      <a:pt x="586" y="747"/>
                    </a:lnTo>
                    <a:lnTo>
                      <a:pt x="586" y="748"/>
                    </a:lnTo>
                    <a:lnTo>
                      <a:pt x="584" y="748"/>
                    </a:lnTo>
                    <a:lnTo>
                      <a:pt x="584" y="747"/>
                    </a:lnTo>
                    <a:close/>
                    <a:moveTo>
                      <a:pt x="571" y="527"/>
                    </a:moveTo>
                    <a:lnTo>
                      <a:pt x="573" y="527"/>
                    </a:lnTo>
                    <a:lnTo>
                      <a:pt x="573" y="529"/>
                    </a:lnTo>
                    <a:lnTo>
                      <a:pt x="571" y="529"/>
                    </a:lnTo>
                    <a:lnTo>
                      <a:pt x="571" y="527"/>
                    </a:lnTo>
                    <a:close/>
                    <a:moveTo>
                      <a:pt x="540" y="598"/>
                    </a:moveTo>
                    <a:lnTo>
                      <a:pt x="542" y="598"/>
                    </a:lnTo>
                    <a:lnTo>
                      <a:pt x="542" y="600"/>
                    </a:lnTo>
                    <a:lnTo>
                      <a:pt x="540" y="600"/>
                    </a:lnTo>
                    <a:lnTo>
                      <a:pt x="540" y="598"/>
                    </a:lnTo>
                    <a:close/>
                    <a:moveTo>
                      <a:pt x="553" y="697"/>
                    </a:moveTo>
                    <a:lnTo>
                      <a:pt x="555" y="697"/>
                    </a:lnTo>
                    <a:lnTo>
                      <a:pt x="555" y="699"/>
                    </a:lnTo>
                    <a:lnTo>
                      <a:pt x="553" y="699"/>
                    </a:lnTo>
                    <a:lnTo>
                      <a:pt x="553" y="697"/>
                    </a:lnTo>
                    <a:close/>
                    <a:moveTo>
                      <a:pt x="540" y="609"/>
                    </a:moveTo>
                    <a:lnTo>
                      <a:pt x="542" y="609"/>
                    </a:lnTo>
                    <a:lnTo>
                      <a:pt x="542" y="611"/>
                    </a:lnTo>
                    <a:lnTo>
                      <a:pt x="540" y="611"/>
                    </a:lnTo>
                    <a:lnTo>
                      <a:pt x="540" y="609"/>
                    </a:lnTo>
                    <a:close/>
                    <a:moveTo>
                      <a:pt x="553" y="588"/>
                    </a:moveTo>
                    <a:lnTo>
                      <a:pt x="555" y="588"/>
                    </a:lnTo>
                    <a:lnTo>
                      <a:pt x="555" y="590"/>
                    </a:lnTo>
                    <a:lnTo>
                      <a:pt x="553" y="590"/>
                    </a:lnTo>
                    <a:lnTo>
                      <a:pt x="553" y="588"/>
                    </a:lnTo>
                    <a:close/>
                    <a:moveTo>
                      <a:pt x="546" y="615"/>
                    </a:moveTo>
                    <a:lnTo>
                      <a:pt x="548" y="615"/>
                    </a:lnTo>
                    <a:lnTo>
                      <a:pt x="548" y="617"/>
                    </a:lnTo>
                    <a:lnTo>
                      <a:pt x="546" y="617"/>
                    </a:lnTo>
                    <a:lnTo>
                      <a:pt x="546" y="615"/>
                    </a:lnTo>
                    <a:close/>
                    <a:moveTo>
                      <a:pt x="670" y="796"/>
                    </a:moveTo>
                    <a:lnTo>
                      <a:pt x="672" y="796"/>
                    </a:lnTo>
                    <a:lnTo>
                      <a:pt x="672" y="798"/>
                    </a:lnTo>
                    <a:lnTo>
                      <a:pt x="670" y="798"/>
                    </a:lnTo>
                    <a:lnTo>
                      <a:pt x="670" y="796"/>
                    </a:lnTo>
                    <a:close/>
                    <a:moveTo>
                      <a:pt x="571" y="502"/>
                    </a:moveTo>
                    <a:lnTo>
                      <a:pt x="573" y="502"/>
                    </a:lnTo>
                    <a:lnTo>
                      <a:pt x="573" y="504"/>
                    </a:lnTo>
                    <a:lnTo>
                      <a:pt x="571" y="504"/>
                    </a:lnTo>
                    <a:lnTo>
                      <a:pt x="571" y="502"/>
                    </a:lnTo>
                    <a:close/>
                    <a:moveTo>
                      <a:pt x="626" y="771"/>
                    </a:moveTo>
                    <a:lnTo>
                      <a:pt x="628" y="771"/>
                    </a:lnTo>
                    <a:lnTo>
                      <a:pt x="628" y="773"/>
                    </a:lnTo>
                    <a:lnTo>
                      <a:pt x="626" y="773"/>
                    </a:lnTo>
                    <a:lnTo>
                      <a:pt x="626" y="771"/>
                    </a:lnTo>
                    <a:close/>
                    <a:moveTo>
                      <a:pt x="592" y="748"/>
                    </a:moveTo>
                    <a:lnTo>
                      <a:pt x="593" y="748"/>
                    </a:lnTo>
                    <a:lnTo>
                      <a:pt x="593" y="752"/>
                    </a:lnTo>
                    <a:lnTo>
                      <a:pt x="592" y="752"/>
                    </a:lnTo>
                    <a:lnTo>
                      <a:pt x="592" y="748"/>
                    </a:lnTo>
                    <a:close/>
                    <a:moveTo>
                      <a:pt x="569" y="510"/>
                    </a:moveTo>
                    <a:lnTo>
                      <a:pt x="571" y="510"/>
                    </a:lnTo>
                    <a:lnTo>
                      <a:pt x="569" y="510"/>
                    </a:lnTo>
                    <a:close/>
                    <a:moveTo>
                      <a:pt x="647" y="785"/>
                    </a:moveTo>
                    <a:lnTo>
                      <a:pt x="649" y="785"/>
                    </a:lnTo>
                    <a:lnTo>
                      <a:pt x="649" y="787"/>
                    </a:lnTo>
                    <a:lnTo>
                      <a:pt x="647" y="787"/>
                    </a:lnTo>
                    <a:lnTo>
                      <a:pt x="647" y="785"/>
                    </a:lnTo>
                    <a:close/>
                    <a:moveTo>
                      <a:pt x="559" y="502"/>
                    </a:moveTo>
                    <a:lnTo>
                      <a:pt x="561" y="502"/>
                    </a:lnTo>
                    <a:lnTo>
                      <a:pt x="559" y="502"/>
                    </a:lnTo>
                    <a:lnTo>
                      <a:pt x="557" y="502"/>
                    </a:lnTo>
                    <a:lnTo>
                      <a:pt x="559" y="502"/>
                    </a:lnTo>
                    <a:close/>
                    <a:moveTo>
                      <a:pt x="569" y="510"/>
                    </a:moveTo>
                    <a:lnTo>
                      <a:pt x="571" y="510"/>
                    </a:lnTo>
                    <a:lnTo>
                      <a:pt x="571" y="512"/>
                    </a:lnTo>
                    <a:lnTo>
                      <a:pt x="569" y="512"/>
                    </a:lnTo>
                    <a:lnTo>
                      <a:pt x="569" y="510"/>
                    </a:lnTo>
                    <a:close/>
                    <a:moveTo>
                      <a:pt x="561" y="705"/>
                    </a:moveTo>
                    <a:lnTo>
                      <a:pt x="563" y="705"/>
                    </a:lnTo>
                    <a:lnTo>
                      <a:pt x="563" y="706"/>
                    </a:lnTo>
                    <a:lnTo>
                      <a:pt x="561" y="706"/>
                    </a:lnTo>
                    <a:lnTo>
                      <a:pt x="561" y="705"/>
                    </a:lnTo>
                    <a:close/>
                    <a:moveTo>
                      <a:pt x="548" y="588"/>
                    </a:moveTo>
                    <a:lnTo>
                      <a:pt x="544" y="590"/>
                    </a:lnTo>
                    <a:lnTo>
                      <a:pt x="546" y="588"/>
                    </a:lnTo>
                    <a:lnTo>
                      <a:pt x="548" y="588"/>
                    </a:lnTo>
                    <a:close/>
                    <a:moveTo>
                      <a:pt x="561" y="502"/>
                    </a:moveTo>
                    <a:lnTo>
                      <a:pt x="563" y="502"/>
                    </a:lnTo>
                    <a:lnTo>
                      <a:pt x="563" y="504"/>
                    </a:lnTo>
                    <a:lnTo>
                      <a:pt x="561" y="504"/>
                    </a:lnTo>
                    <a:lnTo>
                      <a:pt x="561" y="502"/>
                    </a:lnTo>
                    <a:close/>
                    <a:moveTo>
                      <a:pt x="563" y="693"/>
                    </a:moveTo>
                    <a:lnTo>
                      <a:pt x="565" y="693"/>
                    </a:lnTo>
                    <a:lnTo>
                      <a:pt x="563" y="693"/>
                    </a:lnTo>
                    <a:close/>
                    <a:moveTo>
                      <a:pt x="571" y="714"/>
                    </a:moveTo>
                    <a:lnTo>
                      <a:pt x="573" y="714"/>
                    </a:lnTo>
                    <a:lnTo>
                      <a:pt x="573" y="716"/>
                    </a:lnTo>
                    <a:lnTo>
                      <a:pt x="571" y="716"/>
                    </a:lnTo>
                    <a:lnTo>
                      <a:pt x="571" y="714"/>
                    </a:lnTo>
                    <a:close/>
                    <a:moveTo>
                      <a:pt x="649" y="785"/>
                    </a:moveTo>
                    <a:lnTo>
                      <a:pt x="651" y="785"/>
                    </a:lnTo>
                    <a:lnTo>
                      <a:pt x="649" y="785"/>
                    </a:lnTo>
                    <a:close/>
                    <a:moveTo>
                      <a:pt x="595" y="758"/>
                    </a:moveTo>
                    <a:lnTo>
                      <a:pt x="597" y="758"/>
                    </a:lnTo>
                    <a:lnTo>
                      <a:pt x="597" y="760"/>
                    </a:lnTo>
                    <a:lnTo>
                      <a:pt x="595" y="760"/>
                    </a:lnTo>
                    <a:lnTo>
                      <a:pt x="595" y="758"/>
                    </a:lnTo>
                    <a:close/>
                    <a:moveTo>
                      <a:pt x="552" y="642"/>
                    </a:moveTo>
                    <a:lnTo>
                      <a:pt x="553" y="642"/>
                    </a:lnTo>
                    <a:lnTo>
                      <a:pt x="553" y="643"/>
                    </a:lnTo>
                    <a:lnTo>
                      <a:pt x="552" y="643"/>
                    </a:lnTo>
                    <a:lnTo>
                      <a:pt x="552" y="642"/>
                    </a:lnTo>
                    <a:close/>
                    <a:moveTo>
                      <a:pt x="643" y="787"/>
                    </a:moveTo>
                    <a:lnTo>
                      <a:pt x="643" y="789"/>
                    </a:lnTo>
                    <a:lnTo>
                      <a:pt x="643" y="787"/>
                    </a:lnTo>
                    <a:close/>
                    <a:moveTo>
                      <a:pt x="590" y="750"/>
                    </a:moveTo>
                    <a:lnTo>
                      <a:pt x="592" y="750"/>
                    </a:lnTo>
                    <a:lnTo>
                      <a:pt x="592" y="752"/>
                    </a:lnTo>
                    <a:lnTo>
                      <a:pt x="590" y="752"/>
                    </a:lnTo>
                    <a:lnTo>
                      <a:pt x="590" y="750"/>
                    </a:lnTo>
                    <a:close/>
                    <a:moveTo>
                      <a:pt x="573" y="458"/>
                    </a:moveTo>
                    <a:lnTo>
                      <a:pt x="574" y="458"/>
                    </a:lnTo>
                    <a:lnTo>
                      <a:pt x="574" y="460"/>
                    </a:lnTo>
                    <a:lnTo>
                      <a:pt x="573" y="460"/>
                    </a:lnTo>
                    <a:lnTo>
                      <a:pt x="573" y="458"/>
                    </a:lnTo>
                    <a:close/>
                    <a:moveTo>
                      <a:pt x="567" y="695"/>
                    </a:moveTo>
                    <a:lnTo>
                      <a:pt x="569" y="695"/>
                    </a:lnTo>
                    <a:lnTo>
                      <a:pt x="569" y="697"/>
                    </a:lnTo>
                    <a:lnTo>
                      <a:pt x="567" y="697"/>
                    </a:lnTo>
                    <a:lnTo>
                      <a:pt x="567" y="695"/>
                    </a:lnTo>
                    <a:close/>
                    <a:moveTo>
                      <a:pt x="578" y="756"/>
                    </a:moveTo>
                    <a:lnTo>
                      <a:pt x="580" y="756"/>
                    </a:lnTo>
                    <a:lnTo>
                      <a:pt x="578" y="756"/>
                    </a:lnTo>
                    <a:close/>
                    <a:moveTo>
                      <a:pt x="628" y="771"/>
                    </a:moveTo>
                    <a:lnTo>
                      <a:pt x="628" y="773"/>
                    </a:lnTo>
                    <a:lnTo>
                      <a:pt x="628" y="771"/>
                    </a:lnTo>
                    <a:close/>
                    <a:moveTo>
                      <a:pt x="593" y="750"/>
                    </a:moveTo>
                    <a:lnTo>
                      <a:pt x="595" y="750"/>
                    </a:lnTo>
                    <a:lnTo>
                      <a:pt x="593" y="750"/>
                    </a:lnTo>
                    <a:close/>
                    <a:moveTo>
                      <a:pt x="555" y="691"/>
                    </a:moveTo>
                    <a:lnTo>
                      <a:pt x="557" y="691"/>
                    </a:lnTo>
                    <a:lnTo>
                      <a:pt x="557" y="693"/>
                    </a:lnTo>
                    <a:lnTo>
                      <a:pt x="555" y="693"/>
                    </a:lnTo>
                    <a:lnTo>
                      <a:pt x="555" y="691"/>
                    </a:lnTo>
                    <a:close/>
                    <a:moveTo>
                      <a:pt x="626" y="777"/>
                    </a:moveTo>
                    <a:lnTo>
                      <a:pt x="628" y="777"/>
                    </a:lnTo>
                    <a:lnTo>
                      <a:pt x="628" y="779"/>
                    </a:lnTo>
                    <a:lnTo>
                      <a:pt x="626" y="779"/>
                    </a:lnTo>
                    <a:lnTo>
                      <a:pt x="626" y="777"/>
                    </a:lnTo>
                    <a:close/>
                    <a:moveTo>
                      <a:pt x="573" y="708"/>
                    </a:moveTo>
                    <a:lnTo>
                      <a:pt x="574" y="708"/>
                    </a:lnTo>
                    <a:lnTo>
                      <a:pt x="574" y="710"/>
                    </a:lnTo>
                    <a:lnTo>
                      <a:pt x="573" y="710"/>
                    </a:lnTo>
                    <a:lnTo>
                      <a:pt x="573" y="708"/>
                    </a:lnTo>
                    <a:close/>
                    <a:moveTo>
                      <a:pt x="552" y="684"/>
                    </a:moveTo>
                    <a:lnTo>
                      <a:pt x="553" y="684"/>
                    </a:lnTo>
                    <a:lnTo>
                      <a:pt x="553" y="685"/>
                    </a:lnTo>
                    <a:lnTo>
                      <a:pt x="552" y="685"/>
                    </a:lnTo>
                    <a:lnTo>
                      <a:pt x="552" y="684"/>
                    </a:lnTo>
                    <a:close/>
                    <a:moveTo>
                      <a:pt x="561" y="529"/>
                    </a:moveTo>
                    <a:lnTo>
                      <a:pt x="561" y="531"/>
                    </a:lnTo>
                    <a:lnTo>
                      <a:pt x="561" y="529"/>
                    </a:lnTo>
                    <a:close/>
                    <a:moveTo>
                      <a:pt x="574" y="741"/>
                    </a:moveTo>
                    <a:lnTo>
                      <a:pt x="576" y="741"/>
                    </a:lnTo>
                    <a:lnTo>
                      <a:pt x="576" y="743"/>
                    </a:lnTo>
                    <a:lnTo>
                      <a:pt x="574" y="743"/>
                    </a:lnTo>
                    <a:lnTo>
                      <a:pt x="574" y="741"/>
                    </a:lnTo>
                    <a:close/>
                    <a:moveTo>
                      <a:pt x="567" y="481"/>
                    </a:moveTo>
                    <a:lnTo>
                      <a:pt x="569" y="481"/>
                    </a:lnTo>
                    <a:lnTo>
                      <a:pt x="569" y="483"/>
                    </a:lnTo>
                    <a:lnTo>
                      <a:pt x="567" y="483"/>
                    </a:lnTo>
                    <a:lnTo>
                      <a:pt x="567" y="481"/>
                    </a:lnTo>
                    <a:close/>
                    <a:moveTo>
                      <a:pt x="550" y="645"/>
                    </a:moveTo>
                    <a:lnTo>
                      <a:pt x="550" y="647"/>
                    </a:lnTo>
                    <a:lnTo>
                      <a:pt x="550" y="645"/>
                    </a:lnTo>
                    <a:close/>
                    <a:moveTo>
                      <a:pt x="561" y="706"/>
                    </a:moveTo>
                    <a:lnTo>
                      <a:pt x="563" y="706"/>
                    </a:lnTo>
                    <a:lnTo>
                      <a:pt x="563" y="708"/>
                    </a:lnTo>
                    <a:lnTo>
                      <a:pt x="561" y="708"/>
                    </a:lnTo>
                    <a:lnTo>
                      <a:pt x="561" y="706"/>
                    </a:lnTo>
                    <a:close/>
                    <a:moveTo>
                      <a:pt x="559" y="500"/>
                    </a:moveTo>
                    <a:lnTo>
                      <a:pt x="561" y="500"/>
                    </a:lnTo>
                    <a:lnTo>
                      <a:pt x="561" y="502"/>
                    </a:lnTo>
                    <a:lnTo>
                      <a:pt x="559" y="502"/>
                    </a:lnTo>
                    <a:lnTo>
                      <a:pt x="559" y="500"/>
                    </a:lnTo>
                    <a:close/>
                    <a:moveTo>
                      <a:pt x="561" y="684"/>
                    </a:moveTo>
                    <a:lnTo>
                      <a:pt x="563" y="684"/>
                    </a:lnTo>
                    <a:lnTo>
                      <a:pt x="563" y="687"/>
                    </a:lnTo>
                    <a:lnTo>
                      <a:pt x="561" y="687"/>
                    </a:lnTo>
                    <a:lnTo>
                      <a:pt x="561" y="684"/>
                    </a:lnTo>
                    <a:close/>
                    <a:moveTo>
                      <a:pt x="571" y="470"/>
                    </a:moveTo>
                    <a:lnTo>
                      <a:pt x="573" y="470"/>
                    </a:lnTo>
                    <a:lnTo>
                      <a:pt x="571" y="470"/>
                    </a:lnTo>
                    <a:close/>
                    <a:moveTo>
                      <a:pt x="672" y="792"/>
                    </a:moveTo>
                    <a:lnTo>
                      <a:pt x="672" y="794"/>
                    </a:lnTo>
                    <a:lnTo>
                      <a:pt x="672" y="792"/>
                    </a:lnTo>
                    <a:close/>
                    <a:moveTo>
                      <a:pt x="571" y="352"/>
                    </a:moveTo>
                    <a:lnTo>
                      <a:pt x="573" y="352"/>
                    </a:lnTo>
                    <a:lnTo>
                      <a:pt x="573" y="355"/>
                    </a:lnTo>
                    <a:lnTo>
                      <a:pt x="571" y="355"/>
                    </a:lnTo>
                    <a:lnTo>
                      <a:pt x="571" y="352"/>
                    </a:lnTo>
                    <a:close/>
                    <a:moveTo>
                      <a:pt x="574" y="470"/>
                    </a:moveTo>
                    <a:lnTo>
                      <a:pt x="576" y="470"/>
                    </a:lnTo>
                    <a:lnTo>
                      <a:pt x="574" y="470"/>
                    </a:lnTo>
                    <a:close/>
                    <a:moveTo>
                      <a:pt x="550" y="594"/>
                    </a:moveTo>
                    <a:lnTo>
                      <a:pt x="552" y="594"/>
                    </a:lnTo>
                    <a:lnTo>
                      <a:pt x="552" y="596"/>
                    </a:lnTo>
                    <a:lnTo>
                      <a:pt x="550" y="596"/>
                    </a:lnTo>
                    <a:lnTo>
                      <a:pt x="550" y="594"/>
                    </a:lnTo>
                    <a:close/>
                    <a:moveTo>
                      <a:pt x="544" y="592"/>
                    </a:moveTo>
                    <a:lnTo>
                      <a:pt x="546" y="592"/>
                    </a:lnTo>
                    <a:lnTo>
                      <a:pt x="544" y="592"/>
                    </a:lnTo>
                    <a:close/>
                    <a:moveTo>
                      <a:pt x="607" y="745"/>
                    </a:moveTo>
                    <a:lnTo>
                      <a:pt x="609" y="745"/>
                    </a:lnTo>
                    <a:lnTo>
                      <a:pt x="609" y="747"/>
                    </a:lnTo>
                    <a:lnTo>
                      <a:pt x="607" y="747"/>
                    </a:lnTo>
                    <a:lnTo>
                      <a:pt x="607" y="745"/>
                    </a:lnTo>
                    <a:close/>
                    <a:moveTo>
                      <a:pt x="609" y="769"/>
                    </a:moveTo>
                    <a:lnTo>
                      <a:pt x="609" y="771"/>
                    </a:lnTo>
                    <a:lnTo>
                      <a:pt x="609" y="769"/>
                    </a:lnTo>
                    <a:close/>
                    <a:moveTo>
                      <a:pt x="546" y="588"/>
                    </a:moveTo>
                    <a:lnTo>
                      <a:pt x="548" y="588"/>
                    </a:lnTo>
                    <a:lnTo>
                      <a:pt x="548" y="590"/>
                    </a:lnTo>
                    <a:lnTo>
                      <a:pt x="546" y="590"/>
                    </a:lnTo>
                    <a:lnTo>
                      <a:pt x="546" y="588"/>
                    </a:lnTo>
                    <a:close/>
                    <a:moveTo>
                      <a:pt x="571" y="481"/>
                    </a:moveTo>
                    <a:lnTo>
                      <a:pt x="573" y="481"/>
                    </a:lnTo>
                    <a:lnTo>
                      <a:pt x="571" y="481"/>
                    </a:lnTo>
                    <a:close/>
                    <a:moveTo>
                      <a:pt x="563" y="512"/>
                    </a:moveTo>
                    <a:lnTo>
                      <a:pt x="565" y="512"/>
                    </a:lnTo>
                    <a:lnTo>
                      <a:pt x="565" y="514"/>
                    </a:lnTo>
                    <a:lnTo>
                      <a:pt x="563" y="514"/>
                    </a:lnTo>
                    <a:lnTo>
                      <a:pt x="563" y="512"/>
                    </a:lnTo>
                    <a:close/>
                    <a:moveTo>
                      <a:pt x="571" y="592"/>
                    </a:moveTo>
                    <a:lnTo>
                      <a:pt x="571" y="594"/>
                    </a:lnTo>
                    <a:lnTo>
                      <a:pt x="571" y="592"/>
                    </a:lnTo>
                    <a:close/>
                    <a:moveTo>
                      <a:pt x="544" y="561"/>
                    </a:moveTo>
                    <a:lnTo>
                      <a:pt x="546" y="561"/>
                    </a:lnTo>
                    <a:lnTo>
                      <a:pt x="546" y="563"/>
                    </a:lnTo>
                    <a:lnTo>
                      <a:pt x="544" y="563"/>
                    </a:lnTo>
                    <a:lnTo>
                      <a:pt x="544" y="561"/>
                    </a:lnTo>
                    <a:close/>
                    <a:moveTo>
                      <a:pt x="573" y="529"/>
                    </a:moveTo>
                    <a:lnTo>
                      <a:pt x="574" y="529"/>
                    </a:lnTo>
                    <a:lnTo>
                      <a:pt x="573" y="529"/>
                    </a:lnTo>
                    <a:close/>
                    <a:moveTo>
                      <a:pt x="569" y="586"/>
                    </a:moveTo>
                    <a:lnTo>
                      <a:pt x="571" y="586"/>
                    </a:lnTo>
                    <a:lnTo>
                      <a:pt x="571" y="588"/>
                    </a:lnTo>
                    <a:lnTo>
                      <a:pt x="569" y="588"/>
                    </a:lnTo>
                    <a:lnTo>
                      <a:pt x="569" y="586"/>
                    </a:lnTo>
                    <a:close/>
                    <a:moveTo>
                      <a:pt x="542" y="609"/>
                    </a:moveTo>
                    <a:lnTo>
                      <a:pt x="544" y="609"/>
                    </a:lnTo>
                    <a:lnTo>
                      <a:pt x="544" y="611"/>
                    </a:lnTo>
                    <a:lnTo>
                      <a:pt x="542" y="611"/>
                    </a:lnTo>
                    <a:lnTo>
                      <a:pt x="542" y="609"/>
                    </a:lnTo>
                    <a:close/>
                    <a:moveTo>
                      <a:pt x="550" y="697"/>
                    </a:moveTo>
                    <a:lnTo>
                      <a:pt x="550" y="699"/>
                    </a:lnTo>
                    <a:lnTo>
                      <a:pt x="550" y="697"/>
                    </a:lnTo>
                    <a:close/>
                    <a:moveTo>
                      <a:pt x="559" y="697"/>
                    </a:moveTo>
                    <a:lnTo>
                      <a:pt x="561" y="697"/>
                    </a:lnTo>
                    <a:lnTo>
                      <a:pt x="559" y="697"/>
                    </a:lnTo>
                    <a:close/>
                    <a:moveTo>
                      <a:pt x="559" y="529"/>
                    </a:moveTo>
                    <a:lnTo>
                      <a:pt x="559" y="531"/>
                    </a:lnTo>
                    <a:lnTo>
                      <a:pt x="559" y="529"/>
                    </a:lnTo>
                    <a:close/>
                    <a:moveTo>
                      <a:pt x="624" y="779"/>
                    </a:moveTo>
                    <a:lnTo>
                      <a:pt x="626" y="779"/>
                    </a:lnTo>
                    <a:lnTo>
                      <a:pt x="624" y="779"/>
                    </a:lnTo>
                    <a:close/>
                    <a:moveTo>
                      <a:pt x="569" y="502"/>
                    </a:moveTo>
                    <a:lnTo>
                      <a:pt x="569" y="504"/>
                    </a:lnTo>
                    <a:lnTo>
                      <a:pt x="569" y="502"/>
                    </a:lnTo>
                    <a:close/>
                    <a:moveTo>
                      <a:pt x="565" y="504"/>
                    </a:moveTo>
                    <a:lnTo>
                      <a:pt x="567" y="504"/>
                    </a:lnTo>
                    <a:lnTo>
                      <a:pt x="567" y="506"/>
                    </a:lnTo>
                    <a:lnTo>
                      <a:pt x="565" y="506"/>
                    </a:lnTo>
                    <a:lnTo>
                      <a:pt x="565" y="504"/>
                    </a:lnTo>
                    <a:close/>
                    <a:moveTo>
                      <a:pt x="569" y="481"/>
                    </a:moveTo>
                    <a:lnTo>
                      <a:pt x="571" y="481"/>
                    </a:lnTo>
                    <a:lnTo>
                      <a:pt x="571" y="483"/>
                    </a:lnTo>
                    <a:lnTo>
                      <a:pt x="569" y="483"/>
                    </a:lnTo>
                    <a:lnTo>
                      <a:pt x="569" y="481"/>
                    </a:lnTo>
                    <a:close/>
                    <a:moveTo>
                      <a:pt x="555" y="653"/>
                    </a:moveTo>
                    <a:lnTo>
                      <a:pt x="555" y="655"/>
                    </a:lnTo>
                    <a:lnTo>
                      <a:pt x="555" y="653"/>
                    </a:lnTo>
                    <a:close/>
                    <a:moveTo>
                      <a:pt x="569" y="521"/>
                    </a:moveTo>
                    <a:lnTo>
                      <a:pt x="569" y="523"/>
                    </a:lnTo>
                    <a:lnTo>
                      <a:pt x="569" y="521"/>
                    </a:lnTo>
                    <a:close/>
                    <a:moveTo>
                      <a:pt x="561" y="659"/>
                    </a:moveTo>
                    <a:lnTo>
                      <a:pt x="563" y="659"/>
                    </a:lnTo>
                    <a:lnTo>
                      <a:pt x="563" y="661"/>
                    </a:lnTo>
                    <a:lnTo>
                      <a:pt x="561" y="661"/>
                    </a:lnTo>
                    <a:lnTo>
                      <a:pt x="561" y="659"/>
                    </a:lnTo>
                    <a:close/>
                    <a:moveTo>
                      <a:pt x="574" y="735"/>
                    </a:moveTo>
                    <a:lnTo>
                      <a:pt x="576" y="735"/>
                    </a:lnTo>
                    <a:lnTo>
                      <a:pt x="576" y="737"/>
                    </a:lnTo>
                    <a:lnTo>
                      <a:pt x="574" y="737"/>
                    </a:lnTo>
                    <a:lnTo>
                      <a:pt x="574" y="735"/>
                    </a:lnTo>
                    <a:close/>
                    <a:moveTo>
                      <a:pt x="637" y="785"/>
                    </a:moveTo>
                    <a:lnTo>
                      <a:pt x="639" y="785"/>
                    </a:lnTo>
                    <a:lnTo>
                      <a:pt x="639" y="787"/>
                    </a:lnTo>
                    <a:lnTo>
                      <a:pt x="637" y="787"/>
                    </a:lnTo>
                    <a:lnTo>
                      <a:pt x="637" y="785"/>
                    </a:lnTo>
                    <a:close/>
                    <a:moveTo>
                      <a:pt x="557" y="691"/>
                    </a:moveTo>
                    <a:lnTo>
                      <a:pt x="559" y="691"/>
                    </a:lnTo>
                    <a:lnTo>
                      <a:pt x="559" y="693"/>
                    </a:lnTo>
                    <a:lnTo>
                      <a:pt x="557" y="693"/>
                    </a:lnTo>
                    <a:lnTo>
                      <a:pt x="557" y="691"/>
                    </a:lnTo>
                    <a:close/>
                    <a:moveTo>
                      <a:pt x="597" y="762"/>
                    </a:moveTo>
                    <a:lnTo>
                      <a:pt x="599" y="762"/>
                    </a:lnTo>
                    <a:lnTo>
                      <a:pt x="599" y="764"/>
                    </a:lnTo>
                    <a:lnTo>
                      <a:pt x="597" y="764"/>
                    </a:lnTo>
                    <a:lnTo>
                      <a:pt x="597" y="762"/>
                    </a:lnTo>
                    <a:close/>
                    <a:moveTo>
                      <a:pt x="565" y="729"/>
                    </a:moveTo>
                    <a:lnTo>
                      <a:pt x="567" y="729"/>
                    </a:lnTo>
                    <a:lnTo>
                      <a:pt x="567" y="731"/>
                    </a:lnTo>
                    <a:lnTo>
                      <a:pt x="565" y="731"/>
                    </a:lnTo>
                    <a:lnTo>
                      <a:pt x="565" y="729"/>
                    </a:lnTo>
                    <a:close/>
                    <a:moveTo>
                      <a:pt x="553" y="703"/>
                    </a:moveTo>
                    <a:lnTo>
                      <a:pt x="555" y="703"/>
                    </a:lnTo>
                    <a:lnTo>
                      <a:pt x="553" y="703"/>
                    </a:lnTo>
                    <a:close/>
                    <a:moveTo>
                      <a:pt x="555" y="628"/>
                    </a:moveTo>
                    <a:lnTo>
                      <a:pt x="557" y="628"/>
                    </a:lnTo>
                    <a:lnTo>
                      <a:pt x="557" y="630"/>
                    </a:lnTo>
                    <a:lnTo>
                      <a:pt x="555" y="630"/>
                    </a:lnTo>
                    <a:lnTo>
                      <a:pt x="555" y="628"/>
                    </a:lnTo>
                    <a:close/>
                    <a:moveTo>
                      <a:pt x="565" y="510"/>
                    </a:moveTo>
                    <a:lnTo>
                      <a:pt x="567" y="510"/>
                    </a:lnTo>
                    <a:lnTo>
                      <a:pt x="567" y="512"/>
                    </a:lnTo>
                    <a:lnTo>
                      <a:pt x="565" y="512"/>
                    </a:lnTo>
                    <a:lnTo>
                      <a:pt x="565" y="510"/>
                    </a:lnTo>
                    <a:close/>
                    <a:moveTo>
                      <a:pt x="552" y="592"/>
                    </a:moveTo>
                    <a:lnTo>
                      <a:pt x="553" y="592"/>
                    </a:lnTo>
                    <a:lnTo>
                      <a:pt x="553" y="594"/>
                    </a:lnTo>
                    <a:lnTo>
                      <a:pt x="552" y="594"/>
                    </a:lnTo>
                    <a:lnTo>
                      <a:pt x="552" y="592"/>
                    </a:lnTo>
                    <a:close/>
                    <a:moveTo>
                      <a:pt x="546" y="664"/>
                    </a:moveTo>
                    <a:lnTo>
                      <a:pt x="548" y="664"/>
                    </a:lnTo>
                    <a:lnTo>
                      <a:pt x="546" y="664"/>
                    </a:lnTo>
                    <a:close/>
                    <a:moveTo>
                      <a:pt x="542" y="649"/>
                    </a:moveTo>
                    <a:lnTo>
                      <a:pt x="542" y="651"/>
                    </a:lnTo>
                    <a:lnTo>
                      <a:pt x="542" y="649"/>
                    </a:lnTo>
                    <a:close/>
                    <a:moveTo>
                      <a:pt x="546" y="640"/>
                    </a:moveTo>
                    <a:lnTo>
                      <a:pt x="548" y="640"/>
                    </a:lnTo>
                    <a:lnTo>
                      <a:pt x="548" y="643"/>
                    </a:lnTo>
                    <a:lnTo>
                      <a:pt x="546" y="643"/>
                    </a:lnTo>
                    <a:lnTo>
                      <a:pt x="546" y="640"/>
                    </a:lnTo>
                    <a:close/>
                    <a:moveTo>
                      <a:pt x="544" y="645"/>
                    </a:moveTo>
                    <a:lnTo>
                      <a:pt x="546" y="645"/>
                    </a:lnTo>
                    <a:lnTo>
                      <a:pt x="544" y="645"/>
                    </a:lnTo>
                    <a:close/>
                    <a:moveTo>
                      <a:pt x="643" y="779"/>
                    </a:moveTo>
                    <a:lnTo>
                      <a:pt x="643" y="781"/>
                    </a:lnTo>
                    <a:lnTo>
                      <a:pt x="643" y="779"/>
                    </a:lnTo>
                    <a:close/>
                    <a:moveTo>
                      <a:pt x="586" y="750"/>
                    </a:moveTo>
                    <a:lnTo>
                      <a:pt x="588" y="750"/>
                    </a:lnTo>
                    <a:lnTo>
                      <a:pt x="588" y="752"/>
                    </a:lnTo>
                    <a:lnTo>
                      <a:pt x="586" y="752"/>
                    </a:lnTo>
                    <a:lnTo>
                      <a:pt x="586" y="750"/>
                    </a:lnTo>
                    <a:close/>
                    <a:moveTo>
                      <a:pt x="565" y="516"/>
                    </a:moveTo>
                    <a:lnTo>
                      <a:pt x="567" y="516"/>
                    </a:lnTo>
                    <a:lnTo>
                      <a:pt x="565" y="516"/>
                    </a:lnTo>
                    <a:close/>
                    <a:moveTo>
                      <a:pt x="557" y="720"/>
                    </a:moveTo>
                    <a:lnTo>
                      <a:pt x="559" y="720"/>
                    </a:lnTo>
                    <a:lnTo>
                      <a:pt x="559" y="722"/>
                    </a:lnTo>
                    <a:lnTo>
                      <a:pt x="557" y="722"/>
                    </a:lnTo>
                    <a:lnTo>
                      <a:pt x="557" y="720"/>
                    </a:lnTo>
                    <a:close/>
                    <a:moveTo>
                      <a:pt x="571" y="500"/>
                    </a:moveTo>
                    <a:lnTo>
                      <a:pt x="571" y="502"/>
                    </a:lnTo>
                    <a:lnTo>
                      <a:pt x="571" y="500"/>
                    </a:lnTo>
                    <a:close/>
                    <a:moveTo>
                      <a:pt x="588" y="457"/>
                    </a:moveTo>
                    <a:lnTo>
                      <a:pt x="588" y="458"/>
                    </a:lnTo>
                    <a:lnTo>
                      <a:pt x="588" y="457"/>
                    </a:lnTo>
                    <a:close/>
                    <a:moveTo>
                      <a:pt x="559" y="485"/>
                    </a:moveTo>
                    <a:lnTo>
                      <a:pt x="559" y="487"/>
                    </a:lnTo>
                    <a:lnTo>
                      <a:pt x="559" y="485"/>
                    </a:lnTo>
                    <a:close/>
                    <a:moveTo>
                      <a:pt x="538" y="624"/>
                    </a:moveTo>
                    <a:lnTo>
                      <a:pt x="540" y="624"/>
                    </a:lnTo>
                    <a:lnTo>
                      <a:pt x="540" y="626"/>
                    </a:lnTo>
                    <a:lnTo>
                      <a:pt x="538" y="626"/>
                    </a:lnTo>
                    <a:lnTo>
                      <a:pt x="538" y="624"/>
                    </a:lnTo>
                    <a:close/>
                    <a:moveTo>
                      <a:pt x="565" y="726"/>
                    </a:moveTo>
                    <a:lnTo>
                      <a:pt x="567" y="726"/>
                    </a:lnTo>
                    <a:lnTo>
                      <a:pt x="567" y="727"/>
                    </a:lnTo>
                    <a:lnTo>
                      <a:pt x="565" y="727"/>
                    </a:lnTo>
                    <a:lnTo>
                      <a:pt x="565" y="726"/>
                    </a:lnTo>
                    <a:close/>
                    <a:moveTo>
                      <a:pt x="645" y="785"/>
                    </a:moveTo>
                    <a:lnTo>
                      <a:pt x="647" y="785"/>
                    </a:lnTo>
                    <a:lnTo>
                      <a:pt x="647" y="787"/>
                    </a:lnTo>
                    <a:lnTo>
                      <a:pt x="645" y="787"/>
                    </a:lnTo>
                    <a:lnTo>
                      <a:pt x="645" y="785"/>
                    </a:lnTo>
                    <a:close/>
                    <a:moveTo>
                      <a:pt x="616" y="775"/>
                    </a:moveTo>
                    <a:lnTo>
                      <a:pt x="616" y="777"/>
                    </a:lnTo>
                    <a:lnTo>
                      <a:pt x="616" y="775"/>
                    </a:lnTo>
                    <a:close/>
                    <a:moveTo>
                      <a:pt x="559" y="500"/>
                    </a:moveTo>
                    <a:lnTo>
                      <a:pt x="561" y="500"/>
                    </a:lnTo>
                    <a:lnTo>
                      <a:pt x="559" y="500"/>
                    </a:lnTo>
                    <a:close/>
                    <a:moveTo>
                      <a:pt x="555" y="701"/>
                    </a:moveTo>
                    <a:lnTo>
                      <a:pt x="555" y="703"/>
                    </a:lnTo>
                    <a:lnTo>
                      <a:pt x="555" y="701"/>
                    </a:lnTo>
                    <a:close/>
                    <a:moveTo>
                      <a:pt x="571" y="733"/>
                    </a:moveTo>
                    <a:lnTo>
                      <a:pt x="573" y="733"/>
                    </a:lnTo>
                    <a:lnTo>
                      <a:pt x="573" y="735"/>
                    </a:lnTo>
                    <a:lnTo>
                      <a:pt x="571" y="735"/>
                    </a:lnTo>
                    <a:lnTo>
                      <a:pt x="571" y="733"/>
                    </a:lnTo>
                    <a:close/>
                    <a:moveTo>
                      <a:pt x="641" y="787"/>
                    </a:moveTo>
                    <a:lnTo>
                      <a:pt x="641" y="789"/>
                    </a:lnTo>
                    <a:lnTo>
                      <a:pt x="641" y="787"/>
                    </a:lnTo>
                    <a:close/>
                    <a:moveTo>
                      <a:pt x="571" y="586"/>
                    </a:moveTo>
                    <a:lnTo>
                      <a:pt x="573" y="586"/>
                    </a:lnTo>
                    <a:lnTo>
                      <a:pt x="573" y="588"/>
                    </a:lnTo>
                    <a:lnTo>
                      <a:pt x="571" y="588"/>
                    </a:lnTo>
                    <a:lnTo>
                      <a:pt x="571" y="586"/>
                    </a:lnTo>
                    <a:close/>
                    <a:moveTo>
                      <a:pt x="565" y="727"/>
                    </a:moveTo>
                    <a:lnTo>
                      <a:pt x="567" y="727"/>
                    </a:lnTo>
                    <a:lnTo>
                      <a:pt x="567" y="729"/>
                    </a:lnTo>
                    <a:lnTo>
                      <a:pt x="565" y="729"/>
                    </a:lnTo>
                    <a:lnTo>
                      <a:pt x="565" y="727"/>
                    </a:lnTo>
                    <a:close/>
                    <a:moveTo>
                      <a:pt x="542" y="628"/>
                    </a:moveTo>
                    <a:lnTo>
                      <a:pt x="544" y="628"/>
                    </a:lnTo>
                    <a:lnTo>
                      <a:pt x="544" y="630"/>
                    </a:lnTo>
                    <a:lnTo>
                      <a:pt x="542" y="630"/>
                    </a:lnTo>
                    <a:lnTo>
                      <a:pt x="542" y="628"/>
                    </a:lnTo>
                    <a:close/>
                    <a:moveTo>
                      <a:pt x="567" y="510"/>
                    </a:moveTo>
                    <a:lnTo>
                      <a:pt x="569" y="510"/>
                    </a:lnTo>
                    <a:lnTo>
                      <a:pt x="569" y="512"/>
                    </a:lnTo>
                    <a:lnTo>
                      <a:pt x="567" y="512"/>
                    </a:lnTo>
                    <a:lnTo>
                      <a:pt x="567" y="510"/>
                    </a:lnTo>
                    <a:close/>
                    <a:moveTo>
                      <a:pt x="576" y="747"/>
                    </a:moveTo>
                    <a:lnTo>
                      <a:pt x="578" y="747"/>
                    </a:lnTo>
                    <a:lnTo>
                      <a:pt x="578" y="748"/>
                    </a:lnTo>
                    <a:lnTo>
                      <a:pt x="576" y="748"/>
                    </a:lnTo>
                    <a:lnTo>
                      <a:pt x="576" y="747"/>
                    </a:lnTo>
                    <a:close/>
                    <a:moveTo>
                      <a:pt x="561" y="542"/>
                    </a:moveTo>
                    <a:lnTo>
                      <a:pt x="563" y="542"/>
                    </a:lnTo>
                    <a:lnTo>
                      <a:pt x="561" y="542"/>
                    </a:lnTo>
                    <a:close/>
                    <a:moveTo>
                      <a:pt x="607" y="764"/>
                    </a:moveTo>
                    <a:lnTo>
                      <a:pt x="609" y="764"/>
                    </a:lnTo>
                    <a:lnTo>
                      <a:pt x="607" y="764"/>
                    </a:lnTo>
                    <a:close/>
                    <a:moveTo>
                      <a:pt x="552" y="645"/>
                    </a:moveTo>
                    <a:lnTo>
                      <a:pt x="553" y="645"/>
                    </a:lnTo>
                    <a:lnTo>
                      <a:pt x="553" y="647"/>
                    </a:lnTo>
                    <a:lnTo>
                      <a:pt x="552" y="647"/>
                    </a:lnTo>
                    <a:lnTo>
                      <a:pt x="552" y="645"/>
                    </a:lnTo>
                    <a:close/>
                    <a:moveTo>
                      <a:pt x="553" y="684"/>
                    </a:moveTo>
                    <a:lnTo>
                      <a:pt x="555" y="684"/>
                    </a:lnTo>
                    <a:lnTo>
                      <a:pt x="555" y="685"/>
                    </a:lnTo>
                    <a:lnTo>
                      <a:pt x="553" y="685"/>
                    </a:lnTo>
                    <a:lnTo>
                      <a:pt x="553" y="684"/>
                    </a:lnTo>
                    <a:close/>
                    <a:moveTo>
                      <a:pt x="565" y="546"/>
                    </a:moveTo>
                    <a:lnTo>
                      <a:pt x="565" y="548"/>
                    </a:lnTo>
                    <a:lnTo>
                      <a:pt x="565" y="546"/>
                    </a:lnTo>
                    <a:close/>
                    <a:moveTo>
                      <a:pt x="618" y="771"/>
                    </a:moveTo>
                    <a:lnTo>
                      <a:pt x="620" y="771"/>
                    </a:lnTo>
                    <a:lnTo>
                      <a:pt x="618" y="771"/>
                    </a:lnTo>
                    <a:close/>
                    <a:moveTo>
                      <a:pt x="557" y="603"/>
                    </a:moveTo>
                    <a:lnTo>
                      <a:pt x="559" y="603"/>
                    </a:lnTo>
                    <a:lnTo>
                      <a:pt x="559" y="605"/>
                    </a:lnTo>
                    <a:lnTo>
                      <a:pt x="557" y="605"/>
                    </a:lnTo>
                    <a:lnTo>
                      <a:pt x="557" y="603"/>
                    </a:lnTo>
                    <a:close/>
                    <a:moveTo>
                      <a:pt x="544" y="560"/>
                    </a:moveTo>
                    <a:lnTo>
                      <a:pt x="546" y="560"/>
                    </a:lnTo>
                    <a:lnTo>
                      <a:pt x="546" y="561"/>
                    </a:lnTo>
                    <a:lnTo>
                      <a:pt x="544" y="561"/>
                    </a:lnTo>
                    <a:lnTo>
                      <a:pt x="544" y="560"/>
                    </a:lnTo>
                    <a:close/>
                    <a:moveTo>
                      <a:pt x="557" y="697"/>
                    </a:moveTo>
                    <a:lnTo>
                      <a:pt x="559" y="697"/>
                    </a:lnTo>
                    <a:lnTo>
                      <a:pt x="559" y="699"/>
                    </a:lnTo>
                    <a:lnTo>
                      <a:pt x="557" y="699"/>
                    </a:lnTo>
                    <a:lnTo>
                      <a:pt x="557" y="697"/>
                    </a:lnTo>
                    <a:close/>
                    <a:moveTo>
                      <a:pt x="573" y="708"/>
                    </a:moveTo>
                    <a:lnTo>
                      <a:pt x="574" y="708"/>
                    </a:lnTo>
                    <a:lnTo>
                      <a:pt x="574" y="710"/>
                    </a:lnTo>
                    <a:lnTo>
                      <a:pt x="573" y="710"/>
                    </a:lnTo>
                    <a:lnTo>
                      <a:pt x="573" y="708"/>
                    </a:lnTo>
                    <a:close/>
                    <a:moveTo>
                      <a:pt x="571" y="735"/>
                    </a:moveTo>
                    <a:lnTo>
                      <a:pt x="573" y="735"/>
                    </a:lnTo>
                    <a:lnTo>
                      <a:pt x="571" y="735"/>
                    </a:lnTo>
                    <a:close/>
                    <a:moveTo>
                      <a:pt x="620" y="771"/>
                    </a:moveTo>
                    <a:lnTo>
                      <a:pt x="622" y="771"/>
                    </a:lnTo>
                    <a:lnTo>
                      <a:pt x="622" y="773"/>
                    </a:lnTo>
                    <a:lnTo>
                      <a:pt x="620" y="773"/>
                    </a:lnTo>
                    <a:lnTo>
                      <a:pt x="620" y="771"/>
                    </a:lnTo>
                    <a:close/>
                    <a:moveTo>
                      <a:pt x="580" y="748"/>
                    </a:moveTo>
                    <a:lnTo>
                      <a:pt x="580" y="750"/>
                    </a:lnTo>
                    <a:lnTo>
                      <a:pt x="580" y="748"/>
                    </a:lnTo>
                    <a:close/>
                    <a:moveTo>
                      <a:pt x="649" y="785"/>
                    </a:moveTo>
                    <a:lnTo>
                      <a:pt x="651" y="785"/>
                    </a:lnTo>
                    <a:lnTo>
                      <a:pt x="651" y="787"/>
                    </a:lnTo>
                    <a:lnTo>
                      <a:pt x="649" y="787"/>
                    </a:lnTo>
                    <a:lnTo>
                      <a:pt x="649" y="785"/>
                    </a:lnTo>
                    <a:close/>
                    <a:moveTo>
                      <a:pt x="578" y="470"/>
                    </a:moveTo>
                    <a:lnTo>
                      <a:pt x="580" y="470"/>
                    </a:lnTo>
                    <a:lnTo>
                      <a:pt x="578" y="470"/>
                    </a:lnTo>
                    <a:close/>
                    <a:moveTo>
                      <a:pt x="550" y="676"/>
                    </a:moveTo>
                    <a:lnTo>
                      <a:pt x="550" y="678"/>
                    </a:lnTo>
                    <a:lnTo>
                      <a:pt x="550" y="676"/>
                    </a:lnTo>
                    <a:close/>
                    <a:moveTo>
                      <a:pt x="584" y="750"/>
                    </a:moveTo>
                    <a:lnTo>
                      <a:pt x="586" y="750"/>
                    </a:lnTo>
                    <a:lnTo>
                      <a:pt x="584" y="750"/>
                    </a:lnTo>
                    <a:close/>
                    <a:moveTo>
                      <a:pt x="555" y="537"/>
                    </a:moveTo>
                    <a:lnTo>
                      <a:pt x="557" y="537"/>
                    </a:lnTo>
                    <a:lnTo>
                      <a:pt x="557" y="539"/>
                    </a:lnTo>
                    <a:lnTo>
                      <a:pt x="555" y="539"/>
                    </a:lnTo>
                    <a:lnTo>
                      <a:pt x="555" y="537"/>
                    </a:lnTo>
                    <a:close/>
                    <a:moveTo>
                      <a:pt x="574" y="462"/>
                    </a:moveTo>
                    <a:lnTo>
                      <a:pt x="576" y="462"/>
                    </a:lnTo>
                    <a:lnTo>
                      <a:pt x="574" y="462"/>
                    </a:lnTo>
                    <a:close/>
                    <a:moveTo>
                      <a:pt x="571" y="710"/>
                    </a:moveTo>
                    <a:lnTo>
                      <a:pt x="573" y="710"/>
                    </a:lnTo>
                    <a:lnTo>
                      <a:pt x="573" y="712"/>
                    </a:lnTo>
                    <a:lnTo>
                      <a:pt x="571" y="712"/>
                    </a:lnTo>
                    <a:lnTo>
                      <a:pt x="571" y="710"/>
                    </a:lnTo>
                    <a:close/>
                    <a:moveTo>
                      <a:pt x="655" y="771"/>
                    </a:moveTo>
                    <a:lnTo>
                      <a:pt x="656" y="771"/>
                    </a:lnTo>
                    <a:lnTo>
                      <a:pt x="655" y="771"/>
                    </a:lnTo>
                    <a:close/>
                    <a:moveTo>
                      <a:pt x="601" y="754"/>
                    </a:moveTo>
                    <a:lnTo>
                      <a:pt x="601" y="756"/>
                    </a:lnTo>
                    <a:lnTo>
                      <a:pt x="601" y="754"/>
                    </a:lnTo>
                    <a:close/>
                    <a:moveTo>
                      <a:pt x="557" y="674"/>
                    </a:moveTo>
                    <a:lnTo>
                      <a:pt x="559" y="674"/>
                    </a:lnTo>
                    <a:lnTo>
                      <a:pt x="559" y="676"/>
                    </a:lnTo>
                    <a:lnTo>
                      <a:pt x="557" y="676"/>
                    </a:lnTo>
                    <a:lnTo>
                      <a:pt x="557" y="674"/>
                    </a:lnTo>
                    <a:close/>
                    <a:moveTo>
                      <a:pt x="563" y="544"/>
                    </a:moveTo>
                    <a:lnTo>
                      <a:pt x="565" y="544"/>
                    </a:lnTo>
                    <a:lnTo>
                      <a:pt x="563" y="544"/>
                    </a:lnTo>
                    <a:close/>
                    <a:moveTo>
                      <a:pt x="559" y="504"/>
                    </a:moveTo>
                    <a:lnTo>
                      <a:pt x="561" y="504"/>
                    </a:lnTo>
                    <a:lnTo>
                      <a:pt x="559" y="504"/>
                    </a:lnTo>
                    <a:close/>
                    <a:moveTo>
                      <a:pt x="552" y="697"/>
                    </a:moveTo>
                    <a:lnTo>
                      <a:pt x="553" y="697"/>
                    </a:lnTo>
                    <a:lnTo>
                      <a:pt x="552" y="697"/>
                    </a:lnTo>
                    <a:close/>
                    <a:moveTo>
                      <a:pt x="576" y="506"/>
                    </a:moveTo>
                    <a:lnTo>
                      <a:pt x="578" y="506"/>
                    </a:lnTo>
                    <a:lnTo>
                      <a:pt x="578" y="508"/>
                    </a:lnTo>
                    <a:lnTo>
                      <a:pt x="576" y="508"/>
                    </a:lnTo>
                    <a:lnTo>
                      <a:pt x="576" y="506"/>
                    </a:lnTo>
                    <a:close/>
                    <a:moveTo>
                      <a:pt x="559" y="596"/>
                    </a:moveTo>
                    <a:lnTo>
                      <a:pt x="559" y="598"/>
                    </a:lnTo>
                    <a:lnTo>
                      <a:pt x="559" y="596"/>
                    </a:lnTo>
                    <a:close/>
                    <a:moveTo>
                      <a:pt x="559" y="533"/>
                    </a:moveTo>
                    <a:lnTo>
                      <a:pt x="561" y="533"/>
                    </a:lnTo>
                    <a:lnTo>
                      <a:pt x="561" y="535"/>
                    </a:lnTo>
                    <a:lnTo>
                      <a:pt x="559" y="535"/>
                    </a:lnTo>
                    <a:lnTo>
                      <a:pt x="559" y="533"/>
                    </a:lnTo>
                    <a:close/>
                    <a:moveTo>
                      <a:pt x="567" y="510"/>
                    </a:moveTo>
                    <a:lnTo>
                      <a:pt x="567" y="512"/>
                    </a:lnTo>
                    <a:lnTo>
                      <a:pt x="567" y="510"/>
                    </a:lnTo>
                    <a:close/>
                    <a:moveTo>
                      <a:pt x="557" y="539"/>
                    </a:moveTo>
                    <a:lnTo>
                      <a:pt x="559" y="539"/>
                    </a:lnTo>
                    <a:lnTo>
                      <a:pt x="559" y="540"/>
                    </a:lnTo>
                    <a:lnTo>
                      <a:pt x="557" y="540"/>
                    </a:lnTo>
                    <a:lnTo>
                      <a:pt x="557" y="539"/>
                    </a:lnTo>
                    <a:close/>
                    <a:moveTo>
                      <a:pt x="601" y="762"/>
                    </a:moveTo>
                    <a:lnTo>
                      <a:pt x="603" y="762"/>
                    </a:lnTo>
                    <a:lnTo>
                      <a:pt x="601" y="762"/>
                    </a:lnTo>
                    <a:close/>
                    <a:moveTo>
                      <a:pt x="569" y="710"/>
                    </a:moveTo>
                    <a:lnTo>
                      <a:pt x="571" y="710"/>
                    </a:lnTo>
                    <a:lnTo>
                      <a:pt x="569" y="710"/>
                    </a:lnTo>
                    <a:close/>
                    <a:moveTo>
                      <a:pt x="574" y="726"/>
                    </a:moveTo>
                    <a:lnTo>
                      <a:pt x="576" y="726"/>
                    </a:lnTo>
                    <a:lnTo>
                      <a:pt x="576" y="727"/>
                    </a:lnTo>
                    <a:lnTo>
                      <a:pt x="574" y="727"/>
                    </a:lnTo>
                    <a:lnTo>
                      <a:pt x="574" y="726"/>
                    </a:lnTo>
                    <a:close/>
                    <a:moveTo>
                      <a:pt x="647" y="775"/>
                    </a:moveTo>
                    <a:lnTo>
                      <a:pt x="649" y="775"/>
                    </a:lnTo>
                    <a:lnTo>
                      <a:pt x="647" y="775"/>
                    </a:lnTo>
                    <a:close/>
                    <a:moveTo>
                      <a:pt x="563" y="701"/>
                    </a:moveTo>
                    <a:lnTo>
                      <a:pt x="565" y="701"/>
                    </a:lnTo>
                    <a:lnTo>
                      <a:pt x="565" y="703"/>
                    </a:lnTo>
                    <a:lnTo>
                      <a:pt x="563" y="703"/>
                    </a:lnTo>
                    <a:lnTo>
                      <a:pt x="563" y="701"/>
                    </a:lnTo>
                    <a:close/>
                    <a:moveTo>
                      <a:pt x="555" y="699"/>
                    </a:moveTo>
                    <a:lnTo>
                      <a:pt x="555" y="701"/>
                    </a:lnTo>
                    <a:lnTo>
                      <a:pt x="555" y="699"/>
                    </a:lnTo>
                    <a:close/>
                    <a:moveTo>
                      <a:pt x="550" y="676"/>
                    </a:moveTo>
                    <a:lnTo>
                      <a:pt x="552" y="676"/>
                    </a:lnTo>
                    <a:lnTo>
                      <a:pt x="552" y="678"/>
                    </a:lnTo>
                    <a:lnTo>
                      <a:pt x="550" y="678"/>
                    </a:lnTo>
                    <a:lnTo>
                      <a:pt x="550" y="676"/>
                    </a:lnTo>
                    <a:close/>
                    <a:moveTo>
                      <a:pt x="574" y="464"/>
                    </a:moveTo>
                    <a:lnTo>
                      <a:pt x="574" y="466"/>
                    </a:lnTo>
                    <a:lnTo>
                      <a:pt x="574" y="464"/>
                    </a:lnTo>
                    <a:close/>
                    <a:moveTo>
                      <a:pt x="588" y="754"/>
                    </a:moveTo>
                    <a:lnTo>
                      <a:pt x="590" y="754"/>
                    </a:lnTo>
                    <a:lnTo>
                      <a:pt x="590" y="756"/>
                    </a:lnTo>
                    <a:lnTo>
                      <a:pt x="588" y="756"/>
                    </a:lnTo>
                    <a:lnTo>
                      <a:pt x="588" y="754"/>
                    </a:lnTo>
                    <a:close/>
                    <a:moveTo>
                      <a:pt x="553" y="645"/>
                    </a:moveTo>
                    <a:lnTo>
                      <a:pt x="555" y="645"/>
                    </a:lnTo>
                    <a:lnTo>
                      <a:pt x="555" y="647"/>
                    </a:lnTo>
                    <a:lnTo>
                      <a:pt x="553" y="647"/>
                    </a:lnTo>
                    <a:lnTo>
                      <a:pt x="553" y="645"/>
                    </a:lnTo>
                    <a:close/>
                    <a:moveTo>
                      <a:pt x="559" y="500"/>
                    </a:moveTo>
                    <a:lnTo>
                      <a:pt x="561" y="500"/>
                    </a:lnTo>
                    <a:lnTo>
                      <a:pt x="559" y="500"/>
                    </a:lnTo>
                    <a:close/>
                    <a:moveTo>
                      <a:pt x="569" y="726"/>
                    </a:moveTo>
                    <a:lnTo>
                      <a:pt x="571" y="726"/>
                    </a:lnTo>
                    <a:lnTo>
                      <a:pt x="571" y="727"/>
                    </a:lnTo>
                    <a:lnTo>
                      <a:pt x="569" y="727"/>
                    </a:lnTo>
                    <a:lnTo>
                      <a:pt x="569" y="726"/>
                    </a:lnTo>
                    <a:close/>
                    <a:moveTo>
                      <a:pt x="576" y="735"/>
                    </a:moveTo>
                    <a:lnTo>
                      <a:pt x="576" y="737"/>
                    </a:lnTo>
                    <a:lnTo>
                      <a:pt x="576" y="735"/>
                    </a:lnTo>
                    <a:close/>
                    <a:moveTo>
                      <a:pt x="559" y="720"/>
                    </a:moveTo>
                    <a:lnTo>
                      <a:pt x="559" y="722"/>
                    </a:lnTo>
                    <a:lnTo>
                      <a:pt x="559" y="720"/>
                    </a:lnTo>
                    <a:close/>
                    <a:moveTo>
                      <a:pt x="593" y="754"/>
                    </a:moveTo>
                    <a:lnTo>
                      <a:pt x="595" y="754"/>
                    </a:lnTo>
                    <a:lnTo>
                      <a:pt x="595" y="756"/>
                    </a:lnTo>
                    <a:lnTo>
                      <a:pt x="593" y="756"/>
                    </a:lnTo>
                    <a:lnTo>
                      <a:pt x="593" y="754"/>
                    </a:lnTo>
                    <a:close/>
                    <a:moveTo>
                      <a:pt x="622" y="771"/>
                    </a:moveTo>
                    <a:lnTo>
                      <a:pt x="624" y="771"/>
                    </a:lnTo>
                    <a:lnTo>
                      <a:pt x="622" y="771"/>
                    </a:lnTo>
                    <a:close/>
                    <a:moveTo>
                      <a:pt x="559" y="571"/>
                    </a:moveTo>
                    <a:lnTo>
                      <a:pt x="561" y="571"/>
                    </a:lnTo>
                    <a:lnTo>
                      <a:pt x="559" y="571"/>
                    </a:lnTo>
                    <a:close/>
                    <a:moveTo>
                      <a:pt x="542" y="626"/>
                    </a:moveTo>
                    <a:lnTo>
                      <a:pt x="542" y="628"/>
                    </a:lnTo>
                    <a:lnTo>
                      <a:pt x="542" y="626"/>
                    </a:lnTo>
                    <a:close/>
                    <a:moveTo>
                      <a:pt x="555" y="682"/>
                    </a:moveTo>
                    <a:lnTo>
                      <a:pt x="557" y="682"/>
                    </a:lnTo>
                    <a:lnTo>
                      <a:pt x="557" y="684"/>
                    </a:lnTo>
                    <a:lnTo>
                      <a:pt x="555" y="684"/>
                    </a:lnTo>
                    <a:lnTo>
                      <a:pt x="555" y="682"/>
                    </a:lnTo>
                    <a:close/>
                    <a:moveTo>
                      <a:pt x="555" y="699"/>
                    </a:moveTo>
                    <a:lnTo>
                      <a:pt x="555" y="701"/>
                    </a:lnTo>
                    <a:lnTo>
                      <a:pt x="555" y="699"/>
                    </a:lnTo>
                    <a:close/>
                    <a:moveTo>
                      <a:pt x="573" y="521"/>
                    </a:moveTo>
                    <a:lnTo>
                      <a:pt x="573" y="523"/>
                    </a:lnTo>
                    <a:lnTo>
                      <a:pt x="573" y="521"/>
                    </a:lnTo>
                    <a:close/>
                    <a:moveTo>
                      <a:pt x="571" y="468"/>
                    </a:moveTo>
                    <a:lnTo>
                      <a:pt x="573" y="468"/>
                    </a:lnTo>
                    <a:lnTo>
                      <a:pt x="573" y="470"/>
                    </a:lnTo>
                    <a:lnTo>
                      <a:pt x="571" y="470"/>
                    </a:lnTo>
                    <a:lnTo>
                      <a:pt x="571" y="468"/>
                    </a:lnTo>
                    <a:close/>
                    <a:moveTo>
                      <a:pt x="576" y="468"/>
                    </a:moveTo>
                    <a:lnTo>
                      <a:pt x="576" y="470"/>
                    </a:lnTo>
                    <a:lnTo>
                      <a:pt x="576" y="468"/>
                    </a:lnTo>
                    <a:close/>
                    <a:moveTo>
                      <a:pt x="651" y="775"/>
                    </a:moveTo>
                    <a:lnTo>
                      <a:pt x="653" y="775"/>
                    </a:lnTo>
                    <a:lnTo>
                      <a:pt x="651" y="775"/>
                    </a:lnTo>
                    <a:close/>
                    <a:moveTo>
                      <a:pt x="573" y="726"/>
                    </a:moveTo>
                    <a:lnTo>
                      <a:pt x="574" y="726"/>
                    </a:lnTo>
                    <a:lnTo>
                      <a:pt x="574" y="727"/>
                    </a:lnTo>
                    <a:lnTo>
                      <a:pt x="573" y="727"/>
                    </a:lnTo>
                    <a:lnTo>
                      <a:pt x="573" y="726"/>
                    </a:lnTo>
                    <a:close/>
                    <a:moveTo>
                      <a:pt x="574" y="739"/>
                    </a:moveTo>
                    <a:lnTo>
                      <a:pt x="574" y="741"/>
                    </a:lnTo>
                    <a:lnTo>
                      <a:pt x="574" y="739"/>
                    </a:lnTo>
                    <a:close/>
                    <a:moveTo>
                      <a:pt x="565" y="508"/>
                    </a:moveTo>
                    <a:lnTo>
                      <a:pt x="567" y="508"/>
                    </a:lnTo>
                    <a:lnTo>
                      <a:pt x="565" y="508"/>
                    </a:lnTo>
                    <a:close/>
                    <a:moveTo>
                      <a:pt x="553" y="680"/>
                    </a:moveTo>
                    <a:lnTo>
                      <a:pt x="555" y="680"/>
                    </a:lnTo>
                    <a:lnTo>
                      <a:pt x="555" y="682"/>
                    </a:lnTo>
                    <a:lnTo>
                      <a:pt x="553" y="682"/>
                    </a:lnTo>
                    <a:lnTo>
                      <a:pt x="553" y="680"/>
                    </a:lnTo>
                    <a:close/>
                    <a:moveTo>
                      <a:pt x="630" y="781"/>
                    </a:moveTo>
                    <a:lnTo>
                      <a:pt x="632" y="781"/>
                    </a:lnTo>
                    <a:lnTo>
                      <a:pt x="630" y="781"/>
                    </a:lnTo>
                    <a:close/>
                    <a:moveTo>
                      <a:pt x="540" y="628"/>
                    </a:moveTo>
                    <a:lnTo>
                      <a:pt x="542" y="628"/>
                    </a:lnTo>
                    <a:lnTo>
                      <a:pt x="540" y="628"/>
                    </a:lnTo>
                    <a:close/>
                    <a:moveTo>
                      <a:pt x="567" y="733"/>
                    </a:moveTo>
                    <a:lnTo>
                      <a:pt x="569" y="733"/>
                    </a:lnTo>
                    <a:lnTo>
                      <a:pt x="567" y="733"/>
                    </a:lnTo>
                    <a:close/>
                    <a:moveTo>
                      <a:pt x="559" y="724"/>
                    </a:moveTo>
                    <a:lnTo>
                      <a:pt x="559" y="726"/>
                    </a:lnTo>
                    <a:lnTo>
                      <a:pt x="559" y="724"/>
                    </a:lnTo>
                    <a:close/>
                    <a:moveTo>
                      <a:pt x="552" y="678"/>
                    </a:moveTo>
                    <a:lnTo>
                      <a:pt x="553" y="678"/>
                    </a:lnTo>
                    <a:lnTo>
                      <a:pt x="553" y="680"/>
                    </a:lnTo>
                    <a:lnTo>
                      <a:pt x="552" y="680"/>
                    </a:lnTo>
                    <a:lnTo>
                      <a:pt x="552" y="678"/>
                    </a:lnTo>
                    <a:close/>
                    <a:moveTo>
                      <a:pt x="567" y="504"/>
                    </a:moveTo>
                    <a:lnTo>
                      <a:pt x="567" y="506"/>
                    </a:lnTo>
                    <a:lnTo>
                      <a:pt x="567" y="504"/>
                    </a:lnTo>
                    <a:close/>
                    <a:moveTo>
                      <a:pt x="595" y="754"/>
                    </a:moveTo>
                    <a:lnTo>
                      <a:pt x="597" y="754"/>
                    </a:lnTo>
                    <a:lnTo>
                      <a:pt x="595" y="754"/>
                    </a:lnTo>
                    <a:close/>
                    <a:moveTo>
                      <a:pt x="574" y="727"/>
                    </a:moveTo>
                    <a:lnTo>
                      <a:pt x="576" y="727"/>
                    </a:lnTo>
                    <a:lnTo>
                      <a:pt x="576" y="729"/>
                    </a:lnTo>
                    <a:lnTo>
                      <a:pt x="574" y="729"/>
                    </a:lnTo>
                    <a:lnTo>
                      <a:pt x="574" y="727"/>
                    </a:lnTo>
                    <a:close/>
                    <a:moveTo>
                      <a:pt x="561" y="500"/>
                    </a:moveTo>
                    <a:lnTo>
                      <a:pt x="563" y="500"/>
                    </a:lnTo>
                    <a:lnTo>
                      <a:pt x="563" y="502"/>
                    </a:lnTo>
                    <a:lnTo>
                      <a:pt x="561" y="502"/>
                    </a:lnTo>
                    <a:lnTo>
                      <a:pt x="561" y="500"/>
                    </a:lnTo>
                    <a:close/>
                    <a:moveTo>
                      <a:pt x="555" y="672"/>
                    </a:moveTo>
                    <a:lnTo>
                      <a:pt x="557" y="672"/>
                    </a:lnTo>
                    <a:lnTo>
                      <a:pt x="555" y="672"/>
                    </a:lnTo>
                    <a:close/>
                    <a:moveTo>
                      <a:pt x="658" y="787"/>
                    </a:moveTo>
                    <a:lnTo>
                      <a:pt x="660" y="787"/>
                    </a:lnTo>
                    <a:lnTo>
                      <a:pt x="658" y="787"/>
                    </a:lnTo>
                    <a:close/>
                    <a:moveTo>
                      <a:pt x="569" y="684"/>
                    </a:moveTo>
                    <a:lnTo>
                      <a:pt x="571" y="684"/>
                    </a:lnTo>
                    <a:lnTo>
                      <a:pt x="571" y="685"/>
                    </a:lnTo>
                    <a:lnTo>
                      <a:pt x="569" y="685"/>
                    </a:lnTo>
                    <a:lnTo>
                      <a:pt x="569" y="684"/>
                    </a:lnTo>
                    <a:close/>
                    <a:moveTo>
                      <a:pt x="574" y="462"/>
                    </a:moveTo>
                    <a:lnTo>
                      <a:pt x="576" y="462"/>
                    </a:lnTo>
                    <a:lnTo>
                      <a:pt x="576" y="464"/>
                    </a:lnTo>
                    <a:lnTo>
                      <a:pt x="574" y="464"/>
                    </a:lnTo>
                    <a:lnTo>
                      <a:pt x="574" y="462"/>
                    </a:lnTo>
                    <a:close/>
                    <a:moveTo>
                      <a:pt x="634" y="785"/>
                    </a:moveTo>
                    <a:lnTo>
                      <a:pt x="635" y="785"/>
                    </a:lnTo>
                    <a:lnTo>
                      <a:pt x="634" y="785"/>
                    </a:lnTo>
                    <a:close/>
                    <a:moveTo>
                      <a:pt x="569" y="722"/>
                    </a:moveTo>
                    <a:lnTo>
                      <a:pt x="571" y="722"/>
                    </a:lnTo>
                    <a:lnTo>
                      <a:pt x="571" y="724"/>
                    </a:lnTo>
                    <a:lnTo>
                      <a:pt x="569" y="724"/>
                    </a:lnTo>
                    <a:lnTo>
                      <a:pt x="569" y="722"/>
                    </a:lnTo>
                    <a:close/>
                    <a:moveTo>
                      <a:pt x="567" y="727"/>
                    </a:moveTo>
                    <a:lnTo>
                      <a:pt x="569" y="727"/>
                    </a:lnTo>
                    <a:lnTo>
                      <a:pt x="569" y="729"/>
                    </a:lnTo>
                    <a:lnTo>
                      <a:pt x="567" y="729"/>
                    </a:lnTo>
                    <a:lnTo>
                      <a:pt x="567" y="727"/>
                    </a:lnTo>
                    <a:close/>
                    <a:moveTo>
                      <a:pt x="544" y="619"/>
                    </a:moveTo>
                    <a:lnTo>
                      <a:pt x="544" y="621"/>
                    </a:lnTo>
                    <a:lnTo>
                      <a:pt x="544" y="619"/>
                    </a:lnTo>
                    <a:close/>
                    <a:moveTo>
                      <a:pt x="553" y="699"/>
                    </a:moveTo>
                    <a:lnTo>
                      <a:pt x="555" y="699"/>
                    </a:lnTo>
                    <a:lnTo>
                      <a:pt x="553" y="699"/>
                    </a:lnTo>
                    <a:close/>
                    <a:moveTo>
                      <a:pt x="548" y="630"/>
                    </a:moveTo>
                    <a:lnTo>
                      <a:pt x="550" y="630"/>
                    </a:lnTo>
                    <a:lnTo>
                      <a:pt x="548" y="630"/>
                    </a:lnTo>
                    <a:close/>
                    <a:moveTo>
                      <a:pt x="574" y="466"/>
                    </a:moveTo>
                    <a:lnTo>
                      <a:pt x="576" y="466"/>
                    </a:lnTo>
                    <a:lnTo>
                      <a:pt x="576" y="468"/>
                    </a:lnTo>
                    <a:lnTo>
                      <a:pt x="574" y="468"/>
                    </a:lnTo>
                    <a:lnTo>
                      <a:pt x="574" y="466"/>
                    </a:lnTo>
                    <a:close/>
                    <a:moveTo>
                      <a:pt x="550" y="653"/>
                    </a:moveTo>
                    <a:lnTo>
                      <a:pt x="550" y="655"/>
                    </a:lnTo>
                    <a:lnTo>
                      <a:pt x="550" y="653"/>
                    </a:lnTo>
                    <a:close/>
                    <a:moveTo>
                      <a:pt x="553" y="588"/>
                    </a:moveTo>
                    <a:lnTo>
                      <a:pt x="553" y="590"/>
                    </a:lnTo>
                    <a:lnTo>
                      <a:pt x="553" y="588"/>
                    </a:lnTo>
                    <a:close/>
                    <a:moveTo>
                      <a:pt x="557" y="519"/>
                    </a:moveTo>
                    <a:lnTo>
                      <a:pt x="559" y="519"/>
                    </a:lnTo>
                    <a:lnTo>
                      <a:pt x="557" y="519"/>
                    </a:lnTo>
                    <a:close/>
                    <a:moveTo>
                      <a:pt x="544" y="640"/>
                    </a:moveTo>
                    <a:lnTo>
                      <a:pt x="544" y="642"/>
                    </a:lnTo>
                    <a:lnTo>
                      <a:pt x="544" y="640"/>
                    </a:lnTo>
                    <a:close/>
                    <a:moveTo>
                      <a:pt x="601" y="754"/>
                    </a:moveTo>
                    <a:lnTo>
                      <a:pt x="603" y="754"/>
                    </a:lnTo>
                    <a:lnTo>
                      <a:pt x="601" y="754"/>
                    </a:lnTo>
                    <a:close/>
                    <a:moveTo>
                      <a:pt x="542" y="619"/>
                    </a:moveTo>
                    <a:lnTo>
                      <a:pt x="542" y="621"/>
                    </a:lnTo>
                    <a:lnTo>
                      <a:pt x="542" y="619"/>
                    </a:lnTo>
                    <a:close/>
                    <a:moveTo>
                      <a:pt x="567" y="674"/>
                    </a:moveTo>
                    <a:lnTo>
                      <a:pt x="567" y="676"/>
                    </a:lnTo>
                    <a:lnTo>
                      <a:pt x="567" y="674"/>
                    </a:lnTo>
                    <a:close/>
                    <a:moveTo>
                      <a:pt x="588" y="747"/>
                    </a:moveTo>
                    <a:lnTo>
                      <a:pt x="588" y="748"/>
                    </a:lnTo>
                    <a:lnTo>
                      <a:pt x="588" y="747"/>
                    </a:lnTo>
                    <a:close/>
                    <a:moveTo>
                      <a:pt x="542" y="634"/>
                    </a:moveTo>
                    <a:lnTo>
                      <a:pt x="542" y="636"/>
                    </a:lnTo>
                    <a:lnTo>
                      <a:pt x="542" y="634"/>
                    </a:lnTo>
                    <a:close/>
                    <a:moveTo>
                      <a:pt x="567" y="521"/>
                    </a:moveTo>
                    <a:lnTo>
                      <a:pt x="567" y="523"/>
                    </a:lnTo>
                    <a:lnTo>
                      <a:pt x="567" y="521"/>
                    </a:lnTo>
                    <a:close/>
                    <a:moveTo>
                      <a:pt x="573" y="523"/>
                    </a:moveTo>
                    <a:lnTo>
                      <a:pt x="573" y="525"/>
                    </a:lnTo>
                    <a:lnTo>
                      <a:pt x="573" y="523"/>
                    </a:lnTo>
                    <a:close/>
                    <a:moveTo>
                      <a:pt x="557" y="565"/>
                    </a:moveTo>
                    <a:lnTo>
                      <a:pt x="559" y="565"/>
                    </a:lnTo>
                    <a:lnTo>
                      <a:pt x="557" y="565"/>
                    </a:lnTo>
                    <a:close/>
                    <a:moveTo>
                      <a:pt x="626" y="768"/>
                    </a:moveTo>
                    <a:lnTo>
                      <a:pt x="628" y="768"/>
                    </a:lnTo>
                    <a:lnTo>
                      <a:pt x="626" y="768"/>
                    </a:lnTo>
                    <a:close/>
                    <a:moveTo>
                      <a:pt x="574" y="468"/>
                    </a:moveTo>
                    <a:lnTo>
                      <a:pt x="576" y="468"/>
                    </a:lnTo>
                    <a:lnTo>
                      <a:pt x="576" y="470"/>
                    </a:lnTo>
                    <a:lnTo>
                      <a:pt x="574" y="470"/>
                    </a:lnTo>
                    <a:lnTo>
                      <a:pt x="574" y="468"/>
                    </a:lnTo>
                    <a:close/>
                    <a:moveTo>
                      <a:pt x="552" y="655"/>
                    </a:moveTo>
                    <a:lnTo>
                      <a:pt x="552" y="657"/>
                    </a:lnTo>
                    <a:lnTo>
                      <a:pt x="552" y="655"/>
                    </a:lnTo>
                    <a:close/>
                    <a:moveTo>
                      <a:pt x="557" y="697"/>
                    </a:moveTo>
                    <a:lnTo>
                      <a:pt x="559" y="697"/>
                    </a:lnTo>
                    <a:lnTo>
                      <a:pt x="559" y="699"/>
                    </a:lnTo>
                    <a:lnTo>
                      <a:pt x="557" y="699"/>
                    </a:lnTo>
                    <a:lnTo>
                      <a:pt x="557" y="697"/>
                    </a:lnTo>
                    <a:close/>
                    <a:moveTo>
                      <a:pt x="574" y="500"/>
                    </a:moveTo>
                    <a:lnTo>
                      <a:pt x="576" y="500"/>
                    </a:lnTo>
                    <a:lnTo>
                      <a:pt x="574" y="500"/>
                    </a:lnTo>
                    <a:close/>
                    <a:moveTo>
                      <a:pt x="559" y="697"/>
                    </a:moveTo>
                    <a:lnTo>
                      <a:pt x="559" y="699"/>
                    </a:lnTo>
                    <a:lnTo>
                      <a:pt x="559" y="697"/>
                    </a:lnTo>
                    <a:close/>
                    <a:moveTo>
                      <a:pt x="628" y="781"/>
                    </a:moveTo>
                    <a:lnTo>
                      <a:pt x="628" y="783"/>
                    </a:lnTo>
                    <a:lnTo>
                      <a:pt x="628" y="781"/>
                    </a:lnTo>
                    <a:close/>
                    <a:moveTo>
                      <a:pt x="565" y="539"/>
                    </a:moveTo>
                    <a:lnTo>
                      <a:pt x="567" y="539"/>
                    </a:lnTo>
                    <a:lnTo>
                      <a:pt x="567" y="540"/>
                    </a:lnTo>
                    <a:lnTo>
                      <a:pt x="565" y="540"/>
                    </a:lnTo>
                    <a:lnTo>
                      <a:pt x="565" y="539"/>
                    </a:lnTo>
                    <a:close/>
                    <a:moveTo>
                      <a:pt x="538" y="617"/>
                    </a:moveTo>
                    <a:lnTo>
                      <a:pt x="538" y="619"/>
                    </a:lnTo>
                    <a:lnTo>
                      <a:pt x="538" y="617"/>
                    </a:lnTo>
                    <a:close/>
                    <a:moveTo>
                      <a:pt x="565" y="500"/>
                    </a:moveTo>
                    <a:lnTo>
                      <a:pt x="567" y="500"/>
                    </a:lnTo>
                    <a:lnTo>
                      <a:pt x="567" y="502"/>
                    </a:lnTo>
                    <a:lnTo>
                      <a:pt x="565" y="502"/>
                    </a:lnTo>
                    <a:lnTo>
                      <a:pt x="565" y="500"/>
                    </a:lnTo>
                    <a:close/>
                    <a:moveTo>
                      <a:pt x="569" y="705"/>
                    </a:moveTo>
                    <a:lnTo>
                      <a:pt x="569" y="706"/>
                    </a:lnTo>
                    <a:lnTo>
                      <a:pt x="569" y="705"/>
                    </a:lnTo>
                    <a:close/>
                    <a:moveTo>
                      <a:pt x="586" y="710"/>
                    </a:moveTo>
                    <a:lnTo>
                      <a:pt x="588" y="710"/>
                    </a:lnTo>
                    <a:lnTo>
                      <a:pt x="586" y="710"/>
                    </a:lnTo>
                    <a:close/>
                    <a:moveTo>
                      <a:pt x="561" y="531"/>
                    </a:moveTo>
                    <a:lnTo>
                      <a:pt x="563" y="531"/>
                    </a:lnTo>
                    <a:lnTo>
                      <a:pt x="563" y="533"/>
                    </a:lnTo>
                    <a:lnTo>
                      <a:pt x="561" y="533"/>
                    </a:lnTo>
                    <a:lnTo>
                      <a:pt x="561" y="531"/>
                    </a:lnTo>
                    <a:close/>
                    <a:moveTo>
                      <a:pt x="553" y="529"/>
                    </a:moveTo>
                    <a:lnTo>
                      <a:pt x="555" y="529"/>
                    </a:lnTo>
                    <a:lnTo>
                      <a:pt x="553" y="529"/>
                    </a:lnTo>
                    <a:close/>
                    <a:moveTo>
                      <a:pt x="555" y="693"/>
                    </a:moveTo>
                    <a:lnTo>
                      <a:pt x="555" y="695"/>
                    </a:lnTo>
                    <a:lnTo>
                      <a:pt x="555" y="693"/>
                    </a:lnTo>
                    <a:close/>
                    <a:moveTo>
                      <a:pt x="571" y="521"/>
                    </a:moveTo>
                    <a:lnTo>
                      <a:pt x="571" y="523"/>
                    </a:lnTo>
                    <a:lnTo>
                      <a:pt x="571" y="521"/>
                    </a:lnTo>
                    <a:close/>
                    <a:moveTo>
                      <a:pt x="584" y="752"/>
                    </a:moveTo>
                    <a:lnTo>
                      <a:pt x="586" y="752"/>
                    </a:lnTo>
                    <a:lnTo>
                      <a:pt x="584" y="752"/>
                    </a:lnTo>
                    <a:close/>
                    <a:moveTo>
                      <a:pt x="557" y="691"/>
                    </a:moveTo>
                    <a:lnTo>
                      <a:pt x="559" y="691"/>
                    </a:lnTo>
                    <a:lnTo>
                      <a:pt x="557" y="691"/>
                    </a:lnTo>
                    <a:close/>
                    <a:moveTo>
                      <a:pt x="580" y="453"/>
                    </a:moveTo>
                    <a:lnTo>
                      <a:pt x="582" y="453"/>
                    </a:lnTo>
                    <a:lnTo>
                      <a:pt x="582" y="455"/>
                    </a:lnTo>
                    <a:lnTo>
                      <a:pt x="580" y="455"/>
                    </a:lnTo>
                    <a:lnTo>
                      <a:pt x="580" y="453"/>
                    </a:lnTo>
                    <a:close/>
                    <a:moveTo>
                      <a:pt x="628" y="750"/>
                    </a:moveTo>
                    <a:lnTo>
                      <a:pt x="628" y="752"/>
                    </a:lnTo>
                    <a:lnTo>
                      <a:pt x="628" y="750"/>
                    </a:lnTo>
                    <a:close/>
                    <a:moveTo>
                      <a:pt x="555" y="703"/>
                    </a:moveTo>
                    <a:lnTo>
                      <a:pt x="555" y="705"/>
                    </a:lnTo>
                    <a:lnTo>
                      <a:pt x="555" y="703"/>
                    </a:lnTo>
                    <a:close/>
                    <a:moveTo>
                      <a:pt x="613" y="766"/>
                    </a:moveTo>
                    <a:lnTo>
                      <a:pt x="613" y="768"/>
                    </a:lnTo>
                    <a:lnTo>
                      <a:pt x="613" y="766"/>
                    </a:lnTo>
                    <a:close/>
                    <a:moveTo>
                      <a:pt x="593" y="735"/>
                    </a:moveTo>
                    <a:lnTo>
                      <a:pt x="593" y="737"/>
                    </a:lnTo>
                    <a:lnTo>
                      <a:pt x="593" y="735"/>
                    </a:lnTo>
                    <a:close/>
                    <a:moveTo>
                      <a:pt x="569" y="733"/>
                    </a:moveTo>
                    <a:lnTo>
                      <a:pt x="571" y="733"/>
                    </a:lnTo>
                    <a:lnTo>
                      <a:pt x="571" y="735"/>
                    </a:lnTo>
                    <a:lnTo>
                      <a:pt x="569" y="735"/>
                    </a:lnTo>
                    <a:lnTo>
                      <a:pt x="569" y="733"/>
                    </a:lnTo>
                    <a:close/>
                    <a:moveTo>
                      <a:pt x="595" y="752"/>
                    </a:moveTo>
                    <a:lnTo>
                      <a:pt x="595" y="754"/>
                    </a:lnTo>
                    <a:lnTo>
                      <a:pt x="595" y="752"/>
                    </a:lnTo>
                    <a:close/>
                    <a:moveTo>
                      <a:pt x="569" y="697"/>
                    </a:moveTo>
                    <a:lnTo>
                      <a:pt x="571" y="697"/>
                    </a:lnTo>
                    <a:lnTo>
                      <a:pt x="571" y="699"/>
                    </a:lnTo>
                    <a:lnTo>
                      <a:pt x="569" y="699"/>
                    </a:lnTo>
                    <a:lnTo>
                      <a:pt x="569" y="697"/>
                    </a:lnTo>
                    <a:close/>
                    <a:moveTo>
                      <a:pt x="552" y="664"/>
                    </a:moveTo>
                    <a:lnTo>
                      <a:pt x="553" y="664"/>
                    </a:lnTo>
                    <a:lnTo>
                      <a:pt x="553" y="666"/>
                    </a:lnTo>
                    <a:lnTo>
                      <a:pt x="552" y="666"/>
                    </a:lnTo>
                    <a:lnTo>
                      <a:pt x="552" y="664"/>
                    </a:lnTo>
                    <a:close/>
                    <a:moveTo>
                      <a:pt x="639" y="779"/>
                    </a:moveTo>
                    <a:lnTo>
                      <a:pt x="641" y="779"/>
                    </a:lnTo>
                    <a:lnTo>
                      <a:pt x="639" y="779"/>
                    </a:lnTo>
                    <a:close/>
                    <a:moveTo>
                      <a:pt x="555" y="602"/>
                    </a:moveTo>
                    <a:lnTo>
                      <a:pt x="557" y="602"/>
                    </a:lnTo>
                    <a:lnTo>
                      <a:pt x="557" y="603"/>
                    </a:lnTo>
                    <a:lnTo>
                      <a:pt x="555" y="603"/>
                    </a:lnTo>
                    <a:lnTo>
                      <a:pt x="555" y="602"/>
                    </a:lnTo>
                    <a:close/>
                    <a:moveTo>
                      <a:pt x="590" y="743"/>
                    </a:moveTo>
                    <a:lnTo>
                      <a:pt x="592" y="743"/>
                    </a:lnTo>
                    <a:lnTo>
                      <a:pt x="590" y="743"/>
                    </a:lnTo>
                    <a:close/>
                    <a:moveTo>
                      <a:pt x="544" y="588"/>
                    </a:moveTo>
                    <a:lnTo>
                      <a:pt x="546" y="588"/>
                    </a:lnTo>
                    <a:lnTo>
                      <a:pt x="546" y="590"/>
                    </a:lnTo>
                    <a:lnTo>
                      <a:pt x="544" y="590"/>
                    </a:lnTo>
                    <a:lnTo>
                      <a:pt x="544" y="588"/>
                    </a:lnTo>
                    <a:close/>
                    <a:moveTo>
                      <a:pt x="565" y="586"/>
                    </a:moveTo>
                    <a:lnTo>
                      <a:pt x="567" y="586"/>
                    </a:lnTo>
                    <a:lnTo>
                      <a:pt x="567" y="588"/>
                    </a:lnTo>
                    <a:lnTo>
                      <a:pt x="565" y="588"/>
                    </a:lnTo>
                    <a:lnTo>
                      <a:pt x="565" y="586"/>
                    </a:lnTo>
                    <a:close/>
                    <a:moveTo>
                      <a:pt x="590" y="743"/>
                    </a:moveTo>
                    <a:lnTo>
                      <a:pt x="592" y="743"/>
                    </a:lnTo>
                    <a:lnTo>
                      <a:pt x="592" y="745"/>
                    </a:lnTo>
                    <a:lnTo>
                      <a:pt x="590" y="745"/>
                    </a:lnTo>
                    <a:lnTo>
                      <a:pt x="590" y="743"/>
                    </a:lnTo>
                    <a:close/>
                    <a:moveTo>
                      <a:pt x="553" y="529"/>
                    </a:moveTo>
                    <a:lnTo>
                      <a:pt x="555" y="529"/>
                    </a:lnTo>
                    <a:lnTo>
                      <a:pt x="553" y="529"/>
                    </a:lnTo>
                    <a:close/>
                    <a:moveTo>
                      <a:pt x="578" y="747"/>
                    </a:moveTo>
                    <a:lnTo>
                      <a:pt x="578" y="748"/>
                    </a:lnTo>
                    <a:lnTo>
                      <a:pt x="578" y="747"/>
                    </a:lnTo>
                    <a:close/>
                    <a:moveTo>
                      <a:pt x="553" y="565"/>
                    </a:moveTo>
                    <a:lnTo>
                      <a:pt x="555" y="565"/>
                    </a:lnTo>
                    <a:lnTo>
                      <a:pt x="555" y="567"/>
                    </a:lnTo>
                    <a:lnTo>
                      <a:pt x="553" y="567"/>
                    </a:lnTo>
                    <a:lnTo>
                      <a:pt x="553" y="565"/>
                    </a:lnTo>
                    <a:close/>
                    <a:moveTo>
                      <a:pt x="569" y="506"/>
                    </a:moveTo>
                    <a:lnTo>
                      <a:pt x="569" y="508"/>
                    </a:lnTo>
                    <a:lnTo>
                      <a:pt x="569" y="506"/>
                    </a:lnTo>
                    <a:close/>
                    <a:moveTo>
                      <a:pt x="574" y="462"/>
                    </a:moveTo>
                    <a:lnTo>
                      <a:pt x="576" y="462"/>
                    </a:lnTo>
                    <a:lnTo>
                      <a:pt x="576" y="464"/>
                    </a:lnTo>
                    <a:lnTo>
                      <a:pt x="574" y="464"/>
                    </a:lnTo>
                    <a:lnTo>
                      <a:pt x="574" y="462"/>
                    </a:lnTo>
                    <a:close/>
                    <a:moveTo>
                      <a:pt x="569" y="733"/>
                    </a:moveTo>
                    <a:lnTo>
                      <a:pt x="571" y="733"/>
                    </a:lnTo>
                    <a:lnTo>
                      <a:pt x="569" y="733"/>
                    </a:lnTo>
                    <a:close/>
                    <a:moveTo>
                      <a:pt x="574" y="720"/>
                    </a:moveTo>
                    <a:lnTo>
                      <a:pt x="576" y="720"/>
                    </a:lnTo>
                    <a:lnTo>
                      <a:pt x="574" y="720"/>
                    </a:lnTo>
                    <a:close/>
                    <a:moveTo>
                      <a:pt x="536" y="619"/>
                    </a:moveTo>
                    <a:lnTo>
                      <a:pt x="538" y="619"/>
                    </a:lnTo>
                    <a:lnTo>
                      <a:pt x="536" y="619"/>
                    </a:lnTo>
                    <a:close/>
                    <a:moveTo>
                      <a:pt x="576" y="464"/>
                    </a:moveTo>
                    <a:lnTo>
                      <a:pt x="578" y="464"/>
                    </a:lnTo>
                    <a:lnTo>
                      <a:pt x="576" y="464"/>
                    </a:lnTo>
                    <a:close/>
                    <a:moveTo>
                      <a:pt x="624" y="781"/>
                    </a:moveTo>
                    <a:lnTo>
                      <a:pt x="626" y="781"/>
                    </a:lnTo>
                    <a:lnTo>
                      <a:pt x="624" y="781"/>
                    </a:lnTo>
                    <a:close/>
                    <a:moveTo>
                      <a:pt x="601" y="750"/>
                    </a:moveTo>
                    <a:lnTo>
                      <a:pt x="603" y="750"/>
                    </a:lnTo>
                    <a:lnTo>
                      <a:pt x="603" y="752"/>
                    </a:lnTo>
                    <a:lnTo>
                      <a:pt x="601" y="752"/>
                    </a:lnTo>
                    <a:lnTo>
                      <a:pt x="601" y="750"/>
                    </a:lnTo>
                    <a:close/>
                    <a:moveTo>
                      <a:pt x="599" y="756"/>
                    </a:moveTo>
                    <a:lnTo>
                      <a:pt x="599" y="758"/>
                    </a:lnTo>
                    <a:lnTo>
                      <a:pt x="599" y="756"/>
                    </a:lnTo>
                    <a:close/>
                    <a:moveTo>
                      <a:pt x="573" y="733"/>
                    </a:moveTo>
                    <a:lnTo>
                      <a:pt x="574" y="733"/>
                    </a:lnTo>
                    <a:lnTo>
                      <a:pt x="574" y="735"/>
                    </a:lnTo>
                    <a:lnTo>
                      <a:pt x="573" y="735"/>
                    </a:lnTo>
                    <a:lnTo>
                      <a:pt x="573" y="733"/>
                    </a:lnTo>
                    <a:close/>
                    <a:moveTo>
                      <a:pt x="555" y="649"/>
                    </a:moveTo>
                    <a:lnTo>
                      <a:pt x="557" y="649"/>
                    </a:lnTo>
                    <a:lnTo>
                      <a:pt x="555" y="649"/>
                    </a:lnTo>
                    <a:close/>
                    <a:moveTo>
                      <a:pt x="569" y="527"/>
                    </a:moveTo>
                    <a:lnTo>
                      <a:pt x="571" y="527"/>
                    </a:lnTo>
                    <a:lnTo>
                      <a:pt x="571" y="529"/>
                    </a:lnTo>
                    <a:lnTo>
                      <a:pt x="569" y="529"/>
                    </a:lnTo>
                    <a:lnTo>
                      <a:pt x="569" y="527"/>
                    </a:lnTo>
                    <a:close/>
                    <a:moveTo>
                      <a:pt x="597" y="718"/>
                    </a:moveTo>
                    <a:lnTo>
                      <a:pt x="597" y="720"/>
                    </a:lnTo>
                    <a:lnTo>
                      <a:pt x="597" y="718"/>
                    </a:lnTo>
                    <a:close/>
                    <a:moveTo>
                      <a:pt x="548" y="588"/>
                    </a:moveTo>
                    <a:lnTo>
                      <a:pt x="550" y="588"/>
                    </a:lnTo>
                    <a:lnTo>
                      <a:pt x="548" y="588"/>
                    </a:lnTo>
                    <a:close/>
                    <a:moveTo>
                      <a:pt x="576" y="455"/>
                    </a:moveTo>
                    <a:lnTo>
                      <a:pt x="578" y="455"/>
                    </a:lnTo>
                    <a:lnTo>
                      <a:pt x="576" y="455"/>
                    </a:lnTo>
                    <a:close/>
                    <a:moveTo>
                      <a:pt x="555" y="672"/>
                    </a:moveTo>
                    <a:lnTo>
                      <a:pt x="557" y="672"/>
                    </a:lnTo>
                    <a:lnTo>
                      <a:pt x="557" y="674"/>
                    </a:lnTo>
                    <a:lnTo>
                      <a:pt x="555" y="674"/>
                    </a:lnTo>
                    <a:lnTo>
                      <a:pt x="555" y="672"/>
                    </a:lnTo>
                    <a:close/>
                    <a:moveTo>
                      <a:pt x="574" y="733"/>
                    </a:moveTo>
                    <a:lnTo>
                      <a:pt x="574" y="735"/>
                    </a:lnTo>
                    <a:lnTo>
                      <a:pt x="574" y="733"/>
                    </a:lnTo>
                    <a:close/>
                    <a:moveTo>
                      <a:pt x="576" y="451"/>
                    </a:moveTo>
                    <a:lnTo>
                      <a:pt x="578" y="451"/>
                    </a:lnTo>
                    <a:lnTo>
                      <a:pt x="578" y="453"/>
                    </a:lnTo>
                    <a:lnTo>
                      <a:pt x="576" y="453"/>
                    </a:lnTo>
                    <a:lnTo>
                      <a:pt x="576" y="451"/>
                    </a:lnTo>
                    <a:close/>
                    <a:moveTo>
                      <a:pt x="565" y="674"/>
                    </a:moveTo>
                    <a:lnTo>
                      <a:pt x="565" y="676"/>
                    </a:lnTo>
                    <a:lnTo>
                      <a:pt x="565" y="674"/>
                    </a:lnTo>
                    <a:close/>
                    <a:moveTo>
                      <a:pt x="559" y="701"/>
                    </a:moveTo>
                    <a:lnTo>
                      <a:pt x="559" y="703"/>
                    </a:lnTo>
                    <a:lnTo>
                      <a:pt x="559" y="701"/>
                    </a:lnTo>
                    <a:close/>
                    <a:moveTo>
                      <a:pt x="557" y="689"/>
                    </a:moveTo>
                    <a:lnTo>
                      <a:pt x="559" y="689"/>
                    </a:lnTo>
                    <a:lnTo>
                      <a:pt x="559" y="691"/>
                    </a:lnTo>
                    <a:lnTo>
                      <a:pt x="557" y="691"/>
                    </a:lnTo>
                    <a:lnTo>
                      <a:pt x="557" y="689"/>
                    </a:lnTo>
                    <a:close/>
                    <a:moveTo>
                      <a:pt x="548" y="586"/>
                    </a:moveTo>
                    <a:lnTo>
                      <a:pt x="550" y="586"/>
                    </a:lnTo>
                    <a:lnTo>
                      <a:pt x="550" y="588"/>
                    </a:lnTo>
                    <a:lnTo>
                      <a:pt x="548" y="588"/>
                    </a:lnTo>
                    <a:lnTo>
                      <a:pt x="548" y="586"/>
                    </a:lnTo>
                    <a:close/>
                    <a:moveTo>
                      <a:pt x="584" y="705"/>
                    </a:moveTo>
                    <a:lnTo>
                      <a:pt x="586" y="705"/>
                    </a:lnTo>
                    <a:lnTo>
                      <a:pt x="586" y="706"/>
                    </a:lnTo>
                    <a:lnTo>
                      <a:pt x="584" y="706"/>
                    </a:lnTo>
                    <a:lnTo>
                      <a:pt x="584" y="705"/>
                    </a:lnTo>
                    <a:close/>
                    <a:moveTo>
                      <a:pt x="565" y="590"/>
                    </a:moveTo>
                    <a:lnTo>
                      <a:pt x="567" y="590"/>
                    </a:lnTo>
                    <a:lnTo>
                      <a:pt x="565" y="590"/>
                    </a:lnTo>
                    <a:close/>
                    <a:moveTo>
                      <a:pt x="569" y="504"/>
                    </a:moveTo>
                    <a:lnTo>
                      <a:pt x="571" y="504"/>
                    </a:lnTo>
                    <a:lnTo>
                      <a:pt x="569" y="504"/>
                    </a:lnTo>
                    <a:close/>
                    <a:moveTo>
                      <a:pt x="574" y="735"/>
                    </a:moveTo>
                    <a:lnTo>
                      <a:pt x="576" y="735"/>
                    </a:lnTo>
                    <a:lnTo>
                      <a:pt x="574" y="735"/>
                    </a:lnTo>
                    <a:close/>
                    <a:moveTo>
                      <a:pt x="567" y="724"/>
                    </a:moveTo>
                    <a:lnTo>
                      <a:pt x="569" y="724"/>
                    </a:lnTo>
                    <a:lnTo>
                      <a:pt x="569" y="726"/>
                    </a:lnTo>
                    <a:lnTo>
                      <a:pt x="567" y="726"/>
                    </a:lnTo>
                    <a:lnTo>
                      <a:pt x="567" y="724"/>
                    </a:lnTo>
                    <a:close/>
                    <a:moveTo>
                      <a:pt x="553" y="657"/>
                    </a:moveTo>
                    <a:lnTo>
                      <a:pt x="553" y="659"/>
                    </a:lnTo>
                    <a:lnTo>
                      <a:pt x="553" y="657"/>
                    </a:lnTo>
                    <a:close/>
                    <a:moveTo>
                      <a:pt x="565" y="682"/>
                    </a:moveTo>
                    <a:lnTo>
                      <a:pt x="567" y="682"/>
                    </a:lnTo>
                    <a:lnTo>
                      <a:pt x="565" y="682"/>
                    </a:lnTo>
                    <a:close/>
                    <a:moveTo>
                      <a:pt x="653" y="785"/>
                    </a:moveTo>
                    <a:lnTo>
                      <a:pt x="653" y="787"/>
                    </a:lnTo>
                    <a:lnTo>
                      <a:pt x="653" y="785"/>
                    </a:lnTo>
                    <a:close/>
                    <a:moveTo>
                      <a:pt x="571" y="506"/>
                    </a:moveTo>
                    <a:lnTo>
                      <a:pt x="571" y="508"/>
                    </a:lnTo>
                    <a:lnTo>
                      <a:pt x="571" y="506"/>
                    </a:lnTo>
                    <a:close/>
                    <a:moveTo>
                      <a:pt x="552" y="699"/>
                    </a:moveTo>
                    <a:lnTo>
                      <a:pt x="552" y="701"/>
                    </a:lnTo>
                    <a:lnTo>
                      <a:pt x="552" y="699"/>
                    </a:lnTo>
                    <a:close/>
                    <a:moveTo>
                      <a:pt x="544" y="617"/>
                    </a:moveTo>
                    <a:lnTo>
                      <a:pt x="544" y="619"/>
                    </a:lnTo>
                    <a:lnTo>
                      <a:pt x="544" y="617"/>
                    </a:lnTo>
                    <a:close/>
                    <a:moveTo>
                      <a:pt x="563" y="703"/>
                    </a:moveTo>
                    <a:lnTo>
                      <a:pt x="565" y="703"/>
                    </a:lnTo>
                    <a:lnTo>
                      <a:pt x="563" y="703"/>
                    </a:lnTo>
                    <a:close/>
                    <a:moveTo>
                      <a:pt x="613" y="773"/>
                    </a:moveTo>
                    <a:lnTo>
                      <a:pt x="613" y="775"/>
                    </a:lnTo>
                    <a:lnTo>
                      <a:pt x="613" y="773"/>
                    </a:lnTo>
                    <a:close/>
                    <a:moveTo>
                      <a:pt x="550" y="699"/>
                    </a:moveTo>
                    <a:lnTo>
                      <a:pt x="552" y="699"/>
                    </a:lnTo>
                    <a:lnTo>
                      <a:pt x="552" y="701"/>
                    </a:lnTo>
                    <a:lnTo>
                      <a:pt x="550" y="701"/>
                    </a:lnTo>
                    <a:lnTo>
                      <a:pt x="550" y="699"/>
                    </a:lnTo>
                    <a:close/>
                    <a:moveTo>
                      <a:pt x="555" y="687"/>
                    </a:moveTo>
                    <a:lnTo>
                      <a:pt x="555" y="689"/>
                    </a:lnTo>
                    <a:lnTo>
                      <a:pt x="555" y="687"/>
                    </a:lnTo>
                    <a:close/>
                    <a:moveTo>
                      <a:pt x="628" y="781"/>
                    </a:moveTo>
                    <a:lnTo>
                      <a:pt x="628" y="783"/>
                    </a:lnTo>
                    <a:lnTo>
                      <a:pt x="628" y="781"/>
                    </a:lnTo>
                    <a:close/>
                    <a:moveTo>
                      <a:pt x="593" y="735"/>
                    </a:moveTo>
                    <a:lnTo>
                      <a:pt x="593" y="737"/>
                    </a:lnTo>
                    <a:lnTo>
                      <a:pt x="593" y="735"/>
                    </a:lnTo>
                    <a:close/>
                    <a:moveTo>
                      <a:pt x="550" y="655"/>
                    </a:moveTo>
                    <a:lnTo>
                      <a:pt x="550" y="657"/>
                    </a:lnTo>
                    <a:lnTo>
                      <a:pt x="550" y="655"/>
                    </a:lnTo>
                    <a:close/>
                    <a:moveTo>
                      <a:pt x="593" y="760"/>
                    </a:moveTo>
                    <a:lnTo>
                      <a:pt x="595" y="760"/>
                    </a:lnTo>
                    <a:lnTo>
                      <a:pt x="593" y="760"/>
                    </a:lnTo>
                    <a:close/>
                    <a:moveTo>
                      <a:pt x="588" y="710"/>
                    </a:moveTo>
                    <a:lnTo>
                      <a:pt x="588" y="712"/>
                    </a:lnTo>
                    <a:lnTo>
                      <a:pt x="588" y="710"/>
                    </a:lnTo>
                    <a:close/>
                    <a:moveTo>
                      <a:pt x="582" y="470"/>
                    </a:moveTo>
                    <a:lnTo>
                      <a:pt x="582" y="472"/>
                    </a:lnTo>
                    <a:lnTo>
                      <a:pt x="582" y="470"/>
                    </a:lnTo>
                    <a:close/>
                    <a:moveTo>
                      <a:pt x="565" y="678"/>
                    </a:moveTo>
                    <a:lnTo>
                      <a:pt x="565" y="680"/>
                    </a:lnTo>
                    <a:lnTo>
                      <a:pt x="565" y="678"/>
                    </a:lnTo>
                    <a:close/>
                    <a:moveTo>
                      <a:pt x="571" y="523"/>
                    </a:moveTo>
                    <a:lnTo>
                      <a:pt x="573" y="523"/>
                    </a:lnTo>
                    <a:lnTo>
                      <a:pt x="573" y="525"/>
                    </a:lnTo>
                    <a:lnTo>
                      <a:pt x="571" y="525"/>
                    </a:lnTo>
                    <a:lnTo>
                      <a:pt x="571" y="523"/>
                    </a:lnTo>
                    <a:close/>
                    <a:moveTo>
                      <a:pt x="571" y="720"/>
                    </a:moveTo>
                    <a:lnTo>
                      <a:pt x="573" y="720"/>
                    </a:lnTo>
                    <a:lnTo>
                      <a:pt x="571" y="720"/>
                    </a:lnTo>
                    <a:close/>
                    <a:moveTo>
                      <a:pt x="571" y="737"/>
                    </a:moveTo>
                    <a:lnTo>
                      <a:pt x="573" y="737"/>
                    </a:lnTo>
                    <a:lnTo>
                      <a:pt x="571" y="737"/>
                    </a:lnTo>
                    <a:close/>
                    <a:moveTo>
                      <a:pt x="555" y="670"/>
                    </a:moveTo>
                    <a:lnTo>
                      <a:pt x="555" y="672"/>
                    </a:lnTo>
                    <a:lnTo>
                      <a:pt x="555" y="670"/>
                    </a:lnTo>
                    <a:close/>
                    <a:moveTo>
                      <a:pt x="677" y="779"/>
                    </a:moveTo>
                    <a:lnTo>
                      <a:pt x="679" y="779"/>
                    </a:lnTo>
                    <a:lnTo>
                      <a:pt x="677" y="779"/>
                    </a:lnTo>
                    <a:close/>
                    <a:moveTo>
                      <a:pt x="569" y="588"/>
                    </a:moveTo>
                    <a:lnTo>
                      <a:pt x="571" y="588"/>
                    </a:lnTo>
                    <a:lnTo>
                      <a:pt x="569" y="588"/>
                    </a:lnTo>
                    <a:close/>
                    <a:moveTo>
                      <a:pt x="609" y="764"/>
                    </a:moveTo>
                    <a:lnTo>
                      <a:pt x="611" y="764"/>
                    </a:lnTo>
                    <a:lnTo>
                      <a:pt x="609" y="764"/>
                    </a:lnTo>
                    <a:close/>
                    <a:moveTo>
                      <a:pt x="571" y="519"/>
                    </a:moveTo>
                    <a:lnTo>
                      <a:pt x="573" y="519"/>
                    </a:lnTo>
                    <a:lnTo>
                      <a:pt x="573" y="521"/>
                    </a:lnTo>
                    <a:lnTo>
                      <a:pt x="571" y="521"/>
                    </a:lnTo>
                    <a:lnTo>
                      <a:pt x="571" y="519"/>
                    </a:lnTo>
                    <a:close/>
                    <a:moveTo>
                      <a:pt x="557" y="682"/>
                    </a:moveTo>
                    <a:lnTo>
                      <a:pt x="559" y="682"/>
                    </a:lnTo>
                    <a:lnTo>
                      <a:pt x="557" y="682"/>
                    </a:lnTo>
                    <a:close/>
                    <a:moveTo>
                      <a:pt x="571" y="596"/>
                    </a:moveTo>
                    <a:lnTo>
                      <a:pt x="573" y="596"/>
                    </a:lnTo>
                    <a:lnTo>
                      <a:pt x="571" y="596"/>
                    </a:lnTo>
                    <a:close/>
                    <a:moveTo>
                      <a:pt x="597" y="762"/>
                    </a:moveTo>
                    <a:lnTo>
                      <a:pt x="599" y="762"/>
                    </a:lnTo>
                    <a:lnTo>
                      <a:pt x="597" y="762"/>
                    </a:lnTo>
                    <a:close/>
                    <a:moveTo>
                      <a:pt x="624" y="771"/>
                    </a:moveTo>
                    <a:lnTo>
                      <a:pt x="626" y="771"/>
                    </a:lnTo>
                    <a:lnTo>
                      <a:pt x="624" y="771"/>
                    </a:lnTo>
                    <a:close/>
                    <a:moveTo>
                      <a:pt x="563" y="676"/>
                    </a:moveTo>
                    <a:lnTo>
                      <a:pt x="565" y="676"/>
                    </a:lnTo>
                    <a:lnTo>
                      <a:pt x="563" y="676"/>
                    </a:lnTo>
                    <a:close/>
                    <a:moveTo>
                      <a:pt x="576" y="739"/>
                    </a:moveTo>
                    <a:lnTo>
                      <a:pt x="578" y="739"/>
                    </a:lnTo>
                    <a:lnTo>
                      <a:pt x="576" y="739"/>
                    </a:lnTo>
                    <a:close/>
                    <a:moveTo>
                      <a:pt x="592" y="752"/>
                    </a:moveTo>
                    <a:lnTo>
                      <a:pt x="593" y="752"/>
                    </a:lnTo>
                    <a:lnTo>
                      <a:pt x="592" y="752"/>
                    </a:lnTo>
                    <a:close/>
                    <a:moveTo>
                      <a:pt x="578" y="748"/>
                    </a:moveTo>
                    <a:lnTo>
                      <a:pt x="580" y="748"/>
                    </a:lnTo>
                    <a:lnTo>
                      <a:pt x="578" y="748"/>
                    </a:lnTo>
                    <a:close/>
                    <a:moveTo>
                      <a:pt x="567" y="519"/>
                    </a:moveTo>
                    <a:lnTo>
                      <a:pt x="569" y="519"/>
                    </a:lnTo>
                    <a:lnTo>
                      <a:pt x="567" y="519"/>
                    </a:lnTo>
                    <a:close/>
                    <a:moveTo>
                      <a:pt x="561" y="691"/>
                    </a:moveTo>
                    <a:lnTo>
                      <a:pt x="563" y="691"/>
                    </a:lnTo>
                    <a:lnTo>
                      <a:pt x="561" y="691"/>
                    </a:lnTo>
                    <a:close/>
                    <a:moveTo>
                      <a:pt x="595" y="762"/>
                    </a:moveTo>
                    <a:lnTo>
                      <a:pt x="595" y="764"/>
                    </a:lnTo>
                    <a:lnTo>
                      <a:pt x="595" y="762"/>
                    </a:lnTo>
                    <a:close/>
                    <a:moveTo>
                      <a:pt x="553" y="693"/>
                    </a:moveTo>
                    <a:lnTo>
                      <a:pt x="555" y="693"/>
                    </a:lnTo>
                    <a:lnTo>
                      <a:pt x="553" y="693"/>
                    </a:lnTo>
                    <a:close/>
                    <a:moveTo>
                      <a:pt x="639" y="777"/>
                    </a:moveTo>
                    <a:lnTo>
                      <a:pt x="641" y="777"/>
                    </a:lnTo>
                    <a:lnTo>
                      <a:pt x="639" y="777"/>
                    </a:lnTo>
                    <a:close/>
                    <a:moveTo>
                      <a:pt x="653" y="785"/>
                    </a:moveTo>
                    <a:lnTo>
                      <a:pt x="653" y="787"/>
                    </a:lnTo>
                    <a:lnTo>
                      <a:pt x="653" y="785"/>
                    </a:lnTo>
                    <a:close/>
                    <a:moveTo>
                      <a:pt x="649" y="785"/>
                    </a:moveTo>
                    <a:lnTo>
                      <a:pt x="649" y="787"/>
                    </a:lnTo>
                    <a:lnTo>
                      <a:pt x="649" y="785"/>
                    </a:lnTo>
                    <a:close/>
                    <a:moveTo>
                      <a:pt x="601" y="201"/>
                    </a:moveTo>
                    <a:lnTo>
                      <a:pt x="603" y="201"/>
                    </a:lnTo>
                    <a:lnTo>
                      <a:pt x="603" y="203"/>
                    </a:lnTo>
                    <a:lnTo>
                      <a:pt x="601" y="203"/>
                    </a:lnTo>
                    <a:lnTo>
                      <a:pt x="601" y="201"/>
                    </a:lnTo>
                    <a:close/>
                    <a:moveTo>
                      <a:pt x="569" y="531"/>
                    </a:moveTo>
                    <a:lnTo>
                      <a:pt x="571" y="531"/>
                    </a:lnTo>
                    <a:lnTo>
                      <a:pt x="569" y="531"/>
                    </a:lnTo>
                    <a:close/>
                    <a:moveTo>
                      <a:pt x="614" y="773"/>
                    </a:moveTo>
                    <a:lnTo>
                      <a:pt x="614" y="775"/>
                    </a:lnTo>
                    <a:lnTo>
                      <a:pt x="614" y="773"/>
                    </a:lnTo>
                    <a:close/>
                    <a:moveTo>
                      <a:pt x="557" y="661"/>
                    </a:moveTo>
                    <a:lnTo>
                      <a:pt x="559" y="661"/>
                    </a:lnTo>
                    <a:lnTo>
                      <a:pt x="559" y="663"/>
                    </a:lnTo>
                    <a:lnTo>
                      <a:pt x="557" y="663"/>
                    </a:lnTo>
                    <a:lnTo>
                      <a:pt x="557" y="661"/>
                    </a:lnTo>
                    <a:close/>
                    <a:moveTo>
                      <a:pt x="567" y="504"/>
                    </a:moveTo>
                    <a:lnTo>
                      <a:pt x="569" y="504"/>
                    </a:lnTo>
                    <a:lnTo>
                      <a:pt x="567" y="504"/>
                    </a:lnTo>
                    <a:close/>
                    <a:moveTo>
                      <a:pt x="563" y="495"/>
                    </a:moveTo>
                    <a:lnTo>
                      <a:pt x="563" y="497"/>
                    </a:lnTo>
                    <a:lnTo>
                      <a:pt x="563" y="495"/>
                    </a:lnTo>
                    <a:close/>
                    <a:moveTo>
                      <a:pt x="569" y="500"/>
                    </a:moveTo>
                    <a:lnTo>
                      <a:pt x="569" y="502"/>
                    </a:lnTo>
                    <a:lnTo>
                      <a:pt x="569" y="500"/>
                    </a:lnTo>
                    <a:close/>
                    <a:moveTo>
                      <a:pt x="550" y="537"/>
                    </a:moveTo>
                    <a:lnTo>
                      <a:pt x="550" y="539"/>
                    </a:lnTo>
                    <a:lnTo>
                      <a:pt x="550" y="537"/>
                    </a:lnTo>
                    <a:close/>
                    <a:moveTo>
                      <a:pt x="555" y="603"/>
                    </a:moveTo>
                    <a:lnTo>
                      <a:pt x="555" y="605"/>
                    </a:lnTo>
                    <a:lnTo>
                      <a:pt x="555" y="603"/>
                    </a:lnTo>
                    <a:close/>
                    <a:moveTo>
                      <a:pt x="655" y="785"/>
                    </a:moveTo>
                    <a:lnTo>
                      <a:pt x="655" y="787"/>
                    </a:lnTo>
                    <a:lnTo>
                      <a:pt x="655" y="785"/>
                    </a:lnTo>
                    <a:close/>
                    <a:moveTo>
                      <a:pt x="557" y="699"/>
                    </a:moveTo>
                    <a:lnTo>
                      <a:pt x="557" y="701"/>
                    </a:lnTo>
                    <a:lnTo>
                      <a:pt x="557" y="699"/>
                    </a:lnTo>
                    <a:close/>
                    <a:moveTo>
                      <a:pt x="576" y="741"/>
                    </a:moveTo>
                    <a:lnTo>
                      <a:pt x="578" y="741"/>
                    </a:lnTo>
                    <a:lnTo>
                      <a:pt x="576" y="741"/>
                    </a:lnTo>
                    <a:close/>
                    <a:moveTo>
                      <a:pt x="540" y="628"/>
                    </a:moveTo>
                    <a:lnTo>
                      <a:pt x="540" y="630"/>
                    </a:lnTo>
                    <a:lnTo>
                      <a:pt x="540" y="628"/>
                    </a:lnTo>
                    <a:close/>
                    <a:moveTo>
                      <a:pt x="548" y="628"/>
                    </a:moveTo>
                    <a:lnTo>
                      <a:pt x="550" y="628"/>
                    </a:lnTo>
                    <a:lnTo>
                      <a:pt x="550" y="630"/>
                    </a:lnTo>
                    <a:lnTo>
                      <a:pt x="548" y="630"/>
                    </a:lnTo>
                    <a:lnTo>
                      <a:pt x="548" y="628"/>
                    </a:lnTo>
                    <a:close/>
                    <a:moveTo>
                      <a:pt x="603" y="762"/>
                    </a:moveTo>
                    <a:lnTo>
                      <a:pt x="603" y="764"/>
                    </a:lnTo>
                    <a:lnTo>
                      <a:pt x="603" y="762"/>
                    </a:lnTo>
                    <a:close/>
                    <a:moveTo>
                      <a:pt x="559" y="687"/>
                    </a:moveTo>
                    <a:lnTo>
                      <a:pt x="559" y="689"/>
                    </a:lnTo>
                    <a:lnTo>
                      <a:pt x="559" y="687"/>
                    </a:lnTo>
                    <a:close/>
                    <a:moveTo>
                      <a:pt x="559" y="691"/>
                    </a:moveTo>
                    <a:lnTo>
                      <a:pt x="561" y="691"/>
                    </a:lnTo>
                    <a:lnTo>
                      <a:pt x="559" y="691"/>
                    </a:lnTo>
                    <a:close/>
                    <a:moveTo>
                      <a:pt x="588" y="754"/>
                    </a:moveTo>
                    <a:lnTo>
                      <a:pt x="590" y="754"/>
                    </a:lnTo>
                    <a:lnTo>
                      <a:pt x="588" y="754"/>
                    </a:lnTo>
                    <a:close/>
                    <a:moveTo>
                      <a:pt x="538" y="617"/>
                    </a:moveTo>
                    <a:lnTo>
                      <a:pt x="538" y="619"/>
                    </a:lnTo>
                    <a:lnTo>
                      <a:pt x="538" y="617"/>
                    </a:lnTo>
                    <a:close/>
                    <a:moveTo>
                      <a:pt x="555" y="705"/>
                    </a:moveTo>
                    <a:lnTo>
                      <a:pt x="557" y="705"/>
                    </a:lnTo>
                    <a:lnTo>
                      <a:pt x="555" y="705"/>
                    </a:lnTo>
                    <a:close/>
                    <a:moveTo>
                      <a:pt x="580" y="747"/>
                    </a:moveTo>
                    <a:lnTo>
                      <a:pt x="582" y="747"/>
                    </a:lnTo>
                    <a:lnTo>
                      <a:pt x="582" y="748"/>
                    </a:lnTo>
                    <a:lnTo>
                      <a:pt x="580" y="748"/>
                    </a:lnTo>
                    <a:lnTo>
                      <a:pt x="580" y="747"/>
                    </a:lnTo>
                    <a:close/>
                    <a:moveTo>
                      <a:pt x="571" y="525"/>
                    </a:moveTo>
                    <a:lnTo>
                      <a:pt x="571" y="527"/>
                    </a:lnTo>
                    <a:lnTo>
                      <a:pt x="571" y="525"/>
                    </a:lnTo>
                    <a:close/>
                    <a:moveTo>
                      <a:pt x="582" y="531"/>
                    </a:moveTo>
                    <a:lnTo>
                      <a:pt x="582" y="533"/>
                    </a:lnTo>
                    <a:lnTo>
                      <a:pt x="582" y="531"/>
                    </a:lnTo>
                    <a:close/>
                    <a:moveTo>
                      <a:pt x="593" y="750"/>
                    </a:moveTo>
                    <a:lnTo>
                      <a:pt x="593" y="752"/>
                    </a:lnTo>
                    <a:lnTo>
                      <a:pt x="593" y="750"/>
                    </a:lnTo>
                    <a:close/>
                    <a:moveTo>
                      <a:pt x="557" y="689"/>
                    </a:moveTo>
                    <a:lnTo>
                      <a:pt x="559" y="689"/>
                    </a:lnTo>
                    <a:lnTo>
                      <a:pt x="557" y="689"/>
                    </a:lnTo>
                    <a:close/>
                    <a:moveTo>
                      <a:pt x="565" y="672"/>
                    </a:moveTo>
                    <a:lnTo>
                      <a:pt x="565" y="674"/>
                    </a:lnTo>
                    <a:lnTo>
                      <a:pt x="565" y="672"/>
                    </a:lnTo>
                    <a:close/>
                    <a:moveTo>
                      <a:pt x="567" y="500"/>
                    </a:moveTo>
                    <a:lnTo>
                      <a:pt x="569" y="500"/>
                    </a:lnTo>
                    <a:lnTo>
                      <a:pt x="567" y="500"/>
                    </a:lnTo>
                    <a:close/>
                    <a:moveTo>
                      <a:pt x="603" y="754"/>
                    </a:moveTo>
                    <a:lnTo>
                      <a:pt x="605" y="754"/>
                    </a:lnTo>
                    <a:lnTo>
                      <a:pt x="603" y="754"/>
                    </a:lnTo>
                    <a:close/>
                    <a:moveTo>
                      <a:pt x="557" y="649"/>
                    </a:moveTo>
                    <a:lnTo>
                      <a:pt x="557" y="651"/>
                    </a:lnTo>
                    <a:lnTo>
                      <a:pt x="557" y="649"/>
                    </a:lnTo>
                    <a:close/>
                    <a:moveTo>
                      <a:pt x="561" y="582"/>
                    </a:moveTo>
                    <a:lnTo>
                      <a:pt x="563" y="582"/>
                    </a:lnTo>
                    <a:lnTo>
                      <a:pt x="561" y="582"/>
                    </a:lnTo>
                    <a:close/>
                    <a:moveTo>
                      <a:pt x="576" y="741"/>
                    </a:moveTo>
                    <a:lnTo>
                      <a:pt x="578" y="741"/>
                    </a:lnTo>
                    <a:lnTo>
                      <a:pt x="578" y="743"/>
                    </a:lnTo>
                    <a:lnTo>
                      <a:pt x="576" y="743"/>
                    </a:lnTo>
                    <a:lnTo>
                      <a:pt x="576" y="741"/>
                    </a:lnTo>
                    <a:close/>
                    <a:moveTo>
                      <a:pt x="559" y="519"/>
                    </a:moveTo>
                    <a:lnTo>
                      <a:pt x="561" y="519"/>
                    </a:lnTo>
                    <a:lnTo>
                      <a:pt x="559" y="519"/>
                    </a:lnTo>
                    <a:close/>
                    <a:moveTo>
                      <a:pt x="592" y="748"/>
                    </a:moveTo>
                    <a:lnTo>
                      <a:pt x="592" y="750"/>
                    </a:lnTo>
                    <a:lnTo>
                      <a:pt x="592" y="748"/>
                    </a:lnTo>
                    <a:close/>
                    <a:moveTo>
                      <a:pt x="557" y="676"/>
                    </a:moveTo>
                    <a:lnTo>
                      <a:pt x="559" y="676"/>
                    </a:lnTo>
                    <a:lnTo>
                      <a:pt x="557" y="676"/>
                    </a:lnTo>
                    <a:close/>
                    <a:moveTo>
                      <a:pt x="538" y="617"/>
                    </a:moveTo>
                    <a:lnTo>
                      <a:pt x="540" y="617"/>
                    </a:lnTo>
                    <a:lnTo>
                      <a:pt x="540" y="619"/>
                    </a:lnTo>
                    <a:lnTo>
                      <a:pt x="538" y="619"/>
                    </a:lnTo>
                    <a:lnTo>
                      <a:pt x="538" y="617"/>
                    </a:lnTo>
                    <a:close/>
                    <a:moveTo>
                      <a:pt x="557" y="504"/>
                    </a:moveTo>
                    <a:lnTo>
                      <a:pt x="559" y="504"/>
                    </a:lnTo>
                    <a:lnTo>
                      <a:pt x="557" y="504"/>
                    </a:lnTo>
                    <a:close/>
                    <a:moveTo>
                      <a:pt x="561" y="539"/>
                    </a:moveTo>
                    <a:lnTo>
                      <a:pt x="563" y="539"/>
                    </a:lnTo>
                    <a:lnTo>
                      <a:pt x="563" y="540"/>
                    </a:lnTo>
                    <a:lnTo>
                      <a:pt x="561" y="540"/>
                    </a:lnTo>
                    <a:lnTo>
                      <a:pt x="561" y="539"/>
                    </a:lnTo>
                    <a:close/>
                    <a:moveTo>
                      <a:pt x="569" y="508"/>
                    </a:moveTo>
                    <a:lnTo>
                      <a:pt x="571" y="508"/>
                    </a:lnTo>
                    <a:lnTo>
                      <a:pt x="569" y="508"/>
                    </a:lnTo>
                    <a:close/>
                    <a:moveTo>
                      <a:pt x="563" y="691"/>
                    </a:moveTo>
                    <a:lnTo>
                      <a:pt x="563" y="693"/>
                    </a:lnTo>
                    <a:lnTo>
                      <a:pt x="563" y="691"/>
                    </a:lnTo>
                    <a:close/>
                    <a:moveTo>
                      <a:pt x="550" y="634"/>
                    </a:moveTo>
                    <a:lnTo>
                      <a:pt x="550" y="636"/>
                    </a:lnTo>
                    <a:lnTo>
                      <a:pt x="550" y="634"/>
                    </a:lnTo>
                    <a:close/>
                    <a:moveTo>
                      <a:pt x="565" y="720"/>
                    </a:moveTo>
                    <a:lnTo>
                      <a:pt x="567" y="720"/>
                    </a:lnTo>
                    <a:lnTo>
                      <a:pt x="565" y="720"/>
                    </a:lnTo>
                    <a:close/>
                    <a:moveTo>
                      <a:pt x="588" y="449"/>
                    </a:moveTo>
                    <a:lnTo>
                      <a:pt x="588" y="451"/>
                    </a:lnTo>
                    <a:lnTo>
                      <a:pt x="588" y="449"/>
                    </a:lnTo>
                    <a:close/>
                    <a:moveTo>
                      <a:pt x="603" y="754"/>
                    </a:moveTo>
                    <a:lnTo>
                      <a:pt x="605" y="754"/>
                    </a:lnTo>
                    <a:lnTo>
                      <a:pt x="603" y="754"/>
                    </a:lnTo>
                    <a:close/>
                    <a:moveTo>
                      <a:pt x="607" y="766"/>
                    </a:moveTo>
                    <a:lnTo>
                      <a:pt x="609" y="766"/>
                    </a:lnTo>
                    <a:lnTo>
                      <a:pt x="607" y="766"/>
                    </a:lnTo>
                    <a:close/>
                    <a:moveTo>
                      <a:pt x="593" y="748"/>
                    </a:moveTo>
                    <a:lnTo>
                      <a:pt x="595" y="748"/>
                    </a:lnTo>
                    <a:lnTo>
                      <a:pt x="595" y="750"/>
                    </a:lnTo>
                    <a:lnTo>
                      <a:pt x="593" y="750"/>
                    </a:lnTo>
                    <a:lnTo>
                      <a:pt x="593" y="748"/>
                    </a:lnTo>
                    <a:close/>
                    <a:moveTo>
                      <a:pt x="544" y="560"/>
                    </a:moveTo>
                    <a:lnTo>
                      <a:pt x="544" y="561"/>
                    </a:lnTo>
                    <a:lnTo>
                      <a:pt x="544" y="560"/>
                    </a:lnTo>
                    <a:close/>
                    <a:moveTo>
                      <a:pt x="548" y="661"/>
                    </a:moveTo>
                    <a:lnTo>
                      <a:pt x="550" y="661"/>
                    </a:lnTo>
                    <a:lnTo>
                      <a:pt x="548" y="661"/>
                    </a:lnTo>
                    <a:close/>
                    <a:moveTo>
                      <a:pt x="574" y="720"/>
                    </a:moveTo>
                    <a:lnTo>
                      <a:pt x="576" y="720"/>
                    </a:lnTo>
                    <a:lnTo>
                      <a:pt x="576" y="722"/>
                    </a:lnTo>
                    <a:lnTo>
                      <a:pt x="574" y="722"/>
                    </a:lnTo>
                    <a:lnTo>
                      <a:pt x="574" y="720"/>
                    </a:lnTo>
                    <a:close/>
                    <a:moveTo>
                      <a:pt x="546" y="640"/>
                    </a:moveTo>
                    <a:lnTo>
                      <a:pt x="546" y="642"/>
                    </a:lnTo>
                    <a:lnTo>
                      <a:pt x="546" y="640"/>
                    </a:lnTo>
                    <a:close/>
                    <a:moveTo>
                      <a:pt x="553" y="655"/>
                    </a:moveTo>
                    <a:lnTo>
                      <a:pt x="555" y="655"/>
                    </a:lnTo>
                    <a:lnTo>
                      <a:pt x="553" y="655"/>
                    </a:lnTo>
                    <a:close/>
                    <a:moveTo>
                      <a:pt x="677" y="794"/>
                    </a:moveTo>
                    <a:lnTo>
                      <a:pt x="679" y="794"/>
                    </a:lnTo>
                    <a:lnTo>
                      <a:pt x="677" y="794"/>
                    </a:lnTo>
                    <a:close/>
                    <a:moveTo>
                      <a:pt x="595" y="739"/>
                    </a:moveTo>
                    <a:lnTo>
                      <a:pt x="595" y="741"/>
                    </a:lnTo>
                    <a:lnTo>
                      <a:pt x="595" y="739"/>
                    </a:lnTo>
                    <a:close/>
                    <a:moveTo>
                      <a:pt x="561" y="539"/>
                    </a:moveTo>
                    <a:lnTo>
                      <a:pt x="563" y="539"/>
                    </a:lnTo>
                    <a:lnTo>
                      <a:pt x="561" y="539"/>
                    </a:lnTo>
                    <a:close/>
                    <a:moveTo>
                      <a:pt x="546" y="670"/>
                    </a:moveTo>
                    <a:lnTo>
                      <a:pt x="546" y="672"/>
                    </a:lnTo>
                    <a:lnTo>
                      <a:pt x="546" y="670"/>
                    </a:lnTo>
                    <a:close/>
                    <a:moveTo>
                      <a:pt x="643" y="783"/>
                    </a:moveTo>
                    <a:lnTo>
                      <a:pt x="643" y="785"/>
                    </a:lnTo>
                    <a:lnTo>
                      <a:pt x="643" y="783"/>
                    </a:lnTo>
                    <a:close/>
                    <a:moveTo>
                      <a:pt x="597" y="754"/>
                    </a:moveTo>
                    <a:lnTo>
                      <a:pt x="599" y="754"/>
                    </a:lnTo>
                    <a:lnTo>
                      <a:pt x="597" y="754"/>
                    </a:lnTo>
                    <a:close/>
                    <a:moveTo>
                      <a:pt x="574" y="737"/>
                    </a:moveTo>
                    <a:lnTo>
                      <a:pt x="576" y="737"/>
                    </a:lnTo>
                    <a:lnTo>
                      <a:pt x="574" y="737"/>
                    </a:lnTo>
                    <a:close/>
                    <a:moveTo>
                      <a:pt x="578" y="741"/>
                    </a:moveTo>
                    <a:lnTo>
                      <a:pt x="580" y="741"/>
                    </a:lnTo>
                    <a:lnTo>
                      <a:pt x="578" y="741"/>
                    </a:lnTo>
                    <a:close/>
                    <a:moveTo>
                      <a:pt x="553" y="588"/>
                    </a:moveTo>
                    <a:lnTo>
                      <a:pt x="555" y="588"/>
                    </a:lnTo>
                    <a:lnTo>
                      <a:pt x="553" y="588"/>
                    </a:lnTo>
                    <a:close/>
                    <a:moveTo>
                      <a:pt x="567" y="731"/>
                    </a:moveTo>
                    <a:lnTo>
                      <a:pt x="567" y="733"/>
                    </a:lnTo>
                    <a:lnTo>
                      <a:pt x="567" y="731"/>
                    </a:lnTo>
                    <a:close/>
                    <a:moveTo>
                      <a:pt x="576" y="462"/>
                    </a:moveTo>
                    <a:lnTo>
                      <a:pt x="578" y="462"/>
                    </a:lnTo>
                    <a:lnTo>
                      <a:pt x="576" y="462"/>
                    </a:lnTo>
                    <a:close/>
                    <a:moveTo>
                      <a:pt x="565" y="590"/>
                    </a:moveTo>
                    <a:lnTo>
                      <a:pt x="567" y="590"/>
                    </a:lnTo>
                    <a:lnTo>
                      <a:pt x="565" y="590"/>
                    </a:lnTo>
                    <a:close/>
                    <a:moveTo>
                      <a:pt x="656" y="783"/>
                    </a:moveTo>
                    <a:lnTo>
                      <a:pt x="658" y="783"/>
                    </a:lnTo>
                    <a:lnTo>
                      <a:pt x="656" y="783"/>
                    </a:lnTo>
                    <a:close/>
                    <a:moveTo>
                      <a:pt x="546" y="638"/>
                    </a:moveTo>
                    <a:lnTo>
                      <a:pt x="548" y="638"/>
                    </a:lnTo>
                    <a:lnTo>
                      <a:pt x="546" y="638"/>
                    </a:lnTo>
                    <a:close/>
                    <a:moveTo>
                      <a:pt x="573" y="737"/>
                    </a:moveTo>
                    <a:lnTo>
                      <a:pt x="574" y="737"/>
                    </a:lnTo>
                    <a:lnTo>
                      <a:pt x="573" y="737"/>
                    </a:lnTo>
                    <a:close/>
                    <a:moveTo>
                      <a:pt x="557" y="502"/>
                    </a:moveTo>
                    <a:lnTo>
                      <a:pt x="557" y="504"/>
                    </a:lnTo>
                    <a:lnTo>
                      <a:pt x="557" y="502"/>
                    </a:lnTo>
                    <a:close/>
                    <a:moveTo>
                      <a:pt x="565" y="703"/>
                    </a:moveTo>
                    <a:lnTo>
                      <a:pt x="565" y="705"/>
                    </a:lnTo>
                    <a:lnTo>
                      <a:pt x="565" y="703"/>
                    </a:lnTo>
                    <a:close/>
                    <a:moveTo>
                      <a:pt x="677" y="787"/>
                    </a:moveTo>
                    <a:lnTo>
                      <a:pt x="679" y="787"/>
                    </a:lnTo>
                    <a:lnTo>
                      <a:pt x="677" y="787"/>
                    </a:lnTo>
                    <a:close/>
                    <a:moveTo>
                      <a:pt x="540" y="628"/>
                    </a:moveTo>
                    <a:lnTo>
                      <a:pt x="542" y="628"/>
                    </a:lnTo>
                    <a:lnTo>
                      <a:pt x="540" y="628"/>
                    </a:lnTo>
                    <a:close/>
                    <a:moveTo>
                      <a:pt x="559" y="701"/>
                    </a:moveTo>
                    <a:lnTo>
                      <a:pt x="559" y="703"/>
                    </a:lnTo>
                    <a:lnTo>
                      <a:pt x="559" y="701"/>
                    </a:lnTo>
                    <a:close/>
                    <a:moveTo>
                      <a:pt x="655" y="768"/>
                    </a:moveTo>
                    <a:lnTo>
                      <a:pt x="655" y="769"/>
                    </a:lnTo>
                    <a:lnTo>
                      <a:pt x="655" y="768"/>
                    </a:lnTo>
                    <a:close/>
                    <a:moveTo>
                      <a:pt x="559" y="703"/>
                    </a:moveTo>
                    <a:lnTo>
                      <a:pt x="561" y="703"/>
                    </a:lnTo>
                    <a:lnTo>
                      <a:pt x="559" y="703"/>
                    </a:lnTo>
                    <a:close/>
                    <a:moveTo>
                      <a:pt x="557" y="695"/>
                    </a:moveTo>
                    <a:lnTo>
                      <a:pt x="557" y="697"/>
                    </a:lnTo>
                    <a:lnTo>
                      <a:pt x="557" y="695"/>
                    </a:lnTo>
                    <a:close/>
                    <a:moveTo>
                      <a:pt x="542" y="561"/>
                    </a:moveTo>
                    <a:lnTo>
                      <a:pt x="544" y="561"/>
                    </a:lnTo>
                    <a:lnTo>
                      <a:pt x="542" y="561"/>
                    </a:lnTo>
                    <a:close/>
                    <a:moveTo>
                      <a:pt x="561" y="701"/>
                    </a:moveTo>
                    <a:lnTo>
                      <a:pt x="561" y="703"/>
                    </a:lnTo>
                    <a:lnTo>
                      <a:pt x="561" y="701"/>
                    </a:lnTo>
                    <a:close/>
                    <a:moveTo>
                      <a:pt x="574" y="727"/>
                    </a:moveTo>
                    <a:lnTo>
                      <a:pt x="576" y="727"/>
                    </a:lnTo>
                    <a:lnTo>
                      <a:pt x="576" y="729"/>
                    </a:lnTo>
                    <a:lnTo>
                      <a:pt x="574" y="729"/>
                    </a:lnTo>
                    <a:lnTo>
                      <a:pt x="574" y="727"/>
                    </a:lnTo>
                    <a:close/>
                    <a:moveTo>
                      <a:pt x="567" y="529"/>
                    </a:moveTo>
                    <a:lnTo>
                      <a:pt x="569" y="529"/>
                    </a:lnTo>
                    <a:lnTo>
                      <a:pt x="567" y="529"/>
                    </a:lnTo>
                    <a:close/>
                    <a:moveTo>
                      <a:pt x="559" y="603"/>
                    </a:moveTo>
                    <a:lnTo>
                      <a:pt x="561" y="603"/>
                    </a:lnTo>
                    <a:lnTo>
                      <a:pt x="559" y="603"/>
                    </a:lnTo>
                    <a:close/>
                    <a:moveTo>
                      <a:pt x="546" y="655"/>
                    </a:moveTo>
                    <a:lnTo>
                      <a:pt x="548" y="655"/>
                    </a:lnTo>
                    <a:lnTo>
                      <a:pt x="548" y="657"/>
                    </a:lnTo>
                    <a:lnTo>
                      <a:pt x="546" y="657"/>
                    </a:lnTo>
                    <a:lnTo>
                      <a:pt x="546" y="655"/>
                    </a:lnTo>
                    <a:close/>
                    <a:moveTo>
                      <a:pt x="569" y="590"/>
                    </a:moveTo>
                    <a:lnTo>
                      <a:pt x="569" y="592"/>
                    </a:lnTo>
                    <a:lnTo>
                      <a:pt x="569" y="590"/>
                    </a:lnTo>
                    <a:close/>
                    <a:moveTo>
                      <a:pt x="622" y="768"/>
                    </a:moveTo>
                    <a:lnTo>
                      <a:pt x="624" y="768"/>
                    </a:lnTo>
                    <a:lnTo>
                      <a:pt x="622" y="768"/>
                    </a:lnTo>
                    <a:close/>
                    <a:moveTo>
                      <a:pt x="567" y="531"/>
                    </a:moveTo>
                    <a:lnTo>
                      <a:pt x="569" y="531"/>
                    </a:lnTo>
                    <a:lnTo>
                      <a:pt x="567" y="531"/>
                    </a:lnTo>
                    <a:close/>
                    <a:moveTo>
                      <a:pt x="544" y="560"/>
                    </a:moveTo>
                    <a:lnTo>
                      <a:pt x="544" y="561"/>
                    </a:lnTo>
                    <a:lnTo>
                      <a:pt x="544" y="560"/>
                    </a:lnTo>
                    <a:close/>
                    <a:moveTo>
                      <a:pt x="555" y="689"/>
                    </a:moveTo>
                    <a:lnTo>
                      <a:pt x="557" y="689"/>
                    </a:lnTo>
                    <a:lnTo>
                      <a:pt x="555" y="689"/>
                    </a:lnTo>
                    <a:close/>
                    <a:moveTo>
                      <a:pt x="557" y="506"/>
                    </a:moveTo>
                    <a:lnTo>
                      <a:pt x="557" y="508"/>
                    </a:lnTo>
                    <a:lnTo>
                      <a:pt x="557" y="506"/>
                    </a:lnTo>
                    <a:close/>
                    <a:moveTo>
                      <a:pt x="574" y="710"/>
                    </a:moveTo>
                    <a:lnTo>
                      <a:pt x="576" y="710"/>
                    </a:lnTo>
                    <a:lnTo>
                      <a:pt x="576" y="712"/>
                    </a:lnTo>
                    <a:lnTo>
                      <a:pt x="574" y="712"/>
                    </a:lnTo>
                    <a:lnTo>
                      <a:pt x="574" y="710"/>
                    </a:lnTo>
                    <a:close/>
                    <a:moveTo>
                      <a:pt x="649" y="787"/>
                    </a:moveTo>
                    <a:lnTo>
                      <a:pt x="651" y="787"/>
                    </a:lnTo>
                    <a:lnTo>
                      <a:pt x="649" y="787"/>
                    </a:lnTo>
                    <a:close/>
                    <a:moveTo>
                      <a:pt x="553" y="540"/>
                    </a:moveTo>
                    <a:lnTo>
                      <a:pt x="555" y="540"/>
                    </a:lnTo>
                    <a:lnTo>
                      <a:pt x="553" y="540"/>
                    </a:lnTo>
                    <a:close/>
                    <a:moveTo>
                      <a:pt x="559" y="676"/>
                    </a:moveTo>
                    <a:lnTo>
                      <a:pt x="561" y="676"/>
                    </a:lnTo>
                    <a:lnTo>
                      <a:pt x="559" y="676"/>
                    </a:lnTo>
                    <a:close/>
                    <a:moveTo>
                      <a:pt x="592" y="739"/>
                    </a:moveTo>
                    <a:lnTo>
                      <a:pt x="592" y="741"/>
                    </a:lnTo>
                    <a:lnTo>
                      <a:pt x="592" y="739"/>
                    </a:lnTo>
                    <a:close/>
                    <a:moveTo>
                      <a:pt x="561" y="506"/>
                    </a:moveTo>
                    <a:lnTo>
                      <a:pt x="561" y="508"/>
                    </a:lnTo>
                    <a:lnTo>
                      <a:pt x="561" y="506"/>
                    </a:lnTo>
                    <a:close/>
                    <a:moveTo>
                      <a:pt x="580" y="712"/>
                    </a:moveTo>
                    <a:lnTo>
                      <a:pt x="582" y="712"/>
                    </a:lnTo>
                    <a:lnTo>
                      <a:pt x="580" y="712"/>
                    </a:lnTo>
                    <a:close/>
                    <a:moveTo>
                      <a:pt x="553" y="699"/>
                    </a:moveTo>
                    <a:lnTo>
                      <a:pt x="555" y="699"/>
                    </a:lnTo>
                    <a:lnTo>
                      <a:pt x="555" y="701"/>
                    </a:lnTo>
                    <a:lnTo>
                      <a:pt x="553" y="701"/>
                    </a:lnTo>
                    <a:lnTo>
                      <a:pt x="553" y="699"/>
                    </a:lnTo>
                    <a:close/>
                    <a:moveTo>
                      <a:pt x="565" y="722"/>
                    </a:moveTo>
                    <a:lnTo>
                      <a:pt x="567" y="722"/>
                    </a:lnTo>
                    <a:lnTo>
                      <a:pt x="565" y="722"/>
                    </a:lnTo>
                    <a:close/>
                    <a:moveTo>
                      <a:pt x="586" y="710"/>
                    </a:moveTo>
                    <a:lnTo>
                      <a:pt x="588" y="710"/>
                    </a:lnTo>
                    <a:lnTo>
                      <a:pt x="586" y="710"/>
                    </a:lnTo>
                    <a:close/>
                    <a:moveTo>
                      <a:pt x="592" y="743"/>
                    </a:moveTo>
                    <a:lnTo>
                      <a:pt x="592" y="745"/>
                    </a:lnTo>
                    <a:lnTo>
                      <a:pt x="592" y="743"/>
                    </a:lnTo>
                    <a:close/>
                    <a:moveTo>
                      <a:pt x="592" y="752"/>
                    </a:moveTo>
                    <a:lnTo>
                      <a:pt x="592" y="754"/>
                    </a:lnTo>
                    <a:lnTo>
                      <a:pt x="592" y="752"/>
                    </a:lnTo>
                    <a:close/>
                    <a:moveTo>
                      <a:pt x="540" y="609"/>
                    </a:moveTo>
                    <a:lnTo>
                      <a:pt x="542" y="609"/>
                    </a:lnTo>
                    <a:lnTo>
                      <a:pt x="540" y="609"/>
                    </a:lnTo>
                    <a:close/>
                    <a:moveTo>
                      <a:pt x="580" y="729"/>
                    </a:moveTo>
                    <a:lnTo>
                      <a:pt x="582" y="729"/>
                    </a:lnTo>
                    <a:lnTo>
                      <a:pt x="580" y="729"/>
                    </a:lnTo>
                    <a:close/>
                    <a:moveTo>
                      <a:pt x="578" y="491"/>
                    </a:moveTo>
                    <a:lnTo>
                      <a:pt x="580" y="491"/>
                    </a:lnTo>
                    <a:lnTo>
                      <a:pt x="580" y="493"/>
                    </a:lnTo>
                    <a:lnTo>
                      <a:pt x="578" y="493"/>
                    </a:lnTo>
                    <a:lnTo>
                      <a:pt x="578" y="491"/>
                    </a:lnTo>
                    <a:close/>
                    <a:moveTo>
                      <a:pt x="561" y="666"/>
                    </a:moveTo>
                    <a:lnTo>
                      <a:pt x="561" y="668"/>
                    </a:lnTo>
                    <a:lnTo>
                      <a:pt x="561" y="666"/>
                    </a:lnTo>
                    <a:close/>
                    <a:moveTo>
                      <a:pt x="555" y="676"/>
                    </a:moveTo>
                    <a:lnTo>
                      <a:pt x="557" y="676"/>
                    </a:lnTo>
                    <a:lnTo>
                      <a:pt x="555" y="676"/>
                    </a:lnTo>
                    <a:close/>
                    <a:moveTo>
                      <a:pt x="555" y="672"/>
                    </a:moveTo>
                    <a:lnTo>
                      <a:pt x="555" y="674"/>
                    </a:lnTo>
                    <a:lnTo>
                      <a:pt x="555" y="672"/>
                    </a:lnTo>
                    <a:close/>
                    <a:moveTo>
                      <a:pt x="550" y="537"/>
                    </a:moveTo>
                    <a:lnTo>
                      <a:pt x="552" y="537"/>
                    </a:lnTo>
                    <a:lnTo>
                      <a:pt x="552" y="539"/>
                    </a:lnTo>
                    <a:lnTo>
                      <a:pt x="550" y="539"/>
                    </a:lnTo>
                    <a:lnTo>
                      <a:pt x="550" y="537"/>
                    </a:lnTo>
                    <a:close/>
                    <a:moveTo>
                      <a:pt x="618" y="745"/>
                    </a:moveTo>
                    <a:lnTo>
                      <a:pt x="620" y="745"/>
                    </a:lnTo>
                    <a:lnTo>
                      <a:pt x="618" y="745"/>
                    </a:lnTo>
                    <a:close/>
                    <a:moveTo>
                      <a:pt x="565" y="542"/>
                    </a:moveTo>
                    <a:lnTo>
                      <a:pt x="565" y="544"/>
                    </a:lnTo>
                    <a:lnTo>
                      <a:pt x="565" y="542"/>
                    </a:lnTo>
                    <a:close/>
                    <a:moveTo>
                      <a:pt x="622" y="714"/>
                    </a:moveTo>
                    <a:lnTo>
                      <a:pt x="622" y="716"/>
                    </a:lnTo>
                    <a:lnTo>
                      <a:pt x="622" y="714"/>
                    </a:lnTo>
                    <a:close/>
                    <a:moveTo>
                      <a:pt x="559" y="706"/>
                    </a:moveTo>
                    <a:lnTo>
                      <a:pt x="561" y="706"/>
                    </a:lnTo>
                    <a:lnTo>
                      <a:pt x="559" y="706"/>
                    </a:lnTo>
                    <a:close/>
                    <a:moveTo>
                      <a:pt x="584" y="705"/>
                    </a:moveTo>
                    <a:lnTo>
                      <a:pt x="584" y="706"/>
                    </a:lnTo>
                    <a:lnTo>
                      <a:pt x="584" y="705"/>
                    </a:lnTo>
                    <a:close/>
                    <a:moveTo>
                      <a:pt x="565" y="699"/>
                    </a:moveTo>
                    <a:lnTo>
                      <a:pt x="565" y="701"/>
                    </a:lnTo>
                    <a:lnTo>
                      <a:pt x="565" y="699"/>
                    </a:lnTo>
                    <a:close/>
                    <a:moveTo>
                      <a:pt x="544" y="590"/>
                    </a:moveTo>
                    <a:lnTo>
                      <a:pt x="544" y="592"/>
                    </a:lnTo>
                    <a:lnTo>
                      <a:pt x="544" y="590"/>
                    </a:lnTo>
                    <a:close/>
                    <a:moveTo>
                      <a:pt x="552" y="540"/>
                    </a:moveTo>
                    <a:lnTo>
                      <a:pt x="553" y="540"/>
                    </a:lnTo>
                    <a:lnTo>
                      <a:pt x="552" y="540"/>
                    </a:lnTo>
                    <a:close/>
                    <a:moveTo>
                      <a:pt x="563" y="508"/>
                    </a:moveTo>
                    <a:lnTo>
                      <a:pt x="563" y="510"/>
                    </a:lnTo>
                    <a:lnTo>
                      <a:pt x="563" y="508"/>
                    </a:lnTo>
                    <a:close/>
                    <a:moveTo>
                      <a:pt x="574" y="519"/>
                    </a:moveTo>
                    <a:lnTo>
                      <a:pt x="574" y="521"/>
                    </a:lnTo>
                    <a:lnTo>
                      <a:pt x="574" y="519"/>
                    </a:lnTo>
                    <a:close/>
                    <a:moveTo>
                      <a:pt x="573" y="710"/>
                    </a:moveTo>
                    <a:lnTo>
                      <a:pt x="574" y="710"/>
                    </a:lnTo>
                    <a:lnTo>
                      <a:pt x="573" y="710"/>
                    </a:lnTo>
                    <a:close/>
                    <a:moveTo>
                      <a:pt x="593" y="750"/>
                    </a:moveTo>
                    <a:lnTo>
                      <a:pt x="593" y="752"/>
                    </a:lnTo>
                    <a:lnTo>
                      <a:pt x="593" y="750"/>
                    </a:lnTo>
                    <a:close/>
                    <a:moveTo>
                      <a:pt x="559" y="699"/>
                    </a:moveTo>
                    <a:lnTo>
                      <a:pt x="561" y="699"/>
                    </a:lnTo>
                    <a:lnTo>
                      <a:pt x="559" y="699"/>
                    </a:lnTo>
                    <a:close/>
                    <a:moveTo>
                      <a:pt x="559" y="571"/>
                    </a:moveTo>
                    <a:lnTo>
                      <a:pt x="561" y="571"/>
                    </a:lnTo>
                    <a:lnTo>
                      <a:pt x="559" y="571"/>
                    </a:lnTo>
                    <a:close/>
                    <a:moveTo>
                      <a:pt x="552" y="535"/>
                    </a:moveTo>
                    <a:lnTo>
                      <a:pt x="552" y="537"/>
                    </a:lnTo>
                    <a:lnTo>
                      <a:pt x="552" y="535"/>
                    </a:lnTo>
                    <a:close/>
                    <a:moveTo>
                      <a:pt x="574" y="739"/>
                    </a:moveTo>
                    <a:lnTo>
                      <a:pt x="576" y="739"/>
                    </a:lnTo>
                    <a:lnTo>
                      <a:pt x="574" y="73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8" name="Freeform 50">
                <a:extLst>
                  <a:ext uri="{FF2B5EF4-FFF2-40B4-BE49-F238E27FC236}">
                    <a16:creationId xmlns:a16="http://schemas.microsoft.com/office/drawing/2014/main" id="{93B8D410-294E-AA81-95A7-45DC512E4D5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74136" y="-2299589"/>
                <a:ext cx="22058" cy="14208"/>
              </a:xfrm>
              <a:custGeom>
                <a:avLst/>
                <a:gdLst>
                  <a:gd name="T0" fmla="*/ 2 w 14"/>
                  <a:gd name="T1" fmla="*/ 2 h 9"/>
                  <a:gd name="T2" fmla="*/ 4 w 14"/>
                  <a:gd name="T3" fmla="*/ 2 h 9"/>
                  <a:gd name="T4" fmla="*/ 4 w 14"/>
                  <a:gd name="T5" fmla="*/ 4 h 9"/>
                  <a:gd name="T6" fmla="*/ 4 w 14"/>
                  <a:gd name="T7" fmla="*/ 6 h 9"/>
                  <a:gd name="T8" fmla="*/ 4 w 14"/>
                  <a:gd name="T9" fmla="*/ 8 h 9"/>
                  <a:gd name="T10" fmla="*/ 2 w 14"/>
                  <a:gd name="T11" fmla="*/ 8 h 9"/>
                  <a:gd name="T12" fmla="*/ 0 w 14"/>
                  <a:gd name="T13" fmla="*/ 6 h 9"/>
                  <a:gd name="T14" fmla="*/ 0 w 14"/>
                  <a:gd name="T15" fmla="*/ 4 h 9"/>
                  <a:gd name="T16" fmla="*/ 0 w 14"/>
                  <a:gd name="T17" fmla="*/ 2 h 9"/>
                  <a:gd name="T18" fmla="*/ 2 w 14"/>
                  <a:gd name="T19" fmla="*/ 2 h 9"/>
                  <a:gd name="T20" fmla="*/ 6 w 14"/>
                  <a:gd name="T21" fmla="*/ 0 h 9"/>
                  <a:gd name="T22" fmla="*/ 6 w 14"/>
                  <a:gd name="T23" fmla="*/ 2 h 9"/>
                  <a:gd name="T24" fmla="*/ 8 w 14"/>
                  <a:gd name="T25" fmla="*/ 2 h 9"/>
                  <a:gd name="T26" fmla="*/ 10 w 14"/>
                  <a:gd name="T27" fmla="*/ 2 h 9"/>
                  <a:gd name="T28" fmla="*/ 10 w 14"/>
                  <a:gd name="T29" fmla="*/ 4 h 9"/>
                  <a:gd name="T30" fmla="*/ 6 w 14"/>
                  <a:gd name="T31" fmla="*/ 4 h 9"/>
                  <a:gd name="T32" fmla="*/ 4 w 14"/>
                  <a:gd name="T33" fmla="*/ 4 h 9"/>
                  <a:gd name="T34" fmla="*/ 4 w 14"/>
                  <a:gd name="T35" fmla="*/ 2 h 9"/>
                  <a:gd name="T36" fmla="*/ 6 w 14"/>
                  <a:gd name="T37" fmla="*/ 2 h 9"/>
                  <a:gd name="T38" fmla="*/ 4 w 14"/>
                  <a:gd name="T39" fmla="*/ 2 h 9"/>
                  <a:gd name="T40" fmla="*/ 4 w 14"/>
                  <a:gd name="T41" fmla="*/ 0 h 9"/>
                  <a:gd name="T42" fmla="*/ 6 w 14"/>
                  <a:gd name="T43" fmla="*/ 0 h 9"/>
                  <a:gd name="T44" fmla="*/ 8 w 14"/>
                  <a:gd name="T45" fmla="*/ 8 h 9"/>
                  <a:gd name="T46" fmla="*/ 10 w 14"/>
                  <a:gd name="T47" fmla="*/ 8 h 9"/>
                  <a:gd name="T48" fmla="*/ 10 w 14"/>
                  <a:gd name="T49" fmla="*/ 9 h 9"/>
                  <a:gd name="T50" fmla="*/ 8 w 14"/>
                  <a:gd name="T51" fmla="*/ 9 h 9"/>
                  <a:gd name="T52" fmla="*/ 8 w 14"/>
                  <a:gd name="T53" fmla="*/ 8 h 9"/>
                  <a:gd name="T54" fmla="*/ 12 w 14"/>
                  <a:gd name="T55" fmla="*/ 2 h 9"/>
                  <a:gd name="T56" fmla="*/ 14 w 14"/>
                  <a:gd name="T57" fmla="*/ 2 h 9"/>
                  <a:gd name="T58" fmla="*/ 12 w 14"/>
                  <a:gd name="T59" fmla="*/ 2 h 9"/>
                  <a:gd name="T60" fmla="*/ 2 w 14"/>
                  <a:gd name="T61" fmla="*/ 9 h 9"/>
                  <a:gd name="T62" fmla="*/ 4 w 14"/>
                  <a:gd name="T63" fmla="*/ 9 h 9"/>
                  <a:gd name="T64" fmla="*/ 2 w 14"/>
                  <a:gd name="T65" fmla="*/ 9 h 9"/>
                  <a:gd name="T66" fmla="*/ 12 w 14"/>
                  <a:gd name="T67" fmla="*/ 4 h 9"/>
                  <a:gd name="T68" fmla="*/ 12 w 14"/>
                  <a:gd name="T69" fmla="*/ 6 h 9"/>
                  <a:gd name="T70" fmla="*/ 12 w 14"/>
                  <a:gd name="T71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" h="9">
                    <a:moveTo>
                      <a:pt x="2" y="2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  <a:moveTo>
                      <a:pt x="6" y="0"/>
                    </a:moveTo>
                    <a:lnTo>
                      <a:pt x="6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  <a:moveTo>
                      <a:pt x="8" y="8"/>
                    </a:moveTo>
                    <a:lnTo>
                      <a:pt x="10" y="8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8" y="8"/>
                    </a:lnTo>
                    <a:close/>
                    <a:moveTo>
                      <a:pt x="12" y="2"/>
                    </a:moveTo>
                    <a:lnTo>
                      <a:pt x="14" y="2"/>
                    </a:lnTo>
                    <a:lnTo>
                      <a:pt x="12" y="2"/>
                    </a:lnTo>
                    <a:close/>
                    <a:moveTo>
                      <a:pt x="2" y="9"/>
                    </a:moveTo>
                    <a:lnTo>
                      <a:pt x="4" y="9"/>
                    </a:lnTo>
                    <a:lnTo>
                      <a:pt x="2" y="9"/>
                    </a:lnTo>
                    <a:close/>
                    <a:moveTo>
                      <a:pt x="12" y="4"/>
                    </a:moveTo>
                    <a:lnTo>
                      <a:pt x="12" y="6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9" name="Freeform 51">
                <a:extLst>
                  <a:ext uri="{FF2B5EF4-FFF2-40B4-BE49-F238E27FC236}">
                    <a16:creationId xmlns:a16="http://schemas.microsoft.com/office/drawing/2014/main" id="{480F618D-F78F-51D7-743A-AE98D59498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9893" y="-2256969"/>
                <a:ext cx="9453" cy="11050"/>
              </a:xfrm>
              <a:custGeom>
                <a:avLst/>
                <a:gdLst>
                  <a:gd name="T0" fmla="*/ 2 w 6"/>
                  <a:gd name="T1" fmla="*/ 0 h 7"/>
                  <a:gd name="T2" fmla="*/ 4 w 6"/>
                  <a:gd name="T3" fmla="*/ 0 h 7"/>
                  <a:gd name="T4" fmla="*/ 4 w 6"/>
                  <a:gd name="T5" fmla="*/ 1 h 7"/>
                  <a:gd name="T6" fmla="*/ 6 w 6"/>
                  <a:gd name="T7" fmla="*/ 1 h 7"/>
                  <a:gd name="T8" fmla="*/ 4 w 6"/>
                  <a:gd name="T9" fmla="*/ 1 h 7"/>
                  <a:gd name="T10" fmla="*/ 6 w 6"/>
                  <a:gd name="T11" fmla="*/ 1 h 7"/>
                  <a:gd name="T12" fmla="*/ 4 w 6"/>
                  <a:gd name="T13" fmla="*/ 3 h 7"/>
                  <a:gd name="T14" fmla="*/ 6 w 6"/>
                  <a:gd name="T15" fmla="*/ 3 h 7"/>
                  <a:gd name="T16" fmla="*/ 6 w 6"/>
                  <a:gd name="T17" fmla="*/ 5 h 7"/>
                  <a:gd name="T18" fmla="*/ 6 w 6"/>
                  <a:gd name="T19" fmla="*/ 7 h 7"/>
                  <a:gd name="T20" fmla="*/ 6 w 6"/>
                  <a:gd name="T21" fmla="*/ 5 h 7"/>
                  <a:gd name="T22" fmla="*/ 4 w 6"/>
                  <a:gd name="T23" fmla="*/ 5 h 7"/>
                  <a:gd name="T24" fmla="*/ 2 w 6"/>
                  <a:gd name="T25" fmla="*/ 5 h 7"/>
                  <a:gd name="T26" fmla="*/ 2 w 6"/>
                  <a:gd name="T27" fmla="*/ 3 h 7"/>
                  <a:gd name="T28" fmla="*/ 4 w 6"/>
                  <a:gd name="T29" fmla="*/ 5 h 7"/>
                  <a:gd name="T30" fmla="*/ 4 w 6"/>
                  <a:gd name="T31" fmla="*/ 3 h 7"/>
                  <a:gd name="T32" fmla="*/ 2 w 6"/>
                  <a:gd name="T33" fmla="*/ 3 h 7"/>
                  <a:gd name="T34" fmla="*/ 0 w 6"/>
                  <a:gd name="T35" fmla="*/ 1 h 7"/>
                  <a:gd name="T36" fmla="*/ 0 w 6"/>
                  <a:gd name="T37" fmla="*/ 0 h 7"/>
                  <a:gd name="T38" fmla="*/ 2 w 6"/>
                  <a:gd name="T3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lnTo>
                      <a:pt x="4" y="0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0" name="Freeform 52">
                <a:extLst>
                  <a:ext uri="{FF2B5EF4-FFF2-40B4-BE49-F238E27FC236}">
                    <a16:creationId xmlns:a16="http://schemas.microsoft.com/office/drawing/2014/main" id="{5ADAAC40-82B6-15AF-5254-C70E57E7375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74136" y="-2196983"/>
                <a:ext cx="9453" cy="11050"/>
              </a:xfrm>
              <a:custGeom>
                <a:avLst/>
                <a:gdLst>
                  <a:gd name="T0" fmla="*/ 2 w 6"/>
                  <a:gd name="T1" fmla="*/ 4 h 7"/>
                  <a:gd name="T2" fmla="*/ 4 w 6"/>
                  <a:gd name="T3" fmla="*/ 4 h 7"/>
                  <a:gd name="T4" fmla="*/ 4 w 6"/>
                  <a:gd name="T5" fmla="*/ 5 h 7"/>
                  <a:gd name="T6" fmla="*/ 4 w 6"/>
                  <a:gd name="T7" fmla="*/ 7 h 7"/>
                  <a:gd name="T8" fmla="*/ 2 w 6"/>
                  <a:gd name="T9" fmla="*/ 7 h 7"/>
                  <a:gd name="T10" fmla="*/ 0 w 6"/>
                  <a:gd name="T11" fmla="*/ 7 h 7"/>
                  <a:gd name="T12" fmla="*/ 2 w 6"/>
                  <a:gd name="T13" fmla="*/ 7 h 7"/>
                  <a:gd name="T14" fmla="*/ 0 w 6"/>
                  <a:gd name="T15" fmla="*/ 7 h 7"/>
                  <a:gd name="T16" fmla="*/ 2 w 6"/>
                  <a:gd name="T17" fmla="*/ 5 h 7"/>
                  <a:gd name="T18" fmla="*/ 2 w 6"/>
                  <a:gd name="T19" fmla="*/ 4 h 7"/>
                  <a:gd name="T20" fmla="*/ 6 w 6"/>
                  <a:gd name="T21" fmla="*/ 0 h 7"/>
                  <a:gd name="T22" fmla="*/ 6 w 6"/>
                  <a:gd name="T23" fmla="*/ 2 h 7"/>
                  <a:gd name="T24" fmla="*/ 6 w 6"/>
                  <a:gd name="T2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7">
                    <a:moveTo>
                      <a:pt x="2" y="4"/>
                    </a:moveTo>
                    <a:lnTo>
                      <a:pt x="4" y="4"/>
                    </a:lnTo>
                    <a:lnTo>
                      <a:pt x="4" y="5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4"/>
                    </a:lnTo>
                    <a:close/>
                    <a:moveTo>
                      <a:pt x="6" y="0"/>
                    </a:move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1" name="Freeform 53">
                <a:extLst>
                  <a:ext uri="{FF2B5EF4-FFF2-40B4-BE49-F238E27FC236}">
                    <a16:creationId xmlns:a16="http://schemas.microsoft.com/office/drawing/2014/main" id="{74276181-3C41-036B-A6A5-E50B09303ED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83592" y="-2219083"/>
                <a:ext cx="9453" cy="18943"/>
              </a:xfrm>
              <a:custGeom>
                <a:avLst/>
                <a:gdLst>
                  <a:gd name="T0" fmla="*/ 4 w 6"/>
                  <a:gd name="T1" fmla="*/ 0 h 12"/>
                  <a:gd name="T2" fmla="*/ 6 w 6"/>
                  <a:gd name="T3" fmla="*/ 0 h 12"/>
                  <a:gd name="T4" fmla="*/ 6 w 6"/>
                  <a:gd name="T5" fmla="*/ 2 h 12"/>
                  <a:gd name="T6" fmla="*/ 6 w 6"/>
                  <a:gd name="T7" fmla="*/ 4 h 12"/>
                  <a:gd name="T8" fmla="*/ 4 w 6"/>
                  <a:gd name="T9" fmla="*/ 4 h 12"/>
                  <a:gd name="T10" fmla="*/ 4 w 6"/>
                  <a:gd name="T11" fmla="*/ 2 h 12"/>
                  <a:gd name="T12" fmla="*/ 2 w 6"/>
                  <a:gd name="T13" fmla="*/ 2 h 12"/>
                  <a:gd name="T14" fmla="*/ 4 w 6"/>
                  <a:gd name="T15" fmla="*/ 0 h 12"/>
                  <a:gd name="T16" fmla="*/ 2 w 6"/>
                  <a:gd name="T17" fmla="*/ 4 h 12"/>
                  <a:gd name="T18" fmla="*/ 4 w 6"/>
                  <a:gd name="T19" fmla="*/ 4 h 12"/>
                  <a:gd name="T20" fmla="*/ 4 w 6"/>
                  <a:gd name="T21" fmla="*/ 6 h 12"/>
                  <a:gd name="T22" fmla="*/ 2 w 6"/>
                  <a:gd name="T23" fmla="*/ 6 h 12"/>
                  <a:gd name="T24" fmla="*/ 2 w 6"/>
                  <a:gd name="T25" fmla="*/ 4 h 12"/>
                  <a:gd name="T26" fmla="*/ 0 w 6"/>
                  <a:gd name="T27" fmla="*/ 12 h 12"/>
                  <a:gd name="T28" fmla="*/ 2 w 6"/>
                  <a:gd name="T29" fmla="*/ 12 h 12"/>
                  <a:gd name="T30" fmla="*/ 0 w 6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12">
                    <a:moveTo>
                      <a:pt x="4" y="0"/>
                    </a:moveTo>
                    <a:lnTo>
                      <a:pt x="6" y="0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  <a:moveTo>
                      <a:pt x="2" y="4"/>
                    </a:moveTo>
                    <a:lnTo>
                      <a:pt x="4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  <a:moveTo>
                      <a:pt x="0" y="12"/>
                    </a:moveTo>
                    <a:lnTo>
                      <a:pt x="2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2" name="Freeform 72">
                <a:extLst>
                  <a:ext uri="{FF2B5EF4-FFF2-40B4-BE49-F238E27FC236}">
                    <a16:creationId xmlns:a16="http://schemas.microsoft.com/office/drawing/2014/main" id="{6BB7EC32-D716-C55B-D822-C9D838EDBB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167736" y="-2200140"/>
                <a:ext cx="6302" cy="6313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4 w 4"/>
                  <a:gd name="T5" fmla="*/ 4 h 4"/>
                  <a:gd name="T6" fmla="*/ 2 w 4"/>
                  <a:gd name="T7" fmla="*/ 4 h 4"/>
                  <a:gd name="T8" fmla="*/ 2 w 4"/>
                  <a:gd name="T9" fmla="*/ 2 h 4"/>
                  <a:gd name="T10" fmla="*/ 0 w 4"/>
                  <a:gd name="T11" fmla="*/ 2 h 4"/>
                  <a:gd name="T12" fmla="*/ 0 w 4"/>
                  <a:gd name="T13" fmla="*/ 0 h 4"/>
                  <a:gd name="T14" fmla="*/ 0 w 4"/>
                  <a:gd name="T15" fmla="*/ 2 h 4"/>
                  <a:gd name="T16" fmla="*/ 2 w 4"/>
                  <a:gd name="T17" fmla="*/ 2 h 4"/>
                  <a:gd name="T18" fmla="*/ 0 w 4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3" name="Freeform 81">
                <a:extLst>
                  <a:ext uri="{FF2B5EF4-FFF2-40B4-BE49-F238E27FC236}">
                    <a16:creationId xmlns:a16="http://schemas.microsoft.com/office/drawing/2014/main" id="{8B255BBC-119D-5119-F16C-248CDAE912B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87976" y="-2320109"/>
                <a:ext cx="66174" cy="63142"/>
              </a:xfrm>
              <a:custGeom>
                <a:avLst/>
                <a:gdLst>
                  <a:gd name="T0" fmla="*/ 29 w 42"/>
                  <a:gd name="T1" fmla="*/ 34 h 40"/>
                  <a:gd name="T2" fmla="*/ 31 w 42"/>
                  <a:gd name="T3" fmla="*/ 36 h 40"/>
                  <a:gd name="T4" fmla="*/ 29 w 42"/>
                  <a:gd name="T5" fmla="*/ 38 h 40"/>
                  <a:gd name="T6" fmla="*/ 25 w 42"/>
                  <a:gd name="T7" fmla="*/ 36 h 40"/>
                  <a:gd name="T8" fmla="*/ 27 w 42"/>
                  <a:gd name="T9" fmla="*/ 34 h 40"/>
                  <a:gd name="T10" fmla="*/ 27 w 42"/>
                  <a:gd name="T11" fmla="*/ 32 h 40"/>
                  <a:gd name="T12" fmla="*/ 6 w 42"/>
                  <a:gd name="T13" fmla="*/ 1 h 40"/>
                  <a:gd name="T14" fmla="*/ 4 w 42"/>
                  <a:gd name="T15" fmla="*/ 3 h 40"/>
                  <a:gd name="T16" fmla="*/ 0 w 42"/>
                  <a:gd name="T17" fmla="*/ 5 h 40"/>
                  <a:gd name="T18" fmla="*/ 0 w 42"/>
                  <a:gd name="T19" fmla="*/ 1 h 40"/>
                  <a:gd name="T20" fmla="*/ 4 w 42"/>
                  <a:gd name="T21" fmla="*/ 1 h 40"/>
                  <a:gd name="T22" fmla="*/ 4 w 42"/>
                  <a:gd name="T23" fmla="*/ 1 h 40"/>
                  <a:gd name="T24" fmla="*/ 42 w 42"/>
                  <a:gd name="T25" fmla="*/ 17 h 40"/>
                  <a:gd name="T26" fmla="*/ 42 w 42"/>
                  <a:gd name="T27" fmla="*/ 21 h 40"/>
                  <a:gd name="T28" fmla="*/ 38 w 42"/>
                  <a:gd name="T29" fmla="*/ 21 h 40"/>
                  <a:gd name="T30" fmla="*/ 38 w 42"/>
                  <a:gd name="T31" fmla="*/ 17 h 40"/>
                  <a:gd name="T32" fmla="*/ 15 w 42"/>
                  <a:gd name="T33" fmla="*/ 36 h 40"/>
                  <a:gd name="T34" fmla="*/ 17 w 42"/>
                  <a:gd name="T35" fmla="*/ 40 h 40"/>
                  <a:gd name="T36" fmla="*/ 14 w 42"/>
                  <a:gd name="T37" fmla="*/ 40 h 40"/>
                  <a:gd name="T38" fmla="*/ 15 w 42"/>
                  <a:gd name="T39" fmla="*/ 36 h 40"/>
                  <a:gd name="T40" fmla="*/ 19 w 42"/>
                  <a:gd name="T41" fmla="*/ 11 h 40"/>
                  <a:gd name="T42" fmla="*/ 19 w 42"/>
                  <a:gd name="T43" fmla="*/ 11 h 40"/>
                  <a:gd name="T44" fmla="*/ 17 w 42"/>
                  <a:gd name="T45" fmla="*/ 13 h 40"/>
                  <a:gd name="T46" fmla="*/ 15 w 42"/>
                  <a:gd name="T47" fmla="*/ 9 h 40"/>
                  <a:gd name="T48" fmla="*/ 35 w 42"/>
                  <a:gd name="T49" fmla="*/ 32 h 40"/>
                  <a:gd name="T50" fmla="*/ 36 w 42"/>
                  <a:gd name="T51" fmla="*/ 34 h 40"/>
                  <a:gd name="T52" fmla="*/ 35 w 42"/>
                  <a:gd name="T53" fmla="*/ 34 h 40"/>
                  <a:gd name="T54" fmla="*/ 8 w 42"/>
                  <a:gd name="T55" fmla="*/ 5 h 40"/>
                  <a:gd name="T56" fmla="*/ 6 w 42"/>
                  <a:gd name="T57" fmla="*/ 7 h 40"/>
                  <a:gd name="T58" fmla="*/ 6 w 42"/>
                  <a:gd name="T59" fmla="*/ 5 h 40"/>
                  <a:gd name="T60" fmla="*/ 38 w 42"/>
                  <a:gd name="T61" fmla="*/ 7 h 40"/>
                  <a:gd name="T62" fmla="*/ 40 w 42"/>
                  <a:gd name="T63" fmla="*/ 9 h 40"/>
                  <a:gd name="T64" fmla="*/ 38 w 42"/>
                  <a:gd name="T65" fmla="*/ 11 h 40"/>
                  <a:gd name="T66" fmla="*/ 38 w 42"/>
                  <a:gd name="T67" fmla="*/ 7 h 40"/>
                  <a:gd name="T68" fmla="*/ 12 w 42"/>
                  <a:gd name="T69" fmla="*/ 40 h 40"/>
                  <a:gd name="T70" fmla="*/ 10 w 42"/>
                  <a:gd name="T71" fmla="*/ 7 h 40"/>
                  <a:gd name="T72" fmla="*/ 12 w 42"/>
                  <a:gd name="T73" fmla="*/ 9 h 40"/>
                  <a:gd name="T74" fmla="*/ 10 w 42"/>
                  <a:gd name="T75" fmla="*/ 7 h 40"/>
                  <a:gd name="T76" fmla="*/ 14 w 42"/>
                  <a:gd name="T77" fmla="*/ 11 h 40"/>
                  <a:gd name="T78" fmla="*/ 38 w 42"/>
                  <a:gd name="T79" fmla="*/ 17 h 40"/>
                  <a:gd name="T80" fmla="*/ 38 w 42"/>
                  <a:gd name="T81" fmla="*/ 1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" h="40">
                    <a:moveTo>
                      <a:pt x="27" y="32"/>
                    </a:moveTo>
                    <a:lnTo>
                      <a:pt x="29" y="34"/>
                    </a:lnTo>
                    <a:lnTo>
                      <a:pt x="29" y="36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29" y="38"/>
                    </a:lnTo>
                    <a:lnTo>
                      <a:pt x="27" y="38"/>
                    </a:lnTo>
                    <a:lnTo>
                      <a:pt x="25" y="36"/>
                    </a:lnTo>
                    <a:lnTo>
                      <a:pt x="25" y="34"/>
                    </a:lnTo>
                    <a:lnTo>
                      <a:pt x="27" y="34"/>
                    </a:lnTo>
                    <a:lnTo>
                      <a:pt x="25" y="32"/>
                    </a:lnTo>
                    <a:lnTo>
                      <a:pt x="27" y="32"/>
                    </a:lnTo>
                    <a:close/>
                    <a:moveTo>
                      <a:pt x="4" y="1"/>
                    </a:moveTo>
                    <a:lnTo>
                      <a:pt x="6" y="1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4" y="0"/>
                    </a:lnTo>
                    <a:lnTo>
                      <a:pt x="4" y="1"/>
                    </a:lnTo>
                    <a:close/>
                    <a:moveTo>
                      <a:pt x="40" y="17"/>
                    </a:moveTo>
                    <a:lnTo>
                      <a:pt x="42" y="17"/>
                    </a:lnTo>
                    <a:lnTo>
                      <a:pt x="42" y="19"/>
                    </a:lnTo>
                    <a:lnTo>
                      <a:pt x="42" y="21"/>
                    </a:lnTo>
                    <a:lnTo>
                      <a:pt x="40" y="21"/>
                    </a:lnTo>
                    <a:lnTo>
                      <a:pt x="38" y="21"/>
                    </a:lnTo>
                    <a:lnTo>
                      <a:pt x="38" y="19"/>
                    </a:lnTo>
                    <a:lnTo>
                      <a:pt x="38" y="17"/>
                    </a:lnTo>
                    <a:lnTo>
                      <a:pt x="40" y="17"/>
                    </a:lnTo>
                    <a:close/>
                    <a:moveTo>
                      <a:pt x="15" y="36"/>
                    </a:moveTo>
                    <a:lnTo>
                      <a:pt x="17" y="36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5" y="36"/>
                    </a:lnTo>
                    <a:close/>
                    <a:moveTo>
                      <a:pt x="17" y="9"/>
                    </a:moveTo>
                    <a:lnTo>
                      <a:pt x="19" y="11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3"/>
                    </a:lnTo>
                    <a:lnTo>
                      <a:pt x="15" y="11"/>
                    </a:lnTo>
                    <a:lnTo>
                      <a:pt x="15" y="9"/>
                    </a:lnTo>
                    <a:lnTo>
                      <a:pt x="17" y="9"/>
                    </a:lnTo>
                    <a:close/>
                    <a:moveTo>
                      <a:pt x="35" y="32"/>
                    </a:moveTo>
                    <a:lnTo>
                      <a:pt x="36" y="32"/>
                    </a:lnTo>
                    <a:lnTo>
                      <a:pt x="36" y="34"/>
                    </a:lnTo>
                    <a:lnTo>
                      <a:pt x="35" y="36"/>
                    </a:lnTo>
                    <a:lnTo>
                      <a:pt x="35" y="34"/>
                    </a:lnTo>
                    <a:lnTo>
                      <a:pt x="35" y="32"/>
                    </a:lnTo>
                    <a:close/>
                    <a:moveTo>
                      <a:pt x="8" y="5"/>
                    </a:moveTo>
                    <a:lnTo>
                      <a:pt x="8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6" y="5"/>
                    </a:lnTo>
                    <a:lnTo>
                      <a:pt x="8" y="5"/>
                    </a:lnTo>
                    <a:close/>
                    <a:moveTo>
                      <a:pt x="38" y="7"/>
                    </a:moveTo>
                    <a:lnTo>
                      <a:pt x="40" y="7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38" y="11"/>
                    </a:lnTo>
                    <a:lnTo>
                      <a:pt x="38" y="9"/>
                    </a:lnTo>
                    <a:lnTo>
                      <a:pt x="38" y="7"/>
                    </a:lnTo>
                    <a:close/>
                    <a:moveTo>
                      <a:pt x="10" y="40"/>
                    </a:moveTo>
                    <a:lnTo>
                      <a:pt x="12" y="40"/>
                    </a:lnTo>
                    <a:lnTo>
                      <a:pt x="10" y="40"/>
                    </a:lnTo>
                    <a:close/>
                    <a:moveTo>
                      <a:pt x="10" y="7"/>
                    </a:moveTo>
                    <a:lnTo>
                      <a:pt x="12" y="7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7"/>
                    </a:lnTo>
                    <a:close/>
                    <a:moveTo>
                      <a:pt x="12" y="11"/>
                    </a:moveTo>
                    <a:lnTo>
                      <a:pt x="14" y="11"/>
                    </a:lnTo>
                    <a:lnTo>
                      <a:pt x="12" y="11"/>
                    </a:lnTo>
                    <a:close/>
                    <a:moveTo>
                      <a:pt x="38" y="17"/>
                    </a:moveTo>
                    <a:lnTo>
                      <a:pt x="38" y="19"/>
                    </a:lnTo>
                    <a:lnTo>
                      <a:pt x="38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4" name="Freeform 197">
                <a:extLst>
                  <a:ext uri="{FF2B5EF4-FFF2-40B4-BE49-F238E27FC236}">
                    <a16:creationId xmlns:a16="http://schemas.microsoft.com/office/drawing/2014/main" id="{26E435C5-6F34-5ABC-8264-02083A33AF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3591" y="-2279068"/>
                <a:ext cx="6302" cy="1262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0 h 8"/>
                  <a:gd name="T4" fmla="*/ 2 w 4"/>
                  <a:gd name="T5" fmla="*/ 2 h 8"/>
                  <a:gd name="T6" fmla="*/ 4 w 4"/>
                  <a:gd name="T7" fmla="*/ 2 h 8"/>
                  <a:gd name="T8" fmla="*/ 2 w 4"/>
                  <a:gd name="T9" fmla="*/ 2 h 8"/>
                  <a:gd name="T10" fmla="*/ 4 w 4"/>
                  <a:gd name="T11" fmla="*/ 2 h 8"/>
                  <a:gd name="T12" fmla="*/ 4 w 4"/>
                  <a:gd name="T13" fmla="*/ 4 h 8"/>
                  <a:gd name="T14" fmla="*/ 4 w 4"/>
                  <a:gd name="T15" fmla="*/ 6 h 8"/>
                  <a:gd name="T16" fmla="*/ 2 w 4"/>
                  <a:gd name="T17" fmla="*/ 8 h 8"/>
                  <a:gd name="T18" fmla="*/ 2 w 4"/>
                  <a:gd name="T19" fmla="*/ 6 h 8"/>
                  <a:gd name="T20" fmla="*/ 0 w 4"/>
                  <a:gd name="T21" fmla="*/ 6 h 8"/>
                  <a:gd name="T22" fmla="*/ 0 w 4"/>
                  <a:gd name="T23" fmla="*/ 4 h 8"/>
                  <a:gd name="T24" fmla="*/ 0 w 4"/>
                  <a:gd name="T25" fmla="*/ 2 h 8"/>
                  <a:gd name="T26" fmla="*/ 0 w 4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5" name="Freeform 198">
                <a:extLst>
                  <a:ext uri="{FF2B5EF4-FFF2-40B4-BE49-F238E27FC236}">
                    <a16:creationId xmlns:a16="http://schemas.microsoft.com/office/drawing/2014/main" id="{E66135DE-E12D-4061-069D-DFB8032F08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9280" y="-2219084"/>
                <a:ext cx="6302" cy="6313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0 h 4"/>
                  <a:gd name="T4" fmla="*/ 2 w 4"/>
                  <a:gd name="T5" fmla="*/ 2 h 4"/>
                  <a:gd name="T6" fmla="*/ 4 w 4"/>
                  <a:gd name="T7" fmla="*/ 2 h 4"/>
                  <a:gd name="T8" fmla="*/ 4 w 4"/>
                  <a:gd name="T9" fmla="*/ 4 h 4"/>
                  <a:gd name="T10" fmla="*/ 2 w 4"/>
                  <a:gd name="T11" fmla="*/ 4 h 4"/>
                  <a:gd name="T12" fmla="*/ 0 w 4"/>
                  <a:gd name="T13" fmla="*/ 4 h 4"/>
                  <a:gd name="T14" fmla="*/ 0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6" name="Freeform 199">
                <a:extLst>
                  <a:ext uri="{FF2B5EF4-FFF2-40B4-BE49-F238E27FC236}">
                    <a16:creationId xmlns:a16="http://schemas.microsoft.com/office/drawing/2014/main" id="{428E25D6-AAF6-7810-5A0D-95849C80E4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93045" y="-2239606"/>
                <a:ext cx="6302" cy="12628"/>
              </a:xfrm>
              <a:custGeom>
                <a:avLst/>
                <a:gdLst>
                  <a:gd name="T0" fmla="*/ 2 w 4"/>
                  <a:gd name="T1" fmla="*/ 0 h 8"/>
                  <a:gd name="T2" fmla="*/ 4 w 4"/>
                  <a:gd name="T3" fmla="*/ 2 h 8"/>
                  <a:gd name="T4" fmla="*/ 2 w 4"/>
                  <a:gd name="T5" fmla="*/ 2 h 8"/>
                  <a:gd name="T6" fmla="*/ 4 w 4"/>
                  <a:gd name="T7" fmla="*/ 2 h 8"/>
                  <a:gd name="T8" fmla="*/ 4 w 4"/>
                  <a:gd name="T9" fmla="*/ 4 h 8"/>
                  <a:gd name="T10" fmla="*/ 4 w 4"/>
                  <a:gd name="T11" fmla="*/ 6 h 8"/>
                  <a:gd name="T12" fmla="*/ 2 w 4"/>
                  <a:gd name="T13" fmla="*/ 6 h 8"/>
                  <a:gd name="T14" fmla="*/ 2 w 4"/>
                  <a:gd name="T15" fmla="*/ 8 h 8"/>
                  <a:gd name="T16" fmla="*/ 0 w 4"/>
                  <a:gd name="T17" fmla="*/ 6 h 8"/>
                  <a:gd name="T18" fmla="*/ 0 w 4"/>
                  <a:gd name="T19" fmla="*/ 4 h 8"/>
                  <a:gd name="T20" fmla="*/ 2 w 4"/>
                  <a:gd name="T21" fmla="*/ 4 h 8"/>
                  <a:gd name="T22" fmla="*/ 2 w 4"/>
                  <a:gd name="T23" fmla="*/ 2 h 8"/>
                  <a:gd name="T24" fmla="*/ 2 w 4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8">
                    <a:moveTo>
                      <a:pt x="2" y="0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7" name="Freeform 15">
                <a:extLst>
                  <a:ext uri="{FF2B5EF4-FFF2-40B4-BE49-F238E27FC236}">
                    <a16:creationId xmlns:a16="http://schemas.microsoft.com/office/drawing/2014/main" id="{8B50090E-3173-1047-58B0-83BC9AA4479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62551" y="-334475"/>
                <a:ext cx="88558" cy="61013"/>
              </a:xfrm>
              <a:custGeom>
                <a:avLst/>
                <a:gdLst>
                  <a:gd name="T0" fmla="*/ 48 w 57"/>
                  <a:gd name="T1" fmla="*/ 10 h 39"/>
                  <a:gd name="T2" fmla="*/ 44 w 57"/>
                  <a:gd name="T3" fmla="*/ 14 h 39"/>
                  <a:gd name="T4" fmla="*/ 48 w 57"/>
                  <a:gd name="T5" fmla="*/ 16 h 39"/>
                  <a:gd name="T6" fmla="*/ 50 w 57"/>
                  <a:gd name="T7" fmla="*/ 14 h 39"/>
                  <a:gd name="T8" fmla="*/ 57 w 57"/>
                  <a:gd name="T9" fmla="*/ 14 h 39"/>
                  <a:gd name="T10" fmla="*/ 54 w 57"/>
                  <a:gd name="T11" fmla="*/ 18 h 39"/>
                  <a:gd name="T12" fmla="*/ 52 w 57"/>
                  <a:gd name="T13" fmla="*/ 21 h 39"/>
                  <a:gd name="T14" fmla="*/ 48 w 57"/>
                  <a:gd name="T15" fmla="*/ 23 h 39"/>
                  <a:gd name="T16" fmla="*/ 42 w 57"/>
                  <a:gd name="T17" fmla="*/ 23 h 39"/>
                  <a:gd name="T18" fmla="*/ 36 w 57"/>
                  <a:gd name="T19" fmla="*/ 23 h 39"/>
                  <a:gd name="T20" fmla="*/ 42 w 57"/>
                  <a:gd name="T21" fmla="*/ 31 h 39"/>
                  <a:gd name="T22" fmla="*/ 38 w 57"/>
                  <a:gd name="T23" fmla="*/ 27 h 39"/>
                  <a:gd name="T24" fmla="*/ 36 w 57"/>
                  <a:gd name="T25" fmla="*/ 29 h 39"/>
                  <a:gd name="T26" fmla="*/ 36 w 57"/>
                  <a:gd name="T27" fmla="*/ 33 h 39"/>
                  <a:gd name="T28" fmla="*/ 31 w 57"/>
                  <a:gd name="T29" fmla="*/ 31 h 39"/>
                  <a:gd name="T30" fmla="*/ 31 w 57"/>
                  <a:gd name="T31" fmla="*/ 33 h 39"/>
                  <a:gd name="T32" fmla="*/ 29 w 57"/>
                  <a:gd name="T33" fmla="*/ 31 h 39"/>
                  <a:gd name="T34" fmla="*/ 29 w 57"/>
                  <a:gd name="T35" fmla="*/ 27 h 39"/>
                  <a:gd name="T36" fmla="*/ 29 w 57"/>
                  <a:gd name="T37" fmla="*/ 23 h 39"/>
                  <a:gd name="T38" fmla="*/ 34 w 57"/>
                  <a:gd name="T39" fmla="*/ 20 h 39"/>
                  <a:gd name="T40" fmla="*/ 34 w 57"/>
                  <a:gd name="T41" fmla="*/ 16 h 39"/>
                  <a:gd name="T42" fmla="*/ 36 w 57"/>
                  <a:gd name="T43" fmla="*/ 12 h 39"/>
                  <a:gd name="T44" fmla="*/ 31 w 57"/>
                  <a:gd name="T45" fmla="*/ 10 h 39"/>
                  <a:gd name="T46" fmla="*/ 31 w 57"/>
                  <a:gd name="T47" fmla="*/ 14 h 39"/>
                  <a:gd name="T48" fmla="*/ 27 w 57"/>
                  <a:gd name="T49" fmla="*/ 18 h 39"/>
                  <a:gd name="T50" fmla="*/ 19 w 57"/>
                  <a:gd name="T51" fmla="*/ 25 h 39"/>
                  <a:gd name="T52" fmla="*/ 15 w 57"/>
                  <a:gd name="T53" fmla="*/ 27 h 39"/>
                  <a:gd name="T54" fmla="*/ 13 w 57"/>
                  <a:gd name="T55" fmla="*/ 31 h 39"/>
                  <a:gd name="T56" fmla="*/ 12 w 57"/>
                  <a:gd name="T57" fmla="*/ 33 h 39"/>
                  <a:gd name="T58" fmla="*/ 8 w 57"/>
                  <a:gd name="T59" fmla="*/ 31 h 39"/>
                  <a:gd name="T60" fmla="*/ 8 w 57"/>
                  <a:gd name="T61" fmla="*/ 29 h 39"/>
                  <a:gd name="T62" fmla="*/ 10 w 57"/>
                  <a:gd name="T63" fmla="*/ 27 h 39"/>
                  <a:gd name="T64" fmla="*/ 12 w 57"/>
                  <a:gd name="T65" fmla="*/ 25 h 39"/>
                  <a:gd name="T66" fmla="*/ 13 w 57"/>
                  <a:gd name="T67" fmla="*/ 21 h 39"/>
                  <a:gd name="T68" fmla="*/ 15 w 57"/>
                  <a:gd name="T69" fmla="*/ 20 h 39"/>
                  <a:gd name="T70" fmla="*/ 13 w 57"/>
                  <a:gd name="T71" fmla="*/ 21 h 39"/>
                  <a:gd name="T72" fmla="*/ 19 w 57"/>
                  <a:gd name="T73" fmla="*/ 20 h 39"/>
                  <a:gd name="T74" fmla="*/ 13 w 57"/>
                  <a:gd name="T75" fmla="*/ 14 h 39"/>
                  <a:gd name="T76" fmla="*/ 19 w 57"/>
                  <a:gd name="T77" fmla="*/ 12 h 39"/>
                  <a:gd name="T78" fmla="*/ 23 w 57"/>
                  <a:gd name="T79" fmla="*/ 12 h 39"/>
                  <a:gd name="T80" fmla="*/ 29 w 57"/>
                  <a:gd name="T81" fmla="*/ 12 h 39"/>
                  <a:gd name="T82" fmla="*/ 6 w 57"/>
                  <a:gd name="T83" fmla="*/ 25 h 39"/>
                  <a:gd name="T84" fmla="*/ 4 w 57"/>
                  <a:gd name="T85" fmla="*/ 23 h 39"/>
                  <a:gd name="T86" fmla="*/ 6 w 57"/>
                  <a:gd name="T87" fmla="*/ 21 h 39"/>
                  <a:gd name="T88" fmla="*/ 15 w 57"/>
                  <a:gd name="T89" fmla="*/ 10 h 39"/>
                  <a:gd name="T90" fmla="*/ 25 w 57"/>
                  <a:gd name="T91" fmla="*/ 8 h 39"/>
                  <a:gd name="T92" fmla="*/ 44 w 57"/>
                  <a:gd name="T93" fmla="*/ 25 h 39"/>
                  <a:gd name="T94" fmla="*/ 21 w 57"/>
                  <a:gd name="T95" fmla="*/ 8 h 39"/>
                  <a:gd name="T96" fmla="*/ 25 w 57"/>
                  <a:gd name="T97" fmla="*/ 35 h 39"/>
                  <a:gd name="T98" fmla="*/ 0 w 57"/>
                  <a:gd name="T99" fmla="*/ 18 h 39"/>
                  <a:gd name="T100" fmla="*/ 12 w 57"/>
                  <a:gd name="T101" fmla="*/ 6 h 39"/>
                  <a:gd name="T102" fmla="*/ 27 w 57"/>
                  <a:gd name="T103" fmla="*/ 20 h 39"/>
                  <a:gd name="T104" fmla="*/ 10 w 57"/>
                  <a:gd name="T105" fmla="*/ 10 h 39"/>
                  <a:gd name="T106" fmla="*/ 36 w 57"/>
                  <a:gd name="T107" fmla="*/ 39 h 39"/>
                  <a:gd name="T108" fmla="*/ 2 w 57"/>
                  <a:gd name="T109" fmla="*/ 0 h 39"/>
                  <a:gd name="T110" fmla="*/ 25 w 57"/>
                  <a:gd name="T111" fmla="*/ 29 h 39"/>
                  <a:gd name="T112" fmla="*/ 13 w 57"/>
                  <a:gd name="T113" fmla="*/ 21 h 39"/>
                  <a:gd name="T114" fmla="*/ 13 w 57"/>
                  <a:gd name="T115" fmla="*/ 4 h 39"/>
                  <a:gd name="T116" fmla="*/ 15 w 57"/>
                  <a:gd name="T117" fmla="*/ 18 h 39"/>
                  <a:gd name="T118" fmla="*/ 46 w 57"/>
                  <a:gd name="T119" fmla="*/ 23 h 39"/>
                  <a:gd name="T120" fmla="*/ 10 w 57"/>
                  <a:gd name="T121" fmla="*/ 12 h 39"/>
                  <a:gd name="T122" fmla="*/ 27 w 57"/>
                  <a:gd name="T123" fmla="*/ 2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" h="39">
                    <a:moveTo>
                      <a:pt x="38" y="6"/>
                    </a:moveTo>
                    <a:lnTo>
                      <a:pt x="38" y="8"/>
                    </a:lnTo>
                    <a:lnTo>
                      <a:pt x="40" y="8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8" y="10"/>
                    </a:lnTo>
                    <a:lnTo>
                      <a:pt x="48" y="12"/>
                    </a:lnTo>
                    <a:lnTo>
                      <a:pt x="46" y="12"/>
                    </a:lnTo>
                    <a:lnTo>
                      <a:pt x="44" y="12"/>
                    </a:lnTo>
                    <a:lnTo>
                      <a:pt x="46" y="10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8" y="16"/>
                    </a:lnTo>
                    <a:lnTo>
                      <a:pt x="48" y="14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0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5" y="12"/>
                    </a:lnTo>
                    <a:lnTo>
                      <a:pt x="55" y="14"/>
                    </a:lnTo>
                    <a:lnTo>
                      <a:pt x="57" y="14"/>
                    </a:lnTo>
                    <a:lnTo>
                      <a:pt x="55" y="14"/>
                    </a:lnTo>
                    <a:lnTo>
                      <a:pt x="57" y="14"/>
                    </a:lnTo>
                    <a:lnTo>
                      <a:pt x="54" y="14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2" y="14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7" y="18"/>
                    </a:lnTo>
                    <a:lnTo>
                      <a:pt x="55" y="18"/>
                    </a:lnTo>
                    <a:lnTo>
                      <a:pt x="54" y="18"/>
                    </a:lnTo>
                    <a:lnTo>
                      <a:pt x="55" y="18"/>
                    </a:lnTo>
                    <a:lnTo>
                      <a:pt x="54" y="18"/>
                    </a:lnTo>
                    <a:lnTo>
                      <a:pt x="55" y="20"/>
                    </a:lnTo>
                    <a:lnTo>
                      <a:pt x="55" y="18"/>
                    </a:lnTo>
                    <a:lnTo>
                      <a:pt x="57" y="18"/>
                    </a:lnTo>
                    <a:lnTo>
                      <a:pt x="55" y="20"/>
                    </a:lnTo>
                    <a:lnTo>
                      <a:pt x="54" y="20"/>
                    </a:lnTo>
                    <a:lnTo>
                      <a:pt x="55" y="20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0" y="20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0" y="21"/>
                    </a:lnTo>
                    <a:lnTo>
                      <a:pt x="52" y="21"/>
                    </a:lnTo>
                    <a:lnTo>
                      <a:pt x="50" y="21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48" y="21"/>
                    </a:lnTo>
                    <a:lnTo>
                      <a:pt x="50" y="21"/>
                    </a:lnTo>
                    <a:lnTo>
                      <a:pt x="50" y="23"/>
                    </a:lnTo>
                    <a:lnTo>
                      <a:pt x="48" y="23"/>
                    </a:lnTo>
                    <a:lnTo>
                      <a:pt x="46" y="25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6" y="23"/>
                    </a:lnTo>
                    <a:lnTo>
                      <a:pt x="44" y="23"/>
                    </a:lnTo>
                    <a:lnTo>
                      <a:pt x="42" y="23"/>
                    </a:lnTo>
                    <a:lnTo>
                      <a:pt x="40" y="23"/>
                    </a:lnTo>
                    <a:lnTo>
                      <a:pt x="38" y="21"/>
                    </a:lnTo>
                    <a:lnTo>
                      <a:pt x="40" y="23"/>
                    </a:lnTo>
                    <a:lnTo>
                      <a:pt x="38" y="21"/>
                    </a:lnTo>
                    <a:lnTo>
                      <a:pt x="38" y="23"/>
                    </a:lnTo>
                    <a:lnTo>
                      <a:pt x="36" y="23"/>
                    </a:lnTo>
                    <a:lnTo>
                      <a:pt x="34" y="21"/>
                    </a:lnTo>
                    <a:lnTo>
                      <a:pt x="36" y="23"/>
                    </a:lnTo>
                    <a:lnTo>
                      <a:pt x="34" y="23"/>
                    </a:lnTo>
                    <a:lnTo>
                      <a:pt x="36" y="23"/>
                    </a:lnTo>
                    <a:lnTo>
                      <a:pt x="38" y="23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2" y="25"/>
                    </a:lnTo>
                    <a:lnTo>
                      <a:pt x="44" y="25"/>
                    </a:lnTo>
                    <a:lnTo>
                      <a:pt x="44" y="27"/>
                    </a:lnTo>
                    <a:lnTo>
                      <a:pt x="42" y="27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40" y="27"/>
                    </a:lnTo>
                    <a:lnTo>
                      <a:pt x="38" y="27"/>
                    </a:lnTo>
                    <a:lnTo>
                      <a:pt x="40" y="29"/>
                    </a:lnTo>
                    <a:lnTo>
                      <a:pt x="38" y="29"/>
                    </a:lnTo>
                    <a:lnTo>
                      <a:pt x="38" y="27"/>
                    </a:lnTo>
                    <a:lnTo>
                      <a:pt x="38" y="29"/>
                    </a:lnTo>
                    <a:lnTo>
                      <a:pt x="36" y="27"/>
                    </a:lnTo>
                    <a:lnTo>
                      <a:pt x="38" y="27"/>
                    </a:lnTo>
                    <a:lnTo>
                      <a:pt x="36" y="27"/>
                    </a:lnTo>
                    <a:lnTo>
                      <a:pt x="34" y="25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7"/>
                    </a:lnTo>
                    <a:lnTo>
                      <a:pt x="33" y="27"/>
                    </a:lnTo>
                    <a:lnTo>
                      <a:pt x="34" y="27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6" y="29"/>
                    </a:lnTo>
                    <a:lnTo>
                      <a:pt x="34" y="31"/>
                    </a:lnTo>
                    <a:lnTo>
                      <a:pt x="36" y="29"/>
                    </a:lnTo>
                    <a:lnTo>
                      <a:pt x="34" y="31"/>
                    </a:lnTo>
                    <a:lnTo>
                      <a:pt x="36" y="29"/>
                    </a:lnTo>
                    <a:lnTo>
                      <a:pt x="36" y="31"/>
                    </a:lnTo>
                    <a:lnTo>
                      <a:pt x="36" y="33"/>
                    </a:lnTo>
                    <a:lnTo>
                      <a:pt x="36" y="31"/>
                    </a:lnTo>
                    <a:lnTo>
                      <a:pt x="36" y="33"/>
                    </a:lnTo>
                    <a:lnTo>
                      <a:pt x="34" y="31"/>
                    </a:lnTo>
                    <a:lnTo>
                      <a:pt x="34" y="33"/>
                    </a:lnTo>
                    <a:lnTo>
                      <a:pt x="33" y="33"/>
                    </a:lnTo>
                    <a:lnTo>
                      <a:pt x="33" y="31"/>
                    </a:lnTo>
                    <a:lnTo>
                      <a:pt x="31" y="29"/>
                    </a:lnTo>
                    <a:lnTo>
                      <a:pt x="31" y="31"/>
                    </a:lnTo>
                    <a:lnTo>
                      <a:pt x="31" y="29"/>
                    </a:lnTo>
                    <a:lnTo>
                      <a:pt x="31" y="31"/>
                    </a:lnTo>
                    <a:lnTo>
                      <a:pt x="31" y="29"/>
                    </a:lnTo>
                    <a:lnTo>
                      <a:pt x="31" y="31"/>
                    </a:lnTo>
                    <a:lnTo>
                      <a:pt x="29" y="31"/>
                    </a:lnTo>
                    <a:lnTo>
                      <a:pt x="31" y="31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33" y="33"/>
                    </a:lnTo>
                    <a:lnTo>
                      <a:pt x="33" y="35"/>
                    </a:lnTo>
                    <a:lnTo>
                      <a:pt x="31" y="35"/>
                    </a:lnTo>
                    <a:lnTo>
                      <a:pt x="33" y="35"/>
                    </a:lnTo>
                    <a:lnTo>
                      <a:pt x="31" y="37"/>
                    </a:lnTo>
                    <a:lnTo>
                      <a:pt x="31" y="35"/>
                    </a:lnTo>
                    <a:lnTo>
                      <a:pt x="29" y="35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9" y="29"/>
                    </a:lnTo>
                    <a:lnTo>
                      <a:pt x="27" y="27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31" y="21"/>
                    </a:lnTo>
                    <a:lnTo>
                      <a:pt x="31" y="23"/>
                    </a:lnTo>
                    <a:lnTo>
                      <a:pt x="31" y="21"/>
                    </a:lnTo>
                    <a:lnTo>
                      <a:pt x="31" y="23"/>
                    </a:lnTo>
                    <a:lnTo>
                      <a:pt x="33" y="21"/>
                    </a:lnTo>
                    <a:lnTo>
                      <a:pt x="33" y="20"/>
                    </a:lnTo>
                    <a:lnTo>
                      <a:pt x="34" y="20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34" y="16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6" y="14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8" y="8"/>
                    </a:lnTo>
                    <a:lnTo>
                      <a:pt x="38" y="6"/>
                    </a:lnTo>
                    <a:close/>
                    <a:moveTo>
                      <a:pt x="31" y="10"/>
                    </a:moveTo>
                    <a:lnTo>
                      <a:pt x="33" y="10"/>
                    </a:lnTo>
                    <a:lnTo>
                      <a:pt x="34" y="12"/>
                    </a:lnTo>
                    <a:lnTo>
                      <a:pt x="33" y="12"/>
                    </a:lnTo>
                    <a:lnTo>
                      <a:pt x="34" y="12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1" y="16"/>
                    </a:lnTo>
                    <a:lnTo>
                      <a:pt x="31" y="18"/>
                    </a:lnTo>
                    <a:lnTo>
                      <a:pt x="29" y="18"/>
                    </a:lnTo>
                    <a:lnTo>
                      <a:pt x="31" y="16"/>
                    </a:lnTo>
                    <a:lnTo>
                      <a:pt x="29" y="18"/>
                    </a:lnTo>
                    <a:lnTo>
                      <a:pt x="29" y="16"/>
                    </a:lnTo>
                    <a:lnTo>
                      <a:pt x="29" y="18"/>
                    </a:lnTo>
                    <a:lnTo>
                      <a:pt x="27" y="18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25" y="21"/>
                    </a:lnTo>
                    <a:lnTo>
                      <a:pt x="23" y="23"/>
                    </a:lnTo>
                    <a:lnTo>
                      <a:pt x="23" y="25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9" y="25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5" y="31"/>
                    </a:lnTo>
                    <a:lnTo>
                      <a:pt x="15" y="29"/>
                    </a:lnTo>
                    <a:lnTo>
                      <a:pt x="13" y="29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3" y="29"/>
                    </a:lnTo>
                    <a:lnTo>
                      <a:pt x="12" y="29"/>
                    </a:lnTo>
                    <a:lnTo>
                      <a:pt x="12" y="31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2" y="33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0" y="31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0" y="31"/>
                    </a:lnTo>
                    <a:lnTo>
                      <a:pt x="12" y="31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2" y="31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6" y="27"/>
                    </a:lnTo>
                    <a:lnTo>
                      <a:pt x="8" y="27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0" y="27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3" y="27"/>
                    </a:lnTo>
                    <a:lnTo>
                      <a:pt x="12" y="25"/>
                    </a:lnTo>
                    <a:lnTo>
                      <a:pt x="15" y="25"/>
                    </a:lnTo>
                    <a:lnTo>
                      <a:pt x="13" y="25"/>
                    </a:lnTo>
                    <a:lnTo>
                      <a:pt x="12" y="25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7" y="20"/>
                    </a:lnTo>
                    <a:lnTo>
                      <a:pt x="17" y="21"/>
                    </a:lnTo>
                    <a:lnTo>
                      <a:pt x="17" y="20"/>
                    </a:lnTo>
                    <a:lnTo>
                      <a:pt x="17" y="21"/>
                    </a:lnTo>
                    <a:lnTo>
                      <a:pt x="19" y="20"/>
                    </a:lnTo>
                    <a:lnTo>
                      <a:pt x="17" y="20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13" y="20"/>
                    </a:lnTo>
                    <a:lnTo>
                      <a:pt x="13" y="21"/>
                    </a:lnTo>
                    <a:lnTo>
                      <a:pt x="13" y="20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2" y="21"/>
                    </a:lnTo>
                    <a:lnTo>
                      <a:pt x="12" y="20"/>
                    </a:lnTo>
                    <a:lnTo>
                      <a:pt x="12" y="18"/>
                    </a:lnTo>
                    <a:lnTo>
                      <a:pt x="13" y="20"/>
                    </a:lnTo>
                    <a:lnTo>
                      <a:pt x="15" y="18"/>
                    </a:lnTo>
                    <a:lnTo>
                      <a:pt x="17" y="18"/>
                    </a:lnTo>
                    <a:lnTo>
                      <a:pt x="19" y="20"/>
                    </a:lnTo>
                    <a:lnTo>
                      <a:pt x="21" y="20"/>
                    </a:lnTo>
                    <a:lnTo>
                      <a:pt x="19" y="20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7" y="16"/>
                    </a:lnTo>
                    <a:lnTo>
                      <a:pt x="15" y="14"/>
                    </a:lnTo>
                    <a:lnTo>
                      <a:pt x="17" y="16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3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3" y="10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7" y="12"/>
                    </a:lnTo>
                    <a:lnTo>
                      <a:pt x="27" y="14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27" y="12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29" y="12"/>
                    </a:lnTo>
                    <a:lnTo>
                      <a:pt x="31" y="10"/>
                    </a:lnTo>
                    <a:close/>
                    <a:moveTo>
                      <a:pt x="8" y="20"/>
                    </a:moveTo>
                    <a:lnTo>
                      <a:pt x="8" y="21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8" y="23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8" y="25"/>
                    </a:lnTo>
                    <a:lnTo>
                      <a:pt x="6" y="25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6" y="21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6" y="21"/>
                    </a:lnTo>
                    <a:lnTo>
                      <a:pt x="8" y="20"/>
                    </a:lnTo>
                    <a:close/>
                    <a:moveTo>
                      <a:pt x="17" y="8"/>
                    </a:moveTo>
                    <a:lnTo>
                      <a:pt x="19" y="8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5" y="10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5" y="8"/>
                    </a:lnTo>
                    <a:lnTo>
                      <a:pt x="17" y="8"/>
                    </a:lnTo>
                    <a:close/>
                    <a:moveTo>
                      <a:pt x="25" y="8"/>
                    </a:moveTo>
                    <a:lnTo>
                      <a:pt x="27" y="8"/>
                    </a:lnTo>
                    <a:lnTo>
                      <a:pt x="29" y="8"/>
                    </a:lnTo>
                    <a:lnTo>
                      <a:pt x="31" y="10"/>
                    </a:lnTo>
                    <a:lnTo>
                      <a:pt x="29" y="8"/>
                    </a:lnTo>
                    <a:lnTo>
                      <a:pt x="29" y="10"/>
                    </a:lnTo>
                    <a:lnTo>
                      <a:pt x="31" y="10"/>
                    </a:lnTo>
                    <a:lnTo>
                      <a:pt x="29" y="10"/>
                    </a:lnTo>
                    <a:lnTo>
                      <a:pt x="27" y="8"/>
                    </a:lnTo>
                    <a:lnTo>
                      <a:pt x="25" y="8"/>
                    </a:lnTo>
                    <a:close/>
                    <a:moveTo>
                      <a:pt x="44" y="25"/>
                    </a:moveTo>
                    <a:lnTo>
                      <a:pt x="48" y="25"/>
                    </a:lnTo>
                    <a:lnTo>
                      <a:pt x="48" y="29"/>
                    </a:lnTo>
                    <a:lnTo>
                      <a:pt x="44" y="29"/>
                    </a:lnTo>
                    <a:lnTo>
                      <a:pt x="44" y="25"/>
                    </a:lnTo>
                    <a:close/>
                    <a:moveTo>
                      <a:pt x="25" y="31"/>
                    </a:moveTo>
                    <a:lnTo>
                      <a:pt x="27" y="31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5" y="31"/>
                    </a:lnTo>
                    <a:close/>
                    <a:moveTo>
                      <a:pt x="21" y="8"/>
                    </a:moveTo>
                    <a:lnTo>
                      <a:pt x="23" y="8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21" y="8"/>
                    </a:lnTo>
                    <a:close/>
                    <a:moveTo>
                      <a:pt x="0" y="21"/>
                    </a:moveTo>
                    <a:lnTo>
                      <a:pt x="2" y="21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1"/>
                    </a:lnTo>
                    <a:close/>
                    <a:moveTo>
                      <a:pt x="25" y="35"/>
                    </a:moveTo>
                    <a:lnTo>
                      <a:pt x="27" y="35"/>
                    </a:lnTo>
                    <a:lnTo>
                      <a:pt x="27" y="37"/>
                    </a:lnTo>
                    <a:lnTo>
                      <a:pt x="25" y="37"/>
                    </a:lnTo>
                    <a:lnTo>
                      <a:pt x="25" y="35"/>
                    </a:lnTo>
                    <a:close/>
                    <a:moveTo>
                      <a:pt x="36" y="29"/>
                    </a:moveTo>
                    <a:lnTo>
                      <a:pt x="40" y="29"/>
                    </a:lnTo>
                    <a:lnTo>
                      <a:pt x="40" y="33"/>
                    </a:lnTo>
                    <a:lnTo>
                      <a:pt x="36" y="33"/>
                    </a:lnTo>
                    <a:lnTo>
                      <a:pt x="36" y="29"/>
                    </a:lnTo>
                    <a:close/>
                    <a:moveTo>
                      <a:pt x="0" y="18"/>
                    </a:moveTo>
                    <a:lnTo>
                      <a:pt x="2" y="18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18"/>
                    </a:lnTo>
                    <a:close/>
                    <a:moveTo>
                      <a:pt x="25" y="8"/>
                    </a:moveTo>
                    <a:lnTo>
                      <a:pt x="27" y="8"/>
                    </a:lnTo>
                    <a:lnTo>
                      <a:pt x="27" y="10"/>
                    </a:lnTo>
                    <a:lnTo>
                      <a:pt x="25" y="10"/>
                    </a:lnTo>
                    <a:lnTo>
                      <a:pt x="25" y="8"/>
                    </a:lnTo>
                    <a:close/>
                    <a:moveTo>
                      <a:pt x="12" y="6"/>
                    </a:moveTo>
                    <a:lnTo>
                      <a:pt x="13" y="6"/>
                    </a:lnTo>
                    <a:lnTo>
                      <a:pt x="13" y="8"/>
                    </a:lnTo>
                    <a:lnTo>
                      <a:pt x="12" y="8"/>
                    </a:lnTo>
                    <a:lnTo>
                      <a:pt x="12" y="6"/>
                    </a:lnTo>
                    <a:close/>
                    <a:moveTo>
                      <a:pt x="6" y="25"/>
                    </a:moveTo>
                    <a:lnTo>
                      <a:pt x="8" y="25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6" y="25"/>
                    </a:lnTo>
                    <a:close/>
                    <a:moveTo>
                      <a:pt x="27" y="20"/>
                    </a:moveTo>
                    <a:lnTo>
                      <a:pt x="29" y="20"/>
                    </a:lnTo>
                    <a:lnTo>
                      <a:pt x="29" y="21"/>
                    </a:lnTo>
                    <a:lnTo>
                      <a:pt x="27" y="21"/>
                    </a:lnTo>
                    <a:lnTo>
                      <a:pt x="27" y="20"/>
                    </a:lnTo>
                    <a:close/>
                    <a:moveTo>
                      <a:pt x="25" y="25"/>
                    </a:moveTo>
                    <a:lnTo>
                      <a:pt x="27" y="25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5" y="25"/>
                    </a:lnTo>
                    <a:close/>
                    <a:moveTo>
                      <a:pt x="10" y="10"/>
                    </a:moveTo>
                    <a:lnTo>
                      <a:pt x="12" y="10"/>
                    </a:lnTo>
                    <a:lnTo>
                      <a:pt x="10" y="10"/>
                    </a:lnTo>
                    <a:close/>
                    <a:moveTo>
                      <a:pt x="25" y="35"/>
                    </a:moveTo>
                    <a:lnTo>
                      <a:pt x="27" y="35"/>
                    </a:lnTo>
                    <a:lnTo>
                      <a:pt x="27" y="37"/>
                    </a:lnTo>
                    <a:lnTo>
                      <a:pt x="25" y="37"/>
                    </a:lnTo>
                    <a:lnTo>
                      <a:pt x="25" y="35"/>
                    </a:lnTo>
                    <a:close/>
                    <a:moveTo>
                      <a:pt x="34" y="37"/>
                    </a:moveTo>
                    <a:lnTo>
                      <a:pt x="36" y="37"/>
                    </a:lnTo>
                    <a:lnTo>
                      <a:pt x="36" y="39"/>
                    </a:lnTo>
                    <a:lnTo>
                      <a:pt x="34" y="39"/>
                    </a:lnTo>
                    <a:lnTo>
                      <a:pt x="34" y="37"/>
                    </a:lnTo>
                    <a:close/>
                    <a:moveTo>
                      <a:pt x="25" y="10"/>
                    </a:moveTo>
                    <a:lnTo>
                      <a:pt x="27" y="10"/>
                    </a:lnTo>
                    <a:lnTo>
                      <a:pt x="27" y="12"/>
                    </a:lnTo>
                    <a:lnTo>
                      <a:pt x="25" y="12"/>
                    </a:lnTo>
                    <a:lnTo>
                      <a:pt x="25" y="10"/>
                    </a:lnTo>
                    <a:close/>
                    <a:moveTo>
                      <a:pt x="2" y="0"/>
                    </a:moveTo>
                    <a:lnTo>
                      <a:pt x="2" y="2"/>
                    </a:lnTo>
                    <a:lnTo>
                      <a:pt x="2" y="0"/>
                    </a:lnTo>
                    <a:close/>
                    <a:moveTo>
                      <a:pt x="10" y="16"/>
                    </a:moveTo>
                    <a:lnTo>
                      <a:pt x="12" y="16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10" y="16"/>
                    </a:lnTo>
                    <a:close/>
                    <a:moveTo>
                      <a:pt x="8" y="16"/>
                    </a:moveTo>
                    <a:lnTo>
                      <a:pt x="10" y="16"/>
                    </a:lnTo>
                    <a:lnTo>
                      <a:pt x="8" y="16"/>
                    </a:lnTo>
                    <a:close/>
                    <a:moveTo>
                      <a:pt x="25" y="27"/>
                    </a:moveTo>
                    <a:lnTo>
                      <a:pt x="25" y="29"/>
                    </a:lnTo>
                    <a:lnTo>
                      <a:pt x="25" y="27"/>
                    </a:lnTo>
                    <a:close/>
                    <a:moveTo>
                      <a:pt x="27" y="10"/>
                    </a:moveTo>
                    <a:lnTo>
                      <a:pt x="29" y="10"/>
                    </a:lnTo>
                    <a:lnTo>
                      <a:pt x="27" y="10"/>
                    </a:lnTo>
                    <a:close/>
                    <a:moveTo>
                      <a:pt x="23" y="6"/>
                    </a:moveTo>
                    <a:lnTo>
                      <a:pt x="23" y="8"/>
                    </a:lnTo>
                    <a:lnTo>
                      <a:pt x="23" y="6"/>
                    </a:lnTo>
                    <a:close/>
                    <a:moveTo>
                      <a:pt x="13" y="21"/>
                    </a:moveTo>
                    <a:lnTo>
                      <a:pt x="13" y="23"/>
                    </a:lnTo>
                    <a:lnTo>
                      <a:pt x="13" y="21"/>
                    </a:lnTo>
                    <a:close/>
                    <a:moveTo>
                      <a:pt x="27" y="12"/>
                    </a:moveTo>
                    <a:lnTo>
                      <a:pt x="29" y="12"/>
                    </a:lnTo>
                    <a:lnTo>
                      <a:pt x="27" y="12"/>
                    </a:lnTo>
                    <a:close/>
                    <a:moveTo>
                      <a:pt x="6" y="6"/>
                    </a:moveTo>
                    <a:lnTo>
                      <a:pt x="8" y="6"/>
                    </a:lnTo>
                    <a:lnTo>
                      <a:pt x="6" y="6"/>
                    </a:lnTo>
                    <a:close/>
                    <a:moveTo>
                      <a:pt x="44" y="29"/>
                    </a:moveTo>
                    <a:lnTo>
                      <a:pt x="44" y="31"/>
                    </a:lnTo>
                    <a:lnTo>
                      <a:pt x="44" y="29"/>
                    </a:lnTo>
                    <a:close/>
                    <a:moveTo>
                      <a:pt x="13" y="4"/>
                    </a:moveTo>
                    <a:lnTo>
                      <a:pt x="15" y="4"/>
                    </a:lnTo>
                    <a:lnTo>
                      <a:pt x="13" y="4"/>
                    </a:lnTo>
                    <a:close/>
                    <a:moveTo>
                      <a:pt x="6" y="2"/>
                    </a:moveTo>
                    <a:lnTo>
                      <a:pt x="8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2"/>
                    </a:lnTo>
                    <a:close/>
                    <a:moveTo>
                      <a:pt x="13" y="16"/>
                    </a:moveTo>
                    <a:lnTo>
                      <a:pt x="15" y="16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3" y="16"/>
                    </a:lnTo>
                    <a:close/>
                    <a:moveTo>
                      <a:pt x="23" y="10"/>
                    </a:moveTo>
                    <a:lnTo>
                      <a:pt x="25" y="10"/>
                    </a:lnTo>
                    <a:lnTo>
                      <a:pt x="23" y="10"/>
                    </a:lnTo>
                    <a:close/>
                    <a:moveTo>
                      <a:pt x="27" y="23"/>
                    </a:moveTo>
                    <a:lnTo>
                      <a:pt x="29" y="23"/>
                    </a:lnTo>
                    <a:lnTo>
                      <a:pt x="27" y="23"/>
                    </a:lnTo>
                    <a:close/>
                    <a:moveTo>
                      <a:pt x="44" y="23"/>
                    </a:moveTo>
                    <a:lnTo>
                      <a:pt x="46" y="23"/>
                    </a:lnTo>
                    <a:lnTo>
                      <a:pt x="44" y="23"/>
                    </a:lnTo>
                    <a:close/>
                    <a:moveTo>
                      <a:pt x="25" y="10"/>
                    </a:moveTo>
                    <a:lnTo>
                      <a:pt x="27" y="10"/>
                    </a:lnTo>
                    <a:lnTo>
                      <a:pt x="25" y="10"/>
                    </a:lnTo>
                    <a:close/>
                    <a:moveTo>
                      <a:pt x="13" y="31"/>
                    </a:moveTo>
                    <a:lnTo>
                      <a:pt x="15" y="31"/>
                    </a:lnTo>
                    <a:lnTo>
                      <a:pt x="15" y="33"/>
                    </a:lnTo>
                    <a:lnTo>
                      <a:pt x="13" y="33"/>
                    </a:lnTo>
                    <a:lnTo>
                      <a:pt x="13" y="31"/>
                    </a:lnTo>
                    <a:close/>
                    <a:moveTo>
                      <a:pt x="10" y="12"/>
                    </a:moveTo>
                    <a:lnTo>
                      <a:pt x="10" y="14"/>
                    </a:lnTo>
                    <a:lnTo>
                      <a:pt x="10" y="12"/>
                    </a:lnTo>
                    <a:close/>
                    <a:moveTo>
                      <a:pt x="36" y="29"/>
                    </a:moveTo>
                    <a:lnTo>
                      <a:pt x="38" y="29"/>
                    </a:lnTo>
                    <a:lnTo>
                      <a:pt x="38" y="31"/>
                    </a:lnTo>
                    <a:lnTo>
                      <a:pt x="36" y="31"/>
                    </a:lnTo>
                    <a:lnTo>
                      <a:pt x="36" y="29"/>
                    </a:lnTo>
                    <a:close/>
                    <a:moveTo>
                      <a:pt x="27" y="23"/>
                    </a:moveTo>
                    <a:lnTo>
                      <a:pt x="27" y="25"/>
                    </a:lnTo>
                    <a:lnTo>
                      <a:pt x="27" y="23"/>
                    </a:lnTo>
                    <a:close/>
                    <a:moveTo>
                      <a:pt x="27" y="10"/>
                    </a:moveTo>
                    <a:lnTo>
                      <a:pt x="27" y="12"/>
                    </a:lnTo>
                    <a:lnTo>
                      <a:pt x="27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8" name="Freeform 17">
                <a:extLst>
                  <a:ext uri="{FF2B5EF4-FFF2-40B4-BE49-F238E27FC236}">
                    <a16:creationId xmlns:a16="http://schemas.microsoft.com/office/drawing/2014/main" id="{40A29B10-2D80-5EB5-E721-CBD19178354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634020" y="-1029069"/>
                <a:ext cx="133614" cy="145490"/>
              </a:xfrm>
              <a:custGeom>
                <a:avLst/>
                <a:gdLst>
                  <a:gd name="T0" fmla="*/ 78 w 86"/>
                  <a:gd name="T1" fmla="*/ 74 h 93"/>
                  <a:gd name="T2" fmla="*/ 74 w 86"/>
                  <a:gd name="T3" fmla="*/ 80 h 93"/>
                  <a:gd name="T4" fmla="*/ 69 w 86"/>
                  <a:gd name="T5" fmla="*/ 86 h 93"/>
                  <a:gd name="T6" fmla="*/ 63 w 86"/>
                  <a:gd name="T7" fmla="*/ 90 h 93"/>
                  <a:gd name="T8" fmla="*/ 57 w 86"/>
                  <a:gd name="T9" fmla="*/ 91 h 93"/>
                  <a:gd name="T10" fmla="*/ 53 w 86"/>
                  <a:gd name="T11" fmla="*/ 91 h 93"/>
                  <a:gd name="T12" fmla="*/ 46 w 86"/>
                  <a:gd name="T13" fmla="*/ 90 h 93"/>
                  <a:gd name="T14" fmla="*/ 38 w 86"/>
                  <a:gd name="T15" fmla="*/ 91 h 93"/>
                  <a:gd name="T16" fmla="*/ 36 w 86"/>
                  <a:gd name="T17" fmla="*/ 91 h 93"/>
                  <a:gd name="T18" fmla="*/ 34 w 86"/>
                  <a:gd name="T19" fmla="*/ 90 h 93"/>
                  <a:gd name="T20" fmla="*/ 28 w 86"/>
                  <a:gd name="T21" fmla="*/ 88 h 93"/>
                  <a:gd name="T22" fmla="*/ 25 w 86"/>
                  <a:gd name="T23" fmla="*/ 86 h 93"/>
                  <a:gd name="T24" fmla="*/ 17 w 86"/>
                  <a:gd name="T25" fmla="*/ 82 h 93"/>
                  <a:gd name="T26" fmla="*/ 13 w 86"/>
                  <a:gd name="T27" fmla="*/ 82 h 93"/>
                  <a:gd name="T28" fmla="*/ 9 w 86"/>
                  <a:gd name="T29" fmla="*/ 82 h 93"/>
                  <a:gd name="T30" fmla="*/ 4 w 86"/>
                  <a:gd name="T31" fmla="*/ 78 h 93"/>
                  <a:gd name="T32" fmla="*/ 0 w 86"/>
                  <a:gd name="T33" fmla="*/ 72 h 93"/>
                  <a:gd name="T34" fmla="*/ 0 w 86"/>
                  <a:gd name="T35" fmla="*/ 63 h 93"/>
                  <a:gd name="T36" fmla="*/ 2 w 86"/>
                  <a:gd name="T37" fmla="*/ 57 h 93"/>
                  <a:gd name="T38" fmla="*/ 6 w 86"/>
                  <a:gd name="T39" fmla="*/ 53 h 93"/>
                  <a:gd name="T40" fmla="*/ 4 w 86"/>
                  <a:gd name="T41" fmla="*/ 44 h 93"/>
                  <a:gd name="T42" fmla="*/ 6 w 86"/>
                  <a:gd name="T43" fmla="*/ 36 h 93"/>
                  <a:gd name="T44" fmla="*/ 8 w 86"/>
                  <a:gd name="T45" fmla="*/ 29 h 93"/>
                  <a:gd name="T46" fmla="*/ 8 w 86"/>
                  <a:gd name="T47" fmla="*/ 25 h 93"/>
                  <a:gd name="T48" fmla="*/ 9 w 86"/>
                  <a:gd name="T49" fmla="*/ 19 h 93"/>
                  <a:gd name="T50" fmla="*/ 9 w 86"/>
                  <a:gd name="T51" fmla="*/ 11 h 93"/>
                  <a:gd name="T52" fmla="*/ 13 w 86"/>
                  <a:gd name="T53" fmla="*/ 4 h 93"/>
                  <a:gd name="T54" fmla="*/ 15 w 86"/>
                  <a:gd name="T55" fmla="*/ 4 h 93"/>
                  <a:gd name="T56" fmla="*/ 17 w 86"/>
                  <a:gd name="T57" fmla="*/ 4 h 93"/>
                  <a:gd name="T58" fmla="*/ 19 w 86"/>
                  <a:gd name="T59" fmla="*/ 4 h 93"/>
                  <a:gd name="T60" fmla="*/ 23 w 86"/>
                  <a:gd name="T61" fmla="*/ 0 h 93"/>
                  <a:gd name="T62" fmla="*/ 23 w 86"/>
                  <a:gd name="T63" fmla="*/ 2 h 93"/>
                  <a:gd name="T64" fmla="*/ 28 w 86"/>
                  <a:gd name="T65" fmla="*/ 2 h 93"/>
                  <a:gd name="T66" fmla="*/ 30 w 86"/>
                  <a:gd name="T67" fmla="*/ 4 h 93"/>
                  <a:gd name="T68" fmla="*/ 32 w 86"/>
                  <a:gd name="T69" fmla="*/ 6 h 93"/>
                  <a:gd name="T70" fmla="*/ 36 w 86"/>
                  <a:gd name="T71" fmla="*/ 9 h 93"/>
                  <a:gd name="T72" fmla="*/ 38 w 86"/>
                  <a:gd name="T73" fmla="*/ 13 h 93"/>
                  <a:gd name="T74" fmla="*/ 42 w 86"/>
                  <a:gd name="T75" fmla="*/ 17 h 93"/>
                  <a:gd name="T76" fmla="*/ 46 w 86"/>
                  <a:gd name="T77" fmla="*/ 15 h 93"/>
                  <a:gd name="T78" fmla="*/ 49 w 86"/>
                  <a:gd name="T79" fmla="*/ 19 h 93"/>
                  <a:gd name="T80" fmla="*/ 49 w 86"/>
                  <a:gd name="T81" fmla="*/ 21 h 93"/>
                  <a:gd name="T82" fmla="*/ 53 w 86"/>
                  <a:gd name="T83" fmla="*/ 23 h 93"/>
                  <a:gd name="T84" fmla="*/ 55 w 86"/>
                  <a:gd name="T85" fmla="*/ 25 h 93"/>
                  <a:gd name="T86" fmla="*/ 59 w 86"/>
                  <a:gd name="T87" fmla="*/ 25 h 93"/>
                  <a:gd name="T88" fmla="*/ 63 w 86"/>
                  <a:gd name="T89" fmla="*/ 29 h 93"/>
                  <a:gd name="T90" fmla="*/ 70 w 86"/>
                  <a:gd name="T91" fmla="*/ 34 h 93"/>
                  <a:gd name="T92" fmla="*/ 74 w 86"/>
                  <a:gd name="T93" fmla="*/ 38 h 93"/>
                  <a:gd name="T94" fmla="*/ 76 w 86"/>
                  <a:gd name="T95" fmla="*/ 42 h 93"/>
                  <a:gd name="T96" fmla="*/ 80 w 86"/>
                  <a:gd name="T97" fmla="*/ 46 h 93"/>
                  <a:gd name="T98" fmla="*/ 84 w 86"/>
                  <a:gd name="T99" fmla="*/ 48 h 93"/>
                  <a:gd name="T100" fmla="*/ 84 w 86"/>
                  <a:gd name="T101" fmla="*/ 51 h 93"/>
                  <a:gd name="T102" fmla="*/ 78 w 86"/>
                  <a:gd name="T103" fmla="*/ 57 h 93"/>
                  <a:gd name="T104" fmla="*/ 78 w 86"/>
                  <a:gd name="T105" fmla="*/ 69 h 93"/>
                  <a:gd name="T106" fmla="*/ 2 w 86"/>
                  <a:gd name="T107" fmla="*/ 7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6" h="93">
                    <a:moveTo>
                      <a:pt x="80" y="69"/>
                    </a:moveTo>
                    <a:lnTo>
                      <a:pt x="78" y="72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6" y="78"/>
                    </a:lnTo>
                    <a:lnTo>
                      <a:pt x="74" y="80"/>
                    </a:lnTo>
                    <a:lnTo>
                      <a:pt x="74" y="82"/>
                    </a:lnTo>
                    <a:lnTo>
                      <a:pt x="72" y="84"/>
                    </a:lnTo>
                    <a:lnTo>
                      <a:pt x="69" y="86"/>
                    </a:lnTo>
                    <a:lnTo>
                      <a:pt x="69" y="88"/>
                    </a:lnTo>
                    <a:lnTo>
                      <a:pt x="67" y="88"/>
                    </a:lnTo>
                    <a:lnTo>
                      <a:pt x="63" y="90"/>
                    </a:lnTo>
                    <a:lnTo>
                      <a:pt x="61" y="90"/>
                    </a:lnTo>
                    <a:lnTo>
                      <a:pt x="61" y="91"/>
                    </a:lnTo>
                    <a:lnTo>
                      <a:pt x="57" y="91"/>
                    </a:lnTo>
                    <a:lnTo>
                      <a:pt x="55" y="93"/>
                    </a:lnTo>
                    <a:lnTo>
                      <a:pt x="55" y="91"/>
                    </a:lnTo>
                    <a:lnTo>
                      <a:pt x="53" y="91"/>
                    </a:lnTo>
                    <a:lnTo>
                      <a:pt x="51" y="91"/>
                    </a:lnTo>
                    <a:lnTo>
                      <a:pt x="49" y="90"/>
                    </a:lnTo>
                    <a:lnTo>
                      <a:pt x="46" y="90"/>
                    </a:lnTo>
                    <a:lnTo>
                      <a:pt x="44" y="90"/>
                    </a:lnTo>
                    <a:lnTo>
                      <a:pt x="42" y="90"/>
                    </a:lnTo>
                    <a:lnTo>
                      <a:pt x="38" y="91"/>
                    </a:lnTo>
                    <a:lnTo>
                      <a:pt x="36" y="91"/>
                    </a:lnTo>
                    <a:lnTo>
                      <a:pt x="36" y="93"/>
                    </a:lnTo>
                    <a:lnTo>
                      <a:pt x="36" y="91"/>
                    </a:lnTo>
                    <a:lnTo>
                      <a:pt x="34" y="91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2" y="90"/>
                    </a:lnTo>
                    <a:lnTo>
                      <a:pt x="30" y="90"/>
                    </a:lnTo>
                    <a:lnTo>
                      <a:pt x="28" y="88"/>
                    </a:lnTo>
                    <a:lnTo>
                      <a:pt x="27" y="88"/>
                    </a:lnTo>
                    <a:lnTo>
                      <a:pt x="25" y="88"/>
                    </a:lnTo>
                    <a:lnTo>
                      <a:pt x="25" y="86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17" y="82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3" y="82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8" y="80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2" y="74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4" y="57"/>
                    </a:lnTo>
                    <a:lnTo>
                      <a:pt x="6" y="55"/>
                    </a:lnTo>
                    <a:lnTo>
                      <a:pt x="6" y="53"/>
                    </a:lnTo>
                    <a:lnTo>
                      <a:pt x="6" y="50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6" y="42"/>
                    </a:lnTo>
                    <a:lnTo>
                      <a:pt x="4" y="40"/>
                    </a:lnTo>
                    <a:lnTo>
                      <a:pt x="6" y="36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9" y="21"/>
                    </a:lnTo>
                    <a:lnTo>
                      <a:pt x="9" y="19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4" y="9"/>
                    </a:lnTo>
                    <a:lnTo>
                      <a:pt x="36" y="9"/>
                    </a:lnTo>
                    <a:lnTo>
                      <a:pt x="36" y="11"/>
                    </a:lnTo>
                    <a:lnTo>
                      <a:pt x="36" y="13"/>
                    </a:lnTo>
                    <a:lnTo>
                      <a:pt x="38" y="13"/>
                    </a:lnTo>
                    <a:lnTo>
                      <a:pt x="40" y="1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4" y="17"/>
                    </a:lnTo>
                    <a:lnTo>
                      <a:pt x="44" y="15"/>
                    </a:lnTo>
                    <a:lnTo>
                      <a:pt x="46" y="15"/>
                    </a:lnTo>
                    <a:lnTo>
                      <a:pt x="48" y="17"/>
                    </a:lnTo>
                    <a:lnTo>
                      <a:pt x="48" y="19"/>
                    </a:lnTo>
                    <a:lnTo>
                      <a:pt x="49" y="19"/>
                    </a:lnTo>
                    <a:lnTo>
                      <a:pt x="49" y="21"/>
                    </a:lnTo>
                    <a:lnTo>
                      <a:pt x="51" y="21"/>
                    </a:lnTo>
                    <a:lnTo>
                      <a:pt x="49" y="21"/>
                    </a:lnTo>
                    <a:lnTo>
                      <a:pt x="51" y="21"/>
                    </a:lnTo>
                    <a:lnTo>
                      <a:pt x="51" y="23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5" y="23"/>
                    </a:lnTo>
                    <a:lnTo>
                      <a:pt x="55" y="25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9" y="25"/>
                    </a:lnTo>
                    <a:lnTo>
                      <a:pt x="61" y="27"/>
                    </a:lnTo>
                    <a:lnTo>
                      <a:pt x="63" y="27"/>
                    </a:lnTo>
                    <a:lnTo>
                      <a:pt x="63" y="29"/>
                    </a:lnTo>
                    <a:lnTo>
                      <a:pt x="63" y="30"/>
                    </a:lnTo>
                    <a:lnTo>
                      <a:pt x="69" y="34"/>
                    </a:lnTo>
                    <a:lnTo>
                      <a:pt x="70" y="34"/>
                    </a:lnTo>
                    <a:lnTo>
                      <a:pt x="70" y="36"/>
                    </a:lnTo>
                    <a:lnTo>
                      <a:pt x="72" y="36"/>
                    </a:lnTo>
                    <a:lnTo>
                      <a:pt x="74" y="38"/>
                    </a:lnTo>
                    <a:lnTo>
                      <a:pt x="74" y="40"/>
                    </a:lnTo>
                    <a:lnTo>
                      <a:pt x="76" y="40"/>
                    </a:lnTo>
                    <a:lnTo>
                      <a:pt x="76" y="42"/>
                    </a:lnTo>
                    <a:lnTo>
                      <a:pt x="76" y="44"/>
                    </a:lnTo>
                    <a:lnTo>
                      <a:pt x="78" y="46"/>
                    </a:lnTo>
                    <a:lnTo>
                      <a:pt x="80" y="46"/>
                    </a:lnTo>
                    <a:lnTo>
                      <a:pt x="80" y="48"/>
                    </a:lnTo>
                    <a:lnTo>
                      <a:pt x="82" y="48"/>
                    </a:lnTo>
                    <a:lnTo>
                      <a:pt x="84" y="48"/>
                    </a:lnTo>
                    <a:lnTo>
                      <a:pt x="84" y="50"/>
                    </a:lnTo>
                    <a:lnTo>
                      <a:pt x="86" y="50"/>
                    </a:lnTo>
                    <a:lnTo>
                      <a:pt x="84" y="51"/>
                    </a:lnTo>
                    <a:lnTo>
                      <a:pt x="82" y="53"/>
                    </a:lnTo>
                    <a:lnTo>
                      <a:pt x="82" y="55"/>
                    </a:lnTo>
                    <a:lnTo>
                      <a:pt x="78" y="57"/>
                    </a:lnTo>
                    <a:lnTo>
                      <a:pt x="78" y="59"/>
                    </a:lnTo>
                    <a:lnTo>
                      <a:pt x="78" y="63"/>
                    </a:lnTo>
                    <a:lnTo>
                      <a:pt x="78" y="69"/>
                    </a:lnTo>
                    <a:lnTo>
                      <a:pt x="80" y="69"/>
                    </a:lnTo>
                    <a:close/>
                    <a:moveTo>
                      <a:pt x="2" y="74"/>
                    </a:moveTo>
                    <a:lnTo>
                      <a:pt x="2" y="76"/>
                    </a:lnTo>
                    <a:lnTo>
                      <a:pt x="2" y="7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9" name="Freeform 18">
                <a:extLst>
                  <a:ext uri="{FF2B5EF4-FFF2-40B4-BE49-F238E27FC236}">
                    <a16:creationId xmlns:a16="http://schemas.microsoft.com/office/drawing/2014/main" id="{412357F6-AFC9-46F9-9E70-FA07EEFA8A5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1142" y="-1259039"/>
                <a:ext cx="490954" cy="1095085"/>
              </a:xfrm>
              <a:custGeom>
                <a:avLst/>
                <a:gdLst>
                  <a:gd name="T0" fmla="*/ 190 w 316"/>
                  <a:gd name="T1" fmla="*/ 27 h 700"/>
                  <a:gd name="T2" fmla="*/ 225 w 316"/>
                  <a:gd name="T3" fmla="*/ 46 h 700"/>
                  <a:gd name="T4" fmla="*/ 253 w 316"/>
                  <a:gd name="T5" fmla="*/ 65 h 700"/>
                  <a:gd name="T6" fmla="*/ 242 w 316"/>
                  <a:gd name="T7" fmla="*/ 88 h 700"/>
                  <a:gd name="T8" fmla="*/ 263 w 316"/>
                  <a:gd name="T9" fmla="*/ 101 h 700"/>
                  <a:gd name="T10" fmla="*/ 293 w 316"/>
                  <a:gd name="T11" fmla="*/ 90 h 700"/>
                  <a:gd name="T12" fmla="*/ 305 w 316"/>
                  <a:gd name="T13" fmla="*/ 67 h 700"/>
                  <a:gd name="T14" fmla="*/ 314 w 316"/>
                  <a:gd name="T15" fmla="*/ 74 h 700"/>
                  <a:gd name="T16" fmla="*/ 314 w 316"/>
                  <a:gd name="T17" fmla="*/ 95 h 700"/>
                  <a:gd name="T18" fmla="*/ 295 w 316"/>
                  <a:gd name="T19" fmla="*/ 107 h 700"/>
                  <a:gd name="T20" fmla="*/ 278 w 316"/>
                  <a:gd name="T21" fmla="*/ 118 h 700"/>
                  <a:gd name="T22" fmla="*/ 257 w 316"/>
                  <a:gd name="T23" fmla="*/ 143 h 700"/>
                  <a:gd name="T24" fmla="*/ 246 w 316"/>
                  <a:gd name="T25" fmla="*/ 189 h 700"/>
                  <a:gd name="T26" fmla="*/ 238 w 316"/>
                  <a:gd name="T27" fmla="*/ 231 h 700"/>
                  <a:gd name="T28" fmla="*/ 259 w 316"/>
                  <a:gd name="T29" fmla="*/ 261 h 700"/>
                  <a:gd name="T30" fmla="*/ 236 w 316"/>
                  <a:gd name="T31" fmla="*/ 311 h 700"/>
                  <a:gd name="T32" fmla="*/ 181 w 316"/>
                  <a:gd name="T33" fmla="*/ 321 h 700"/>
                  <a:gd name="T34" fmla="*/ 177 w 316"/>
                  <a:gd name="T35" fmla="*/ 351 h 700"/>
                  <a:gd name="T36" fmla="*/ 137 w 316"/>
                  <a:gd name="T37" fmla="*/ 359 h 700"/>
                  <a:gd name="T38" fmla="*/ 137 w 316"/>
                  <a:gd name="T39" fmla="*/ 385 h 700"/>
                  <a:gd name="T40" fmla="*/ 156 w 316"/>
                  <a:gd name="T41" fmla="*/ 401 h 700"/>
                  <a:gd name="T42" fmla="*/ 135 w 316"/>
                  <a:gd name="T43" fmla="*/ 412 h 700"/>
                  <a:gd name="T44" fmla="*/ 129 w 316"/>
                  <a:gd name="T45" fmla="*/ 441 h 700"/>
                  <a:gd name="T46" fmla="*/ 116 w 316"/>
                  <a:gd name="T47" fmla="*/ 450 h 700"/>
                  <a:gd name="T48" fmla="*/ 95 w 316"/>
                  <a:gd name="T49" fmla="*/ 479 h 700"/>
                  <a:gd name="T50" fmla="*/ 120 w 316"/>
                  <a:gd name="T51" fmla="*/ 517 h 700"/>
                  <a:gd name="T52" fmla="*/ 99 w 316"/>
                  <a:gd name="T53" fmla="*/ 540 h 700"/>
                  <a:gd name="T54" fmla="*/ 68 w 316"/>
                  <a:gd name="T55" fmla="*/ 590 h 700"/>
                  <a:gd name="T56" fmla="*/ 21 w 316"/>
                  <a:gd name="T57" fmla="*/ 609 h 700"/>
                  <a:gd name="T58" fmla="*/ 13 w 316"/>
                  <a:gd name="T59" fmla="*/ 584 h 700"/>
                  <a:gd name="T60" fmla="*/ 0 w 316"/>
                  <a:gd name="T61" fmla="*/ 565 h 700"/>
                  <a:gd name="T62" fmla="*/ 15 w 316"/>
                  <a:gd name="T63" fmla="*/ 530 h 700"/>
                  <a:gd name="T64" fmla="*/ 19 w 316"/>
                  <a:gd name="T65" fmla="*/ 506 h 700"/>
                  <a:gd name="T66" fmla="*/ 28 w 316"/>
                  <a:gd name="T67" fmla="*/ 477 h 700"/>
                  <a:gd name="T68" fmla="*/ 34 w 316"/>
                  <a:gd name="T69" fmla="*/ 452 h 700"/>
                  <a:gd name="T70" fmla="*/ 28 w 316"/>
                  <a:gd name="T71" fmla="*/ 445 h 700"/>
                  <a:gd name="T72" fmla="*/ 28 w 316"/>
                  <a:gd name="T73" fmla="*/ 429 h 700"/>
                  <a:gd name="T74" fmla="*/ 22 w 316"/>
                  <a:gd name="T75" fmla="*/ 399 h 700"/>
                  <a:gd name="T76" fmla="*/ 26 w 316"/>
                  <a:gd name="T77" fmla="*/ 376 h 700"/>
                  <a:gd name="T78" fmla="*/ 28 w 316"/>
                  <a:gd name="T79" fmla="*/ 347 h 700"/>
                  <a:gd name="T80" fmla="*/ 32 w 316"/>
                  <a:gd name="T81" fmla="*/ 330 h 700"/>
                  <a:gd name="T82" fmla="*/ 38 w 316"/>
                  <a:gd name="T83" fmla="*/ 300 h 700"/>
                  <a:gd name="T84" fmla="*/ 42 w 316"/>
                  <a:gd name="T85" fmla="*/ 267 h 700"/>
                  <a:gd name="T86" fmla="*/ 49 w 316"/>
                  <a:gd name="T87" fmla="*/ 246 h 700"/>
                  <a:gd name="T88" fmla="*/ 59 w 316"/>
                  <a:gd name="T89" fmla="*/ 218 h 700"/>
                  <a:gd name="T90" fmla="*/ 53 w 316"/>
                  <a:gd name="T91" fmla="*/ 191 h 700"/>
                  <a:gd name="T92" fmla="*/ 51 w 316"/>
                  <a:gd name="T93" fmla="*/ 168 h 700"/>
                  <a:gd name="T94" fmla="*/ 59 w 316"/>
                  <a:gd name="T95" fmla="*/ 143 h 700"/>
                  <a:gd name="T96" fmla="*/ 63 w 316"/>
                  <a:gd name="T97" fmla="*/ 118 h 700"/>
                  <a:gd name="T98" fmla="*/ 76 w 316"/>
                  <a:gd name="T99" fmla="*/ 95 h 700"/>
                  <a:gd name="T100" fmla="*/ 82 w 316"/>
                  <a:gd name="T101" fmla="*/ 57 h 700"/>
                  <a:gd name="T102" fmla="*/ 116 w 316"/>
                  <a:gd name="T103" fmla="*/ 4 h 700"/>
                  <a:gd name="T104" fmla="*/ 146 w 316"/>
                  <a:gd name="T105" fmla="*/ 19 h 700"/>
                  <a:gd name="T106" fmla="*/ 173 w 316"/>
                  <a:gd name="T107" fmla="*/ 8 h 700"/>
                  <a:gd name="T108" fmla="*/ 97 w 316"/>
                  <a:gd name="T109" fmla="*/ 670 h 700"/>
                  <a:gd name="T110" fmla="*/ 133 w 316"/>
                  <a:gd name="T111" fmla="*/ 693 h 700"/>
                  <a:gd name="T112" fmla="*/ 99 w 316"/>
                  <a:gd name="T113" fmla="*/ 695 h 700"/>
                  <a:gd name="T114" fmla="*/ 152 w 316"/>
                  <a:gd name="T115" fmla="*/ 691 h 700"/>
                  <a:gd name="T116" fmla="*/ 185 w 316"/>
                  <a:gd name="T117" fmla="*/ 322 h 700"/>
                  <a:gd name="T118" fmla="*/ 181 w 316"/>
                  <a:gd name="T119" fmla="*/ 351 h 700"/>
                  <a:gd name="T120" fmla="*/ 183 w 316"/>
                  <a:gd name="T121" fmla="*/ 321 h 700"/>
                  <a:gd name="T122" fmla="*/ 179 w 316"/>
                  <a:gd name="T123" fmla="*/ 338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6" h="700">
                    <a:moveTo>
                      <a:pt x="173" y="10"/>
                    </a:moveTo>
                    <a:lnTo>
                      <a:pt x="175" y="10"/>
                    </a:lnTo>
                    <a:lnTo>
                      <a:pt x="175" y="11"/>
                    </a:lnTo>
                    <a:lnTo>
                      <a:pt x="177" y="11"/>
                    </a:lnTo>
                    <a:lnTo>
                      <a:pt x="177" y="13"/>
                    </a:lnTo>
                    <a:lnTo>
                      <a:pt x="177" y="11"/>
                    </a:lnTo>
                    <a:lnTo>
                      <a:pt x="179" y="13"/>
                    </a:lnTo>
                    <a:lnTo>
                      <a:pt x="181" y="13"/>
                    </a:lnTo>
                    <a:lnTo>
                      <a:pt x="179" y="13"/>
                    </a:lnTo>
                    <a:lnTo>
                      <a:pt x="181" y="13"/>
                    </a:lnTo>
                    <a:lnTo>
                      <a:pt x="179" y="15"/>
                    </a:lnTo>
                    <a:lnTo>
                      <a:pt x="181" y="15"/>
                    </a:lnTo>
                    <a:lnTo>
                      <a:pt x="181" y="17"/>
                    </a:lnTo>
                    <a:lnTo>
                      <a:pt x="181" y="19"/>
                    </a:lnTo>
                    <a:lnTo>
                      <a:pt x="183" y="21"/>
                    </a:lnTo>
                    <a:lnTo>
                      <a:pt x="183" y="23"/>
                    </a:lnTo>
                    <a:lnTo>
                      <a:pt x="185" y="23"/>
                    </a:lnTo>
                    <a:lnTo>
                      <a:pt x="186" y="23"/>
                    </a:lnTo>
                    <a:lnTo>
                      <a:pt x="186" y="25"/>
                    </a:lnTo>
                    <a:lnTo>
                      <a:pt x="188" y="25"/>
                    </a:lnTo>
                    <a:lnTo>
                      <a:pt x="188" y="27"/>
                    </a:lnTo>
                    <a:lnTo>
                      <a:pt x="190" y="27"/>
                    </a:lnTo>
                    <a:lnTo>
                      <a:pt x="190" y="29"/>
                    </a:lnTo>
                    <a:lnTo>
                      <a:pt x="192" y="29"/>
                    </a:lnTo>
                    <a:lnTo>
                      <a:pt x="194" y="31"/>
                    </a:lnTo>
                    <a:lnTo>
                      <a:pt x="194" y="29"/>
                    </a:lnTo>
                    <a:lnTo>
                      <a:pt x="194" y="31"/>
                    </a:lnTo>
                    <a:lnTo>
                      <a:pt x="196" y="31"/>
                    </a:lnTo>
                    <a:lnTo>
                      <a:pt x="198" y="32"/>
                    </a:lnTo>
                    <a:lnTo>
                      <a:pt x="198" y="34"/>
                    </a:lnTo>
                    <a:lnTo>
                      <a:pt x="200" y="34"/>
                    </a:lnTo>
                    <a:lnTo>
                      <a:pt x="200" y="36"/>
                    </a:lnTo>
                    <a:lnTo>
                      <a:pt x="202" y="36"/>
                    </a:lnTo>
                    <a:lnTo>
                      <a:pt x="204" y="36"/>
                    </a:lnTo>
                    <a:lnTo>
                      <a:pt x="204" y="38"/>
                    </a:lnTo>
                    <a:lnTo>
                      <a:pt x="206" y="38"/>
                    </a:lnTo>
                    <a:lnTo>
                      <a:pt x="207" y="38"/>
                    </a:lnTo>
                    <a:lnTo>
                      <a:pt x="209" y="38"/>
                    </a:lnTo>
                    <a:lnTo>
                      <a:pt x="209" y="40"/>
                    </a:lnTo>
                    <a:lnTo>
                      <a:pt x="211" y="40"/>
                    </a:lnTo>
                    <a:lnTo>
                      <a:pt x="213" y="40"/>
                    </a:lnTo>
                    <a:lnTo>
                      <a:pt x="215" y="40"/>
                    </a:lnTo>
                    <a:lnTo>
                      <a:pt x="223" y="44"/>
                    </a:lnTo>
                    <a:lnTo>
                      <a:pt x="225" y="46"/>
                    </a:lnTo>
                    <a:lnTo>
                      <a:pt x="227" y="48"/>
                    </a:lnTo>
                    <a:lnTo>
                      <a:pt x="228" y="50"/>
                    </a:lnTo>
                    <a:lnTo>
                      <a:pt x="230" y="50"/>
                    </a:lnTo>
                    <a:lnTo>
                      <a:pt x="230" y="52"/>
                    </a:lnTo>
                    <a:lnTo>
                      <a:pt x="232" y="52"/>
                    </a:lnTo>
                    <a:lnTo>
                      <a:pt x="234" y="53"/>
                    </a:lnTo>
                    <a:lnTo>
                      <a:pt x="236" y="53"/>
                    </a:lnTo>
                    <a:lnTo>
                      <a:pt x="238" y="53"/>
                    </a:lnTo>
                    <a:lnTo>
                      <a:pt x="240" y="53"/>
                    </a:lnTo>
                    <a:lnTo>
                      <a:pt x="240" y="55"/>
                    </a:lnTo>
                    <a:lnTo>
                      <a:pt x="242" y="55"/>
                    </a:lnTo>
                    <a:lnTo>
                      <a:pt x="242" y="57"/>
                    </a:lnTo>
                    <a:lnTo>
                      <a:pt x="244" y="55"/>
                    </a:lnTo>
                    <a:lnTo>
                      <a:pt x="246" y="55"/>
                    </a:lnTo>
                    <a:lnTo>
                      <a:pt x="246" y="57"/>
                    </a:lnTo>
                    <a:lnTo>
                      <a:pt x="248" y="57"/>
                    </a:lnTo>
                    <a:lnTo>
                      <a:pt x="249" y="57"/>
                    </a:lnTo>
                    <a:lnTo>
                      <a:pt x="249" y="59"/>
                    </a:lnTo>
                    <a:lnTo>
                      <a:pt x="251" y="59"/>
                    </a:lnTo>
                    <a:lnTo>
                      <a:pt x="251" y="61"/>
                    </a:lnTo>
                    <a:lnTo>
                      <a:pt x="251" y="63"/>
                    </a:lnTo>
                    <a:lnTo>
                      <a:pt x="253" y="65"/>
                    </a:lnTo>
                    <a:lnTo>
                      <a:pt x="253" y="67"/>
                    </a:lnTo>
                    <a:lnTo>
                      <a:pt x="251" y="67"/>
                    </a:lnTo>
                    <a:lnTo>
                      <a:pt x="251" y="69"/>
                    </a:lnTo>
                    <a:lnTo>
                      <a:pt x="251" y="71"/>
                    </a:lnTo>
                    <a:lnTo>
                      <a:pt x="249" y="71"/>
                    </a:lnTo>
                    <a:lnTo>
                      <a:pt x="251" y="71"/>
                    </a:lnTo>
                    <a:lnTo>
                      <a:pt x="249" y="71"/>
                    </a:lnTo>
                    <a:lnTo>
                      <a:pt x="249" y="72"/>
                    </a:lnTo>
                    <a:lnTo>
                      <a:pt x="249" y="74"/>
                    </a:lnTo>
                    <a:lnTo>
                      <a:pt x="248" y="74"/>
                    </a:lnTo>
                    <a:lnTo>
                      <a:pt x="248" y="76"/>
                    </a:lnTo>
                    <a:lnTo>
                      <a:pt x="246" y="76"/>
                    </a:lnTo>
                    <a:lnTo>
                      <a:pt x="246" y="78"/>
                    </a:lnTo>
                    <a:lnTo>
                      <a:pt x="244" y="78"/>
                    </a:lnTo>
                    <a:lnTo>
                      <a:pt x="246" y="78"/>
                    </a:lnTo>
                    <a:lnTo>
                      <a:pt x="244" y="78"/>
                    </a:lnTo>
                    <a:lnTo>
                      <a:pt x="244" y="80"/>
                    </a:lnTo>
                    <a:lnTo>
                      <a:pt x="244" y="82"/>
                    </a:lnTo>
                    <a:lnTo>
                      <a:pt x="244" y="84"/>
                    </a:lnTo>
                    <a:lnTo>
                      <a:pt x="244" y="86"/>
                    </a:lnTo>
                    <a:lnTo>
                      <a:pt x="244" y="88"/>
                    </a:lnTo>
                    <a:lnTo>
                      <a:pt x="242" y="88"/>
                    </a:lnTo>
                    <a:lnTo>
                      <a:pt x="242" y="90"/>
                    </a:lnTo>
                    <a:lnTo>
                      <a:pt x="240" y="92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38" y="92"/>
                    </a:lnTo>
                    <a:lnTo>
                      <a:pt x="240" y="93"/>
                    </a:lnTo>
                    <a:lnTo>
                      <a:pt x="238" y="93"/>
                    </a:lnTo>
                    <a:lnTo>
                      <a:pt x="236" y="93"/>
                    </a:lnTo>
                    <a:lnTo>
                      <a:pt x="236" y="95"/>
                    </a:lnTo>
                    <a:lnTo>
                      <a:pt x="238" y="95"/>
                    </a:lnTo>
                    <a:lnTo>
                      <a:pt x="238" y="97"/>
                    </a:lnTo>
                    <a:lnTo>
                      <a:pt x="240" y="97"/>
                    </a:lnTo>
                    <a:lnTo>
                      <a:pt x="244" y="97"/>
                    </a:lnTo>
                    <a:lnTo>
                      <a:pt x="246" y="97"/>
                    </a:lnTo>
                    <a:lnTo>
                      <a:pt x="248" y="97"/>
                    </a:lnTo>
                    <a:lnTo>
                      <a:pt x="249" y="97"/>
                    </a:lnTo>
                    <a:lnTo>
                      <a:pt x="251" y="97"/>
                    </a:lnTo>
                    <a:lnTo>
                      <a:pt x="255" y="99"/>
                    </a:lnTo>
                    <a:lnTo>
                      <a:pt x="257" y="99"/>
                    </a:lnTo>
                    <a:lnTo>
                      <a:pt x="259" y="101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5" y="99"/>
                    </a:lnTo>
                    <a:lnTo>
                      <a:pt x="267" y="101"/>
                    </a:lnTo>
                    <a:lnTo>
                      <a:pt x="268" y="101"/>
                    </a:lnTo>
                    <a:lnTo>
                      <a:pt x="268" y="99"/>
                    </a:lnTo>
                    <a:lnTo>
                      <a:pt x="270" y="101"/>
                    </a:lnTo>
                    <a:lnTo>
                      <a:pt x="272" y="103"/>
                    </a:lnTo>
                    <a:lnTo>
                      <a:pt x="274" y="101"/>
                    </a:lnTo>
                    <a:lnTo>
                      <a:pt x="274" y="99"/>
                    </a:lnTo>
                    <a:lnTo>
                      <a:pt x="276" y="97"/>
                    </a:lnTo>
                    <a:lnTo>
                      <a:pt x="278" y="97"/>
                    </a:lnTo>
                    <a:lnTo>
                      <a:pt x="280" y="97"/>
                    </a:lnTo>
                    <a:lnTo>
                      <a:pt x="282" y="99"/>
                    </a:lnTo>
                    <a:lnTo>
                      <a:pt x="284" y="99"/>
                    </a:lnTo>
                    <a:lnTo>
                      <a:pt x="286" y="97"/>
                    </a:lnTo>
                    <a:lnTo>
                      <a:pt x="286" y="95"/>
                    </a:lnTo>
                    <a:lnTo>
                      <a:pt x="286" y="93"/>
                    </a:lnTo>
                    <a:lnTo>
                      <a:pt x="288" y="93"/>
                    </a:lnTo>
                    <a:lnTo>
                      <a:pt x="288" y="92"/>
                    </a:lnTo>
                    <a:lnTo>
                      <a:pt x="289" y="92"/>
                    </a:lnTo>
                    <a:lnTo>
                      <a:pt x="291" y="92"/>
                    </a:lnTo>
                    <a:lnTo>
                      <a:pt x="293" y="92"/>
                    </a:lnTo>
                    <a:lnTo>
                      <a:pt x="293" y="90"/>
                    </a:lnTo>
                    <a:lnTo>
                      <a:pt x="293" y="88"/>
                    </a:lnTo>
                    <a:lnTo>
                      <a:pt x="295" y="88"/>
                    </a:lnTo>
                    <a:lnTo>
                      <a:pt x="295" y="86"/>
                    </a:lnTo>
                    <a:lnTo>
                      <a:pt x="297" y="86"/>
                    </a:lnTo>
                    <a:lnTo>
                      <a:pt x="299" y="86"/>
                    </a:lnTo>
                    <a:lnTo>
                      <a:pt x="297" y="84"/>
                    </a:lnTo>
                    <a:lnTo>
                      <a:pt x="299" y="82"/>
                    </a:lnTo>
                    <a:lnTo>
                      <a:pt x="299" y="80"/>
                    </a:lnTo>
                    <a:lnTo>
                      <a:pt x="301" y="80"/>
                    </a:lnTo>
                    <a:lnTo>
                      <a:pt x="299" y="78"/>
                    </a:lnTo>
                    <a:lnTo>
                      <a:pt x="301" y="78"/>
                    </a:lnTo>
                    <a:lnTo>
                      <a:pt x="301" y="76"/>
                    </a:lnTo>
                    <a:lnTo>
                      <a:pt x="299" y="74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1"/>
                    </a:lnTo>
                    <a:lnTo>
                      <a:pt x="301" y="69"/>
                    </a:lnTo>
                    <a:lnTo>
                      <a:pt x="301" y="67"/>
                    </a:lnTo>
                    <a:lnTo>
                      <a:pt x="303" y="67"/>
                    </a:lnTo>
                    <a:lnTo>
                      <a:pt x="303" y="69"/>
                    </a:lnTo>
                    <a:lnTo>
                      <a:pt x="305" y="69"/>
                    </a:lnTo>
                    <a:lnTo>
                      <a:pt x="305" y="67"/>
                    </a:lnTo>
                    <a:lnTo>
                      <a:pt x="307" y="67"/>
                    </a:lnTo>
                    <a:lnTo>
                      <a:pt x="309" y="67"/>
                    </a:lnTo>
                    <a:lnTo>
                      <a:pt x="307" y="67"/>
                    </a:lnTo>
                    <a:lnTo>
                      <a:pt x="309" y="67"/>
                    </a:lnTo>
                    <a:lnTo>
                      <a:pt x="309" y="65"/>
                    </a:lnTo>
                    <a:lnTo>
                      <a:pt x="309" y="67"/>
                    </a:lnTo>
                    <a:lnTo>
                      <a:pt x="310" y="67"/>
                    </a:lnTo>
                    <a:lnTo>
                      <a:pt x="310" y="69"/>
                    </a:lnTo>
                    <a:lnTo>
                      <a:pt x="312" y="69"/>
                    </a:lnTo>
                    <a:lnTo>
                      <a:pt x="312" y="67"/>
                    </a:lnTo>
                    <a:lnTo>
                      <a:pt x="312" y="69"/>
                    </a:lnTo>
                    <a:lnTo>
                      <a:pt x="314" y="71"/>
                    </a:lnTo>
                    <a:lnTo>
                      <a:pt x="312" y="71"/>
                    </a:lnTo>
                    <a:lnTo>
                      <a:pt x="314" y="71"/>
                    </a:lnTo>
                    <a:lnTo>
                      <a:pt x="312" y="71"/>
                    </a:lnTo>
                    <a:lnTo>
                      <a:pt x="314" y="71"/>
                    </a:lnTo>
                    <a:lnTo>
                      <a:pt x="312" y="71"/>
                    </a:lnTo>
                    <a:lnTo>
                      <a:pt x="314" y="72"/>
                    </a:lnTo>
                    <a:lnTo>
                      <a:pt x="312" y="72"/>
                    </a:lnTo>
                    <a:lnTo>
                      <a:pt x="314" y="72"/>
                    </a:lnTo>
                    <a:lnTo>
                      <a:pt x="312" y="72"/>
                    </a:lnTo>
                    <a:lnTo>
                      <a:pt x="314" y="74"/>
                    </a:lnTo>
                    <a:lnTo>
                      <a:pt x="314" y="76"/>
                    </a:lnTo>
                    <a:lnTo>
                      <a:pt x="316" y="78"/>
                    </a:lnTo>
                    <a:lnTo>
                      <a:pt x="316" y="80"/>
                    </a:lnTo>
                    <a:lnTo>
                      <a:pt x="316" y="82"/>
                    </a:lnTo>
                    <a:lnTo>
                      <a:pt x="316" y="84"/>
                    </a:lnTo>
                    <a:lnTo>
                      <a:pt x="314" y="84"/>
                    </a:lnTo>
                    <a:lnTo>
                      <a:pt x="316" y="84"/>
                    </a:lnTo>
                    <a:lnTo>
                      <a:pt x="314" y="84"/>
                    </a:lnTo>
                    <a:lnTo>
                      <a:pt x="314" y="86"/>
                    </a:lnTo>
                    <a:lnTo>
                      <a:pt x="314" y="88"/>
                    </a:lnTo>
                    <a:lnTo>
                      <a:pt x="314" y="86"/>
                    </a:lnTo>
                    <a:lnTo>
                      <a:pt x="314" y="88"/>
                    </a:lnTo>
                    <a:lnTo>
                      <a:pt x="316" y="88"/>
                    </a:lnTo>
                    <a:lnTo>
                      <a:pt x="314" y="88"/>
                    </a:lnTo>
                    <a:lnTo>
                      <a:pt x="316" y="88"/>
                    </a:lnTo>
                    <a:lnTo>
                      <a:pt x="316" y="90"/>
                    </a:lnTo>
                    <a:lnTo>
                      <a:pt x="316" y="92"/>
                    </a:lnTo>
                    <a:lnTo>
                      <a:pt x="314" y="92"/>
                    </a:lnTo>
                    <a:lnTo>
                      <a:pt x="314" y="93"/>
                    </a:lnTo>
                    <a:lnTo>
                      <a:pt x="314" y="92"/>
                    </a:lnTo>
                    <a:lnTo>
                      <a:pt x="314" y="93"/>
                    </a:lnTo>
                    <a:lnTo>
                      <a:pt x="314" y="95"/>
                    </a:lnTo>
                    <a:lnTo>
                      <a:pt x="312" y="93"/>
                    </a:lnTo>
                    <a:lnTo>
                      <a:pt x="312" y="95"/>
                    </a:lnTo>
                    <a:lnTo>
                      <a:pt x="310" y="95"/>
                    </a:lnTo>
                    <a:lnTo>
                      <a:pt x="310" y="97"/>
                    </a:lnTo>
                    <a:lnTo>
                      <a:pt x="309" y="97"/>
                    </a:lnTo>
                    <a:lnTo>
                      <a:pt x="307" y="99"/>
                    </a:lnTo>
                    <a:lnTo>
                      <a:pt x="305" y="99"/>
                    </a:lnTo>
                    <a:lnTo>
                      <a:pt x="305" y="101"/>
                    </a:lnTo>
                    <a:lnTo>
                      <a:pt x="305" y="99"/>
                    </a:lnTo>
                    <a:lnTo>
                      <a:pt x="303" y="99"/>
                    </a:lnTo>
                    <a:lnTo>
                      <a:pt x="303" y="101"/>
                    </a:lnTo>
                    <a:lnTo>
                      <a:pt x="301" y="99"/>
                    </a:lnTo>
                    <a:lnTo>
                      <a:pt x="301" y="101"/>
                    </a:lnTo>
                    <a:lnTo>
                      <a:pt x="299" y="101"/>
                    </a:lnTo>
                    <a:lnTo>
                      <a:pt x="299" y="103"/>
                    </a:lnTo>
                    <a:lnTo>
                      <a:pt x="299" y="101"/>
                    </a:lnTo>
                    <a:lnTo>
                      <a:pt x="299" y="103"/>
                    </a:lnTo>
                    <a:lnTo>
                      <a:pt x="297" y="101"/>
                    </a:lnTo>
                    <a:lnTo>
                      <a:pt x="297" y="103"/>
                    </a:lnTo>
                    <a:lnTo>
                      <a:pt x="297" y="105"/>
                    </a:lnTo>
                    <a:lnTo>
                      <a:pt x="295" y="105"/>
                    </a:lnTo>
                    <a:lnTo>
                      <a:pt x="295" y="107"/>
                    </a:lnTo>
                    <a:lnTo>
                      <a:pt x="293" y="105"/>
                    </a:lnTo>
                    <a:lnTo>
                      <a:pt x="293" y="107"/>
                    </a:lnTo>
                    <a:lnTo>
                      <a:pt x="295" y="107"/>
                    </a:lnTo>
                    <a:lnTo>
                      <a:pt x="293" y="107"/>
                    </a:lnTo>
                    <a:lnTo>
                      <a:pt x="293" y="109"/>
                    </a:lnTo>
                    <a:lnTo>
                      <a:pt x="291" y="107"/>
                    </a:lnTo>
                    <a:lnTo>
                      <a:pt x="291" y="109"/>
                    </a:lnTo>
                    <a:lnTo>
                      <a:pt x="289" y="109"/>
                    </a:lnTo>
                    <a:lnTo>
                      <a:pt x="289" y="111"/>
                    </a:lnTo>
                    <a:lnTo>
                      <a:pt x="288" y="111"/>
                    </a:lnTo>
                    <a:lnTo>
                      <a:pt x="288" y="113"/>
                    </a:lnTo>
                    <a:lnTo>
                      <a:pt x="288" y="111"/>
                    </a:lnTo>
                    <a:lnTo>
                      <a:pt x="286" y="113"/>
                    </a:lnTo>
                    <a:lnTo>
                      <a:pt x="284" y="114"/>
                    </a:lnTo>
                    <a:lnTo>
                      <a:pt x="282" y="114"/>
                    </a:lnTo>
                    <a:lnTo>
                      <a:pt x="284" y="114"/>
                    </a:lnTo>
                    <a:lnTo>
                      <a:pt x="284" y="116"/>
                    </a:lnTo>
                    <a:lnTo>
                      <a:pt x="284" y="118"/>
                    </a:lnTo>
                    <a:lnTo>
                      <a:pt x="284" y="116"/>
                    </a:lnTo>
                    <a:lnTo>
                      <a:pt x="280" y="116"/>
                    </a:lnTo>
                    <a:lnTo>
                      <a:pt x="280" y="118"/>
                    </a:lnTo>
                    <a:lnTo>
                      <a:pt x="278" y="118"/>
                    </a:lnTo>
                    <a:lnTo>
                      <a:pt x="278" y="120"/>
                    </a:lnTo>
                    <a:lnTo>
                      <a:pt x="278" y="122"/>
                    </a:lnTo>
                    <a:lnTo>
                      <a:pt x="276" y="122"/>
                    </a:lnTo>
                    <a:lnTo>
                      <a:pt x="276" y="124"/>
                    </a:lnTo>
                    <a:lnTo>
                      <a:pt x="274" y="124"/>
                    </a:lnTo>
                    <a:lnTo>
                      <a:pt x="274" y="126"/>
                    </a:lnTo>
                    <a:lnTo>
                      <a:pt x="272" y="128"/>
                    </a:lnTo>
                    <a:lnTo>
                      <a:pt x="272" y="130"/>
                    </a:lnTo>
                    <a:lnTo>
                      <a:pt x="270" y="130"/>
                    </a:lnTo>
                    <a:lnTo>
                      <a:pt x="268" y="132"/>
                    </a:lnTo>
                    <a:lnTo>
                      <a:pt x="268" y="134"/>
                    </a:lnTo>
                    <a:lnTo>
                      <a:pt x="268" y="135"/>
                    </a:lnTo>
                    <a:lnTo>
                      <a:pt x="267" y="135"/>
                    </a:lnTo>
                    <a:lnTo>
                      <a:pt x="267" y="137"/>
                    </a:lnTo>
                    <a:lnTo>
                      <a:pt x="265" y="137"/>
                    </a:lnTo>
                    <a:lnTo>
                      <a:pt x="265" y="139"/>
                    </a:lnTo>
                    <a:lnTo>
                      <a:pt x="263" y="139"/>
                    </a:lnTo>
                    <a:lnTo>
                      <a:pt x="263" y="141"/>
                    </a:lnTo>
                    <a:lnTo>
                      <a:pt x="261" y="141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7" y="143"/>
                    </a:lnTo>
                    <a:lnTo>
                      <a:pt x="257" y="145"/>
                    </a:lnTo>
                    <a:lnTo>
                      <a:pt x="257" y="147"/>
                    </a:lnTo>
                    <a:lnTo>
                      <a:pt x="255" y="149"/>
                    </a:lnTo>
                    <a:lnTo>
                      <a:pt x="253" y="149"/>
                    </a:lnTo>
                    <a:lnTo>
                      <a:pt x="253" y="151"/>
                    </a:lnTo>
                    <a:lnTo>
                      <a:pt x="253" y="153"/>
                    </a:lnTo>
                    <a:lnTo>
                      <a:pt x="249" y="156"/>
                    </a:lnTo>
                    <a:lnTo>
                      <a:pt x="249" y="158"/>
                    </a:lnTo>
                    <a:lnTo>
                      <a:pt x="249" y="162"/>
                    </a:lnTo>
                    <a:lnTo>
                      <a:pt x="249" y="164"/>
                    </a:lnTo>
                    <a:lnTo>
                      <a:pt x="249" y="166"/>
                    </a:lnTo>
                    <a:lnTo>
                      <a:pt x="249" y="168"/>
                    </a:lnTo>
                    <a:lnTo>
                      <a:pt x="248" y="170"/>
                    </a:lnTo>
                    <a:lnTo>
                      <a:pt x="248" y="172"/>
                    </a:lnTo>
                    <a:lnTo>
                      <a:pt x="246" y="174"/>
                    </a:lnTo>
                    <a:lnTo>
                      <a:pt x="248" y="174"/>
                    </a:lnTo>
                    <a:lnTo>
                      <a:pt x="248" y="176"/>
                    </a:lnTo>
                    <a:lnTo>
                      <a:pt x="246" y="179"/>
                    </a:lnTo>
                    <a:lnTo>
                      <a:pt x="244" y="181"/>
                    </a:lnTo>
                    <a:lnTo>
                      <a:pt x="246" y="183"/>
                    </a:lnTo>
                    <a:lnTo>
                      <a:pt x="244" y="187"/>
                    </a:lnTo>
                    <a:lnTo>
                      <a:pt x="246" y="189"/>
                    </a:lnTo>
                    <a:lnTo>
                      <a:pt x="244" y="191"/>
                    </a:lnTo>
                    <a:lnTo>
                      <a:pt x="244" y="193"/>
                    </a:lnTo>
                    <a:lnTo>
                      <a:pt x="246" y="197"/>
                    </a:lnTo>
                    <a:lnTo>
                      <a:pt x="246" y="200"/>
                    </a:lnTo>
                    <a:lnTo>
                      <a:pt x="246" y="202"/>
                    </a:lnTo>
                    <a:lnTo>
                      <a:pt x="244" y="204"/>
                    </a:lnTo>
                    <a:lnTo>
                      <a:pt x="242" y="204"/>
                    </a:lnTo>
                    <a:lnTo>
                      <a:pt x="242" y="206"/>
                    </a:lnTo>
                    <a:lnTo>
                      <a:pt x="242" y="208"/>
                    </a:lnTo>
                    <a:lnTo>
                      <a:pt x="240" y="210"/>
                    </a:lnTo>
                    <a:lnTo>
                      <a:pt x="240" y="212"/>
                    </a:lnTo>
                    <a:lnTo>
                      <a:pt x="240" y="216"/>
                    </a:lnTo>
                    <a:lnTo>
                      <a:pt x="240" y="219"/>
                    </a:lnTo>
                    <a:lnTo>
                      <a:pt x="240" y="221"/>
                    </a:lnTo>
                    <a:lnTo>
                      <a:pt x="242" y="221"/>
                    </a:lnTo>
                    <a:lnTo>
                      <a:pt x="242" y="225"/>
                    </a:lnTo>
                    <a:lnTo>
                      <a:pt x="240" y="225"/>
                    </a:lnTo>
                    <a:lnTo>
                      <a:pt x="242" y="225"/>
                    </a:lnTo>
                    <a:lnTo>
                      <a:pt x="240" y="227"/>
                    </a:lnTo>
                    <a:lnTo>
                      <a:pt x="240" y="229"/>
                    </a:lnTo>
                    <a:lnTo>
                      <a:pt x="238" y="229"/>
                    </a:lnTo>
                    <a:lnTo>
                      <a:pt x="238" y="231"/>
                    </a:lnTo>
                    <a:lnTo>
                      <a:pt x="240" y="231"/>
                    </a:lnTo>
                    <a:lnTo>
                      <a:pt x="242" y="233"/>
                    </a:lnTo>
                    <a:lnTo>
                      <a:pt x="242" y="235"/>
                    </a:lnTo>
                    <a:lnTo>
                      <a:pt x="242" y="233"/>
                    </a:lnTo>
                    <a:lnTo>
                      <a:pt x="244" y="235"/>
                    </a:lnTo>
                    <a:lnTo>
                      <a:pt x="248" y="237"/>
                    </a:lnTo>
                    <a:lnTo>
                      <a:pt x="248" y="238"/>
                    </a:lnTo>
                    <a:lnTo>
                      <a:pt x="249" y="238"/>
                    </a:lnTo>
                    <a:lnTo>
                      <a:pt x="249" y="237"/>
                    </a:lnTo>
                    <a:lnTo>
                      <a:pt x="251" y="238"/>
                    </a:lnTo>
                    <a:lnTo>
                      <a:pt x="253" y="238"/>
                    </a:lnTo>
                    <a:lnTo>
                      <a:pt x="253" y="240"/>
                    </a:lnTo>
                    <a:lnTo>
                      <a:pt x="255" y="240"/>
                    </a:lnTo>
                    <a:lnTo>
                      <a:pt x="257" y="244"/>
                    </a:lnTo>
                    <a:lnTo>
                      <a:pt x="259" y="246"/>
                    </a:lnTo>
                    <a:lnTo>
                      <a:pt x="261" y="250"/>
                    </a:lnTo>
                    <a:lnTo>
                      <a:pt x="257" y="254"/>
                    </a:lnTo>
                    <a:lnTo>
                      <a:pt x="257" y="256"/>
                    </a:lnTo>
                    <a:lnTo>
                      <a:pt x="257" y="258"/>
                    </a:lnTo>
                    <a:lnTo>
                      <a:pt x="257" y="259"/>
                    </a:lnTo>
                    <a:lnTo>
                      <a:pt x="257" y="261"/>
                    </a:lnTo>
                    <a:lnTo>
                      <a:pt x="259" y="261"/>
                    </a:lnTo>
                    <a:lnTo>
                      <a:pt x="259" y="263"/>
                    </a:lnTo>
                    <a:lnTo>
                      <a:pt x="261" y="265"/>
                    </a:lnTo>
                    <a:lnTo>
                      <a:pt x="263" y="267"/>
                    </a:lnTo>
                    <a:lnTo>
                      <a:pt x="265" y="267"/>
                    </a:lnTo>
                    <a:lnTo>
                      <a:pt x="267" y="267"/>
                    </a:lnTo>
                    <a:lnTo>
                      <a:pt x="267" y="265"/>
                    </a:lnTo>
                    <a:lnTo>
                      <a:pt x="267" y="267"/>
                    </a:lnTo>
                    <a:lnTo>
                      <a:pt x="268" y="269"/>
                    </a:lnTo>
                    <a:lnTo>
                      <a:pt x="268" y="279"/>
                    </a:lnTo>
                    <a:lnTo>
                      <a:pt x="263" y="286"/>
                    </a:lnTo>
                    <a:lnTo>
                      <a:pt x="261" y="290"/>
                    </a:lnTo>
                    <a:lnTo>
                      <a:pt x="257" y="296"/>
                    </a:lnTo>
                    <a:lnTo>
                      <a:pt x="255" y="296"/>
                    </a:lnTo>
                    <a:lnTo>
                      <a:pt x="255" y="300"/>
                    </a:lnTo>
                    <a:lnTo>
                      <a:pt x="255" y="301"/>
                    </a:lnTo>
                    <a:lnTo>
                      <a:pt x="253" y="301"/>
                    </a:lnTo>
                    <a:lnTo>
                      <a:pt x="253" y="303"/>
                    </a:lnTo>
                    <a:lnTo>
                      <a:pt x="251" y="305"/>
                    </a:lnTo>
                    <a:lnTo>
                      <a:pt x="249" y="305"/>
                    </a:lnTo>
                    <a:lnTo>
                      <a:pt x="246" y="307"/>
                    </a:lnTo>
                    <a:lnTo>
                      <a:pt x="240" y="311"/>
                    </a:lnTo>
                    <a:lnTo>
                      <a:pt x="236" y="311"/>
                    </a:lnTo>
                    <a:lnTo>
                      <a:pt x="230" y="313"/>
                    </a:lnTo>
                    <a:lnTo>
                      <a:pt x="221" y="317"/>
                    </a:lnTo>
                    <a:lnTo>
                      <a:pt x="217" y="317"/>
                    </a:lnTo>
                    <a:lnTo>
                      <a:pt x="211" y="319"/>
                    </a:lnTo>
                    <a:lnTo>
                      <a:pt x="202" y="321"/>
                    </a:lnTo>
                    <a:lnTo>
                      <a:pt x="198" y="321"/>
                    </a:lnTo>
                    <a:lnTo>
                      <a:pt x="194" y="321"/>
                    </a:lnTo>
                    <a:lnTo>
                      <a:pt x="190" y="321"/>
                    </a:lnTo>
                    <a:lnTo>
                      <a:pt x="188" y="321"/>
                    </a:lnTo>
                    <a:lnTo>
                      <a:pt x="186" y="321"/>
                    </a:lnTo>
                    <a:lnTo>
                      <a:pt x="183" y="319"/>
                    </a:lnTo>
                    <a:lnTo>
                      <a:pt x="181" y="317"/>
                    </a:lnTo>
                    <a:lnTo>
                      <a:pt x="179" y="317"/>
                    </a:lnTo>
                    <a:lnTo>
                      <a:pt x="179" y="315"/>
                    </a:lnTo>
                    <a:lnTo>
                      <a:pt x="179" y="317"/>
                    </a:lnTo>
                    <a:lnTo>
                      <a:pt x="177" y="317"/>
                    </a:lnTo>
                    <a:lnTo>
                      <a:pt x="179" y="317"/>
                    </a:lnTo>
                    <a:lnTo>
                      <a:pt x="177" y="317"/>
                    </a:lnTo>
                    <a:lnTo>
                      <a:pt x="179" y="319"/>
                    </a:lnTo>
                    <a:lnTo>
                      <a:pt x="179" y="321"/>
                    </a:lnTo>
                    <a:lnTo>
                      <a:pt x="179" y="319"/>
                    </a:lnTo>
                    <a:lnTo>
                      <a:pt x="181" y="321"/>
                    </a:lnTo>
                    <a:lnTo>
                      <a:pt x="179" y="321"/>
                    </a:lnTo>
                    <a:lnTo>
                      <a:pt x="179" y="322"/>
                    </a:lnTo>
                    <a:lnTo>
                      <a:pt x="179" y="324"/>
                    </a:lnTo>
                    <a:lnTo>
                      <a:pt x="179" y="326"/>
                    </a:lnTo>
                    <a:lnTo>
                      <a:pt x="181" y="326"/>
                    </a:lnTo>
                    <a:lnTo>
                      <a:pt x="183" y="326"/>
                    </a:lnTo>
                    <a:lnTo>
                      <a:pt x="183" y="328"/>
                    </a:lnTo>
                    <a:lnTo>
                      <a:pt x="181" y="326"/>
                    </a:lnTo>
                    <a:lnTo>
                      <a:pt x="179" y="326"/>
                    </a:lnTo>
                    <a:lnTo>
                      <a:pt x="181" y="328"/>
                    </a:lnTo>
                    <a:lnTo>
                      <a:pt x="183" y="330"/>
                    </a:lnTo>
                    <a:lnTo>
                      <a:pt x="181" y="334"/>
                    </a:lnTo>
                    <a:lnTo>
                      <a:pt x="183" y="334"/>
                    </a:lnTo>
                    <a:lnTo>
                      <a:pt x="181" y="336"/>
                    </a:lnTo>
                    <a:lnTo>
                      <a:pt x="183" y="340"/>
                    </a:lnTo>
                    <a:lnTo>
                      <a:pt x="181" y="338"/>
                    </a:lnTo>
                    <a:lnTo>
                      <a:pt x="179" y="338"/>
                    </a:lnTo>
                    <a:lnTo>
                      <a:pt x="179" y="343"/>
                    </a:lnTo>
                    <a:lnTo>
                      <a:pt x="179" y="345"/>
                    </a:lnTo>
                    <a:lnTo>
                      <a:pt x="177" y="345"/>
                    </a:lnTo>
                    <a:lnTo>
                      <a:pt x="175" y="347"/>
                    </a:lnTo>
                    <a:lnTo>
                      <a:pt x="177" y="351"/>
                    </a:lnTo>
                    <a:lnTo>
                      <a:pt x="179" y="351"/>
                    </a:lnTo>
                    <a:lnTo>
                      <a:pt x="179" y="353"/>
                    </a:lnTo>
                    <a:lnTo>
                      <a:pt x="181" y="353"/>
                    </a:lnTo>
                    <a:lnTo>
                      <a:pt x="181" y="355"/>
                    </a:lnTo>
                    <a:lnTo>
                      <a:pt x="179" y="355"/>
                    </a:lnTo>
                    <a:lnTo>
                      <a:pt x="179" y="359"/>
                    </a:lnTo>
                    <a:lnTo>
                      <a:pt x="177" y="361"/>
                    </a:lnTo>
                    <a:lnTo>
                      <a:pt x="173" y="363"/>
                    </a:lnTo>
                    <a:lnTo>
                      <a:pt x="171" y="363"/>
                    </a:lnTo>
                    <a:lnTo>
                      <a:pt x="169" y="363"/>
                    </a:lnTo>
                    <a:lnTo>
                      <a:pt x="167" y="364"/>
                    </a:lnTo>
                    <a:lnTo>
                      <a:pt x="166" y="364"/>
                    </a:lnTo>
                    <a:lnTo>
                      <a:pt x="162" y="364"/>
                    </a:lnTo>
                    <a:lnTo>
                      <a:pt x="160" y="364"/>
                    </a:lnTo>
                    <a:lnTo>
                      <a:pt x="156" y="364"/>
                    </a:lnTo>
                    <a:lnTo>
                      <a:pt x="154" y="364"/>
                    </a:lnTo>
                    <a:lnTo>
                      <a:pt x="152" y="363"/>
                    </a:lnTo>
                    <a:lnTo>
                      <a:pt x="150" y="363"/>
                    </a:lnTo>
                    <a:lnTo>
                      <a:pt x="148" y="363"/>
                    </a:lnTo>
                    <a:lnTo>
                      <a:pt x="143" y="359"/>
                    </a:lnTo>
                    <a:lnTo>
                      <a:pt x="141" y="359"/>
                    </a:lnTo>
                    <a:lnTo>
                      <a:pt x="137" y="359"/>
                    </a:lnTo>
                    <a:lnTo>
                      <a:pt x="139" y="357"/>
                    </a:lnTo>
                    <a:lnTo>
                      <a:pt x="139" y="359"/>
                    </a:lnTo>
                    <a:lnTo>
                      <a:pt x="139" y="357"/>
                    </a:lnTo>
                    <a:lnTo>
                      <a:pt x="141" y="359"/>
                    </a:lnTo>
                    <a:lnTo>
                      <a:pt x="139" y="357"/>
                    </a:lnTo>
                    <a:lnTo>
                      <a:pt x="141" y="357"/>
                    </a:lnTo>
                    <a:lnTo>
                      <a:pt x="139" y="357"/>
                    </a:lnTo>
                    <a:lnTo>
                      <a:pt x="137" y="357"/>
                    </a:lnTo>
                    <a:lnTo>
                      <a:pt x="135" y="357"/>
                    </a:lnTo>
                    <a:lnTo>
                      <a:pt x="133" y="359"/>
                    </a:lnTo>
                    <a:lnTo>
                      <a:pt x="133" y="361"/>
                    </a:lnTo>
                    <a:lnTo>
                      <a:pt x="133" y="364"/>
                    </a:lnTo>
                    <a:lnTo>
                      <a:pt x="135" y="370"/>
                    </a:lnTo>
                    <a:lnTo>
                      <a:pt x="135" y="372"/>
                    </a:lnTo>
                    <a:lnTo>
                      <a:pt x="135" y="374"/>
                    </a:lnTo>
                    <a:lnTo>
                      <a:pt x="137" y="374"/>
                    </a:lnTo>
                    <a:lnTo>
                      <a:pt x="135" y="376"/>
                    </a:lnTo>
                    <a:lnTo>
                      <a:pt x="135" y="378"/>
                    </a:lnTo>
                    <a:lnTo>
                      <a:pt x="135" y="380"/>
                    </a:lnTo>
                    <a:lnTo>
                      <a:pt x="135" y="382"/>
                    </a:lnTo>
                    <a:lnTo>
                      <a:pt x="135" y="385"/>
                    </a:lnTo>
                    <a:lnTo>
                      <a:pt x="137" y="385"/>
                    </a:lnTo>
                    <a:lnTo>
                      <a:pt x="139" y="387"/>
                    </a:lnTo>
                    <a:lnTo>
                      <a:pt x="143" y="387"/>
                    </a:lnTo>
                    <a:lnTo>
                      <a:pt x="145" y="389"/>
                    </a:lnTo>
                    <a:lnTo>
                      <a:pt x="143" y="389"/>
                    </a:lnTo>
                    <a:lnTo>
                      <a:pt x="143" y="393"/>
                    </a:lnTo>
                    <a:lnTo>
                      <a:pt x="145" y="393"/>
                    </a:lnTo>
                    <a:lnTo>
                      <a:pt x="146" y="391"/>
                    </a:lnTo>
                    <a:lnTo>
                      <a:pt x="146" y="393"/>
                    </a:lnTo>
                    <a:lnTo>
                      <a:pt x="150" y="393"/>
                    </a:lnTo>
                    <a:lnTo>
                      <a:pt x="150" y="391"/>
                    </a:lnTo>
                    <a:lnTo>
                      <a:pt x="150" y="389"/>
                    </a:lnTo>
                    <a:lnTo>
                      <a:pt x="148" y="389"/>
                    </a:lnTo>
                    <a:lnTo>
                      <a:pt x="148" y="387"/>
                    </a:lnTo>
                    <a:lnTo>
                      <a:pt x="146" y="389"/>
                    </a:lnTo>
                    <a:lnTo>
                      <a:pt x="150" y="387"/>
                    </a:lnTo>
                    <a:lnTo>
                      <a:pt x="154" y="385"/>
                    </a:lnTo>
                    <a:lnTo>
                      <a:pt x="156" y="385"/>
                    </a:lnTo>
                    <a:lnTo>
                      <a:pt x="158" y="389"/>
                    </a:lnTo>
                    <a:lnTo>
                      <a:pt x="158" y="395"/>
                    </a:lnTo>
                    <a:lnTo>
                      <a:pt x="158" y="397"/>
                    </a:lnTo>
                    <a:lnTo>
                      <a:pt x="158" y="399"/>
                    </a:lnTo>
                    <a:lnTo>
                      <a:pt x="156" y="401"/>
                    </a:lnTo>
                    <a:lnTo>
                      <a:pt x="150" y="403"/>
                    </a:lnTo>
                    <a:lnTo>
                      <a:pt x="148" y="399"/>
                    </a:lnTo>
                    <a:lnTo>
                      <a:pt x="148" y="397"/>
                    </a:lnTo>
                    <a:lnTo>
                      <a:pt x="146" y="395"/>
                    </a:lnTo>
                    <a:lnTo>
                      <a:pt x="145" y="395"/>
                    </a:lnTo>
                    <a:lnTo>
                      <a:pt x="143" y="393"/>
                    </a:lnTo>
                    <a:lnTo>
                      <a:pt x="141" y="393"/>
                    </a:lnTo>
                    <a:lnTo>
                      <a:pt x="139" y="395"/>
                    </a:lnTo>
                    <a:lnTo>
                      <a:pt x="139" y="397"/>
                    </a:lnTo>
                    <a:lnTo>
                      <a:pt x="137" y="397"/>
                    </a:lnTo>
                    <a:lnTo>
                      <a:pt x="135" y="399"/>
                    </a:lnTo>
                    <a:lnTo>
                      <a:pt x="135" y="401"/>
                    </a:lnTo>
                    <a:lnTo>
                      <a:pt x="137" y="401"/>
                    </a:lnTo>
                    <a:lnTo>
                      <a:pt x="139" y="401"/>
                    </a:lnTo>
                    <a:lnTo>
                      <a:pt x="143" y="403"/>
                    </a:lnTo>
                    <a:lnTo>
                      <a:pt x="145" y="404"/>
                    </a:lnTo>
                    <a:lnTo>
                      <a:pt x="146" y="403"/>
                    </a:lnTo>
                    <a:lnTo>
                      <a:pt x="146" y="404"/>
                    </a:lnTo>
                    <a:lnTo>
                      <a:pt x="145" y="406"/>
                    </a:lnTo>
                    <a:lnTo>
                      <a:pt x="139" y="408"/>
                    </a:lnTo>
                    <a:lnTo>
                      <a:pt x="137" y="410"/>
                    </a:lnTo>
                    <a:lnTo>
                      <a:pt x="135" y="412"/>
                    </a:lnTo>
                    <a:lnTo>
                      <a:pt x="135" y="414"/>
                    </a:lnTo>
                    <a:lnTo>
                      <a:pt x="133" y="414"/>
                    </a:lnTo>
                    <a:lnTo>
                      <a:pt x="133" y="416"/>
                    </a:lnTo>
                    <a:lnTo>
                      <a:pt x="131" y="418"/>
                    </a:lnTo>
                    <a:lnTo>
                      <a:pt x="131" y="420"/>
                    </a:lnTo>
                    <a:lnTo>
                      <a:pt x="129" y="422"/>
                    </a:lnTo>
                    <a:lnTo>
                      <a:pt x="131" y="422"/>
                    </a:lnTo>
                    <a:lnTo>
                      <a:pt x="131" y="424"/>
                    </a:lnTo>
                    <a:lnTo>
                      <a:pt x="131" y="425"/>
                    </a:lnTo>
                    <a:lnTo>
                      <a:pt x="131" y="427"/>
                    </a:lnTo>
                    <a:lnTo>
                      <a:pt x="133" y="427"/>
                    </a:lnTo>
                    <a:lnTo>
                      <a:pt x="131" y="429"/>
                    </a:lnTo>
                    <a:lnTo>
                      <a:pt x="133" y="429"/>
                    </a:lnTo>
                    <a:lnTo>
                      <a:pt x="131" y="429"/>
                    </a:lnTo>
                    <a:lnTo>
                      <a:pt x="131" y="431"/>
                    </a:lnTo>
                    <a:lnTo>
                      <a:pt x="131" y="433"/>
                    </a:lnTo>
                    <a:lnTo>
                      <a:pt x="133" y="435"/>
                    </a:lnTo>
                    <a:lnTo>
                      <a:pt x="131" y="435"/>
                    </a:lnTo>
                    <a:lnTo>
                      <a:pt x="131" y="437"/>
                    </a:lnTo>
                    <a:lnTo>
                      <a:pt x="131" y="439"/>
                    </a:lnTo>
                    <a:lnTo>
                      <a:pt x="129" y="439"/>
                    </a:lnTo>
                    <a:lnTo>
                      <a:pt x="129" y="441"/>
                    </a:lnTo>
                    <a:lnTo>
                      <a:pt x="129" y="439"/>
                    </a:lnTo>
                    <a:lnTo>
                      <a:pt x="129" y="441"/>
                    </a:lnTo>
                    <a:lnTo>
                      <a:pt x="127" y="441"/>
                    </a:lnTo>
                    <a:lnTo>
                      <a:pt x="125" y="441"/>
                    </a:lnTo>
                    <a:lnTo>
                      <a:pt x="125" y="443"/>
                    </a:lnTo>
                    <a:lnTo>
                      <a:pt x="125" y="445"/>
                    </a:lnTo>
                    <a:lnTo>
                      <a:pt x="124" y="445"/>
                    </a:lnTo>
                    <a:lnTo>
                      <a:pt x="124" y="446"/>
                    </a:lnTo>
                    <a:lnTo>
                      <a:pt x="125" y="446"/>
                    </a:lnTo>
                    <a:lnTo>
                      <a:pt x="127" y="446"/>
                    </a:lnTo>
                    <a:lnTo>
                      <a:pt x="127" y="448"/>
                    </a:lnTo>
                    <a:lnTo>
                      <a:pt x="125" y="448"/>
                    </a:lnTo>
                    <a:lnTo>
                      <a:pt x="127" y="448"/>
                    </a:lnTo>
                    <a:lnTo>
                      <a:pt x="125" y="448"/>
                    </a:lnTo>
                    <a:lnTo>
                      <a:pt x="125" y="450"/>
                    </a:lnTo>
                    <a:lnTo>
                      <a:pt x="124" y="450"/>
                    </a:lnTo>
                    <a:lnTo>
                      <a:pt x="122" y="448"/>
                    </a:lnTo>
                    <a:lnTo>
                      <a:pt x="122" y="450"/>
                    </a:lnTo>
                    <a:lnTo>
                      <a:pt x="120" y="448"/>
                    </a:lnTo>
                    <a:lnTo>
                      <a:pt x="118" y="448"/>
                    </a:lnTo>
                    <a:lnTo>
                      <a:pt x="116" y="448"/>
                    </a:lnTo>
                    <a:lnTo>
                      <a:pt x="116" y="450"/>
                    </a:lnTo>
                    <a:lnTo>
                      <a:pt x="114" y="450"/>
                    </a:lnTo>
                    <a:lnTo>
                      <a:pt x="112" y="452"/>
                    </a:lnTo>
                    <a:lnTo>
                      <a:pt x="112" y="450"/>
                    </a:lnTo>
                    <a:lnTo>
                      <a:pt x="112" y="452"/>
                    </a:lnTo>
                    <a:lnTo>
                      <a:pt x="110" y="452"/>
                    </a:lnTo>
                    <a:lnTo>
                      <a:pt x="112" y="452"/>
                    </a:lnTo>
                    <a:lnTo>
                      <a:pt x="112" y="454"/>
                    </a:lnTo>
                    <a:lnTo>
                      <a:pt x="110" y="454"/>
                    </a:lnTo>
                    <a:lnTo>
                      <a:pt x="106" y="454"/>
                    </a:lnTo>
                    <a:lnTo>
                      <a:pt x="104" y="456"/>
                    </a:lnTo>
                    <a:lnTo>
                      <a:pt x="103" y="456"/>
                    </a:lnTo>
                    <a:lnTo>
                      <a:pt x="101" y="462"/>
                    </a:lnTo>
                    <a:lnTo>
                      <a:pt x="99" y="464"/>
                    </a:lnTo>
                    <a:lnTo>
                      <a:pt x="99" y="466"/>
                    </a:lnTo>
                    <a:lnTo>
                      <a:pt x="99" y="467"/>
                    </a:lnTo>
                    <a:lnTo>
                      <a:pt x="97" y="467"/>
                    </a:lnTo>
                    <a:lnTo>
                      <a:pt x="97" y="469"/>
                    </a:lnTo>
                    <a:lnTo>
                      <a:pt x="95" y="469"/>
                    </a:lnTo>
                    <a:lnTo>
                      <a:pt x="95" y="471"/>
                    </a:lnTo>
                    <a:lnTo>
                      <a:pt x="95" y="473"/>
                    </a:lnTo>
                    <a:lnTo>
                      <a:pt x="95" y="475"/>
                    </a:lnTo>
                    <a:lnTo>
                      <a:pt x="95" y="479"/>
                    </a:lnTo>
                    <a:lnTo>
                      <a:pt x="97" y="485"/>
                    </a:lnTo>
                    <a:lnTo>
                      <a:pt x="99" y="487"/>
                    </a:lnTo>
                    <a:lnTo>
                      <a:pt x="101" y="487"/>
                    </a:lnTo>
                    <a:lnTo>
                      <a:pt x="103" y="488"/>
                    </a:lnTo>
                    <a:lnTo>
                      <a:pt x="103" y="490"/>
                    </a:lnTo>
                    <a:lnTo>
                      <a:pt x="104" y="492"/>
                    </a:lnTo>
                    <a:lnTo>
                      <a:pt x="106" y="494"/>
                    </a:lnTo>
                    <a:lnTo>
                      <a:pt x="108" y="496"/>
                    </a:lnTo>
                    <a:lnTo>
                      <a:pt x="110" y="496"/>
                    </a:lnTo>
                    <a:lnTo>
                      <a:pt x="112" y="496"/>
                    </a:lnTo>
                    <a:lnTo>
                      <a:pt x="116" y="496"/>
                    </a:lnTo>
                    <a:lnTo>
                      <a:pt x="120" y="496"/>
                    </a:lnTo>
                    <a:lnTo>
                      <a:pt x="122" y="496"/>
                    </a:lnTo>
                    <a:lnTo>
                      <a:pt x="122" y="498"/>
                    </a:lnTo>
                    <a:lnTo>
                      <a:pt x="124" y="500"/>
                    </a:lnTo>
                    <a:lnTo>
                      <a:pt x="124" y="502"/>
                    </a:lnTo>
                    <a:lnTo>
                      <a:pt x="124" y="508"/>
                    </a:lnTo>
                    <a:lnTo>
                      <a:pt x="122" y="513"/>
                    </a:lnTo>
                    <a:lnTo>
                      <a:pt x="122" y="515"/>
                    </a:lnTo>
                    <a:lnTo>
                      <a:pt x="124" y="517"/>
                    </a:lnTo>
                    <a:lnTo>
                      <a:pt x="122" y="517"/>
                    </a:lnTo>
                    <a:lnTo>
                      <a:pt x="120" y="517"/>
                    </a:lnTo>
                    <a:lnTo>
                      <a:pt x="122" y="519"/>
                    </a:lnTo>
                    <a:lnTo>
                      <a:pt x="120" y="519"/>
                    </a:lnTo>
                    <a:lnTo>
                      <a:pt x="122" y="519"/>
                    </a:lnTo>
                    <a:lnTo>
                      <a:pt x="120" y="519"/>
                    </a:lnTo>
                    <a:lnTo>
                      <a:pt x="122" y="521"/>
                    </a:lnTo>
                    <a:lnTo>
                      <a:pt x="120" y="521"/>
                    </a:lnTo>
                    <a:lnTo>
                      <a:pt x="118" y="521"/>
                    </a:lnTo>
                    <a:lnTo>
                      <a:pt x="118" y="523"/>
                    </a:lnTo>
                    <a:lnTo>
                      <a:pt x="116" y="523"/>
                    </a:lnTo>
                    <a:lnTo>
                      <a:pt x="114" y="525"/>
                    </a:lnTo>
                    <a:lnTo>
                      <a:pt x="114" y="527"/>
                    </a:lnTo>
                    <a:lnTo>
                      <a:pt x="112" y="527"/>
                    </a:lnTo>
                    <a:lnTo>
                      <a:pt x="112" y="529"/>
                    </a:lnTo>
                    <a:lnTo>
                      <a:pt x="110" y="529"/>
                    </a:lnTo>
                    <a:lnTo>
                      <a:pt x="108" y="530"/>
                    </a:lnTo>
                    <a:lnTo>
                      <a:pt x="106" y="530"/>
                    </a:lnTo>
                    <a:lnTo>
                      <a:pt x="106" y="532"/>
                    </a:lnTo>
                    <a:lnTo>
                      <a:pt x="104" y="532"/>
                    </a:lnTo>
                    <a:lnTo>
                      <a:pt x="103" y="534"/>
                    </a:lnTo>
                    <a:lnTo>
                      <a:pt x="101" y="536"/>
                    </a:lnTo>
                    <a:lnTo>
                      <a:pt x="101" y="538"/>
                    </a:lnTo>
                    <a:lnTo>
                      <a:pt x="99" y="540"/>
                    </a:lnTo>
                    <a:lnTo>
                      <a:pt x="97" y="542"/>
                    </a:lnTo>
                    <a:lnTo>
                      <a:pt x="95" y="542"/>
                    </a:lnTo>
                    <a:lnTo>
                      <a:pt x="93" y="546"/>
                    </a:lnTo>
                    <a:lnTo>
                      <a:pt x="95" y="548"/>
                    </a:lnTo>
                    <a:lnTo>
                      <a:pt x="93" y="548"/>
                    </a:lnTo>
                    <a:lnTo>
                      <a:pt x="95" y="548"/>
                    </a:lnTo>
                    <a:lnTo>
                      <a:pt x="95" y="550"/>
                    </a:lnTo>
                    <a:lnTo>
                      <a:pt x="93" y="553"/>
                    </a:lnTo>
                    <a:lnTo>
                      <a:pt x="93" y="561"/>
                    </a:lnTo>
                    <a:lnTo>
                      <a:pt x="91" y="567"/>
                    </a:lnTo>
                    <a:lnTo>
                      <a:pt x="87" y="569"/>
                    </a:lnTo>
                    <a:lnTo>
                      <a:pt x="85" y="570"/>
                    </a:lnTo>
                    <a:lnTo>
                      <a:pt x="84" y="570"/>
                    </a:lnTo>
                    <a:lnTo>
                      <a:pt x="82" y="570"/>
                    </a:lnTo>
                    <a:lnTo>
                      <a:pt x="82" y="572"/>
                    </a:lnTo>
                    <a:lnTo>
                      <a:pt x="74" y="574"/>
                    </a:lnTo>
                    <a:lnTo>
                      <a:pt x="74" y="576"/>
                    </a:lnTo>
                    <a:lnTo>
                      <a:pt x="72" y="576"/>
                    </a:lnTo>
                    <a:lnTo>
                      <a:pt x="72" y="580"/>
                    </a:lnTo>
                    <a:lnTo>
                      <a:pt x="70" y="586"/>
                    </a:lnTo>
                    <a:lnTo>
                      <a:pt x="70" y="590"/>
                    </a:lnTo>
                    <a:lnTo>
                      <a:pt x="68" y="590"/>
                    </a:lnTo>
                    <a:lnTo>
                      <a:pt x="68" y="591"/>
                    </a:lnTo>
                    <a:lnTo>
                      <a:pt x="70" y="591"/>
                    </a:lnTo>
                    <a:lnTo>
                      <a:pt x="70" y="595"/>
                    </a:lnTo>
                    <a:lnTo>
                      <a:pt x="72" y="605"/>
                    </a:lnTo>
                    <a:lnTo>
                      <a:pt x="72" y="607"/>
                    </a:lnTo>
                    <a:lnTo>
                      <a:pt x="76" y="616"/>
                    </a:lnTo>
                    <a:lnTo>
                      <a:pt x="82" y="626"/>
                    </a:lnTo>
                    <a:lnTo>
                      <a:pt x="82" y="628"/>
                    </a:lnTo>
                    <a:lnTo>
                      <a:pt x="82" y="626"/>
                    </a:lnTo>
                    <a:lnTo>
                      <a:pt x="80" y="626"/>
                    </a:lnTo>
                    <a:lnTo>
                      <a:pt x="78" y="626"/>
                    </a:lnTo>
                    <a:lnTo>
                      <a:pt x="74" y="624"/>
                    </a:lnTo>
                    <a:lnTo>
                      <a:pt x="70" y="622"/>
                    </a:lnTo>
                    <a:lnTo>
                      <a:pt x="64" y="622"/>
                    </a:lnTo>
                    <a:lnTo>
                      <a:pt x="57" y="618"/>
                    </a:lnTo>
                    <a:lnTo>
                      <a:pt x="26" y="618"/>
                    </a:lnTo>
                    <a:lnTo>
                      <a:pt x="24" y="616"/>
                    </a:lnTo>
                    <a:lnTo>
                      <a:pt x="26" y="614"/>
                    </a:lnTo>
                    <a:lnTo>
                      <a:pt x="24" y="612"/>
                    </a:lnTo>
                    <a:lnTo>
                      <a:pt x="22" y="611"/>
                    </a:lnTo>
                    <a:lnTo>
                      <a:pt x="21" y="611"/>
                    </a:lnTo>
                    <a:lnTo>
                      <a:pt x="21" y="609"/>
                    </a:lnTo>
                    <a:lnTo>
                      <a:pt x="19" y="609"/>
                    </a:lnTo>
                    <a:lnTo>
                      <a:pt x="19" y="607"/>
                    </a:lnTo>
                    <a:lnTo>
                      <a:pt x="17" y="607"/>
                    </a:lnTo>
                    <a:lnTo>
                      <a:pt x="19" y="605"/>
                    </a:lnTo>
                    <a:lnTo>
                      <a:pt x="19" y="603"/>
                    </a:lnTo>
                    <a:lnTo>
                      <a:pt x="19" y="601"/>
                    </a:lnTo>
                    <a:lnTo>
                      <a:pt x="19" y="599"/>
                    </a:lnTo>
                    <a:lnTo>
                      <a:pt x="21" y="599"/>
                    </a:lnTo>
                    <a:lnTo>
                      <a:pt x="21" y="597"/>
                    </a:lnTo>
                    <a:lnTo>
                      <a:pt x="19" y="597"/>
                    </a:lnTo>
                    <a:lnTo>
                      <a:pt x="19" y="595"/>
                    </a:lnTo>
                    <a:lnTo>
                      <a:pt x="19" y="593"/>
                    </a:lnTo>
                    <a:lnTo>
                      <a:pt x="21" y="593"/>
                    </a:lnTo>
                    <a:lnTo>
                      <a:pt x="21" y="588"/>
                    </a:lnTo>
                    <a:lnTo>
                      <a:pt x="19" y="586"/>
                    </a:lnTo>
                    <a:lnTo>
                      <a:pt x="21" y="584"/>
                    </a:lnTo>
                    <a:lnTo>
                      <a:pt x="19" y="584"/>
                    </a:lnTo>
                    <a:lnTo>
                      <a:pt x="19" y="582"/>
                    </a:lnTo>
                    <a:lnTo>
                      <a:pt x="17" y="582"/>
                    </a:lnTo>
                    <a:lnTo>
                      <a:pt x="15" y="582"/>
                    </a:lnTo>
                    <a:lnTo>
                      <a:pt x="15" y="584"/>
                    </a:lnTo>
                    <a:lnTo>
                      <a:pt x="13" y="584"/>
                    </a:lnTo>
                    <a:lnTo>
                      <a:pt x="13" y="582"/>
                    </a:lnTo>
                    <a:lnTo>
                      <a:pt x="11" y="584"/>
                    </a:lnTo>
                    <a:lnTo>
                      <a:pt x="9" y="586"/>
                    </a:lnTo>
                    <a:lnTo>
                      <a:pt x="7" y="586"/>
                    </a:lnTo>
                    <a:lnTo>
                      <a:pt x="5" y="588"/>
                    </a:lnTo>
                    <a:lnTo>
                      <a:pt x="3" y="588"/>
                    </a:lnTo>
                    <a:lnTo>
                      <a:pt x="3" y="586"/>
                    </a:lnTo>
                    <a:lnTo>
                      <a:pt x="5" y="586"/>
                    </a:lnTo>
                    <a:lnTo>
                      <a:pt x="5" y="584"/>
                    </a:lnTo>
                    <a:lnTo>
                      <a:pt x="3" y="584"/>
                    </a:lnTo>
                    <a:lnTo>
                      <a:pt x="3" y="582"/>
                    </a:lnTo>
                    <a:lnTo>
                      <a:pt x="2" y="580"/>
                    </a:lnTo>
                    <a:lnTo>
                      <a:pt x="3" y="580"/>
                    </a:lnTo>
                    <a:lnTo>
                      <a:pt x="2" y="578"/>
                    </a:lnTo>
                    <a:lnTo>
                      <a:pt x="2" y="576"/>
                    </a:lnTo>
                    <a:lnTo>
                      <a:pt x="2" y="574"/>
                    </a:lnTo>
                    <a:lnTo>
                      <a:pt x="0" y="574"/>
                    </a:lnTo>
                    <a:lnTo>
                      <a:pt x="0" y="572"/>
                    </a:lnTo>
                    <a:lnTo>
                      <a:pt x="0" y="570"/>
                    </a:lnTo>
                    <a:lnTo>
                      <a:pt x="2" y="569"/>
                    </a:lnTo>
                    <a:lnTo>
                      <a:pt x="0" y="567"/>
                    </a:lnTo>
                    <a:lnTo>
                      <a:pt x="0" y="565"/>
                    </a:lnTo>
                    <a:lnTo>
                      <a:pt x="2" y="563"/>
                    </a:lnTo>
                    <a:lnTo>
                      <a:pt x="2" y="561"/>
                    </a:lnTo>
                    <a:lnTo>
                      <a:pt x="0" y="559"/>
                    </a:lnTo>
                    <a:lnTo>
                      <a:pt x="2" y="557"/>
                    </a:lnTo>
                    <a:lnTo>
                      <a:pt x="0" y="555"/>
                    </a:lnTo>
                    <a:lnTo>
                      <a:pt x="2" y="553"/>
                    </a:lnTo>
                    <a:lnTo>
                      <a:pt x="2" y="551"/>
                    </a:lnTo>
                    <a:lnTo>
                      <a:pt x="2" y="550"/>
                    </a:lnTo>
                    <a:lnTo>
                      <a:pt x="2" y="548"/>
                    </a:lnTo>
                    <a:lnTo>
                      <a:pt x="7" y="550"/>
                    </a:lnTo>
                    <a:lnTo>
                      <a:pt x="7" y="548"/>
                    </a:lnTo>
                    <a:lnTo>
                      <a:pt x="7" y="550"/>
                    </a:lnTo>
                    <a:lnTo>
                      <a:pt x="7" y="548"/>
                    </a:lnTo>
                    <a:lnTo>
                      <a:pt x="7" y="546"/>
                    </a:lnTo>
                    <a:lnTo>
                      <a:pt x="7" y="544"/>
                    </a:lnTo>
                    <a:lnTo>
                      <a:pt x="9" y="544"/>
                    </a:lnTo>
                    <a:lnTo>
                      <a:pt x="9" y="542"/>
                    </a:lnTo>
                    <a:lnTo>
                      <a:pt x="11" y="542"/>
                    </a:lnTo>
                    <a:lnTo>
                      <a:pt x="13" y="540"/>
                    </a:lnTo>
                    <a:lnTo>
                      <a:pt x="17" y="538"/>
                    </a:lnTo>
                    <a:lnTo>
                      <a:pt x="17" y="534"/>
                    </a:lnTo>
                    <a:lnTo>
                      <a:pt x="15" y="530"/>
                    </a:lnTo>
                    <a:lnTo>
                      <a:pt x="17" y="530"/>
                    </a:lnTo>
                    <a:lnTo>
                      <a:pt x="19" y="530"/>
                    </a:lnTo>
                    <a:lnTo>
                      <a:pt x="19" y="529"/>
                    </a:lnTo>
                    <a:lnTo>
                      <a:pt x="19" y="527"/>
                    </a:lnTo>
                    <a:lnTo>
                      <a:pt x="21" y="527"/>
                    </a:lnTo>
                    <a:lnTo>
                      <a:pt x="19" y="523"/>
                    </a:lnTo>
                    <a:lnTo>
                      <a:pt x="21" y="523"/>
                    </a:lnTo>
                    <a:lnTo>
                      <a:pt x="19" y="521"/>
                    </a:lnTo>
                    <a:lnTo>
                      <a:pt x="17" y="519"/>
                    </a:lnTo>
                    <a:lnTo>
                      <a:pt x="17" y="517"/>
                    </a:lnTo>
                    <a:lnTo>
                      <a:pt x="17" y="515"/>
                    </a:lnTo>
                    <a:lnTo>
                      <a:pt x="17" y="513"/>
                    </a:lnTo>
                    <a:lnTo>
                      <a:pt x="17" y="511"/>
                    </a:lnTo>
                    <a:lnTo>
                      <a:pt x="17" y="513"/>
                    </a:lnTo>
                    <a:lnTo>
                      <a:pt x="19" y="513"/>
                    </a:lnTo>
                    <a:lnTo>
                      <a:pt x="19" y="511"/>
                    </a:lnTo>
                    <a:lnTo>
                      <a:pt x="17" y="511"/>
                    </a:lnTo>
                    <a:lnTo>
                      <a:pt x="19" y="511"/>
                    </a:lnTo>
                    <a:lnTo>
                      <a:pt x="19" y="509"/>
                    </a:lnTo>
                    <a:lnTo>
                      <a:pt x="19" y="508"/>
                    </a:lnTo>
                    <a:lnTo>
                      <a:pt x="21" y="508"/>
                    </a:lnTo>
                    <a:lnTo>
                      <a:pt x="19" y="506"/>
                    </a:lnTo>
                    <a:lnTo>
                      <a:pt x="21" y="506"/>
                    </a:lnTo>
                    <a:lnTo>
                      <a:pt x="21" y="504"/>
                    </a:lnTo>
                    <a:lnTo>
                      <a:pt x="22" y="504"/>
                    </a:lnTo>
                    <a:lnTo>
                      <a:pt x="22" y="502"/>
                    </a:lnTo>
                    <a:lnTo>
                      <a:pt x="24" y="504"/>
                    </a:lnTo>
                    <a:lnTo>
                      <a:pt x="24" y="502"/>
                    </a:lnTo>
                    <a:lnTo>
                      <a:pt x="24" y="500"/>
                    </a:lnTo>
                    <a:lnTo>
                      <a:pt x="26" y="500"/>
                    </a:lnTo>
                    <a:lnTo>
                      <a:pt x="26" y="498"/>
                    </a:lnTo>
                    <a:lnTo>
                      <a:pt x="24" y="496"/>
                    </a:lnTo>
                    <a:lnTo>
                      <a:pt x="26" y="496"/>
                    </a:lnTo>
                    <a:lnTo>
                      <a:pt x="24" y="494"/>
                    </a:lnTo>
                    <a:lnTo>
                      <a:pt x="24" y="492"/>
                    </a:lnTo>
                    <a:lnTo>
                      <a:pt x="26" y="492"/>
                    </a:lnTo>
                    <a:lnTo>
                      <a:pt x="24" y="490"/>
                    </a:lnTo>
                    <a:lnTo>
                      <a:pt x="26" y="490"/>
                    </a:lnTo>
                    <a:lnTo>
                      <a:pt x="30" y="488"/>
                    </a:lnTo>
                    <a:lnTo>
                      <a:pt x="30" y="487"/>
                    </a:lnTo>
                    <a:lnTo>
                      <a:pt x="30" y="483"/>
                    </a:lnTo>
                    <a:lnTo>
                      <a:pt x="28" y="481"/>
                    </a:lnTo>
                    <a:lnTo>
                      <a:pt x="28" y="479"/>
                    </a:lnTo>
                    <a:lnTo>
                      <a:pt x="28" y="477"/>
                    </a:lnTo>
                    <a:lnTo>
                      <a:pt x="26" y="477"/>
                    </a:lnTo>
                    <a:lnTo>
                      <a:pt x="26" y="475"/>
                    </a:lnTo>
                    <a:lnTo>
                      <a:pt x="28" y="475"/>
                    </a:lnTo>
                    <a:lnTo>
                      <a:pt x="28" y="473"/>
                    </a:lnTo>
                    <a:lnTo>
                      <a:pt x="30" y="471"/>
                    </a:lnTo>
                    <a:lnTo>
                      <a:pt x="30" y="469"/>
                    </a:lnTo>
                    <a:lnTo>
                      <a:pt x="28" y="467"/>
                    </a:lnTo>
                    <a:lnTo>
                      <a:pt x="28" y="466"/>
                    </a:lnTo>
                    <a:lnTo>
                      <a:pt x="28" y="464"/>
                    </a:lnTo>
                    <a:lnTo>
                      <a:pt x="28" y="462"/>
                    </a:lnTo>
                    <a:lnTo>
                      <a:pt x="30" y="462"/>
                    </a:lnTo>
                    <a:lnTo>
                      <a:pt x="30" y="460"/>
                    </a:lnTo>
                    <a:lnTo>
                      <a:pt x="32" y="462"/>
                    </a:lnTo>
                    <a:lnTo>
                      <a:pt x="32" y="460"/>
                    </a:lnTo>
                    <a:lnTo>
                      <a:pt x="32" y="458"/>
                    </a:lnTo>
                    <a:lnTo>
                      <a:pt x="34" y="458"/>
                    </a:lnTo>
                    <a:lnTo>
                      <a:pt x="34" y="456"/>
                    </a:lnTo>
                    <a:lnTo>
                      <a:pt x="36" y="456"/>
                    </a:lnTo>
                    <a:lnTo>
                      <a:pt x="34" y="454"/>
                    </a:lnTo>
                    <a:lnTo>
                      <a:pt x="36" y="454"/>
                    </a:lnTo>
                    <a:lnTo>
                      <a:pt x="34" y="454"/>
                    </a:lnTo>
                    <a:lnTo>
                      <a:pt x="34" y="452"/>
                    </a:lnTo>
                    <a:lnTo>
                      <a:pt x="32" y="452"/>
                    </a:lnTo>
                    <a:lnTo>
                      <a:pt x="32" y="450"/>
                    </a:lnTo>
                    <a:lnTo>
                      <a:pt x="32" y="448"/>
                    </a:lnTo>
                    <a:lnTo>
                      <a:pt x="30" y="448"/>
                    </a:lnTo>
                    <a:lnTo>
                      <a:pt x="28" y="448"/>
                    </a:lnTo>
                    <a:lnTo>
                      <a:pt x="28" y="446"/>
                    </a:lnTo>
                    <a:lnTo>
                      <a:pt x="28" y="448"/>
                    </a:lnTo>
                    <a:lnTo>
                      <a:pt x="28" y="446"/>
                    </a:lnTo>
                    <a:lnTo>
                      <a:pt x="26" y="448"/>
                    </a:lnTo>
                    <a:lnTo>
                      <a:pt x="24" y="446"/>
                    </a:lnTo>
                    <a:lnTo>
                      <a:pt x="22" y="445"/>
                    </a:lnTo>
                    <a:lnTo>
                      <a:pt x="24" y="445"/>
                    </a:lnTo>
                    <a:lnTo>
                      <a:pt x="22" y="445"/>
                    </a:lnTo>
                    <a:lnTo>
                      <a:pt x="22" y="443"/>
                    </a:lnTo>
                    <a:lnTo>
                      <a:pt x="24" y="445"/>
                    </a:lnTo>
                    <a:lnTo>
                      <a:pt x="24" y="443"/>
                    </a:lnTo>
                    <a:lnTo>
                      <a:pt x="24" y="445"/>
                    </a:lnTo>
                    <a:lnTo>
                      <a:pt x="26" y="445"/>
                    </a:lnTo>
                    <a:lnTo>
                      <a:pt x="28" y="445"/>
                    </a:lnTo>
                    <a:lnTo>
                      <a:pt x="26" y="445"/>
                    </a:lnTo>
                    <a:lnTo>
                      <a:pt x="28" y="443"/>
                    </a:lnTo>
                    <a:lnTo>
                      <a:pt x="28" y="445"/>
                    </a:lnTo>
                    <a:lnTo>
                      <a:pt x="30" y="445"/>
                    </a:lnTo>
                    <a:lnTo>
                      <a:pt x="32" y="443"/>
                    </a:lnTo>
                    <a:lnTo>
                      <a:pt x="34" y="445"/>
                    </a:lnTo>
                    <a:lnTo>
                      <a:pt x="36" y="445"/>
                    </a:lnTo>
                    <a:lnTo>
                      <a:pt x="38" y="443"/>
                    </a:lnTo>
                    <a:lnTo>
                      <a:pt x="36" y="441"/>
                    </a:lnTo>
                    <a:lnTo>
                      <a:pt x="38" y="441"/>
                    </a:lnTo>
                    <a:lnTo>
                      <a:pt x="40" y="439"/>
                    </a:lnTo>
                    <a:lnTo>
                      <a:pt x="38" y="437"/>
                    </a:lnTo>
                    <a:lnTo>
                      <a:pt x="36" y="435"/>
                    </a:lnTo>
                    <a:lnTo>
                      <a:pt x="34" y="437"/>
                    </a:lnTo>
                    <a:lnTo>
                      <a:pt x="34" y="435"/>
                    </a:lnTo>
                    <a:lnTo>
                      <a:pt x="30" y="435"/>
                    </a:lnTo>
                    <a:lnTo>
                      <a:pt x="28" y="435"/>
                    </a:lnTo>
                    <a:lnTo>
                      <a:pt x="26" y="435"/>
                    </a:lnTo>
                    <a:lnTo>
                      <a:pt x="28" y="435"/>
                    </a:lnTo>
                    <a:lnTo>
                      <a:pt x="28" y="433"/>
                    </a:lnTo>
                    <a:lnTo>
                      <a:pt x="26" y="433"/>
                    </a:lnTo>
                    <a:lnTo>
                      <a:pt x="28" y="433"/>
                    </a:lnTo>
                    <a:lnTo>
                      <a:pt x="28" y="431"/>
                    </a:lnTo>
                    <a:lnTo>
                      <a:pt x="26" y="429"/>
                    </a:lnTo>
                    <a:lnTo>
                      <a:pt x="28" y="429"/>
                    </a:lnTo>
                    <a:lnTo>
                      <a:pt x="30" y="425"/>
                    </a:lnTo>
                    <a:lnTo>
                      <a:pt x="28" y="424"/>
                    </a:lnTo>
                    <a:lnTo>
                      <a:pt x="28" y="422"/>
                    </a:lnTo>
                    <a:lnTo>
                      <a:pt x="30" y="422"/>
                    </a:lnTo>
                    <a:lnTo>
                      <a:pt x="30" y="420"/>
                    </a:lnTo>
                    <a:lnTo>
                      <a:pt x="32" y="420"/>
                    </a:lnTo>
                    <a:lnTo>
                      <a:pt x="30" y="418"/>
                    </a:lnTo>
                    <a:lnTo>
                      <a:pt x="28" y="418"/>
                    </a:lnTo>
                    <a:lnTo>
                      <a:pt x="28" y="416"/>
                    </a:lnTo>
                    <a:lnTo>
                      <a:pt x="26" y="416"/>
                    </a:lnTo>
                    <a:lnTo>
                      <a:pt x="26" y="414"/>
                    </a:lnTo>
                    <a:lnTo>
                      <a:pt x="26" y="412"/>
                    </a:lnTo>
                    <a:lnTo>
                      <a:pt x="28" y="412"/>
                    </a:lnTo>
                    <a:lnTo>
                      <a:pt x="28" y="410"/>
                    </a:lnTo>
                    <a:lnTo>
                      <a:pt x="28" y="408"/>
                    </a:lnTo>
                    <a:lnTo>
                      <a:pt x="26" y="408"/>
                    </a:lnTo>
                    <a:lnTo>
                      <a:pt x="26" y="406"/>
                    </a:lnTo>
                    <a:lnTo>
                      <a:pt x="24" y="406"/>
                    </a:lnTo>
                    <a:lnTo>
                      <a:pt x="22" y="404"/>
                    </a:lnTo>
                    <a:lnTo>
                      <a:pt x="22" y="403"/>
                    </a:lnTo>
                    <a:lnTo>
                      <a:pt x="22" y="401"/>
                    </a:lnTo>
                    <a:lnTo>
                      <a:pt x="22" y="399"/>
                    </a:lnTo>
                    <a:lnTo>
                      <a:pt x="22" y="397"/>
                    </a:lnTo>
                    <a:lnTo>
                      <a:pt x="22" y="395"/>
                    </a:lnTo>
                    <a:lnTo>
                      <a:pt x="24" y="395"/>
                    </a:lnTo>
                    <a:lnTo>
                      <a:pt x="24" y="393"/>
                    </a:lnTo>
                    <a:lnTo>
                      <a:pt x="24" y="391"/>
                    </a:lnTo>
                    <a:lnTo>
                      <a:pt x="22" y="391"/>
                    </a:lnTo>
                    <a:lnTo>
                      <a:pt x="22" y="389"/>
                    </a:lnTo>
                    <a:lnTo>
                      <a:pt x="22" y="387"/>
                    </a:lnTo>
                    <a:lnTo>
                      <a:pt x="21" y="387"/>
                    </a:lnTo>
                    <a:lnTo>
                      <a:pt x="22" y="385"/>
                    </a:lnTo>
                    <a:lnTo>
                      <a:pt x="22" y="387"/>
                    </a:lnTo>
                    <a:lnTo>
                      <a:pt x="22" y="385"/>
                    </a:lnTo>
                    <a:lnTo>
                      <a:pt x="24" y="385"/>
                    </a:lnTo>
                    <a:lnTo>
                      <a:pt x="24" y="387"/>
                    </a:lnTo>
                    <a:lnTo>
                      <a:pt x="26" y="387"/>
                    </a:lnTo>
                    <a:lnTo>
                      <a:pt x="28" y="385"/>
                    </a:lnTo>
                    <a:lnTo>
                      <a:pt x="28" y="384"/>
                    </a:lnTo>
                    <a:lnTo>
                      <a:pt x="28" y="382"/>
                    </a:lnTo>
                    <a:lnTo>
                      <a:pt x="28" y="380"/>
                    </a:lnTo>
                    <a:lnTo>
                      <a:pt x="28" y="378"/>
                    </a:lnTo>
                    <a:lnTo>
                      <a:pt x="28" y="376"/>
                    </a:lnTo>
                    <a:lnTo>
                      <a:pt x="26" y="376"/>
                    </a:lnTo>
                    <a:lnTo>
                      <a:pt x="26" y="374"/>
                    </a:lnTo>
                    <a:lnTo>
                      <a:pt x="28" y="374"/>
                    </a:lnTo>
                    <a:lnTo>
                      <a:pt x="26" y="374"/>
                    </a:lnTo>
                    <a:lnTo>
                      <a:pt x="26" y="372"/>
                    </a:lnTo>
                    <a:lnTo>
                      <a:pt x="26" y="370"/>
                    </a:lnTo>
                    <a:lnTo>
                      <a:pt x="26" y="368"/>
                    </a:lnTo>
                    <a:lnTo>
                      <a:pt x="26" y="366"/>
                    </a:lnTo>
                    <a:lnTo>
                      <a:pt x="26" y="364"/>
                    </a:lnTo>
                    <a:lnTo>
                      <a:pt x="28" y="363"/>
                    </a:lnTo>
                    <a:lnTo>
                      <a:pt x="26" y="363"/>
                    </a:lnTo>
                    <a:lnTo>
                      <a:pt x="26" y="361"/>
                    </a:lnTo>
                    <a:lnTo>
                      <a:pt x="26" y="359"/>
                    </a:lnTo>
                    <a:lnTo>
                      <a:pt x="26" y="357"/>
                    </a:lnTo>
                    <a:lnTo>
                      <a:pt x="24" y="357"/>
                    </a:lnTo>
                    <a:lnTo>
                      <a:pt x="26" y="355"/>
                    </a:lnTo>
                    <a:lnTo>
                      <a:pt x="26" y="353"/>
                    </a:lnTo>
                    <a:lnTo>
                      <a:pt x="26" y="351"/>
                    </a:lnTo>
                    <a:lnTo>
                      <a:pt x="26" y="349"/>
                    </a:lnTo>
                    <a:lnTo>
                      <a:pt x="28" y="349"/>
                    </a:lnTo>
                    <a:lnTo>
                      <a:pt x="30" y="349"/>
                    </a:lnTo>
                    <a:lnTo>
                      <a:pt x="30" y="347"/>
                    </a:lnTo>
                    <a:lnTo>
                      <a:pt x="28" y="347"/>
                    </a:lnTo>
                    <a:lnTo>
                      <a:pt x="26" y="345"/>
                    </a:lnTo>
                    <a:lnTo>
                      <a:pt x="28" y="345"/>
                    </a:lnTo>
                    <a:lnTo>
                      <a:pt x="26" y="345"/>
                    </a:lnTo>
                    <a:lnTo>
                      <a:pt x="28" y="343"/>
                    </a:lnTo>
                    <a:lnTo>
                      <a:pt x="26" y="343"/>
                    </a:lnTo>
                    <a:lnTo>
                      <a:pt x="28" y="343"/>
                    </a:lnTo>
                    <a:lnTo>
                      <a:pt x="30" y="343"/>
                    </a:lnTo>
                    <a:lnTo>
                      <a:pt x="30" y="342"/>
                    </a:lnTo>
                    <a:lnTo>
                      <a:pt x="30" y="340"/>
                    </a:lnTo>
                    <a:lnTo>
                      <a:pt x="30" y="338"/>
                    </a:lnTo>
                    <a:lnTo>
                      <a:pt x="28" y="336"/>
                    </a:lnTo>
                    <a:lnTo>
                      <a:pt x="30" y="336"/>
                    </a:lnTo>
                    <a:lnTo>
                      <a:pt x="28" y="334"/>
                    </a:lnTo>
                    <a:lnTo>
                      <a:pt x="30" y="334"/>
                    </a:lnTo>
                    <a:lnTo>
                      <a:pt x="28" y="334"/>
                    </a:lnTo>
                    <a:lnTo>
                      <a:pt x="30" y="334"/>
                    </a:lnTo>
                    <a:lnTo>
                      <a:pt x="30" y="332"/>
                    </a:lnTo>
                    <a:lnTo>
                      <a:pt x="30" y="334"/>
                    </a:lnTo>
                    <a:lnTo>
                      <a:pt x="32" y="334"/>
                    </a:lnTo>
                    <a:lnTo>
                      <a:pt x="34" y="332"/>
                    </a:lnTo>
                    <a:lnTo>
                      <a:pt x="32" y="332"/>
                    </a:lnTo>
                    <a:lnTo>
                      <a:pt x="32" y="330"/>
                    </a:lnTo>
                    <a:lnTo>
                      <a:pt x="34" y="330"/>
                    </a:lnTo>
                    <a:lnTo>
                      <a:pt x="34" y="328"/>
                    </a:lnTo>
                    <a:lnTo>
                      <a:pt x="34" y="326"/>
                    </a:lnTo>
                    <a:lnTo>
                      <a:pt x="34" y="324"/>
                    </a:lnTo>
                    <a:lnTo>
                      <a:pt x="34" y="322"/>
                    </a:lnTo>
                    <a:lnTo>
                      <a:pt x="34" y="321"/>
                    </a:lnTo>
                    <a:lnTo>
                      <a:pt x="34" y="319"/>
                    </a:lnTo>
                    <a:lnTo>
                      <a:pt x="36" y="317"/>
                    </a:lnTo>
                    <a:lnTo>
                      <a:pt x="38" y="317"/>
                    </a:lnTo>
                    <a:lnTo>
                      <a:pt x="40" y="315"/>
                    </a:lnTo>
                    <a:lnTo>
                      <a:pt x="42" y="315"/>
                    </a:lnTo>
                    <a:lnTo>
                      <a:pt x="42" y="313"/>
                    </a:lnTo>
                    <a:lnTo>
                      <a:pt x="43" y="313"/>
                    </a:lnTo>
                    <a:lnTo>
                      <a:pt x="42" y="311"/>
                    </a:lnTo>
                    <a:lnTo>
                      <a:pt x="42" y="309"/>
                    </a:lnTo>
                    <a:lnTo>
                      <a:pt x="42" y="307"/>
                    </a:lnTo>
                    <a:lnTo>
                      <a:pt x="40" y="307"/>
                    </a:lnTo>
                    <a:lnTo>
                      <a:pt x="40" y="305"/>
                    </a:lnTo>
                    <a:lnTo>
                      <a:pt x="40" y="303"/>
                    </a:lnTo>
                    <a:lnTo>
                      <a:pt x="40" y="301"/>
                    </a:lnTo>
                    <a:lnTo>
                      <a:pt x="40" y="300"/>
                    </a:lnTo>
                    <a:lnTo>
                      <a:pt x="38" y="300"/>
                    </a:lnTo>
                    <a:lnTo>
                      <a:pt x="38" y="298"/>
                    </a:lnTo>
                    <a:lnTo>
                      <a:pt x="38" y="296"/>
                    </a:lnTo>
                    <a:lnTo>
                      <a:pt x="38" y="294"/>
                    </a:lnTo>
                    <a:lnTo>
                      <a:pt x="38" y="292"/>
                    </a:lnTo>
                    <a:lnTo>
                      <a:pt x="38" y="290"/>
                    </a:lnTo>
                    <a:lnTo>
                      <a:pt x="38" y="288"/>
                    </a:lnTo>
                    <a:lnTo>
                      <a:pt x="38" y="286"/>
                    </a:lnTo>
                    <a:lnTo>
                      <a:pt x="38" y="284"/>
                    </a:lnTo>
                    <a:lnTo>
                      <a:pt x="38" y="282"/>
                    </a:lnTo>
                    <a:lnTo>
                      <a:pt x="40" y="282"/>
                    </a:lnTo>
                    <a:lnTo>
                      <a:pt x="38" y="280"/>
                    </a:lnTo>
                    <a:lnTo>
                      <a:pt x="40" y="279"/>
                    </a:lnTo>
                    <a:lnTo>
                      <a:pt x="38" y="279"/>
                    </a:lnTo>
                    <a:lnTo>
                      <a:pt x="38" y="277"/>
                    </a:lnTo>
                    <a:lnTo>
                      <a:pt x="38" y="273"/>
                    </a:lnTo>
                    <a:lnTo>
                      <a:pt x="40" y="273"/>
                    </a:lnTo>
                    <a:lnTo>
                      <a:pt x="40" y="275"/>
                    </a:lnTo>
                    <a:lnTo>
                      <a:pt x="40" y="273"/>
                    </a:lnTo>
                    <a:lnTo>
                      <a:pt x="40" y="269"/>
                    </a:lnTo>
                    <a:lnTo>
                      <a:pt x="42" y="271"/>
                    </a:lnTo>
                    <a:lnTo>
                      <a:pt x="42" y="269"/>
                    </a:lnTo>
                    <a:lnTo>
                      <a:pt x="42" y="267"/>
                    </a:lnTo>
                    <a:lnTo>
                      <a:pt x="43" y="269"/>
                    </a:lnTo>
                    <a:lnTo>
                      <a:pt x="43" y="267"/>
                    </a:lnTo>
                    <a:lnTo>
                      <a:pt x="43" y="269"/>
                    </a:lnTo>
                    <a:lnTo>
                      <a:pt x="45" y="269"/>
                    </a:lnTo>
                    <a:lnTo>
                      <a:pt x="45" y="267"/>
                    </a:lnTo>
                    <a:lnTo>
                      <a:pt x="45" y="265"/>
                    </a:lnTo>
                    <a:lnTo>
                      <a:pt x="47" y="263"/>
                    </a:lnTo>
                    <a:lnTo>
                      <a:pt x="49" y="263"/>
                    </a:lnTo>
                    <a:lnTo>
                      <a:pt x="49" y="261"/>
                    </a:lnTo>
                    <a:lnTo>
                      <a:pt x="51" y="261"/>
                    </a:lnTo>
                    <a:lnTo>
                      <a:pt x="51" y="259"/>
                    </a:lnTo>
                    <a:lnTo>
                      <a:pt x="49" y="259"/>
                    </a:lnTo>
                    <a:lnTo>
                      <a:pt x="51" y="259"/>
                    </a:lnTo>
                    <a:lnTo>
                      <a:pt x="49" y="258"/>
                    </a:lnTo>
                    <a:lnTo>
                      <a:pt x="51" y="258"/>
                    </a:lnTo>
                    <a:lnTo>
                      <a:pt x="51" y="256"/>
                    </a:lnTo>
                    <a:lnTo>
                      <a:pt x="49" y="254"/>
                    </a:lnTo>
                    <a:lnTo>
                      <a:pt x="49" y="252"/>
                    </a:lnTo>
                    <a:lnTo>
                      <a:pt x="51" y="250"/>
                    </a:lnTo>
                    <a:lnTo>
                      <a:pt x="49" y="250"/>
                    </a:lnTo>
                    <a:lnTo>
                      <a:pt x="49" y="248"/>
                    </a:lnTo>
                    <a:lnTo>
                      <a:pt x="49" y="246"/>
                    </a:lnTo>
                    <a:lnTo>
                      <a:pt x="47" y="246"/>
                    </a:lnTo>
                    <a:lnTo>
                      <a:pt x="47" y="244"/>
                    </a:lnTo>
                    <a:lnTo>
                      <a:pt x="49" y="244"/>
                    </a:lnTo>
                    <a:lnTo>
                      <a:pt x="51" y="244"/>
                    </a:lnTo>
                    <a:lnTo>
                      <a:pt x="51" y="242"/>
                    </a:lnTo>
                    <a:lnTo>
                      <a:pt x="51" y="240"/>
                    </a:lnTo>
                    <a:lnTo>
                      <a:pt x="51" y="238"/>
                    </a:lnTo>
                    <a:lnTo>
                      <a:pt x="53" y="237"/>
                    </a:lnTo>
                    <a:lnTo>
                      <a:pt x="51" y="237"/>
                    </a:lnTo>
                    <a:lnTo>
                      <a:pt x="53" y="235"/>
                    </a:lnTo>
                    <a:lnTo>
                      <a:pt x="53" y="233"/>
                    </a:lnTo>
                    <a:lnTo>
                      <a:pt x="55" y="231"/>
                    </a:lnTo>
                    <a:lnTo>
                      <a:pt x="57" y="229"/>
                    </a:lnTo>
                    <a:lnTo>
                      <a:pt x="55" y="227"/>
                    </a:lnTo>
                    <a:lnTo>
                      <a:pt x="57" y="227"/>
                    </a:lnTo>
                    <a:lnTo>
                      <a:pt x="59" y="227"/>
                    </a:lnTo>
                    <a:lnTo>
                      <a:pt x="59" y="225"/>
                    </a:lnTo>
                    <a:lnTo>
                      <a:pt x="59" y="223"/>
                    </a:lnTo>
                    <a:lnTo>
                      <a:pt x="59" y="221"/>
                    </a:lnTo>
                    <a:lnTo>
                      <a:pt x="57" y="221"/>
                    </a:lnTo>
                    <a:lnTo>
                      <a:pt x="59" y="219"/>
                    </a:lnTo>
                    <a:lnTo>
                      <a:pt x="59" y="218"/>
                    </a:lnTo>
                    <a:lnTo>
                      <a:pt x="59" y="216"/>
                    </a:lnTo>
                    <a:lnTo>
                      <a:pt x="59" y="212"/>
                    </a:lnTo>
                    <a:lnTo>
                      <a:pt x="59" y="210"/>
                    </a:lnTo>
                    <a:lnTo>
                      <a:pt x="61" y="210"/>
                    </a:lnTo>
                    <a:lnTo>
                      <a:pt x="61" y="208"/>
                    </a:lnTo>
                    <a:lnTo>
                      <a:pt x="59" y="208"/>
                    </a:lnTo>
                    <a:lnTo>
                      <a:pt x="57" y="206"/>
                    </a:lnTo>
                    <a:lnTo>
                      <a:pt x="57" y="208"/>
                    </a:lnTo>
                    <a:lnTo>
                      <a:pt x="55" y="208"/>
                    </a:lnTo>
                    <a:lnTo>
                      <a:pt x="55" y="206"/>
                    </a:lnTo>
                    <a:lnTo>
                      <a:pt x="55" y="204"/>
                    </a:lnTo>
                    <a:lnTo>
                      <a:pt x="55" y="202"/>
                    </a:lnTo>
                    <a:lnTo>
                      <a:pt x="57" y="202"/>
                    </a:lnTo>
                    <a:lnTo>
                      <a:pt x="57" y="200"/>
                    </a:lnTo>
                    <a:lnTo>
                      <a:pt x="55" y="200"/>
                    </a:lnTo>
                    <a:lnTo>
                      <a:pt x="55" y="198"/>
                    </a:lnTo>
                    <a:lnTo>
                      <a:pt x="53" y="197"/>
                    </a:lnTo>
                    <a:lnTo>
                      <a:pt x="53" y="195"/>
                    </a:lnTo>
                    <a:lnTo>
                      <a:pt x="55" y="195"/>
                    </a:lnTo>
                    <a:lnTo>
                      <a:pt x="55" y="193"/>
                    </a:lnTo>
                    <a:lnTo>
                      <a:pt x="53" y="193"/>
                    </a:lnTo>
                    <a:lnTo>
                      <a:pt x="53" y="191"/>
                    </a:lnTo>
                    <a:lnTo>
                      <a:pt x="53" y="189"/>
                    </a:lnTo>
                    <a:lnTo>
                      <a:pt x="51" y="189"/>
                    </a:lnTo>
                    <a:lnTo>
                      <a:pt x="51" y="187"/>
                    </a:lnTo>
                    <a:lnTo>
                      <a:pt x="51" y="185"/>
                    </a:lnTo>
                    <a:lnTo>
                      <a:pt x="49" y="185"/>
                    </a:lnTo>
                    <a:lnTo>
                      <a:pt x="51" y="183"/>
                    </a:lnTo>
                    <a:lnTo>
                      <a:pt x="51" y="185"/>
                    </a:lnTo>
                    <a:lnTo>
                      <a:pt x="53" y="183"/>
                    </a:lnTo>
                    <a:lnTo>
                      <a:pt x="51" y="181"/>
                    </a:lnTo>
                    <a:lnTo>
                      <a:pt x="49" y="181"/>
                    </a:lnTo>
                    <a:lnTo>
                      <a:pt x="49" y="179"/>
                    </a:lnTo>
                    <a:lnTo>
                      <a:pt x="49" y="177"/>
                    </a:lnTo>
                    <a:lnTo>
                      <a:pt x="47" y="177"/>
                    </a:lnTo>
                    <a:lnTo>
                      <a:pt x="47" y="176"/>
                    </a:lnTo>
                    <a:lnTo>
                      <a:pt x="47" y="174"/>
                    </a:lnTo>
                    <a:lnTo>
                      <a:pt x="47" y="172"/>
                    </a:lnTo>
                    <a:lnTo>
                      <a:pt x="47" y="170"/>
                    </a:lnTo>
                    <a:lnTo>
                      <a:pt x="47" y="168"/>
                    </a:lnTo>
                    <a:lnTo>
                      <a:pt x="49" y="168"/>
                    </a:lnTo>
                    <a:lnTo>
                      <a:pt x="49" y="166"/>
                    </a:lnTo>
                    <a:lnTo>
                      <a:pt x="49" y="168"/>
                    </a:lnTo>
                    <a:lnTo>
                      <a:pt x="51" y="168"/>
                    </a:lnTo>
                    <a:lnTo>
                      <a:pt x="51" y="166"/>
                    </a:lnTo>
                    <a:lnTo>
                      <a:pt x="51" y="164"/>
                    </a:lnTo>
                    <a:lnTo>
                      <a:pt x="51" y="162"/>
                    </a:lnTo>
                    <a:lnTo>
                      <a:pt x="51" y="160"/>
                    </a:lnTo>
                    <a:lnTo>
                      <a:pt x="53" y="160"/>
                    </a:lnTo>
                    <a:lnTo>
                      <a:pt x="53" y="158"/>
                    </a:lnTo>
                    <a:lnTo>
                      <a:pt x="53" y="156"/>
                    </a:lnTo>
                    <a:lnTo>
                      <a:pt x="53" y="155"/>
                    </a:lnTo>
                    <a:lnTo>
                      <a:pt x="55" y="155"/>
                    </a:lnTo>
                    <a:lnTo>
                      <a:pt x="53" y="153"/>
                    </a:lnTo>
                    <a:lnTo>
                      <a:pt x="55" y="153"/>
                    </a:lnTo>
                    <a:lnTo>
                      <a:pt x="57" y="153"/>
                    </a:lnTo>
                    <a:lnTo>
                      <a:pt x="59" y="153"/>
                    </a:lnTo>
                    <a:lnTo>
                      <a:pt x="57" y="153"/>
                    </a:lnTo>
                    <a:lnTo>
                      <a:pt x="59" y="151"/>
                    </a:lnTo>
                    <a:lnTo>
                      <a:pt x="59" y="149"/>
                    </a:lnTo>
                    <a:lnTo>
                      <a:pt x="57" y="149"/>
                    </a:lnTo>
                    <a:lnTo>
                      <a:pt x="57" y="147"/>
                    </a:lnTo>
                    <a:lnTo>
                      <a:pt x="59" y="145"/>
                    </a:lnTo>
                    <a:lnTo>
                      <a:pt x="57" y="145"/>
                    </a:lnTo>
                    <a:lnTo>
                      <a:pt x="59" y="145"/>
                    </a:lnTo>
                    <a:lnTo>
                      <a:pt x="59" y="143"/>
                    </a:lnTo>
                    <a:lnTo>
                      <a:pt x="57" y="143"/>
                    </a:lnTo>
                    <a:lnTo>
                      <a:pt x="59" y="141"/>
                    </a:lnTo>
                    <a:lnTo>
                      <a:pt x="57" y="139"/>
                    </a:lnTo>
                    <a:lnTo>
                      <a:pt x="57" y="137"/>
                    </a:lnTo>
                    <a:lnTo>
                      <a:pt x="57" y="135"/>
                    </a:lnTo>
                    <a:lnTo>
                      <a:pt x="55" y="135"/>
                    </a:lnTo>
                    <a:lnTo>
                      <a:pt x="57" y="135"/>
                    </a:lnTo>
                    <a:lnTo>
                      <a:pt x="55" y="134"/>
                    </a:lnTo>
                    <a:lnTo>
                      <a:pt x="57" y="134"/>
                    </a:lnTo>
                    <a:lnTo>
                      <a:pt x="57" y="132"/>
                    </a:lnTo>
                    <a:lnTo>
                      <a:pt x="59" y="132"/>
                    </a:lnTo>
                    <a:lnTo>
                      <a:pt x="59" y="130"/>
                    </a:lnTo>
                    <a:lnTo>
                      <a:pt x="61" y="128"/>
                    </a:lnTo>
                    <a:lnTo>
                      <a:pt x="61" y="126"/>
                    </a:lnTo>
                    <a:lnTo>
                      <a:pt x="61" y="124"/>
                    </a:lnTo>
                    <a:lnTo>
                      <a:pt x="61" y="122"/>
                    </a:lnTo>
                    <a:lnTo>
                      <a:pt x="61" y="120"/>
                    </a:lnTo>
                    <a:lnTo>
                      <a:pt x="63" y="120"/>
                    </a:lnTo>
                    <a:lnTo>
                      <a:pt x="61" y="120"/>
                    </a:lnTo>
                    <a:lnTo>
                      <a:pt x="63" y="120"/>
                    </a:lnTo>
                    <a:lnTo>
                      <a:pt x="61" y="118"/>
                    </a:lnTo>
                    <a:lnTo>
                      <a:pt x="63" y="118"/>
                    </a:lnTo>
                    <a:lnTo>
                      <a:pt x="61" y="118"/>
                    </a:lnTo>
                    <a:lnTo>
                      <a:pt x="63" y="118"/>
                    </a:lnTo>
                    <a:lnTo>
                      <a:pt x="63" y="116"/>
                    </a:lnTo>
                    <a:lnTo>
                      <a:pt x="64" y="116"/>
                    </a:lnTo>
                    <a:lnTo>
                      <a:pt x="64" y="113"/>
                    </a:lnTo>
                    <a:lnTo>
                      <a:pt x="66" y="114"/>
                    </a:lnTo>
                    <a:lnTo>
                      <a:pt x="66" y="113"/>
                    </a:lnTo>
                    <a:lnTo>
                      <a:pt x="68" y="111"/>
                    </a:lnTo>
                    <a:lnTo>
                      <a:pt x="68" y="109"/>
                    </a:lnTo>
                    <a:lnTo>
                      <a:pt x="70" y="109"/>
                    </a:lnTo>
                    <a:lnTo>
                      <a:pt x="70" y="107"/>
                    </a:lnTo>
                    <a:lnTo>
                      <a:pt x="70" y="105"/>
                    </a:lnTo>
                    <a:lnTo>
                      <a:pt x="72" y="105"/>
                    </a:lnTo>
                    <a:lnTo>
                      <a:pt x="72" y="103"/>
                    </a:lnTo>
                    <a:lnTo>
                      <a:pt x="72" y="101"/>
                    </a:lnTo>
                    <a:lnTo>
                      <a:pt x="74" y="101"/>
                    </a:lnTo>
                    <a:lnTo>
                      <a:pt x="72" y="101"/>
                    </a:lnTo>
                    <a:lnTo>
                      <a:pt x="72" y="99"/>
                    </a:lnTo>
                    <a:lnTo>
                      <a:pt x="74" y="99"/>
                    </a:lnTo>
                    <a:lnTo>
                      <a:pt x="74" y="97"/>
                    </a:lnTo>
                    <a:lnTo>
                      <a:pt x="74" y="95"/>
                    </a:lnTo>
                    <a:lnTo>
                      <a:pt x="76" y="95"/>
                    </a:lnTo>
                    <a:lnTo>
                      <a:pt x="76" y="93"/>
                    </a:lnTo>
                    <a:lnTo>
                      <a:pt x="78" y="93"/>
                    </a:lnTo>
                    <a:lnTo>
                      <a:pt x="78" y="95"/>
                    </a:lnTo>
                    <a:lnTo>
                      <a:pt x="80" y="95"/>
                    </a:lnTo>
                    <a:lnTo>
                      <a:pt x="80" y="93"/>
                    </a:lnTo>
                    <a:lnTo>
                      <a:pt x="82" y="93"/>
                    </a:lnTo>
                    <a:lnTo>
                      <a:pt x="84" y="93"/>
                    </a:lnTo>
                    <a:lnTo>
                      <a:pt x="84" y="92"/>
                    </a:lnTo>
                    <a:lnTo>
                      <a:pt x="84" y="90"/>
                    </a:lnTo>
                    <a:lnTo>
                      <a:pt x="78" y="82"/>
                    </a:lnTo>
                    <a:lnTo>
                      <a:pt x="80" y="78"/>
                    </a:lnTo>
                    <a:lnTo>
                      <a:pt x="82" y="78"/>
                    </a:lnTo>
                    <a:lnTo>
                      <a:pt x="80" y="69"/>
                    </a:lnTo>
                    <a:lnTo>
                      <a:pt x="80" y="67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80" y="63"/>
                    </a:lnTo>
                    <a:lnTo>
                      <a:pt x="80" y="61"/>
                    </a:lnTo>
                    <a:lnTo>
                      <a:pt x="80" y="59"/>
                    </a:lnTo>
                    <a:lnTo>
                      <a:pt x="82" y="59"/>
                    </a:lnTo>
                    <a:lnTo>
                      <a:pt x="84" y="59"/>
                    </a:lnTo>
                    <a:lnTo>
                      <a:pt x="82" y="57"/>
                    </a:lnTo>
                    <a:lnTo>
                      <a:pt x="82" y="55"/>
                    </a:lnTo>
                    <a:lnTo>
                      <a:pt x="80" y="55"/>
                    </a:lnTo>
                    <a:lnTo>
                      <a:pt x="80" y="53"/>
                    </a:lnTo>
                    <a:lnTo>
                      <a:pt x="80" y="52"/>
                    </a:lnTo>
                    <a:lnTo>
                      <a:pt x="80" y="50"/>
                    </a:lnTo>
                    <a:lnTo>
                      <a:pt x="82" y="50"/>
                    </a:lnTo>
                    <a:lnTo>
                      <a:pt x="82" y="48"/>
                    </a:lnTo>
                    <a:lnTo>
                      <a:pt x="84" y="48"/>
                    </a:lnTo>
                    <a:lnTo>
                      <a:pt x="84" y="46"/>
                    </a:lnTo>
                    <a:lnTo>
                      <a:pt x="99" y="40"/>
                    </a:lnTo>
                    <a:lnTo>
                      <a:pt x="104" y="21"/>
                    </a:lnTo>
                    <a:lnTo>
                      <a:pt x="101" y="19"/>
                    </a:lnTo>
                    <a:lnTo>
                      <a:pt x="103" y="17"/>
                    </a:lnTo>
                    <a:lnTo>
                      <a:pt x="104" y="15"/>
                    </a:lnTo>
                    <a:lnTo>
                      <a:pt x="104" y="13"/>
                    </a:lnTo>
                    <a:lnTo>
                      <a:pt x="108" y="11"/>
                    </a:lnTo>
                    <a:lnTo>
                      <a:pt x="108" y="8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6" y="6"/>
                    </a:lnTo>
                    <a:lnTo>
                      <a:pt x="116" y="4"/>
                    </a:lnTo>
                    <a:lnTo>
                      <a:pt x="116" y="2"/>
                    </a:lnTo>
                    <a:lnTo>
                      <a:pt x="116" y="0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4" y="6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35" y="6"/>
                    </a:lnTo>
                    <a:lnTo>
                      <a:pt x="137" y="6"/>
                    </a:lnTo>
                    <a:lnTo>
                      <a:pt x="139" y="6"/>
                    </a:lnTo>
                    <a:lnTo>
                      <a:pt x="141" y="8"/>
                    </a:lnTo>
                    <a:lnTo>
                      <a:pt x="143" y="8"/>
                    </a:lnTo>
                    <a:lnTo>
                      <a:pt x="143" y="10"/>
                    </a:lnTo>
                    <a:lnTo>
                      <a:pt x="143" y="11"/>
                    </a:lnTo>
                    <a:lnTo>
                      <a:pt x="145" y="11"/>
                    </a:lnTo>
                    <a:lnTo>
                      <a:pt x="145" y="13"/>
                    </a:lnTo>
                    <a:lnTo>
                      <a:pt x="145" y="15"/>
                    </a:lnTo>
                    <a:lnTo>
                      <a:pt x="145" y="17"/>
                    </a:lnTo>
                    <a:lnTo>
                      <a:pt x="146" y="17"/>
                    </a:lnTo>
                    <a:lnTo>
                      <a:pt x="146" y="19"/>
                    </a:lnTo>
                    <a:lnTo>
                      <a:pt x="146" y="17"/>
                    </a:lnTo>
                    <a:lnTo>
                      <a:pt x="148" y="17"/>
                    </a:lnTo>
                    <a:lnTo>
                      <a:pt x="146" y="17"/>
                    </a:lnTo>
                    <a:lnTo>
                      <a:pt x="148" y="15"/>
                    </a:lnTo>
                    <a:lnTo>
                      <a:pt x="146" y="15"/>
                    </a:lnTo>
                    <a:lnTo>
                      <a:pt x="148" y="15"/>
                    </a:lnTo>
                    <a:lnTo>
                      <a:pt x="148" y="13"/>
                    </a:lnTo>
                    <a:lnTo>
                      <a:pt x="150" y="11"/>
                    </a:lnTo>
                    <a:lnTo>
                      <a:pt x="150" y="10"/>
                    </a:lnTo>
                    <a:lnTo>
                      <a:pt x="150" y="8"/>
                    </a:lnTo>
                    <a:lnTo>
                      <a:pt x="150" y="10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2" y="6"/>
                    </a:lnTo>
                    <a:lnTo>
                      <a:pt x="152" y="4"/>
                    </a:lnTo>
                    <a:lnTo>
                      <a:pt x="156" y="4"/>
                    </a:lnTo>
                    <a:lnTo>
                      <a:pt x="156" y="6"/>
                    </a:lnTo>
                    <a:lnTo>
                      <a:pt x="158" y="4"/>
                    </a:lnTo>
                    <a:lnTo>
                      <a:pt x="171" y="4"/>
                    </a:lnTo>
                    <a:lnTo>
                      <a:pt x="171" y="6"/>
                    </a:lnTo>
                    <a:lnTo>
                      <a:pt x="171" y="8"/>
                    </a:lnTo>
                    <a:lnTo>
                      <a:pt x="173" y="8"/>
                    </a:lnTo>
                    <a:lnTo>
                      <a:pt x="173" y="10"/>
                    </a:lnTo>
                    <a:close/>
                    <a:moveTo>
                      <a:pt x="78" y="695"/>
                    </a:moveTo>
                    <a:lnTo>
                      <a:pt x="78" y="674"/>
                    </a:lnTo>
                    <a:lnTo>
                      <a:pt x="78" y="643"/>
                    </a:lnTo>
                    <a:lnTo>
                      <a:pt x="78" y="635"/>
                    </a:lnTo>
                    <a:lnTo>
                      <a:pt x="84" y="643"/>
                    </a:lnTo>
                    <a:lnTo>
                      <a:pt x="85" y="647"/>
                    </a:lnTo>
                    <a:lnTo>
                      <a:pt x="84" y="645"/>
                    </a:lnTo>
                    <a:lnTo>
                      <a:pt x="82" y="645"/>
                    </a:lnTo>
                    <a:lnTo>
                      <a:pt x="80" y="647"/>
                    </a:lnTo>
                    <a:lnTo>
                      <a:pt x="80" y="651"/>
                    </a:lnTo>
                    <a:lnTo>
                      <a:pt x="82" y="651"/>
                    </a:lnTo>
                    <a:lnTo>
                      <a:pt x="82" y="653"/>
                    </a:lnTo>
                    <a:lnTo>
                      <a:pt x="84" y="653"/>
                    </a:lnTo>
                    <a:lnTo>
                      <a:pt x="85" y="653"/>
                    </a:lnTo>
                    <a:lnTo>
                      <a:pt x="87" y="654"/>
                    </a:lnTo>
                    <a:lnTo>
                      <a:pt x="87" y="658"/>
                    </a:lnTo>
                    <a:lnTo>
                      <a:pt x="89" y="660"/>
                    </a:lnTo>
                    <a:lnTo>
                      <a:pt x="93" y="664"/>
                    </a:lnTo>
                    <a:lnTo>
                      <a:pt x="95" y="666"/>
                    </a:lnTo>
                    <a:lnTo>
                      <a:pt x="95" y="668"/>
                    </a:lnTo>
                    <a:lnTo>
                      <a:pt x="97" y="670"/>
                    </a:lnTo>
                    <a:lnTo>
                      <a:pt x="99" y="672"/>
                    </a:lnTo>
                    <a:lnTo>
                      <a:pt x="101" y="674"/>
                    </a:lnTo>
                    <a:lnTo>
                      <a:pt x="104" y="675"/>
                    </a:lnTo>
                    <a:lnTo>
                      <a:pt x="106" y="675"/>
                    </a:lnTo>
                    <a:lnTo>
                      <a:pt x="108" y="677"/>
                    </a:lnTo>
                    <a:lnTo>
                      <a:pt x="108" y="679"/>
                    </a:lnTo>
                    <a:lnTo>
                      <a:pt x="110" y="679"/>
                    </a:lnTo>
                    <a:lnTo>
                      <a:pt x="110" y="681"/>
                    </a:lnTo>
                    <a:lnTo>
                      <a:pt x="112" y="681"/>
                    </a:lnTo>
                    <a:lnTo>
                      <a:pt x="112" y="683"/>
                    </a:lnTo>
                    <a:lnTo>
                      <a:pt x="114" y="683"/>
                    </a:lnTo>
                    <a:lnTo>
                      <a:pt x="124" y="689"/>
                    </a:lnTo>
                    <a:lnTo>
                      <a:pt x="125" y="689"/>
                    </a:lnTo>
                    <a:lnTo>
                      <a:pt x="127" y="689"/>
                    </a:lnTo>
                    <a:lnTo>
                      <a:pt x="129" y="689"/>
                    </a:lnTo>
                    <a:lnTo>
                      <a:pt x="131" y="687"/>
                    </a:lnTo>
                    <a:lnTo>
                      <a:pt x="131" y="689"/>
                    </a:lnTo>
                    <a:lnTo>
                      <a:pt x="133" y="689"/>
                    </a:lnTo>
                    <a:lnTo>
                      <a:pt x="133" y="691"/>
                    </a:lnTo>
                    <a:lnTo>
                      <a:pt x="133" y="693"/>
                    </a:lnTo>
                    <a:lnTo>
                      <a:pt x="131" y="693"/>
                    </a:lnTo>
                    <a:lnTo>
                      <a:pt x="133" y="693"/>
                    </a:lnTo>
                    <a:lnTo>
                      <a:pt x="131" y="695"/>
                    </a:lnTo>
                    <a:lnTo>
                      <a:pt x="131" y="696"/>
                    </a:lnTo>
                    <a:lnTo>
                      <a:pt x="129" y="696"/>
                    </a:lnTo>
                    <a:lnTo>
                      <a:pt x="129" y="695"/>
                    </a:lnTo>
                    <a:lnTo>
                      <a:pt x="127" y="695"/>
                    </a:lnTo>
                    <a:lnTo>
                      <a:pt x="127" y="696"/>
                    </a:lnTo>
                    <a:lnTo>
                      <a:pt x="125" y="696"/>
                    </a:lnTo>
                    <a:lnTo>
                      <a:pt x="124" y="696"/>
                    </a:lnTo>
                    <a:lnTo>
                      <a:pt x="124" y="695"/>
                    </a:lnTo>
                    <a:lnTo>
                      <a:pt x="124" y="696"/>
                    </a:lnTo>
                    <a:lnTo>
                      <a:pt x="122" y="695"/>
                    </a:lnTo>
                    <a:lnTo>
                      <a:pt x="120" y="695"/>
                    </a:lnTo>
                    <a:lnTo>
                      <a:pt x="120" y="696"/>
                    </a:lnTo>
                    <a:lnTo>
                      <a:pt x="118" y="698"/>
                    </a:lnTo>
                    <a:lnTo>
                      <a:pt x="114" y="698"/>
                    </a:lnTo>
                    <a:lnTo>
                      <a:pt x="112" y="700"/>
                    </a:lnTo>
                    <a:lnTo>
                      <a:pt x="110" y="698"/>
                    </a:lnTo>
                    <a:lnTo>
                      <a:pt x="108" y="698"/>
                    </a:lnTo>
                    <a:lnTo>
                      <a:pt x="108" y="696"/>
                    </a:lnTo>
                    <a:lnTo>
                      <a:pt x="104" y="696"/>
                    </a:lnTo>
                    <a:lnTo>
                      <a:pt x="101" y="695"/>
                    </a:lnTo>
                    <a:lnTo>
                      <a:pt x="99" y="695"/>
                    </a:lnTo>
                    <a:lnTo>
                      <a:pt x="97" y="695"/>
                    </a:lnTo>
                    <a:lnTo>
                      <a:pt x="95" y="695"/>
                    </a:lnTo>
                    <a:lnTo>
                      <a:pt x="93" y="695"/>
                    </a:lnTo>
                    <a:lnTo>
                      <a:pt x="91" y="695"/>
                    </a:lnTo>
                    <a:lnTo>
                      <a:pt x="87" y="695"/>
                    </a:lnTo>
                    <a:lnTo>
                      <a:pt x="85" y="693"/>
                    </a:lnTo>
                    <a:lnTo>
                      <a:pt x="84" y="693"/>
                    </a:lnTo>
                    <a:lnTo>
                      <a:pt x="82" y="695"/>
                    </a:lnTo>
                    <a:lnTo>
                      <a:pt x="80" y="693"/>
                    </a:lnTo>
                    <a:lnTo>
                      <a:pt x="80" y="695"/>
                    </a:lnTo>
                    <a:lnTo>
                      <a:pt x="78" y="695"/>
                    </a:lnTo>
                    <a:close/>
                    <a:moveTo>
                      <a:pt x="146" y="691"/>
                    </a:moveTo>
                    <a:lnTo>
                      <a:pt x="148" y="691"/>
                    </a:lnTo>
                    <a:lnTo>
                      <a:pt x="150" y="691"/>
                    </a:lnTo>
                    <a:lnTo>
                      <a:pt x="148" y="691"/>
                    </a:lnTo>
                    <a:lnTo>
                      <a:pt x="150" y="691"/>
                    </a:lnTo>
                    <a:lnTo>
                      <a:pt x="150" y="693"/>
                    </a:lnTo>
                    <a:lnTo>
                      <a:pt x="152" y="691"/>
                    </a:lnTo>
                    <a:lnTo>
                      <a:pt x="154" y="691"/>
                    </a:lnTo>
                    <a:lnTo>
                      <a:pt x="154" y="693"/>
                    </a:lnTo>
                    <a:lnTo>
                      <a:pt x="152" y="693"/>
                    </a:lnTo>
                    <a:lnTo>
                      <a:pt x="152" y="691"/>
                    </a:lnTo>
                    <a:lnTo>
                      <a:pt x="150" y="693"/>
                    </a:lnTo>
                    <a:lnTo>
                      <a:pt x="148" y="693"/>
                    </a:lnTo>
                    <a:lnTo>
                      <a:pt x="148" y="695"/>
                    </a:lnTo>
                    <a:lnTo>
                      <a:pt x="148" y="693"/>
                    </a:lnTo>
                    <a:lnTo>
                      <a:pt x="146" y="693"/>
                    </a:lnTo>
                    <a:lnTo>
                      <a:pt x="145" y="693"/>
                    </a:lnTo>
                    <a:lnTo>
                      <a:pt x="145" y="695"/>
                    </a:lnTo>
                    <a:lnTo>
                      <a:pt x="145" y="693"/>
                    </a:lnTo>
                    <a:lnTo>
                      <a:pt x="143" y="695"/>
                    </a:lnTo>
                    <a:lnTo>
                      <a:pt x="141" y="696"/>
                    </a:lnTo>
                    <a:lnTo>
                      <a:pt x="141" y="695"/>
                    </a:lnTo>
                    <a:lnTo>
                      <a:pt x="139" y="693"/>
                    </a:lnTo>
                    <a:lnTo>
                      <a:pt x="141" y="693"/>
                    </a:lnTo>
                    <a:lnTo>
                      <a:pt x="141" y="691"/>
                    </a:lnTo>
                    <a:lnTo>
                      <a:pt x="141" y="693"/>
                    </a:lnTo>
                    <a:lnTo>
                      <a:pt x="143" y="693"/>
                    </a:lnTo>
                    <a:lnTo>
                      <a:pt x="143" y="691"/>
                    </a:lnTo>
                    <a:lnTo>
                      <a:pt x="145" y="691"/>
                    </a:lnTo>
                    <a:lnTo>
                      <a:pt x="146" y="693"/>
                    </a:lnTo>
                    <a:lnTo>
                      <a:pt x="146" y="691"/>
                    </a:lnTo>
                    <a:close/>
                    <a:moveTo>
                      <a:pt x="183" y="322"/>
                    </a:moveTo>
                    <a:lnTo>
                      <a:pt x="185" y="322"/>
                    </a:lnTo>
                    <a:lnTo>
                      <a:pt x="186" y="324"/>
                    </a:lnTo>
                    <a:lnTo>
                      <a:pt x="186" y="326"/>
                    </a:lnTo>
                    <a:lnTo>
                      <a:pt x="185" y="324"/>
                    </a:lnTo>
                    <a:lnTo>
                      <a:pt x="183" y="324"/>
                    </a:lnTo>
                    <a:lnTo>
                      <a:pt x="183" y="322"/>
                    </a:lnTo>
                    <a:close/>
                    <a:moveTo>
                      <a:pt x="181" y="338"/>
                    </a:moveTo>
                    <a:lnTo>
                      <a:pt x="183" y="338"/>
                    </a:lnTo>
                    <a:lnTo>
                      <a:pt x="183" y="340"/>
                    </a:lnTo>
                    <a:lnTo>
                      <a:pt x="181" y="340"/>
                    </a:lnTo>
                    <a:lnTo>
                      <a:pt x="181" y="338"/>
                    </a:lnTo>
                    <a:close/>
                    <a:moveTo>
                      <a:pt x="179" y="351"/>
                    </a:moveTo>
                    <a:lnTo>
                      <a:pt x="181" y="351"/>
                    </a:lnTo>
                    <a:lnTo>
                      <a:pt x="181" y="353"/>
                    </a:lnTo>
                    <a:lnTo>
                      <a:pt x="179" y="353"/>
                    </a:lnTo>
                    <a:lnTo>
                      <a:pt x="179" y="351"/>
                    </a:lnTo>
                    <a:close/>
                    <a:moveTo>
                      <a:pt x="95" y="695"/>
                    </a:moveTo>
                    <a:lnTo>
                      <a:pt x="97" y="695"/>
                    </a:lnTo>
                    <a:lnTo>
                      <a:pt x="97" y="696"/>
                    </a:lnTo>
                    <a:lnTo>
                      <a:pt x="95" y="696"/>
                    </a:lnTo>
                    <a:lnTo>
                      <a:pt x="95" y="695"/>
                    </a:lnTo>
                    <a:close/>
                    <a:moveTo>
                      <a:pt x="181" y="349"/>
                    </a:moveTo>
                    <a:lnTo>
                      <a:pt x="181" y="351"/>
                    </a:lnTo>
                    <a:lnTo>
                      <a:pt x="181" y="349"/>
                    </a:lnTo>
                    <a:close/>
                    <a:moveTo>
                      <a:pt x="181" y="324"/>
                    </a:moveTo>
                    <a:lnTo>
                      <a:pt x="183" y="324"/>
                    </a:lnTo>
                    <a:lnTo>
                      <a:pt x="183" y="326"/>
                    </a:lnTo>
                    <a:lnTo>
                      <a:pt x="181" y="326"/>
                    </a:lnTo>
                    <a:lnTo>
                      <a:pt x="181" y="324"/>
                    </a:lnTo>
                    <a:close/>
                    <a:moveTo>
                      <a:pt x="183" y="321"/>
                    </a:moveTo>
                    <a:lnTo>
                      <a:pt x="185" y="321"/>
                    </a:lnTo>
                    <a:lnTo>
                      <a:pt x="183" y="321"/>
                    </a:lnTo>
                    <a:close/>
                    <a:moveTo>
                      <a:pt x="179" y="317"/>
                    </a:moveTo>
                    <a:lnTo>
                      <a:pt x="179" y="319"/>
                    </a:lnTo>
                    <a:lnTo>
                      <a:pt x="179" y="317"/>
                    </a:lnTo>
                    <a:close/>
                    <a:moveTo>
                      <a:pt x="181" y="321"/>
                    </a:moveTo>
                    <a:lnTo>
                      <a:pt x="183" y="321"/>
                    </a:lnTo>
                    <a:lnTo>
                      <a:pt x="181" y="321"/>
                    </a:lnTo>
                    <a:close/>
                    <a:moveTo>
                      <a:pt x="181" y="343"/>
                    </a:moveTo>
                    <a:lnTo>
                      <a:pt x="183" y="343"/>
                    </a:lnTo>
                    <a:lnTo>
                      <a:pt x="183" y="345"/>
                    </a:lnTo>
                    <a:lnTo>
                      <a:pt x="181" y="345"/>
                    </a:lnTo>
                    <a:lnTo>
                      <a:pt x="181" y="343"/>
                    </a:lnTo>
                    <a:close/>
                    <a:moveTo>
                      <a:pt x="181" y="321"/>
                    </a:moveTo>
                    <a:lnTo>
                      <a:pt x="183" y="321"/>
                    </a:lnTo>
                    <a:lnTo>
                      <a:pt x="181" y="321"/>
                    </a:lnTo>
                    <a:close/>
                    <a:moveTo>
                      <a:pt x="120" y="450"/>
                    </a:moveTo>
                    <a:lnTo>
                      <a:pt x="120" y="452"/>
                    </a:lnTo>
                    <a:lnTo>
                      <a:pt x="120" y="450"/>
                    </a:lnTo>
                    <a:close/>
                    <a:moveTo>
                      <a:pt x="148" y="689"/>
                    </a:moveTo>
                    <a:lnTo>
                      <a:pt x="150" y="689"/>
                    </a:lnTo>
                    <a:lnTo>
                      <a:pt x="148" y="689"/>
                    </a:lnTo>
                    <a:close/>
                    <a:moveTo>
                      <a:pt x="125" y="450"/>
                    </a:moveTo>
                    <a:lnTo>
                      <a:pt x="127" y="450"/>
                    </a:lnTo>
                    <a:lnTo>
                      <a:pt x="125" y="450"/>
                    </a:lnTo>
                    <a:close/>
                    <a:moveTo>
                      <a:pt x="183" y="324"/>
                    </a:moveTo>
                    <a:lnTo>
                      <a:pt x="183" y="326"/>
                    </a:lnTo>
                    <a:lnTo>
                      <a:pt x="183" y="324"/>
                    </a:lnTo>
                    <a:close/>
                    <a:moveTo>
                      <a:pt x="179" y="340"/>
                    </a:moveTo>
                    <a:lnTo>
                      <a:pt x="181" y="340"/>
                    </a:lnTo>
                    <a:lnTo>
                      <a:pt x="179" y="340"/>
                    </a:lnTo>
                    <a:close/>
                    <a:moveTo>
                      <a:pt x="248" y="237"/>
                    </a:moveTo>
                    <a:lnTo>
                      <a:pt x="249" y="237"/>
                    </a:lnTo>
                    <a:lnTo>
                      <a:pt x="249" y="238"/>
                    </a:lnTo>
                    <a:lnTo>
                      <a:pt x="248" y="238"/>
                    </a:lnTo>
                    <a:lnTo>
                      <a:pt x="248" y="237"/>
                    </a:lnTo>
                    <a:close/>
                    <a:moveTo>
                      <a:pt x="179" y="338"/>
                    </a:moveTo>
                    <a:lnTo>
                      <a:pt x="179" y="340"/>
                    </a:lnTo>
                    <a:lnTo>
                      <a:pt x="179" y="338"/>
                    </a:lnTo>
                    <a:close/>
                    <a:moveTo>
                      <a:pt x="242" y="225"/>
                    </a:moveTo>
                    <a:lnTo>
                      <a:pt x="244" y="225"/>
                    </a:lnTo>
                    <a:lnTo>
                      <a:pt x="242" y="225"/>
                    </a:lnTo>
                    <a:close/>
                    <a:moveTo>
                      <a:pt x="179" y="319"/>
                    </a:moveTo>
                    <a:lnTo>
                      <a:pt x="181" y="319"/>
                    </a:lnTo>
                    <a:lnTo>
                      <a:pt x="179" y="319"/>
                    </a:lnTo>
                    <a:close/>
                    <a:moveTo>
                      <a:pt x="179" y="324"/>
                    </a:moveTo>
                    <a:lnTo>
                      <a:pt x="181" y="324"/>
                    </a:lnTo>
                    <a:lnTo>
                      <a:pt x="179" y="324"/>
                    </a:lnTo>
                    <a:close/>
                    <a:moveTo>
                      <a:pt x="242" y="225"/>
                    </a:moveTo>
                    <a:lnTo>
                      <a:pt x="242" y="227"/>
                    </a:lnTo>
                    <a:lnTo>
                      <a:pt x="242" y="225"/>
                    </a:lnTo>
                    <a:close/>
                    <a:moveTo>
                      <a:pt x="185" y="321"/>
                    </a:moveTo>
                    <a:lnTo>
                      <a:pt x="185" y="322"/>
                    </a:lnTo>
                    <a:lnTo>
                      <a:pt x="185" y="3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0" name="Freeform 20">
                <a:extLst>
                  <a:ext uri="{FF2B5EF4-FFF2-40B4-BE49-F238E27FC236}">
                    <a16:creationId xmlns:a16="http://schemas.microsoft.com/office/drawing/2014/main" id="{9986A262-329E-6871-7823-8B15B84FF3B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48715" y="-1945813"/>
                <a:ext cx="1028518" cy="1024687"/>
              </a:xfrm>
              <a:custGeom>
                <a:avLst/>
                <a:gdLst>
                  <a:gd name="T0" fmla="*/ 29 w 662"/>
                  <a:gd name="T1" fmla="*/ 237 h 655"/>
                  <a:gd name="T2" fmla="*/ 4 w 662"/>
                  <a:gd name="T3" fmla="*/ 197 h 655"/>
                  <a:gd name="T4" fmla="*/ 25 w 662"/>
                  <a:gd name="T5" fmla="*/ 164 h 655"/>
                  <a:gd name="T6" fmla="*/ 55 w 662"/>
                  <a:gd name="T7" fmla="*/ 151 h 655"/>
                  <a:gd name="T8" fmla="*/ 63 w 662"/>
                  <a:gd name="T9" fmla="*/ 75 h 655"/>
                  <a:gd name="T10" fmla="*/ 93 w 662"/>
                  <a:gd name="T11" fmla="*/ 54 h 655"/>
                  <a:gd name="T12" fmla="*/ 137 w 662"/>
                  <a:gd name="T13" fmla="*/ 73 h 655"/>
                  <a:gd name="T14" fmla="*/ 166 w 662"/>
                  <a:gd name="T15" fmla="*/ 50 h 655"/>
                  <a:gd name="T16" fmla="*/ 151 w 662"/>
                  <a:gd name="T17" fmla="*/ 19 h 655"/>
                  <a:gd name="T18" fmla="*/ 185 w 662"/>
                  <a:gd name="T19" fmla="*/ 19 h 655"/>
                  <a:gd name="T20" fmla="*/ 217 w 662"/>
                  <a:gd name="T21" fmla="*/ 2 h 655"/>
                  <a:gd name="T22" fmla="*/ 225 w 662"/>
                  <a:gd name="T23" fmla="*/ 27 h 655"/>
                  <a:gd name="T24" fmla="*/ 240 w 662"/>
                  <a:gd name="T25" fmla="*/ 65 h 655"/>
                  <a:gd name="T26" fmla="*/ 276 w 662"/>
                  <a:gd name="T27" fmla="*/ 54 h 655"/>
                  <a:gd name="T28" fmla="*/ 309 w 662"/>
                  <a:gd name="T29" fmla="*/ 48 h 655"/>
                  <a:gd name="T30" fmla="*/ 355 w 662"/>
                  <a:gd name="T31" fmla="*/ 23 h 655"/>
                  <a:gd name="T32" fmla="*/ 372 w 662"/>
                  <a:gd name="T33" fmla="*/ 52 h 655"/>
                  <a:gd name="T34" fmla="*/ 368 w 662"/>
                  <a:gd name="T35" fmla="*/ 82 h 655"/>
                  <a:gd name="T36" fmla="*/ 381 w 662"/>
                  <a:gd name="T37" fmla="*/ 88 h 655"/>
                  <a:gd name="T38" fmla="*/ 402 w 662"/>
                  <a:gd name="T39" fmla="*/ 107 h 655"/>
                  <a:gd name="T40" fmla="*/ 421 w 662"/>
                  <a:gd name="T41" fmla="*/ 96 h 655"/>
                  <a:gd name="T42" fmla="*/ 435 w 662"/>
                  <a:gd name="T43" fmla="*/ 97 h 655"/>
                  <a:gd name="T44" fmla="*/ 446 w 662"/>
                  <a:gd name="T45" fmla="*/ 101 h 655"/>
                  <a:gd name="T46" fmla="*/ 458 w 662"/>
                  <a:gd name="T47" fmla="*/ 109 h 655"/>
                  <a:gd name="T48" fmla="*/ 467 w 662"/>
                  <a:gd name="T49" fmla="*/ 109 h 655"/>
                  <a:gd name="T50" fmla="*/ 469 w 662"/>
                  <a:gd name="T51" fmla="*/ 126 h 655"/>
                  <a:gd name="T52" fmla="*/ 477 w 662"/>
                  <a:gd name="T53" fmla="*/ 126 h 655"/>
                  <a:gd name="T54" fmla="*/ 507 w 662"/>
                  <a:gd name="T55" fmla="*/ 130 h 655"/>
                  <a:gd name="T56" fmla="*/ 572 w 662"/>
                  <a:gd name="T57" fmla="*/ 151 h 655"/>
                  <a:gd name="T58" fmla="*/ 622 w 662"/>
                  <a:gd name="T59" fmla="*/ 185 h 655"/>
                  <a:gd name="T60" fmla="*/ 610 w 662"/>
                  <a:gd name="T61" fmla="*/ 239 h 655"/>
                  <a:gd name="T62" fmla="*/ 566 w 662"/>
                  <a:gd name="T63" fmla="*/ 290 h 655"/>
                  <a:gd name="T64" fmla="*/ 557 w 662"/>
                  <a:gd name="T65" fmla="*/ 321 h 655"/>
                  <a:gd name="T66" fmla="*/ 543 w 662"/>
                  <a:gd name="T67" fmla="*/ 405 h 655"/>
                  <a:gd name="T68" fmla="*/ 511 w 662"/>
                  <a:gd name="T69" fmla="*/ 456 h 655"/>
                  <a:gd name="T70" fmla="*/ 475 w 662"/>
                  <a:gd name="T71" fmla="*/ 460 h 655"/>
                  <a:gd name="T72" fmla="*/ 456 w 662"/>
                  <a:gd name="T73" fmla="*/ 471 h 655"/>
                  <a:gd name="T74" fmla="*/ 410 w 662"/>
                  <a:gd name="T75" fmla="*/ 506 h 655"/>
                  <a:gd name="T76" fmla="*/ 402 w 662"/>
                  <a:gd name="T77" fmla="*/ 555 h 655"/>
                  <a:gd name="T78" fmla="*/ 332 w 662"/>
                  <a:gd name="T79" fmla="*/ 636 h 655"/>
                  <a:gd name="T80" fmla="*/ 292 w 662"/>
                  <a:gd name="T81" fmla="*/ 603 h 655"/>
                  <a:gd name="T82" fmla="*/ 265 w 662"/>
                  <a:gd name="T83" fmla="*/ 584 h 655"/>
                  <a:gd name="T84" fmla="*/ 297 w 662"/>
                  <a:gd name="T85" fmla="*/ 550 h 655"/>
                  <a:gd name="T86" fmla="*/ 324 w 662"/>
                  <a:gd name="T87" fmla="*/ 531 h 655"/>
                  <a:gd name="T88" fmla="*/ 315 w 662"/>
                  <a:gd name="T89" fmla="*/ 506 h 655"/>
                  <a:gd name="T90" fmla="*/ 297 w 662"/>
                  <a:gd name="T91" fmla="*/ 477 h 655"/>
                  <a:gd name="T92" fmla="*/ 275 w 662"/>
                  <a:gd name="T93" fmla="*/ 449 h 655"/>
                  <a:gd name="T94" fmla="*/ 257 w 662"/>
                  <a:gd name="T95" fmla="*/ 431 h 655"/>
                  <a:gd name="T96" fmla="*/ 257 w 662"/>
                  <a:gd name="T97" fmla="*/ 366 h 655"/>
                  <a:gd name="T98" fmla="*/ 208 w 662"/>
                  <a:gd name="T99" fmla="*/ 302 h 655"/>
                  <a:gd name="T100" fmla="*/ 168 w 662"/>
                  <a:gd name="T101" fmla="*/ 286 h 655"/>
                  <a:gd name="T102" fmla="*/ 139 w 662"/>
                  <a:gd name="T103" fmla="*/ 260 h 655"/>
                  <a:gd name="T104" fmla="*/ 118 w 662"/>
                  <a:gd name="T105" fmla="*/ 242 h 655"/>
                  <a:gd name="T106" fmla="*/ 80 w 662"/>
                  <a:gd name="T107" fmla="*/ 260 h 655"/>
                  <a:gd name="T108" fmla="*/ 400 w 662"/>
                  <a:gd name="T109" fmla="*/ 88 h 655"/>
                  <a:gd name="T110" fmla="*/ 372 w 662"/>
                  <a:gd name="T111" fmla="*/ 84 h 655"/>
                  <a:gd name="T112" fmla="*/ 378 w 662"/>
                  <a:gd name="T113" fmla="*/ 80 h 655"/>
                  <a:gd name="T114" fmla="*/ 378 w 662"/>
                  <a:gd name="T115" fmla="*/ 71 h 655"/>
                  <a:gd name="T116" fmla="*/ 467 w 662"/>
                  <a:gd name="T117" fmla="*/ 132 h 655"/>
                  <a:gd name="T118" fmla="*/ 458 w 662"/>
                  <a:gd name="T119" fmla="*/ 111 h 655"/>
                  <a:gd name="T120" fmla="*/ 450 w 662"/>
                  <a:gd name="T121" fmla="*/ 105 h 655"/>
                  <a:gd name="T122" fmla="*/ 479 w 662"/>
                  <a:gd name="T123" fmla="*/ 460 h 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2" h="655">
                    <a:moveTo>
                      <a:pt x="71" y="260"/>
                    </a:moveTo>
                    <a:lnTo>
                      <a:pt x="69" y="260"/>
                    </a:lnTo>
                    <a:lnTo>
                      <a:pt x="67" y="260"/>
                    </a:lnTo>
                    <a:lnTo>
                      <a:pt x="65" y="260"/>
                    </a:lnTo>
                    <a:lnTo>
                      <a:pt x="63" y="260"/>
                    </a:lnTo>
                    <a:lnTo>
                      <a:pt x="61" y="262"/>
                    </a:lnTo>
                    <a:lnTo>
                      <a:pt x="59" y="262"/>
                    </a:lnTo>
                    <a:lnTo>
                      <a:pt x="57" y="262"/>
                    </a:lnTo>
                    <a:lnTo>
                      <a:pt x="57" y="260"/>
                    </a:lnTo>
                    <a:lnTo>
                      <a:pt x="55" y="260"/>
                    </a:lnTo>
                    <a:lnTo>
                      <a:pt x="55" y="242"/>
                    </a:lnTo>
                    <a:lnTo>
                      <a:pt x="55" y="241"/>
                    </a:lnTo>
                    <a:lnTo>
                      <a:pt x="55" y="239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7" y="235"/>
                    </a:lnTo>
                    <a:lnTo>
                      <a:pt x="55" y="235"/>
                    </a:lnTo>
                    <a:lnTo>
                      <a:pt x="57" y="235"/>
                    </a:lnTo>
                    <a:lnTo>
                      <a:pt x="55" y="235"/>
                    </a:lnTo>
                    <a:lnTo>
                      <a:pt x="53" y="237"/>
                    </a:lnTo>
                    <a:lnTo>
                      <a:pt x="51" y="237"/>
                    </a:lnTo>
                    <a:lnTo>
                      <a:pt x="51" y="239"/>
                    </a:lnTo>
                    <a:lnTo>
                      <a:pt x="50" y="239"/>
                    </a:lnTo>
                    <a:lnTo>
                      <a:pt x="50" y="241"/>
                    </a:lnTo>
                    <a:lnTo>
                      <a:pt x="48" y="241"/>
                    </a:lnTo>
                    <a:lnTo>
                      <a:pt x="48" y="242"/>
                    </a:lnTo>
                    <a:lnTo>
                      <a:pt x="46" y="242"/>
                    </a:lnTo>
                    <a:lnTo>
                      <a:pt x="46" y="244"/>
                    </a:lnTo>
                    <a:lnTo>
                      <a:pt x="44" y="244"/>
                    </a:lnTo>
                    <a:lnTo>
                      <a:pt x="42" y="244"/>
                    </a:lnTo>
                    <a:lnTo>
                      <a:pt x="30" y="244"/>
                    </a:lnTo>
                    <a:lnTo>
                      <a:pt x="30" y="242"/>
                    </a:lnTo>
                    <a:lnTo>
                      <a:pt x="30" y="241"/>
                    </a:lnTo>
                    <a:lnTo>
                      <a:pt x="29" y="241"/>
                    </a:lnTo>
                    <a:lnTo>
                      <a:pt x="29" y="239"/>
                    </a:lnTo>
                    <a:lnTo>
                      <a:pt x="29" y="237"/>
                    </a:lnTo>
                    <a:lnTo>
                      <a:pt x="27" y="237"/>
                    </a:lnTo>
                    <a:lnTo>
                      <a:pt x="25" y="237"/>
                    </a:lnTo>
                    <a:lnTo>
                      <a:pt x="23" y="235"/>
                    </a:lnTo>
                    <a:lnTo>
                      <a:pt x="21" y="235"/>
                    </a:lnTo>
                    <a:lnTo>
                      <a:pt x="13" y="235"/>
                    </a:lnTo>
                    <a:lnTo>
                      <a:pt x="15" y="233"/>
                    </a:lnTo>
                    <a:lnTo>
                      <a:pt x="17" y="231"/>
                    </a:lnTo>
                    <a:lnTo>
                      <a:pt x="17" y="229"/>
                    </a:lnTo>
                    <a:lnTo>
                      <a:pt x="17" y="227"/>
                    </a:lnTo>
                    <a:lnTo>
                      <a:pt x="15" y="227"/>
                    </a:lnTo>
                    <a:lnTo>
                      <a:pt x="13" y="223"/>
                    </a:lnTo>
                    <a:lnTo>
                      <a:pt x="11" y="221"/>
                    </a:lnTo>
                    <a:lnTo>
                      <a:pt x="11" y="220"/>
                    </a:lnTo>
                    <a:lnTo>
                      <a:pt x="10" y="220"/>
                    </a:lnTo>
                    <a:lnTo>
                      <a:pt x="10" y="218"/>
                    </a:lnTo>
                    <a:lnTo>
                      <a:pt x="8" y="218"/>
                    </a:lnTo>
                    <a:lnTo>
                      <a:pt x="8" y="216"/>
                    </a:lnTo>
                    <a:lnTo>
                      <a:pt x="8" y="214"/>
                    </a:lnTo>
                    <a:lnTo>
                      <a:pt x="6" y="214"/>
                    </a:lnTo>
                    <a:lnTo>
                      <a:pt x="6" y="212"/>
                    </a:lnTo>
                    <a:lnTo>
                      <a:pt x="4" y="210"/>
                    </a:lnTo>
                    <a:lnTo>
                      <a:pt x="6" y="210"/>
                    </a:lnTo>
                    <a:lnTo>
                      <a:pt x="6" y="208"/>
                    </a:lnTo>
                    <a:lnTo>
                      <a:pt x="4" y="208"/>
                    </a:lnTo>
                    <a:lnTo>
                      <a:pt x="4" y="206"/>
                    </a:lnTo>
                    <a:lnTo>
                      <a:pt x="2" y="206"/>
                    </a:lnTo>
                    <a:lnTo>
                      <a:pt x="0" y="204"/>
                    </a:lnTo>
                    <a:lnTo>
                      <a:pt x="2" y="204"/>
                    </a:lnTo>
                    <a:lnTo>
                      <a:pt x="2" y="202"/>
                    </a:lnTo>
                    <a:lnTo>
                      <a:pt x="4" y="202"/>
                    </a:lnTo>
                    <a:lnTo>
                      <a:pt x="4" y="200"/>
                    </a:lnTo>
                    <a:lnTo>
                      <a:pt x="4" y="202"/>
                    </a:lnTo>
                    <a:lnTo>
                      <a:pt x="6" y="200"/>
                    </a:lnTo>
                    <a:lnTo>
                      <a:pt x="4" y="199"/>
                    </a:lnTo>
                    <a:lnTo>
                      <a:pt x="6" y="197"/>
                    </a:lnTo>
                    <a:lnTo>
                      <a:pt x="4" y="197"/>
                    </a:lnTo>
                    <a:lnTo>
                      <a:pt x="4" y="195"/>
                    </a:lnTo>
                    <a:lnTo>
                      <a:pt x="6" y="195"/>
                    </a:lnTo>
                    <a:lnTo>
                      <a:pt x="6" y="193"/>
                    </a:lnTo>
                    <a:lnTo>
                      <a:pt x="8" y="191"/>
                    </a:lnTo>
                    <a:lnTo>
                      <a:pt x="11" y="191"/>
                    </a:lnTo>
                    <a:lnTo>
                      <a:pt x="10" y="191"/>
                    </a:lnTo>
                    <a:lnTo>
                      <a:pt x="11" y="189"/>
                    </a:lnTo>
                    <a:lnTo>
                      <a:pt x="13" y="189"/>
                    </a:lnTo>
                    <a:lnTo>
                      <a:pt x="15" y="189"/>
                    </a:lnTo>
                    <a:lnTo>
                      <a:pt x="13" y="187"/>
                    </a:lnTo>
                    <a:lnTo>
                      <a:pt x="15" y="187"/>
                    </a:lnTo>
                    <a:lnTo>
                      <a:pt x="13" y="185"/>
                    </a:lnTo>
                    <a:lnTo>
                      <a:pt x="13" y="183"/>
                    </a:lnTo>
                    <a:lnTo>
                      <a:pt x="13" y="181"/>
                    </a:lnTo>
                    <a:lnTo>
                      <a:pt x="13" y="179"/>
                    </a:lnTo>
                    <a:lnTo>
                      <a:pt x="13" y="178"/>
                    </a:lnTo>
                    <a:lnTo>
                      <a:pt x="15" y="178"/>
                    </a:lnTo>
                    <a:lnTo>
                      <a:pt x="15" y="176"/>
                    </a:lnTo>
                    <a:lnTo>
                      <a:pt x="17" y="176"/>
                    </a:lnTo>
                    <a:lnTo>
                      <a:pt x="15" y="176"/>
                    </a:lnTo>
                    <a:lnTo>
                      <a:pt x="17" y="176"/>
                    </a:lnTo>
                    <a:lnTo>
                      <a:pt x="17" y="174"/>
                    </a:lnTo>
                    <a:lnTo>
                      <a:pt x="17" y="172"/>
                    </a:lnTo>
                    <a:lnTo>
                      <a:pt x="17" y="170"/>
                    </a:lnTo>
                    <a:lnTo>
                      <a:pt x="19" y="170"/>
                    </a:lnTo>
                    <a:lnTo>
                      <a:pt x="17" y="170"/>
                    </a:lnTo>
                    <a:lnTo>
                      <a:pt x="19" y="168"/>
                    </a:lnTo>
                    <a:lnTo>
                      <a:pt x="19" y="166"/>
                    </a:lnTo>
                    <a:lnTo>
                      <a:pt x="21" y="166"/>
                    </a:lnTo>
                    <a:lnTo>
                      <a:pt x="21" y="164"/>
                    </a:lnTo>
                    <a:lnTo>
                      <a:pt x="23" y="164"/>
                    </a:lnTo>
                    <a:lnTo>
                      <a:pt x="25" y="164"/>
                    </a:lnTo>
                    <a:lnTo>
                      <a:pt x="25" y="162"/>
                    </a:lnTo>
                    <a:lnTo>
                      <a:pt x="25" y="164"/>
                    </a:lnTo>
                    <a:lnTo>
                      <a:pt x="25" y="162"/>
                    </a:lnTo>
                    <a:lnTo>
                      <a:pt x="25" y="164"/>
                    </a:lnTo>
                    <a:lnTo>
                      <a:pt x="25" y="162"/>
                    </a:lnTo>
                    <a:lnTo>
                      <a:pt x="27" y="162"/>
                    </a:lnTo>
                    <a:lnTo>
                      <a:pt x="27" y="160"/>
                    </a:lnTo>
                    <a:lnTo>
                      <a:pt x="29" y="160"/>
                    </a:lnTo>
                    <a:lnTo>
                      <a:pt x="30" y="160"/>
                    </a:lnTo>
                    <a:lnTo>
                      <a:pt x="30" y="159"/>
                    </a:lnTo>
                    <a:lnTo>
                      <a:pt x="32" y="159"/>
                    </a:lnTo>
                    <a:lnTo>
                      <a:pt x="30" y="159"/>
                    </a:lnTo>
                    <a:lnTo>
                      <a:pt x="32" y="159"/>
                    </a:lnTo>
                    <a:lnTo>
                      <a:pt x="32" y="157"/>
                    </a:lnTo>
                    <a:lnTo>
                      <a:pt x="34" y="157"/>
                    </a:lnTo>
                    <a:lnTo>
                      <a:pt x="36" y="157"/>
                    </a:lnTo>
                    <a:lnTo>
                      <a:pt x="36" y="155"/>
                    </a:lnTo>
                    <a:lnTo>
                      <a:pt x="36" y="157"/>
                    </a:lnTo>
                    <a:lnTo>
                      <a:pt x="38" y="157"/>
                    </a:lnTo>
                    <a:lnTo>
                      <a:pt x="38" y="155"/>
                    </a:lnTo>
                    <a:lnTo>
                      <a:pt x="38" y="157"/>
                    </a:lnTo>
                    <a:lnTo>
                      <a:pt x="40" y="157"/>
                    </a:lnTo>
                    <a:lnTo>
                      <a:pt x="40" y="155"/>
                    </a:lnTo>
                    <a:lnTo>
                      <a:pt x="40" y="157"/>
                    </a:lnTo>
                    <a:lnTo>
                      <a:pt x="40" y="155"/>
                    </a:lnTo>
                    <a:lnTo>
                      <a:pt x="42" y="155"/>
                    </a:lnTo>
                    <a:lnTo>
                      <a:pt x="42" y="157"/>
                    </a:lnTo>
                    <a:lnTo>
                      <a:pt x="42" y="155"/>
                    </a:lnTo>
                    <a:lnTo>
                      <a:pt x="44" y="155"/>
                    </a:lnTo>
                    <a:lnTo>
                      <a:pt x="46" y="155"/>
                    </a:lnTo>
                    <a:lnTo>
                      <a:pt x="48" y="155"/>
                    </a:lnTo>
                    <a:lnTo>
                      <a:pt x="48" y="153"/>
                    </a:lnTo>
                    <a:lnTo>
                      <a:pt x="50" y="155"/>
                    </a:lnTo>
                    <a:lnTo>
                      <a:pt x="50" y="153"/>
                    </a:lnTo>
                    <a:lnTo>
                      <a:pt x="51" y="153"/>
                    </a:lnTo>
                    <a:lnTo>
                      <a:pt x="51" y="151"/>
                    </a:lnTo>
                    <a:lnTo>
                      <a:pt x="53" y="151"/>
                    </a:lnTo>
                    <a:lnTo>
                      <a:pt x="55" y="151"/>
                    </a:lnTo>
                    <a:lnTo>
                      <a:pt x="53" y="151"/>
                    </a:lnTo>
                    <a:lnTo>
                      <a:pt x="55" y="151"/>
                    </a:lnTo>
                    <a:lnTo>
                      <a:pt x="57" y="151"/>
                    </a:lnTo>
                    <a:lnTo>
                      <a:pt x="59" y="151"/>
                    </a:lnTo>
                    <a:lnTo>
                      <a:pt x="59" y="153"/>
                    </a:lnTo>
                    <a:lnTo>
                      <a:pt x="61" y="153"/>
                    </a:lnTo>
                    <a:lnTo>
                      <a:pt x="59" y="153"/>
                    </a:lnTo>
                    <a:lnTo>
                      <a:pt x="61" y="153"/>
                    </a:lnTo>
                    <a:lnTo>
                      <a:pt x="61" y="155"/>
                    </a:lnTo>
                    <a:lnTo>
                      <a:pt x="61" y="153"/>
                    </a:lnTo>
                    <a:lnTo>
                      <a:pt x="63" y="153"/>
                    </a:lnTo>
                    <a:lnTo>
                      <a:pt x="63" y="155"/>
                    </a:lnTo>
                    <a:lnTo>
                      <a:pt x="65" y="155"/>
                    </a:lnTo>
                    <a:lnTo>
                      <a:pt x="65" y="153"/>
                    </a:lnTo>
                    <a:lnTo>
                      <a:pt x="65" y="151"/>
                    </a:lnTo>
                    <a:lnTo>
                      <a:pt x="69" y="130"/>
                    </a:lnTo>
                    <a:lnTo>
                      <a:pt x="72" y="109"/>
                    </a:lnTo>
                    <a:lnTo>
                      <a:pt x="72" y="107"/>
                    </a:lnTo>
                    <a:lnTo>
                      <a:pt x="74" y="107"/>
                    </a:lnTo>
                    <a:lnTo>
                      <a:pt x="72" y="103"/>
                    </a:lnTo>
                    <a:lnTo>
                      <a:pt x="74" y="103"/>
                    </a:lnTo>
                    <a:lnTo>
                      <a:pt x="72" y="101"/>
                    </a:lnTo>
                    <a:lnTo>
                      <a:pt x="74" y="101"/>
                    </a:lnTo>
                    <a:lnTo>
                      <a:pt x="72" y="101"/>
                    </a:lnTo>
                    <a:lnTo>
                      <a:pt x="74" y="101"/>
                    </a:lnTo>
                    <a:lnTo>
                      <a:pt x="72" y="99"/>
                    </a:lnTo>
                    <a:lnTo>
                      <a:pt x="72" y="97"/>
                    </a:lnTo>
                    <a:lnTo>
                      <a:pt x="71" y="97"/>
                    </a:lnTo>
                    <a:lnTo>
                      <a:pt x="71" y="96"/>
                    </a:lnTo>
                    <a:lnTo>
                      <a:pt x="71" y="94"/>
                    </a:lnTo>
                    <a:lnTo>
                      <a:pt x="71" y="92"/>
                    </a:lnTo>
                    <a:lnTo>
                      <a:pt x="69" y="92"/>
                    </a:lnTo>
                    <a:lnTo>
                      <a:pt x="69" y="90"/>
                    </a:lnTo>
                    <a:lnTo>
                      <a:pt x="67" y="90"/>
                    </a:lnTo>
                    <a:lnTo>
                      <a:pt x="65" y="90"/>
                    </a:lnTo>
                    <a:lnTo>
                      <a:pt x="65" y="88"/>
                    </a:lnTo>
                    <a:lnTo>
                      <a:pt x="63" y="86"/>
                    </a:lnTo>
                    <a:lnTo>
                      <a:pt x="63" y="75"/>
                    </a:lnTo>
                    <a:lnTo>
                      <a:pt x="65" y="76"/>
                    </a:lnTo>
                    <a:lnTo>
                      <a:pt x="65" y="75"/>
                    </a:lnTo>
                    <a:lnTo>
                      <a:pt x="65" y="76"/>
                    </a:lnTo>
                    <a:lnTo>
                      <a:pt x="65" y="75"/>
                    </a:lnTo>
                    <a:lnTo>
                      <a:pt x="67" y="75"/>
                    </a:lnTo>
                    <a:lnTo>
                      <a:pt x="69" y="75"/>
                    </a:lnTo>
                    <a:lnTo>
                      <a:pt x="71" y="75"/>
                    </a:lnTo>
                    <a:lnTo>
                      <a:pt x="71" y="73"/>
                    </a:lnTo>
                    <a:lnTo>
                      <a:pt x="72" y="75"/>
                    </a:lnTo>
                    <a:lnTo>
                      <a:pt x="72" y="73"/>
                    </a:lnTo>
                    <a:lnTo>
                      <a:pt x="74" y="75"/>
                    </a:lnTo>
                    <a:lnTo>
                      <a:pt x="76" y="75"/>
                    </a:lnTo>
                    <a:lnTo>
                      <a:pt x="78" y="75"/>
                    </a:lnTo>
                    <a:lnTo>
                      <a:pt x="76" y="73"/>
                    </a:lnTo>
                    <a:lnTo>
                      <a:pt x="78" y="73"/>
                    </a:lnTo>
                    <a:lnTo>
                      <a:pt x="78" y="71"/>
                    </a:lnTo>
                    <a:lnTo>
                      <a:pt x="76" y="71"/>
                    </a:lnTo>
                    <a:lnTo>
                      <a:pt x="76" y="69"/>
                    </a:lnTo>
                    <a:lnTo>
                      <a:pt x="78" y="69"/>
                    </a:lnTo>
                    <a:lnTo>
                      <a:pt x="76" y="69"/>
                    </a:lnTo>
                    <a:lnTo>
                      <a:pt x="76" y="67"/>
                    </a:lnTo>
                    <a:lnTo>
                      <a:pt x="74" y="67"/>
                    </a:lnTo>
                    <a:lnTo>
                      <a:pt x="72" y="67"/>
                    </a:lnTo>
                    <a:lnTo>
                      <a:pt x="71" y="67"/>
                    </a:lnTo>
                    <a:lnTo>
                      <a:pt x="69" y="67"/>
                    </a:lnTo>
                    <a:lnTo>
                      <a:pt x="67" y="67"/>
                    </a:lnTo>
                    <a:lnTo>
                      <a:pt x="67" y="57"/>
                    </a:lnTo>
                    <a:lnTo>
                      <a:pt x="69" y="57"/>
                    </a:lnTo>
                    <a:lnTo>
                      <a:pt x="71" y="57"/>
                    </a:lnTo>
                    <a:lnTo>
                      <a:pt x="72" y="55"/>
                    </a:lnTo>
                    <a:lnTo>
                      <a:pt x="72" y="57"/>
                    </a:lnTo>
                    <a:lnTo>
                      <a:pt x="74" y="57"/>
                    </a:lnTo>
                    <a:lnTo>
                      <a:pt x="93" y="57"/>
                    </a:lnTo>
                    <a:lnTo>
                      <a:pt x="93" y="55"/>
                    </a:lnTo>
                    <a:lnTo>
                      <a:pt x="92" y="55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3" y="54"/>
                    </a:lnTo>
                    <a:lnTo>
                      <a:pt x="95" y="54"/>
                    </a:lnTo>
                    <a:lnTo>
                      <a:pt x="95" y="55"/>
                    </a:lnTo>
                    <a:lnTo>
                      <a:pt x="97" y="55"/>
                    </a:lnTo>
                    <a:lnTo>
                      <a:pt x="99" y="54"/>
                    </a:lnTo>
                    <a:lnTo>
                      <a:pt x="99" y="52"/>
                    </a:lnTo>
                    <a:lnTo>
                      <a:pt x="101" y="52"/>
                    </a:lnTo>
                    <a:lnTo>
                      <a:pt x="103" y="52"/>
                    </a:lnTo>
                    <a:lnTo>
                      <a:pt x="105" y="50"/>
                    </a:lnTo>
                    <a:lnTo>
                      <a:pt x="107" y="50"/>
                    </a:lnTo>
                    <a:lnTo>
                      <a:pt x="107" y="52"/>
                    </a:lnTo>
                    <a:lnTo>
                      <a:pt x="107" y="54"/>
                    </a:lnTo>
                    <a:lnTo>
                      <a:pt x="109" y="55"/>
                    </a:lnTo>
                    <a:lnTo>
                      <a:pt x="111" y="55"/>
                    </a:lnTo>
                    <a:lnTo>
                      <a:pt x="109" y="57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3"/>
                    </a:lnTo>
                    <a:lnTo>
                      <a:pt x="111" y="65"/>
                    </a:lnTo>
                    <a:lnTo>
                      <a:pt x="114" y="65"/>
                    </a:lnTo>
                    <a:lnTo>
                      <a:pt x="122" y="73"/>
                    </a:lnTo>
                    <a:lnTo>
                      <a:pt x="124" y="73"/>
                    </a:lnTo>
                    <a:lnTo>
                      <a:pt x="126" y="73"/>
                    </a:lnTo>
                    <a:lnTo>
                      <a:pt x="126" y="71"/>
                    </a:lnTo>
                    <a:lnTo>
                      <a:pt x="128" y="71"/>
                    </a:lnTo>
                    <a:lnTo>
                      <a:pt x="130" y="71"/>
                    </a:lnTo>
                    <a:lnTo>
                      <a:pt x="130" y="69"/>
                    </a:lnTo>
                    <a:lnTo>
                      <a:pt x="132" y="69"/>
                    </a:lnTo>
                    <a:lnTo>
                      <a:pt x="133" y="69"/>
                    </a:lnTo>
                    <a:lnTo>
                      <a:pt x="135" y="69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33" y="73"/>
                    </a:lnTo>
                    <a:lnTo>
                      <a:pt x="135" y="75"/>
                    </a:lnTo>
                    <a:lnTo>
                      <a:pt x="137" y="73"/>
                    </a:lnTo>
                    <a:lnTo>
                      <a:pt x="137" y="71"/>
                    </a:lnTo>
                    <a:lnTo>
                      <a:pt x="139" y="69"/>
                    </a:lnTo>
                    <a:lnTo>
                      <a:pt x="139" y="71"/>
                    </a:lnTo>
                    <a:lnTo>
                      <a:pt x="141" y="69"/>
                    </a:lnTo>
                    <a:lnTo>
                      <a:pt x="141" y="71"/>
                    </a:lnTo>
                    <a:lnTo>
                      <a:pt x="141" y="69"/>
                    </a:lnTo>
                    <a:lnTo>
                      <a:pt x="141" y="67"/>
                    </a:lnTo>
                    <a:lnTo>
                      <a:pt x="143" y="67"/>
                    </a:lnTo>
                    <a:lnTo>
                      <a:pt x="145" y="65"/>
                    </a:lnTo>
                    <a:lnTo>
                      <a:pt x="147" y="65"/>
                    </a:lnTo>
                    <a:lnTo>
                      <a:pt x="147" y="63"/>
                    </a:lnTo>
                    <a:lnTo>
                      <a:pt x="147" y="65"/>
                    </a:lnTo>
                    <a:lnTo>
                      <a:pt x="149" y="65"/>
                    </a:lnTo>
                    <a:lnTo>
                      <a:pt x="149" y="63"/>
                    </a:lnTo>
                    <a:lnTo>
                      <a:pt x="151" y="63"/>
                    </a:lnTo>
                    <a:lnTo>
                      <a:pt x="151" y="61"/>
                    </a:lnTo>
                    <a:lnTo>
                      <a:pt x="153" y="61"/>
                    </a:lnTo>
                    <a:lnTo>
                      <a:pt x="153" y="59"/>
                    </a:lnTo>
                    <a:lnTo>
                      <a:pt x="154" y="61"/>
                    </a:lnTo>
                    <a:lnTo>
                      <a:pt x="153" y="63"/>
                    </a:lnTo>
                    <a:lnTo>
                      <a:pt x="154" y="63"/>
                    </a:lnTo>
                    <a:lnTo>
                      <a:pt x="154" y="61"/>
                    </a:lnTo>
                    <a:lnTo>
                      <a:pt x="156" y="61"/>
                    </a:lnTo>
                    <a:lnTo>
                      <a:pt x="156" y="59"/>
                    </a:lnTo>
                    <a:lnTo>
                      <a:pt x="158" y="59"/>
                    </a:lnTo>
                    <a:lnTo>
                      <a:pt x="158" y="57"/>
                    </a:lnTo>
                    <a:lnTo>
                      <a:pt x="158" y="55"/>
                    </a:lnTo>
                    <a:lnTo>
                      <a:pt x="158" y="54"/>
                    </a:lnTo>
                    <a:lnTo>
                      <a:pt x="160" y="54"/>
                    </a:lnTo>
                    <a:lnTo>
                      <a:pt x="162" y="54"/>
                    </a:lnTo>
                    <a:lnTo>
                      <a:pt x="164" y="54"/>
                    </a:lnTo>
                    <a:lnTo>
                      <a:pt x="164" y="52"/>
                    </a:lnTo>
                    <a:lnTo>
                      <a:pt x="164" y="54"/>
                    </a:lnTo>
                    <a:lnTo>
                      <a:pt x="164" y="52"/>
                    </a:lnTo>
                    <a:lnTo>
                      <a:pt x="166" y="52"/>
                    </a:lnTo>
                    <a:lnTo>
                      <a:pt x="166" y="50"/>
                    </a:lnTo>
                    <a:lnTo>
                      <a:pt x="168" y="52"/>
                    </a:lnTo>
                    <a:lnTo>
                      <a:pt x="168" y="50"/>
                    </a:lnTo>
                    <a:lnTo>
                      <a:pt x="170" y="50"/>
                    </a:lnTo>
                    <a:lnTo>
                      <a:pt x="170" y="48"/>
                    </a:lnTo>
                    <a:lnTo>
                      <a:pt x="170" y="46"/>
                    </a:lnTo>
                    <a:lnTo>
                      <a:pt x="168" y="46"/>
                    </a:lnTo>
                    <a:lnTo>
                      <a:pt x="166" y="46"/>
                    </a:lnTo>
                    <a:lnTo>
                      <a:pt x="164" y="46"/>
                    </a:lnTo>
                    <a:lnTo>
                      <a:pt x="160" y="46"/>
                    </a:lnTo>
                    <a:lnTo>
                      <a:pt x="160" y="44"/>
                    </a:lnTo>
                    <a:lnTo>
                      <a:pt x="160" y="46"/>
                    </a:lnTo>
                    <a:lnTo>
                      <a:pt x="158" y="44"/>
                    </a:lnTo>
                    <a:lnTo>
                      <a:pt x="160" y="44"/>
                    </a:lnTo>
                    <a:lnTo>
                      <a:pt x="160" y="42"/>
                    </a:lnTo>
                    <a:lnTo>
                      <a:pt x="160" y="40"/>
                    </a:lnTo>
                    <a:lnTo>
                      <a:pt x="158" y="38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6" y="29"/>
                    </a:lnTo>
                    <a:lnTo>
                      <a:pt x="156" y="27"/>
                    </a:lnTo>
                    <a:lnTo>
                      <a:pt x="154" y="27"/>
                    </a:lnTo>
                    <a:lnTo>
                      <a:pt x="154" y="25"/>
                    </a:lnTo>
                    <a:lnTo>
                      <a:pt x="153" y="25"/>
                    </a:lnTo>
                    <a:lnTo>
                      <a:pt x="153" y="23"/>
                    </a:lnTo>
                    <a:lnTo>
                      <a:pt x="151" y="23"/>
                    </a:lnTo>
                    <a:lnTo>
                      <a:pt x="151" y="21"/>
                    </a:lnTo>
                    <a:lnTo>
                      <a:pt x="149" y="21"/>
                    </a:lnTo>
                    <a:lnTo>
                      <a:pt x="149" y="19"/>
                    </a:lnTo>
                    <a:lnTo>
                      <a:pt x="147" y="17"/>
                    </a:lnTo>
                    <a:lnTo>
                      <a:pt x="147" y="15"/>
                    </a:lnTo>
                    <a:lnTo>
                      <a:pt x="149" y="17"/>
                    </a:lnTo>
                    <a:lnTo>
                      <a:pt x="149" y="19"/>
                    </a:lnTo>
                    <a:lnTo>
                      <a:pt x="151" y="19"/>
                    </a:lnTo>
                    <a:lnTo>
                      <a:pt x="153" y="19"/>
                    </a:lnTo>
                    <a:lnTo>
                      <a:pt x="154" y="19"/>
                    </a:lnTo>
                    <a:lnTo>
                      <a:pt x="156" y="19"/>
                    </a:lnTo>
                    <a:lnTo>
                      <a:pt x="158" y="19"/>
                    </a:lnTo>
                    <a:lnTo>
                      <a:pt x="158" y="21"/>
                    </a:lnTo>
                    <a:lnTo>
                      <a:pt x="160" y="21"/>
                    </a:lnTo>
                    <a:lnTo>
                      <a:pt x="160" y="23"/>
                    </a:lnTo>
                    <a:lnTo>
                      <a:pt x="160" y="21"/>
                    </a:lnTo>
                    <a:lnTo>
                      <a:pt x="162" y="21"/>
                    </a:lnTo>
                    <a:lnTo>
                      <a:pt x="164" y="21"/>
                    </a:lnTo>
                    <a:lnTo>
                      <a:pt x="164" y="23"/>
                    </a:lnTo>
                    <a:lnTo>
                      <a:pt x="166" y="21"/>
                    </a:lnTo>
                    <a:lnTo>
                      <a:pt x="164" y="21"/>
                    </a:lnTo>
                    <a:lnTo>
                      <a:pt x="166" y="21"/>
                    </a:lnTo>
                    <a:lnTo>
                      <a:pt x="166" y="23"/>
                    </a:lnTo>
                    <a:lnTo>
                      <a:pt x="168" y="23"/>
                    </a:lnTo>
                    <a:lnTo>
                      <a:pt x="170" y="23"/>
                    </a:lnTo>
                    <a:lnTo>
                      <a:pt x="170" y="21"/>
                    </a:lnTo>
                    <a:lnTo>
                      <a:pt x="168" y="21"/>
                    </a:lnTo>
                    <a:lnTo>
                      <a:pt x="170" y="21"/>
                    </a:lnTo>
                    <a:lnTo>
                      <a:pt x="172" y="21"/>
                    </a:lnTo>
                    <a:lnTo>
                      <a:pt x="172" y="23"/>
                    </a:lnTo>
                    <a:lnTo>
                      <a:pt x="174" y="23"/>
                    </a:lnTo>
                    <a:lnTo>
                      <a:pt x="174" y="25"/>
                    </a:lnTo>
                    <a:lnTo>
                      <a:pt x="175" y="25"/>
                    </a:lnTo>
                    <a:lnTo>
                      <a:pt x="174" y="25"/>
                    </a:lnTo>
                    <a:lnTo>
                      <a:pt x="175" y="27"/>
                    </a:lnTo>
                    <a:lnTo>
                      <a:pt x="177" y="27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79" y="23"/>
                    </a:lnTo>
                    <a:lnTo>
                      <a:pt x="179" y="21"/>
                    </a:lnTo>
                    <a:lnTo>
                      <a:pt x="181" y="19"/>
                    </a:lnTo>
                    <a:lnTo>
                      <a:pt x="183" y="21"/>
                    </a:lnTo>
                    <a:lnTo>
                      <a:pt x="183" y="19"/>
                    </a:lnTo>
                    <a:lnTo>
                      <a:pt x="185" y="19"/>
                    </a:lnTo>
                    <a:lnTo>
                      <a:pt x="185" y="17"/>
                    </a:lnTo>
                    <a:lnTo>
                      <a:pt x="187" y="19"/>
                    </a:lnTo>
                    <a:lnTo>
                      <a:pt x="189" y="19"/>
                    </a:lnTo>
                    <a:lnTo>
                      <a:pt x="191" y="19"/>
                    </a:lnTo>
                    <a:lnTo>
                      <a:pt x="191" y="17"/>
                    </a:lnTo>
                    <a:lnTo>
                      <a:pt x="191" y="19"/>
                    </a:lnTo>
                    <a:lnTo>
                      <a:pt x="193" y="17"/>
                    </a:lnTo>
                    <a:lnTo>
                      <a:pt x="193" y="19"/>
                    </a:lnTo>
                    <a:lnTo>
                      <a:pt x="193" y="17"/>
                    </a:lnTo>
                    <a:lnTo>
                      <a:pt x="193" y="19"/>
                    </a:lnTo>
                    <a:lnTo>
                      <a:pt x="193" y="17"/>
                    </a:lnTo>
                    <a:lnTo>
                      <a:pt x="194" y="17"/>
                    </a:lnTo>
                    <a:lnTo>
                      <a:pt x="196" y="17"/>
                    </a:lnTo>
                    <a:lnTo>
                      <a:pt x="198" y="17"/>
                    </a:lnTo>
                    <a:lnTo>
                      <a:pt x="200" y="15"/>
                    </a:lnTo>
                    <a:lnTo>
                      <a:pt x="198" y="15"/>
                    </a:lnTo>
                    <a:lnTo>
                      <a:pt x="198" y="13"/>
                    </a:lnTo>
                    <a:lnTo>
                      <a:pt x="200" y="13"/>
                    </a:lnTo>
                    <a:lnTo>
                      <a:pt x="202" y="13"/>
                    </a:lnTo>
                    <a:lnTo>
                      <a:pt x="202" y="12"/>
                    </a:lnTo>
                    <a:lnTo>
                      <a:pt x="204" y="12"/>
                    </a:lnTo>
                    <a:lnTo>
                      <a:pt x="206" y="13"/>
                    </a:lnTo>
                    <a:lnTo>
                      <a:pt x="206" y="12"/>
                    </a:lnTo>
                    <a:lnTo>
                      <a:pt x="208" y="12"/>
                    </a:lnTo>
                    <a:lnTo>
                      <a:pt x="208" y="10"/>
                    </a:lnTo>
                    <a:lnTo>
                      <a:pt x="210" y="10"/>
                    </a:lnTo>
                    <a:lnTo>
                      <a:pt x="212" y="8"/>
                    </a:lnTo>
                    <a:lnTo>
                      <a:pt x="214" y="8"/>
                    </a:lnTo>
                    <a:lnTo>
                      <a:pt x="214" y="6"/>
                    </a:lnTo>
                    <a:lnTo>
                      <a:pt x="214" y="4"/>
                    </a:lnTo>
                    <a:lnTo>
                      <a:pt x="214" y="2"/>
                    </a:lnTo>
                    <a:lnTo>
                      <a:pt x="212" y="2"/>
                    </a:lnTo>
                    <a:lnTo>
                      <a:pt x="212" y="0"/>
                    </a:lnTo>
                    <a:lnTo>
                      <a:pt x="214" y="2"/>
                    </a:lnTo>
                    <a:lnTo>
                      <a:pt x="215" y="2"/>
                    </a:lnTo>
                    <a:lnTo>
                      <a:pt x="217" y="2"/>
                    </a:lnTo>
                    <a:lnTo>
                      <a:pt x="219" y="0"/>
                    </a:lnTo>
                    <a:lnTo>
                      <a:pt x="221" y="2"/>
                    </a:lnTo>
                    <a:lnTo>
                      <a:pt x="221" y="0"/>
                    </a:lnTo>
                    <a:lnTo>
                      <a:pt x="221" y="2"/>
                    </a:lnTo>
                    <a:lnTo>
                      <a:pt x="223" y="4"/>
                    </a:lnTo>
                    <a:lnTo>
                      <a:pt x="223" y="8"/>
                    </a:lnTo>
                    <a:lnTo>
                      <a:pt x="223" y="10"/>
                    </a:lnTo>
                    <a:lnTo>
                      <a:pt x="221" y="10"/>
                    </a:lnTo>
                    <a:lnTo>
                      <a:pt x="223" y="12"/>
                    </a:lnTo>
                    <a:lnTo>
                      <a:pt x="221" y="12"/>
                    </a:lnTo>
                    <a:lnTo>
                      <a:pt x="221" y="13"/>
                    </a:lnTo>
                    <a:lnTo>
                      <a:pt x="221" y="12"/>
                    </a:lnTo>
                    <a:lnTo>
                      <a:pt x="223" y="12"/>
                    </a:lnTo>
                    <a:lnTo>
                      <a:pt x="223" y="13"/>
                    </a:lnTo>
                    <a:lnTo>
                      <a:pt x="225" y="13"/>
                    </a:lnTo>
                    <a:lnTo>
                      <a:pt x="227" y="13"/>
                    </a:lnTo>
                    <a:lnTo>
                      <a:pt x="227" y="15"/>
                    </a:lnTo>
                    <a:lnTo>
                      <a:pt x="229" y="15"/>
                    </a:lnTo>
                    <a:lnTo>
                      <a:pt x="227" y="15"/>
                    </a:lnTo>
                    <a:lnTo>
                      <a:pt x="227" y="17"/>
                    </a:lnTo>
                    <a:lnTo>
                      <a:pt x="229" y="17"/>
                    </a:lnTo>
                    <a:lnTo>
                      <a:pt x="227" y="17"/>
                    </a:lnTo>
                    <a:lnTo>
                      <a:pt x="229" y="19"/>
                    </a:lnTo>
                    <a:lnTo>
                      <a:pt x="229" y="21"/>
                    </a:lnTo>
                    <a:lnTo>
                      <a:pt x="231" y="21"/>
                    </a:lnTo>
                    <a:lnTo>
                      <a:pt x="231" y="23"/>
                    </a:lnTo>
                    <a:lnTo>
                      <a:pt x="229" y="23"/>
                    </a:lnTo>
                    <a:lnTo>
                      <a:pt x="231" y="23"/>
                    </a:lnTo>
                    <a:lnTo>
                      <a:pt x="229" y="23"/>
                    </a:lnTo>
                    <a:lnTo>
                      <a:pt x="229" y="25"/>
                    </a:lnTo>
                    <a:lnTo>
                      <a:pt x="229" y="23"/>
                    </a:lnTo>
                    <a:lnTo>
                      <a:pt x="229" y="25"/>
                    </a:lnTo>
                    <a:lnTo>
                      <a:pt x="229" y="23"/>
                    </a:lnTo>
                    <a:lnTo>
                      <a:pt x="229" y="25"/>
                    </a:lnTo>
                    <a:lnTo>
                      <a:pt x="227" y="27"/>
                    </a:lnTo>
                    <a:lnTo>
                      <a:pt x="225" y="27"/>
                    </a:lnTo>
                    <a:lnTo>
                      <a:pt x="225" y="29"/>
                    </a:lnTo>
                    <a:lnTo>
                      <a:pt x="227" y="29"/>
                    </a:lnTo>
                    <a:lnTo>
                      <a:pt x="225" y="31"/>
                    </a:lnTo>
                    <a:lnTo>
                      <a:pt x="227" y="31"/>
                    </a:lnTo>
                    <a:lnTo>
                      <a:pt x="225" y="31"/>
                    </a:lnTo>
                    <a:lnTo>
                      <a:pt x="227" y="31"/>
                    </a:lnTo>
                    <a:lnTo>
                      <a:pt x="225" y="33"/>
                    </a:lnTo>
                    <a:lnTo>
                      <a:pt x="225" y="34"/>
                    </a:lnTo>
                    <a:lnTo>
                      <a:pt x="223" y="34"/>
                    </a:lnTo>
                    <a:lnTo>
                      <a:pt x="223" y="36"/>
                    </a:lnTo>
                    <a:lnTo>
                      <a:pt x="225" y="36"/>
                    </a:lnTo>
                    <a:lnTo>
                      <a:pt x="223" y="38"/>
                    </a:lnTo>
                    <a:lnTo>
                      <a:pt x="223" y="42"/>
                    </a:lnTo>
                    <a:lnTo>
                      <a:pt x="223" y="44"/>
                    </a:lnTo>
                    <a:lnTo>
                      <a:pt x="225" y="44"/>
                    </a:lnTo>
                    <a:lnTo>
                      <a:pt x="225" y="46"/>
                    </a:lnTo>
                    <a:lnTo>
                      <a:pt x="225" y="48"/>
                    </a:lnTo>
                    <a:lnTo>
                      <a:pt x="225" y="46"/>
                    </a:lnTo>
                    <a:lnTo>
                      <a:pt x="225" y="48"/>
                    </a:lnTo>
                    <a:lnTo>
                      <a:pt x="227" y="48"/>
                    </a:lnTo>
                    <a:lnTo>
                      <a:pt x="227" y="50"/>
                    </a:lnTo>
                    <a:lnTo>
                      <a:pt x="227" y="52"/>
                    </a:lnTo>
                    <a:lnTo>
                      <a:pt x="227" y="54"/>
                    </a:lnTo>
                    <a:lnTo>
                      <a:pt x="227" y="55"/>
                    </a:lnTo>
                    <a:lnTo>
                      <a:pt x="229" y="55"/>
                    </a:lnTo>
                    <a:lnTo>
                      <a:pt x="229" y="57"/>
                    </a:lnTo>
                    <a:lnTo>
                      <a:pt x="231" y="57"/>
                    </a:lnTo>
                    <a:lnTo>
                      <a:pt x="231" y="59"/>
                    </a:lnTo>
                    <a:lnTo>
                      <a:pt x="233" y="59"/>
                    </a:lnTo>
                    <a:lnTo>
                      <a:pt x="233" y="61"/>
                    </a:lnTo>
                    <a:lnTo>
                      <a:pt x="235" y="61"/>
                    </a:lnTo>
                    <a:lnTo>
                      <a:pt x="235" y="63"/>
                    </a:lnTo>
                    <a:lnTo>
                      <a:pt x="236" y="63"/>
                    </a:lnTo>
                    <a:lnTo>
                      <a:pt x="238" y="63"/>
                    </a:lnTo>
                    <a:lnTo>
                      <a:pt x="240" y="63"/>
                    </a:lnTo>
                    <a:lnTo>
                      <a:pt x="240" y="65"/>
                    </a:lnTo>
                    <a:lnTo>
                      <a:pt x="242" y="65"/>
                    </a:lnTo>
                    <a:lnTo>
                      <a:pt x="244" y="65"/>
                    </a:lnTo>
                    <a:lnTo>
                      <a:pt x="244" y="63"/>
                    </a:lnTo>
                    <a:lnTo>
                      <a:pt x="244" y="65"/>
                    </a:lnTo>
                    <a:lnTo>
                      <a:pt x="246" y="63"/>
                    </a:lnTo>
                    <a:lnTo>
                      <a:pt x="246" y="65"/>
                    </a:lnTo>
                    <a:lnTo>
                      <a:pt x="246" y="63"/>
                    </a:lnTo>
                    <a:lnTo>
                      <a:pt x="246" y="65"/>
                    </a:lnTo>
                    <a:lnTo>
                      <a:pt x="248" y="65"/>
                    </a:lnTo>
                    <a:lnTo>
                      <a:pt x="248" y="63"/>
                    </a:lnTo>
                    <a:lnTo>
                      <a:pt x="248" y="61"/>
                    </a:lnTo>
                    <a:lnTo>
                      <a:pt x="250" y="61"/>
                    </a:lnTo>
                    <a:lnTo>
                      <a:pt x="248" y="59"/>
                    </a:lnTo>
                    <a:lnTo>
                      <a:pt x="250" y="59"/>
                    </a:lnTo>
                    <a:lnTo>
                      <a:pt x="252" y="59"/>
                    </a:lnTo>
                    <a:lnTo>
                      <a:pt x="254" y="61"/>
                    </a:lnTo>
                    <a:lnTo>
                      <a:pt x="254" y="59"/>
                    </a:lnTo>
                    <a:lnTo>
                      <a:pt x="256" y="61"/>
                    </a:lnTo>
                    <a:lnTo>
                      <a:pt x="256" y="59"/>
                    </a:lnTo>
                    <a:lnTo>
                      <a:pt x="256" y="57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61" y="57"/>
                    </a:lnTo>
                    <a:lnTo>
                      <a:pt x="263" y="57"/>
                    </a:lnTo>
                    <a:lnTo>
                      <a:pt x="263" y="55"/>
                    </a:lnTo>
                    <a:lnTo>
                      <a:pt x="265" y="55"/>
                    </a:lnTo>
                    <a:lnTo>
                      <a:pt x="263" y="54"/>
                    </a:lnTo>
                    <a:lnTo>
                      <a:pt x="265" y="54"/>
                    </a:lnTo>
                    <a:lnTo>
                      <a:pt x="267" y="54"/>
                    </a:lnTo>
                    <a:lnTo>
                      <a:pt x="269" y="54"/>
                    </a:lnTo>
                    <a:lnTo>
                      <a:pt x="269" y="52"/>
                    </a:lnTo>
                    <a:lnTo>
                      <a:pt x="271" y="54"/>
                    </a:lnTo>
                    <a:lnTo>
                      <a:pt x="273" y="54"/>
                    </a:lnTo>
                    <a:lnTo>
                      <a:pt x="275" y="55"/>
                    </a:lnTo>
                    <a:lnTo>
                      <a:pt x="275" y="54"/>
                    </a:lnTo>
                    <a:lnTo>
                      <a:pt x="276" y="54"/>
                    </a:lnTo>
                    <a:lnTo>
                      <a:pt x="278" y="54"/>
                    </a:lnTo>
                    <a:lnTo>
                      <a:pt x="280" y="54"/>
                    </a:lnTo>
                    <a:lnTo>
                      <a:pt x="282" y="54"/>
                    </a:lnTo>
                    <a:lnTo>
                      <a:pt x="282" y="55"/>
                    </a:lnTo>
                    <a:lnTo>
                      <a:pt x="282" y="54"/>
                    </a:lnTo>
                    <a:lnTo>
                      <a:pt x="284" y="54"/>
                    </a:lnTo>
                    <a:lnTo>
                      <a:pt x="284" y="55"/>
                    </a:lnTo>
                    <a:lnTo>
                      <a:pt x="286" y="55"/>
                    </a:lnTo>
                    <a:lnTo>
                      <a:pt x="288" y="55"/>
                    </a:lnTo>
                    <a:lnTo>
                      <a:pt x="288" y="54"/>
                    </a:lnTo>
                    <a:lnTo>
                      <a:pt x="288" y="52"/>
                    </a:lnTo>
                    <a:lnTo>
                      <a:pt x="286" y="50"/>
                    </a:lnTo>
                    <a:lnTo>
                      <a:pt x="286" y="48"/>
                    </a:lnTo>
                    <a:lnTo>
                      <a:pt x="284" y="48"/>
                    </a:lnTo>
                    <a:lnTo>
                      <a:pt x="286" y="48"/>
                    </a:lnTo>
                    <a:lnTo>
                      <a:pt x="286" y="46"/>
                    </a:lnTo>
                    <a:lnTo>
                      <a:pt x="286" y="48"/>
                    </a:lnTo>
                    <a:lnTo>
                      <a:pt x="286" y="46"/>
                    </a:lnTo>
                    <a:lnTo>
                      <a:pt x="288" y="46"/>
                    </a:lnTo>
                    <a:lnTo>
                      <a:pt x="286" y="46"/>
                    </a:lnTo>
                    <a:lnTo>
                      <a:pt x="288" y="44"/>
                    </a:lnTo>
                    <a:lnTo>
                      <a:pt x="286" y="44"/>
                    </a:lnTo>
                    <a:lnTo>
                      <a:pt x="288" y="44"/>
                    </a:lnTo>
                    <a:lnTo>
                      <a:pt x="290" y="46"/>
                    </a:lnTo>
                    <a:lnTo>
                      <a:pt x="292" y="46"/>
                    </a:lnTo>
                    <a:lnTo>
                      <a:pt x="294" y="46"/>
                    </a:lnTo>
                    <a:lnTo>
                      <a:pt x="296" y="46"/>
                    </a:lnTo>
                    <a:lnTo>
                      <a:pt x="297" y="46"/>
                    </a:lnTo>
                    <a:lnTo>
                      <a:pt x="297" y="44"/>
                    </a:lnTo>
                    <a:lnTo>
                      <a:pt x="299" y="44"/>
                    </a:lnTo>
                    <a:lnTo>
                      <a:pt x="301" y="44"/>
                    </a:lnTo>
                    <a:lnTo>
                      <a:pt x="303" y="44"/>
                    </a:lnTo>
                    <a:lnTo>
                      <a:pt x="305" y="46"/>
                    </a:lnTo>
                    <a:lnTo>
                      <a:pt x="307" y="46"/>
                    </a:lnTo>
                    <a:lnTo>
                      <a:pt x="307" y="48"/>
                    </a:lnTo>
                    <a:lnTo>
                      <a:pt x="309" y="48"/>
                    </a:lnTo>
                    <a:lnTo>
                      <a:pt x="311" y="48"/>
                    </a:lnTo>
                    <a:lnTo>
                      <a:pt x="311" y="50"/>
                    </a:lnTo>
                    <a:lnTo>
                      <a:pt x="313" y="50"/>
                    </a:lnTo>
                    <a:lnTo>
                      <a:pt x="315" y="50"/>
                    </a:lnTo>
                    <a:lnTo>
                      <a:pt x="317" y="50"/>
                    </a:lnTo>
                    <a:lnTo>
                      <a:pt x="318" y="50"/>
                    </a:lnTo>
                    <a:lnTo>
                      <a:pt x="320" y="50"/>
                    </a:lnTo>
                    <a:lnTo>
                      <a:pt x="320" y="48"/>
                    </a:lnTo>
                    <a:lnTo>
                      <a:pt x="322" y="48"/>
                    </a:lnTo>
                    <a:lnTo>
                      <a:pt x="322" y="46"/>
                    </a:lnTo>
                    <a:lnTo>
                      <a:pt x="322" y="48"/>
                    </a:lnTo>
                    <a:lnTo>
                      <a:pt x="324" y="48"/>
                    </a:lnTo>
                    <a:lnTo>
                      <a:pt x="326" y="48"/>
                    </a:lnTo>
                    <a:lnTo>
                      <a:pt x="328" y="48"/>
                    </a:lnTo>
                    <a:lnTo>
                      <a:pt x="330" y="48"/>
                    </a:lnTo>
                    <a:lnTo>
                      <a:pt x="332" y="48"/>
                    </a:lnTo>
                    <a:lnTo>
                      <a:pt x="330" y="50"/>
                    </a:lnTo>
                    <a:lnTo>
                      <a:pt x="334" y="50"/>
                    </a:lnTo>
                    <a:lnTo>
                      <a:pt x="336" y="50"/>
                    </a:lnTo>
                    <a:lnTo>
                      <a:pt x="338" y="48"/>
                    </a:lnTo>
                    <a:lnTo>
                      <a:pt x="339" y="46"/>
                    </a:lnTo>
                    <a:lnTo>
                      <a:pt x="341" y="46"/>
                    </a:lnTo>
                    <a:lnTo>
                      <a:pt x="341" y="44"/>
                    </a:lnTo>
                    <a:lnTo>
                      <a:pt x="341" y="42"/>
                    </a:lnTo>
                    <a:lnTo>
                      <a:pt x="343" y="38"/>
                    </a:lnTo>
                    <a:lnTo>
                      <a:pt x="345" y="38"/>
                    </a:lnTo>
                    <a:lnTo>
                      <a:pt x="345" y="36"/>
                    </a:lnTo>
                    <a:lnTo>
                      <a:pt x="345" y="34"/>
                    </a:lnTo>
                    <a:lnTo>
                      <a:pt x="345" y="33"/>
                    </a:lnTo>
                    <a:lnTo>
                      <a:pt x="347" y="33"/>
                    </a:lnTo>
                    <a:lnTo>
                      <a:pt x="349" y="29"/>
                    </a:lnTo>
                    <a:lnTo>
                      <a:pt x="351" y="27"/>
                    </a:lnTo>
                    <a:lnTo>
                      <a:pt x="351" y="25"/>
                    </a:lnTo>
                    <a:lnTo>
                      <a:pt x="353" y="25"/>
                    </a:lnTo>
                    <a:lnTo>
                      <a:pt x="353" y="23"/>
                    </a:lnTo>
                    <a:lnTo>
                      <a:pt x="355" y="23"/>
                    </a:lnTo>
                    <a:lnTo>
                      <a:pt x="355" y="21"/>
                    </a:lnTo>
                    <a:lnTo>
                      <a:pt x="357" y="19"/>
                    </a:lnTo>
                    <a:lnTo>
                      <a:pt x="357" y="17"/>
                    </a:lnTo>
                    <a:lnTo>
                      <a:pt x="358" y="21"/>
                    </a:lnTo>
                    <a:lnTo>
                      <a:pt x="358" y="19"/>
                    </a:lnTo>
                    <a:lnTo>
                      <a:pt x="358" y="17"/>
                    </a:lnTo>
                    <a:lnTo>
                      <a:pt x="357" y="15"/>
                    </a:lnTo>
                    <a:lnTo>
                      <a:pt x="358" y="13"/>
                    </a:lnTo>
                    <a:lnTo>
                      <a:pt x="360" y="15"/>
                    </a:lnTo>
                    <a:lnTo>
                      <a:pt x="362" y="17"/>
                    </a:lnTo>
                    <a:lnTo>
                      <a:pt x="364" y="21"/>
                    </a:lnTo>
                    <a:lnTo>
                      <a:pt x="364" y="23"/>
                    </a:lnTo>
                    <a:lnTo>
                      <a:pt x="362" y="27"/>
                    </a:lnTo>
                    <a:lnTo>
                      <a:pt x="364" y="23"/>
                    </a:lnTo>
                    <a:lnTo>
                      <a:pt x="366" y="23"/>
                    </a:lnTo>
                    <a:lnTo>
                      <a:pt x="364" y="25"/>
                    </a:lnTo>
                    <a:lnTo>
                      <a:pt x="366" y="29"/>
                    </a:lnTo>
                    <a:lnTo>
                      <a:pt x="364" y="29"/>
                    </a:lnTo>
                    <a:lnTo>
                      <a:pt x="364" y="31"/>
                    </a:lnTo>
                    <a:lnTo>
                      <a:pt x="366" y="33"/>
                    </a:lnTo>
                    <a:lnTo>
                      <a:pt x="366" y="34"/>
                    </a:lnTo>
                    <a:lnTo>
                      <a:pt x="366" y="36"/>
                    </a:lnTo>
                    <a:lnTo>
                      <a:pt x="366" y="38"/>
                    </a:lnTo>
                    <a:lnTo>
                      <a:pt x="368" y="38"/>
                    </a:lnTo>
                    <a:lnTo>
                      <a:pt x="368" y="40"/>
                    </a:lnTo>
                    <a:lnTo>
                      <a:pt x="368" y="42"/>
                    </a:lnTo>
                    <a:lnTo>
                      <a:pt x="370" y="44"/>
                    </a:lnTo>
                    <a:lnTo>
                      <a:pt x="368" y="44"/>
                    </a:lnTo>
                    <a:lnTo>
                      <a:pt x="370" y="44"/>
                    </a:lnTo>
                    <a:lnTo>
                      <a:pt x="370" y="46"/>
                    </a:lnTo>
                    <a:lnTo>
                      <a:pt x="370" y="48"/>
                    </a:lnTo>
                    <a:lnTo>
                      <a:pt x="372" y="50"/>
                    </a:lnTo>
                    <a:lnTo>
                      <a:pt x="370" y="50"/>
                    </a:lnTo>
                    <a:lnTo>
                      <a:pt x="370" y="52"/>
                    </a:lnTo>
                    <a:lnTo>
                      <a:pt x="370" y="50"/>
                    </a:lnTo>
                    <a:lnTo>
                      <a:pt x="372" y="52"/>
                    </a:lnTo>
                    <a:lnTo>
                      <a:pt x="372" y="50"/>
                    </a:lnTo>
                    <a:lnTo>
                      <a:pt x="372" y="52"/>
                    </a:lnTo>
                    <a:lnTo>
                      <a:pt x="374" y="52"/>
                    </a:lnTo>
                    <a:lnTo>
                      <a:pt x="374" y="54"/>
                    </a:lnTo>
                    <a:lnTo>
                      <a:pt x="376" y="55"/>
                    </a:lnTo>
                    <a:lnTo>
                      <a:pt x="378" y="55"/>
                    </a:lnTo>
                    <a:lnTo>
                      <a:pt x="379" y="55"/>
                    </a:lnTo>
                    <a:lnTo>
                      <a:pt x="381" y="55"/>
                    </a:lnTo>
                    <a:lnTo>
                      <a:pt x="383" y="57"/>
                    </a:lnTo>
                    <a:lnTo>
                      <a:pt x="383" y="59"/>
                    </a:lnTo>
                    <a:lnTo>
                      <a:pt x="383" y="61"/>
                    </a:lnTo>
                    <a:lnTo>
                      <a:pt x="385" y="61"/>
                    </a:lnTo>
                    <a:lnTo>
                      <a:pt x="383" y="63"/>
                    </a:lnTo>
                    <a:lnTo>
                      <a:pt x="385" y="63"/>
                    </a:lnTo>
                    <a:lnTo>
                      <a:pt x="383" y="63"/>
                    </a:lnTo>
                    <a:lnTo>
                      <a:pt x="381" y="65"/>
                    </a:lnTo>
                    <a:lnTo>
                      <a:pt x="379" y="65"/>
                    </a:lnTo>
                    <a:lnTo>
                      <a:pt x="381" y="63"/>
                    </a:lnTo>
                    <a:lnTo>
                      <a:pt x="379" y="63"/>
                    </a:lnTo>
                    <a:lnTo>
                      <a:pt x="378" y="63"/>
                    </a:lnTo>
                    <a:lnTo>
                      <a:pt x="379" y="63"/>
                    </a:lnTo>
                    <a:lnTo>
                      <a:pt x="379" y="65"/>
                    </a:lnTo>
                    <a:lnTo>
                      <a:pt x="381" y="65"/>
                    </a:lnTo>
                    <a:lnTo>
                      <a:pt x="383" y="65"/>
                    </a:lnTo>
                    <a:lnTo>
                      <a:pt x="385" y="67"/>
                    </a:lnTo>
                    <a:lnTo>
                      <a:pt x="383" y="67"/>
                    </a:lnTo>
                    <a:lnTo>
                      <a:pt x="381" y="67"/>
                    </a:lnTo>
                    <a:lnTo>
                      <a:pt x="381" y="69"/>
                    </a:lnTo>
                    <a:lnTo>
                      <a:pt x="379" y="69"/>
                    </a:lnTo>
                    <a:lnTo>
                      <a:pt x="378" y="71"/>
                    </a:lnTo>
                    <a:lnTo>
                      <a:pt x="378" y="73"/>
                    </a:lnTo>
                    <a:lnTo>
                      <a:pt x="376" y="75"/>
                    </a:lnTo>
                    <a:lnTo>
                      <a:pt x="374" y="78"/>
                    </a:lnTo>
                    <a:lnTo>
                      <a:pt x="372" y="80"/>
                    </a:lnTo>
                    <a:lnTo>
                      <a:pt x="370" y="82"/>
                    </a:lnTo>
                    <a:lnTo>
                      <a:pt x="368" y="82"/>
                    </a:lnTo>
                    <a:lnTo>
                      <a:pt x="366" y="82"/>
                    </a:lnTo>
                    <a:lnTo>
                      <a:pt x="366" y="84"/>
                    </a:lnTo>
                    <a:lnTo>
                      <a:pt x="364" y="86"/>
                    </a:lnTo>
                    <a:lnTo>
                      <a:pt x="366" y="86"/>
                    </a:lnTo>
                    <a:lnTo>
                      <a:pt x="368" y="86"/>
                    </a:lnTo>
                    <a:lnTo>
                      <a:pt x="370" y="84"/>
                    </a:lnTo>
                    <a:lnTo>
                      <a:pt x="372" y="84"/>
                    </a:lnTo>
                    <a:lnTo>
                      <a:pt x="372" y="86"/>
                    </a:lnTo>
                    <a:lnTo>
                      <a:pt x="372" y="88"/>
                    </a:lnTo>
                    <a:lnTo>
                      <a:pt x="370" y="88"/>
                    </a:lnTo>
                    <a:lnTo>
                      <a:pt x="366" y="90"/>
                    </a:lnTo>
                    <a:lnTo>
                      <a:pt x="366" y="92"/>
                    </a:lnTo>
                    <a:lnTo>
                      <a:pt x="368" y="90"/>
                    </a:lnTo>
                    <a:lnTo>
                      <a:pt x="370" y="90"/>
                    </a:lnTo>
                    <a:lnTo>
                      <a:pt x="370" y="92"/>
                    </a:lnTo>
                    <a:lnTo>
                      <a:pt x="370" y="90"/>
                    </a:lnTo>
                    <a:lnTo>
                      <a:pt x="370" y="92"/>
                    </a:lnTo>
                    <a:lnTo>
                      <a:pt x="368" y="92"/>
                    </a:lnTo>
                    <a:lnTo>
                      <a:pt x="366" y="94"/>
                    </a:lnTo>
                    <a:lnTo>
                      <a:pt x="366" y="96"/>
                    </a:lnTo>
                    <a:lnTo>
                      <a:pt x="368" y="94"/>
                    </a:lnTo>
                    <a:lnTo>
                      <a:pt x="370" y="94"/>
                    </a:lnTo>
                    <a:lnTo>
                      <a:pt x="370" y="96"/>
                    </a:lnTo>
                    <a:lnTo>
                      <a:pt x="370" y="97"/>
                    </a:lnTo>
                    <a:lnTo>
                      <a:pt x="370" y="96"/>
                    </a:lnTo>
                    <a:lnTo>
                      <a:pt x="370" y="94"/>
                    </a:lnTo>
                    <a:lnTo>
                      <a:pt x="370" y="92"/>
                    </a:lnTo>
                    <a:lnTo>
                      <a:pt x="372" y="92"/>
                    </a:lnTo>
                    <a:lnTo>
                      <a:pt x="372" y="90"/>
                    </a:lnTo>
                    <a:lnTo>
                      <a:pt x="372" y="88"/>
                    </a:lnTo>
                    <a:lnTo>
                      <a:pt x="374" y="88"/>
                    </a:lnTo>
                    <a:lnTo>
                      <a:pt x="374" y="86"/>
                    </a:lnTo>
                    <a:lnTo>
                      <a:pt x="376" y="86"/>
                    </a:lnTo>
                    <a:lnTo>
                      <a:pt x="378" y="86"/>
                    </a:lnTo>
                    <a:lnTo>
                      <a:pt x="379" y="86"/>
                    </a:lnTo>
                    <a:lnTo>
                      <a:pt x="381" y="88"/>
                    </a:lnTo>
                    <a:lnTo>
                      <a:pt x="383" y="88"/>
                    </a:lnTo>
                    <a:lnTo>
                      <a:pt x="385" y="88"/>
                    </a:lnTo>
                    <a:lnTo>
                      <a:pt x="387" y="88"/>
                    </a:lnTo>
                    <a:lnTo>
                      <a:pt x="389" y="88"/>
                    </a:lnTo>
                    <a:lnTo>
                      <a:pt x="391" y="88"/>
                    </a:lnTo>
                    <a:lnTo>
                      <a:pt x="393" y="88"/>
                    </a:lnTo>
                    <a:lnTo>
                      <a:pt x="395" y="88"/>
                    </a:lnTo>
                    <a:lnTo>
                      <a:pt x="395" y="86"/>
                    </a:lnTo>
                    <a:lnTo>
                      <a:pt x="397" y="88"/>
                    </a:lnTo>
                    <a:lnTo>
                      <a:pt x="399" y="88"/>
                    </a:lnTo>
                    <a:lnTo>
                      <a:pt x="400" y="88"/>
                    </a:lnTo>
                    <a:lnTo>
                      <a:pt x="402" y="88"/>
                    </a:lnTo>
                    <a:lnTo>
                      <a:pt x="404" y="88"/>
                    </a:lnTo>
                    <a:lnTo>
                      <a:pt x="406" y="88"/>
                    </a:lnTo>
                    <a:lnTo>
                      <a:pt x="408" y="88"/>
                    </a:lnTo>
                    <a:lnTo>
                      <a:pt x="408" y="90"/>
                    </a:lnTo>
                    <a:lnTo>
                      <a:pt x="406" y="92"/>
                    </a:lnTo>
                    <a:lnTo>
                      <a:pt x="406" y="96"/>
                    </a:lnTo>
                    <a:lnTo>
                      <a:pt x="406" y="97"/>
                    </a:lnTo>
                    <a:lnTo>
                      <a:pt x="406" y="99"/>
                    </a:lnTo>
                    <a:lnTo>
                      <a:pt x="404" y="99"/>
                    </a:lnTo>
                    <a:lnTo>
                      <a:pt x="404" y="101"/>
                    </a:lnTo>
                    <a:lnTo>
                      <a:pt x="402" y="103"/>
                    </a:lnTo>
                    <a:lnTo>
                      <a:pt x="402" y="105"/>
                    </a:lnTo>
                    <a:lnTo>
                      <a:pt x="400" y="107"/>
                    </a:lnTo>
                    <a:lnTo>
                      <a:pt x="400" y="109"/>
                    </a:lnTo>
                    <a:lnTo>
                      <a:pt x="400" y="111"/>
                    </a:lnTo>
                    <a:lnTo>
                      <a:pt x="399" y="111"/>
                    </a:lnTo>
                    <a:lnTo>
                      <a:pt x="399" y="113"/>
                    </a:lnTo>
                    <a:lnTo>
                      <a:pt x="397" y="115"/>
                    </a:lnTo>
                    <a:lnTo>
                      <a:pt x="399" y="115"/>
                    </a:lnTo>
                    <a:lnTo>
                      <a:pt x="399" y="113"/>
                    </a:lnTo>
                    <a:lnTo>
                      <a:pt x="400" y="113"/>
                    </a:lnTo>
                    <a:lnTo>
                      <a:pt x="400" y="111"/>
                    </a:lnTo>
                    <a:lnTo>
                      <a:pt x="402" y="109"/>
                    </a:lnTo>
                    <a:lnTo>
                      <a:pt x="402" y="107"/>
                    </a:lnTo>
                    <a:lnTo>
                      <a:pt x="404" y="107"/>
                    </a:lnTo>
                    <a:lnTo>
                      <a:pt x="404" y="105"/>
                    </a:lnTo>
                    <a:lnTo>
                      <a:pt x="406" y="107"/>
                    </a:lnTo>
                    <a:lnTo>
                      <a:pt x="406" y="109"/>
                    </a:lnTo>
                    <a:lnTo>
                      <a:pt x="408" y="109"/>
                    </a:lnTo>
                    <a:lnTo>
                      <a:pt x="408" y="107"/>
                    </a:lnTo>
                    <a:lnTo>
                      <a:pt x="406" y="109"/>
                    </a:lnTo>
                    <a:lnTo>
                      <a:pt x="406" y="107"/>
                    </a:lnTo>
                    <a:lnTo>
                      <a:pt x="406" y="105"/>
                    </a:lnTo>
                    <a:lnTo>
                      <a:pt x="408" y="103"/>
                    </a:lnTo>
                    <a:lnTo>
                      <a:pt x="406" y="103"/>
                    </a:lnTo>
                    <a:lnTo>
                      <a:pt x="408" y="101"/>
                    </a:lnTo>
                    <a:lnTo>
                      <a:pt x="410" y="101"/>
                    </a:lnTo>
                    <a:lnTo>
                      <a:pt x="410" y="99"/>
                    </a:lnTo>
                    <a:lnTo>
                      <a:pt x="410" y="97"/>
                    </a:lnTo>
                    <a:lnTo>
                      <a:pt x="412" y="97"/>
                    </a:lnTo>
                    <a:lnTo>
                      <a:pt x="412" y="99"/>
                    </a:lnTo>
                    <a:lnTo>
                      <a:pt x="412" y="97"/>
                    </a:lnTo>
                    <a:lnTo>
                      <a:pt x="414" y="96"/>
                    </a:lnTo>
                    <a:lnTo>
                      <a:pt x="416" y="96"/>
                    </a:lnTo>
                    <a:lnTo>
                      <a:pt x="414" y="96"/>
                    </a:lnTo>
                    <a:lnTo>
                      <a:pt x="416" y="94"/>
                    </a:lnTo>
                    <a:lnTo>
                      <a:pt x="416" y="96"/>
                    </a:lnTo>
                    <a:lnTo>
                      <a:pt x="418" y="96"/>
                    </a:lnTo>
                    <a:lnTo>
                      <a:pt x="418" y="94"/>
                    </a:lnTo>
                    <a:lnTo>
                      <a:pt x="418" y="96"/>
                    </a:lnTo>
                    <a:lnTo>
                      <a:pt x="418" y="94"/>
                    </a:lnTo>
                    <a:lnTo>
                      <a:pt x="419" y="96"/>
                    </a:lnTo>
                    <a:lnTo>
                      <a:pt x="418" y="94"/>
                    </a:lnTo>
                    <a:lnTo>
                      <a:pt x="419" y="94"/>
                    </a:lnTo>
                    <a:lnTo>
                      <a:pt x="419" y="96"/>
                    </a:lnTo>
                    <a:lnTo>
                      <a:pt x="418" y="96"/>
                    </a:lnTo>
                    <a:lnTo>
                      <a:pt x="419" y="96"/>
                    </a:lnTo>
                    <a:lnTo>
                      <a:pt x="421" y="96"/>
                    </a:lnTo>
                    <a:lnTo>
                      <a:pt x="419" y="96"/>
                    </a:lnTo>
                    <a:lnTo>
                      <a:pt x="421" y="96"/>
                    </a:lnTo>
                    <a:lnTo>
                      <a:pt x="421" y="94"/>
                    </a:lnTo>
                    <a:lnTo>
                      <a:pt x="421" y="96"/>
                    </a:lnTo>
                    <a:lnTo>
                      <a:pt x="421" y="97"/>
                    </a:lnTo>
                    <a:lnTo>
                      <a:pt x="423" y="97"/>
                    </a:lnTo>
                    <a:lnTo>
                      <a:pt x="423" y="96"/>
                    </a:lnTo>
                    <a:lnTo>
                      <a:pt x="423" y="94"/>
                    </a:lnTo>
                    <a:lnTo>
                      <a:pt x="421" y="94"/>
                    </a:lnTo>
                    <a:lnTo>
                      <a:pt x="423" y="94"/>
                    </a:lnTo>
                    <a:lnTo>
                      <a:pt x="423" y="96"/>
                    </a:lnTo>
                    <a:lnTo>
                      <a:pt x="423" y="94"/>
                    </a:lnTo>
                    <a:lnTo>
                      <a:pt x="425" y="94"/>
                    </a:lnTo>
                    <a:lnTo>
                      <a:pt x="423" y="94"/>
                    </a:lnTo>
                    <a:lnTo>
                      <a:pt x="425" y="94"/>
                    </a:lnTo>
                    <a:lnTo>
                      <a:pt x="425" y="96"/>
                    </a:lnTo>
                    <a:lnTo>
                      <a:pt x="425" y="94"/>
                    </a:lnTo>
                    <a:lnTo>
                      <a:pt x="427" y="96"/>
                    </a:lnTo>
                    <a:lnTo>
                      <a:pt x="425" y="96"/>
                    </a:lnTo>
                    <a:lnTo>
                      <a:pt x="427" y="96"/>
                    </a:lnTo>
                    <a:lnTo>
                      <a:pt x="427" y="97"/>
                    </a:lnTo>
                    <a:lnTo>
                      <a:pt x="427" y="96"/>
                    </a:lnTo>
                    <a:lnTo>
                      <a:pt x="429" y="96"/>
                    </a:lnTo>
                    <a:lnTo>
                      <a:pt x="427" y="96"/>
                    </a:lnTo>
                    <a:lnTo>
                      <a:pt x="429" y="96"/>
                    </a:lnTo>
                    <a:lnTo>
                      <a:pt x="429" y="97"/>
                    </a:lnTo>
                    <a:lnTo>
                      <a:pt x="431" y="96"/>
                    </a:lnTo>
                    <a:lnTo>
                      <a:pt x="431" y="97"/>
                    </a:lnTo>
                    <a:lnTo>
                      <a:pt x="433" y="97"/>
                    </a:lnTo>
                    <a:lnTo>
                      <a:pt x="431" y="97"/>
                    </a:lnTo>
                    <a:lnTo>
                      <a:pt x="433" y="97"/>
                    </a:lnTo>
                    <a:lnTo>
                      <a:pt x="433" y="96"/>
                    </a:lnTo>
                    <a:lnTo>
                      <a:pt x="433" y="97"/>
                    </a:lnTo>
                    <a:lnTo>
                      <a:pt x="433" y="99"/>
                    </a:lnTo>
                    <a:lnTo>
                      <a:pt x="433" y="97"/>
                    </a:lnTo>
                    <a:lnTo>
                      <a:pt x="433" y="99"/>
                    </a:lnTo>
                    <a:lnTo>
                      <a:pt x="433" y="97"/>
                    </a:lnTo>
                    <a:lnTo>
                      <a:pt x="435" y="97"/>
                    </a:lnTo>
                    <a:lnTo>
                      <a:pt x="433" y="97"/>
                    </a:lnTo>
                    <a:lnTo>
                      <a:pt x="435" y="97"/>
                    </a:lnTo>
                    <a:lnTo>
                      <a:pt x="435" y="99"/>
                    </a:lnTo>
                    <a:lnTo>
                      <a:pt x="435" y="97"/>
                    </a:lnTo>
                    <a:lnTo>
                      <a:pt x="437" y="97"/>
                    </a:lnTo>
                    <a:lnTo>
                      <a:pt x="437" y="99"/>
                    </a:lnTo>
                    <a:lnTo>
                      <a:pt x="435" y="99"/>
                    </a:lnTo>
                    <a:lnTo>
                      <a:pt x="437" y="99"/>
                    </a:lnTo>
                    <a:lnTo>
                      <a:pt x="435" y="99"/>
                    </a:lnTo>
                    <a:lnTo>
                      <a:pt x="437" y="99"/>
                    </a:lnTo>
                    <a:lnTo>
                      <a:pt x="439" y="99"/>
                    </a:lnTo>
                    <a:lnTo>
                      <a:pt x="439" y="97"/>
                    </a:lnTo>
                    <a:lnTo>
                      <a:pt x="439" y="99"/>
                    </a:lnTo>
                    <a:lnTo>
                      <a:pt x="439" y="97"/>
                    </a:lnTo>
                    <a:lnTo>
                      <a:pt x="439" y="99"/>
                    </a:lnTo>
                    <a:lnTo>
                      <a:pt x="439" y="101"/>
                    </a:lnTo>
                    <a:lnTo>
                      <a:pt x="440" y="99"/>
                    </a:lnTo>
                    <a:lnTo>
                      <a:pt x="440" y="101"/>
                    </a:lnTo>
                    <a:lnTo>
                      <a:pt x="442" y="101"/>
                    </a:lnTo>
                    <a:lnTo>
                      <a:pt x="440" y="99"/>
                    </a:lnTo>
                    <a:lnTo>
                      <a:pt x="442" y="99"/>
                    </a:lnTo>
                    <a:lnTo>
                      <a:pt x="442" y="101"/>
                    </a:lnTo>
                    <a:lnTo>
                      <a:pt x="442" y="103"/>
                    </a:lnTo>
                    <a:lnTo>
                      <a:pt x="440" y="103"/>
                    </a:lnTo>
                    <a:lnTo>
                      <a:pt x="442" y="101"/>
                    </a:lnTo>
                    <a:lnTo>
                      <a:pt x="444" y="101"/>
                    </a:lnTo>
                    <a:lnTo>
                      <a:pt x="442" y="103"/>
                    </a:lnTo>
                    <a:lnTo>
                      <a:pt x="444" y="101"/>
                    </a:lnTo>
                    <a:lnTo>
                      <a:pt x="444" y="103"/>
                    </a:lnTo>
                    <a:lnTo>
                      <a:pt x="444" y="101"/>
                    </a:lnTo>
                    <a:lnTo>
                      <a:pt x="444" y="103"/>
                    </a:lnTo>
                    <a:lnTo>
                      <a:pt x="444" y="105"/>
                    </a:lnTo>
                    <a:lnTo>
                      <a:pt x="444" y="103"/>
                    </a:lnTo>
                    <a:lnTo>
                      <a:pt x="446" y="101"/>
                    </a:lnTo>
                    <a:lnTo>
                      <a:pt x="446" y="103"/>
                    </a:lnTo>
                    <a:lnTo>
                      <a:pt x="446" y="101"/>
                    </a:lnTo>
                    <a:lnTo>
                      <a:pt x="446" y="103"/>
                    </a:lnTo>
                    <a:lnTo>
                      <a:pt x="446" y="105"/>
                    </a:lnTo>
                    <a:lnTo>
                      <a:pt x="448" y="101"/>
                    </a:lnTo>
                    <a:lnTo>
                      <a:pt x="448" y="103"/>
                    </a:lnTo>
                    <a:lnTo>
                      <a:pt x="448" y="105"/>
                    </a:lnTo>
                    <a:lnTo>
                      <a:pt x="448" y="103"/>
                    </a:lnTo>
                    <a:lnTo>
                      <a:pt x="450" y="103"/>
                    </a:lnTo>
                    <a:lnTo>
                      <a:pt x="448" y="103"/>
                    </a:lnTo>
                    <a:lnTo>
                      <a:pt x="448" y="105"/>
                    </a:lnTo>
                    <a:lnTo>
                      <a:pt x="450" y="105"/>
                    </a:lnTo>
                    <a:lnTo>
                      <a:pt x="450" y="103"/>
                    </a:lnTo>
                    <a:lnTo>
                      <a:pt x="450" y="105"/>
                    </a:lnTo>
                    <a:lnTo>
                      <a:pt x="450" y="107"/>
                    </a:lnTo>
                    <a:lnTo>
                      <a:pt x="452" y="107"/>
                    </a:lnTo>
                    <a:lnTo>
                      <a:pt x="452" y="105"/>
                    </a:lnTo>
                    <a:lnTo>
                      <a:pt x="454" y="105"/>
                    </a:lnTo>
                    <a:lnTo>
                      <a:pt x="452" y="105"/>
                    </a:lnTo>
                    <a:lnTo>
                      <a:pt x="454" y="105"/>
                    </a:lnTo>
                    <a:lnTo>
                      <a:pt x="454" y="107"/>
                    </a:lnTo>
                    <a:lnTo>
                      <a:pt x="452" y="107"/>
                    </a:lnTo>
                    <a:lnTo>
                      <a:pt x="454" y="107"/>
                    </a:lnTo>
                    <a:lnTo>
                      <a:pt x="454" y="105"/>
                    </a:lnTo>
                    <a:lnTo>
                      <a:pt x="454" y="107"/>
                    </a:lnTo>
                    <a:lnTo>
                      <a:pt x="454" y="105"/>
                    </a:lnTo>
                    <a:lnTo>
                      <a:pt x="456" y="105"/>
                    </a:lnTo>
                    <a:lnTo>
                      <a:pt x="454" y="107"/>
                    </a:lnTo>
                    <a:lnTo>
                      <a:pt x="454" y="109"/>
                    </a:lnTo>
                    <a:lnTo>
                      <a:pt x="456" y="107"/>
                    </a:lnTo>
                    <a:lnTo>
                      <a:pt x="456" y="105"/>
                    </a:lnTo>
                    <a:lnTo>
                      <a:pt x="458" y="105"/>
                    </a:lnTo>
                    <a:lnTo>
                      <a:pt x="458" y="107"/>
                    </a:lnTo>
                    <a:lnTo>
                      <a:pt x="456" y="107"/>
                    </a:lnTo>
                    <a:lnTo>
                      <a:pt x="456" y="109"/>
                    </a:lnTo>
                    <a:lnTo>
                      <a:pt x="456" y="107"/>
                    </a:lnTo>
                    <a:lnTo>
                      <a:pt x="456" y="109"/>
                    </a:lnTo>
                    <a:lnTo>
                      <a:pt x="458" y="109"/>
                    </a:lnTo>
                    <a:lnTo>
                      <a:pt x="456" y="109"/>
                    </a:lnTo>
                    <a:lnTo>
                      <a:pt x="456" y="111"/>
                    </a:lnTo>
                    <a:lnTo>
                      <a:pt x="456" y="113"/>
                    </a:lnTo>
                    <a:lnTo>
                      <a:pt x="458" y="113"/>
                    </a:lnTo>
                    <a:lnTo>
                      <a:pt x="458" y="115"/>
                    </a:lnTo>
                    <a:lnTo>
                      <a:pt x="460" y="115"/>
                    </a:lnTo>
                    <a:lnTo>
                      <a:pt x="458" y="115"/>
                    </a:lnTo>
                    <a:lnTo>
                      <a:pt x="458" y="113"/>
                    </a:lnTo>
                    <a:lnTo>
                      <a:pt x="458" y="111"/>
                    </a:lnTo>
                    <a:lnTo>
                      <a:pt x="458" y="109"/>
                    </a:lnTo>
                    <a:lnTo>
                      <a:pt x="460" y="109"/>
                    </a:lnTo>
                    <a:lnTo>
                      <a:pt x="460" y="107"/>
                    </a:lnTo>
                    <a:lnTo>
                      <a:pt x="460" y="109"/>
                    </a:lnTo>
                    <a:lnTo>
                      <a:pt x="460" y="107"/>
                    </a:lnTo>
                    <a:lnTo>
                      <a:pt x="460" y="109"/>
                    </a:lnTo>
                    <a:lnTo>
                      <a:pt x="460" y="107"/>
                    </a:lnTo>
                    <a:lnTo>
                      <a:pt x="461" y="107"/>
                    </a:lnTo>
                    <a:lnTo>
                      <a:pt x="461" y="109"/>
                    </a:lnTo>
                    <a:lnTo>
                      <a:pt x="461" y="107"/>
                    </a:lnTo>
                    <a:lnTo>
                      <a:pt x="461" y="109"/>
                    </a:lnTo>
                    <a:lnTo>
                      <a:pt x="463" y="109"/>
                    </a:lnTo>
                    <a:lnTo>
                      <a:pt x="461" y="109"/>
                    </a:lnTo>
                    <a:lnTo>
                      <a:pt x="463" y="109"/>
                    </a:lnTo>
                    <a:lnTo>
                      <a:pt x="461" y="109"/>
                    </a:lnTo>
                    <a:lnTo>
                      <a:pt x="463" y="109"/>
                    </a:lnTo>
                    <a:lnTo>
                      <a:pt x="463" y="107"/>
                    </a:lnTo>
                    <a:lnTo>
                      <a:pt x="465" y="107"/>
                    </a:lnTo>
                    <a:lnTo>
                      <a:pt x="463" y="107"/>
                    </a:lnTo>
                    <a:lnTo>
                      <a:pt x="465" y="109"/>
                    </a:lnTo>
                    <a:lnTo>
                      <a:pt x="463" y="109"/>
                    </a:lnTo>
                    <a:lnTo>
                      <a:pt x="463" y="111"/>
                    </a:lnTo>
                    <a:lnTo>
                      <a:pt x="465" y="109"/>
                    </a:lnTo>
                    <a:lnTo>
                      <a:pt x="465" y="111"/>
                    </a:lnTo>
                    <a:lnTo>
                      <a:pt x="465" y="109"/>
                    </a:lnTo>
                    <a:lnTo>
                      <a:pt x="465" y="111"/>
                    </a:lnTo>
                    <a:lnTo>
                      <a:pt x="467" y="109"/>
                    </a:lnTo>
                    <a:lnTo>
                      <a:pt x="467" y="111"/>
                    </a:lnTo>
                    <a:lnTo>
                      <a:pt x="467" y="109"/>
                    </a:lnTo>
                    <a:lnTo>
                      <a:pt x="467" y="111"/>
                    </a:lnTo>
                    <a:lnTo>
                      <a:pt x="465" y="111"/>
                    </a:lnTo>
                    <a:lnTo>
                      <a:pt x="465" y="113"/>
                    </a:lnTo>
                    <a:lnTo>
                      <a:pt x="465" y="111"/>
                    </a:lnTo>
                    <a:lnTo>
                      <a:pt x="465" y="113"/>
                    </a:lnTo>
                    <a:lnTo>
                      <a:pt x="467" y="111"/>
                    </a:lnTo>
                    <a:lnTo>
                      <a:pt x="467" y="113"/>
                    </a:lnTo>
                    <a:lnTo>
                      <a:pt x="465" y="113"/>
                    </a:lnTo>
                    <a:lnTo>
                      <a:pt x="467" y="113"/>
                    </a:lnTo>
                    <a:lnTo>
                      <a:pt x="469" y="113"/>
                    </a:lnTo>
                    <a:lnTo>
                      <a:pt x="467" y="113"/>
                    </a:lnTo>
                    <a:lnTo>
                      <a:pt x="469" y="113"/>
                    </a:lnTo>
                    <a:lnTo>
                      <a:pt x="469" y="115"/>
                    </a:lnTo>
                    <a:lnTo>
                      <a:pt x="469" y="113"/>
                    </a:lnTo>
                    <a:lnTo>
                      <a:pt x="469" y="115"/>
                    </a:lnTo>
                    <a:lnTo>
                      <a:pt x="469" y="117"/>
                    </a:lnTo>
                    <a:lnTo>
                      <a:pt x="471" y="117"/>
                    </a:lnTo>
                    <a:lnTo>
                      <a:pt x="469" y="117"/>
                    </a:lnTo>
                    <a:lnTo>
                      <a:pt x="471" y="117"/>
                    </a:lnTo>
                    <a:lnTo>
                      <a:pt x="469" y="118"/>
                    </a:lnTo>
                    <a:lnTo>
                      <a:pt x="467" y="120"/>
                    </a:lnTo>
                    <a:lnTo>
                      <a:pt x="465" y="120"/>
                    </a:lnTo>
                    <a:lnTo>
                      <a:pt x="467" y="120"/>
                    </a:lnTo>
                    <a:lnTo>
                      <a:pt x="467" y="122"/>
                    </a:lnTo>
                    <a:lnTo>
                      <a:pt x="467" y="120"/>
                    </a:lnTo>
                    <a:lnTo>
                      <a:pt x="469" y="120"/>
                    </a:lnTo>
                    <a:lnTo>
                      <a:pt x="469" y="118"/>
                    </a:lnTo>
                    <a:lnTo>
                      <a:pt x="471" y="118"/>
                    </a:lnTo>
                    <a:lnTo>
                      <a:pt x="471" y="120"/>
                    </a:lnTo>
                    <a:lnTo>
                      <a:pt x="473" y="122"/>
                    </a:lnTo>
                    <a:lnTo>
                      <a:pt x="471" y="122"/>
                    </a:lnTo>
                    <a:lnTo>
                      <a:pt x="469" y="122"/>
                    </a:lnTo>
                    <a:lnTo>
                      <a:pt x="469" y="124"/>
                    </a:lnTo>
                    <a:lnTo>
                      <a:pt x="469" y="126"/>
                    </a:lnTo>
                    <a:lnTo>
                      <a:pt x="469" y="124"/>
                    </a:lnTo>
                    <a:lnTo>
                      <a:pt x="469" y="126"/>
                    </a:lnTo>
                    <a:lnTo>
                      <a:pt x="467" y="128"/>
                    </a:lnTo>
                    <a:lnTo>
                      <a:pt x="467" y="130"/>
                    </a:lnTo>
                    <a:lnTo>
                      <a:pt x="467" y="132"/>
                    </a:lnTo>
                    <a:lnTo>
                      <a:pt x="467" y="134"/>
                    </a:lnTo>
                    <a:lnTo>
                      <a:pt x="465" y="136"/>
                    </a:lnTo>
                    <a:lnTo>
                      <a:pt x="465" y="138"/>
                    </a:lnTo>
                    <a:lnTo>
                      <a:pt x="465" y="136"/>
                    </a:lnTo>
                    <a:lnTo>
                      <a:pt x="467" y="136"/>
                    </a:lnTo>
                    <a:lnTo>
                      <a:pt x="467" y="134"/>
                    </a:lnTo>
                    <a:lnTo>
                      <a:pt x="469" y="132"/>
                    </a:lnTo>
                    <a:lnTo>
                      <a:pt x="471" y="132"/>
                    </a:lnTo>
                    <a:lnTo>
                      <a:pt x="471" y="130"/>
                    </a:lnTo>
                    <a:lnTo>
                      <a:pt x="471" y="128"/>
                    </a:lnTo>
                    <a:lnTo>
                      <a:pt x="471" y="126"/>
                    </a:lnTo>
                    <a:lnTo>
                      <a:pt x="473" y="126"/>
                    </a:lnTo>
                    <a:lnTo>
                      <a:pt x="471" y="126"/>
                    </a:lnTo>
                    <a:lnTo>
                      <a:pt x="473" y="124"/>
                    </a:lnTo>
                    <a:lnTo>
                      <a:pt x="473" y="126"/>
                    </a:lnTo>
                    <a:lnTo>
                      <a:pt x="473" y="124"/>
                    </a:lnTo>
                    <a:lnTo>
                      <a:pt x="475" y="124"/>
                    </a:lnTo>
                    <a:lnTo>
                      <a:pt x="477" y="122"/>
                    </a:lnTo>
                    <a:lnTo>
                      <a:pt x="477" y="124"/>
                    </a:lnTo>
                    <a:lnTo>
                      <a:pt x="477" y="126"/>
                    </a:lnTo>
                    <a:lnTo>
                      <a:pt x="475" y="126"/>
                    </a:lnTo>
                    <a:lnTo>
                      <a:pt x="477" y="126"/>
                    </a:lnTo>
                    <a:lnTo>
                      <a:pt x="475" y="128"/>
                    </a:lnTo>
                    <a:lnTo>
                      <a:pt x="473" y="128"/>
                    </a:lnTo>
                    <a:lnTo>
                      <a:pt x="473" y="130"/>
                    </a:lnTo>
                    <a:lnTo>
                      <a:pt x="473" y="128"/>
                    </a:lnTo>
                    <a:lnTo>
                      <a:pt x="475" y="128"/>
                    </a:lnTo>
                    <a:lnTo>
                      <a:pt x="475" y="130"/>
                    </a:lnTo>
                    <a:lnTo>
                      <a:pt x="475" y="128"/>
                    </a:lnTo>
                    <a:lnTo>
                      <a:pt x="477" y="128"/>
                    </a:lnTo>
                    <a:lnTo>
                      <a:pt x="477" y="126"/>
                    </a:lnTo>
                    <a:lnTo>
                      <a:pt x="479" y="126"/>
                    </a:lnTo>
                    <a:lnTo>
                      <a:pt x="479" y="124"/>
                    </a:lnTo>
                    <a:lnTo>
                      <a:pt x="479" y="126"/>
                    </a:lnTo>
                    <a:lnTo>
                      <a:pt x="479" y="124"/>
                    </a:lnTo>
                    <a:lnTo>
                      <a:pt x="481" y="124"/>
                    </a:lnTo>
                    <a:lnTo>
                      <a:pt x="481" y="122"/>
                    </a:lnTo>
                    <a:lnTo>
                      <a:pt x="481" y="124"/>
                    </a:lnTo>
                    <a:lnTo>
                      <a:pt x="482" y="122"/>
                    </a:lnTo>
                    <a:lnTo>
                      <a:pt x="482" y="120"/>
                    </a:lnTo>
                    <a:lnTo>
                      <a:pt x="484" y="120"/>
                    </a:lnTo>
                    <a:lnTo>
                      <a:pt x="482" y="120"/>
                    </a:lnTo>
                    <a:lnTo>
                      <a:pt x="482" y="122"/>
                    </a:lnTo>
                    <a:lnTo>
                      <a:pt x="484" y="120"/>
                    </a:lnTo>
                    <a:lnTo>
                      <a:pt x="484" y="122"/>
                    </a:lnTo>
                    <a:lnTo>
                      <a:pt x="482" y="122"/>
                    </a:lnTo>
                    <a:lnTo>
                      <a:pt x="482" y="124"/>
                    </a:lnTo>
                    <a:lnTo>
                      <a:pt x="481" y="124"/>
                    </a:lnTo>
                    <a:lnTo>
                      <a:pt x="482" y="124"/>
                    </a:lnTo>
                    <a:lnTo>
                      <a:pt x="484" y="124"/>
                    </a:lnTo>
                    <a:lnTo>
                      <a:pt x="486" y="122"/>
                    </a:lnTo>
                    <a:lnTo>
                      <a:pt x="486" y="124"/>
                    </a:lnTo>
                    <a:lnTo>
                      <a:pt x="486" y="122"/>
                    </a:lnTo>
                    <a:lnTo>
                      <a:pt x="486" y="124"/>
                    </a:lnTo>
                    <a:lnTo>
                      <a:pt x="488" y="124"/>
                    </a:lnTo>
                    <a:lnTo>
                      <a:pt x="486" y="122"/>
                    </a:lnTo>
                    <a:lnTo>
                      <a:pt x="488" y="122"/>
                    </a:lnTo>
                    <a:lnTo>
                      <a:pt x="490" y="122"/>
                    </a:lnTo>
                    <a:lnTo>
                      <a:pt x="498" y="126"/>
                    </a:lnTo>
                    <a:lnTo>
                      <a:pt x="500" y="126"/>
                    </a:lnTo>
                    <a:lnTo>
                      <a:pt x="501" y="128"/>
                    </a:lnTo>
                    <a:lnTo>
                      <a:pt x="503" y="128"/>
                    </a:lnTo>
                    <a:lnTo>
                      <a:pt x="505" y="128"/>
                    </a:lnTo>
                    <a:lnTo>
                      <a:pt x="505" y="130"/>
                    </a:lnTo>
                    <a:lnTo>
                      <a:pt x="507" y="130"/>
                    </a:lnTo>
                    <a:lnTo>
                      <a:pt x="507" y="128"/>
                    </a:lnTo>
                    <a:lnTo>
                      <a:pt x="507" y="130"/>
                    </a:lnTo>
                    <a:lnTo>
                      <a:pt x="509" y="130"/>
                    </a:lnTo>
                    <a:lnTo>
                      <a:pt x="509" y="128"/>
                    </a:lnTo>
                    <a:lnTo>
                      <a:pt x="513" y="128"/>
                    </a:lnTo>
                    <a:lnTo>
                      <a:pt x="513" y="130"/>
                    </a:lnTo>
                    <a:lnTo>
                      <a:pt x="517" y="130"/>
                    </a:lnTo>
                    <a:lnTo>
                      <a:pt x="519" y="130"/>
                    </a:lnTo>
                    <a:lnTo>
                      <a:pt x="521" y="132"/>
                    </a:lnTo>
                    <a:lnTo>
                      <a:pt x="521" y="130"/>
                    </a:lnTo>
                    <a:lnTo>
                      <a:pt x="524" y="130"/>
                    </a:lnTo>
                    <a:lnTo>
                      <a:pt x="526" y="130"/>
                    </a:lnTo>
                    <a:lnTo>
                      <a:pt x="528" y="130"/>
                    </a:lnTo>
                    <a:lnTo>
                      <a:pt x="530" y="130"/>
                    </a:lnTo>
                    <a:lnTo>
                      <a:pt x="532" y="130"/>
                    </a:lnTo>
                    <a:lnTo>
                      <a:pt x="534" y="128"/>
                    </a:lnTo>
                    <a:lnTo>
                      <a:pt x="536" y="130"/>
                    </a:lnTo>
                    <a:lnTo>
                      <a:pt x="538" y="130"/>
                    </a:lnTo>
                    <a:lnTo>
                      <a:pt x="540" y="130"/>
                    </a:lnTo>
                    <a:lnTo>
                      <a:pt x="542" y="130"/>
                    </a:lnTo>
                    <a:lnTo>
                      <a:pt x="543" y="130"/>
                    </a:lnTo>
                    <a:lnTo>
                      <a:pt x="545" y="132"/>
                    </a:lnTo>
                    <a:lnTo>
                      <a:pt x="547" y="132"/>
                    </a:lnTo>
                    <a:lnTo>
                      <a:pt x="547" y="134"/>
                    </a:lnTo>
                    <a:lnTo>
                      <a:pt x="549" y="134"/>
                    </a:lnTo>
                    <a:lnTo>
                      <a:pt x="551" y="136"/>
                    </a:lnTo>
                    <a:lnTo>
                      <a:pt x="553" y="136"/>
                    </a:lnTo>
                    <a:lnTo>
                      <a:pt x="555" y="138"/>
                    </a:lnTo>
                    <a:lnTo>
                      <a:pt x="557" y="139"/>
                    </a:lnTo>
                    <a:lnTo>
                      <a:pt x="559" y="139"/>
                    </a:lnTo>
                    <a:lnTo>
                      <a:pt x="559" y="141"/>
                    </a:lnTo>
                    <a:lnTo>
                      <a:pt x="561" y="141"/>
                    </a:lnTo>
                    <a:lnTo>
                      <a:pt x="563" y="143"/>
                    </a:lnTo>
                    <a:lnTo>
                      <a:pt x="564" y="143"/>
                    </a:lnTo>
                    <a:lnTo>
                      <a:pt x="566" y="143"/>
                    </a:lnTo>
                    <a:lnTo>
                      <a:pt x="566" y="145"/>
                    </a:lnTo>
                    <a:lnTo>
                      <a:pt x="568" y="147"/>
                    </a:lnTo>
                    <a:lnTo>
                      <a:pt x="572" y="151"/>
                    </a:lnTo>
                    <a:lnTo>
                      <a:pt x="576" y="155"/>
                    </a:lnTo>
                    <a:lnTo>
                      <a:pt x="578" y="155"/>
                    </a:lnTo>
                    <a:lnTo>
                      <a:pt x="578" y="157"/>
                    </a:lnTo>
                    <a:lnTo>
                      <a:pt x="580" y="159"/>
                    </a:lnTo>
                    <a:lnTo>
                      <a:pt x="582" y="159"/>
                    </a:lnTo>
                    <a:lnTo>
                      <a:pt x="583" y="159"/>
                    </a:lnTo>
                    <a:lnTo>
                      <a:pt x="585" y="160"/>
                    </a:lnTo>
                    <a:lnTo>
                      <a:pt x="585" y="162"/>
                    </a:lnTo>
                    <a:lnTo>
                      <a:pt x="587" y="164"/>
                    </a:lnTo>
                    <a:lnTo>
                      <a:pt x="587" y="162"/>
                    </a:lnTo>
                    <a:lnTo>
                      <a:pt x="589" y="164"/>
                    </a:lnTo>
                    <a:lnTo>
                      <a:pt x="589" y="162"/>
                    </a:lnTo>
                    <a:lnTo>
                      <a:pt x="591" y="162"/>
                    </a:lnTo>
                    <a:lnTo>
                      <a:pt x="591" y="164"/>
                    </a:lnTo>
                    <a:lnTo>
                      <a:pt x="593" y="164"/>
                    </a:lnTo>
                    <a:lnTo>
                      <a:pt x="595" y="166"/>
                    </a:lnTo>
                    <a:lnTo>
                      <a:pt x="597" y="166"/>
                    </a:lnTo>
                    <a:lnTo>
                      <a:pt x="599" y="164"/>
                    </a:lnTo>
                    <a:lnTo>
                      <a:pt x="599" y="166"/>
                    </a:lnTo>
                    <a:lnTo>
                      <a:pt x="601" y="166"/>
                    </a:lnTo>
                    <a:lnTo>
                      <a:pt x="603" y="166"/>
                    </a:lnTo>
                    <a:lnTo>
                      <a:pt x="604" y="164"/>
                    </a:lnTo>
                    <a:lnTo>
                      <a:pt x="608" y="166"/>
                    </a:lnTo>
                    <a:lnTo>
                      <a:pt x="610" y="166"/>
                    </a:lnTo>
                    <a:lnTo>
                      <a:pt x="614" y="166"/>
                    </a:lnTo>
                    <a:lnTo>
                      <a:pt x="614" y="168"/>
                    </a:lnTo>
                    <a:lnTo>
                      <a:pt x="616" y="170"/>
                    </a:lnTo>
                    <a:lnTo>
                      <a:pt x="616" y="172"/>
                    </a:lnTo>
                    <a:lnTo>
                      <a:pt x="618" y="174"/>
                    </a:lnTo>
                    <a:lnTo>
                      <a:pt x="618" y="176"/>
                    </a:lnTo>
                    <a:lnTo>
                      <a:pt x="618" y="178"/>
                    </a:lnTo>
                    <a:lnTo>
                      <a:pt x="618" y="179"/>
                    </a:lnTo>
                    <a:lnTo>
                      <a:pt x="620" y="179"/>
                    </a:lnTo>
                    <a:lnTo>
                      <a:pt x="620" y="183"/>
                    </a:lnTo>
                    <a:lnTo>
                      <a:pt x="620" y="185"/>
                    </a:lnTo>
                    <a:lnTo>
                      <a:pt x="622" y="185"/>
                    </a:lnTo>
                    <a:lnTo>
                      <a:pt x="622" y="187"/>
                    </a:lnTo>
                    <a:lnTo>
                      <a:pt x="622" y="191"/>
                    </a:lnTo>
                    <a:lnTo>
                      <a:pt x="622" y="193"/>
                    </a:lnTo>
                    <a:lnTo>
                      <a:pt x="622" y="195"/>
                    </a:lnTo>
                    <a:lnTo>
                      <a:pt x="624" y="195"/>
                    </a:lnTo>
                    <a:lnTo>
                      <a:pt x="624" y="197"/>
                    </a:lnTo>
                    <a:lnTo>
                      <a:pt x="624" y="199"/>
                    </a:lnTo>
                    <a:lnTo>
                      <a:pt x="624" y="200"/>
                    </a:lnTo>
                    <a:lnTo>
                      <a:pt x="624" y="204"/>
                    </a:lnTo>
                    <a:lnTo>
                      <a:pt x="624" y="206"/>
                    </a:lnTo>
                    <a:lnTo>
                      <a:pt x="624" y="208"/>
                    </a:lnTo>
                    <a:lnTo>
                      <a:pt x="624" y="210"/>
                    </a:lnTo>
                    <a:lnTo>
                      <a:pt x="624" y="212"/>
                    </a:lnTo>
                    <a:lnTo>
                      <a:pt x="624" y="214"/>
                    </a:lnTo>
                    <a:lnTo>
                      <a:pt x="622" y="214"/>
                    </a:lnTo>
                    <a:lnTo>
                      <a:pt x="624" y="214"/>
                    </a:lnTo>
                    <a:lnTo>
                      <a:pt x="622" y="216"/>
                    </a:lnTo>
                    <a:lnTo>
                      <a:pt x="622" y="218"/>
                    </a:lnTo>
                    <a:lnTo>
                      <a:pt x="622" y="220"/>
                    </a:lnTo>
                    <a:lnTo>
                      <a:pt x="622" y="218"/>
                    </a:lnTo>
                    <a:lnTo>
                      <a:pt x="622" y="220"/>
                    </a:lnTo>
                    <a:lnTo>
                      <a:pt x="622" y="218"/>
                    </a:lnTo>
                    <a:lnTo>
                      <a:pt x="622" y="220"/>
                    </a:lnTo>
                    <a:lnTo>
                      <a:pt x="622" y="221"/>
                    </a:lnTo>
                    <a:lnTo>
                      <a:pt x="620" y="221"/>
                    </a:lnTo>
                    <a:lnTo>
                      <a:pt x="620" y="223"/>
                    </a:lnTo>
                    <a:lnTo>
                      <a:pt x="618" y="225"/>
                    </a:lnTo>
                    <a:lnTo>
                      <a:pt x="620" y="225"/>
                    </a:lnTo>
                    <a:lnTo>
                      <a:pt x="618" y="227"/>
                    </a:lnTo>
                    <a:lnTo>
                      <a:pt x="618" y="229"/>
                    </a:lnTo>
                    <a:lnTo>
                      <a:pt x="616" y="231"/>
                    </a:lnTo>
                    <a:lnTo>
                      <a:pt x="614" y="233"/>
                    </a:lnTo>
                    <a:lnTo>
                      <a:pt x="614" y="235"/>
                    </a:lnTo>
                    <a:lnTo>
                      <a:pt x="612" y="235"/>
                    </a:lnTo>
                    <a:lnTo>
                      <a:pt x="612" y="237"/>
                    </a:lnTo>
                    <a:lnTo>
                      <a:pt x="610" y="239"/>
                    </a:lnTo>
                    <a:lnTo>
                      <a:pt x="608" y="239"/>
                    </a:lnTo>
                    <a:lnTo>
                      <a:pt x="608" y="241"/>
                    </a:lnTo>
                    <a:lnTo>
                      <a:pt x="604" y="246"/>
                    </a:lnTo>
                    <a:lnTo>
                      <a:pt x="603" y="246"/>
                    </a:lnTo>
                    <a:lnTo>
                      <a:pt x="601" y="248"/>
                    </a:lnTo>
                    <a:lnTo>
                      <a:pt x="601" y="250"/>
                    </a:lnTo>
                    <a:lnTo>
                      <a:pt x="599" y="252"/>
                    </a:lnTo>
                    <a:lnTo>
                      <a:pt x="595" y="254"/>
                    </a:lnTo>
                    <a:lnTo>
                      <a:pt x="593" y="256"/>
                    </a:lnTo>
                    <a:lnTo>
                      <a:pt x="591" y="256"/>
                    </a:lnTo>
                    <a:lnTo>
                      <a:pt x="589" y="258"/>
                    </a:lnTo>
                    <a:lnTo>
                      <a:pt x="591" y="258"/>
                    </a:lnTo>
                    <a:lnTo>
                      <a:pt x="589" y="258"/>
                    </a:lnTo>
                    <a:lnTo>
                      <a:pt x="589" y="260"/>
                    </a:lnTo>
                    <a:lnTo>
                      <a:pt x="587" y="263"/>
                    </a:lnTo>
                    <a:lnTo>
                      <a:pt x="585" y="263"/>
                    </a:lnTo>
                    <a:lnTo>
                      <a:pt x="587" y="263"/>
                    </a:lnTo>
                    <a:lnTo>
                      <a:pt x="585" y="265"/>
                    </a:lnTo>
                    <a:lnTo>
                      <a:pt x="583" y="267"/>
                    </a:lnTo>
                    <a:lnTo>
                      <a:pt x="582" y="269"/>
                    </a:lnTo>
                    <a:lnTo>
                      <a:pt x="580" y="277"/>
                    </a:lnTo>
                    <a:lnTo>
                      <a:pt x="578" y="281"/>
                    </a:lnTo>
                    <a:lnTo>
                      <a:pt x="574" y="284"/>
                    </a:lnTo>
                    <a:lnTo>
                      <a:pt x="574" y="286"/>
                    </a:lnTo>
                    <a:lnTo>
                      <a:pt x="568" y="292"/>
                    </a:lnTo>
                    <a:lnTo>
                      <a:pt x="566" y="292"/>
                    </a:lnTo>
                    <a:lnTo>
                      <a:pt x="566" y="294"/>
                    </a:lnTo>
                    <a:lnTo>
                      <a:pt x="564" y="294"/>
                    </a:lnTo>
                    <a:lnTo>
                      <a:pt x="564" y="292"/>
                    </a:lnTo>
                    <a:lnTo>
                      <a:pt x="566" y="292"/>
                    </a:lnTo>
                    <a:lnTo>
                      <a:pt x="564" y="292"/>
                    </a:lnTo>
                    <a:lnTo>
                      <a:pt x="566" y="290"/>
                    </a:lnTo>
                    <a:lnTo>
                      <a:pt x="564" y="290"/>
                    </a:lnTo>
                    <a:lnTo>
                      <a:pt x="566" y="290"/>
                    </a:lnTo>
                    <a:lnTo>
                      <a:pt x="566" y="288"/>
                    </a:lnTo>
                    <a:lnTo>
                      <a:pt x="566" y="290"/>
                    </a:lnTo>
                    <a:lnTo>
                      <a:pt x="564" y="288"/>
                    </a:lnTo>
                    <a:lnTo>
                      <a:pt x="563" y="288"/>
                    </a:lnTo>
                    <a:lnTo>
                      <a:pt x="563" y="286"/>
                    </a:lnTo>
                    <a:lnTo>
                      <a:pt x="563" y="288"/>
                    </a:lnTo>
                    <a:lnTo>
                      <a:pt x="563" y="286"/>
                    </a:lnTo>
                    <a:lnTo>
                      <a:pt x="563" y="288"/>
                    </a:lnTo>
                    <a:lnTo>
                      <a:pt x="561" y="288"/>
                    </a:lnTo>
                    <a:lnTo>
                      <a:pt x="561" y="290"/>
                    </a:lnTo>
                    <a:lnTo>
                      <a:pt x="559" y="290"/>
                    </a:lnTo>
                    <a:lnTo>
                      <a:pt x="559" y="288"/>
                    </a:lnTo>
                    <a:lnTo>
                      <a:pt x="559" y="290"/>
                    </a:lnTo>
                    <a:lnTo>
                      <a:pt x="561" y="290"/>
                    </a:lnTo>
                    <a:lnTo>
                      <a:pt x="563" y="290"/>
                    </a:lnTo>
                    <a:lnTo>
                      <a:pt x="561" y="292"/>
                    </a:lnTo>
                    <a:lnTo>
                      <a:pt x="563" y="292"/>
                    </a:lnTo>
                    <a:lnTo>
                      <a:pt x="561" y="292"/>
                    </a:lnTo>
                    <a:lnTo>
                      <a:pt x="561" y="294"/>
                    </a:lnTo>
                    <a:lnTo>
                      <a:pt x="563" y="292"/>
                    </a:lnTo>
                    <a:lnTo>
                      <a:pt x="564" y="292"/>
                    </a:lnTo>
                    <a:lnTo>
                      <a:pt x="563" y="294"/>
                    </a:lnTo>
                    <a:lnTo>
                      <a:pt x="561" y="296"/>
                    </a:lnTo>
                    <a:lnTo>
                      <a:pt x="561" y="294"/>
                    </a:lnTo>
                    <a:lnTo>
                      <a:pt x="561" y="296"/>
                    </a:lnTo>
                    <a:lnTo>
                      <a:pt x="559" y="296"/>
                    </a:lnTo>
                    <a:lnTo>
                      <a:pt x="559" y="298"/>
                    </a:lnTo>
                    <a:lnTo>
                      <a:pt x="559" y="300"/>
                    </a:lnTo>
                    <a:lnTo>
                      <a:pt x="559" y="302"/>
                    </a:lnTo>
                    <a:lnTo>
                      <a:pt x="559" y="304"/>
                    </a:lnTo>
                    <a:lnTo>
                      <a:pt x="557" y="305"/>
                    </a:lnTo>
                    <a:lnTo>
                      <a:pt x="557" y="307"/>
                    </a:lnTo>
                    <a:lnTo>
                      <a:pt x="559" y="307"/>
                    </a:lnTo>
                    <a:lnTo>
                      <a:pt x="559" y="309"/>
                    </a:lnTo>
                    <a:lnTo>
                      <a:pt x="557" y="313"/>
                    </a:lnTo>
                    <a:lnTo>
                      <a:pt x="557" y="315"/>
                    </a:lnTo>
                    <a:lnTo>
                      <a:pt x="557" y="317"/>
                    </a:lnTo>
                    <a:lnTo>
                      <a:pt x="557" y="321"/>
                    </a:lnTo>
                    <a:lnTo>
                      <a:pt x="557" y="323"/>
                    </a:lnTo>
                    <a:lnTo>
                      <a:pt x="557" y="325"/>
                    </a:lnTo>
                    <a:lnTo>
                      <a:pt x="557" y="326"/>
                    </a:lnTo>
                    <a:lnTo>
                      <a:pt x="557" y="330"/>
                    </a:lnTo>
                    <a:lnTo>
                      <a:pt x="559" y="334"/>
                    </a:lnTo>
                    <a:lnTo>
                      <a:pt x="559" y="336"/>
                    </a:lnTo>
                    <a:lnTo>
                      <a:pt x="559" y="338"/>
                    </a:lnTo>
                    <a:lnTo>
                      <a:pt x="559" y="340"/>
                    </a:lnTo>
                    <a:lnTo>
                      <a:pt x="559" y="344"/>
                    </a:lnTo>
                    <a:lnTo>
                      <a:pt x="559" y="345"/>
                    </a:lnTo>
                    <a:lnTo>
                      <a:pt x="557" y="345"/>
                    </a:lnTo>
                    <a:lnTo>
                      <a:pt x="557" y="347"/>
                    </a:lnTo>
                    <a:lnTo>
                      <a:pt x="557" y="349"/>
                    </a:lnTo>
                    <a:lnTo>
                      <a:pt x="555" y="353"/>
                    </a:lnTo>
                    <a:lnTo>
                      <a:pt x="555" y="355"/>
                    </a:lnTo>
                    <a:lnTo>
                      <a:pt x="555" y="357"/>
                    </a:lnTo>
                    <a:lnTo>
                      <a:pt x="555" y="359"/>
                    </a:lnTo>
                    <a:lnTo>
                      <a:pt x="555" y="361"/>
                    </a:lnTo>
                    <a:lnTo>
                      <a:pt x="553" y="363"/>
                    </a:lnTo>
                    <a:lnTo>
                      <a:pt x="553" y="365"/>
                    </a:lnTo>
                    <a:lnTo>
                      <a:pt x="555" y="366"/>
                    </a:lnTo>
                    <a:lnTo>
                      <a:pt x="555" y="368"/>
                    </a:lnTo>
                    <a:lnTo>
                      <a:pt x="555" y="370"/>
                    </a:lnTo>
                    <a:lnTo>
                      <a:pt x="553" y="372"/>
                    </a:lnTo>
                    <a:lnTo>
                      <a:pt x="553" y="374"/>
                    </a:lnTo>
                    <a:lnTo>
                      <a:pt x="551" y="374"/>
                    </a:lnTo>
                    <a:lnTo>
                      <a:pt x="549" y="374"/>
                    </a:lnTo>
                    <a:lnTo>
                      <a:pt x="547" y="380"/>
                    </a:lnTo>
                    <a:lnTo>
                      <a:pt x="545" y="384"/>
                    </a:lnTo>
                    <a:lnTo>
                      <a:pt x="545" y="387"/>
                    </a:lnTo>
                    <a:lnTo>
                      <a:pt x="545" y="391"/>
                    </a:lnTo>
                    <a:lnTo>
                      <a:pt x="545" y="397"/>
                    </a:lnTo>
                    <a:lnTo>
                      <a:pt x="545" y="399"/>
                    </a:lnTo>
                    <a:lnTo>
                      <a:pt x="545" y="401"/>
                    </a:lnTo>
                    <a:lnTo>
                      <a:pt x="543" y="403"/>
                    </a:lnTo>
                    <a:lnTo>
                      <a:pt x="543" y="405"/>
                    </a:lnTo>
                    <a:lnTo>
                      <a:pt x="542" y="405"/>
                    </a:lnTo>
                    <a:lnTo>
                      <a:pt x="540" y="407"/>
                    </a:lnTo>
                    <a:lnTo>
                      <a:pt x="540" y="408"/>
                    </a:lnTo>
                    <a:lnTo>
                      <a:pt x="540" y="410"/>
                    </a:lnTo>
                    <a:lnTo>
                      <a:pt x="538" y="410"/>
                    </a:lnTo>
                    <a:lnTo>
                      <a:pt x="538" y="412"/>
                    </a:lnTo>
                    <a:lnTo>
                      <a:pt x="538" y="414"/>
                    </a:lnTo>
                    <a:lnTo>
                      <a:pt x="536" y="414"/>
                    </a:lnTo>
                    <a:lnTo>
                      <a:pt x="538" y="414"/>
                    </a:lnTo>
                    <a:lnTo>
                      <a:pt x="536" y="414"/>
                    </a:lnTo>
                    <a:lnTo>
                      <a:pt x="538" y="414"/>
                    </a:lnTo>
                    <a:lnTo>
                      <a:pt x="536" y="416"/>
                    </a:lnTo>
                    <a:lnTo>
                      <a:pt x="536" y="418"/>
                    </a:lnTo>
                    <a:lnTo>
                      <a:pt x="534" y="420"/>
                    </a:lnTo>
                    <a:lnTo>
                      <a:pt x="534" y="422"/>
                    </a:lnTo>
                    <a:lnTo>
                      <a:pt x="532" y="422"/>
                    </a:lnTo>
                    <a:lnTo>
                      <a:pt x="532" y="424"/>
                    </a:lnTo>
                    <a:lnTo>
                      <a:pt x="530" y="424"/>
                    </a:lnTo>
                    <a:lnTo>
                      <a:pt x="528" y="426"/>
                    </a:lnTo>
                    <a:lnTo>
                      <a:pt x="528" y="428"/>
                    </a:lnTo>
                    <a:lnTo>
                      <a:pt x="528" y="429"/>
                    </a:lnTo>
                    <a:lnTo>
                      <a:pt x="526" y="429"/>
                    </a:lnTo>
                    <a:lnTo>
                      <a:pt x="526" y="431"/>
                    </a:lnTo>
                    <a:lnTo>
                      <a:pt x="526" y="433"/>
                    </a:lnTo>
                    <a:lnTo>
                      <a:pt x="524" y="435"/>
                    </a:lnTo>
                    <a:lnTo>
                      <a:pt x="524" y="437"/>
                    </a:lnTo>
                    <a:lnTo>
                      <a:pt x="524" y="439"/>
                    </a:lnTo>
                    <a:lnTo>
                      <a:pt x="526" y="443"/>
                    </a:lnTo>
                    <a:lnTo>
                      <a:pt x="522" y="447"/>
                    </a:lnTo>
                    <a:lnTo>
                      <a:pt x="517" y="447"/>
                    </a:lnTo>
                    <a:lnTo>
                      <a:pt x="515" y="449"/>
                    </a:lnTo>
                    <a:lnTo>
                      <a:pt x="513" y="450"/>
                    </a:lnTo>
                    <a:lnTo>
                      <a:pt x="511" y="452"/>
                    </a:lnTo>
                    <a:lnTo>
                      <a:pt x="509" y="454"/>
                    </a:lnTo>
                    <a:lnTo>
                      <a:pt x="509" y="456"/>
                    </a:lnTo>
                    <a:lnTo>
                      <a:pt x="511" y="456"/>
                    </a:lnTo>
                    <a:lnTo>
                      <a:pt x="511" y="458"/>
                    </a:lnTo>
                    <a:lnTo>
                      <a:pt x="509" y="458"/>
                    </a:lnTo>
                    <a:lnTo>
                      <a:pt x="509" y="460"/>
                    </a:lnTo>
                    <a:lnTo>
                      <a:pt x="503" y="460"/>
                    </a:lnTo>
                    <a:lnTo>
                      <a:pt x="500" y="460"/>
                    </a:lnTo>
                    <a:lnTo>
                      <a:pt x="498" y="460"/>
                    </a:lnTo>
                    <a:lnTo>
                      <a:pt x="492" y="460"/>
                    </a:lnTo>
                    <a:lnTo>
                      <a:pt x="492" y="458"/>
                    </a:lnTo>
                    <a:lnTo>
                      <a:pt x="492" y="456"/>
                    </a:lnTo>
                    <a:lnTo>
                      <a:pt x="494" y="456"/>
                    </a:lnTo>
                    <a:lnTo>
                      <a:pt x="492" y="454"/>
                    </a:lnTo>
                    <a:lnTo>
                      <a:pt x="492" y="456"/>
                    </a:lnTo>
                    <a:lnTo>
                      <a:pt x="490" y="456"/>
                    </a:lnTo>
                    <a:lnTo>
                      <a:pt x="490" y="458"/>
                    </a:lnTo>
                    <a:lnTo>
                      <a:pt x="492" y="460"/>
                    </a:lnTo>
                    <a:lnTo>
                      <a:pt x="490" y="460"/>
                    </a:lnTo>
                    <a:lnTo>
                      <a:pt x="492" y="460"/>
                    </a:lnTo>
                    <a:lnTo>
                      <a:pt x="490" y="460"/>
                    </a:lnTo>
                    <a:lnTo>
                      <a:pt x="488" y="462"/>
                    </a:lnTo>
                    <a:lnTo>
                      <a:pt x="486" y="462"/>
                    </a:lnTo>
                    <a:lnTo>
                      <a:pt x="484" y="462"/>
                    </a:lnTo>
                    <a:lnTo>
                      <a:pt x="477" y="462"/>
                    </a:lnTo>
                    <a:lnTo>
                      <a:pt x="479" y="462"/>
                    </a:lnTo>
                    <a:lnTo>
                      <a:pt x="481" y="462"/>
                    </a:lnTo>
                    <a:lnTo>
                      <a:pt x="479" y="462"/>
                    </a:lnTo>
                    <a:lnTo>
                      <a:pt x="481" y="462"/>
                    </a:lnTo>
                    <a:lnTo>
                      <a:pt x="484" y="462"/>
                    </a:lnTo>
                    <a:lnTo>
                      <a:pt x="482" y="460"/>
                    </a:lnTo>
                    <a:lnTo>
                      <a:pt x="481" y="460"/>
                    </a:lnTo>
                    <a:lnTo>
                      <a:pt x="481" y="458"/>
                    </a:lnTo>
                    <a:lnTo>
                      <a:pt x="479" y="460"/>
                    </a:lnTo>
                    <a:lnTo>
                      <a:pt x="477" y="460"/>
                    </a:lnTo>
                    <a:lnTo>
                      <a:pt x="477" y="462"/>
                    </a:lnTo>
                    <a:lnTo>
                      <a:pt x="475" y="462"/>
                    </a:lnTo>
                    <a:lnTo>
                      <a:pt x="473" y="462"/>
                    </a:lnTo>
                    <a:lnTo>
                      <a:pt x="475" y="460"/>
                    </a:lnTo>
                    <a:lnTo>
                      <a:pt x="473" y="460"/>
                    </a:lnTo>
                    <a:lnTo>
                      <a:pt x="473" y="462"/>
                    </a:lnTo>
                    <a:lnTo>
                      <a:pt x="473" y="460"/>
                    </a:lnTo>
                    <a:lnTo>
                      <a:pt x="473" y="462"/>
                    </a:lnTo>
                    <a:lnTo>
                      <a:pt x="473" y="460"/>
                    </a:lnTo>
                    <a:lnTo>
                      <a:pt x="471" y="460"/>
                    </a:lnTo>
                    <a:lnTo>
                      <a:pt x="473" y="460"/>
                    </a:lnTo>
                    <a:lnTo>
                      <a:pt x="471" y="460"/>
                    </a:lnTo>
                    <a:lnTo>
                      <a:pt x="471" y="462"/>
                    </a:lnTo>
                    <a:lnTo>
                      <a:pt x="471" y="460"/>
                    </a:lnTo>
                    <a:lnTo>
                      <a:pt x="469" y="462"/>
                    </a:lnTo>
                    <a:lnTo>
                      <a:pt x="467" y="462"/>
                    </a:lnTo>
                    <a:lnTo>
                      <a:pt x="467" y="464"/>
                    </a:lnTo>
                    <a:lnTo>
                      <a:pt x="467" y="466"/>
                    </a:lnTo>
                    <a:lnTo>
                      <a:pt x="467" y="464"/>
                    </a:lnTo>
                    <a:lnTo>
                      <a:pt x="467" y="466"/>
                    </a:lnTo>
                    <a:lnTo>
                      <a:pt x="469" y="466"/>
                    </a:lnTo>
                    <a:lnTo>
                      <a:pt x="469" y="464"/>
                    </a:lnTo>
                    <a:lnTo>
                      <a:pt x="469" y="466"/>
                    </a:lnTo>
                    <a:lnTo>
                      <a:pt x="469" y="468"/>
                    </a:lnTo>
                    <a:lnTo>
                      <a:pt x="467" y="468"/>
                    </a:lnTo>
                    <a:lnTo>
                      <a:pt x="467" y="466"/>
                    </a:lnTo>
                    <a:lnTo>
                      <a:pt x="467" y="468"/>
                    </a:lnTo>
                    <a:lnTo>
                      <a:pt x="467" y="466"/>
                    </a:lnTo>
                    <a:lnTo>
                      <a:pt x="467" y="468"/>
                    </a:lnTo>
                    <a:lnTo>
                      <a:pt x="467" y="466"/>
                    </a:lnTo>
                    <a:lnTo>
                      <a:pt x="467" y="468"/>
                    </a:lnTo>
                    <a:lnTo>
                      <a:pt x="465" y="468"/>
                    </a:lnTo>
                    <a:lnTo>
                      <a:pt x="463" y="468"/>
                    </a:lnTo>
                    <a:lnTo>
                      <a:pt x="463" y="466"/>
                    </a:lnTo>
                    <a:lnTo>
                      <a:pt x="461" y="468"/>
                    </a:lnTo>
                    <a:lnTo>
                      <a:pt x="461" y="470"/>
                    </a:lnTo>
                    <a:lnTo>
                      <a:pt x="460" y="470"/>
                    </a:lnTo>
                    <a:lnTo>
                      <a:pt x="458" y="470"/>
                    </a:lnTo>
                    <a:lnTo>
                      <a:pt x="458" y="471"/>
                    </a:lnTo>
                    <a:lnTo>
                      <a:pt x="456" y="471"/>
                    </a:lnTo>
                    <a:lnTo>
                      <a:pt x="456" y="473"/>
                    </a:lnTo>
                    <a:lnTo>
                      <a:pt x="456" y="475"/>
                    </a:lnTo>
                    <a:lnTo>
                      <a:pt x="454" y="475"/>
                    </a:lnTo>
                    <a:lnTo>
                      <a:pt x="452" y="475"/>
                    </a:lnTo>
                    <a:lnTo>
                      <a:pt x="452" y="473"/>
                    </a:lnTo>
                    <a:lnTo>
                      <a:pt x="452" y="475"/>
                    </a:lnTo>
                    <a:lnTo>
                      <a:pt x="452" y="473"/>
                    </a:lnTo>
                    <a:lnTo>
                      <a:pt x="450" y="473"/>
                    </a:lnTo>
                    <a:lnTo>
                      <a:pt x="448" y="473"/>
                    </a:lnTo>
                    <a:lnTo>
                      <a:pt x="446" y="473"/>
                    </a:lnTo>
                    <a:lnTo>
                      <a:pt x="446" y="475"/>
                    </a:lnTo>
                    <a:lnTo>
                      <a:pt x="444" y="475"/>
                    </a:lnTo>
                    <a:lnTo>
                      <a:pt x="444" y="477"/>
                    </a:lnTo>
                    <a:lnTo>
                      <a:pt x="442" y="477"/>
                    </a:lnTo>
                    <a:lnTo>
                      <a:pt x="444" y="477"/>
                    </a:lnTo>
                    <a:lnTo>
                      <a:pt x="442" y="477"/>
                    </a:lnTo>
                    <a:lnTo>
                      <a:pt x="440" y="479"/>
                    </a:lnTo>
                    <a:lnTo>
                      <a:pt x="440" y="477"/>
                    </a:lnTo>
                    <a:lnTo>
                      <a:pt x="440" y="479"/>
                    </a:lnTo>
                    <a:lnTo>
                      <a:pt x="439" y="479"/>
                    </a:lnTo>
                    <a:lnTo>
                      <a:pt x="433" y="481"/>
                    </a:lnTo>
                    <a:lnTo>
                      <a:pt x="431" y="483"/>
                    </a:lnTo>
                    <a:lnTo>
                      <a:pt x="431" y="485"/>
                    </a:lnTo>
                    <a:lnTo>
                      <a:pt x="429" y="485"/>
                    </a:lnTo>
                    <a:lnTo>
                      <a:pt x="431" y="485"/>
                    </a:lnTo>
                    <a:lnTo>
                      <a:pt x="429" y="485"/>
                    </a:lnTo>
                    <a:lnTo>
                      <a:pt x="429" y="487"/>
                    </a:lnTo>
                    <a:lnTo>
                      <a:pt x="427" y="489"/>
                    </a:lnTo>
                    <a:lnTo>
                      <a:pt x="421" y="492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2" y="500"/>
                    </a:lnTo>
                    <a:lnTo>
                      <a:pt x="412" y="502"/>
                    </a:lnTo>
                    <a:lnTo>
                      <a:pt x="410" y="504"/>
                    </a:lnTo>
                    <a:lnTo>
                      <a:pt x="410" y="506"/>
                    </a:lnTo>
                    <a:lnTo>
                      <a:pt x="408" y="506"/>
                    </a:lnTo>
                    <a:lnTo>
                      <a:pt x="406" y="510"/>
                    </a:lnTo>
                    <a:lnTo>
                      <a:pt x="404" y="511"/>
                    </a:lnTo>
                    <a:lnTo>
                      <a:pt x="406" y="511"/>
                    </a:lnTo>
                    <a:lnTo>
                      <a:pt x="404" y="513"/>
                    </a:lnTo>
                    <a:lnTo>
                      <a:pt x="404" y="515"/>
                    </a:lnTo>
                    <a:lnTo>
                      <a:pt x="406" y="515"/>
                    </a:lnTo>
                    <a:lnTo>
                      <a:pt x="406" y="517"/>
                    </a:lnTo>
                    <a:lnTo>
                      <a:pt x="404" y="521"/>
                    </a:lnTo>
                    <a:lnTo>
                      <a:pt x="404" y="523"/>
                    </a:lnTo>
                    <a:lnTo>
                      <a:pt x="402" y="525"/>
                    </a:lnTo>
                    <a:lnTo>
                      <a:pt x="404" y="527"/>
                    </a:lnTo>
                    <a:lnTo>
                      <a:pt x="404" y="529"/>
                    </a:lnTo>
                    <a:lnTo>
                      <a:pt x="404" y="531"/>
                    </a:lnTo>
                    <a:lnTo>
                      <a:pt x="404" y="532"/>
                    </a:lnTo>
                    <a:lnTo>
                      <a:pt x="404" y="534"/>
                    </a:lnTo>
                    <a:lnTo>
                      <a:pt x="406" y="534"/>
                    </a:lnTo>
                    <a:lnTo>
                      <a:pt x="406" y="532"/>
                    </a:lnTo>
                    <a:lnTo>
                      <a:pt x="406" y="534"/>
                    </a:lnTo>
                    <a:lnTo>
                      <a:pt x="406" y="532"/>
                    </a:lnTo>
                    <a:lnTo>
                      <a:pt x="406" y="534"/>
                    </a:lnTo>
                    <a:lnTo>
                      <a:pt x="404" y="534"/>
                    </a:lnTo>
                    <a:lnTo>
                      <a:pt x="404" y="536"/>
                    </a:lnTo>
                    <a:lnTo>
                      <a:pt x="406" y="536"/>
                    </a:lnTo>
                    <a:lnTo>
                      <a:pt x="406" y="538"/>
                    </a:lnTo>
                    <a:lnTo>
                      <a:pt x="404" y="538"/>
                    </a:lnTo>
                    <a:lnTo>
                      <a:pt x="404" y="540"/>
                    </a:lnTo>
                    <a:lnTo>
                      <a:pt x="404" y="542"/>
                    </a:lnTo>
                    <a:lnTo>
                      <a:pt x="404" y="544"/>
                    </a:lnTo>
                    <a:lnTo>
                      <a:pt x="404" y="546"/>
                    </a:lnTo>
                    <a:lnTo>
                      <a:pt x="404" y="548"/>
                    </a:lnTo>
                    <a:lnTo>
                      <a:pt x="404" y="550"/>
                    </a:lnTo>
                    <a:lnTo>
                      <a:pt x="404" y="552"/>
                    </a:lnTo>
                    <a:lnTo>
                      <a:pt x="404" y="553"/>
                    </a:lnTo>
                    <a:lnTo>
                      <a:pt x="402" y="553"/>
                    </a:lnTo>
                    <a:lnTo>
                      <a:pt x="402" y="555"/>
                    </a:lnTo>
                    <a:lnTo>
                      <a:pt x="402" y="557"/>
                    </a:lnTo>
                    <a:lnTo>
                      <a:pt x="402" y="559"/>
                    </a:lnTo>
                    <a:lnTo>
                      <a:pt x="400" y="559"/>
                    </a:lnTo>
                    <a:lnTo>
                      <a:pt x="400" y="561"/>
                    </a:lnTo>
                    <a:lnTo>
                      <a:pt x="397" y="563"/>
                    </a:lnTo>
                    <a:lnTo>
                      <a:pt x="393" y="565"/>
                    </a:lnTo>
                    <a:lnTo>
                      <a:pt x="391" y="567"/>
                    </a:lnTo>
                    <a:lnTo>
                      <a:pt x="387" y="573"/>
                    </a:lnTo>
                    <a:lnTo>
                      <a:pt x="383" y="578"/>
                    </a:lnTo>
                    <a:lnTo>
                      <a:pt x="381" y="580"/>
                    </a:lnTo>
                    <a:lnTo>
                      <a:pt x="381" y="584"/>
                    </a:lnTo>
                    <a:lnTo>
                      <a:pt x="378" y="595"/>
                    </a:lnTo>
                    <a:lnTo>
                      <a:pt x="370" y="607"/>
                    </a:lnTo>
                    <a:lnTo>
                      <a:pt x="362" y="615"/>
                    </a:lnTo>
                    <a:lnTo>
                      <a:pt x="358" y="616"/>
                    </a:lnTo>
                    <a:lnTo>
                      <a:pt x="353" y="622"/>
                    </a:lnTo>
                    <a:lnTo>
                      <a:pt x="351" y="624"/>
                    </a:lnTo>
                    <a:lnTo>
                      <a:pt x="349" y="626"/>
                    </a:lnTo>
                    <a:lnTo>
                      <a:pt x="349" y="624"/>
                    </a:lnTo>
                    <a:lnTo>
                      <a:pt x="349" y="626"/>
                    </a:lnTo>
                    <a:lnTo>
                      <a:pt x="347" y="628"/>
                    </a:lnTo>
                    <a:lnTo>
                      <a:pt x="345" y="630"/>
                    </a:lnTo>
                    <a:lnTo>
                      <a:pt x="343" y="634"/>
                    </a:lnTo>
                    <a:lnTo>
                      <a:pt x="343" y="639"/>
                    </a:lnTo>
                    <a:lnTo>
                      <a:pt x="339" y="643"/>
                    </a:lnTo>
                    <a:lnTo>
                      <a:pt x="338" y="647"/>
                    </a:lnTo>
                    <a:lnTo>
                      <a:pt x="328" y="655"/>
                    </a:lnTo>
                    <a:lnTo>
                      <a:pt x="326" y="655"/>
                    </a:lnTo>
                    <a:lnTo>
                      <a:pt x="326" y="649"/>
                    </a:lnTo>
                    <a:lnTo>
                      <a:pt x="326" y="645"/>
                    </a:lnTo>
                    <a:lnTo>
                      <a:pt x="326" y="643"/>
                    </a:lnTo>
                    <a:lnTo>
                      <a:pt x="330" y="641"/>
                    </a:lnTo>
                    <a:lnTo>
                      <a:pt x="330" y="639"/>
                    </a:lnTo>
                    <a:lnTo>
                      <a:pt x="332" y="637"/>
                    </a:lnTo>
                    <a:lnTo>
                      <a:pt x="334" y="636"/>
                    </a:lnTo>
                    <a:lnTo>
                      <a:pt x="332" y="636"/>
                    </a:lnTo>
                    <a:lnTo>
                      <a:pt x="332" y="634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2"/>
                    </a:lnTo>
                    <a:lnTo>
                      <a:pt x="326" y="632"/>
                    </a:lnTo>
                    <a:lnTo>
                      <a:pt x="324" y="630"/>
                    </a:lnTo>
                    <a:lnTo>
                      <a:pt x="324" y="628"/>
                    </a:lnTo>
                    <a:lnTo>
                      <a:pt x="324" y="626"/>
                    </a:lnTo>
                    <a:lnTo>
                      <a:pt x="322" y="626"/>
                    </a:lnTo>
                    <a:lnTo>
                      <a:pt x="322" y="624"/>
                    </a:lnTo>
                    <a:lnTo>
                      <a:pt x="320" y="622"/>
                    </a:lnTo>
                    <a:lnTo>
                      <a:pt x="318" y="622"/>
                    </a:lnTo>
                    <a:lnTo>
                      <a:pt x="318" y="620"/>
                    </a:lnTo>
                    <a:lnTo>
                      <a:pt x="317" y="620"/>
                    </a:lnTo>
                    <a:lnTo>
                      <a:pt x="311" y="616"/>
                    </a:lnTo>
                    <a:lnTo>
                      <a:pt x="311" y="615"/>
                    </a:lnTo>
                    <a:lnTo>
                      <a:pt x="311" y="613"/>
                    </a:lnTo>
                    <a:lnTo>
                      <a:pt x="309" y="613"/>
                    </a:lnTo>
                    <a:lnTo>
                      <a:pt x="307" y="611"/>
                    </a:lnTo>
                    <a:lnTo>
                      <a:pt x="305" y="613"/>
                    </a:lnTo>
                    <a:lnTo>
                      <a:pt x="305" y="611"/>
                    </a:lnTo>
                    <a:lnTo>
                      <a:pt x="303" y="611"/>
                    </a:lnTo>
                    <a:lnTo>
                      <a:pt x="303" y="609"/>
                    </a:lnTo>
                    <a:lnTo>
                      <a:pt x="301" y="611"/>
                    </a:lnTo>
                    <a:lnTo>
                      <a:pt x="301" y="609"/>
                    </a:lnTo>
                    <a:lnTo>
                      <a:pt x="299" y="609"/>
                    </a:lnTo>
                    <a:lnTo>
                      <a:pt x="299" y="607"/>
                    </a:lnTo>
                    <a:lnTo>
                      <a:pt x="297" y="607"/>
                    </a:lnTo>
                    <a:lnTo>
                      <a:pt x="299" y="607"/>
                    </a:lnTo>
                    <a:lnTo>
                      <a:pt x="297" y="607"/>
                    </a:lnTo>
                    <a:lnTo>
                      <a:pt x="297" y="605"/>
                    </a:lnTo>
                    <a:lnTo>
                      <a:pt x="296" y="605"/>
                    </a:lnTo>
                    <a:lnTo>
                      <a:pt x="296" y="603"/>
                    </a:lnTo>
                    <a:lnTo>
                      <a:pt x="294" y="601"/>
                    </a:lnTo>
                    <a:lnTo>
                      <a:pt x="292" y="601"/>
                    </a:lnTo>
                    <a:lnTo>
                      <a:pt x="292" y="603"/>
                    </a:lnTo>
                    <a:lnTo>
                      <a:pt x="290" y="603"/>
                    </a:lnTo>
                    <a:lnTo>
                      <a:pt x="290" y="605"/>
                    </a:lnTo>
                    <a:lnTo>
                      <a:pt x="288" y="603"/>
                    </a:lnTo>
                    <a:lnTo>
                      <a:pt x="286" y="599"/>
                    </a:lnTo>
                    <a:lnTo>
                      <a:pt x="284" y="599"/>
                    </a:lnTo>
                    <a:lnTo>
                      <a:pt x="284" y="597"/>
                    </a:lnTo>
                    <a:lnTo>
                      <a:pt x="284" y="595"/>
                    </a:lnTo>
                    <a:lnTo>
                      <a:pt x="282" y="595"/>
                    </a:lnTo>
                    <a:lnTo>
                      <a:pt x="280" y="594"/>
                    </a:lnTo>
                    <a:lnTo>
                      <a:pt x="280" y="592"/>
                    </a:lnTo>
                    <a:lnTo>
                      <a:pt x="278" y="594"/>
                    </a:lnTo>
                    <a:lnTo>
                      <a:pt x="278" y="592"/>
                    </a:lnTo>
                    <a:lnTo>
                      <a:pt x="278" y="590"/>
                    </a:lnTo>
                    <a:lnTo>
                      <a:pt x="276" y="592"/>
                    </a:lnTo>
                    <a:lnTo>
                      <a:pt x="276" y="590"/>
                    </a:lnTo>
                    <a:lnTo>
                      <a:pt x="276" y="588"/>
                    </a:lnTo>
                    <a:lnTo>
                      <a:pt x="275" y="588"/>
                    </a:lnTo>
                    <a:lnTo>
                      <a:pt x="273" y="588"/>
                    </a:lnTo>
                    <a:lnTo>
                      <a:pt x="271" y="588"/>
                    </a:lnTo>
                    <a:lnTo>
                      <a:pt x="271" y="586"/>
                    </a:lnTo>
                    <a:lnTo>
                      <a:pt x="271" y="588"/>
                    </a:lnTo>
                    <a:lnTo>
                      <a:pt x="271" y="586"/>
                    </a:lnTo>
                    <a:lnTo>
                      <a:pt x="269" y="588"/>
                    </a:lnTo>
                    <a:lnTo>
                      <a:pt x="269" y="590"/>
                    </a:lnTo>
                    <a:lnTo>
                      <a:pt x="267" y="590"/>
                    </a:lnTo>
                    <a:lnTo>
                      <a:pt x="267" y="592"/>
                    </a:lnTo>
                    <a:lnTo>
                      <a:pt x="267" y="590"/>
                    </a:lnTo>
                    <a:lnTo>
                      <a:pt x="265" y="590"/>
                    </a:lnTo>
                    <a:lnTo>
                      <a:pt x="265" y="592"/>
                    </a:lnTo>
                    <a:lnTo>
                      <a:pt x="265" y="590"/>
                    </a:lnTo>
                    <a:lnTo>
                      <a:pt x="263" y="590"/>
                    </a:lnTo>
                    <a:lnTo>
                      <a:pt x="261" y="590"/>
                    </a:lnTo>
                    <a:lnTo>
                      <a:pt x="261" y="588"/>
                    </a:lnTo>
                    <a:lnTo>
                      <a:pt x="263" y="588"/>
                    </a:lnTo>
                    <a:lnTo>
                      <a:pt x="265" y="586"/>
                    </a:lnTo>
                    <a:lnTo>
                      <a:pt x="265" y="584"/>
                    </a:lnTo>
                    <a:lnTo>
                      <a:pt x="265" y="582"/>
                    </a:lnTo>
                    <a:lnTo>
                      <a:pt x="267" y="582"/>
                    </a:lnTo>
                    <a:lnTo>
                      <a:pt x="269" y="582"/>
                    </a:lnTo>
                    <a:lnTo>
                      <a:pt x="269" y="580"/>
                    </a:lnTo>
                    <a:lnTo>
                      <a:pt x="271" y="580"/>
                    </a:lnTo>
                    <a:lnTo>
                      <a:pt x="271" y="578"/>
                    </a:lnTo>
                    <a:lnTo>
                      <a:pt x="273" y="578"/>
                    </a:lnTo>
                    <a:lnTo>
                      <a:pt x="273" y="576"/>
                    </a:lnTo>
                    <a:lnTo>
                      <a:pt x="275" y="576"/>
                    </a:lnTo>
                    <a:lnTo>
                      <a:pt x="275" y="574"/>
                    </a:lnTo>
                    <a:lnTo>
                      <a:pt x="276" y="574"/>
                    </a:lnTo>
                    <a:lnTo>
                      <a:pt x="276" y="573"/>
                    </a:lnTo>
                    <a:lnTo>
                      <a:pt x="276" y="571"/>
                    </a:lnTo>
                    <a:lnTo>
                      <a:pt x="278" y="569"/>
                    </a:lnTo>
                    <a:lnTo>
                      <a:pt x="280" y="569"/>
                    </a:lnTo>
                    <a:lnTo>
                      <a:pt x="280" y="567"/>
                    </a:lnTo>
                    <a:lnTo>
                      <a:pt x="282" y="565"/>
                    </a:lnTo>
                    <a:lnTo>
                      <a:pt x="282" y="563"/>
                    </a:lnTo>
                    <a:lnTo>
                      <a:pt x="284" y="563"/>
                    </a:lnTo>
                    <a:lnTo>
                      <a:pt x="284" y="561"/>
                    </a:lnTo>
                    <a:lnTo>
                      <a:pt x="286" y="561"/>
                    </a:lnTo>
                    <a:lnTo>
                      <a:pt x="286" y="559"/>
                    </a:lnTo>
                    <a:lnTo>
                      <a:pt x="286" y="557"/>
                    </a:lnTo>
                    <a:lnTo>
                      <a:pt x="288" y="557"/>
                    </a:lnTo>
                    <a:lnTo>
                      <a:pt x="288" y="555"/>
                    </a:lnTo>
                    <a:lnTo>
                      <a:pt x="292" y="555"/>
                    </a:lnTo>
                    <a:lnTo>
                      <a:pt x="292" y="557"/>
                    </a:lnTo>
                    <a:lnTo>
                      <a:pt x="292" y="555"/>
                    </a:lnTo>
                    <a:lnTo>
                      <a:pt x="292" y="553"/>
                    </a:lnTo>
                    <a:lnTo>
                      <a:pt x="290" y="553"/>
                    </a:lnTo>
                    <a:lnTo>
                      <a:pt x="292" y="553"/>
                    </a:lnTo>
                    <a:lnTo>
                      <a:pt x="294" y="552"/>
                    </a:lnTo>
                    <a:lnTo>
                      <a:pt x="296" y="550"/>
                    </a:lnTo>
                    <a:lnTo>
                      <a:pt x="296" y="552"/>
                    </a:lnTo>
                    <a:lnTo>
                      <a:pt x="296" y="550"/>
                    </a:lnTo>
                    <a:lnTo>
                      <a:pt x="297" y="550"/>
                    </a:lnTo>
                    <a:lnTo>
                      <a:pt x="297" y="548"/>
                    </a:lnTo>
                    <a:lnTo>
                      <a:pt x="299" y="548"/>
                    </a:lnTo>
                    <a:lnTo>
                      <a:pt x="299" y="546"/>
                    </a:lnTo>
                    <a:lnTo>
                      <a:pt x="301" y="548"/>
                    </a:lnTo>
                    <a:lnTo>
                      <a:pt x="301" y="546"/>
                    </a:lnTo>
                    <a:lnTo>
                      <a:pt x="303" y="546"/>
                    </a:lnTo>
                    <a:lnTo>
                      <a:pt x="301" y="546"/>
                    </a:lnTo>
                    <a:lnTo>
                      <a:pt x="301" y="544"/>
                    </a:lnTo>
                    <a:lnTo>
                      <a:pt x="303" y="546"/>
                    </a:lnTo>
                    <a:lnTo>
                      <a:pt x="303" y="544"/>
                    </a:lnTo>
                    <a:lnTo>
                      <a:pt x="305" y="544"/>
                    </a:lnTo>
                    <a:lnTo>
                      <a:pt x="305" y="542"/>
                    </a:lnTo>
                    <a:lnTo>
                      <a:pt x="305" y="540"/>
                    </a:lnTo>
                    <a:lnTo>
                      <a:pt x="307" y="542"/>
                    </a:lnTo>
                    <a:lnTo>
                      <a:pt x="307" y="540"/>
                    </a:lnTo>
                    <a:lnTo>
                      <a:pt x="307" y="542"/>
                    </a:lnTo>
                    <a:lnTo>
                      <a:pt x="307" y="540"/>
                    </a:lnTo>
                    <a:lnTo>
                      <a:pt x="309" y="540"/>
                    </a:lnTo>
                    <a:lnTo>
                      <a:pt x="309" y="538"/>
                    </a:lnTo>
                    <a:lnTo>
                      <a:pt x="311" y="540"/>
                    </a:lnTo>
                    <a:lnTo>
                      <a:pt x="311" y="538"/>
                    </a:lnTo>
                    <a:lnTo>
                      <a:pt x="313" y="538"/>
                    </a:lnTo>
                    <a:lnTo>
                      <a:pt x="313" y="540"/>
                    </a:lnTo>
                    <a:lnTo>
                      <a:pt x="313" y="538"/>
                    </a:lnTo>
                    <a:lnTo>
                      <a:pt x="315" y="538"/>
                    </a:lnTo>
                    <a:lnTo>
                      <a:pt x="317" y="536"/>
                    </a:lnTo>
                    <a:lnTo>
                      <a:pt x="318" y="536"/>
                    </a:lnTo>
                    <a:lnTo>
                      <a:pt x="318" y="534"/>
                    </a:lnTo>
                    <a:lnTo>
                      <a:pt x="320" y="534"/>
                    </a:lnTo>
                    <a:lnTo>
                      <a:pt x="320" y="532"/>
                    </a:lnTo>
                    <a:lnTo>
                      <a:pt x="322" y="534"/>
                    </a:lnTo>
                    <a:lnTo>
                      <a:pt x="322" y="532"/>
                    </a:lnTo>
                    <a:lnTo>
                      <a:pt x="322" y="531"/>
                    </a:lnTo>
                    <a:lnTo>
                      <a:pt x="322" y="532"/>
                    </a:lnTo>
                    <a:lnTo>
                      <a:pt x="322" y="531"/>
                    </a:lnTo>
                    <a:lnTo>
                      <a:pt x="324" y="531"/>
                    </a:lnTo>
                    <a:lnTo>
                      <a:pt x="324" y="529"/>
                    </a:lnTo>
                    <a:lnTo>
                      <a:pt x="324" y="527"/>
                    </a:lnTo>
                    <a:lnTo>
                      <a:pt x="322" y="527"/>
                    </a:lnTo>
                    <a:lnTo>
                      <a:pt x="324" y="527"/>
                    </a:lnTo>
                    <a:lnTo>
                      <a:pt x="322" y="527"/>
                    </a:lnTo>
                    <a:lnTo>
                      <a:pt x="322" y="525"/>
                    </a:lnTo>
                    <a:lnTo>
                      <a:pt x="322" y="527"/>
                    </a:lnTo>
                    <a:lnTo>
                      <a:pt x="322" y="525"/>
                    </a:lnTo>
                    <a:lnTo>
                      <a:pt x="322" y="523"/>
                    </a:lnTo>
                    <a:lnTo>
                      <a:pt x="324" y="523"/>
                    </a:lnTo>
                    <a:lnTo>
                      <a:pt x="322" y="523"/>
                    </a:lnTo>
                    <a:lnTo>
                      <a:pt x="324" y="523"/>
                    </a:lnTo>
                    <a:lnTo>
                      <a:pt x="324" y="521"/>
                    </a:lnTo>
                    <a:lnTo>
                      <a:pt x="324" y="519"/>
                    </a:lnTo>
                    <a:lnTo>
                      <a:pt x="324" y="517"/>
                    </a:lnTo>
                    <a:lnTo>
                      <a:pt x="322" y="515"/>
                    </a:lnTo>
                    <a:lnTo>
                      <a:pt x="322" y="513"/>
                    </a:lnTo>
                    <a:lnTo>
                      <a:pt x="320" y="511"/>
                    </a:lnTo>
                    <a:lnTo>
                      <a:pt x="322" y="511"/>
                    </a:lnTo>
                    <a:lnTo>
                      <a:pt x="320" y="511"/>
                    </a:lnTo>
                    <a:lnTo>
                      <a:pt x="322" y="511"/>
                    </a:lnTo>
                    <a:lnTo>
                      <a:pt x="320" y="510"/>
                    </a:lnTo>
                    <a:lnTo>
                      <a:pt x="322" y="510"/>
                    </a:lnTo>
                    <a:lnTo>
                      <a:pt x="320" y="510"/>
                    </a:lnTo>
                    <a:lnTo>
                      <a:pt x="322" y="510"/>
                    </a:lnTo>
                    <a:lnTo>
                      <a:pt x="320" y="510"/>
                    </a:lnTo>
                    <a:lnTo>
                      <a:pt x="322" y="510"/>
                    </a:lnTo>
                    <a:lnTo>
                      <a:pt x="320" y="508"/>
                    </a:lnTo>
                    <a:lnTo>
                      <a:pt x="320" y="506"/>
                    </a:lnTo>
                    <a:lnTo>
                      <a:pt x="320" y="508"/>
                    </a:lnTo>
                    <a:lnTo>
                      <a:pt x="318" y="508"/>
                    </a:lnTo>
                    <a:lnTo>
                      <a:pt x="318" y="506"/>
                    </a:lnTo>
                    <a:lnTo>
                      <a:pt x="317" y="506"/>
                    </a:lnTo>
                    <a:lnTo>
                      <a:pt x="317" y="504"/>
                    </a:lnTo>
                    <a:lnTo>
                      <a:pt x="317" y="506"/>
                    </a:lnTo>
                    <a:lnTo>
                      <a:pt x="315" y="506"/>
                    </a:lnTo>
                    <a:lnTo>
                      <a:pt x="317" y="506"/>
                    </a:lnTo>
                    <a:lnTo>
                      <a:pt x="315" y="506"/>
                    </a:lnTo>
                    <a:lnTo>
                      <a:pt x="313" y="506"/>
                    </a:lnTo>
                    <a:lnTo>
                      <a:pt x="313" y="508"/>
                    </a:lnTo>
                    <a:lnTo>
                      <a:pt x="311" y="508"/>
                    </a:lnTo>
                    <a:lnTo>
                      <a:pt x="311" y="506"/>
                    </a:lnTo>
                    <a:lnTo>
                      <a:pt x="309" y="506"/>
                    </a:lnTo>
                    <a:lnTo>
                      <a:pt x="309" y="504"/>
                    </a:lnTo>
                    <a:lnTo>
                      <a:pt x="309" y="502"/>
                    </a:lnTo>
                    <a:lnTo>
                      <a:pt x="311" y="500"/>
                    </a:lnTo>
                    <a:lnTo>
                      <a:pt x="311" y="498"/>
                    </a:lnTo>
                    <a:lnTo>
                      <a:pt x="313" y="498"/>
                    </a:lnTo>
                    <a:lnTo>
                      <a:pt x="311" y="498"/>
                    </a:lnTo>
                    <a:lnTo>
                      <a:pt x="311" y="496"/>
                    </a:lnTo>
                    <a:lnTo>
                      <a:pt x="313" y="492"/>
                    </a:lnTo>
                    <a:lnTo>
                      <a:pt x="313" y="491"/>
                    </a:lnTo>
                    <a:lnTo>
                      <a:pt x="313" y="489"/>
                    </a:lnTo>
                    <a:lnTo>
                      <a:pt x="313" y="487"/>
                    </a:lnTo>
                    <a:lnTo>
                      <a:pt x="315" y="485"/>
                    </a:lnTo>
                    <a:lnTo>
                      <a:pt x="315" y="483"/>
                    </a:lnTo>
                    <a:lnTo>
                      <a:pt x="313" y="483"/>
                    </a:lnTo>
                    <a:lnTo>
                      <a:pt x="313" y="481"/>
                    </a:lnTo>
                    <a:lnTo>
                      <a:pt x="315" y="479"/>
                    </a:lnTo>
                    <a:lnTo>
                      <a:pt x="313" y="479"/>
                    </a:lnTo>
                    <a:lnTo>
                      <a:pt x="313" y="477"/>
                    </a:lnTo>
                    <a:lnTo>
                      <a:pt x="311" y="477"/>
                    </a:lnTo>
                    <a:lnTo>
                      <a:pt x="311" y="475"/>
                    </a:lnTo>
                    <a:lnTo>
                      <a:pt x="309" y="475"/>
                    </a:lnTo>
                    <a:lnTo>
                      <a:pt x="307" y="475"/>
                    </a:lnTo>
                    <a:lnTo>
                      <a:pt x="305" y="475"/>
                    </a:lnTo>
                    <a:lnTo>
                      <a:pt x="305" y="477"/>
                    </a:lnTo>
                    <a:lnTo>
                      <a:pt x="303" y="477"/>
                    </a:lnTo>
                    <a:lnTo>
                      <a:pt x="301" y="477"/>
                    </a:lnTo>
                    <a:lnTo>
                      <a:pt x="299" y="477"/>
                    </a:lnTo>
                    <a:lnTo>
                      <a:pt x="299" y="479"/>
                    </a:lnTo>
                    <a:lnTo>
                      <a:pt x="297" y="477"/>
                    </a:lnTo>
                    <a:lnTo>
                      <a:pt x="296" y="477"/>
                    </a:lnTo>
                    <a:lnTo>
                      <a:pt x="296" y="475"/>
                    </a:lnTo>
                    <a:lnTo>
                      <a:pt x="296" y="473"/>
                    </a:lnTo>
                    <a:lnTo>
                      <a:pt x="296" y="471"/>
                    </a:lnTo>
                    <a:lnTo>
                      <a:pt x="294" y="471"/>
                    </a:lnTo>
                    <a:lnTo>
                      <a:pt x="294" y="470"/>
                    </a:lnTo>
                    <a:lnTo>
                      <a:pt x="294" y="468"/>
                    </a:lnTo>
                    <a:lnTo>
                      <a:pt x="296" y="468"/>
                    </a:lnTo>
                    <a:lnTo>
                      <a:pt x="294" y="466"/>
                    </a:lnTo>
                    <a:lnTo>
                      <a:pt x="294" y="464"/>
                    </a:lnTo>
                    <a:lnTo>
                      <a:pt x="294" y="462"/>
                    </a:lnTo>
                    <a:lnTo>
                      <a:pt x="292" y="462"/>
                    </a:lnTo>
                    <a:lnTo>
                      <a:pt x="294" y="460"/>
                    </a:lnTo>
                    <a:lnTo>
                      <a:pt x="292" y="460"/>
                    </a:lnTo>
                    <a:lnTo>
                      <a:pt x="292" y="458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4"/>
                    </a:lnTo>
                    <a:lnTo>
                      <a:pt x="292" y="452"/>
                    </a:lnTo>
                    <a:lnTo>
                      <a:pt x="292" y="450"/>
                    </a:lnTo>
                    <a:lnTo>
                      <a:pt x="290" y="450"/>
                    </a:lnTo>
                    <a:lnTo>
                      <a:pt x="290" y="449"/>
                    </a:lnTo>
                    <a:lnTo>
                      <a:pt x="288" y="449"/>
                    </a:lnTo>
                    <a:lnTo>
                      <a:pt x="286" y="449"/>
                    </a:lnTo>
                    <a:lnTo>
                      <a:pt x="284" y="449"/>
                    </a:lnTo>
                    <a:lnTo>
                      <a:pt x="282" y="447"/>
                    </a:lnTo>
                    <a:lnTo>
                      <a:pt x="280" y="447"/>
                    </a:lnTo>
                    <a:lnTo>
                      <a:pt x="280" y="445"/>
                    </a:lnTo>
                    <a:lnTo>
                      <a:pt x="278" y="445"/>
                    </a:lnTo>
                    <a:lnTo>
                      <a:pt x="278" y="447"/>
                    </a:lnTo>
                    <a:lnTo>
                      <a:pt x="276" y="447"/>
                    </a:lnTo>
                    <a:lnTo>
                      <a:pt x="276" y="449"/>
                    </a:lnTo>
                    <a:lnTo>
                      <a:pt x="276" y="447"/>
                    </a:lnTo>
                    <a:lnTo>
                      <a:pt x="275" y="449"/>
                    </a:lnTo>
                    <a:lnTo>
                      <a:pt x="275" y="447"/>
                    </a:lnTo>
                    <a:lnTo>
                      <a:pt x="275" y="449"/>
                    </a:lnTo>
                    <a:lnTo>
                      <a:pt x="273" y="449"/>
                    </a:lnTo>
                    <a:lnTo>
                      <a:pt x="271" y="447"/>
                    </a:lnTo>
                    <a:lnTo>
                      <a:pt x="271" y="449"/>
                    </a:lnTo>
                    <a:lnTo>
                      <a:pt x="271" y="447"/>
                    </a:lnTo>
                    <a:lnTo>
                      <a:pt x="271" y="449"/>
                    </a:lnTo>
                    <a:lnTo>
                      <a:pt x="271" y="447"/>
                    </a:lnTo>
                    <a:lnTo>
                      <a:pt x="271" y="449"/>
                    </a:lnTo>
                    <a:lnTo>
                      <a:pt x="269" y="449"/>
                    </a:lnTo>
                    <a:lnTo>
                      <a:pt x="269" y="447"/>
                    </a:lnTo>
                    <a:lnTo>
                      <a:pt x="267" y="447"/>
                    </a:lnTo>
                    <a:lnTo>
                      <a:pt x="267" y="449"/>
                    </a:lnTo>
                    <a:lnTo>
                      <a:pt x="267" y="447"/>
                    </a:lnTo>
                    <a:lnTo>
                      <a:pt x="265" y="449"/>
                    </a:lnTo>
                    <a:lnTo>
                      <a:pt x="265" y="447"/>
                    </a:lnTo>
                    <a:lnTo>
                      <a:pt x="263" y="447"/>
                    </a:lnTo>
                    <a:lnTo>
                      <a:pt x="261" y="447"/>
                    </a:lnTo>
                    <a:lnTo>
                      <a:pt x="261" y="445"/>
                    </a:lnTo>
                    <a:lnTo>
                      <a:pt x="259" y="445"/>
                    </a:lnTo>
                    <a:lnTo>
                      <a:pt x="259" y="447"/>
                    </a:lnTo>
                    <a:lnTo>
                      <a:pt x="259" y="445"/>
                    </a:lnTo>
                    <a:lnTo>
                      <a:pt x="257" y="447"/>
                    </a:lnTo>
                    <a:lnTo>
                      <a:pt x="257" y="445"/>
                    </a:lnTo>
                    <a:lnTo>
                      <a:pt x="257" y="447"/>
                    </a:lnTo>
                    <a:lnTo>
                      <a:pt x="256" y="445"/>
                    </a:lnTo>
                    <a:lnTo>
                      <a:pt x="256" y="443"/>
                    </a:lnTo>
                    <a:lnTo>
                      <a:pt x="256" y="441"/>
                    </a:lnTo>
                    <a:lnTo>
                      <a:pt x="257" y="441"/>
                    </a:lnTo>
                    <a:lnTo>
                      <a:pt x="256" y="441"/>
                    </a:lnTo>
                    <a:lnTo>
                      <a:pt x="257" y="439"/>
                    </a:lnTo>
                    <a:lnTo>
                      <a:pt x="256" y="439"/>
                    </a:lnTo>
                    <a:lnTo>
                      <a:pt x="257" y="439"/>
                    </a:lnTo>
                    <a:lnTo>
                      <a:pt x="256" y="437"/>
                    </a:lnTo>
                    <a:lnTo>
                      <a:pt x="257" y="437"/>
                    </a:lnTo>
                    <a:lnTo>
                      <a:pt x="256" y="435"/>
                    </a:lnTo>
                    <a:lnTo>
                      <a:pt x="257" y="433"/>
                    </a:lnTo>
                    <a:lnTo>
                      <a:pt x="257" y="431"/>
                    </a:lnTo>
                    <a:lnTo>
                      <a:pt x="256" y="431"/>
                    </a:lnTo>
                    <a:lnTo>
                      <a:pt x="257" y="429"/>
                    </a:lnTo>
                    <a:lnTo>
                      <a:pt x="257" y="428"/>
                    </a:lnTo>
                    <a:lnTo>
                      <a:pt x="257" y="426"/>
                    </a:lnTo>
                    <a:lnTo>
                      <a:pt x="256" y="424"/>
                    </a:lnTo>
                    <a:lnTo>
                      <a:pt x="257" y="424"/>
                    </a:lnTo>
                    <a:lnTo>
                      <a:pt x="257" y="422"/>
                    </a:lnTo>
                    <a:lnTo>
                      <a:pt x="256" y="424"/>
                    </a:lnTo>
                    <a:lnTo>
                      <a:pt x="256" y="422"/>
                    </a:lnTo>
                    <a:lnTo>
                      <a:pt x="257" y="422"/>
                    </a:lnTo>
                    <a:lnTo>
                      <a:pt x="256" y="420"/>
                    </a:lnTo>
                    <a:lnTo>
                      <a:pt x="256" y="422"/>
                    </a:lnTo>
                    <a:lnTo>
                      <a:pt x="256" y="420"/>
                    </a:lnTo>
                    <a:lnTo>
                      <a:pt x="256" y="418"/>
                    </a:lnTo>
                    <a:lnTo>
                      <a:pt x="256" y="416"/>
                    </a:lnTo>
                    <a:lnTo>
                      <a:pt x="254" y="416"/>
                    </a:lnTo>
                    <a:lnTo>
                      <a:pt x="254" y="414"/>
                    </a:lnTo>
                    <a:lnTo>
                      <a:pt x="252" y="414"/>
                    </a:lnTo>
                    <a:lnTo>
                      <a:pt x="254" y="412"/>
                    </a:lnTo>
                    <a:lnTo>
                      <a:pt x="252" y="412"/>
                    </a:lnTo>
                    <a:lnTo>
                      <a:pt x="254" y="412"/>
                    </a:lnTo>
                    <a:lnTo>
                      <a:pt x="254" y="410"/>
                    </a:lnTo>
                    <a:lnTo>
                      <a:pt x="256" y="410"/>
                    </a:lnTo>
                    <a:lnTo>
                      <a:pt x="257" y="410"/>
                    </a:lnTo>
                    <a:lnTo>
                      <a:pt x="257" y="408"/>
                    </a:lnTo>
                    <a:lnTo>
                      <a:pt x="254" y="405"/>
                    </a:lnTo>
                    <a:lnTo>
                      <a:pt x="259" y="393"/>
                    </a:lnTo>
                    <a:lnTo>
                      <a:pt x="259" y="391"/>
                    </a:lnTo>
                    <a:lnTo>
                      <a:pt x="261" y="380"/>
                    </a:lnTo>
                    <a:lnTo>
                      <a:pt x="263" y="380"/>
                    </a:lnTo>
                    <a:lnTo>
                      <a:pt x="261" y="378"/>
                    </a:lnTo>
                    <a:lnTo>
                      <a:pt x="261" y="376"/>
                    </a:lnTo>
                    <a:lnTo>
                      <a:pt x="259" y="372"/>
                    </a:lnTo>
                    <a:lnTo>
                      <a:pt x="259" y="370"/>
                    </a:lnTo>
                    <a:lnTo>
                      <a:pt x="259" y="368"/>
                    </a:lnTo>
                    <a:lnTo>
                      <a:pt x="257" y="366"/>
                    </a:lnTo>
                    <a:lnTo>
                      <a:pt x="256" y="368"/>
                    </a:lnTo>
                    <a:lnTo>
                      <a:pt x="254" y="366"/>
                    </a:lnTo>
                    <a:lnTo>
                      <a:pt x="252" y="365"/>
                    </a:lnTo>
                    <a:lnTo>
                      <a:pt x="250" y="365"/>
                    </a:lnTo>
                    <a:lnTo>
                      <a:pt x="250" y="363"/>
                    </a:lnTo>
                    <a:lnTo>
                      <a:pt x="248" y="363"/>
                    </a:lnTo>
                    <a:lnTo>
                      <a:pt x="248" y="361"/>
                    </a:lnTo>
                    <a:lnTo>
                      <a:pt x="248" y="359"/>
                    </a:lnTo>
                    <a:lnTo>
                      <a:pt x="248" y="357"/>
                    </a:lnTo>
                    <a:lnTo>
                      <a:pt x="248" y="355"/>
                    </a:lnTo>
                    <a:lnTo>
                      <a:pt x="248" y="353"/>
                    </a:lnTo>
                    <a:lnTo>
                      <a:pt x="250" y="351"/>
                    </a:lnTo>
                    <a:lnTo>
                      <a:pt x="250" y="349"/>
                    </a:lnTo>
                    <a:lnTo>
                      <a:pt x="250" y="347"/>
                    </a:lnTo>
                    <a:lnTo>
                      <a:pt x="248" y="347"/>
                    </a:lnTo>
                    <a:lnTo>
                      <a:pt x="231" y="347"/>
                    </a:lnTo>
                    <a:lnTo>
                      <a:pt x="221" y="347"/>
                    </a:lnTo>
                    <a:lnTo>
                      <a:pt x="219" y="334"/>
                    </a:lnTo>
                    <a:lnTo>
                      <a:pt x="214" y="328"/>
                    </a:lnTo>
                    <a:lnTo>
                      <a:pt x="219" y="328"/>
                    </a:lnTo>
                    <a:lnTo>
                      <a:pt x="219" y="319"/>
                    </a:lnTo>
                    <a:lnTo>
                      <a:pt x="217" y="319"/>
                    </a:lnTo>
                    <a:lnTo>
                      <a:pt x="217" y="317"/>
                    </a:lnTo>
                    <a:lnTo>
                      <a:pt x="217" y="315"/>
                    </a:lnTo>
                    <a:lnTo>
                      <a:pt x="215" y="315"/>
                    </a:lnTo>
                    <a:lnTo>
                      <a:pt x="215" y="313"/>
                    </a:lnTo>
                    <a:lnTo>
                      <a:pt x="215" y="311"/>
                    </a:lnTo>
                    <a:lnTo>
                      <a:pt x="217" y="309"/>
                    </a:lnTo>
                    <a:lnTo>
                      <a:pt x="215" y="309"/>
                    </a:lnTo>
                    <a:lnTo>
                      <a:pt x="215" y="307"/>
                    </a:lnTo>
                    <a:lnTo>
                      <a:pt x="215" y="305"/>
                    </a:lnTo>
                    <a:lnTo>
                      <a:pt x="214" y="305"/>
                    </a:lnTo>
                    <a:lnTo>
                      <a:pt x="212" y="305"/>
                    </a:lnTo>
                    <a:lnTo>
                      <a:pt x="212" y="304"/>
                    </a:lnTo>
                    <a:lnTo>
                      <a:pt x="210" y="304"/>
                    </a:lnTo>
                    <a:lnTo>
                      <a:pt x="208" y="302"/>
                    </a:lnTo>
                    <a:lnTo>
                      <a:pt x="206" y="302"/>
                    </a:lnTo>
                    <a:lnTo>
                      <a:pt x="204" y="302"/>
                    </a:lnTo>
                    <a:lnTo>
                      <a:pt x="202" y="302"/>
                    </a:lnTo>
                    <a:lnTo>
                      <a:pt x="200" y="302"/>
                    </a:lnTo>
                    <a:lnTo>
                      <a:pt x="198" y="302"/>
                    </a:lnTo>
                    <a:lnTo>
                      <a:pt x="196" y="302"/>
                    </a:lnTo>
                    <a:lnTo>
                      <a:pt x="194" y="302"/>
                    </a:lnTo>
                    <a:lnTo>
                      <a:pt x="193" y="302"/>
                    </a:lnTo>
                    <a:lnTo>
                      <a:pt x="193" y="300"/>
                    </a:lnTo>
                    <a:lnTo>
                      <a:pt x="191" y="300"/>
                    </a:lnTo>
                    <a:lnTo>
                      <a:pt x="191" y="298"/>
                    </a:lnTo>
                    <a:lnTo>
                      <a:pt x="189" y="298"/>
                    </a:lnTo>
                    <a:lnTo>
                      <a:pt x="189" y="296"/>
                    </a:lnTo>
                    <a:lnTo>
                      <a:pt x="189" y="294"/>
                    </a:lnTo>
                    <a:lnTo>
                      <a:pt x="187" y="296"/>
                    </a:lnTo>
                    <a:lnTo>
                      <a:pt x="185" y="296"/>
                    </a:lnTo>
                    <a:lnTo>
                      <a:pt x="185" y="294"/>
                    </a:lnTo>
                    <a:lnTo>
                      <a:pt x="183" y="294"/>
                    </a:lnTo>
                    <a:lnTo>
                      <a:pt x="181" y="294"/>
                    </a:lnTo>
                    <a:lnTo>
                      <a:pt x="181" y="292"/>
                    </a:lnTo>
                    <a:lnTo>
                      <a:pt x="181" y="294"/>
                    </a:lnTo>
                    <a:lnTo>
                      <a:pt x="179" y="294"/>
                    </a:lnTo>
                    <a:lnTo>
                      <a:pt x="179" y="292"/>
                    </a:lnTo>
                    <a:lnTo>
                      <a:pt x="177" y="292"/>
                    </a:lnTo>
                    <a:lnTo>
                      <a:pt x="177" y="290"/>
                    </a:lnTo>
                    <a:lnTo>
                      <a:pt x="175" y="290"/>
                    </a:lnTo>
                    <a:lnTo>
                      <a:pt x="175" y="288"/>
                    </a:lnTo>
                    <a:lnTo>
                      <a:pt x="174" y="288"/>
                    </a:lnTo>
                    <a:lnTo>
                      <a:pt x="175" y="288"/>
                    </a:lnTo>
                    <a:lnTo>
                      <a:pt x="174" y="288"/>
                    </a:lnTo>
                    <a:lnTo>
                      <a:pt x="174" y="286"/>
                    </a:lnTo>
                    <a:lnTo>
                      <a:pt x="172" y="286"/>
                    </a:lnTo>
                    <a:lnTo>
                      <a:pt x="172" y="288"/>
                    </a:lnTo>
                    <a:lnTo>
                      <a:pt x="170" y="288"/>
                    </a:lnTo>
                    <a:lnTo>
                      <a:pt x="170" y="286"/>
                    </a:lnTo>
                    <a:lnTo>
                      <a:pt x="168" y="286"/>
                    </a:lnTo>
                    <a:lnTo>
                      <a:pt x="170" y="286"/>
                    </a:lnTo>
                    <a:lnTo>
                      <a:pt x="168" y="286"/>
                    </a:lnTo>
                    <a:lnTo>
                      <a:pt x="166" y="284"/>
                    </a:lnTo>
                    <a:lnTo>
                      <a:pt x="164" y="284"/>
                    </a:lnTo>
                    <a:lnTo>
                      <a:pt x="162" y="284"/>
                    </a:lnTo>
                    <a:lnTo>
                      <a:pt x="160" y="286"/>
                    </a:lnTo>
                    <a:lnTo>
                      <a:pt x="160" y="284"/>
                    </a:lnTo>
                    <a:lnTo>
                      <a:pt x="158" y="284"/>
                    </a:lnTo>
                    <a:lnTo>
                      <a:pt x="156" y="284"/>
                    </a:lnTo>
                    <a:lnTo>
                      <a:pt x="154" y="284"/>
                    </a:lnTo>
                    <a:lnTo>
                      <a:pt x="153" y="284"/>
                    </a:lnTo>
                    <a:lnTo>
                      <a:pt x="153" y="283"/>
                    </a:lnTo>
                    <a:lnTo>
                      <a:pt x="151" y="283"/>
                    </a:lnTo>
                    <a:lnTo>
                      <a:pt x="153" y="283"/>
                    </a:lnTo>
                    <a:lnTo>
                      <a:pt x="151" y="281"/>
                    </a:lnTo>
                    <a:lnTo>
                      <a:pt x="149" y="281"/>
                    </a:lnTo>
                    <a:lnTo>
                      <a:pt x="149" y="279"/>
                    </a:lnTo>
                    <a:lnTo>
                      <a:pt x="147" y="279"/>
                    </a:lnTo>
                    <a:lnTo>
                      <a:pt x="147" y="277"/>
                    </a:lnTo>
                    <a:lnTo>
                      <a:pt x="145" y="277"/>
                    </a:lnTo>
                    <a:lnTo>
                      <a:pt x="143" y="277"/>
                    </a:lnTo>
                    <a:lnTo>
                      <a:pt x="143" y="275"/>
                    </a:lnTo>
                    <a:lnTo>
                      <a:pt x="143" y="273"/>
                    </a:lnTo>
                    <a:lnTo>
                      <a:pt x="141" y="273"/>
                    </a:lnTo>
                    <a:lnTo>
                      <a:pt x="139" y="273"/>
                    </a:lnTo>
                    <a:lnTo>
                      <a:pt x="141" y="271"/>
                    </a:lnTo>
                    <a:lnTo>
                      <a:pt x="139" y="269"/>
                    </a:lnTo>
                    <a:lnTo>
                      <a:pt x="141" y="269"/>
                    </a:lnTo>
                    <a:lnTo>
                      <a:pt x="139" y="269"/>
                    </a:lnTo>
                    <a:lnTo>
                      <a:pt x="139" y="265"/>
                    </a:lnTo>
                    <a:lnTo>
                      <a:pt x="137" y="265"/>
                    </a:lnTo>
                    <a:lnTo>
                      <a:pt x="137" y="263"/>
                    </a:lnTo>
                    <a:lnTo>
                      <a:pt x="139" y="263"/>
                    </a:lnTo>
                    <a:lnTo>
                      <a:pt x="137" y="263"/>
                    </a:lnTo>
                    <a:lnTo>
                      <a:pt x="139" y="262"/>
                    </a:lnTo>
                    <a:lnTo>
                      <a:pt x="139" y="260"/>
                    </a:lnTo>
                    <a:lnTo>
                      <a:pt x="139" y="258"/>
                    </a:lnTo>
                    <a:lnTo>
                      <a:pt x="137" y="258"/>
                    </a:lnTo>
                    <a:lnTo>
                      <a:pt x="139" y="258"/>
                    </a:lnTo>
                    <a:lnTo>
                      <a:pt x="139" y="256"/>
                    </a:lnTo>
                    <a:lnTo>
                      <a:pt x="137" y="254"/>
                    </a:lnTo>
                    <a:lnTo>
                      <a:pt x="137" y="252"/>
                    </a:lnTo>
                    <a:lnTo>
                      <a:pt x="137" y="250"/>
                    </a:lnTo>
                    <a:lnTo>
                      <a:pt x="139" y="250"/>
                    </a:lnTo>
                    <a:lnTo>
                      <a:pt x="139" y="248"/>
                    </a:lnTo>
                    <a:lnTo>
                      <a:pt x="139" y="246"/>
                    </a:lnTo>
                    <a:lnTo>
                      <a:pt x="139" y="244"/>
                    </a:lnTo>
                    <a:lnTo>
                      <a:pt x="139" y="242"/>
                    </a:lnTo>
                    <a:lnTo>
                      <a:pt x="139" y="241"/>
                    </a:lnTo>
                    <a:lnTo>
                      <a:pt x="137" y="239"/>
                    </a:lnTo>
                    <a:lnTo>
                      <a:pt x="135" y="241"/>
                    </a:lnTo>
                    <a:lnTo>
                      <a:pt x="135" y="242"/>
                    </a:lnTo>
                    <a:lnTo>
                      <a:pt x="133" y="242"/>
                    </a:lnTo>
                    <a:lnTo>
                      <a:pt x="133" y="241"/>
                    </a:lnTo>
                    <a:lnTo>
                      <a:pt x="132" y="241"/>
                    </a:lnTo>
                    <a:lnTo>
                      <a:pt x="133" y="241"/>
                    </a:lnTo>
                    <a:lnTo>
                      <a:pt x="132" y="241"/>
                    </a:lnTo>
                    <a:lnTo>
                      <a:pt x="133" y="241"/>
                    </a:lnTo>
                    <a:lnTo>
                      <a:pt x="132" y="241"/>
                    </a:lnTo>
                    <a:lnTo>
                      <a:pt x="130" y="241"/>
                    </a:lnTo>
                    <a:lnTo>
                      <a:pt x="128" y="241"/>
                    </a:lnTo>
                    <a:lnTo>
                      <a:pt x="126" y="241"/>
                    </a:lnTo>
                    <a:lnTo>
                      <a:pt x="124" y="241"/>
                    </a:lnTo>
                    <a:lnTo>
                      <a:pt x="126" y="242"/>
                    </a:lnTo>
                    <a:lnTo>
                      <a:pt x="124" y="242"/>
                    </a:lnTo>
                    <a:lnTo>
                      <a:pt x="124" y="241"/>
                    </a:lnTo>
                    <a:lnTo>
                      <a:pt x="124" y="242"/>
                    </a:lnTo>
                    <a:lnTo>
                      <a:pt x="122" y="242"/>
                    </a:lnTo>
                    <a:lnTo>
                      <a:pt x="120" y="242"/>
                    </a:lnTo>
                    <a:lnTo>
                      <a:pt x="118" y="242"/>
                    </a:lnTo>
                    <a:lnTo>
                      <a:pt x="118" y="244"/>
                    </a:lnTo>
                    <a:lnTo>
                      <a:pt x="118" y="242"/>
                    </a:lnTo>
                    <a:lnTo>
                      <a:pt x="116" y="244"/>
                    </a:lnTo>
                    <a:lnTo>
                      <a:pt x="114" y="244"/>
                    </a:lnTo>
                    <a:lnTo>
                      <a:pt x="114" y="246"/>
                    </a:lnTo>
                    <a:lnTo>
                      <a:pt x="112" y="246"/>
                    </a:lnTo>
                    <a:lnTo>
                      <a:pt x="112" y="248"/>
                    </a:lnTo>
                    <a:lnTo>
                      <a:pt x="111" y="248"/>
                    </a:lnTo>
                    <a:lnTo>
                      <a:pt x="111" y="250"/>
                    </a:lnTo>
                    <a:lnTo>
                      <a:pt x="109" y="250"/>
                    </a:lnTo>
                    <a:lnTo>
                      <a:pt x="107" y="250"/>
                    </a:lnTo>
                    <a:lnTo>
                      <a:pt x="105" y="250"/>
                    </a:lnTo>
                    <a:lnTo>
                      <a:pt x="105" y="252"/>
                    </a:lnTo>
                    <a:lnTo>
                      <a:pt x="103" y="252"/>
                    </a:lnTo>
                    <a:lnTo>
                      <a:pt x="101" y="254"/>
                    </a:lnTo>
                    <a:lnTo>
                      <a:pt x="101" y="256"/>
                    </a:lnTo>
                    <a:lnTo>
                      <a:pt x="99" y="256"/>
                    </a:lnTo>
                    <a:lnTo>
                      <a:pt x="99" y="254"/>
                    </a:lnTo>
                    <a:lnTo>
                      <a:pt x="97" y="254"/>
                    </a:lnTo>
                    <a:lnTo>
                      <a:pt x="97" y="256"/>
                    </a:lnTo>
                    <a:lnTo>
                      <a:pt x="95" y="256"/>
                    </a:lnTo>
                    <a:lnTo>
                      <a:pt x="93" y="258"/>
                    </a:lnTo>
                    <a:lnTo>
                      <a:pt x="92" y="260"/>
                    </a:lnTo>
                    <a:lnTo>
                      <a:pt x="92" y="262"/>
                    </a:lnTo>
                    <a:lnTo>
                      <a:pt x="90" y="262"/>
                    </a:lnTo>
                    <a:lnTo>
                      <a:pt x="88" y="262"/>
                    </a:lnTo>
                    <a:lnTo>
                      <a:pt x="84" y="263"/>
                    </a:lnTo>
                    <a:lnTo>
                      <a:pt x="84" y="262"/>
                    </a:lnTo>
                    <a:lnTo>
                      <a:pt x="84" y="260"/>
                    </a:lnTo>
                    <a:lnTo>
                      <a:pt x="84" y="262"/>
                    </a:lnTo>
                    <a:lnTo>
                      <a:pt x="84" y="260"/>
                    </a:lnTo>
                    <a:lnTo>
                      <a:pt x="82" y="262"/>
                    </a:lnTo>
                    <a:lnTo>
                      <a:pt x="82" y="260"/>
                    </a:lnTo>
                    <a:lnTo>
                      <a:pt x="82" y="262"/>
                    </a:lnTo>
                    <a:lnTo>
                      <a:pt x="80" y="262"/>
                    </a:lnTo>
                    <a:lnTo>
                      <a:pt x="80" y="260"/>
                    </a:lnTo>
                    <a:lnTo>
                      <a:pt x="80" y="262"/>
                    </a:lnTo>
                    <a:lnTo>
                      <a:pt x="80" y="260"/>
                    </a:lnTo>
                    <a:lnTo>
                      <a:pt x="78" y="260"/>
                    </a:lnTo>
                    <a:lnTo>
                      <a:pt x="76" y="260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1" y="260"/>
                    </a:lnTo>
                    <a:close/>
                    <a:moveTo>
                      <a:pt x="662" y="145"/>
                    </a:moveTo>
                    <a:lnTo>
                      <a:pt x="662" y="147"/>
                    </a:lnTo>
                    <a:lnTo>
                      <a:pt x="662" y="145"/>
                    </a:lnTo>
                    <a:close/>
                    <a:moveTo>
                      <a:pt x="399" y="111"/>
                    </a:moveTo>
                    <a:lnTo>
                      <a:pt x="400" y="111"/>
                    </a:lnTo>
                    <a:lnTo>
                      <a:pt x="400" y="113"/>
                    </a:lnTo>
                    <a:lnTo>
                      <a:pt x="399" y="113"/>
                    </a:lnTo>
                    <a:lnTo>
                      <a:pt x="399" y="111"/>
                    </a:lnTo>
                    <a:close/>
                    <a:moveTo>
                      <a:pt x="406" y="105"/>
                    </a:moveTo>
                    <a:lnTo>
                      <a:pt x="406" y="107"/>
                    </a:lnTo>
                    <a:lnTo>
                      <a:pt x="406" y="105"/>
                    </a:lnTo>
                    <a:close/>
                    <a:moveTo>
                      <a:pt x="406" y="105"/>
                    </a:moveTo>
                    <a:lnTo>
                      <a:pt x="406" y="107"/>
                    </a:lnTo>
                    <a:lnTo>
                      <a:pt x="406" y="105"/>
                    </a:lnTo>
                    <a:close/>
                    <a:moveTo>
                      <a:pt x="406" y="103"/>
                    </a:moveTo>
                    <a:lnTo>
                      <a:pt x="406" y="105"/>
                    </a:lnTo>
                    <a:lnTo>
                      <a:pt x="406" y="103"/>
                    </a:lnTo>
                    <a:close/>
                    <a:moveTo>
                      <a:pt x="439" y="99"/>
                    </a:moveTo>
                    <a:lnTo>
                      <a:pt x="440" y="99"/>
                    </a:lnTo>
                    <a:lnTo>
                      <a:pt x="439" y="99"/>
                    </a:lnTo>
                    <a:close/>
                    <a:moveTo>
                      <a:pt x="440" y="99"/>
                    </a:moveTo>
                    <a:lnTo>
                      <a:pt x="440" y="101"/>
                    </a:lnTo>
                    <a:lnTo>
                      <a:pt x="440" y="99"/>
                    </a:lnTo>
                    <a:close/>
                    <a:moveTo>
                      <a:pt x="368" y="88"/>
                    </a:moveTo>
                    <a:lnTo>
                      <a:pt x="370" y="88"/>
                    </a:lnTo>
                    <a:lnTo>
                      <a:pt x="370" y="90"/>
                    </a:lnTo>
                    <a:lnTo>
                      <a:pt x="368" y="90"/>
                    </a:lnTo>
                    <a:lnTo>
                      <a:pt x="368" y="88"/>
                    </a:lnTo>
                    <a:close/>
                    <a:moveTo>
                      <a:pt x="399" y="86"/>
                    </a:moveTo>
                    <a:lnTo>
                      <a:pt x="400" y="86"/>
                    </a:lnTo>
                    <a:lnTo>
                      <a:pt x="400" y="88"/>
                    </a:lnTo>
                    <a:lnTo>
                      <a:pt x="399" y="88"/>
                    </a:lnTo>
                    <a:lnTo>
                      <a:pt x="399" y="86"/>
                    </a:lnTo>
                    <a:close/>
                    <a:moveTo>
                      <a:pt x="397" y="86"/>
                    </a:moveTo>
                    <a:lnTo>
                      <a:pt x="397" y="88"/>
                    </a:lnTo>
                    <a:lnTo>
                      <a:pt x="397" y="86"/>
                    </a:lnTo>
                    <a:close/>
                    <a:moveTo>
                      <a:pt x="376" y="84"/>
                    </a:moveTo>
                    <a:lnTo>
                      <a:pt x="376" y="86"/>
                    </a:lnTo>
                    <a:lnTo>
                      <a:pt x="376" y="84"/>
                    </a:lnTo>
                    <a:close/>
                    <a:moveTo>
                      <a:pt x="372" y="84"/>
                    </a:moveTo>
                    <a:lnTo>
                      <a:pt x="374" y="84"/>
                    </a:lnTo>
                    <a:lnTo>
                      <a:pt x="374" y="86"/>
                    </a:lnTo>
                    <a:lnTo>
                      <a:pt x="372" y="86"/>
                    </a:lnTo>
                    <a:lnTo>
                      <a:pt x="372" y="84"/>
                    </a:lnTo>
                    <a:close/>
                    <a:moveTo>
                      <a:pt x="372" y="84"/>
                    </a:moveTo>
                    <a:lnTo>
                      <a:pt x="372" y="86"/>
                    </a:lnTo>
                    <a:lnTo>
                      <a:pt x="372" y="84"/>
                    </a:lnTo>
                    <a:close/>
                    <a:moveTo>
                      <a:pt x="372" y="84"/>
                    </a:moveTo>
                    <a:lnTo>
                      <a:pt x="374" y="84"/>
                    </a:lnTo>
                    <a:lnTo>
                      <a:pt x="372" y="84"/>
                    </a:lnTo>
                    <a:close/>
                    <a:moveTo>
                      <a:pt x="370" y="84"/>
                    </a:moveTo>
                    <a:lnTo>
                      <a:pt x="368" y="84"/>
                    </a:lnTo>
                    <a:lnTo>
                      <a:pt x="366" y="86"/>
                    </a:lnTo>
                    <a:lnTo>
                      <a:pt x="368" y="84"/>
                    </a:lnTo>
                    <a:lnTo>
                      <a:pt x="370" y="84"/>
                    </a:lnTo>
                    <a:close/>
                    <a:moveTo>
                      <a:pt x="389" y="82"/>
                    </a:moveTo>
                    <a:lnTo>
                      <a:pt x="391" y="84"/>
                    </a:lnTo>
                    <a:lnTo>
                      <a:pt x="393" y="84"/>
                    </a:lnTo>
                    <a:lnTo>
                      <a:pt x="393" y="86"/>
                    </a:lnTo>
                    <a:lnTo>
                      <a:pt x="391" y="86"/>
                    </a:lnTo>
                    <a:lnTo>
                      <a:pt x="387" y="86"/>
                    </a:lnTo>
                    <a:lnTo>
                      <a:pt x="385" y="86"/>
                    </a:lnTo>
                    <a:lnTo>
                      <a:pt x="385" y="84"/>
                    </a:lnTo>
                    <a:lnTo>
                      <a:pt x="387" y="84"/>
                    </a:lnTo>
                    <a:lnTo>
                      <a:pt x="389" y="82"/>
                    </a:lnTo>
                    <a:close/>
                    <a:moveTo>
                      <a:pt x="372" y="82"/>
                    </a:moveTo>
                    <a:lnTo>
                      <a:pt x="372" y="84"/>
                    </a:lnTo>
                    <a:lnTo>
                      <a:pt x="372" y="82"/>
                    </a:lnTo>
                    <a:close/>
                    <a:moveTo>
                      <a:pt x="387" y="82"/>
                    </a:moveTo>
                    <a:lnTo>
                      <a:pt x="387" y="84"/>
                    </a:lnTo>
                    <a:lnTo>
                      <a:pt x="387" y="82"/>
                    </a:lnTo>
                    <a:close/>
                    <a:moveTo>
                      <a:pt x="374" y="82"/>
                    </a:moveTo>
                    <a:lnTo>
                      <a:pt x="376" y="82"/>
                    </a:lnTo>
                    <a:lnTo>
                      <a:pt x="376" y="84"/>
                    </a:lnTo>
                    <a:lnTo>
                      <a:pt x="374" y="84"/>
                    </a:lnTo>
                    <a:lnTo>
                      <a:pt x="372" y="84"/>
                    </a:lnTo>
                    <a:lnTo>
                      <a:pt x="372" y="82"/>
                    </a:lnTo>
                    <a:lnTo>
                      <a:pt x="374" y="82"/>
                    </a:lnTo>
                    <a:close/>
                    <a:moveTo>
                      <a:pt x="387" y="82"/>
                    </a:moveTo>
                    <a:lnTo>
                      <a:pt x="389" y="82"/>
                    </a:lnTo>
                    <a:lnTo>
                      <a:pt x="387" y="82"/>
                    </a:lnTo>
                    <a:close/>
                    <a:moveTo>
                      <a:pt x="389" y="80"/>
                    </a:moveTo>
                    <a:lnTo>
                      <a:pt x="389" y="82"/>
                    </a:lnTo>
                    <a:lnTo>
                      <a:pt x="389" y="80"/>
                    </a:lnTo>
                    <a:close/>
                    <a:moveTo>
                      <a:pt x="379" y="78"/>
                    </a:moveTo>
                    <a:lnTo>
                      <a:pt x="381" y="78"/>
                    </a:lnTo>
                    <a:lnTo>
                      <a:pt x="381" y="80"/>
                    </a:lnTo>
                    <a:lnTo>
                      <a:pt x="379" y="80"/>
                    </a:lnTo>
                    <a:lnTo>
                      <a:pt x="379" y="78"/>
                    </a:lnTo>
                    <a:close/>
                    <a:moveTo>
                      <a:pt x="389" y="78"/>
                    </a:moveTo>
                    <a:lnTo>
                      <a:pt x="389" y="80"/>
                    </a:lnTo>
                    <a:lnTo>
                      <a:pt x="387" y="80"/>
                    </a:lnTo>
                    <a:lnTo>
                      <a:pt x="387" y="82"/>
                    </a:lnTo>
                    <a:lnTo>
                      <a:pt x="385" y="82"/>
                    </a:lnTo>
                    <a:lnTo>
                      <a:pt x="385" y="84"/>
                    </a:lnTo>
                    <a:lnTo>
                      <a:pt x="383" y="86"/>
                    </a:lnTo>
                    <a:lnTo>
                      <a:pt x="381" y="86"/>
                    </a:lnTo>
                    <a:lnTo>
                      <a:pt x="381" y="84"/>
                    </a:lnTo>
                    <a:lnTo>
                      <a:pt x="379" y="84"/>
                    </a:lnTo>
                    <a:lnTo>
                      <a:pt x="378" y="84"/>
                    </a:lnTo>
                    <a:lnTo>
                      <a:pt x="376" y="82"/>
                    </a:lnTo>
                    <a:lnTo>
                      <a:pt x="376" y="80"/>
                    </a:lnTo>
                    <a:lnTo>
                      <a:pt x="378" y="80"/>
                    </a:lnTo>
                    <a:lnTo>
                      <a:pt x="379" y="80"/>
                    </a:lnTo>
                    <a:lnTo>
                      <a:pt x="381" y="80"/>
                    </a:lnTo>
                    <a:lnTo>
                      <a:pt x="381" y="78"/>
                    </a:lnTo>
                    <a:lnTo>
                      <a:pt x="383" y="80"/>
                    </a:lnTo>
                    <a:lnTo>
                      <a:pt x="385" y="80"/>
                    </a:lnTo>
                    <a:lnTo>
                      <a:pt x="387" y="78"/>
                    </a:lnTo>
                    <a:lnTo>
                      <a:pt x="389" y="78"/>
                    </a:lnTo>
                    <a:close/>
                    <a:moveTo>
                      <a:pt x="381" y="75"/>
                    </a:moveTo>
                    <a:lnTo>
                      <a:pt x="381" y="76"/>
                    </a:lnTo>
                    <a:lnTo>
                      <a:pt x="379" y="78"/>
                    </a:lnTo>
                    <a:lnTo>
                      <a:pt x="378" y="78"/>
                    </a:lnTo>
                    <a:lnTo>
                      <a:pt x="378" y="76"/>
                    </a:lnTo>
                    <a:lnTo>
                      <a:pt x="378" y="75"/>
                    </a:lnTo>
                    <a:lnTo>
                      <a:pt x="379" y="75"/>
                    </a:lnTo>
                    <a:lnTo>
                      <a:pt x="381" y="75"/>
                    </a:lnTo>
                    <a:close/>
                    <a:moveTo>
                      <a:pt x="378" y="75"/>
                    </a:move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80"/>
                    </a:lnTo>
                    <a:lnTo>
                      <a:pt x="376" y="80"/>
                    </a:lnTo>
                    <a:lnTo>
                      <a:pt x="376" y="82"/>
                    </a:lnTo>
                    <a:lnTo>
                      <a:pt x="374" y="82"/>
                    </a:lnTo>
                    <a:lnTo>
                      <a:pt x="374" y="80"/>
                    </a:lnTo>
                    <a:lnTo>
                      <a:pt x="376" y="78"/>
                    </a:lnTo>
                    <a:lnTo>
                      <a:pt x="376" y="76"/>
                    </a:lnTo>
                    <a:lnTo>
                      <a:pt x="376" y="75"/>
                    </a:lnTo>
                    <a:lnTo>
                      <a:pt x="378" y="75"/>
                    </a:lnTo>
                    <a:close/>
                    <a:moveTo>
                      <a:pt x="372" y="78"/>
                    </a:moveTo>
                    <a:lnTo>
                      <a:pt x="374" y="78"/>
                    </a:lnTo>
                    <a:lnTo>
                      <a:pt x="374" y="80"/>
                    </a:lnTo>
                    <a:lnTo>
                      <a:pt x="372" y="80"/>
                    </a:lnTo>
                    <a:lnTo>
                      <a:pt x="372" y="78"/>
                    </a:lnTo>
                    <a:close/>
                    <a:moveTo>
                      <a:pt x="381" y="71"/>
                    </a:moveTo>
                    <a:lnTo>
                      <a:pt x="381" y="73"/>
                    </a:lnTo>
                    <a:lnTo>
                      <a:pt x="378" y="73"/>
                    </a:lnTo>
                    <a:lnTo>
                      <a:pt x="378" y="71"/>
                    </a:lnTo>
                    <a:lnTo>
                      <a:pt x="379" y="71"/>
                    </a:lnTo>
                    <a:lnTo>
                      <a:pt x="381" y="71"/>
                    </a:lnTo>
                    <a:close/>
                    <a:moveTo>
                      <a:pt x="381" y="69"/>
                    </a:moveTo>
                    <a:lnTo>
                      <a:pt x="381" y="71"/>
                    </a:lnTo>
                    <a:lnTo>
                      <a:pt x="381" y="69"/>
                    </a:lnTo>
                    <a:close/>
                    <a:moveTo>
                      <a:pt x="379" y="69"/>
                    </a:moveTo>
                    <a:lnTo>
                      <a:pt x="381" y="69"/>
                    </a:lnTo>
                    <a:lnTo>
                      <a:pt x="381" y="71"/>
                    </a:lnTo>
                    <a:lnTo>
                      <a:pt x="379" y="71"/>
                    </a:lnTo>
                    <a:lnTo>
                      <a:pt x="379" y="69"/>
                    </a:lnTo>
                    <a:close/>
                    <a:moveTo>
                      <a:pt x="383" y="67"/>
                    </a:moveTo>
                    <a:lnTo>
                      <a:pt x="383" y="69"/>
                    </a:lnTo>
                    <a:lnTo>
                      <a:pt x="381" y="69"/>
                    </a:lnTo>
                    <a:lnTo>
                      <a:pt x="381" y="67"/>
                    </a:lnTo>
                    <a:lnTo>
                      <a:pt x="383" y="67"/>
                    </a:lnTo>
                    <a:close/>
                    <a:moveTo>
                      <a:pt x="376" y="52"/>
                    </a:moveTo>
                    <a:lnTo>
                      <a:pt x="378" y="52"/>
                    </a:lnTo>
                    <a:lnTo>
                      <a:pt x="378" y="54"/>
                    </a:lnTo>
                    <a:lnTo>
                      <a:pt x="376" y="54"/>
                    </a:lnTo>
                    <a:lnTo>
                      <a:pt x="376" y="55"/>
                    </a:lnTo>
                    <a:lnTo>
                      <a:pt x="376" y="54"/>
                    </a:lnTo>
                    <a:lnTo>
                      <a:pt x="374" y="54"/>
                    </a:lnTo>
                    <a:lnTo>
                      <a:pt x="374" y="52"/>
                    </a:lnTo>
                    <a:lnTo>
                      <a:pt x="376" y="52"/>
                    </a:lnTo>
                    <a:close/>
                    <a:moveTo>
                      <a:pt x="370" y="50"/>
                    </a:moveTo>
                    <a:lnTo>
                      <a:pt x="372" y="50"/>
                    </a:lnTo>
                    <a:lnTo>
                      <a:pt x="372" y="52"/>
                    </a:lnTo>
                    <a:lnTo>
                      <a:pt x="370" y="52"/>
                    </a:lnTo>
                    <a:lnTo>
                      <a:pt x="370" y="50"/>
                    </a:lnTo>
                    <a:close/>
                    <a:moveTo>
                      <a:pt x="374" y="50"/>
                    </a:moveTo>
                    <a:lnTo>
                      <a:pt x="376" y="50"/>
                    </a:lnTo>
                    <a:lnTo>
                      <a:pt x="376" y="52"/>
                    </a:lnTo>
                    <a:lnTo>
                      <a:pt x="374" y="52"/>
                    </a:lnTo>
                    <a:lnTo>
                      <a:pt x="374" y="50"/>
                    </a:lnTo>
                    <a:close/>
                    <a:moveTo>
                      <a:pt x="467" y="130"/>
                    </a:moveTo>
                    <a:lnTo>
                      <a:pt x="467" y="132"/>
                    </a:lnTo>
                    <a:lnTo>
                      <a:pt x="467" y="130"/>
                    </a:lnTo>
                    <a:close/>
                    <a:moveTo>
                      <a:pt x="471" y="128"/>
                    </a:moveTo>
                    <a:lnTo>
                      <a:pt x="471" y="130"/>
                    </a:lnTo>
                    <a:lnTo>
                      <a:pt x="469" y="132"/>
                    </a:lnTo>
                    <a:lnTo>
                      <a:pt x="471" y="132"/>
                    </a:lnTo>
                    <a:lnTo>
                      <a:pt x="469" y="132"/>
                    </a:lnTo>
                    <a:lnTo>
                      <a:pt x="467" y="132"/>
                    </a:lnTo>
                    <a:lnTo>
                      <a:pt x="469" y="130"/>
                    </a:lnTo>
                    <a:lnTo>
                      <a:pt x="469" y="128"/>
                    </a:lnTo>
                    <a:lnTo>
                      <a:pt x="471" y="128"/>
                    </a:lnTo>
                    <a:close/>
                    <a:moveTo>
                      <a:pt x="505" y="128"/>
                    </a:moveTo>
                    <a:lnTo>
                      <a:pt x="507" y="128"/>
                    </a:lnTo>
                    <a:lnTo>
                      <a:pt x="505" y="128"/>
                    </a:lnTo>
                    <a:close/>
                    <a:moveTo>
                      <a:pt x="505" y="128"/>
                    </a:moveTo>
                    <a:lnTo>
                      <a:pt x="509" y="128"/>
                    </a:lnTo>
                    <a:lnTo>
                      <a:pt x="507" y="128"/>
                    </a:lnTo>
                    <a:lnTo>
                      <a:pt x="505" y="128"/>
                    </a:lnTo>
                    <a:close/>
                    <a:moveTo>
                      <a:pt x="469" y="122"/>
                    </a:moveTo>
                    <a:lnTo>
                      <a:pt x="471" y="122"/>
                    </a:lnTo>
                    <a:lnTo>
                      <a:pt x="471" y="124"/>
                    </a:lnTo>
                    <a:lnTo>
                      <a:pt x="469" y="124"/>
                    </a:lnTo>
                    <a:lnTo>
                      <a:pt x="469" y="122"/>
                    </a:lnTo>
                    <a:close/>
                    <a:moveTo>
                      <a:pt x="484" y="122"/>
                    </a:moveTo>
                    <a:lnTo>
                      <a:pt x="486" y="122"/>
                    </a:lnTo>
                    <a:lnTo>
                      <a:pt x="484" y="122"/>
                    </a:lnTo>
                    <a:close/>
                    <a:moveTo>
                      <a:pt x="481" y="122"/>
                    </a:moveTo>
                    <a:lnTo>
                      <a:pt x="482" y="122"/>
                    </a:lnTo>
                    <a:lnTo>
                      <a:pt x="481" y="122"/>
                    </a:lnTo>
                    <a:close/>
                    <a:moveTo>
                      <a:pt x="482" y="120"/>
                    </a:moveTo>
                    <a:lnTo>
                      <a:pt x="484" y="120"/>
                    </a:lnTo>
                    <a:lnTo>
                      <a:pt x="482" y="120"/>
                    </a:lnTo>
                    <a:close/>
                    <a:moveTo>
                      <a:pt x="458" y="111"/>
                    </a:moveTo>
                    <a:lnTo>
                      <a:pt x="458" y="113"/>
                    </a:lnTo>
                    <a:lnTo>
                      <a:pt x="458" y="111"/>
                    </a:lnTo>
                    <a:close/>
                    <a:moveTo>
                      <a:pt x="456" y="111"/>
                    </a:moveTo>
                    <a:lnTo>
                      <a:pt x="458" y="111"/>
                    </a:lnTo>
                    <a:lnTo>
                      <a:pt x="458" y="113"/>
                    </a:lnTo>
                    <a:lnTo>
                      <a:pt x="456" y="113"/>
                    </a:lnTo>
                    <a:lnTo>
                      <a:pt x="456" y="111"/>
                    </a:lnTo>
                    <a:close/>
                    <a:moveTo>
                      <a:pt x="465" y="107"/>
                    </a:moveTo>
                    <a:lnTo>
                      <a:pt x="465" y="109"/>
                    </a:lnTo>
                    <a:lnTo>
                      <a:pt x="465" y="107"/>
                    </a:lnTo>
                    <a:close/>
                    <a:moveTo>
                      <a:pt x="460" y="107"/>
                    </a:moveTo>
                    <a:lnTo>
                      <a:pt x="461" y="107"/>
                    </a:lnTo>
                    <a:lnTo>
                      <a:pt x="460" y="107"/>
                    </a:lnTo>
                    <a:close/>
                    <a:moveTo>
                      <a:pt x="452" y="105"/>
                    </a:moveTo>
                    <a:lnTo>
                      <a:pt x="454" y="105"/>
                    </a:lnTo>
                    <a:lnTo>
                      <a:pt x="452" y="105"/>
                    </a:lnTo>
                    <a:close/>
                    <a:moveTo>
                      <a:pt x="461" y="105"/>
                    </a:moveTo>
                    <a:lnTo>
                      <a:pt x="463" y="105"/>
                    </a:lnTo>
                    <a:lnTo>
                      <a:pt x="463" y="107"/>
                    </a:lnTo>
                    <a:lnTo>
                      <a:pt x="461" y="107"/>
                    </a:lnTo>
                    <a:lnTo>
                      <a:pt x="461" y="105"/>
                    </a:lnTo>
                    <a:close/>
                    <a:moveTo>
                      <a:pt x="452" y="103"/>
                    </a:moveTo>
                    <a:lnTo>
                      <a:pt x="454" y="103"/>
                    </a:lnTo>
                    <a:lnTo>
                      <a:pt x="454" y="105"/>
                    </a:lnTo>
                    <a:lnTo>
                      <a:pt x="452" y="105"/>
                    </a:lnTo>
                    <a:lnTo>
                      <a:pt x="452" y="103"/>
                    </a:lnTo>
                    <a:close/>
                    <a:moveTo>
                      <a:pt x="450" y="103"/>
                    </a:moveTo>
                    <a:lnTo>
                      <a:pt x="452" y="103"/>
                    </a:lnTo>
                    <a:lnTo>
                      <a:pt x="452" y="105"/>
                    </a:lnTo>
                    <a:lnTo>
                      <a:pt x="450" y="105"/>
                    </a:lnTo>
                    <a:lnTo>
                      <a:pt x="450" y="103"/>
                    </a:lnTo>
                    <a:close/>
                    <a:moveTo>
                      <a:pt x="448" y="103"/>
                    </a:moveTo>
                    <a:lnTo>
                      <a:pt x="450" y="103"/>
                    </a:lnTo>
                    <a:lnTo>
                      <a:pt x="448" y="103"/>
                    </a:lnTo>
                    <a:close/>
                    <a:moveTo>
                      <a:pt x="452" y="103"/>
                    </a:moveTo>
                    <a:lnTo>
                      <a:pt x="452" y="105"/>
                    </a:lnTo>
                    <a:lnTo>
                      <a:pt x="452" y="107"/>
                    </a:lnTo>
                    <a:lnTo>
                      <a:pt x="450" y="107"/>
                    </a:lnTo>
                    <a:lnTo>
                      <a:pt x="452" y="105"/>
                    </a:lnTo>
                    <a:lnTo>
                      <a:pt x="450" y="105"/>
                    </a:lnTo>
                    <a:lnTo>
                      <a:pt x="452" y="105"/>
                    </a:lnTo>
                    <a:lnTo>
                      <a:pt x="452" y="103"/>
                    </a:lnTo>
                    <a:close/>
                    <a:moveTo>
                      <a:pt x="448" y="103"/>
                    </a:moveTo>
                    <a:lnTo>
                      <a:pt x="450" y="103"/>
                    </a:lnTo>
                    <a:lnTo>
                      <a:pt x="448" y="103"/>
                    </a:lnTo>
                    <a:close/>
                    <a:moveTo>
                      <a:pt x="563" y="288"/>
                    </a:moveTo>
                    <a:lnTo>
                      <a:pt x="563" y="290"/>
                    </a:lnTo>
                    <a:lnTo>
                      <a:pt x="563" y="288"/>
                    </a:lnTo>
                    <a:close/>
                    <a:moveTo>
                      <a:pt x="564" y="288"/>
                    </a:moveTo>
                    <a:lnTo>
                      <a:pt x="564" y="290"/>
                    </a:lnTo>
                    <a:lnTo>
                      <a:pt x="564" y="288"/>
                    </a:lnTo>
                    <a:close/>
                    <a:moveTo>
                      <a:pt x="563" y="288"/>
                    </a:moveTo>
                    <a:lnTo>
                      <a:pt x="564" y="288"/>
                    </a:lnTo>
                    <a:lnTo>
                      <a:pt x="563" y="288"/>
                    </a:lnTo>
                    <a:close/>
                    <a:moveTo>
                      <a:pt x="467" y="464"/>
                    </a:moveTo>
                    <a:lnTo>
                      <a:pt x="469" y="464"/>
                    </a:lnTo>
                    <a:lnTo>
                      <a:pt x="467" y="464"/>
                    </a:lnTo>
                    <a:close/>
                    <a:moveTo>
                      <a:pt x="475" y="462"/>
                    </a:moveTo>
                    <a:lnTo>
                      <a:pt x="475" y="464"/>
                    </a:lnTo>
                    <a:lnTo>
                      <a:pt x="475" y="462"/>
                    </a:lnTo>
                    <a:lnTo>
                      <a:pt x="475" y="464"/>
                    </a:lnTo>
                    <a:lnTo>
                      <a:pt x="477" y="464"/>
                    </a:lnTo>
                    <a:lnTo>
                      <a:pt x="475" y="464"/>
                    </a:lnTo>
                    <a:lnTo>
                      <a:pt x="477" y="464"/>
                    </a:lnTo>
                    <a:lnTo>
                      <a:pt x="475" y="464"/>
                    </a:lnTo>
                    <a:lnTo>
                      <a:pt x="473" y="464"/>
                    </a:lnTo>
                    <a:lnTo>
                      <a:pt x="471" y="464"/>
                    </a:lnTo>
                    <a:lnTo>
                      <a:pt x="473" y="464"/>
                    </a:lnTo>
                    <a:lnTo>
                      <a:pt x="473" y="462"/>
                    </a:lnTo>
                    <a:lnTo>
                      <a:pt x="473" y="464"/>
                    </a:lnTo>
                    <a:lnTo>
                      <a:pt x="473" y="462"/>
                    </a:lnTo>
                    <a:lnTo>
                      <a:pt x="475" y="462"/>
                    </a:lnTo>
                    <a:close/>
                    <a:moveTo>
                      <a:pt x="471" y="462"/>
                    </a:moveTo>
                    <a:lnTo>
                      <a:pt x="473" y="462"/>
                    </a:lnTo>
                    <a:lnTo>
                      <a:pt x="471" y="462"/>
                    </a:lnTo>
                    <a:close/>
                    <a:moveTo>
                      <a:pt x="479" y="460"/>
                    </a:moveTo>
                    <a:lnTo>
                      <a:pt x="479" y="462"/>
                    </a:lnTo>
                    <a:lnTo>
                      <a:pt x="479" y="460"/>
                    </a:lnTo>
                    <a:close/>
                    <a:moveTo>
                      <a:pt x="479" y="460"/>
                    </a:moveTo>
                    <a:lnTo>
                      <a:pt x="481" y="460"/>
                    </a:lnTo>
                    <a:lnTo>
                      <a:pt x="479" y="460"/>
                    </a:lnTo>
                    <a:close/>
                    <a:moveTo>
                      <a:pt x="490" y="456"/>
                    </a:moveTo>
                    <a:lnTo>
                      <a:pt x="492" y="456"/>
                    </a:lnTo>
                    <a:lnTo>
                      <a:pt x="492" y="458"/>
                    </a:lnTo>
                    <a:lnTo>
                      <a:pt x="490" y="458"/>
                    </a:lnTo>
                    <a:lnTo>
                      <a:pt x="490" y="456"/>
                    </a:lnTo>
                    <a:close/>
                    <a:moveTo>
                      <a:pt x="458" y="473"/>
                    </a:moveTo>
                    <a:lnTo>
                      <a:pt x="458" y="475"/>
                    </a:lnTo>
                    <a:lnTo>
                      <a:pt x="458" y="477"/>
                    </a:lnTo>
                    <a:lnTo>
                      <a:pt x="456" y="477"/>
                    </a:lnTo>
                    <a:lnTo>
                      <a:pt x="454" y="477"/>
                    </a:lnTo>
                    <a:lnTo>
                      <a:pt x="454" y="475"/>
                    </a:lnTo>
                    <a:lnTo>
                      <a:pt x="456" y="475"/>
                    </a:lnTo>
                    <a:lnTo>
                      <a:pt x="456" y="473"/>
                    </a:lnTo>
                    <a:lnTo>
                      <a:pt x="458" y="473"/>
                    </a:lnTo>
                    <a:close/>
                    <a:moveTo>
                      <a:pt x="408" y="538"/>
                    </a:moveTo>
                    <a:lnTo>
                      <a:pt x="408" y="540"/>
                    </a:lnTo>
                    <a:lnTo>
                      <a:pt x="408" y="542"/>
                    </a:lnTo>
                    <a:lnTo>
                      <a:pt x="406" y="544"/>
                    </a:lnTo>
                    <a:lnTo>
                      <a:pt x="406" y="546"/>
                    </a:lnTo>
                    <a:lnTo>
                      <a:pt x="404" y="546"/>
                    </a:lnTo>
                    <a:lnTo>
                      <a:pt x="406" y="546"/>
                    </a:lnTo>
                    <a:lnTo>
                      <a:pt x="404" y="544"/>
                    </a:lnTo>
                    <a:lnTo>
                      <a:pt x="406" y="544"/>
                    </a:lnTo>
                    <a:lnTo>
                      <a:pt x="404" y="544"/>
                    </a:lnTo>
                    <a:lnTo>
                      <a:pt x="406" y="542"/>
                    </a:lnTo>
                    <a:lnTo>
                      <a:pt x="404" y="542"/>
                    </a:lnTo>
                    <a:lnTo>
                      <a:pt x="406" y="542"/>
                    </a:lnTo>
                    <a:lnTo>
                      <a:pt x="406" y="540"/>
                    </a:lnTo>
                    <a:lnTo>
                      <a:pt x="406" y="538"/>
                    </a:lnTo>
                    <a:lnTo>
                      <a:pt x="408" y="53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1" name="Freeform 21">
                <a:extLst>
                  <a:ext uri="{FF2B5EF4-FFF2-40B4-BE49-F238E27FC236}">
                    <a16:creationId xmlns:a16="http://schemas.microsoft.com/office/drawing/2014/main" id="{8ED12F80-D8FD-FDE6-3341-50C3F82FD79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068490" y="-1811274"/>
                <a:ext cx="313837" cy="463064"/>
              </a:xfrm>
              <a:custGeom>
                <a:avLst/>
                <a:gdLst>
                  <a:gd name="T0" fmla="*/ 177 w 202"/>
                  <a:gd name="T1" fmla="*/ 67 h 296"/>
                  <a:gd name="T2" fmla="*/ 166 w 202"/>
                  <a:gd name="T3" fmla="*/ 67 h 296"/>
                  <a:gd name="T4" fmla="*/ 156 w 202"/>
                  <a:gd name="T5" fmla="*/ 71 h 296"/>
                  <a:gd name="T6" fmla="*/ 148 w 202"/>
                  <a:gd name="T7" fmla="*/ 71 h 296"/>
                  <a:gd name="T8" fmla="*/ 141 w 202"/>
                  <a:gd name="T9" fmla="*/ 78 h 296"/>
                  <a:gd name="T10" fmla="*/ 133 w 202"/>
                  <a:gd name="T11" fmla="*/ 84 h 296"/>
                  <a:gd name="T12" fmla="*/ 129 w 202"/>
                  <a:gd name="T13" fmla="*/ 92 h 296"/>
                  <a:gd name="T14" fmla="*/ 126 w 202"/>
                  <a:gd name="T15" fmla="*/ 105 h 296"/>
                  <a:gd name="T16" fmla="*/ 120 w 202"/>
                  <a:gd name="T17" fmla="*/ 116 h 296"/>
                  <a:gd name="T18" fmla="*/ 122 w 202"/>
                  <a:gd name="T19" fmla="*/ 124 h 296"/>
                  <a:gd name="T20" fmla="*/ 127 w 202"/>
                  <a:gd name="T21" fmla="*/ 135 h 296"/>
                  <a:gd name="T22" fmla="*/ 141 w 202"/>
                  <a:gd name="T23" fmla="*/ 151 h 296"/>
                  <a:gd name="T24" fmla="*/ 162 w 202"/>
                  <a:gd name="T25" fmla="*/ 158 h 296"/>
                  <a:gd name="T26" fmla="*/ 173 w 202"/>
                  <a:gd name="T27" fmla="*/ 149 h 296"/>
                  <a:gd name="T28" fmla="*/ 173 w 202"/>
                  <a:gd name="T29" fmla="*/ 176 h 296"/>
                  <a:gd name="T30" fmla="*/ 202 w 202"/>
                  <a:gd name="T31" fmla="*/ 200 h 296"/>
                  <a:gd name="T32" fmla="*/ 198 w 202"/>
                  <a:gd name="T33" fmla="*/ 212 h 296"/>
                  <a:gd name="T34" fmla="*/ 198 w 202"/>
                  <a:gd name="T35" fmla="*/ 225 h 296"/>
                  <a:gd name="T36" fmla="*/ 190 w 202"/>
                  <a:gd name="T37" fmla="*/ 239 h 296"/>
                  <a:gd name="T38" fmla="*/ 194 w 202"/>
                  <a:gd name="T39" fmla="*/ 259 h 296"/>
                  <a:gd name="T40" fmla="*/ 190 w 202"/>
                  <a:gd name="T41" fmla="*/ 275 h 296"/>
                  <a:gd name="T42" fmla="*/ 183 w 202"/>
                  <a:gd name="T43" fmla="*/ 288 h 296"/>
                  <a:gd name="T44" fmla="*/ 166 w 202"/>
                  <a:gd name="T45" fmla="*/ 290 h 296"/>
                  <a:gd name="T46" fmla="*/ 156 w 202"/>
                  <a:gd name="T47" fmla="*/ 277 h 296"/>
                  <a:gd name="T48" fmla="*/ 131 w 202"/>
                  <a:gd name="T49" fmla="*/ 265 h 296"/>
                  <a:gd name="T50" fmla="*/ 116 w 202"/>
                  <a:gd name="T51" fmla="*/ 256 h 296"/>
                  <a:gd name="T52" fmla="*/ 97 w 202"/>
                  <a:gd name="T53" fmla="*/ 246 h 296"/>
                  <a:gd name="T54" fmla="*/ 85 w 202"/>
                  <a:gd name="T55" fmla="*/ 235 h 296"/>
                  <a:gd name="T56" fmla="*/ 82 w 202"/>
                  <a:gd name="T57" fmla="*/ 227 h 296"/>
                  <a:gd name="T58" fmla="*/ 82 w 202"/>
                  <a:gd name="T59" fmla="*/ 218 h 296"/>
                  <a:gd name="T60" fmla="*/ 68 w 202"/>
                  <a:gd name="T61" fmla="*/ 195 h 296"/>
                  <a:gd name="T62" fmla="*/ 59 w 202"/>
                  <a:gd name="T63" fmla="*/ 177 h 296"/>
                  <a:gd name="T64" fmla="*/ 51 w 202"/>
                  <a:gd name="T65" fmla="*/ 160 h 296"/>
                  <a:gd name="T66" fmla="*/ 45 w 202"/>
                  <a:gd name="T67" fmla="*/ 149 h 296"/>
                  <a:gd name="T68" fmla="*/ 44 w 202"/>
                  <a:gd name="T69" fmla="*/ 141 h 296"/>
                  <a:gd name="T70" fmla="*/ 32 w 202"/>
                  <a:gd name="T71" fmla="*/ 124 h 296"/>
                  <a:gd name="T72" fmla="*/ 21 w 202"/>
                  <a:gd name="T73" fmla="*/ 105 h 296"/>
                  <a:gd name="T74" fmla="*/ 7 w 202"/>
                  <a:gd name="T75" fmla="*/ 88 h 296"/>
                  <a:gd name="T76" fmla="*/ 2 w 202"/>
                  <a:gd name="T77" fmla="*/ 71 h 296"/>
                  <a:gd name="T78" fmla="*/ 13 w 202"/>
                  <a:gd name="T79" fmla="*/ 55 h 296"/>
                  <a:gd name="T80" fmla="*/ 19 w 202"/>
                  <a:gd name="T81" fmla="*/ 61 h 296"/>
                  <a:gd name="T82" fmla="*/ 15 w 202"/>
                  <a:gd name="T83" fmla="*/ 71 h 296"/>
                  <a:gd name="T84" fmla="*/ 28 w 202"/>
                  <a:gd name="T85" fmla="*/ 71 h 296"/>
                  <a:gd name="T86" fmla="*/ 38 w 202"/>
                  <a:gd name="T87" fmla="*/ 76 h 296"/>
                  <a:gd name="T88" fmla="*/ 44 w 202"/>
                  <a:gd name="T89" fmla="*/ 67 h 296"/>
                  <a:gd name="T90" fmla="*/ 47 w 202"/>
                  <a:gd name="T91" fmla="*/ 53 h 296"/>
                  <a:gd name="T92" fmla="*/ 55 w 202"/>
                  <a:gd name="T93" fmla="*/ 46 h 296"/>
                  <a:gd name="T94" fmla="*/ 97 w 202"/>
                  <a:gd name="T95" fmla="*/ 6 h 296"/>
                  <a:gd name="T96" fmla="*/ 97 w 202"/>
                  <a:gd name="T97" fmla="*/ 0 h 296"/>
                  <a:gd name="T98" fmla="*/ 110 w 202"/>
                  <a:gd name="T99" fmla="*/ 10 h 296"/>
                  <a:gd name="T100" fmla="*/ 116 w 202"/>
                  <a:gd name="T101" fmla="*/ 15 h 296"/>
                  <a:gd name="T102" fmla="*/ 124 w 202"/>
                  <a:gd name="T103" fmla="*/ 27 h 296"/>
                  <a:gd name="T104" fmla="*/ 131 w 202"/>
                  <a:gd name="T105" fmla="*/ 34 h 296"/>
                  <a:gd name="T106" fmla="*/ 143 w 202"/>
                  <a:gd name="T107" fmla="*/ 38 h 296"/>
                  <a:gd name="T108" fmla="*/ 150 w 202"/>
                  <a:gd name="T109" fmla="*/ 32 h 296"/>
                  <a:gd name="T110" fmla="*/ 160 w 202"/>
                  <a:gd name="T111" fmla="*/ 36 h 296"/>
                  <a:gd name="T112" fmla="*/ 171 w 202"/>
                  <a:gd name="T113" fmla="*/ 36 h 296"/>
                  <a:gd name="T114" fmla="*/ 179 w 202"/>
                  <a:gd name="T115" fmla="*/ 40 h 296"/>
                  <a:gd name="T116" fmla="*/ 179 w 202"/>
                  <a:gd name="T117" fmla="*/ 65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296">
                    <a:moveTo>
                      <a:pt x="181" y="65"/>
                    </a:moveTo>
                    <a:lnTo>
                      <a:pt x="181" y="67"/>
                    </a:lnTo>
                    <a:lnTo>
                      <a:pt x="181" y="69"/>
                    </a:lnTo>
                    <a:lnTo>
                      <a:pt x="179" y="69"/>
                    </a:lnTo>
                    <a:lnTo>
                      <a:pt x="179" y="67"/>
                    </a:lnTo>
                    <a:lnTo>
                      <a:pt x="177" y="67"/>
                    </a:lnTo>
                    <a:lnTo>
                      <a:pt x="177" y="69"/>
                    </a:lnTo>
                    <a:lnTo>
                      <a:pt x="177" y="67"/>
                    </a:lnTo>
                    <a:lnTo>
                      <a:pt x="175" y="67"/>
                    </a:lnTo>
                    <a:lnTo>
                      <a:pt x="177" y="67"/>
                    </a:lnTo>
                    <a:lnTo>
                      <a:pt x="175" y="67"/>
                    </a:lnTo>
                    <a:lnTo>
                      <a:pt x="175" y="65"/>
                    </a:lnTo>
                    <a:lnTo>
                      <a:pt x="173" y="65"/>
                    </a:lnTo>
                    <a:lnTo>
                      <a:pt x="171" y="65"/>
                    </a:lnTo>
                    <a:lnTo>
                      <a:pt x="169" y="65"/>
                    </a:lnTo>
                    <a:lnTo>
                      <a:pt x="171" y="65"/>
                    </a:lnTo>
                    <a:lnTo>
                      <a:pt x="169" y="65"/>
                    </a:lnTo>
                    <a:lnTo>
                      <a:pt x="167" y="65"/>
                    </a:lnTo>
                    <a:lnTo>
                      <a:pt x="167" y="67"/>
                    </a:lnTo>
                    <a:lnTo>
                      <a:pt x="166" y="67"/>
                    </a:lnTo>
                    <a:lnTo>
                      <a:pt x="166" y="69"/>
                    </a:lnTo>
                    <a:lnTo>
                      <a:pt x="164" y="67"/>
                    </a:lnTo>
                    <a:lnTo>
                      <a:pt x="164" y="69"/>
                    </a:lnTo>
                    <a:lnTo>
                      <a:pt x="162" y="69"/>
                    </a:lnTo>
                    <a:lnTo>
                      <a:pt x="160" y="69"/>
                    </a:lnTo>
                    <a:lnTo>
                      <a:pt x="158" y="69"/>
                    </a:lnTo>
                    <a:lnTo>
                      <a:pt x="158" y="71"/>
                    </a:lnTo>
                    <a:lnTo>
                      <a:pt x="158" y="69"/>
                    </a:lnTo>
                    <a:lnTo>
                      <a:pt x="156" y="69"/>
                    </a:lnTo>
                    <a:lnTo>
                      <a:pt x="156" y="71"/>
                    </a:lnTo>
                    <a:lnTo>
                      <a:pt x="156" y="69"/>
                    </a:lnTo>
                    <a:lnTo>
                      <a:pt x="156" y="71"/>
                    </a:lnTo>
                    <a:lnTo>
                      <a:pt x="154" y="71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2" y="71"/>
                    </a:lnTo>
                    <a:lnTo>
                      <a:pt x="152" y="69"/>
                    </a:lnTo>
                    <a:lnTo>
                      <a:pt x="152" y="71"/>
                    </a:lnTo>
                    <a:lnTo>
                      <a:pt x="150" y="71"/>
                    </a:lnTo>
                    <a:lnTo>
                      <a:pt x="148" y="71"/>
                    </a:lnTo>
                    <a:lnTo>
                      <a:pt x="148" y="73"/>
                    </a:lnTo>
                    <a:lnTo>
                      <a:pt x="146" y="73"/>
                    </a:lnTo>
                    <a:lnTo>
                      <a:pt x="148" y="73"/>
                    </a:lnTo>
                    <a:lnTo>
                      <a:pt x="146" y="73"/>
                    </a:lnTo>
                    <a:lnTo>
                      <a:pt x="146" y="74"/>
                    </a:lnTo>
                    <a:lnTo>
                      <a:pt x="145" y="74"/>
                    </a:lnTo>
                    <a:lnTo>
                      <a:pt x="143" y="74"/>
                    </a:lnTo>
                    <a:lnTo>
                      <a:pt x="143" y="76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41" y="76"/>
                    </a:lnTo>
                    <a:lnTo>
                      <a:pt x="141" y="78"/>
                    </a:lnTo>
                    <a:lnTo>
                      <a:pt x="139" y="78"/>
                    </a:lnTo>
                    <a:lnTo>
                      <a:pt x="137" y="78"/>
                    </a:lnTo>
                    <a:lnTo>
                      <a:pt x="137" y="80"/>
                    </a:lnTo>
                    <a:lnTo>
                      <a:pt x="135" y="80"/>
                    </a:lnTo>
                    <a:lnTo>
                      <a:pt x="135" y="82"/>
                    </a:lnTo>
                    <a:lnTo>
                      <a:pt x="133" y="84"/>
                    </a:lnTo>
                    <a:lnTo>
                      <a:pt x="135" y="84"/>
                    </a:lnTo>
                    <a:lnTo>
                      <a:pt x="133" y="84"/>
                    </a:lnTo>
                    <a:lnTo>
                      <a:pt x="133" y="86"/>
                    </a:lnTo>
                    <a:lnTo>
                      <a:pt x="133" y="88"/>
                    </a:lnTo>
                    <a:lnTo>
                      <a:pt x="133" y="90"/>
                    </a:lnTo>
                    <a:lnTo>
                      <a:pt x="131" y="90"/>
                    </a:lnTo>
                    <a:lnTo>
                      <a:pt x="133" y="90"/>
                    </a:lnTo>
                    <a:lnTo>
                      <a:pt x="131" y="90"/>
                    </a:lnTo>
                    <a:lnTo>
                      <a:pt x="131" y="92"/>
                    </a:lnTo>
                    <a:lnTo>
                      <a:pt x="129" y="92"/>
                    </a:lnTo>
                    <a:lnTo>
                      <a:pt x="129" y="93"/>
                    </a:lnTo>
                    <a:lnTo>
                      <a:pt x="129" y="95"/>
                    </a:lnTo>
                    <a:lnTo>
                      <a:pt x="129" y="97"/>
                    </a:lnTo>
                    <a:lnTo>
                      <a:pt x="129" y="99"/>
                    </a:lnTo>
                    <a:lnTo>
                      <a:pt x="131" y="101"/>
                    </a:lnTo>
                    <a:lnTo>
                      <a:pt x="129" y="101"/>
                    </a:lnTo>
                    <a:lnTo>
                      <a:pt x="131" y="103"/>
                    </a:lnTo>
                    <a:lnTo>
                      <a:pt x="129" y="103"/>
                    </a:lnTo>
                    <a:lnTo>
                      <a:pt x="127" y="103"/>
                    </a:lnTo>
                    <a:lnTo>
                      <a:pt x="126" y="105"/>
                    </a:lnTo>
                    <a:lnTo>
                      <a:pt x="127" y="105"/>
                    </a:lnTo>
                    <a:lnTo>
                      <a:pt x="124" y="105"/>
                    </a:lnTo>
                    <a:lnTo>
                      <a:pt x="122" y="107"/>
                    </a:lnTo>
                    <a:lnTo>
                      <a:pt x="122" y="109"/>
                    </a:lnTo>
                    <a:lnTo>
                      <a:pt x="120" y="109"/>
                    </a:lnTo>
                    <a:lnTo>
                      <a:pt x="120" y="111"/>
                    </a:lnTo>
                    <a:lnTo>
                      <a:pt x="122" y="111"/>
                    </a:lnTo>
                    <a:lnTo>
                      <a:pt x="120" y="113"/>
                    </a:lnTo>
                    <a:lnTo>
                      <a:pt x="122" y="114"/>
                    </a:lnTo>
                    <a:lnTo>
                      <a:pt x="120" y="116"/>
                    </a:lnTo>
                    <a:lnTo>
                      <a:pt x="120" y="114"/>
                    </a:lnTo>
                    <a:lnTo>
                      <a:pt x="120" y="116"/>
                    </a:lnTo>
                    <a:lnTo>
                      <a:pt x="118" y="116"/>
                    </a:lnTo>
                    <a:lnTo>
                      <a:pt x="118" y="118"/>
                    </a:lnTo>
                    <a:lnTo>
                      <a:pt x="116" y="118"/>
                    </a:lnTo>
                    <a:lnTo>
                      <a:pt x="118" y="120"/>
                    </a:lnTo>
                    <a:lnTo>
                      <a:pt x="120" y="120"/>
                    </a:lnTo>
                    <a:lnTo>
                      <a:pt x="120" y="122"/>
                    </a:lnTo>
                    <a:lnTo>
                      <a:pt x="122" y="122"/>
                    </a:lnTo>
                    <a:lnTo>
                      <a:pt x="122" y="124"/>
                    </a:lnTo>
                    <a:lnTo>
                      <a:pt x="120" y="124"/>
                    </a:lnTo>
                    <a:lnTo>
                      <a:pt x="122" y="126"/>
                    </a:lnTo>
                    <a:lnTo>
                      <a:pt x="122" y="128"/>
                    </a:lnTo>
                    <a:lnTo>
                      <a:pt x="124" y="128"/>
                    </a:lnTo>
                    <a:lnTo>
                      <a:pt x="124" y="130"/>
                    </a:lnTo>
                    <a:lnTo>
                      <a:pt x="124" y="132"/>
                    </a:lnTo>
                    <a:lnTo>
                      <a:pt x="126" y="132"/>
                    </a:lnTo>
                    <a:lnTo>
                      <a:pt x="126" y="134"/>
                    </a:lnTo>
                    <a:lnTo>
                      <a:pt x="127" y="134"/>
                    </a:lnTo>
                    <a:lnTo>
                      <a:pt x="127" y="135"/>
                    </a:lnTo>
                    <a:lnTo>
                      <a:pt x="129" y="137"/>
                    </a:lnTo>
                    <a:lnTo>
                      <a:pt x="131" y="141"/>
                    </a:lnTo>
                    <a:lnTo>
                      <a:pt x="133" y="141"/>
                    </a:lnTo>
                    <a:lnTo>
                      <a:pt x="133" y="143"/>
                    </a:lnTo>
                    <a:lnTo>
                      <a:pt x="133" y="145"/>
                    </a:lnTo>
                    <a:lnTo>
                      <a:pt x="131" y="147"/>
                    </a:lnTo>
                    <a:lnTo>
                      <a:pt x="129" y="149"/>
                    </a:lnTo>
                    <a:lnTo>
                      <a:pt x="137" y="149"/>
                    </a:lnTo>
                    <a:lnTo>
                      <a:pt x="139" y="149"/>
                    </a:lnTo>
                    <a:lnTo>
                      <a:pt x="141" y="151"/>
                    </a:lnTo>
                    <a:lnTo>
                      <a:pt x="143" y="151"/>
                    </a:lnTo>
                    <a:lnTo>
                      <a:pt x="145" y="151"/>
                    </a:lnTo>
                    <a:lnTo>
                      <a:pt x="145" y="153"/>
                    </a:lnTo>
                    <a:lnTo>
                      <a:pt x="145" y="155"/>
                    </a:lnTo>
                    <a:lnTo>
                      <a:pt x="146" y="155"/>
                    </a:lnTo>
                    <a:lnTo>
                      <a:pt x="146" y="156"/>
                    </a:lnTo>
                    <a:lnTo>
                      <a:pt x="146" y="158"/>
                    </a:lnTo>
                    <a:lnTo>
                      <a:pt x="158" y="158"/>
                    </a:lnTo>
                    <a:lnTo>
                      <a:pt x="160" y="158"/>
                    </a:lnTo>
                    <a:lnTo>
                      <a:pt x="162" y="158"/>
                    </a:lnTo>
                    <a:lnTo>
                      <a:pt x="162" y="156"/>
                    </a:lnTo>
                    <a:lnTo>
                      <a:pt x="164" y="156"/>
                    </a:lnTo>
                    <a:lnTo>
                      <a:pt x="164" y="155"/>
                    </a:lnTo>
                    <a:lnTo>
                      <a:pt x="166" y="155"/>
                    </a:lnTo>
                    <a:lnTo>
                      <a:pt x="166" y="153"/>
                    </a:lnTo>
                    <a:lnTo>
                      <a:pt x="167" y="153"/>
                    </a:lnTo>
                    <a:lnTo>
                      <a:pt x="167" y="151"/>
                    </a:lnTo>
                    <a:lnTo>
                      <a:pt x="169" y="151"/>
                    </a:lnTo>
                    <a:lnTo>
                      <a:pt x="171" y="149"/>
                    </a:lnTo>
                    <a:lnTo>
                      <a:pt x="173" y="149"/>
                    </a:lnTo>
                    <a:lnTo>
                      <a:pt x="171" y="149"/>
                    </a:lnTo>
                    <a:lnTo>
                      <a:pt x="173" y="149"/>
                    </a:lnTo>
                    <a:lnTo>
                      <a:pt x="171" y="149"/>
                    </a:lnTo>
                    <a:lnTo>
                      <a:pt x="171" y="151"/>
                    </a:lnTo>
                    <a:lnTo>
                      <a:pt x="171" y="153"/>
                    </a:lnTo>
                    <a:lnTo>
                      <a:pt x="171" y="155"/>
                    </a:lnTo>
                    <a:lnTo>
                      <a:pt x="171" y="156"/>
                    </a:lnTo>
                    <a:lnTo>
                      <a:pt x="171" y="174"/>
                    </a:lnTo>
                    <a:lnTo>
                      <a:pt x="173" y="174"/>
                    </a:lnTo>
                    <a:lnTo>
                      <a:pt x="173" y="176"/>
                    </a:lnTo>
                    <a:lnTo>
                      <a:pt x="175" y="176"/>
                    </a:lnTo>
                    <a:lnTo>
                      <a:pt x="177" y="176"/>
                    </a:lnTo>
                    <a:lnTo>
                      <a:pt x="179" y="174"/>
                    </a:lnTo>
                    <a:lnTo>
                      <a:pt x="181" y="174"/>
                    </a:lnTo>
                    <a:lnTo>
                      <a:pt x="183" y="174"/>
                    </a:lnTo>
                    <a:lnTo>
                      <a:pt x="185" y="174"/>
                    </a:lnTo>
                    <a:lnTo>
                      <a:pt x="187" y="174"/>
                    </a:lnTo>
                    <a:lnTo>
                      <a:pt x="194" y="185"/>
                    </a:lnTo>
                    <a:lnTo>
                      <a:pt x="202" y="198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202" y="200"/>
                    </a:lnTo>
                    <a:lnTo>
                      <a:pt x="200" y="200"/>
                    </a:lnTo>
                    <a:lnTo>
                      <a:pt x="200" y="202"/>
                    </a:lnTo>
                    <a:lnTo>
                      <a:pt x="200" y="204"/>
                    </a:lnTo>
                    <a:lnTo>
                      <a:pt x="198" y="204"/>
                    </a:lnTo>
                    <a:lnTo>
                      <a:pt x="198" y="206"/>
                    </a:lnTo>
                    <a:lnTo>
                      <a:pt x="198" y="208"/>
                    </a:lnTo>
                    <a:lnTo>
                      <a:pt x="198" y="210"/>
                    </a:lnTo>
                    <a:lnTo>
                      <a:pt x="198" y="212"/>
                    </a:lnTo>
                    <a:lnTo>
                      <a:pt x="198" y="214"/>
                    </a:lnTo>
                    <a:lnTo>
                      <a:pt x="198" y="216"/>
                    </a:lnTo>
                    <a:lnTo>
                      <a:pt x="196" y="216"/>
                    </a:lnTo>
                    <a:lnTo>
                      <a:pt x="196" y="218"/>
                    </a:lnTo>
                    <a:lnTo>
                      <a:pt x="194" y="218"/>
                    </a:lnTo>
                    <a:lnTo>
                      <a:pt x="196" y="219"/>
                    </a:lnTo>
                    <a:lnTo>
                      <a:pt x="196" y="221"/>
                    </a:lnTo>
                    <a:lnTo>
                      <a:pt x="196" y="223"/>
                    </a:lnTo>
                    <a:lnTo>
                      <a:pt x="198" y="223"/>
                    </a:lnTo>
                    <a:lnTo>
                      <a:pt x="198" y="225"/>
                    </a:lnTo>
                    <a:lnTo>
                      <a:pt x="198" y="227"/>
                    </a:lnTo>
                    <a:lnTo>
                      <a:pt x="196" y="227"/>
                    </a:lnTo>
                    <a:lnTo>
                      <a:pt x="196" y="229"/>
                    </a:lnTo>
                    <a:lnTo>
                      <a:pt x="196" y="231"/>
                    </a:lnTo>
                    <a:lnTo>
                      <a:pt x="194" y="233"/>
                    </a:lnTo>
                    <a:lnTo>
                      <a:pt x="192" y="233"/>
                    </a:lnTo>
                    <a:lnTo>
                      <a:pt x="192" y="235"/>
                    </a:lnTo>
                    <a:lnTo>
                      <a:pt x="192" y="237"/>
                    </a:lnTo>
                    <a:lnTo>
                      <a:pt x="190" y="237"/>
                    </a:lnTo>
                    <a:lnTo>
                      <a:pt x="190" y="239"/>
                    </a:lnTo>
                    <a:lnTo>
                      <a:pt x="192" y="240"/>
                    </a:lnTo>
                    <a:lnTo>
                      <a:pt x="192" y="242"/>
                    </a:lnTo>
                    <a:lnTo>
                      <a:pt x="194" y="244"/>
                    </a:lnTo>
                    <a:lnTo>
                      <a:pt x="192" y="244"/>
                    </a:lnTo>
                    <a:lnTo>
                      <a:pt x="192" y="246"/>
                    </a:lnTo>
                    <a:lnTo>
                      <a:pt x="192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2" y="259"/>
                    </a:lnTo>
                    <a:lnTo>
                      <a:pt x="194" y="259"/>
                    </a:lnTo>
                    <a:lnTo>
                      <a:pt x="196" y="259"/>
                    </a:lnTo>
                    <a:lnTo>
                      <a:pt x="200" y="261"/>
                    </a:lnTo>
                    <a:lnTo>
                      <a:pt x="196" y="263"/>
                    </a:lnTo>
                    <a:lnTo>
                      <a:pt x="196" y="265"/>
                    </a:lnTo>
                    <a:lnTo>
                      <a:pt x="196" y="267"/>
                    </a:lnTo>
                    <a:lnTo>
                      <a:pt x="194" y="269"/>
                    </a:lnTo>
                    <a:lnTo>
                      <a:pt x="192" y="269"/>
                    </a:lnTo>
                    <a:lnTo>
                      <a:pt x="192" y="271"/>
                    </a:lnTo>
                    <a:lnTo>
                      <a:pt x="190" y="273"/>
                    </a:lnTo>
                    <a:lnTo>
                      <a:pt x="190" y="275"/>
                    </a:lnTo>
                    <a:lnTo>
                      <a:pt x="188" y="275"/>
                    </a:lnTo>
                    <a:lnTo>
                      <a:pt x="187" y="277"/>
                    </a:lnTo>
                    <a:lnTo>
                      <a:pt x="187" y="279"/>
                    </a:lnTo>
                    <a:lnTo>
                      <a:pt x="188" y="279"/>
                    </a:lnTo>
                    <a:lnTo>
                      <a:pt x="188" y="280"/>
                    </a:lnTo>
                    <a:lnTo>
                      <a:pt x="185" y="284"/>
                    </a:lnTo>
                    <a:lnTo>
                      <a:pt x="183" y="284"/>
                    </a:lnTo>
                    <a:lnTo>
                      <a:pt x="183" y="286"/>
                    </a:lnTo>
                    <a:lnTo>
                      <a:pt x="185" y="288"/>
                    </a:lnTo>
                    <a:lnTo>
                      <a:pt x="183" y="288"/>
                    </a:lnTo>
                    <a:lnTo>
                      <a:pt x="185" y="288"/>
                    </a:lnTo>
                    <a:lnTo>
                      <a:pt x="185" y="290"/>
                    </a:lnTo>
                    <a:lnTo>
                      <a:pt x="185" y="292"/>
                    </a:lnTo>
                    <a:lnTo>
                      <a:pt x="181" y="294"/>
                    </a:lnTo>
                    <a:lnTo>
                      <a:pt x="177" y="296"/>
                    </a:lnTo>
                    <a:lnTo>
                      <a:pt x="175" y="296"/>
                    </a:lnTo>
                    <a:lnTo>
                      <a:pt x="171" y="294"/>
                    </a:lnTo>
                    <a:lnTo>
                      <a:pt x="169" y="292"/>
                    </a:lnTo>
                    <a:lnTo>
                      <a:pt x="167" y="290"/>
                    </a:lnTo>
                    <a:lnTo>
                      <a:pt x="166" y="290"/>
                    </a:lnTo>
                    <a:lnTo>
                      <a:pt x="166" y="288"/>
                    </a:lnTo>
                    <a:lnTo>
                      <a:pt x="164" y="288"/>
                    </a:lnTo>
                    <a:lnTo>
                      <a:pt x="162" y="286"/>
                    </a:lnTo>
                    <a:lnTo>
                      <a:pt x="160" y="284"/>
                    </a:lnTo>
                    <a:lnTo>
                      <a:pt x="158" y="284"/>
                    </a:lnTo>
                    <a:lnTo>
                      <a:pt x="160" y="284"/>
                    </a:lnTo>
                    <a:lnTo>
                      <a:pt x="158" y="280"/>
                    </a:lnTo>
                    <a:lnTo>
                      <a:pt x="158" y="279"/>
                    </a:lnTo>
                    <a:lnTo>
                      <a:pt x="156" y="279"/>
                    </a:lnTo>
                    <a:lnTo>
                      <a:pt x="156" y="277"/>
                    </a:lnTo>
                    <a:lnTo>
                      <a:pt x="152" y="277"/>
                    </a:lnTo>
                    <a:lnTo>
                      <a:pt x="150" y="275"/>
                    </a:lnTo>
                    <a:lnTo>
                      <a:pt x="148" y="273"/>
                    </a:lnTo>
                    <a:lnTo>
                      <a:pt x="146" y="273"/>
                    </a:lnTo>
                    <a:lnTo>
                      <a:pt x="145" y="271"/>
                    </a:lnTo>
                    <a:lnTo>
                      <a:pt x="143" y="269"/>
                    </a:lnTo>
                    <a:lnTo>
                      <a:pt x="141" y="267"/>
                    </a:lnTo>
                    <a:lnTo>
                      <a:pt x="137" y="267"/>
                    </a:lnTo>
                    <a:lnTo>
                      <a:pt x="133" y="265"/>
                    </a:lnTo>
                    <a:lnTo>
                      <a:pt x="131" y="265"/>
                    </a:lnTo>
                    <a:lnTo>
                      <a:pt x="131" y="263"/>
                    </a:lnTo>
                    <a:lnTo>
                      <a:pt x="129" y="263"/>
                    </a:lnTo>
                    <a:lnTo>
                      <a:pt x="127" y="263"/>
                    </a:lnTo>
                    <a:lnTo>
                      <a:pt x="127" y="261"/>
                    </a:lnTo>
                    <a:lnTo>
                      <a:pt x="126" y="261"/>
                    </a:lnTo>
                    <a:lnTo>
                      <a:pt x="124" y="259"/>
                    </a:lnTo>
                    <a:lnTo>
                      <a:pt x="122" y="259"/>
                    </a:lnTo>
                    <a:lnTo>
                      <a:pt x="118" y="259"/>
                    </a:lnTo>
                    <a:lnTo>
                      <a:pt x="116" y="258"/>
                    </a:lnTo>
                    <a:lnTo>
                      <a:pt x="116" y="256"/>
                    </a:lnTo>
                    <a:lnTo>
                      <a:pt x="112" y="254"/>
                    </a:lnTo>
                    <a:lnTo>
                      <a:pt x="110" y="254"/>
                    </a:lnTo>
                    <a:lnTo>
                      <a:pt x="108" y="252"/>
                    </a:lnTo>
                    <a:lnTo>
                      <a:pt x="106" y="250"/>
                    </a:lnTo>
                    <a:lnTo>
                      <a:pt x="105" y="250"/>
                    </a:lnTo>
                    <a:lnTo>
                      <a:pt x="103" y="250"/>
                    </a:lnTo>
                    <a:lnTo>
                      <a:pt x="103" y="248"/>
                    </a:lnTo>
                    <a:lnTo>
                      <a:pt x="101" y="248"/>
                    </a:lnTo>
                    <a:lnTo>
                      <a:pt x="99" y="246"/>
                    </a:lnTo>
                    <a:lnTo>
                      <a:pt x="97" y="246"/>
                    </a:lnTo>
                    <a:lnTo>
                      <a:pt x="99" y="246"/>
                    </a:lnTo>
                    <a:lnTo>
                      <a:pt x="99" y="244"/>
                    </a:lnTo>
                    <a:lnTo>
                      <a:pt x="97" y="244"/>
                    </a:lnTo>
                    <a:lnTo>
                      <a:pt x="97" y="242"/>
                    </a:lnTo>
                    <a:lnTo>
                      <a:pt x="95" y="242"/>
                    </a:lnTo>
                    <a:lnTo>
                      <a:pt x="95" y="240"/>
                    </a:lnTo>
                    <a:lnTo>
                      <a:pt x="93" y="240"/>
                    </a:lnTo>
                    <a:lnTo>
                      <a:pt x="93" y="239"/>
                    </a:lnTo>
                    <a:lnTo>
                      <a:pt x="87" y="235"/>
                    </a:lnTo>
                    <a:lnTo>
                      <a:pt x="85" y="235"/>
                    </a:lnTo>
                    <a:lnTo>
                      <a:pt x="85" y="233"/>
                    </a:lnTo>
                    <a:lnTo>
                      <a:pt x="85" y="231"/>
                    </a:lnTo>
                    <a:lnTo>
                      <a:pt x="84" y="231"/>
                    </a:lnTo>
                    <a:lnTo>
                      <a:pt x="84" y="229"/>
                    </a:lnTo>
                    <a:lnTo>
                      <a:pt x="82" y="229"/>
                    </a:lnTo>
                    <a:lnTo>
                      <a:pt x="84" y="229"/>
                    </a:lnTo>
                    <a:lnTo>
                      <a:pt x="82" y="227"/>
                    </a:lnTo>
                    <a:lnTo>
                      <a:pt x="82" y="225"/>
                    </a:lnTo>
                    <a:lnTo>
                      <a:pt x="80" y="225"/>
                    </a:lnTo>
                    <a:lnTo>
                      <a:pt x="82" y="227"/>
                    </a:lnTo>
                    <a:lnTo>
                      <a:pt x="80" y="227"/>
                    </a:lnTo>
                    <a:lnTo>
                      <a:pt x="80" y="225"/>
                    </a:lnTo>
                    <a:lnTo>
                      <a:pt x="80" y="223"/>
                    </a:lnTo>
                    <a:lnTo>
                      <a:pt x="80" y="221"/>
                    </a:lnTo>
                    <a:lnTo>
                      <a:pt x="78" y="221"/>
                    </a:lnTo>
                    <a:lnTo>
                      <a:pt x="80" y="219"/>
                    </a:lnTo>
                    <a:lnTo>
                      <a:pt x="80" y="221"/>
                    </a:lnTo>
                    <a:lnTo>
                      <a:pt x="82" y="221"/>
                    </a:lnTo>
                    <a:lnTo>
                      <a:pt x="82" y="219"/>
                    </a:lnTo>
                    <a:lnTo>
                      <a:pt x="82" y="218"/>
                    </a:lnTo>
                    <a:lnTo>
                      <a:pt x="82" y="216"/>
                    </a:lnTo>
                    <a:lnTo>
                      <a:pt x="82" y="214"/>
                    </a:lnTo>
                    <a:lnTo>
                      <a:pt x="78" y="208"/>
                    </a:lnTo>
                    <a:lnTo>
                      <a:pt x="76" y="206"/>
                    </a:lnTo>
                    <a:lnTo>
                      <a:pt x="76" y="204"/>
                    </a:lnTo>
                    <a:lnTo>
                      <a:pt x="74" y="202"/>
                    </a:lnTo>
                    <a:lnTo>
                      <a:pt x="74" y="200"/>
                    </a:lnTo>
                    <a:lnTo>
                      <a:pt x="72" y="198"/>
                    </a:lnTo>
                    <a:lnTo>
                      <a:pt x="72" y="197"/>
                    </a:lnTo>
                    <a:lnTo>
                      <a:pt x="68" y="195"/>
                    </a:lnTo>
                    <a:lnTo>
                      <a:pt x="68" y="193"/>
                    </a:lnTo>
                    <a:lnTo>
                      <a:pt x="66" y="193"/>
                    </a:lnTo>
                    <a:lnTo>
                      <a:pt x="66" y="191"/>
                    </a:lnTo>
                    <a:lnTo>
                      <a:pt x="66" y="189"/>
                    </a:lnTo>
                    <a:lnTo>
                      <a:pt x="66" y="187"/>
                    </a:lnTo>
                    <a:lnTo>
                      <a:pt x="66" y="185"/>
                    </a:lnTo>
                    <a:lnTo>
                      <a:pt x="64" y="183"/>
                    </a:lnTo>
                    <a:lnTo>
                      <a:pt x="63" y="181"/>
                    </a:lnTo>
                    <a:lnTo>
                      <a:pt x="59" y="179"/>
                    </a:lnTo>
                    <a:lnTo>
                      <a:pt x="59" y="177"/>
                    </a:lnTo>
                    <a:lnTo>
                      <a:pt x="59" y="176"/>
                    </a:lnTo>
                    <a:lnTo>
                      <a:pt x="59" y="174"/>
                    </a:lnTo>
                    <a:lnTo>
                      <a:pt x="57" y="174"/>
                    </a:lnTo>
                    <a:lnTo>
                      <a:pt x="57" y="172"/>
                    </a:lnTo>
                    <a:lnTo>
                      <a:pt x="57" y="170"/>
                    </a:lnTo>
                    <a:lnTo>
                      <a:pt x="55" y="168"/>
                    </a:lnTo>
                    <a:lnTo>
                      <a:pt x="53" y="166"/>
                    </a:lnTo>
                    <a:lnTo>
                      <a:pt x="53" y="164"/>
                    </a:lnTo>
                    <a:lnTo>
                      <a:pt x="51" y="162"/>
                    </a:lnTo>
                    <a:lnTo>
                      <a:pt x="51" y="160"/>
                    </a:lnTo>
                    <a:lnTo>
                      <a:pt x="49" y="160"/>
                    </a:lnTo>
                    <a:lnTo>
                      <a:pt x="51" y="160"/>
                    </a:lnTo>
                    <a:lnTo>
                      <a:pt x="51" y="158"/>
                    </a:lnTo>
                    <a:lnTo>
                      <a:pt x="49" y="158"/>
                    </a:lnTo>
                    <a:lnTo>
                      <a:pt x="49" y="156"/>
                    </a:lnTo>
                    <a:lnTo>
                      <a:pt x="49" y="155"/>
                    </a:lnTo>
                    <a:lnTo>
                      <a:pt x="47" y="153"/>
                    </a:lnTo>
                    <a:lnTo>
                      <a:pt x="47" y="151"/>
                    </a:lnTo>
                    <a:lnTo>
                      <a:pt x="47" y="149"/>
                    </a:lnTo>
                    <a:lnTo>
                      <a:pt x="45" y="149"/>
                    </a:lnTo>
                    <a:lnTo>
                      <a:pt x="47" y="149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4" y="145"/>
                    </a:lnTo>
                    <a:lnTo>
                      <a:pt x="44" y="147"/>
                    </a:lnTo>
                    <a:lnTo>
                      <a:pt x="44" y="145"/>
                    </a:lnTo>
                    <a:lnTo>
                      <a:pt x="44" y="143"/>
                    </a:lnTo>
                    <a:lnTo>
                      <a:pt x="42" y="143"/>
                    </a:lnTo>
                    <a:lnTo>
                      <a:pt x="44" y="141"/>
                    </a:lnTo>
                    <a:lnTo>
                      <a:pt x="42" y="139"/>
                    </a:lnTo>
                    <a:lnTo>
                      <a:pt x="42" y="137"/>
                    </a:lnTo>
                    <a:lnTo>
                      <a:pt x="42" y="135"/>
                    </a:lnTo>
                    <a:lnTo>
                      <a:pt x="40" y="135"/>
                    </a:lnTo>
                    <a:lnTo>
                      <a:pt x="38" y="134"/>
                    </a:lnTo>
                    <a:lnTo>
                      <a:pt x="40" y="132"/>
                    </a:lnTo>
                    <a:lnTo>
                      <a:pt x="38" y="132"/>
                    </a:lnTo>
                    <a:lnTo>
                      <a:pt x="38" y="130"/>
                    </a:lnTo>
                    <a:lnTo>
                      <a:pt x="36" y="128"/>
                    </a:lnTo>
                    <a:lnTo>
                      <a:pt x="32" y="124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8" y="118"/>
                    </a:lnTo>
                    <a:lnTo>
                      <a:pt x="28" y="116"/>
                    </a:lnTo>
                    <a:lnTo>
                      <a:pt x="28" y="114"/>
                    </a:lnTo>
                    <a:lnTo>
                      <a:pt x="26" y="113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17" y="103"/>
                    </a:lnTo>
                    <a:lnTo>
                      <a:pt x="9" y="99"/>
                    </a:lnTo>
                    <a:lnTo>
                      <a:pt x="7" y="97"/>
                    </a:lnTo>
                    <a:lnTo>
                      <a:pt x="3" y="95"/>
                    </a:lnTo>
                    <a:lnTo>
                      <a:pt x="3" y="93"/>
                    </a:lnTo>
                    <a:lnTo>
                      <a:pt x="3" y="92"/>
                    </a:lnTo>
                    <a:lnTo>
                      <a:pt x="5" y="92"/>
                    </a:lnTo>
                    <a:lnTo>
                      <a:pt x="7" y="92"/>
                    </a:lnTo>
                    <a:lnTo>
                      <a:pt x="7" y="90"/>
                    </a:lnTo>
                    <a:lnTo>
                      <a:pt x="7" y="88"/>
                    </a:lnTo>
                    <a:lnTo>
                      <a:pt x="5" y="86"/>
                    </a:lnTo>
                    <a:lnTo>
                      <a:pt x="3" y="84"/>
                    </a:lnTo>
                    <a:lnTo>
                      <a:pt x="3" y="82"/>
                    </a:lnTo>
                    <a:lnTo>
                      <a:pt x="2" y="82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3" y="80"/>
                    </a:lnTo>
                    <a:lnTo>
                      <a:pt x="3" y="78"/>
                    </a:lnTo>
                    <a:lnTo>
                      <a:pt x="0" y="73"/>
                    </a:lnTo>
                    <a:lnTo>
                      <a:pt x="2" y="71"/>
                    </a:lnTo>
                    <a:lnTo>
                      <a:pt x="0" y="71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3" y="65"/>
                    </a:lnTo>
                    <a:lnTo>
                      <a:pt x="5" y="63"/>
                    </a:lnTo>
                    <a:lnTo>
                      <a:pt x="5" y="61"/>
                    </a:lnTo>
                    <a:lnTo>
                      <a:pt x="7" y="61"/>
                    </a:lnTo>
                    <a:lnTo>
                      <a:pt x="9" y="57"/>
                    </a:lnTo>
                    <a:lnTo>
                      <a:pt x="13" y="55"/>
                    </a:lnTo>
                    <a:lnTo>
                      <a:pt x="13" y="53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19" y="53"/>
                    </a:lnTo>
                    <a:lnTo>
                      <a:pt x="19" y="55"/>
                    </a:lnTo>
                    <a:lnTo>
                      <a:pt x="17" y="55"/>
                    </a:lnTo>
                    <a:lnTo>
                      <a:pt x="19" y="55"/>
                    </a:lnTo>
                    <a:lnTo>
                      <a:pt x="19" y="57"/>
                    </a:lnTo>
                    <a:lnTo>
                      <a:pt x="19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5" y="65"/>
                    </a:lnTo>
                    <a:lnTo>
                      <a:pt x="17" y="65"/>
                    </a:lnTo>
                    <a:lnTo>
                      <a:pt x="15" y="69"/>
                    </a:lnTo>
                    <a:lnTo>
                      <a:pt x="15" y="71"/>
                    </a:lnTo>
                    <a:lnTo>
                      <a:pt x="17" y="69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21" y="67"/>
                    </a:lnTo>
                    <a:lnTo>
                      <a:pt x="23" y="69"/>
                    </a:lnTo>
                    <a:lnTo>
                      <a:pt x="24" y="71"/>
                    </a:lnTo>
                    <a:lnTo>
                      <a:pt x="26" y="71"/>
                    </a:lnTo>
                    <a:lnTo>
                      <a:pt x="26" y="69"/>
                    </a:lnTo>
                    <a:lnTo>
                      <a:pt x="28" y="69"/>
                    </a:lnTo>
                    <a:lnTo>
                      <a:pt x="28" y="71"/>
                    </a:lnTo>
                    <a:lnTo>
                      <a:pt x="30" y="71"/>
                    </a:lnTo>
                    <a:lnTo>
                      <a:pt x="30" y="73"/>
                    </a:lnTo>
                    <a:lnTo>
                      <a:pt x="30" y="74"/>
                    </a:lnTo>
                    <a:lnTo>
                      <a:pt x="30" y="76"/>
                    </a:lnTo>
                    <a:lnTo>
                      <a:pt x="32" y="76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6" y="78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40" y="76"/>
                    </a:lnTo>
                    <a:lnTo>
                      <a:pt x="38" y="76"/>
                    </a:lnTo>
                    <a:lnTo>
                      <a:pt x="40" y="74"/>
                    </a:lnTo>
                    <a:lnTo>
                      <a:pt x="38" y="74"/>
                    </a:lnTo>
                    <a:lnTo>
                      <a:pt x="40" y="74"/>
                    </a:lnTo>
                    <a:lnTo>
                      <a:pt x="40" y="73"/>
                    </a:lnTo>
                    <a:lnTo>
                      <a:pt x="42" y="73"/>
                    </a:lnTo>
                    <a:lnTo>
                      <a:pt x="44" y="71"/>
                    </a:lnTo>
                    <a:lnTo>
                      <a:pt x="44" y="69"/>
                    </a:lnTo>
                    <a:lnTo>
                      <a:pt x="44" y="67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5" y="61"/>
                    </a:lnTo>
                    <a:lnTo>
                      <a:pt x="45" y="59"/>
                    </a:lnTo>
                    <a:lnTo>
                      <a:pt x="47" y="59"/>
                    </a:lnTo>
                    <a:lnTo>
                      <a:pt x="47" y="57"/>
                    </a:lnTo>
                    <a:lnTo>
                      <a:pt x="45" y="57"/>
                    </a:lnTo>
                    <a:lnTo>
                      <a:pt x="47" y="57"/>
                    </a:lnTo>
                    <a:lnTo>
                      <a:pt x="47" y="55"/>
                    </a:lnTo>
                    <a:lnTo>
                      <a:pt x="47" y="53"/>
                    </a:lnTo>
                    <a:lnTo>
                      <a:pt x="47" y="52"/>
                    </a:lnTo>
                    <a:lnTo>
                      <a:pt x="49" y="53"/>
                    </a:lnTo>
                    <a:lnTo>
                      <a:pt x="51" y="53"/>
                    </a:lnTo>
                    <a:lnTo>
                      <a:pt x="49" y="53"/>
                    </a:lnTo>
                    <a:lnTo>
                      <a:pt x="49" y="52"/>
                    </a:lnTo>
                    <a:lnTo>
                      <a:pt x="51" y="52"/>
                    </a:lnTo>
                    <a:lnTo>
                      <a:pt x="51" y="50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5" y="46"/>
                    </a:lnTo>
                    <a:lnTo>
                      <a:pt x="74" y="40"/>
                    </a:lnTo>
                    <a:lnTo>
                      <a:pt x="84" y="32"/>
                    </a:lnTo>
                    <a:lnTo>
                      <a:pt x="87" y="27"/>
                    </a:lnTo>
                    <a:lnTo>
                      <a:pt x="91" y="23"/>
                    </a:lnTo>
                    <a:lnTo>
                      <a:pt x="95" y="13"/>
                    </a:lnTo>
                    <a:lnTo>
                      <a:pt x="97" y="13"/>
                    </a:lnTo>
                    <a:lnTo>
                      <a:pt x="97" y="11"/>
                    </a:lnTo>
                    <a:lnTo>
                      <a:pt x="97" y="10"/>
                    </a:lnTo>
                    <a:lnTo>
                      <a:pt x="97" y="8"/>
                    </a:lnTo>
                    <a:lnTo>
                      <a:pt x="97" y="6"/>
                    </a:lnTo>
                    <a:lnTo>
                      <a:pt x="95" y="6"/>
                    </a:lnTo>
                    <a:lnTo>
                      <a:pt x="93" y="4"/>
                    </a:lnTo>
                    <a:lnTo>
                      <a:pt x="93" y="2"/>
                    </a:lnTo>
                    <a:lnTo>
                      <a:pt x="91" y="2"/>
                    </a:lnTo>
                    <a:lnTo>
                      <a:pt x="91" y="0"/>
                    </a:lnTo>
                    <a:lnTo>
                      <a:pt x="93" y="0"/>
                    </a:lnTo>
                    <a:lnTo>
                      <a:pt x="95" y="2"/>
                    </a:lnTo>
                    <a:lnTo>
                      <a:pt x="95" y="0"/>
                    </a:lnTo>
                    <a:lnTo>
                      <a:pt x="95" y="2"/>
                    </a:lnTo>
                    <a:lnTo>
                      <a:pt x="97" y="0"/>
                    </a:lnTo>
                    <a:lnTo>
                      <a:pt x="99" y="0"/>
                    </a:lnTo>
                    <a:lnTo>
                      <a:pt x="101" y="0"/>
                    </a:lnTo>
                    <a:lnTo>
                      <a:pt x="103" y="2"/>
                    </a:lnTo>
                    <a:lnTo>
                      <a:pt x="105" y="2"/>
                    </a:lnTo>
                    <a:lnTo>
                      <a:pt x="105" y="4"/>
                    </a:lnTo>
                    <a:lnTo>
                      <a:pt x="106" y="4"/>
                    </a:lnTo>
                    <a:lnTo>
                      <a:pt x="108" y="6"/>
                    </a:lnTo>
                    <a:lnTo>
                      <a:pt x="110" y="6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0" y="10"/>
                    </a:lnTo>
                    <a:lnTo>
                      <a:pt x="110" y="11"/>
                    </a:lnTo>
                    <a:lnTo>
                      <a:pt x="112" y="10"/>
                    </a:lnTo>
                    <a:lnTo>
                      <a:pt x="112" y="11"/>
                    </a:lnTo>
                    <a:lnTo>
                      <a:pt x="112" y="13"/>
                    </a:lnTo>
                    <a:lnTo>
                      <a:pt x="112" y="11"/>
                    </a:lnTo>
                    <a:lnTo>
                      <a:pt x="112" y="13"/>
                    </a:lnTo>
                    <a:lnTo>
                      <a:pt x="114" y="15"/>
                    </a:lnTo>
                    <a:lnTo>
                      <a:pt x="116" y="15"/>
                    </a:lnTo>
                    <a:lnTo>
                      <a:pt x="118" y="15"/>
                    </a:lnTo>
                    <a:lnTo>
                      <a:pt x="118" y="17"/>
                    </a:lnTo>
                    <a:lnTo>
                      <a:pt x="120" y="19"/>
                    </a:lnTo>
                    <a:lnTo>
                      <a:pt x="120" y="17"/>
                    </a:lnTo>
                    <a:lnTo>
                      <a:pt x="122" y="19"/>
                    </a:lnTo>
                    <a:lnTo>
                      <a:pt x="124" y="19"/>
                    </a:lnTo>
                    <a:lnTo>
                      <a:pt x="124" y="21"/>
                    </a:lnTo>
                    <a:lnTo>
                      <a:pt x="126" y="23"/>
                    </a:lnTo>
                    <a:lnTo>
                      <a:pt x="124" y="25"/>
                    </a:lnTo>
                    <a:lnTo>
                      <a:pt x="124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9" y="27"/>
                    </a:lnTo>
                    <a:lnTo>
                      <a:pt x="129" y="29"/>
                    </a:lnTo>
                    <a:lnTo>
                      <a:pt x="131" y="29"/>
                    </a:lnTo>
                    <a:lnTo>
                      <a:pt x="131" y="31"/>
                    </a:lnTo>
                    <a:lnTo>
                      <a:pt x="131" y="32"/>
                    </a:lnTo>
                    <a:lnTo>
                      <a:pt x="129" y="32"/>
                    </a:lnTo>
                    <a:lnTo>
                      <a:pt x="129" y="34"/>
                    </a:lnTo>
                    <a:lnTo>
                      <a:pt x="131" y="34"/>
                    </a:lnTo>
                    <a:lnTo>
                      <a:pt x="131" y="36"/>
                    </a:lnTo>
                    <a:lnTo>
                      <a:pt x="133" y="36"/>
                    </a:lnTo>
                    <a:lnTo>
                      <a:pt x="133" y="38"/>
                    </a:lnTo>
                    <a:lnTo>
                      <a:pt x="135" y="36"/>
                    </a:lnTo>
                    <a:lnTo>
                      <a:pt x="137" y="36"/>
                    </a:lnTo>
                    <a:lnTo>
                      <a:pt x="137" y="38"/>
                    </a:lnTo>
                    <a:lnTo>
                      <a:pt x="139" y="36"/>
                    </a:lnTo>
                    <a:lnTo>
                      <a:pt x="141" y="36"/>
                    </a:lnTo>
                    <a:lnTo>
                      <a:pt x="143" y="36"/>
                    </a:lnTo>
                    <a:lnTo>
                      <a:pt x="143" y="38"/>
                    </a:lnTo>
                    <a:lnTo>
                      <a:pt x="145" y="38"/>
                    </a:lnTo>
                    <a:lnTo>
                      <a:pt x="145" y="36"/>
                    </a:lnTo>
                    <a:lnTo>
                      <a:pt x="145" y="38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50" y="32"/>
                    </a:lnTo>
                    <a:lnTo>
                      <a:pt x="152" y="34"/>
                    </a:lnTo>
                    <a:lnTo>
                      <a:pt x="152" y="32"/>
                    </a:lnTo>
                    <a:lnTo>
                      <a:pt x="152" y="34"/>
                    </a:lnTo>
                    <a:lnTo>
                      <a:pt x="154" y="34"/>
                    </a:lnTo>
                    <a:lnTo>
                      <a:pt x="156" y="34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58" y="34"/>
                    </a:lnTo>
                    <a:lnTo>
                      <a:pt x="158" y="36"/>
                    </a:lnTo>
                    <a:lnTo>
                      <a:pt x="160" y="36"/>
                    </a:lnTo>
                    <a:lnTo>
                      <a:pt x="162" y="36"/>
                    </a:lnTo>
                    <a:lnTo>
                      <a:pt x="162" y="34"/>
                    </a:lnTo>
                    <a:lnTo>
                      <a:pt x="164" y="34"/>
                    </a:lnTo>
                    <a:lnTo>
                      <a:pt x="166" y="34"/>
                    </a:lnTo>
                    <a:lnTo>
                      <a:pt x="167" y="34"/>
                    </a:lnTo>
                    <a:lnTo>
                      <a:pt x="167" y="36"/>
                    </a:lnTo>
                    <a:lnTo>
                      <a:pt x="169" y="36"/>
                    </a:lnTo>
                    <a:lnTo>
                      <a:pt x="169" y="38"/>
                    </a:lnTo>
                    <a:lnTo>
                      <a:pt x="171" y="38"/>
                    </a:lnTo>
                    <a:lnTo>
                      <a:pt x="171" y="36"/>
                    </a:lnTo>
                    <a:lnTo>
                      <a:pt x="171" y="38"/>
                    </a:lnTo>
                    <a:lnTo>
                      <a:pt x="173" y="38"/>
                    </a:lnTo>
                    <a:lnTo>
                      <a:pt x="175" y="38"/>
                    </a:lnTo>
                    <a:lnTo>
                      <a:pt x="175" y="40"/>
                    </a:lnTo>
                    <a:lnTo>
                      <a:pt x="175" y="38"/>
                    </a:lnTo>
                    <a:lnTo>
                      <a:pt x="177" y="38"/>
                    </a:lnTo>
                    <a:lnTo>
                      <a:pt x="177" y="40"/>
                    </a:lnTo>
                    <a:lnTo>
                      <a:pt x="177" y="42"/>
                    </a:lnTo>
                    <a:lnTo>
                      <a:pt x="179" y="42"/>
                    </a:lnTo>
                    <a:lnTo>
                      <a:pt x="179" y="40"/>
                    </a:lnTo>
                    <a:lnTo>
                      <a:pt x="179" y="42"/>
                    </a:lnTo>
                    <a:lnTo>
                      <a:pt x="169" y="59"/>
                    </a:lnTo>
                    <a:lnTo>
                      <a:pt x="171" y="59"/>
                    </a:lnTo>
                    <a:lnTo>
                      <a:pt x="171" y="61"/>
                    </a:lnTo>
                    <a:lnTo>
                      <a:pt x="173" y="59"/>
                    </a:lnTo>
                    <a:lnTo>
                      <a:pt x="175" y="59"/>
                    </a:lnTo>
                    <a:lnTo>
                      <a:pt x="177" y="61"/>
                    </a:lnTo>
                    <a:lnTo>
                      <a:pt x="177" y="63"/>
                    </a:lnTo>
                    <a:lnTo>
                      <a:pt x="179" y="63"/>
                    </a:lnTo>
                    <a:lnTo>
                      <a:pt x="179" y="65"/>
                    </a:lnTo>
                    <a:lnTo>
                      <a:pt x="181" y="65"/>
                    </a:lnTo>
                    <a:close/>
                    <a:moveTo>
                      <a:pt x="64" y="193"/>
                    </a:moveTo>
                    <a:lnTo>
                      <a:pt x="66" y="193"/>
                    </a:lnTo>
                    <a:lnTo>
                      <a:pt x="64" y="193"/>
                    </a:lnTo>
                    <a:close/>
                    <a:moveTo>
                      <a:pt x="82" y="227"/>
                    </a:moveTo>
                    <a:lnTo>
                      <a:pt x="82" y="229"/>
                    </a:lnTo>
                    <a:lnTo>
                      <a:pt x="82" y="22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2" name="Freeform 22">
                <a:extLst>
                  <a:ext uri="{FF2B5EF4-FFF2-40B4-BE49-F238E27FC236}">
                    <a16:creationId xmlns:a16="http://schemas.microsoft.com/office/drawing/2014/main" id="{89A96697-5F66-BF1A-3C38-08C5D4011DF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813691" y="-1850385"/>
                <a:ext cx="405504" cy="161135"/>
              </a:xfrm>
              <a:custGeom>
                <a:avLst/>
                <a:gdLst>
                  <a:gd name="T0" fmla="*/ 257 w 261"/>
                  <a:gd name="T1" fmla="*/ 27 h 103"/>
                  <a:gd name="T2" fmla="*/ 259 w 261"/>
                  <a:gd name="T3" fmla="*/ 38 h 103"/>
                  <a:gd name="T4" fmla="*/ 215 w 261"/>
                  <a:gd name="T5" fmla="*/ 75 h 103"/>
                  <a:gd name="T6" fmla="*/ 211 w 261"/>
                  <a:gd name="T7" fmla="*/ 80 h 103"/>
                  <a:gd name="T8" fmla="*/ 208 w 261"/>
                  <a:gd name="T9" fmla="*/ 90 h 103"/>
                  <a:gd name="T10" fmla="*/ 204 w 261"/>
                  <a:gd name="T11" fmla="*/ 99 h 103"/>
                  <a:gd name="T12" fmla="*/ 196 w 261"/>
                  <a:gd name="T13" fmla="*/ 101 h 103"/>
                  <a:gd name="T14" fmla="*/ 190 w 261"/>
                  <a:gd name="T15" fmla="*/ 96 h 103"/>
                  <a:gd name="T16" fmla="*/ 179 w 261"/>
                  <a:gd name="T17" fmla="*/ 94 h 103"/>
                  <a:gd name="T18" fmla="*/ 181 w 261"/>
                  <a:gd name="T19" fmla="*/ 86 h 103"/>
                  <a:gd name="T20" fmla="*/ 181 w 261"/>
                  <a:gd name="T21" fmla="*/ 78 h 103"/>
                  <a:gd name="T22" fmla="*/ 188 w 261"/>
                  <a:gd name="T23" fmla="*/ 67 h 103"/>
                  <a:gd name="T24" fmla="*/ 187 w 261"/>
                  <a:gd name="T25" fmla="*/ 57 h 103"/>
                  <a:gd name="T26" fmla="*/ 185 w 261"/>
                  <a:gd name="T27" fmla="*/ 63 h 103"/>
                  <a:gd name="T28" fmla="*/ 185 w 261"/>
                  <a:gd name="T29" fmla="*/ 63 h 103"/>
                  <a:gd name="T30" fmla="*/ 175 w 261"/>
                  <a:gd name="T31" fmla="*/ 61 h 103"/>
                  <a:gd name="T32" fmla="*/ 173 w 261"/>
                  <a:gd name="T33" fmla="*/ 56 h 103"/>
                  <a:gd name="T34" fmla="*/ 171 w 261"/>
                  <a:gd name="T35" fmla="*/ 42 h 103"/>
                  <a:gd name="T36" fmla="*/ 179 w 261"/>
                  <a:gd name="T37" fmla="*/ 35 h 103"/>
                  <a:gd name="T38" fmla="*/ 183 w 261"/>
                  <a:gd name="T39" fmla="*/ 25 h 103"/>
                  <a:gd name="T40" fmla="*/ 187 w 261"/>
                  <a:gd name="T41" fmla="*/ 19 h 103"/>
                  <a:gd name="T42" fmla="*/ 185 w 261"/>
                  <a:gd name="T43" fmla="*/ 10 h 103"/>
                  <a:gd name="T44" fmla="*/ 200 w 261"/>
                  <a:gd name="T45" fmla="*/ 6 h 103"/>
                  <a:gd name="T46" fmla="*/ 204 w 261"/>
                  <a:gd name="T47" fmla="*/ 2 h 103"/>
                  <a:gd name="T48" fmla="*/ 213 w 261"/>
                  <a:gd name="T49" fmla="*/ 8 h 103"/>
                  <a:gd name="T50" fmla="*/ 225 w 261"/>
                  <a:gd name="T51" fmla="*/ 14 h 103"/>
                  <a:gd name="T52" fmla="*/ 236 w 261"/>
                  <a:gd name="T53" fmla="*/ 19 h 103"/>
                  <a:gd name="T54" fmla="*/ 248 w 261"/>
                  <a:gd name="T55" fmla="*/ 19 h 103"/>
                  <a:gd name="T56" fmla="*/ 253 w 261"/>
                  <a:gd name="T57" fmla="*/ 23 h 103"/>
                  <a:gd name="T58" fmla="*/ 7 w 261"/>
                  <a:gd name="T59" fmla="*/ 23 h 103"/>
                  <a:gd name="T60" fmla="*/ 13 w 261"/>
                  <a:gd name="T61" fmla="*/ 36 h 103"/>
                  <a:gd name="T62" fmla="*/ 2 w 261"/>
                  <a:gd name="T63" fmla="*/ 38 h 103"/>
                  <a:gd name="T64" fmla="*/ 7 w 261"/>
                  <a:gd name="T65" fmla="*/ 31 h 103"/>
                  <a:gd name="T66" fmla="*/ 2 w 261"/>
                  <a:gd name="T67" fmla="*/ 21 h 103"/>
                  <a:gd name="T68" fmla="*/ 21 w 261"/>
                  <a:gd name="T69" fmla="*/ 35 h 103"/>
                  <a:gd name="T70" fmla="*/ 23 w 261"/>
                  <a:gd name="T71" fmla="*/ 31 h 103"/>
                  <a:gd name="T72" fmla="*/ 183 w 261"/>
                  <a:gd name="T73" fmla="*/ 73 h 103"/>
                  <a:gd name="T74" fmla="*/ 2 w 261"/>
                  <a:gd name="T75" fmla="*/ 31 h 103"/>
                  <a:gd name="T76" fmla="*/ 17 w 261"/>
                  <a:gd name="T77" fmla="*/ 27 h 103"/>
                  <a:gd name="T78" fmla="*/ 38 w 261"/>
                  <a:gd name="T79" fmla="*/ 36 h 103"/>
                  <a:gd name="T80" fmla="*/ 19 w 261"/>
                  <a:gd name="T81" fmla="*/ 42 h 103"/>
                  <a:gd name="T82" fmla="*/ 17 w 261"/>
                  <a:gd name="T83" fmla="*/ 19 h 103"/>
                  <a:gd name="T84" fmla="*/ 204 w 261"/>
                  <a:gd name="T85" fmla="*/ 4 h 103"/>
                  <a:gd name="T86" fmla="*/ 181 w 261"/>
                  <a:gd name="T87" fmla="*/ 77 h 103"/>
                  <a:gd name="T88" fmla="*/ 188 w 261"/>
                  <a:gd name="T89" fmla="*/ 65 h 103"/>
                  <a:gd name="T90" fmla="*/ 185 w 261"/>
                  <a:gd name="T91" fmla="*/ 77 h 103"/>
                  <a:gd name="T92" fmla="*/ 30 w 261"/>
                  <a:gd name="T93" fmla="*/ 44 h 103"/>
                  <a:gd name="T94" fmla="*/ 187 w 261"/>
                  <a:gd name="T95" fmla="*/ 63 h 103"/>
                  <a:gd name="T96" fmla="*/ 188 w 261"/>
                  <a:gd name="T97" fmla="*/ 61 h 103"/>
                  <a:gd name="T98" fmla="*/ 185 w 261"/>
                  <a:gd name="T99" fmla="*/ 59 h 103"/>
                  <a:gd name="T100" fmla="*/ 23 w 261"/>
                  <a:gd name="T101" fmla="*/ 31 h 103"/>
                  <a:gd name="T102" fmla="*/ 187 w 261"/>
                  <a:gd name="T103" fmla="*/ 57 h 103"/>
                  <a:gd name="T104" fmla="*/ 185 w 261"/>
                  <a:gd name="T105" fmla="*/ 61 h 103"/>
                  <a:gd name="T106" fmla="*/ 15 w 261"/>
                  <a:gd name="T107" fmla="*/ 33 h 103"/>
                  <a:gd name="T108" fmla="*/ 187 w 261"/>
                  <a:gd name="T109" fmla="*/ 59 h 103"/>
                  <a:gd name="T110" fmla="*/ 26 w 261"/>
                  <a:gd name="T111" fmla="*/ 19 h 103"/>
                  <a:gd name="T112" fmla="*/ 183 w 261"/>
                  <a:gd name="T113" fmla="*/ 69 h 103"/>
                  <a:gd name="T114" fmla="*/ 183 w 261"/>
                  <a:gd name="T115" fmla="*/ 71 h 103"/>
                  <a:gd name="T116" fmla="*/ 185 w 261"/>
                  <a:gd name="T117" fmla="*/ 63 h 103"/>
                  <a:gd name="T118" fmla="*/ 181 w 261"/>
                  <a:gd name="T119" fmla="*/ 7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1" h="103">
                    <a:moveTo>
                      <a:pt x="261" y="25"/>
                    </a:moveTo>
                    <a:lnTo>
                      <a:pt x="259" y="27"/>
                    </a:lnTo>
                    <a:lnTo>
                      <a:pt x="259" y="25"/>
                    </a:lnTo>
                    <a:lnTo>
                      <a:pt x="259" y="27"/>
                    </a:lnTo>
                    <a:lnTo>
                      <a:pt x="257" y="25"/>
                    </a:lnTo>
                    <a:lnTo>
                      <a:pt x="255" y="25"/>
                    </a:lnTo>
                    <a:lnTo>
                      <a:pt x="255" y="27"/>
                    </a:lnTo>
                    <a:lnTo>
                      <a:pt x="257" y="27"/>
                    </a:lnTo>
                    <a:lnTo>
                      <a:pt x="257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1" y="35"/>
                    </a:lnTo>
                    <a:lnTo>
                      <a:pt x="261" y="36"/>
                    </a:lnTo>
                    <a:lnTo>
                      <a:pt x="261" y="38"/>
                    </a:lnTo>
                    <a:lnTo>
                      <a:pt x="259" y="38"/>
                    </a:lnTo>
                    <a:lnTo>
                      <a:pt x="255" y="48"/>
                    </a:lnTo>
                    <a:lnTo>
                      <a:pt x="251" y="52"/>
                    </a:lnTo>
                    <a:lnTo>
                      <a:pt x="248" y="57"/>
                    </a:lnTo>
                    <a:lnTo>
                      <a:pt x="238" y="65"/>
                    </a:lnTo>
                    <a:lnTo>
                      <a:pt x="219" y="71"/>
                    </a:lnTo>
                    <a:lnTo>
                      <a:pt x="217" y="73"/>
                    </a:lnTo>
                    <a:lnTo>
                      <a:pt x="217" y="75"/>
                    </a:lnTo>
                    <a:lnTo>
                      <a:pt x="215" y="75"/>
                    </a:lnTo>
                    <a:lnTo>
                      <a:pt x="215" y="77"/>
                    </a:lnTo>
                    <a:lnTo>
                      <a:pt x="213" y="77"/>
                    </a:lnTo>
                    <a:lnTo>
                      <a:pt x="213" y="78"/>
                    </a:lnTo>
                    <a:lnTo>
                      <a:pt x="215" y="78"/>
                    </a:lnTo>
                    <a:lnTo>
                      <a:pt x="213" y="78"/>
                    </a:lnTo>
                    <a:lnTo>
                      <a:pt x="211" y="77"/>
                    </a:lnTo>
                    <a:lnTo>
                      <a:pt x="211" y="78"/>
                    </a:lnTo>
                    <a:lnTo>
                      <a:pt x="211" y="80"/>
                    </a:lnTo>
                    <a:lnTo>
                      <a:pt x="211" y="82"/>
                    </a:lnTo>
                    <a:lnTo>
                      <a:pt x="209" y="82"/>
                    </a:lnTo>
                    <a:lnTo>
                      <a:pt x="211" y="82"/>
                    </a:lnTo>
                    <a:lnTo>
                      <a:pt x="211" y="84"/>
                    </a:lnTo>
                    <a:lnTo>
                      <a:pt x="209" y="84"/>
                    </a:lnTo>
                    <a:lnTo>
                      <a:pt x="209" y="86"/>
                    </a:lnTo>
                    <a:lnTo>
                      <a:pt x="208" y="88"/>
                    </a:lnTo>
                    <a:lnTo>
                      <a:pt x="208" y="90"/>
                    </a:lnTo>
                    <a:lnTo>
                      <a:pt x="208" y="92"/>
                    </a:lnTo>
                    <a:lnTo>
                      <a:pt x="208" y="94"/>
                    </a:lnTo>
                    <a:lnTo>
                      <a:pt x="208" y="96"/>
                    </a:lnTo>
                    <a:lnTo>
                      <a:pt x="206" y="98"/>
                    </a:lnTo>
                    <a:lnTo>
                      <a:pt x="204" y="98"/>
                    </a:lnTo>
                    <a:lnTo>
                      <a:pt x="204" y="99"/>
                    </a:lnTo>
                    <a:lnTo>
                      <a:pt x="202" y="99"/>
                    </a:lnTo>
                    <a:lnTo>
                      <a:pt x="204" y="99"/>
                    </a:lnTo>
                    <a:lnTo>
                      <a:pt x="202" y="101"/>
                    </a:lnTo>
                    <a:lnTo>
                      <a:pt x="204" y="101"/>
                    </a:lnTo>
                    <a:lnTo>
                      <a:pt x="202" y="101"/>
                    </a:lnTo>
                    <a:lnTo>
                      <a:pt x="202" y="103"/>
                    </a:lnTo>
                    <a:lnTo>
                      <a:pt x="200" y="103"/>
                    </a:lnTo>
                    <a:lnTo>
                      <a:pt x="198" y="103"/>
                    </a:lnTo>
                    <a:lnTo>
                      <a:pt x="196" y="103"/>
                    </a:lnTo>
                    <a:lnTo>
                      <a:pt x="196" y="101"/>
                    </a:lnTo>
                    <a:lnTo>
                      <a:pt x="194" y="101"/>
                    </a:lnTo>
                    <a:lnTo>
                      <a:pt x="194" y="99"/>
                    </a:lnTo>
                    <a:lnTo>
                      <a:pt x="194" y="98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4"/>
                    </a:lnTo>
                    <a:lnTo>
                      <a:pt x="190" y="94"/>
                    </a:lnTo>
                    <a:lnTo>
                      <a:pt x="190" y="96"/>
                    </a:lnTo>
                    <a:lnTo>
                      <a:pt x="188" y="96"/>
                    </a:lnTo>
                    <a:lnTo>
                      <a:pt x="187" y="94"/>
                    </a:lnTo>
                    <a:lnTo>
                      <a:pt x="185" y="92"/>
                    </a:lnTo>
                    <a:lnTo>
                      <a:pt x="183" y="92"/>
                    </a:lnTo>
                    <a:lnTo>
                      <a:pt x="183" y="94"/>
                    </a:lnTo>
                    <a:lnTo>
                      <a:pt x="181" y="94"/>
                    </a:lnTo>
                    <a:lnTo>
                      <a:pt x="179" y="96"/>
                    </a:lnTo>
                    <a:lnTo>
                      <a:pt x="179" y="94"/>
                    </a:lnTo>
                    <a:lnTo>
                      <a:pt x="181" y="90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7" y="88"/>
                    </a:lnTo>
                    <a:lnTo>
                      <a:pt x="179" y="88"/>
                    </a:lnTo>
                    <a:lnTo>
                      <a:pt x="179" y="86"/>
                    </a:lnTo>
                    <a:lnTo>
                      <a:pt x="181" y="88"/>
                    </a:lnTo>
                    <a:lnTo>
                      <a:pt x="181" y="86"/>
                    </a:lnTo>
                    <a:lnTo>
                      <a:pt x="183" y="86"/>
                    </a:lnTo>
                    <a:lnTo>
                      <a:pt x="183" y="84"/>
                    </a:lnTo>
                    <a:lnTo>
                      <a:pt x="183" y="82"/>
                    </a:lnTo>
                    <a:lnTo>
                      <a:pt x="183" y="80"/>
                    </a:lnTo>
                    <a:lnTo>
                      <a:pt x="181" y="80"/>
                    </a:lnTo>
                    <a:lnTo>
                      <a:pt x="183" y="80"/>
                    </a:lnTo>
                    <a:lnTo>
                      <a:pt x="183" y="78"/>
                    </a:lnTo>
                    <a:lnTo>
                      <a:pt x="181" y="78"/>
                    </a:lnTo>
                    <a:lnTo>
                      <a:pt x="185" y="78"/>
                    </a:lnTo>
                    <a:lnTo>
                      <a:pt x="185" y="77"/>
                    </a:lnTo>
                    <a:lnTo>
                      <a:pt x="185" y="75"/>
                    </a:lnTo>
                    <a:lnTo>
                      <a:pt x="187" y="75"/>
                    </a:lnTo>
                    <a:lnTo>
                      <a:pt x="187" y="73"/>
                    </a:lnTo>
                    <a:lnTo>
                      <a:pt x="188" y="71"/>
                    </a:lnTo>
                    <a:lnTo>
                      <a:pt x="188" y="69"/>
                    </a:lnTo>
                    <a:lnTo>
                      <a:pt x="188" y="67"/>
                    </a:lnTo>
                    <a:lnTo>
                      <a:pt x="188" y="65"/>
                    </a:lnTo>
                    <a:lnTo>
                      <a:pt x="190" y="65"/>
                    </a:lnTo>
                    <a:lnTo>
                      <a:pt x="190" y="63"/>
                    </a:lnTo>
                    <a:lnTo>
                      <a:pt x="188" y="63"/>
                    </a:lnTo>
                    <a:lnTo>
                      <a:pt x="188" y="61"/>
                    </a:lnTo>
                    <a:lnTo>
                      <a:pt x="188" y="59"/>
                    </a:lnTo>
                    <a:lnTo>
                      <a:pt x="188" y="57"/>
                    </a:lnTo>
                    <a:lnTo>
                      <a:pt x="187" y="57"/>
                    </a:lnTo>
                    <a:lnTo>
                      <a:pt x="188" y="57"/>
                    </a:lnTo>
                    <a:lnTo>
                      <a:pt x="187" y="57"/>
                    </a:lnTo>
                    <a:lnTo>
                      <a:pt x="187" y="59"/>
                    </a:lnTo>
                    <a:lnTo>
                      <a:pt x="188" y="59"/>
                    </a:lnTo>
                    <a:lnTo>
                      <a:pt x="188" y="61"/>
                    </a:lnTo>
                    <a:lnTo>
                      <a:pt x="187" y="65"/>
                    </a:lnTo>
                    <a:lnTo>
                      <a:pt x="187" y="63"/>
                    </a:lnTo>
                    <a:lnTo>
                      <a:pt x="185" y="63"/>
                    </a:lnTo>
                    <a:lnTo>
                      <a:pt x="187" y="63"/>
                    </a:lnTo>
                    <a:lnTo>
                      <a:pt x="187" y="61"/>
                    </a:lnTo>
                    <a:lnTo>
                      <a:pt x="187" y="59"/>
                    </a:lnTo>
                    <a:lnTo>
                      <a:pt x="185" y="59"/>
                    </a:lnTo>
                    <a:lnTo>
                      <a:pt x="187" y="59"/>
                    </a:lnTo>
                    <a:lnTo>
                      <a:pt x="187" y="61"/>
                    </a:lnTo>
                    <a:lnTo>
                      <a:pt x="185" y="61"/>
                    </a:lnTo>
                    <a:lnTo>
                      <a:pt x="185" y="63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1" y="65"/>
                    </a:lnTo>
                    <a:lnTo>
                      <a:pt x="181" y="67"/>
                    </a:lnTo>
                    <a:lnTo>
                      <a:pt x="179" y="65"/>
                    </a:lnTo>
                    <a:lnTo>
                      <a:pt x="175" y="61"/>
                    </a:lnTo>
                    <a:lnTo>
                      <a:pt x="173" y="61"/>
                    </a:lnTo>
                    <a:lnTo>
                      <a:pt x="171" y="61"/>
                    </a:lnTo>
                    <a:lnTo>
                      <a:pt x="171" y="59"/>
                    </a:lnTo>
                    <a:lnTo>
                      <a:pt x="169" y="57"/>
                    </a:lnTo>
                    <a:lnTo>
                      <a:pt x="169" y="59"/>
                    </a:lnTo>
                    <a:lnTo>
                      <a:pt x="171" y="59"/>
                    </a:lnTo>
                    <a:lnTo>
                      <a:pt x="173" y="57"/>
                    </a:lnTo>
                    <a:lnTo>
                      <a:pt x="173" y="56"/>
                    </a:lnTo>
                    <a:lnTo>
                      <a:pt x="173" y="54"/>
                    </a:lnTo>
                    <a:lnTo>
                      <a:pt x="173" y="52"/>
                    </a:lnTo>
                    <a:lnTo>
                      <a:pt x="171" y="50"/>
                    </a:lnTo>
                    <a:lnTo>
                      <a:pt x="171" y="48"/>
                    </a:lnTo>
                    <a:lnTo>
                      <a:pt x="173" y="48"/>
                    </a:lnTo>
                    <a:lnTo>
                      <a:pt x="173" y="46"/>
                    </a:lnTo>
                    <a:lnTo>
                      <a:pt x="173" y="44"/>
                    </a:lnTo>
                    <a:lnTo>
                      <a:pt x="171" y="42"/>
                    </a:lnTo>
                    <a:lnTo>
                      <a:pt x="171" y="40"/>
                    </a:lnTo>
                    <a:lnTo>
                      <a:pt x="171" y="38"/>
                    </a:lnTo>
                    <a:lnTo>
                      <a:pt x="173" y="38"/>
                    </a:lnTo>
                    <a:lnTo>
                      <a:pt x="175" y="38"/>
                    </a:lnTo>
                    <a:lnTo>
                      <a:pt x="177" y="36"/>
                    </a:lnTo>
                    <a:lnTo>
                      <a:pt x="177" y="35"/>
                    </a:lnTo>
                    <a:lnTo>
                      <a:pt x="179" y="33"/>
                    </a:lnTo>
                    <a:lnTo>
                      <a:pt x="179" y="35"/>
                    </a:lnTo>
                    <a:lnTo>
                      <a:pt x="181" y="35"/>
                    </a:lnTo>
                    <a:lnTo>
                      <a:pt x="179" y="33"/>
                    </a:lnTo>
                    <a:lnTo>
                      <a:pt x="177" y="29"/>
                    </a:lnTo>
                    <a:lnTo>
                      <a:pt x="179" y="29"/>
                    </a:lnTo>
                    <a:lnTo>
                      <a:pt x="179" y="27"/>
                    </a:lnTo>
                    <a:lnTo>
                      <a:pt x="181" y="27"/>
                    </a:lnTo>
                    <a:lnTo>
                      <a:pt x="181" y="25"/>
                    </a:lnTo>
                    <a:lnTo>
                      <a:pt x="183" y="25"/>
                    </a:lnTo>
                    <a:lnTo>
                      <a:pt x="183" y="23"/>
                    </a:lnTo>
                    <a:lnTo>
                      <a:pt x="185" y="23"/>
                    </a:lnTo>
                    <a:lnTo>
                      <a:pt x="185" y="21"/>
                    </a:lnTo>
                    <a:lnTo>
                      <a:pt x="185" y="17"/>
                    </a:lnTo>
                    <a:lnTo>
                      <a:pt x="185" y="19"/>
                    </a:lnTo>
                    <a:lnTo>
                      <a:pt x="187" y="19"/>
                    </a:lnTo>
                    <a:lnTo>
                      <a:pt x="187" y="21"/>
                    </a:lnTo>
                    <a:lnTo>
                      <a:pt x="187" y="19"/>
                    </a:lnTo>
                    <a:lnTo>
                      <a:pt x="185" y="19"/>
                    </a:lnTo>
                    <a:lnTo>
                      <a:pt x="185" y="17"/>
                    </a:lnTo>
                    <a:lnTo>
                      <a:pt x="185" y="15"/>
                    </a:lnTo>
                    <a:lnTo>
                      <a:pt x="185" y="14"/>
                    </a:lnTo>
                    <a:lnTo>
                      <a:pt x="183" y="14"/>
                    </a:lnTo>
                    <a:lnTo>
                      <a:pt x="183" y="12"/>
                    </a:lnTo>
                    <a:lnTo>
                      <a:pt x="185" y="12"/>
                    </a:lnTo>
                    <a:lnTo>
                      <a:pt x="185" y="10"/>
                    </a:lnTo>
                    <a:lnTo>
                      <a:pt x="187" y="10"/>
                    </a:lnTo>
                    <a:lnTo>
                      <a:pt x="188" y="10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4" y="6"/>
                    </a:lnTo>
                    <a:lnTo>
                      <a:pt x="196" y="6"/>
                    </a:lnTo>
                    <a:lnTo>
                      <a:pt x="198" y="6"/>
                    </a:lnTo>
                    <a:lnTo>
                      <a:pt x="200" y="6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2" y="6"/>
                    </a:lnTo>
                    <a:lnTo>
                      <a:pt x="202" y="4"/>
                    </a:lnTo>
                    <a:lnTo>
                      <a:pt x="204" y="4"/>
                    </a:lnTo>
                    <a:lnTo>
                      <a:pt x="204" y="2"/>
                    </a:lnTo>
                    <a:lnTo>
                      <a:pt x="204" y="0"/>
                    </a:lnTo>
                    <a:lnTo>
                      <a:pt x="204" y="2"/>
                    </a:lnTo>
                    <a:lnTo>
                      <a:pt x="206" y="2"/>
                    </a:lnTo>
                    <a:lnTo>
                      <a:pt x="208" y="4"/>
                    </a:lnTo>
                    <a:lnTo>
                      <a:pt x="209" y="4"/>
                    </a:lnTo>
                    <a:lnTo>
                      <a:pt x="209" y="6"/>
                    </a:lnTo>
                    <a:lnTo>
                      <a:pt x="211" y="6"/>
                    </a:lnTo>
                    <a:lnTo>
                      <a:pt x="211" y="4"/>
                    </a:lnTo>
                    <a:lnTo>
                      <a:pt x="213" y="6"/>
                    </a:lnTo>
                    <a:lnTo>
                      <a:pt x="213" y="8"/>
                    </a:lnTo>
                    <a:lnTo>
                      <a:pt x="215" y="8"/>
                    </a:lnTo>
                    <a:lnTo>
                      <a:pt x="215" y="10"/>
                    </a:lnTo>
                    <a:lnTo>
                      <a:pt x="217" y="10"/>
                    </a:lnTo>
                    <a:lnTo>
                      <a:pt x="219" y="10"/>
                    </a:lnTo>
                    <a:lnTo>
                      <a:pt x="221" y="10"/>
                    </a:lnTo>
                    <a:lnTo>
                      <a:pt x="223" y="10"/>
                    </a:lnTo>
                    <a:lnTo>
                      <a:pt x="223" y="12"/>
                    </a:lnTo>
                    <a:lnTo>
                      <a:pt x="225" y="14"/>
                    </a:lnTo>
                    <a:lnTo>
                      <a:pt x="225" y="15"/>
                    </a:lnTo>
                    <a:lnTo>
                      <a:pt x="225" y="17"/>
                    </a:lnTo>
                    <a:lnTo>
                      <a:pt x="227" y="17"/>
                    </a:lnTo>
                    <a:lnTo>
                      <a:pt x="228" y="17"/>
                    </a:lnTo>
                    <a:lnTo>
                      <a:pt x="230" y="17"/>
                    </a:lnTo>
                    <a:lnTo>
                      <a:pt x="232" y="19"/>
                    </a:lnTo>
                    <a:lnTo>
                      <a:pt x="234" y="19"/>
                    </a:lnTo>
                    <a:lnTo>
                      <a:pt x="236" y="19"/>
                    </a:lnTo>
                    <a:lnTo>
                      <a:pt x="238" y="19"/>
                    </a:lnTo>
                    <a:lnTo>
                      <a:pt x="240" y="19"/>
                    </a:lnTo>
                    <a:lnTo>
                      <a:pt x="242" y="19"/>
                    </a:lnTo>
                    <a:lnTo>
                      <a:pt x="242" y="17"/>
                    </a:lnTo>
                    <a:lnTo>
                      <a:pt x="244" y="17"/>
                    </a:lnTo>
                    <a:lnTo>
                      <a:pt x="246" y="17"/>
                    </a:lnTo>
                    <a:lnTo>
                      <a:pt x="248" y="17"/>
                    </a:lnTo>
                    <a:lnTo>
                      <a:pt x="248" y="19"/>
                    </a:lnTo>
                    <a:lnTo>
                      <a:pt x="248" y="17"/>
                    </a:lnTo>
                    <a:lnTo>
                      <a:pt x="248" y="19"/>
                    </a:lnTo>
                    <a:lnTo>
                      <a:pt x="249" y="19"/>
                    </a:lnTo>
                    <a:lnTo>
                      <a:pt x="251" y="21"/>
                    </a:lnTo>
                    <a:lnTo>
                      <a:pt x="249" y="21"/>
                    </a:lnTo>
                    <a:lnTo>
                      <a:pt x="251" y="21"/>
                    </a:lnTo>
                    <a:lnTo>
                      <a:pt x="251" y="23"/>
                    </a:lnTo>
                    <a:lnTo>
                      <a:pt x="253" y="23"/>
                    </a:lnTo>
                    <a:lnTo>
                      <a:pt x="255" y="23"/>
                    </a:lnTo>
                    <a:lnTo>
                      <a:pt x="257" y="23"/>
                    </a:lnTo>
                    <a:lnTo>
                      <a:pt x="257" y="25"/>
                    </a:lnTo>
                    <a:lnTo>
                      <a:pt x="259" y="25"/>
                    </a:lnTo>
                    <a:lnTo>
                      <a:pt x="261" y="25"/>
                    </a:lnTo>
                    <a:close/>
                    <a:moveTo>
                      <a:pt x="5" y="21"/>
                    </a:moveTo>
                    <a:lnTo>
                      <a:pt x="5" y="23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9" y="29"/>
                    </a:lnTo>
                    <a:lnTo>
                      <a:pt x="11" y="31"/>
                    </a:lnTo>
                    <a:lnTo>
                      <a:pt x="11" y="33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8"/>
                    </a:lnTo>
                    <a:lnTo>
                      <a:pt x="11" y="38"/>
                    </a:lnTo>
                    <a:lnTo>
                      <a:pt x="9" y="40"/>
                    </a:lnTo>
                    <a:lnTo>
                      <a:pt x="7" y="40"/>
                    </a:lnTo>
                    <a:lnTo>
                      <a:pt x="5" y="40"/>
                    </a:lnTo>
                    <a:lnTo>
                      <a:pt x="3" y="40"/>
                    </a:lnTo>
                    <a:lnTo>
                      <a:pt x="3" y="38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3" y="36"/>
                    </a:lnTo>
                    <a:lnTo>
                      <a:pt x="5" y="35"/>
                    </a:lnTo>
                    <a:lnTo>
                      <a:pt x="7" y="35"/>
                    </a:lnTo>
                    <a:lnTo>
                      <a:pt x="9" y="33"/>
                    </a:lnTo>
                    <a:lnTo>
                      <a:pt x="9" y="35"/>
                    </a:lnTo>
                    <a:lnTo>
                      <a:pt x="9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5" y="29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3" y="23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3" y="21"/>
                    </a:lnTo>
                    <a:lnTo>
                      <a:pt x="5" y="21"/>
                    </a:lnTo>
                    <a:close/>
                    <a:moveTo>
                      <a:pt x="23" y="31"/>
                    </a:moveTo>
                    <a:lnTo>
                      <a:pt x="23" y="33"/>
                    </a:lnTo>
                    <a:lnTo>
                      <a:pt x="24" y="33"/>
                    </a:lnTo>
                    <a:lnTo>
                      <a:pt x="23" y="33"/>
                    </a:lnTo>
                    <a:lnTo>
                      <a:pt x="23" y="35"/>
                    </a:lnTo>
                    <a:lnTo>
                      <a:pt x="21" y="35"/>
                    </a:lnTo>
                    <a:lnTo>
                      <a:pt x="21" y="36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21" y="31"/>
                    </a:lnTo>
                    <a:lnTo>
                      <a:pt x="23" y="31"/>
                    </a:lnTo>
                    <a:close/>
                    <a:moveTo>
                      <a:pt x="185" y="65"/>
                    </a:moveTo>
                    <a:lnTo>
                      <a:pt x="187" y="67"/>
                    </a:lnTo>
                    <a:lnTo>
                      <a:pt x="185" y="69"/>
                    </a:lnTo>
                    <a:lnTo>
                      <a:pt x="183" y="69"/>
                    </a:lnTo>
                    <a:lnTo>
                      <a:pt x="183" y="71"/>
                    </a:lnTo>
                    <a:lnTo>
                      <a:pt x="185" y="71"/>
                    </a:lnTo>
                    <a:lnTo>
                      <a:pt x="183" y="71"/>
                    </a:lnTo>
                    <a:lnTo>
                      <a:pt x="183" y="73"/>
                    </a:lnTo>
                    <a:lnTo>
                      <a:pt x="181" y="71"/>
                    </a:lnTo>
                    <a:lnTo>
                      <a:pt x="181" y="69"/>
                    </a:lnTo>
                    <a:lnTo>
                      <a:pt x="181" y="67"/>
                    </a:lnTo>
                    <a:lnTo>
                      <a:pt x="185" y="65"/>
                    </a:lnTo>
                    <a:close/>
                    <a:moveTo>
                      <a:pt x="3" y="27"/>
                    </a:moveTo>
                    <a:lnTo>
                      <a:pt x="3" y="29"/>
                    </a:lnTo>
                    <a:lnTo>
                      <a:pt x="3" y="31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9"/>
                    </a:lnTo>
                    <a:lnTo>
                      <a:pt x="3" y="27"/>
                    </a:lnTo>
                    <a:close/>
                    <a:moveTo>
                      <a:pt x="13" y="25"/>
                    </a:moveTo>
                    <a:lnTo>
                      <a:pt x="15" y="25"/>
                    </a:lnTo>
                    <a:lnTo>
                      <a:pt x="15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5" y="29"/>
                    </a:lnTo>
                    <a:lnTo>
                      <a:pt x="13" y="29"/>
                    </a:lnTo>
                    <a:lnTo>
                      <a:pt x="13" y="27"/>
                    </a:lnTo>
                    <a:lnTo>
                      <a:pt x="13" y="25"/>
                    </a:lnTo>
                    <a:close/>
                    <a:moveTo>
                      <a:pt x="36" y="35"/>
                    </a:moveTo>
                    <a:lnTo>
                      <a:pt x="38" y="35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2" y="38"/>
                    </a:lnTo>
                    <a:lnTo>
                      <a:pt x="34" y="36"/>
                    </a:lnTo>
                    <a:lnTo>
                      <a:pt x="34" y="35"/>
                    </a:lnTo>
                    <a:lnTo>
                      <a:pt x="36" y="35"/>
                    </a:lnTo>
                    <a:close/>
                    <a:moveTo>
                      <a:pt x="19" y="42"/>
                    </a:moveTo>
                    <a:lnTo>
                      <a:pt x="21" y="42"/>
                    </a:lnTo>
                    <a:lnTo>
                      <a:pt x="21" y="46"/>
                    </a:lnTo>
                    <a:lnTo>
                      <a:pt x="19" y="46"/>
                    </a:lnTo>
                    <a:lnTo>
                      <a:pt x="19" y="42"/>
                    </a:lnTo>
                    <a:close/>
                    <a:moveTo>
                      <a:pt x="17" y="17"/>
                    </a:moveTo>
                    <a:lnTo>
                      <a:pt x="21" y="17"/>
                    </a:lnTo>
                    <a:lnTo>
                      <a:pt x="21" y="19"/>
                    </a:lnTo>
                    <a:lnTo>
                      <a:pt x="17" y="19"/>
                    </a:lnTo>
                    <a:lnTo>
                      <a:pt x="17" y="17"/>
                    </a:lnTo>
                    <a:close/>
                    <a:moveTo>
                      <a:pt x="188" y="65"/>
                    </a:moveTo>
                    <a:lnTo>
                      <a:pt x="187" y="65"/>
                    </a:lnTo>
                    <a:lnTo>
                      <a:pt x="188" y="63"/>
                    </a:lnTo>
                    <a:lnTo>
                      <a:pt x="188" y="65"/>
                    </a:lnTo>
                    <a:close/>
                    <a:moveTo>
                      <a:pt x="202" y="2"/>
                    </a:moveTo>
                    <a:lnTo>
                      <a:pt x="204" y="2"/>
                    </a:lnTo>
                    <a:lnTo>
                      <a:pt x="204" y="4"/>
                    </a:lnTo>
                    <a:lnTo>
                      <a:pt x="202" y="4"/>
                    </a:lnTo>
                    <a:lnTo>
                      <a:pt x="202" y="2"/>
                    </a:lnTo>
                    <a:close/>
                    <a:moveTo>
                      <a:pt x="185" y="63"/>
                    </a:moveTo>
                    <a:lnTo>
                      <a:pt x="187" y="63"/>
                    </a:lnTo>
                    <a:lnTo>
                      <a:pt x="187" y="65"/>
                    </a:lnTo>
                    <a:lnTo>
                      <a:pt x="185" y="65"/>
                    </a:lnTo>
                    <a:lnTo>
                      <a:pt x="185" y="63"/>
                    </a:lnTo>
                    <a:close/>
                    <a:moveTo>
                      <a:pt x="181" y="77"/>
                    </a:moveTo>
                    <a:lnTo>
                      <a:pt x="185" y="77"/>
                    </a:lnTo>
                    <a:lnTo>
                      <a:pt x="185" y="78"/>
                    </a:lnTo>
                    <a:lnTo>
                      <a:pt x="181" y="78"/>
                    </a:lnTo>
                    <a:lnTo>
                      <a:pt x="181" y="77"/>
                    </a:lnTo>
                    <a:close/>
                    <a:moveTo>
                      <a:pt x="188" y="63"/>
                    </a:moveTo>
                    <a:lnTo>
                      <a:pt x="190" y="63"/>
                    </a:lnTo>
                    <a:lnTo>
                      <a:pt x="190" y="65"/>
                    </a:lnTo>
                    <a:lnTo>
                      <a:pt x="188" y="65"/>
                    </a:lnTo>
                    <a:lnTo>
                      <a:pt x="188" y="63"/>
                    </a:lnTo>
                    <a:close/>
                    <a:moveTo>
                      <a:pt x="200" y="4"/>
                    </a:moveTo>
                    <a:lnTo>
                      <a:pt x="202" y="4"/>
                    </a:lnTo>
                    <a:lnTo>
                      <a:pt x="202" y="6"/>
                    </a:lnTo>
                    <a:lnTo>
                      <a:pt x="200" y="6"/>
                    </a:lnTo>
                    <a:lnTo>
                      <a:pt x="200" y="4"/>
                    </a:lnTo>
                    <a:close/>
                    <a:moveTo>
                      <a:pt x="183" y="77"/>
                    </a:moveTo>
                    <a:lnTo>
                      <a:pt x="185" y="77"/>
                    </a:lnTo>
                    <a:lnTo>
                      <a:pt x="185" y="78"/>
                    </a:lnTo>
                    <a:lnTo>
                      <a:pt x="183" y="78"/>
                    </a:lnTo>
                    <a:lnTo>
                      <a:pt x="183" y="77"/>
                    </a:lnTo>
                    <a:close/>
                    <a:moveTo>
                      <a:pt x="30" y="44"/>
                    </a:moveTo>
                    <a:lnTo>
                      <a:pt x="32" y="44"/>
                    </a:lnTo>
                    <a:lnTo>
                      <a:pt x="32" y="46"/>
                    </a:lnTo>
                    <a:lnTo>
                      <a:pt x="30" y="46"/>
                    </a:lnTo>
                    <a:lnTo>
                      <a:pt x="30" y="44"/>
                    </a:lnTo>
                    <a:close/>
                    <a:moveTo>
                      <a:pt x="13" y="14"/>
                    </a:moveTo>
                    <a:lnTo>
                      <a:pt x="15" y="14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3" y="14"/>
                    </a:lnTo>
                    <a:close/>
                    <a:moveTo>
                      <a:pt x="185" y="61"/>
                    </a:moveTo>
                    <a:lnTo>
                      <a:pt x="187" y="61"/>
                    </a:lnTo>
                    <a:lnTo>
                      <a:pt x="187" y="63"/>
                    </a:lnTo>
                    <a:lnTo>
                      <a:pt x="185" y="63"/>
                    </a:lnTo>
                    <a:lnTo>
                      <a:pt x="185" y="61"/>
                    </a:lnTo>
                    <a:close/>
                    <a:moveTo>
                      <a:pt x="183" y="69"/>
                    </a:moveTo>
                    <a:lnTo>
                      <a:pt x="185" y="69"/>
                    </a:lnTo>
                    <a:lnTo>
                      <a:pt x="183" y="69"/>
                    </a:lnTo>
                    <a:close/>
                    <a:moveTo>
                      <a:pt x="188" y="61"/>
                    </a:moveTo>
                    <a:lnTo>
                      <a:pt x="188" y="63"/>
                    </a:lnTo>
                    <a:lnTo>
                      <a:pt x="188" y="61"/>
                    </a:lnTo>
                    <a:close/>
                    <a:moveTo>
                      <a:pt x="181" y="77"/>
                    </a:moveTo>
                    <a:lnTo>
                      <a:pt x="183" y="77"/>
                    </a:lnTo>
                    <a:lnTo>
                      <a:pt x="183" y="78"/>
                    </a:lnTo>
                    <a:lnTo>
                      <a:pt x="181" y="78"/>
                    </a:lnTo>
                    <a:lnTo>
                      <a:pt x="181" y="77"/>
                    </a:lnTo>
                    <a:close/>
                    <a:moveTo>
                      <a:pt x="185" y="59"/>
                    </a:moveTo>
                    <a:lnTo>
                      <a:pt x="187" y="59"/>
                    </a:lnTo>
                    <a:lnTo>
                      <a:pt x="185" y="59"/>
                    </a:lnTo>
                    <a:close/>
                    <a:moveTo>
                      <a:pt x="204" y="0"/>
                    </a:moveTo>
                    <a:lnTo>
                      <a:pt x="204" y="2"/>
                    </a:lnTo>
                    <a:lnTo>
                      <a:pt x="204" y="0"/>
                    </a:lnTo>
                    <a:close/>
                    <a:moveTo>
                      <a:pt x="185" y="75"/>
                    </a:moveTo>
                    <a:lnTo>
                      <a:pt x="185" y="77"/>
                    </a:lnTo>
                    <a:lnTo>
                      <a:pt x="185" y="75"/>
                    </a:lnTo>
                    <a:close/>
                    <a:moveTo>
                      <a:pt x="21" y="31"/>
                    </a:moveTo>
                    <a:lnTo>
                      <a:pt x="23" y="31"/>
                    </a:lnTo>
                    <a:lnTo>
                      <a:pt x="21" y="31"/>
                    </a:lnTo>
                    <a:close/>
                    <a:moveTo>
                      <a:pt x="24" y="36"/>
                    </a:moveTo>
                    <a:lnTo>
                      <a:pt x="26" y="36"/>
                    </a:lnTo>
                    <a:lnTo>
                      <a:pt x="24" y="36"/>
                    </a:lnTo>
                    <a:close/>
                    <a:moveTo>
                      <a:pt x="185" y="65"/>
                    </a:moveTo>
                    <a:lnTo>
                      <a:pt x="187" y="65"/>
                    </a:lnTo>
                    <a:lnTo>
                      <a:pt x="185" y="65"/>
                    </a:lnTo>
                    <a:close/>
                    <a:moveTo>
                      <a:pt x="187" y="57"/>
                    </a:moveTo>
                    <a:lnTo>
                      <a:pt x="188" y="57"/>
                    </a:lnTo>
                    <a:lnTo>
                      <a:pt x="188" y="59"/>
                    </a:lnTo>
                    <a:lnTo>
                      <a:pt x="187" y="59"/>
                    </a:lnTo>
                    <a:lnTo>
                      <a:pt x="187" y="57"/>
                    </a:lnTo>
                    <a:close/>
                    <a:moveTo>
                      <a:pt x="181" y="77"/>
                    </a:moveTo>
                    <a:lnTo>
                      <a:pt x="181" y="78"/>
                    </a:lnTo>
                    <a:lnTo>
                      <a:pt x="181" y="77"/>
                    </a:lnTo>
                    <a:close/>
                    <a:moveTo>
                      <a:pt x="185" y="61"/>
                    </a:moveTo>
                    <a:lnTo>
                      <a:pt x="187" y="61"/>
                    </a:lnTo>
                    <a:lnTo>
                      <a:pt x="187" y="63"/>
                    </a:lnTo>
                    <a:lnTo>
                      <a:pt x="185" y="63"/>
                    </a:lnTo>
                    <a:lnTo>
                      <a:pt x="185" y="61"/>
                    </a:lnTo>
                    <a:close/>
                    <a:moveTo>
                      <a:pt x="185" y="61"/>
                    </a:moveTo>
                    <a:lnTo>
                      <a:pt x="185" y="63"/>
                    </a:lnTo>
                    <a:lnTo>
                      <a:pt x="185" y="61"/>
                    </a:lnTo>
                    <a:close/>
                    <a:moveTo>
                      <a:pt x="15" y="33"/>
                    </a:moveTo>
                    <a:lnTo>
                      <a:pt x="17" y="33"/>
                    </a:lnTo>
                    <a:lnTo>
                      <a:pt x="15" y="33"/>
                    </a:lnTo>
                    <a:close/>
                    <a:moveTo>
                      <a:pt x="185" y="61"/>
                    </a:moveTo>
                    <a:lnTo>
                      <a:pt x="187" y="61"/>
                    </a:lnTo>
                    <a:lnTo>
                      <a:pt x="185" y="61"/>
                    </a:lnTo>
                    <a:close/>
                    <a:moveTo>
                      <a:pt x="187" y="59"/>
                    </a:moveTo>
                    <a:lnTo>
                      <a:pt x="187" y="61"/>
                    </a:lnTo>
                    <a:lnTo>
                      <a:pt x="187" y="59"/>
                    </a:lnTo>
                    <a:close/>
                    <a:moveTo>
                      <a:pt x="187" y="61"/>
                    </a:moveTo>
                    <a:lnTo>
                      <a:pt x="187" y="63"/>
                    </a:lnTo>
                    <a:lnTo>
                      <a:pt x="187" y="61"/>
                    </a:lnTo>
                    <a:close/>
                    <a:moveTo>
                      <a:pt x="185" y="65"/>
                    </a:moveTo>
                    <a:lnTo>
                      <a:pt x="187" y="65"/>
                    </a:lnTo>
                    <a:lnTo>
                      <a:pt x="185" y="65"/>
                    </a:lnTo>
                    <a:close/>
                    <a:moveTo>
                      <a:pt x="26" y="17"/>
                    </a:moveTo>
                    <a:lnTo>
                      <a:pt x="26" y="19"/>
                    </a:lnTo>
                    <a:lnTo>
                      <a:pt x="26" y="17"/>
                    </a:lnTo>
                    <a:close/>
                    <a:moveTo>
                      <a:pt x="185" y="61"/>
                    </a:moveTo>
                    <a:lnTo>
                      <a:pt x="187" y="61"/>
                    </a:lnTo>
                    <a:lnTo>
                      <a:pt x="185" y="61"/>
                    </a:lnTo>
                    <a:close/>
                    <a:moveTo>
                      <a:pt x="185" y="19"/>
                    </a:moveTo>
                    <a:lnTo>
                      <a:pt x="187" y="19"/>
                    </a:lnTo>
                    <a:lnTo>
                      <a:pt x="185" y="19"/>
                    </a:lnTo>
                    <a:close/>
                    <a:moveTo>
                      <a:pt x="183" y="69"/>
                    </a:moveTo>
                    <a:lnTo>
                      <a:pt x="185" y="69"/>
                    </a:lnTo>
                    <a:lnTo>
                      <a:pt x="185" y="71"/>
                    </a:lnTo>
                    <a:lnTo>
                      <a:pt x="183" y="71"/>
                    </a:lnTo>
                    <a:lnTo>
                      <a:pt x="183" y="69"/>
                    </a:lnTo>
                    <a:close/>
                    <a:moveTo>
                      <a:pt x="183" y="69"/>
                    </a:moveTo>
                    <a:lnTo>
                      <a:pt x="185" y="69"/>
                    </a:lnTo>
                    <a:lnTo>
                      <a:pt x="185" y="71"/>
                    </a:lnTo>
                    <a:lnTo>
                      <a:pt x="183" y="71"/>
                    </a:lnTo>
                    <a:lnTo>
                      <a:pt x="183" y="69"/>
                    </a:lnTo>
                    <a:close/>
                    <a:moveTo>
                      <a:pt x="167" y="44"/>
                    </a:moveTo>
                    <a:lnTo>
                      <a:pt x="169" y="44"/>
                    </a:lnTo>
                    <a:lnTo>
                      <a:pt x="167" y="44"/>
                    </a:lnTo>
                    <a:close/>
                    <a:moveTo>
                      <a:pt x="185" y="15"/>
                    </a:moveTo>
                    <a:lnTo>
                      <a:pt x="185" y="17"/>
                    </a:lnTo>
                    <a:lnTo>
                      <a:pt x="185" y="15"/>
                    </a:lnTo>
                    <a:close/>
                    <a:moveTo>
                      <a:pt x="185" y="63"/>
                    </a:moveTo>
                    <a:lnTo>
                      <a:pt x="185" y="65"/>
                    </a:lnTo>
                    <a:lnTo>
                      <a:pt x="185" y="63"/>
                    </a:lnTo>
                    <a:close/>
                    <a:moveTo>
                      <a:pt x="202" y="4"/>
                    </a:moveTo>
                    <a:lnTo>
                      <a:pt x="202" y="6"/>
                    </a:lnTo>
                    <a:lnTo>
                      <a:pt x="202" y="4"/>
                    </a:lnTo>
                    <a:close/>
                    <a:moveTo>
                      <a:pt x="181" y="77"/>
                    </a:moveTo>
                    <a:lnTo>
                      <a:pt x="181" y="78"/>
                    </a:lnTo>
                    <a:lnTo>
                      <a:pt x="181" y="77"/>
                    </a:lnTo>
                    <a:close/>
                    <a:moveTo>
                      <a:pt x="188" y="63"/>
                    </a:moveTo>
                    <a:lnTo>
                      <a:pt x="190" y="63"/>
                    </a:lnTo>
                    <a:lnTo>
                      <a:pt x="188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3" name="Freeform 56">
                <a:extLst>
                  <a:ext uri="{FF2B5EF4-FFF2-40B4-BE49-F238E27FC236}">
                    <a16:creationId xmlns:a16="http://schemas.microsoft.com/office/drawing/2014/main" id="{AF7D57B7-65EB-E877-CACE-B536CAAB88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29925" y="-1324746"/>
                <a:ext cx="208189" cy="226841"/>
              </a:xfrm>
              <a:custGeom>
                <a:avLst/>
                <a:gdLst>
                  <a:gd name="T0" fmla="*/ 73 w 134"/>
                  <a:gd name="T1" fmla="*/ 19 h 145"/>
                  <a:gd name="T2" fmla="*/ 75 w 134"/>
                  <a:gd name="T3" fmla="*/ 23 h 145"/>
                  <a:gd name="T4" fmla="*/ 76 w 134"/>
                  <a:gd name="T5" fmla="*/ 27 h 145"/>
                  <a:gd name="T6" fmla="*/ 75 w 134"/>
                  <a:gd name="T7" fmla="*/ 34 h 145"/>
                  <a:gd name="T8" fmla="*/ 75 w 134"/>
                  <a:gd name="T9" fmla="*/ 40 h 145"/>
                  <a:gd name="T10" fmla="*/ 76 w 134"/>
                  <a:gd name="T11" fmla="*/ 44 h 145"/>
                  <a:gd name="T12" fmla="*/ 76 w 134"/>
                  <a:gd name="T13" fmla="*/ 48 h 145"/>
                  <a:gd name="T14" fmla="*/ 80 w 134"/>
                  <a:gd name="T15" fmla="*/ 48 h 145"/>
                  <a:gd name="T16" fmla="*/ 86 w 134"/>
                  <a:gd name="T17" fmla="*/ 50 h 145"/>
                  <a:gd name="T18" fmla="*/ 90 w 134"/>
                  <a:gd name="T19" fmla="*/ 52 h 145"/>
                  <a:gd name="T20" fmla="*/ 90 w 134"/>
                  <a:gd name="T21" fmla="*/ 50 h 145"/>
                  <a:gd name="T22" fmla="*/ 95 w 134"/>
                  <a:gd name="T23" fmla="*/ 50 h 145"/>
                  <a:gd name="T24" fmla="*/ 99 w 134"/>
                  <a:gd name="T25" fmla="*/ 48 h 145"/>
                  <a:gd name="T26" fmla="*/ 107 w 134"/>
                  <a:gd name="T27" fmla="*/ 52 h 145"/>
                  <a:gd name="T28" fmla="*/ 113 w 134"/>
                  <a:gd name="T29" fmla="*/ 57 h 145"/>
                  <a:gd name="T30" fmla="*/ 113 w 134"/>
                  <a:gd name="T31" fmla="*/ 63 h 145"/>
                  <a:gd name="T32" fmla="*/ 115 w 134"/>
                  <a:gd name="T33" fmla="*/ 71 h 145"/>
                  <a:gd name="T34" fmla="*/ 115 w 134"/>
                  <a:gd name="T35" fmla="*/ 76 h 145"/>
                  <a:gd name="T36" fmla="*/ 118 w 134"/>
                  <a:gd name="T37" fmla="*/ 80 h 145"/>
                  <a:gd name="T38" fmla="*/ 126 w 134"/>
                  <a:gd name="T39" fmla="*/ 78 h 145"/>
                  <a:gd name="T40" fmla="*/ 132 w 134"/>
                  <a:gd name="T41" fmla="*/ 82 h 145"/>
                  <a:gd name="T42" fmla="*/ 134 w 134"/>
                  <a:gd name="T43" fmla="*/ 88 h 145"/>
                  <a:gd name="T44" fmla="*/ 130 w 134"/>
                  <a:gd name="T45" fmla="*/ 99 h 145"/>
                  <a:gd name="T46" fmla="*/ 128 w 134"/>
                  <a:gd name="T47" fmla="*/ 105 h 145"/>
                  <a:gd name="T48" fmla="*/ 128 w 134"/>
                  <a:gd name="T49" fmla="*/ 114 h 145"/>
                  <a:gd name="T50" fmla="*/ 126 w 134"/>
                  <a:gd name="T51" fmla="*/ 120 h 145"/>
                  <a:gd name="T52" fmla="*/ 126 w 134"/>
                  <a:gd name="T53" fmla="*/ 128 h 145"/>
                  <a:gd name="T54" fmla="*/ 120 w 134"/>
                  <a:gd name="T55" fmla="*/ 132 h 145"/>
                  <a:gd name="T56" fmla="*/ 115 w 134"/>
                  <a:gd name="T57" fmla="*/ 135 h 145"/>
                  <a:gd name="T58" fmla="*/ 109 w 134"/>
                  <a:gd name="T59" fmla="*/ 141 h 145"/>
                  <a:gd name="T60" fmla="*/ 101 w 134"/>
                  <a:gd name="T61" fmla="*/ 143 h 145"/>
                  <a:gd name="T62" fmla="*/ 94 w 134"/>
                  <a:gd name="T63" fmla="*/ 143 h 145"/>
                  <a:gd name="T64" fmla="*/ 84 w 134"/>
                  <a:gd name="T65" fmla="*/ 141 h 145"/>
                  <a:gd name="T66" fmla="*/ 73 w 134"/>
                  <a:gd name="T67" fmla="*/ 139 h 145"/>
                  <a:gd name="T68" fmla="*/ 63 w 134"/>
                  <a:gd name="T69" fmla="*/ 137 h 145"/>
                  <a:gd name="T70" fmla="*/ 67 w 134"/>
                  <a:gd name="T71" fmla="*/ 134 h 145"/>
                  <a:gd name="T72" fmla="*/ 71 w 134"/>
                  <a:gd name="T73" fmla="*/ 130 h 145"/>
                  <a:gd name="T74" fmla="*/ 71 w 134"/>
                  <a:gd name="T75" fmla="*/ 120 h 145"/>
                  <a:gd name="T76" fmla="*/ 75 w 134"/>
                  <a:gd name="T77" fmla="*/ 118 h 145"/>
                  <a:gd name="T78" fmla="*/ 78 w 134"/>
                  <a:gd name="T79" fmla="*/ 113 h 145"/>
                  <a:gd name="T80" fmla="*/ 80 w 134"/>
                  <a:gd name="T81" fmla="*/ 109 h 145"/>
                  <a:gd name="T82" fmla="*/ 76 w 134"/>
                  <a:gd name="T83" fmla="*/ 101 h 145"/>
                  <a:gd name="T84" fmla="*/ 71 w 134"/>
                  <a:gd name="T85" fmla="*/ 97 h 145"/>
                  <a:gd name="T86" fmla="*/ 65 w 134"/>
                  <a:gd name="T87" fmla="*/ 95 h 145"/>
                  <a:gd name="T88" fmla="*/ 57 w 134"/>
                  <a:gd name="T89" fmla="*/ 92 h 145"/>
                  <a:gd name="T90" fmla="*/ 42 w 134"/>
                  <a:gd name="T91" fmla="*/ 82 h 145"/>
                  <a:gd name="T92" fmla="*/ 34 w 134"/>
                  <a:gd name="T93" fmla="*/ 80 h 145"/>
                  <a:gd name="T94" fmla="*/ 27 w 134"/>
                  <a:gd name="T95" fmla="*/ 78 h 145"/>
                  <a:gd name="T96" fmla="*/ 21 w 134"/>
                  <a:gd name="T97" fmla="*/ 73 h 145"/>
                  <a:gd name="T98" fmla="*/ 17 w 134"/>
                  <a:gd name="T99" fmla="*/ 69 h 145"/>
                  <a:gd name="T100" fmla="*/ 12 w 134"/>
                  <a:gd name="T101" fmla="*/ 65 h 145"/>
                  <a:gd name="T102" fmla="*/ 8 w 134"/>
                  <a:gd name="T103" fmla="*/ 57 h 145"/>
                  <a:gd name="T104" fmla="*/ 6 w 134"/>
                  <a:gd name="T105" fmla="*/ 55 h 145"/>
                  <a:gd name="T106" fmla="*/ 2 w 134"/>
                  <a:gd name="T107" fmla="*/ 52 h 145"/>
                  <a:gd name="T108" fmla="*/ 15 w 134"/>
                  <a:gd name="T109" fmla="*/ 6 h 145"/>
                  <a:gd name="T110" fmla="*/ 71 w 134"/>
                  <a:gd name="T111" fmla="*/ 1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4" h="145">
                    <a:moveTo>
                      <a:pt x="71" y="15"/>
                    </a:moveTo>
                    <a:lnTo>
                      <a:pt x="73" y="15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6" y="25"/>
                    </a:lnTo>
                    <a:lnTo>
                      <a:pt x="75" y="25"/>
                    </a:lnTo>
                    <a:lnTo>
                      <a:pt x="75" y="27"/>
                    </a:lnTo>
                    <a:lnTo>
                      <a:pt x="76" y="25"/>
                    </a:lnTo>
                    <a:lnTo>
                      <a:pt x="76" y="27"/>
                    </a:lnTo>
                    <a:lnTo>
                      <a:pt x="75" y="27"/>
                    </a:lnTo>
                    <a:lnTo>
                      <a:pt x="76" y="29"/>
                    </a:lnTo>
                    <a:lnTo>
                      <a:pt x="76" y="31"/>
                    </a:lnTo>
                    <a:lnTo>
                      <a:pt x="76" y="32"/>
                    </a:lnTo>
                    <a:lnTo>
                      <a:pt x="75" y="34"/>
                    </a:lnTo>
                    <a:lnTo>
                      <a:pt x="76" y="34"/>
                    </a:lnTo>
                    <a:lnTo>
                      <a:pt x="76" y="36"/>
                    </a:lnTo>
                    <a:lnTo>
                      <a:pt x="75" y="38"/>
                    </a:lnTo>
                    <a:lnTo>
                      <a:pt x="76" y="40"/>
                    </a:lnTo>
                    <a:lnTo>
                      <a:pt x="75" y="40"/>
                    </a:lnTo>
                    <a:lnTo>
                      <a:pt x="76" y="42"/>
                    </a:lnTo>
                    <a:lnTo>
                      <a:pt x="75" y="42"/>
                    </a:lnTo>
                    <a:lnTo>
                      <a:pt x="76" y="42"/>
                    </a:lnTo>
                    <a:lnTo>
                      <a:pt x="75" y="44"/>
                    </a:lnTo>
                    <a:lnTo>
                      <a:pt x="76" y="44"/>
                    </a:lnTo>
                    <a:lnTo>
                      <a:pt x="75" y="44"/>
                    </a:lnTo>
                    <a:lnTo>
                      <a:pt x="75" y="46"/>
                    </a:lnTo>
                    <a:lnTo>
                      <a:pt x="75" y="48"/>
                    </a:lnTo>
                    <a:lnTo>
                      <a:pt x="76" y="50"/>
                    </a:lnTo>
                    <a:lnTo>
                      <a:pt x="76" y="48"/>
                    </a:lnTo>
                    <a:lnTo>
                      <a:pt x="76" y="50"/>
                    </a:lnTo>
                    <a:lnTo>
                      <a:pt x="78" y="48"/>
                    </a:lnTo>
                    <a:lnTo>
                      <a:pt x="78" y="50"/>
                    </a:lnTo>
                    <a:lnTo>
                      <a:pt x="78" y="48"/>
                    </a:lnTo>
                    <a:lnTo>
                      <a:pt x="80" y="48"/>
                    </a:lnTo>
                    <a:lnTo>
                      <a:pt x="80" y="50"/>
                    </a:lnTo>
                    <a:lnTo>
                      <a:pt x="82" y="50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6" y="50"/>
                    </a:lnTo>
                    <a:lnTo>
                      <a:pt x="86" y="52"/>
                    </a:lnTo>
                    <a:lnTo>
                      <a:pt x="86" y="50"/>
                    </a:lnTo>
                    <a:lnTo>
                      <a:pt x="88" y="50"/>
                    </a:lnTo>
                    <a:lnTo>
                      <a:pt x="88" y="52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92" y="52"/>
                    </a:lnTo>
                    <a:lnTo>
                      <a:pt x="94" y="52"/>
                    </a:lnTo>
                    <a:lnTo>
                      <a:pt x="94" y="50"/>
                    </a:lnTo>
                    <a:lnTo>
                      <a:pt x="94" y="52"/>
                    </a:lnTo>
                    <a:lnTo>
                      <a:pt x="95" y="50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7" y="50"/>
                    </a:lnTo>
                    <a:lnTo>
                      <a:pt x="97" y="48"/>
                    </a:lnTo>
                    <a:lnTo>
                      <a:pt x="99" y="48"/>
                    </a:lnTo>
                    <a:lnTo>
                      <a:pt x="99" y="50"/>
                    </a:lnTo>
                    <a:lnTo>
                      <a:pt x="101" y="50"/>
                    </a:lnTo>
                    <a:lnTo>
                      <a:pt x="103" y="52"/>
                    </a:lnTo>
                    <a:lnTo>
                      <a:pt x="105" y="52"/>
                    </a:lnTo>
                    <a:lnTo>
                      <a:pt x="107" y="52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11" y="53"/>
                    </a:lnTo>
                    <a:lnTo>
                      <a:pt x="111" y="55"/>
                    </a:lnTo>
                    <a:lnTo>
                      <a:pt x="113" y="57"/>
                    </a:lnTo>
                    <a:lnTo>
                      <a:pt x="113" y="59"/>
                    </a:lnTo>
                    <a:lnTo>
                      <a:pt x="111" y="59"/>
                    </a:lnTo>
                    <a:lnTo>
                      <a:pt x="111" y="61"/>
                    </a:lnTo>
                    <a:lnTo>
                      <a:pt x="111" y="63"/>
                    </a:lnTo>
                    <a:lnTo>
                      <a:pt x="113" y="63"/>
                    </a:lnTo>
                    <a:lnTo>
                      <a:pt x="111" y="65"/>
                    </a:lnTo>
                    <a:lnTo>
                      <a:pt x="113" y="65"/>
                    </a:lnTo>
                    <a:lnTo>
                      <a:pt x="113" y="67"/>
                    </a:lnTo>
                    <a:lnTo>
                      <a:pt x="113" y="69"/>
                    </a:lnTo>
                    <a:lnTo>
                      <a:pt x="115" y="71"/>
                    </a:lnTo>
                    <a:lnTo>
                      <a:pt x="113" y="71"/>
                    </a:lnTo>
                    <a:lnTo>
                      <a:pt x="113" y="73"/>
                    </a:lnTo>
                    <a:lnTo>
                      <a:pt x="113" y="74"/>
                    </a:lnTo>
                    <a:lnTo>
                      <a:pt x="115" y="74"/>
                    </a:lnTo>
                    <a:lnTo>
                      <a:pt x="115" y="76"/>
                    </a:lnTo>
                    <a:lnTo>
                      <a:pt x="115" y="78"/>
                    </a:lnTo>
                    <a:lnTo>
                      <a:pt x="115" y="80"/>
                    </a:lnTo>
                    <a:lnTo>
                      <a:pt x="116" y="80"/>
                    </a:lnTo>
                    <a:lnTo>
                      <a:pt x="118" y="82"/>
                    </a:lnTo>
                    <a:lnTo>
                      <a:pt x="118" y="80"/>
                    </a:lnTo>
                    <a:lnTo>
                      <a:pt x="120" y="80"/>
                    </a:lnTo>
                    <a:lnTo>
                      <a:pt x="122" y="80"/>
                    </a:lnTo>
                    <a:lnTo>
                      <a:pt x="124" y="80"/>
                    </a:lnTo>
                    <a:lnTo>
                      <a:pt x="124" y="78"/>
                    </a:lnTo>
                    <a:lnTo>
                      <a:pt x="126" y="78"/>
                    </a:lnTo>
                    <a:lnTo>
                      <a:pt x="128" y="78"/>
                    </a:lnTo>
                    <a:lnTo>
                      <a:pt x="130" y="78"/>
                    </a:lnTo>
                    <a:lnTo>
                      <a:pt x="130" y="80"/>
                    </a:lnTo>
                    <a:lnTo>
                      <a:pt x="132" y="80"/>
                    </a:lnTo>
                    <a:lnTo>
                      <a:pt x="132" y="82"/>
                    </a:lnTo>
                    <a:lnTo>
                      <a:pt x="134" y="82"/>
                    </a:lnTo>
                    <a:lnTo>
                      <a:pt x="132" y="84"/>
                    </a:lnTo>
                    <a:lnTo>
                      <a:pt x="132" y="86"/>
                    </a:lnTo>
                    <a:lnTo>
                      <a:pt x="134" y="86"/>
                    </a:lnTo>
                    <a:lnTo>
                      <a:pt x="134" y="88"/>
                    </a:lnTo>
                    <a:lnTo>
                      <a:pt x="132" y="90"/>
                    </a:lnTo>
                    <a:lnTo>
                      <a:pt x="132" y="92"/>
                    </a:lnTo>
                    <a:lnTo>
                      <a:pt x="132" y="94"/>
                    </a:lnTo>
                    <a:lnTo>
                      <a:pt x="132" y="95"/>
                    </a:lnTo>
                    <a:lnTo>
                      <a:pt x="130" y="99"/>
                    </a:lnTo>
                    <a:lnTo>
                      <a:pt x="130" y="101"/>
                    </a:lnTo>
                    <a:lnTo>
                      <a:pt x="132" y="101"/>
                    </a:lnTo>
                    <a:lnTo>
                      <a:pt x="130" y="101"/>
                    </a:lnTo>
                    <a:lnTo>
                      <a:pt x="130" y="103"/>
                    </a:lnTo>
                    <a:lnTo>
                      <a:pt x="128" y="105"/>
                    </a:lnTo>
                    <a:lnTo>
                      <a:pt x="128" y="107"/>
                    </a:lnTo>
                    <a:lnTo>
                      <a:pt x="128" y="109"/>
                    </a:lnTo>
                    <a:lnTo>
                      <a:pt x="128" y="111"/>
                    </a:lnTo>
                    <a:lnTo>
                      <a:pt x="128" y="113"/>
                    </a:lnTo>
                    <a:lnTo>
                      <a:pt x="128" y="114"/>
                    </a:lnTo>
                    <a:lnTo>
                      <a:pt x="128" y="116"/>
                    </a:lnTo>
                    <a:lnTo>
                      <a:pt x="126" y="116"/>
                    </a:lnTo>
                    <a:lnTo>
                      <a:pt x="128" y="118"/>
                    </a:lnTo>
                    <a:lnTo>
                      <a:pt x="128" y="120"/>
                    </a:lnTo>
                    <a:lnTo>
                      <a:pt x="126" y="120"/>
                    </a:lnTo>
                    <a:lnTo>
                      <a:pt x="128" y="122"/>
                    </a:lnTo>
                    <a:lnTo>
                      <a:pt x="126" y="122"/>
                    </a:lnTo>
                    <a:lnTo>
                      <a:pt x="126" y="124"/>
                    </a:lnTo>
                    <a:lnTo>
                      <a:pt x="124" y="126"/>
                    </a:lnTo>
                    <a:lnTo>
                      <a:pt x="126" y="128"/>
                    </a:lnTo>
                    <a:lnTo>
                      <a:pt x="124" y="128"/>
                    </a:lnTo>
                    <a:lnTo>
                      <a:pt x="122" y="128"/>
                    </a:lnTo>
                    <a:lnTo>
                      <a:pt x="122" y="130"/>
                    </a:lnTo>
                    <a:lnTo>
                      <a:pt x="120" y="130"/>
                    </a:lnTo>
                    <a:lnTo>
                      <a:pt x="120" y="132"/>
                    </a:lnTo>
                    <a:lnTo>
                      <a:pt x="120" y="134"/>
                    </a:lnTo>
                    <a:lnTo>
                      <a:pt x="118" y="134"/>
                    </a:lnTo>
                    <a:lnTo>
                      <a:pt x="116" y="134"/>
                    </a:lnTo>
                    <a:lnTo>
                      <a:pt x="115" y="134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3" y="137"/>
                    </a:lnTo>
                    <a:lnTo>
                      <a:pt x="113" y="139"/>
                    </a:lnTo>
                    <a:lnTo>
                      <a:pt x="111" y="141"/>
                    </a:lnTo>
                    <a:lnTo>
                      <a:pt x="109" y="141"/>
                    </a:lnTo>
                    <a:lnTo>
                      <a:pt x="107" y="139"/>
                    </a:lnTo>
                    <a:lnTo>
                      <a:pt x="105" y="139"/>
                    </a:lnTo>
                    <a:lnTo>
                      <a:pt x="103" y="139"/>
                    </a:lnTo>
                    <a:lnTo>
                      <a:pt x="101" y="141"/>
                    </a:lnTo>
                    <a:lnTo>
                      <a:pt x="101" y="143"/>
                    </a:lnTo>
                    <a:lnTo>
                      <a:pt x="99" y="145"/>
                    </a:lnTo>
                    <a:lnTo>
                      <a:pt x="97" y="143"/>
                    </a:lnTo>
                    <a:lnTo>
                      <a:pt x="95" y="141"/>
                    </a:lnTo>
                    <a:lnTo>
                      <a:pt x="95" y="143"/>
                    </a:lnTo>
                    <a:lnTo>
                      <a:pt x="94" y="143"/>
                    </a:lnTo>
                    <a:lnTo>
                      <a:pt x="92" y="141"/>
                    </a:lnTo>
                    <a:lnTo>
                      <a:pt x="90" y="143"/>
                    </a:lnTo>
                    <a:lnTo>
                      <a:pt x="88" y="143"/>
                    </a:lnTo>
                    <a:lnTo>
                      <a:pt x="86" y="143"/>
                    </a:lnTo>
                    <a:lnTo>
                      <a:pt x="84" y="141"/>
                    </a:lnTo>
                    <a:lnTo>
                      <a:pt x="82" y="141"/>
                    </a:lnTo>
                    <a:lnTo>
                      <a:pt x="78" y="139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3" y="139"/>
                    </a:lnTo>
                    <a:lnTo>
                      <a:pt x="71" y="139"/>
                    </a:lnTo>
                    <a:lnTo>
                      <a:pt x="67" y="139"/>
                    </a:lnTo>
                    <a:lnTo>
                      <a:pt x="65" y="139"/>
                    </a:lnTo>
                    <a:lnTo>
                      <a:pt x="65" y="137"/>
                    </a:lnTo>
                    <a:lnTo>
                      <a:pt x="63" y="137"/>
                    </a:lnTo>
                    <a:lnTo>
                      <a:pt x="63" y="135"/>
                    </a:lnTo>
                    <a:lnTo>
                      <a:pt x="65" y="135"/>
                    </a:lnTo>
                    <a:lnTo>
                      <a:pt x="67" y="135"/>
                    </a:lnTo>
                    <a:lnTo>
                      <a:pt x="65" y="134"/>
                    </a:lnTo>
                    <a:lnTo>
                      <a:pt x="67" y="134"/>
                    </a:lnTo>
                    <a:lnTo>
                      <a:pt x="67" y="132"/>
                    </a:lnTo>
                    <a:lnTo>
                      <a:pt x="67" y="134"/>
                    </a:lnTo>
                    <a:lnTo>
                      <a:pt x="69" y="132"/>
                    </a:lnTo>
                    <a:lnTo>
                      <a:pt x="69" y="130"/>
                    </a:lnTo>
                    <a:lnTo>
                      <a:pt x="71" y="130"/>
                    </a:lnTo>
                    <a:lnTo>
                      <a:pt x="71" y="128"/>
                    </a:lnTo>
                    <a:lnTo>
                      <a:pt x="71" y="126"/>
                    </a:lnTo>
                    <a:lnTo>
                      <a:pt x="71" y="124"/>
                    </a:lnTo>
                    <a:lnTo>
                      <a:pt x="71" y="122"/>
                    </a:lnTo>
                    <a:lnTo>
                      <a:pt x="71" y="120"/>
                    </a:lnTo>
                    <a:lnTo>
                      <a:pt x="73" y="120"/>
                    </a:lnTo>
                    <a:lnTo>
                      <a:pt x="71" y="120"/>
                    </a:lnTo>
                    <a:lnTo>
                      <a:pt x="73" y="120"/>
                    </a:lnTo>
                    <a:lnTo>
                      <a:pt x="73" y="118"/>
                    </a:lnTo>
                    <a:lnTo>
                      <a:pt x="75" y="118"/>
                    </a:lnTo>
                    <a:lnTo>
                      <a:pt x="75" y="116"/>
                    </a:lnTo>
                    <a:lnTo>
                      <a:pt x="76" y="116"/>
                    </a:lnTo>
                    <a:lnTo>
                      <a:pt x="76" y="114"/>
                    </a:lnTo>
                    <a:lnTo>
                      <a:pt x="76" y="113"/>
                    </a:lnTo>
                    <a:lnTo>
                      <a:pt x="78" y="113"/>
                    </a:lnTo>
                    <a:lnTo>
                      <a:pt x="76" y="113"/>
                    </a:lnTo>
                    <a:lnTo>
                      <a:pt x="78" y="113"/>
                    </a:lnTo>
                    <a:lnTo>
                      <a:pt x="78" y="111"/>
                    </a:lnTo>
                    <a:lnTo>
                      <a:pt x="78" y="109"/>
                    </a:lnTo>
                    <a:lnTo>
                      <a:pt x="80" y="109"/>
                    </a:lnTo>
                    <a:lnTo>
                      <a:pt x="80" y="107"/>
                    </a:lnTo>
                    <a:lnTo>
                      <a:pt x="78" y="105"/>
                    </a:lnTo>
                    <a:lnTo>
                      <a:pt x="78" y="103"/>
                    </a:lnTo>
                    <a:lnTo>
                      <a:pt x="78" y="101"/>
                    </a:lnTo>
                    <a:lnTo>
                      <a:pt x="76" y="101"/>
                    </a:lnTo>
                    <a:lnTo>
                      <a:pt x="76" y="99"/>
                    </a:lnTo>
                    <a:lnTo>
                      <a:pt x="75" y="99"/>
                    </a:lnTo>
                    <a:lnTo>
                      <a:pt x="73" y="99"/>
                    </a:lnTo>
                    <a:lnTo>
                      <a:pt x="73" y="97"/>
                    </a:lnTo>
                    <a:lnTo>
                      <a:pt x="71" y="97"/>
                    </a:lnTo>
                    <a:lnTo>
                      <a:pt x="69" y="99"/>
                    </a:lnTo>
                    <a:lnTo>
                      <a:pt x="69" y="97"/>
                    </a:lnTo>
                    <a:lnTo>
                      <a:pt x="67" y="97"/>
                    </a:lnTo>
                    <a:lnTo>
                      <a:pt x="67" y="95"/>
                    </a:lnTo>
                    <a:lnTo>
                      <a:pt x="65" y="95"/>
                    </a:lnTo>
                    <a:lnTo>
                      <a:pt x="63" y="95"/>
                    </a:lnTo>
                    <a:lnTo>
                      <a:pt x="61" y="95"/>
                    </a:lnTo>
                    <a:lnTo>
                      <a:pt x="59" y="94"/>
                    </a:lnTo>
                    <a:lnTo>
                      <a:pt x="57" y="94"/>
                    </a:lnTo>
                    <a:lnTo>
                      <a:pt x="57" y="92"/>
                    </a:lnTo>
                    <a:lnTo>
                      <a:pt x="55" y="92"/>
                    </a:lnTo>
                    <a:lnTo>
                      <a:pt x="54" y="90"/>
                    </a:lnTo>
                    <a:lnTo>
                      <a:pt x="52" y="88"/>
                    </a:lnTo>
                    <a:lnTo>
                      <a:pt x="50" y="86"/>
                    </a:lnTo>
                    <a:lnTo>
                      <a:pt x="42" y="82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6" y="82"/>
                    </a:lnTo>
                    <a:lnTo>
                      <a:pt x="36" y="80"/>
                    </a:lnTo>
                    <a:lnTo>
                      <a:pt x="34" y="80"/>
                    </a:lnTo>
                    <a:lnTo>
                      <a:pt x="33" y="80"/>
                    </a:lnTo>
                    <a:lnTo>
                      <a:pt x="31" y="80"/>
                    </a:lnTo>
                    <a:lnTo>
                      <a:pt x="31" y="78"/>
                    </a:lnTo>
                    <a:lnTo>
                      <a:pt x="29" y="78"/>
                    </a:lnTo>
                    <a:lnTo>
                      <a:pt x="27" y="78"/>
                    </a:lnTo>
                    <a:lnTo>
                      <a:pt x="27" y="76"/>
                    </a:lnTo>
                    <a:lnTo>
                      <a:pt x="25" y="76"/>
                    </a:lnTo>
                    <a:lnTo>
                      <a:pt x="25" y="74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21" y="73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3" y="67"/>
                    </a:lnTo>
                    <a:lnTo>
                      <a:pt x="13" y="65"/>
                    </a:lnTo>
                    <a:lnTo>
                      <a:pt x="12" y="65"/>
                    </a:lnTo>
                    <a:lnTo>
                      <a:pt x="10" y="65"/>
                    </a:lnTo>
                    <a:lnTo>
                      <a:pt x="10" y="63"/>
                    </a:lnTo>
                    <a:lnTo>
                      <a:pt x="8" y="61"/>
                    </a:lnTo>
                    <a:lnTo>
                      <a:pt x="8" y="59"/>
                    </a:lnTo>
                    <a:lnTo>
                      <a:pt x="8" y="57"/>
                    </a:lnTo>
                    <a:lnTo>
                      <a:pt x="6" y="57"/>
                    </a:lnTo>
                    <a:lnTo>
                      <a:pt x="8" y="55"/>
                    </a:lnTo>
                    <a:lnTo>
                      <a:pt x="6" y="55"/>
                    </a:lnTo>
                    <a:lnTo>
                      <a:pt x="8" y="55"/>
                    </a:lnTo>
                    <a:lnTo>
                      <a:pt x="6" y="55"/>
                    </a:lnTo>
                    <a:lnTo>
                      <a:pt x="4" y="53"/>
                    </a:lnTo>
                    <a:lnTo>
                      <a:pt x="4" y="55"/>
                    </a:lnTo>
                    <a:lnTo>
                      <a:pt x="4" y="53"/>
                    </a:lnTo>
                    <a:lnTo>
                      <a:pt x="2" y="53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6" y="31"/>
                    </a:lnTo>
                    <a:lnTo>
                      <a:pt x="6" y="21"/>
                    </a:lnTo>
                    <a:lnTo>
                      <a:pt x="12" y="13"/>
                    </a:lnTo>
                    <a:lnTo>
                      <a:pt x="15" y="6"/>
                    </a:lnTo>
                    <a:lnTo>
                      <a:pt x="33" y="4"/>
                    </a:lnTo>
                    <a:lnTo>
                      <a:pt x="42" y="0"/>
                    </a:lnTo>
                    <a:lnTo>
                      <a:pt x="57" y="0"/>
                    </a:lnTo>
                    <a:lnTo>
                      <a:pt x="71" y="10"/>
                    </a:lnTo>
                    <a:lnTo>
                      <a:pt x="71" y="11"/>
                    </a:lnTo>
                    <a:lnTo>
                      <a:pt x="71" y="13"/>
                    </a:lnTo>
                    <a:lnTo>
                      <a:pt x="73" y="15"/>
                    </a:lnTo>
                    <a:lnTo>
                      <a:pt x="71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4" name="Freeform 73">
                <a:extLst>
                  <a:ext uri="{FF2B5EF4-FFF2-40B4-BE49-F238E27FC236}">
                    <a16:creationId xmlns:a16="http://schemas.microsoft.com/office/drawing/2014/main" id="{137B4FC8-B061-6A4E-5C24-87162055AC0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69898" y="-2124156"/>
                <a:ext cx="12428" cy="10950"/>
              </a:xfrm>
              <a:custGeom>
                <a:avLst/>
                <a:gdLst>
                  <a:gd name="T0" fmla="*/ 0 w 8"/>
                  <a:gd name="T1" fmla="*/ 0 h 7"/>
                  <a:gd name="T2" fmla="*/ 2 w 8"/>
                  <a:gd name="T3" fmla="*/ 0 h 7"/>
                  <a:gd name="T4" fmla="*/ 2 w 8"/>
                  <a:gd name="T5" fmla="*/ 2 h 7"/>
                  <a:gd name="T6" fmla="*/ 2 w 8"/>
                  <a:gd name="T7" fmla="*/ 3 h 7"/>
                  <a:gd name="T8" fmla="*/ 4 w 8"/>
                  <a:gd name="T9" fmla="*/ 3 h 7"/>
                  <a:gd name="T10" fmla="*/ 6 w 8"/>
                  <a:gd name="T11" fmla="*/ 3 h 7"/>
                  <a:gd name="T12" fmla="*/ 6 w 8"/>
                  <a:gd name="T13" fmla="*/ 5 h 7"/>
                  <a:gd name="T14" fmla="*/ 4 w 8"/>
                  <a:gd name="T15" fmla="*/ 5 h 7"/>
                  <a:gd name="T16" fmla="*/ 2 w 8"/>
                  <a:gd name="T17" fmla="*/ 3 h 7"/>
                  <a:gd name="T18" fmla="*/ 0 w 8"/>
                  <a:gd name="T19" fmla="*/ 3 h 7"/>
                  <a:gd name="T20" fmla="*/ 0 w 8"/>
                  <a:gd name="T21" fmla="*/ 2 h 7"/>
                  <a:gd name="T22" fmla="*/ 0 w 8"/>
                  <a:gd name="T23" fmla="*/ 0 h 7"/>
                  <a:gd name="T24" fmla="*/ 8 w 8"/>
                  <a:gd name="T25" fmla="*/ 5 h 7"/>
                  <a:gd name="T26" fmla="*/ 8 w 8"/>
                  <a:gd name="T27" fmla="*/ 7 h 7"/>
                  <a:gd name="T28" fmla="*/ 8 w 8"/>
                  <a:gd name="T2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" h="7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8" y="5"/>
                    </a:moveTo>
                    <a:lnTo>
                      <a:pt x="8" y="7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5" name="Freeform 76">
                <a:extLst>
                  <a:ext uri="{FF2B5EF4-FFF2-40B4-BE49-F238E27FC236}">
                    <a16:creationId xmlns:a16="http://schemas.microsoft.com/office/drawing/2014/main" id="{517164EF-4ECF-D189-C070-DB69D38EFEF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059167" y="-2130414"/>
                <a:ext cx="366662" cy="420827"/>
              </a:xfrm>
              <a:custGeom>
                <a:avLst/>
                <a:gdLst>
                  <a:gd name="T0" fmla="*/ 143 w 236"/>
                  <a:gd name="T1" fmla="*/ 32 h 269"/>
                  <a:gd name="T2" fmla="*/ 133 w 236"/>
                  <a:gd name="T3" fmla="*/ 53 h 269"/>
                  <a:gd name="T4" fmla="*/ 145 w 236"/>
                  <a:gd name="T5" fmla="*/ 65 h 269"/>
                  <a:gd name="T6" fmla="*/ 149 w 236"/>
                  <a:gd name="T7" fmla="*/ 86 h 269"/>
                  <a:gd name="T8" fmla="*/ 162 w 236"/>
                  <a:gd name="T9" fmla="*/ 90 h 269"/>
                  <a:gd name="T10" fmla="*/ 168 w 236"/>
                  <a:gd name="T11" fmla="*/ 91 h 269"/>
                  <a:gd name="T12" fmla="*/ 183 w 236"/>
                  <a:gd name="T13" fmla="*/ 91 h 269"/>
                  <a:gd name="T14" fmla="*/ 210 w 236"/>
                  <a:gd name="T15" fmla="*/ 105 h 269"/>
                  <a:gd name="T16" fmla="*/ 227 w 236"/>
                  <a:gd name="T17" fmla="*/ 103 h 269"/>
                  <a:gd name="T18" fmla="*/ 221 w 236"/>
                  <a:gd name="T19" fmla="*/ 120 h 269"/>
                  <a:gd name="T20" fmla="*/ 223 w 236"/>
                  <a:gd name="T21" fmla="*/ 143 h 269"/>
                  <a:gd name="T22" fmla="*/ 223 w 236"/>
                  <a:gd name="T23" fmla="*/ 158 h 269"/>
                  <a:gd name="T24" fmla="*/ 233 w 236"/>
                  <a:gd name="T25" fmla="*/ 170 h 269"/>
                  <a:gd name="T26" fmla="*/ 231 w 236"/>
                  <a:gd name="T27" fmla="*/ 175 h 269"/>
                  <a:gd name="T28" fmla="*/ 219 w 236"/>
                  <a:gd name="T29" fmla="*/ 173 h 269"/>
                  <a:gd name="T30" fmla="*/ 194 w 236"/>
                  <a:gd name="T31" fmla="*/ 173 h 269"/>
                  <a:gd name="T32" fmla="*/ 200 w 236"/>
                  <a:gd name="T33" fmla="*/ 187 h 269"/>
                  <a:gd name="T34" fmla="*/ 193 w 236"/>
                  <a:gd name="T35" fmla="*/ 191 h 269"/>
                  <a:gd name="T36" fmla="*/ 187 w 236"/>
                  <a:gd name="T37" fmla="*/ 208 h 269"/>
                  <a:gd name="T38" fmla="*/ 194 w 236"/>
                  <a:gd name="T39" fmla="*/ 219 h 269"/>
                  <a:gd name="T40" fmla="*/ 185 w 236"/>
                  <a:gd name="T41" fmla="*/ 267 h 269"/>
                  <a:gd name="T42" fmla="*/ 183 w 236"/>
                  <a:gd name="T43" fmla="*/ 246 h 269"/>
                  <a:gd name="T44" fmla="*/ 175 w 236"/>
                  <a:gd name="T45" fmla="*/ 240 h 269"/>
                  <a:gd name="T46" fmla="*/ 162 w 236"/>
                  <a:gd name="T47" fmla="*/ 240 h 269"/>
                  <a:gd name="T48" fmla="*/ 152 w 236"/>
                  <a:gd name="T49" fmla="*/ 242 h 269"/>
                  <a:gd name="T50" fmla="*/ 141 w 236"/>
                  <a:gd name="T51" fmla="*/ 240 h 269"/>
                  <a:gd name="T52" fmla="*/ 135 w 236"/>
                  <a:gd name="T53" fmla="*/ 231 h 269"/>
                  <a:gd name="T54" fmla="*/ 124 w 236"/>
                  <a:gd name="T55" fmla="*/ 221 h 269"/>
                  <a:gd name="T56" fmla="*/ 118 w 236"/>
                  <a:gd name="T57" fmla="*/ 214 h 269"/>
                  <a:gd name="T58" fmla="*/ 103 w 236"/>
                  <a:gd name="T59" fmla="*/ 204 h 269"/>
                  <a:gd name="T60" fmla="*/ 90 w 236"/>
                  <a:gd name="T61" fmla="*/ 198 h 269"/>
                  <a:gd name="T62" fmla="*/ 76 w 236"/>
                  <a:gd name="T63" fmla="*/ 198 h 269"/>
                  <a:gd name="T64" fmla="*/ 61 w 236"/>
                  <a:gd name="T65" fmla="*/ 189 h 269"/>
                  <a:gd name="T66" fmla="*/ 48 w 236"/>
                  <a:gd name="T67" fmla="*/ 181 h 269"/>
                  <a:gd name="T68" fmla="*/ 50 w 236"/>
                  <a:gd name="T69" fmla="*/ 175 h 269"/>
                  <a:gd name="T70" fmla="*/ 50 w 236"/>
                  <a:gd name="T71" fmla="*/ 166 h 269"/>
                  <a:gd name="T72" fmla="*/ 53 w 236"/>
                  <a:gd name="T73" fmla="*/ 162 h 269"/>
                  <a:gd name="T74" fmla="*/ 57 w 236"/>
                  <a:gd name="T75" fmla="*/ 160 h 269"/>
                  <a:gd name="T76" fmla="*/ 63 w 236"/>
                  <a:gd name="T77" fmla="*/ 154 h 269"/>
                  <a:gd name="T78" fmla="*/ 70 w 236"/>
                  <a:gd name="T79" fmla="*/ 147 h 269"/>
                  <a:gd name="T80" fmla="*/ 72 w 236"/>
                  <a:gd name="T81" fmla="*/ 141 h 269"/>
                  <a:gd name="T82" fmla="*/ 67 w 236"/>
                  <a:gd name="T83" fmla="*/ 135 h 269"/>
                  <a:gd name="T84" fmla="*/ 69 w 236"/>
                  <a:gd name="T85" fmla="*/ 126 h 269"/>
                  <a:gd name="T86" fmla="*/ 70 w 236"/>
                  <a:gd name="T87" fmla="*/ 111 h 269"/>
                  <a:gd name="T88" fmla="*/ 67 w 236"/>
                  <a:gd name="T89" fmla="*/ 95 h 269"/>
                  <a:gd name="T90" fmla="*/ 65 w 236"/>
                  <a:gd name="T91" fmla="*/ 80 h 269"/>
                  <a:gd name="T92" fmla="*/ 72 w 236"/>
                  <a:gd name="T93" fmla="*/ 74 h 269"/>
                  <a:gd name="T94" fmla="*/ 76 w 236"/>
                  <a:gd name="T95" fmla="*/ 72 h 269"/>
                  <a:gd name="T96" fmla="*/ 80 w 236"/>
                  <a:gd name="T97" fmla="*/ 74 h 269"/>
                  <a:gd name="T98" fmla="*/ 76 w 236"/>
                  <a:gd name="T99" fmla="*/ 65 h 269"/>
                  <a:gd name="T100" fmla="*/ 90 w 236"/>
                  <a:gd name="T101" fmla="*/ 53 h 269"/>
                  <a:gd name="T102" fmla="*/ 97 w 236"/>
                  <a:gd name="T103" fmla="*/ 44 h 269"/>
                  <a:gd name="T104" fmla="*/ 95 w 236"/>
                  <a:gd name="T105" fmla="*/ 40 h 269"/>
                  <a:gd name="T106" fmla="*/ 99 w 236"/>
                  <a:gd name="T107" fmla="*/ 36 h 269"/>
                  <a:gd name="T108" fmla="*/ 109 w 236"/>
                  <a:gd name="T109" fmla="*/ 27 h 269"/>
                  <a:gd name="T110" fmla="*/ 126 w 236"/>
                  <a:gd name="T111" fmla="*/ 23 h 269"/>
                  <a:gd name="T112" fmla="*/ 152 w 236"/>
                  <a:gd name="T113" fmla="*/ 7 h 269"/>
                  <a:gd name="T114" fmla="*/ 158 w 236"/>
                  <a:gd name="T115" fmla="*/ 4 h 269"/>
                  <a:gd name="T116" fmla="*/ 168 w 236"/>
                  <a:gd name="T117" fmla="*/ 6 h 269"/>
                  <a:gd name="T118" fmla="*/ 99 w 236"/>
                  <a:gd name="T119" fmla="*/ 38 h 269"/>
                  <a:gd name="T120" fmla="*/ 88 w 236"/>
                  <a:gd name="T121" fmla="*/ 51 h 269"/>
                  <a:gd name="T122" fmla="*/ 67 w 236"/>
                  <a:gd name="T123" fmla="*/ 137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6" h="269">
                    <a:moveTo>
                      <a:pt x="164" y="13"/>
                    </a:moveTo>
                    <a:lnTo>
                      <a:pt x="158" y="15"/>
                    </a:lnTo>
                    <a:lnTo>
                      <a:pt x="154" y="15"/>
                    </a:lnTo>
                    <a:lnTo>
                      <a:pt x="151" y="25"/>
                    </a:lnTo>
                    <a:lnTo>
                      <a:pt x="149" y="25"/>
                    </a:lnTo>
                    <a:lnTo>
                      <a:pt x="147" y="25"/>
                    </a:lnTo>
                    <a:lnTo>
                      <a:pt x="147" y="27"/>
                    </a:lnTo>
                    <a:lnTo>
                      <a:pt x="145" y="27"/>
                    </a:lnTo>
                    <a:lnTo>
                      <a:pt x="145" y="28"/>
                    </a:lnTo>
                    <a:lnTo>
                      <a:pt x="143" y="30"/>
                    </a:lnTo>
                    <a:lnTo>
                      <a:pt x="143" y="32"/>
                    </a:lnTo>
                    <a:lnTo>
                      <a:pt x="141" y="34"/>
                    </a:lnTo>
                    <a:lnTo>
                      <a:pt x="141" y="36"/>
                    </a:lnTo>
                    <a:lnTo>
                      <a:pt x="139" y="36"/>
                    </a:lnTo>
                    <a:lnTo>
                      <a:pt x="141" y="40"/>
                    </a:lnTo>
                    <a:lnTo>
                      <a:pt x="139" y="40"/>
                    </a:lnTo>
                    <a:lnTo>
                      <a:pt x="139" y="42"/>
                    </a:lnTo>
                    <a:lnTo>
                      <a:pt x="139" y="44"/>
                    </a:lnTo>
                    <a:lnTo>
                      <a:pt x="139" y="46"/>
                    </a:lnTo>
                    <a:lnTo>
                      <a:pt x="137" y="48"/>
                    </a:lnTo>
                    <a:lnTo>
                      <a:pt x="135" y="51"/>
                    </a:lnTo>
                    <a:lnTo>
                      <a:pt x="133" y="53"/>
                    </a:lnTo>
                    <a:lnTo>
                      <a:pt x="133" y="55"/>
                    </a:lnTo>
                    <a:lnTo>
                      <a:pt x="135" y="55"/>
                    </a:lnTo>
                    <a:lnTo>
                      <a:pt x="137" y="55"/>
                    </a:lnTo>
                    <a:lnTo>
                      <a:pt x="137" y="53"/>
                    </a:lnTo>
                    <a:lnTo>
                      <a:pt x="139" y="53"/>
                    </a:lnTo>
                    <a:lnTo>
                      <a:pt x="139" y="55"/>
                    </a:lnTo>
                    <a:lnTo>
                      <a:pt x="139" y="57"/>
                    </a:lnTo>
                    <a:lnTo>
                      <a:pt x="141" y="57"/>
                    </a:lnTo>
                    <a:lnTo>
                      <a:pt x="143" y="57"/>
                    </a:lnTo>
                    <a:lnTo>
                      <a:pt x="143" y="59"/>
                    </a:lnTo>
                    <a:lnTo>
                      <a:pt x="145" y="65"/>
                    </a:lnTo>
                    <a:lnTo>
                      <a:pt x="149" y="69"/>
                    </a:lnTo>
                    <a:lnTo>
                      <a:pt x="149" y="70"/>
                    </a:lnTo>
                    <a:lnTo>
                      <a:pt x="149" y="72"/>
                    </a:lnTo>
                    <a:lnTo>
                      <a:pt x="149" y="74"/>
                    </a:lnTo>
                    <a:lnTo>
                      <a:pt x="147" y="76"/>
                    </a:lnTo>
                    <a:lnTo>
                      <a:pt x="147" y="78"/>
                    </a:lnTo>
                    <a:lnTo>
                      <a:pt x="147" y="80"/>
                    </a:lnTo>
                    <a:lnTo>
                      <a:pt x="147" y="82"/>
                    </a:lnTo>
                    <a:lnTo>
                      <a:pt x="147" y="84"/>
                    </a:lnTo>
                    <a:lnTo>
                      <a:pt x="149" y="84"/>
                    </a:lnTo>
                    <a:lnTo>
                      <a:pt x="149" y="86"/>
                    </a:lnTo>
                    <a:lnTo>
                      <a:pt x="151" y="84"/>
                    </a:lnTo>
                    <a:lnTo>
                      <a:pt x="152" y="86"/>
                    </a:lnTo>
                    <a:lnTo>
                      <a:pt x="152" y="88"/>
                    </a:lnTo>
                    <a:lnTo>
                      <a:pt x="154" y="90"/>
                    </a:lnTo>
                    <a:lnTo>
                      <a:pt x="156" y="91"/>
                    </a:lnTo>
                    <a:lnTo>
                      <a:pt x="158" y="90"/>
                    </a:lnTo>
                    <a:lnTo>
                      <a:pt x="156" y="90"/>
                    </a:lnTo>
                    <a:lnTo>
                      <a:pt x="158" y="90"/>
                    </a:lnTo>
                    <a:lnTo>
                      <a:pt x="160" y="90"/>
                    </a:lnTo>
                    <a:lnTo>
                      <a:pt x="160" y="91"/>
                    </a:lnTo>
                    <a:lnTo>
                      <a:pt x="162" y="90"/>
                    </a:lnTo>
                    <a:lnTo>
                      <a:pt x="162" y="91"/>
                    </a:lnTo>
                    <a:lnTo>
                      <a:pt x="162" y="90"/>
                    </a:lnTo>
                    <a:lnTo>
                      <a:pt x="164" y="91"/>
                    </a:lnTo>
                    <a:lnTo>
                      <a:pt x="164" y="90"/>
                    </a:lnTo>
                    <a:lnTo>
                      <a:pt x="164" y="91"/>
                    </a:lnTo>
                    <a:lnTo>
                      <a:pt x="166" y="90"/>
                    </a:lnTo>
                    <a:lnTo>
                      <a:pt x="166" y="91"/>
                    </a:lnTo>
                    <a:lnTo>
                      <a:pt x="166" y="90"/>
                    </a:lnTo>
                    <a:lnTo>
                      <a:pt x="168" y="91"/>
                    </a:lnTo>
                    <a:lnTo>
                      <a:pt x="168" y="90"/>
                    </a:lnTo>
                    <a:lnTo>
                      <a:pt x="168" y="91"/>
                    </a:lnTo>
                    <a:lnTo>
                      <a:pt x="170" y="91"/>
                    </a:lnTo>
                    <a:lnTo>
                      <a:pt x="168" y="91"/>
                    </a:lnTo>
                    <a:lnTo>
                      <a:pt x="170" y="91"/>
                    </a:lnTo>
                    <a:lnTo>
                      <a:pt x="172" y="91"/>
                    </a:lnTo>
                    <a:lnTo>
                      <a:pt x="172" y="90"/>
                    </a:lnTo>
                    <a:lnTo>
                      <a:pt x="173" y="90"/>
                    </a:lnTo>
                    <a:lnTo>
                      <a:pt x="175" y="90"/>
                    </a:lnTo>
                    <a:lnTo>
                      <a:pt x="177" y="90"/>
                    </a:lnTo>
                    <a:lnTo>
                      <a:pt x="179" y="91"/>
                    </a:lnTo>
                    <a:lnTo>
                      <a:pt x="181" y="91"/>
                    </a:lnTo>
                    <a:lnTo>
                      <a:pt x="183" y="91"/>
                    </a:lnTo>
                    <a:lnTo>
                      <a:pt x="185" y="91"/>
                    </a:lnTo>
                    <a:lnTo>
                      <a:pt x="194" y="105"/>
                    </a:lnTo>
                    <a:lnTo>
                      <a:pt x="196" y="105"/>
                    </a:lnTo>
                    <a:lnTo>
                      <a:pt x="198" y="105"/>
                    </a:lnTo>
                    <a:lnTo>
                      <a:pt x="200" y="105"/>
                    </a:lnTo>
                    <a:lnTo>
                      <a:pt x="200" y="103"/>
                    </a:lnTo>
                    <a:lnTo>
                      <a:pt x="202" y="103"/>
                    </a:lnTo>
                    <a:lnTo>
                      <a:pt x="204" y="105"/>
                    </a:lnTo>
                    <a:lnTo>
                      <a:pt x="206" y="105"/>
                    </a:lnTo>
                    <a:lnTo>
                      <a:pt x="208" y="105"/>
                    </a:lnTo>
                    <a:lnTo>
                      <a:pt x="210" y="105"/>
                    </a:lnTo>
                    <a:lnTo>
                      <a:pt x="212" y="103"/>
                    </a:lnTo>
                    <a:lnTo>
                      <a:pt x="214" y="105"/>
                    </a:lnTo>
                    <a:lnTo>
                      <a:pt x="214" y="103"/>
                    </a:lnTo>
                    <a:lnTo>
                      <a:pt x="215" y="103"/>
                    </a:lnTo>
                    <a:lnTo>
                      <a:pt x="217" y="103"/>
                    </a:lnTo>
                    <a:lnTo>
                      <a:pt x="219" y="103"/>
                    </a:lnTo>
                    <a:lnTo>
                      <a:pt x="221" y="101"/>
                    </a:lnTo>
                    <a:lnTo>
                      <a:pt x="221" y="103"/>
                    </a:lnTo>
                    <a:lnTo>
                      <a:pt x="223" y="103"/>
                    </a:lnTo>
                    <a:lnTo>
                      <a:pt x="225" y="103"/>
                    </a:lnTo>
                    <a:lnTo>
                      <a:pt x="227" y="103"/>
                    </a:lnTo>
                    <a:lnTo>
                      <a:pt x="227" y="105"/>
                    </a:lnTo>
                    <a:lnTo>
                      <a:pt x="227" y="107"/>
                    </a:lnTo>
                    <a:lnTo>
                      <a:pt x="227" y="109"/>
                    </a:lnTo>
                    <a:lnTo>
                      <a:pt x="225" y="109"/>
                    </a:lnTo>
                    <a:lnTo>
                      <a:pt x="223" y="111"/>
                    </a:lnTo>
                    <a:lnTo>
                      <a:pt x="223" y="112"/>
                    </a:lnTo>
                    <a:lnTo>
                      <a:pt x="225" y="114"/>
                    </a:lnTo>
                    <a:lnTo>
                      <a:pt x="223" y="116"/>
                    </a:lnTo>
                    <a:lnTo>
                      <a:pt x="221" y="116"/>
                    </a:lnTo>
                    <a:lnTo>
                      <a:pt x="221" y="118"/>
                    </a:lnTo>
                    <a:lnTo>
                      <a:pt x="221" y="120"/>
                    </a:lnTo>
                    <a:lnTo>
                      <a:pt x="221" y="122"/>
                    </a:lnTo>
                    <a:lnTo>
                      <a:pt x="221" y="124"/>
                    </a:lnTo>
                    <a:lnTo>
                      <a:pt x="221" y="128"/>
                    </a:lnTo>
                    <a:lnTo>
                      <a:pt x="221" y="130"/>
                    </a:lnTo>
                    <a:lnTo>
                      <a:pt x="221" y="131"/>
                    </a:lnTo>
                    <a:lnTo>
                      <a:pt x="221" y="133"/>
                    </a:lnTo>
                    <a:lnTo>
                      <a:pt x="221" y="135"/>
                    </a:lnTo>
                    <a:lnTo>
                      <a:pt x="223" y="137"/>
                    </a:lnTo>
                    <a:lnTo>
                      <a:pt x="223" y="139"/>
                    </a:lnTo>
                    <a:lnTo>
                      <a:pt x="223" y="141"/>
                    </a:lnTo>
                    <a:lnTo>
                      <a:pt x="223" y="143"/>
                    </a:lnTo>
                    <a:lnTo>
                      <a:pt x="225" y="143"/>
                    </a:lnTo>
                    <a:lnTo>
                      <a:pt x="227" y="143"/>
                    </a:lnTo>
                    <a:lnTo>
                      <a:pt x="227" y="145"/>
                    </a:lnTo>
                    <a:lnTo>
                      <a:pt x="227" y="147"/>
                    </a:lnTo>
                    <a:lnTo>
                      <a:pt x="229" y="147"/>
                    </a:lnTo>
                    <a:lnTo>
                      <a:pt x="229" y="149"/>
                    </a:lnTo>
                    <a:lnTo>
                      <a:pt x="229" y="151"/>
                    </a:lnTo>
                    <a:lnTo>
                      <a:pt x="227" y="151"/>
                    </a:lnTo>
                    <a:lnTo>
                      <a:pt x="221" y="156"/>
                    </a:lnTo>
                    <a:lnTo>
                      <a:pt x="221" y="158"/>
                    </a:lnTo>
                    <a:lnTo>
                      <a:pt x="223" y="158"/>
                    </a:lnTo>
                    <a:lnTo>
                      <a:pt x="225" y="158"/>
                    </a:lnTo>
                    <a:lnTo>
                      <a:pt x="225" y="160"/>
                    </a:lnTo>
                    <a:lnTo>
                      <a:pt x="227" y="160"/>
                    </a:lnTo>
                    <a:lnTo>
                      <a:pt x="227" y="162"/>
                    </a:lnTo>
                    <a:lnTo>
                      <a:pt x="229" y="162"/>
                    </a:lnTo>
                    <a:lnTo>
                      <a:pt x="229" y="164"/>
                    </a:lnTo>
                    <a:lnTo>
                      <a:pt x="231" y="164"/>
                    </a:lnTo>
                    <a:lnTo>
                      <a:pt x="231" y="166"/>
                    </a:lnTo>
                    <a:lnTo>
                      <a:pt x="231" y="168"/>
                    </a:lnTo>
                    <a:lnTo>
                      <a:pt x="233" y="168"/>
                    </a:lnTo>
                    <a:lnTo>
                      <a:pt x="233" y="170"/>
                    </a:lnTo>
                    <a:lnTo>
                      <a:pt x="233" y="172"/>
                    </a:lnTo>
                    <a:lnTo>
                      <a:pt x="233" y="173"/>
                    </a:lnTo>
                    <a:lnTo>
                      <a:pt x="234" y="177"/>
                    </a:lnTo>
                    <a:lnTo>
                      <a:pt x="234" y="179"/>
                    </a:lnTo>
                    <a:lnTo>
                      <a:pt x="236" y="181"/>
                    </a:lnTo>
                    <a:lnTo>
                      <a:pt x="236" y="183"/>
                    </a:lnTo>
                    <a:lnTo>
                      <a:pt x="233" y="183"/>
                    </a:lnTo>
                    <a:lnTo>
                      <a:pt x="233" y="181"/>
                    </a:lnTo>
                    <a:lnTo>
                      <a:pt x="233" y="179"/>
                    </a:lnTo>
                    <a:lnTo>
                      <a:pt x="233" y="177"/>
                    </a:lnTo>
                    <a:lnTo>
                      <a:pt x="231" y="175"/>
                    </a:lnTo>
                    <a:lnTo>
                      <a:pt x="233" y="173"/>
                    </a:lnTo>
                    <a:lnTo>
                      <a:pt x="231" y="173"/>
                    </a:lnTo>
                    <a:lnTo>
                      <a:pt x="229" y="172"/>
                    </a:lnTo>
                    <a:lnTo>
                      <a:pt x="229" y="170"/>
                    </a:lnTo>
                    <a:lnTo>
                      <a:pt x="229" y="168"/>
                    </a:lnTo>
                    <a:lnTo>
                      <a:pt x="227" y="168"/>
                    </a:lnTo>
                    <a:lnTo>
                      <a:pt x="225" y="170"/>
                    </a:lnTo>
                    <a:lnTo>
                      <a:pt x="223" y="170"/>
                    </a:lnTo>
                    <a:lnTo>
                      <a:pt x="221" y="170"/>
                    </a:lnTo>
                    <a:lnTo>
                      <a:pt x="221" y="172"/>
                    </a:lnTo>
                    <a:lnTo>
                      <a:pt x="219" y="173"/>
                    </a:lnTo>
                    <a:lnTo>
                      <a:pt x="217" y="173"/>
                    </a:lnTo>
                    <a:lnTo>
                      <a:pt x="217" y="172"/>
                    </a:lnTo>
                    <a:lnTo>
                      <a:pt x="215" y="172"/>
                    </a:lnTo>
                    <a:lnTo>
                      <a:pt x="215" y="170"/>
                    </a:lnTo>
                    <a:lnTo>
                      <a:pt x="215" y="172"/>
                    </a:lnTo>
                    <a:lnTo>
                      <a:pt x="214" y="173"/>
                    </a:lnTo>
                    <a:lnTo>
                      <a:pt x="215" y="173"/>
                    </a:lnTo>
                    <a:lnTo>
                      <a:pt x="215" y="175"/>
                    </a:lnTo>
                    <a:lnTo>
                      <a:pt x="196" y="175"/>
                    </a:lnTo>
                    <a:lnTo>
                      <a:pt x="194" y="175"/>
                    </a:lnTo>
                    <a:lnTo>
                      <a:pt x="194" y="173"/>
                    </a:lnTo>
                    <a:lnTo>
                      <a:pt x="193" y="175"/>
                    </a:lnTo>
                    <a:lnTo>
                      <a:pt x="191" y="175"/>
                    </a:lnTo>
                    <a:lnTo>
                      <a:pt x="189" y="175"/>
                    </a:lnTo>
                    <a:lnTo>
                      <a:pt x="189" y="185"/>
                    </a:lnTo>
                    <a:lnTo>
                      <a:pt x="191" y="185"/>
                    </a:lnTo>
                    <a:lnTo>
                      <a:pt x="193" y="185"/>
                    </a:lnTo>
                    <a:lnTo>
                      <a:pt x="194" y="185"/>
                    </a:lnTo>
                    <a:lnTo>
                      <a:pt x="196" y="185"/>
                    </a:lnTo>
                    <a:lnTo>
                      <a:pt x="198" y="185"/>
                    </a:lnTo>
                    <a:lnTo>
                      <a:pt x="198" y="187"/>
                    </a:lnTo>
                    <a:lnTo>
                      <a:pt x="200" y="187"/>
                    </a:lnTo>
                    <a:lnTo>
                      <a:pt x="198" y="187"/>
                    </a:lnTo>
                    <a:lnTo>
                      <a:pt x="198" y="189"/>
                    </a:lnTo>
                    <a:lnTo>
                      <a:pt x="200" y="189"/>
                    </a:lnTo>
                    <a:lnTo>
                      <a:pt x="200" y="191"/>
                    </a:lnTo>
                    <a:lnTo>
                      <a:pt x="198" y="191"/>
                    </a:lnTo>
                    <a:lnTo>
                      <a:pt x="200" y="193"/>
                    </a:lnTo>
                    <a:lnTo>
                      <a:pt x="198" y="193"/>
                    </a:lnTo>
                    <a:lnTo>
                      <a:pt x="196" y="193"/>
                    </a:lnTo>
                    <a:lnTo>
                      <a:pt x="194" y="191"/>
                    </a:lnTo>
                    <a:lnTo>
                      <a:pt x="194" y="193"/>
                    </a:lnTo>
                    <a:lnTo>
                      <a:pt x="193" y="191"/>
                    </a:lnTo>
                    <a:lnTo>
                      <a:pt x="193" y="193"/>
                    </a:lnTo>
                    <a:lnTo>
                      <a:pt x="191" y="193"/>
                    </a:lnTo>
                    <a:lnTo>
                      <a:pt x="189" y="193"/>
                    </a:lnTo>
                    <a:lnTo>
                      <a:pt x="187" y="193"/>
                    </a:lnTo>
                    <a:lnTo>
                      <a:pt x="187" y="194"/>
                    </a:lnTo>
                    <a:lnTo>
                      <a:pt x="187" y="193"/>
                    </a:lnTo>
                    <a:lnTo>
                      <a:pt x="187" y="194"/>
                    </a:lnTo>
                    <a:lnTo>
                      <a:pt x="185" y="193"/>
                    </a:lnTo>
                    <a:lnTo>
                      <a:pt x="185" y="204"/>
                    </a:lnTo>
                    <a:lnTo>
                      <a:pt x="187" y="206"/>
                    </a:lnTo>
                    <a:lnTo>
                      <a:pt x="187" y="208"/>
                    </a:lnTo>
                    <a:lnTo>
                      <a:pt x="189" y="208"/>
                    </a:lnTo>
                    <a:lnTo>
                      <a:pt x="191" y="208"/>
                    </a:lnTo>
                    <a:lnTo>
                      <a:pt x="191" y="210"/>
                    </a:lnTo>
                    <a:lnTo>
                      <a:pt x="193" y="210"/>
                    </a:lnTo>
                    <a:lnTo>
                      <a:pt x="193" y="212"/>
                    </a:lnTo>
                    <a:lnTo>
                      <a:pt x="193" y="214"/>
                    </a:lnTo>
                    <a:lnTo>
                      <a:pt x="193" y="215"/>
                    </a:lnTo>
                    <a:lnTo>
                      <a:pt x="194" y="215"/>
                    </a:lnTo>
                    <a:lnTo>
                      <a:pt x="194" y="217"/>
                    </a:lnTo>
                    <a:lnTo>
                      <a:pt x="196" y="219"/>
                    </a:lnTo>
                    <a:lnTo>
                      <a:pt x="194" y="219"/>
                    </a:lnTo>
                    <a:lnTo>
                      <a:pt x="196" y="219"/>
                    </a:lnTo>
                    <a:lnTo>
                      <a:pt x="194" y="219"/>
                    </a:lnTo>
                    <a:lnTo>
                      <a:pt x="196" y="221"/>
                    </a:lnTo>
                    <a:lnTo>
                      <a:pt x="194" y="221"/>
                    </a:lnTo>
                    <a:lnTo>
                      <a:pt x="196" y="225"/>
                    </a:lnTo>
                    <a:lnTo>
                      <a:pt x="194" y="225"/>
                    </a:lnTo>
                    <a:lnTo>
                      <a:pt x="194" y="227"/>
                    </a:lnTo>
                    <a:lnTo>
                      <a:pt x="191" y="248"/>
                    </a:lnTo>
                    <a:lnTo>
                      <a:pt x="187" y="269"/>
                    </a:lnTo>
                    <a:lnTo>
                      <a:pt x="185" y="269"/>
                    </a:lnTo>
                    <a:lnTo>
                      <a:pt x="185" y="267"/>
                    </a:lnTo>
                    <a:lnTo>
                      <a:pt x="183" y="267"/>
                    </a:lnTo>
                    <a:lnTo>
                      <a:pt x="183" y="265"/>
                    </a:lnTo>
                    <a:lnTo>
                      <a:pt x="181" y="263"/>
                    </a:lnTo>
                    <a:lnTo>
                      <a:pt x="179" y="263"/>
                    </a:lnTo>
                    <a:lnTo>
                      <a:pt x="177" y="265"/>
                    </a:lnTo>
                    <a:lnTo>
                      <a:pt x="177" y="263"/>
                    </a:lnTo>
                    <a:lnTo>
                      <a:pt x="175" y="263"/>
                    </a:lnTo>
                    <a:lnTo>
                      <a:pt x="185" y="246"/>
                    </a:lnTo>
                    <a:lnTo>
                      <a:pt x="185" y="244"/>
                    </a:lnTo>
                    <a:lnTo>
                      <a:pt x="185" y="246"/>
                    </a:lnTo>
                    <a:lnTo>
                      <a:pt x="183" y="246"/>
                    </a:lnTo>
                    <a:lnTo>
                      <a:pt x="183" y="244"/>
                    </a:lnTo>
                    <a:lnTo>
                      <a:pt x="183" y="242"/>
                    </a:lnTo>
                    <a:lnTo>
                      <a:pt x="181" y="242"/>
                    </a:lnTo>
                    <a:lnTo>
                      <a:pt x="181" y="244"/>
                    </a:lnTo>
                    <a:lnTo>
                      <a:pt x="181" y="242"/>
                    </a:lnTo>
                    <a:lnTo>
                      <a:pt x="179" y="242"/>
                    </a:lnTo>
                    <a:lnTo>
                      <a:pt x="177" y="242"/>
                    </a:lnTo>
                    <a:lnTo>
                      <a:pt x="177" y="240"/>
                    </a:lnTo>
                    <a:lnTo>
                      <a:pt x="177" y="242"/>
                    </a:lnTo>
                    <a:lnTo>
                      <a:pt x="175" y="242"/>
                    </a:lnTo>
                    <a:lnTo>
                      <a:pt x="175" y="240"/>
                    </a:lnTo>
                    <a:lnTo>
                      <a:pt x="173" y="240"/>
                    </a:lnTo>
                    <a:lnTo>
                      <a:pt x="173" y="238"/>
                    </a:lnTo>
                    <a:lnTo>
                      <a:pt x="172" y="238"/>
                    </a:lnTo>
                    <a:lnTo>
                      <a:pt x="170" y="238"/>
                    </a:lnTo>
                    <a:lnTo>
                      <a:pt x="168" y="238"/>
                    </a:lnTo>
                    <a:lnTo>
                      <a:pt x="168" y="240"/>
                    </a:lnTo>
                    <a:lnTo>
                      <a:pt x="166" y="240"/>
                    </a:lnTo>
                    <a:lnTo>
                      <a:pt x="164" y="240"/>
                    </a:lnTo>
                    <a:lnTo>
                      <a:pt x="164" y="238"/>
                    </a:lnTo>
                    <a:lnTo>
                      <a:pt x="162" y="238"/>
                    </a:lnTo>
                    <a:lnTo>
                      <a:pt x="162" y="240"/>
                    </a:lnTo>
                    <a:lnTo>
                      <a:pt x="162" y="238"/>
                    </a:lnTo>
                    <a:lnTo>
                      <a:pt x="160" y="238"/>
                    </a:lnTo>
                    <a:lnTo>
                      <a:pt x="158" y="238"/>
                    </a:lnTo>
                    <a:lnTo>
                      <a:pt x="158" y="236"/>
                    </a:lnTo>
                    <a:lnTo>
                      <a:pt x="158" y="238"/>
                    </a:lnTo>
                    <a:lnTo>
                      <a:pt x="156" y="236"/>
                    </a:lnTo>
                    <a:lnTo>
                      <a:pt x="156" y="238"/>
                    </a:lnTo>
                    <a:lnTo>
                      <a:pt x="156" y="240"/>
                    </a:lnTo>
                    <a:lnTo>
                      <a:pt x="154" y="240"/>
                    </a:lnTo>
                    <a:lnTo>
                      <a:pt x="152" y="240"/>
                    </a:lnTo>
                    <a:lnTo>
                      <a:pt x="152" y="242"/>
                    </a:lnTo>
                    <a:lnTo>
                      <a:pt x="152" y="240"/>
                    </a:lnTo>
                    <a:lnTo>
                      <a:pt x="151" y="242"/>
                    </a:lnTo>
                    <a:lnTo>
                      <a:pt x="151" y="240"/>
                    </a:lnTo>
                    <a:lnTo>
                      <a:pt x="151" y="242"/>
                    </a:lnTo>
                    <a:lnTo>
                      <a:pt x="149" y="242"/>
                    </a:lnTo>
                    <a:lnTo>
                      <a:pt x="149" y="240"/>
                    </a:lnTo>
                    <a:lnTo>
                      <a:pt x="147" y="240"/>
                    </a:lnTo>
                    <a:lnTo>
                      <a:pt x="145" y="240"/>
                    </a:lnTo>
                    <a:lnTo>
                      <a:pt x="143" y="242"/>
                    </a:lnTo>
                    <a:lnTo>
                      <a:pt x="143" y="240"/>
                    </a:lnTo>
                    <a:lnTo>
                      <a:pt x="141" y="240"/>
                    </a:lnTo>
                    <a:lnTo>
                      <a:pt x="139" y="242"/>
                    </a:lnTo>
                    <a:lnTo>
                      <a:pt x="139" y="240"/>
                    </a:lnTo>
                    <a:lnTo>
                      <a:pt x="137" y="240"/>
                    </a:lnTo>
                    <a:lnTo>
                      <a:pt x="137" y="238"/>
                    </a:lnTo>
                    <a:lnTo>
                      <a:pt x="135" y="238"/>
                    </a:lnTo>
                    <a:lnTo>
                      <a:pt x="135" y="236"/>
                    </a:lnTo>
                    <a:lnTo>
                      <a:pt x="137" y="236"/>
                    </a:lnTo>
                    <a:lnTo>
                      <a:pt x="137" y="235"/>
                    </a:lnTo>
                    <a:lnTo>
                      <a:pt x="137" y="233"/>
                    </a:lnTo>
                    <a:lnTo>
                      <a:pt x="135" y="233"/>
                    </a:lnTo>
                    <a:lnTo>
                      <a:pt x="135" y="231"/>
                    </a:lnTo>
                    <a:lnTo>
                      <a:pt x="133" y="231"/>
                    </a:lnTo>
                    <a:lnTo>
                      <a:pt x="132" y="231"/>
                    </a:lnTo>
                    <a:lnTo>
                      <a:pt x="130" y="231"/>
                    </a:lnTo>
                    <a:lnTo>
                      <a:pt x="130" y="229"/>
                    </a:lnTo>
                    <a:lnTo>
                      <a:pt x="132" y="227"/>
                    </a:lnTo>
                    <a:lnTo>
                      <a:pt x="130" y="225"/>
                    </a:lnTo>
                    <a:lnTo>
                      <a:pt x="130" y="223"/>
                    </a:lnTo>
                    <a:lnTo>
                      <a:pt x="128" y="223"/>
                    </a:lnTo>
                    <a:lnTo>
                      <a:pt x="126" y="221"/>
                    </a:lnTo>
                    <a:lnTo>
                      <a:pt x="126" y="223"/>
                    </a:lnTo>
                    <a:lnTo>
                      <a:pt x="124" y="221"/>
                    </a:lnTo>
                    <a:lnTo>
                      <a:pt x="124" y="219"/>
                    </a:lnTo>
                    <a:lnTo>
                      <a:pt x="122" y="219"/>
                    </a:lnTo>
                    <a:lnTo>
                      <a:pt x="120" y="219"/>
                    </a:lnTo>
                    <a:lnTo>
                      <a:pt x="118" y="217"/>
                    </a:lnTo>
                    <a:lnTo>
                      <a:pt x="118" y="215"/>
                    </a:lnTo>
                    <a:lnTo>
                      <a:pt x="118" y="217"/>
                    </a:lnTo>
                    <a:lnTo>
                      <a:pt x="118" y="215"/>
                    </a:lnTo>
                    <a:lnTo>
                      <a:pt x="118" y="214"/>
                    </a:lnTo>
                    <a:lnTo>
                      <a:pt x="116" y="215"/>
                    </a:lnTo>
                    <a:lnTo>
                      <a:pt x="116" y="214"/>
                    </a:lnTo>
                    <a:lnTo>
                      <a:pt x="118" y="214"/>
                    </a:lnTo>
                    <a:lnTo>
                      <a:pt x="116" y="214"/>
                    </a:lnTo>
                    <a:lnTo>
                      <a:pt x="116" y="212"/>
                    </a:lnTo>
                    <a:lnTo>
                      <a:pt x="116" y="210"/>
                    </a:lnTo>
                    <a:lnTo>
                      <a:pt x="114" y="210"/>
                    </a:lnTo>
                    <a:lnTo>
                      <a:pt x="112" y="208"/>
                    </a:lnTo>
                    <a:lnTo>
                      <a:pt x="111" y="208"/>
                    </a:lnTo>
                    <a:lnTo>
                      <a:pt x="111" y="206"/>
                    </a:lnTo>
                    <a:lnTo>
                      <a:pt x="109" y="206"/>
                    </a:lnTo>
                    <a:lnTo>
                      <a:pt x="107" y="204"/>
                    </a:lnTo>
                    <a:lnTo>
                      <a:pt x="105" y="204"/>
                    </a:lnTo>
                    <a:lnTo>
                      <a:pt x="103" y="204"/>
                    </a:lnTo>
                    <a:lnTo>
                      <a:pt x="101" y="204"/>
                    </a:lnTo>
                    <a:lnTo>
                      <a:pt x="99" y="204"/>
                    </a:lnTo>
                    <a:lnTo>
                      <a:pt x="99" y="202"/>
                    </a:lnTo>
                    <a:lnTo>
                      <a:pt x="97" y="202"/>
                    </a:lnTo>
                    <a:lnTo>
                      <a:pt x="95" y="202"/>
                    </a:lnTo>
                    <a:lnTo>
                      <a:pt x="93" y="202"/>
                    </a:lnTo>
                    <a:lnTo>
                      <a:pt x="93" y="200"/>
                    </a:lnTo>
                    <a:lnTo>
                      <a:pt x="91" y="200"/>
                    </a:lnTo>
                    <a:lnTo>
                      <a:pt x="93" y="200"/>
                    </a:lnTo>
                    <a:lnTo>
                      <a:pt x="91" y="198"/>
                    </a:lnTo>
                    <a:lnTo>
                      <a:pt x="90" y="198"/>
                    </a:lnTo>
                    <a:lnTo>
                      <a:pt x="90" y="196"/>
                    </a:lnTo>
                    <a:lnTo>
                      <a:pt x="90" y="198"/>
                    </a:lnTo>
                    <a:lnTo>
                      <a:pt x="90" y="196"/>
                    </a:lnTo>
                    <a:lnTo>
                      <a:pt x="88" y="196"/>
                    </a:lnTo>
                    <a:lnTo>
                      <a:pt x="86" y="196"/>
                    </a:lnTo>
                    <a:lnTo>
                      <a:pt x="84" y="196"/>
                    </a:lnTo>
                    <a:lnTo>
                      <a:pt x="84" y="198"/>
                    </a:lnTo>
                    <a:lnTo>
                      <a:pt x="82" y="198"/>
                    </a:lnTo>
                    <a:lnTo>
                      <a:pt x="80" y="198"/>
                    </a:lnTo>
                    <a:lnTo>
                      <a:pt x="78" y="198"/>
                    </a:lnTo>
                    <a:lnTo>
                      <a:pt x="76" y="198"/>
                    </a:lnTo>
                    <a:lnTo>
                      <a:pt x="74" y="198"/>
                    </a:lnTo>
                    <a:lnTo>
                      <a:pt x="72" y="196"/>
                    </a:lnTo>
                    <a:lnTo>
                      <a:pt x="70" y="196"/>
                    </a:lnTo>
                    <a:lnTo>
                      <a:pt x="69" y="196"/>
                    </a:lnTo>
                    <a:lnTo>
                      <a:pt x="67" y="196"/>
                    </a:lnTo>
                    <a:lnTo>
                      <a:pt x="67" y="194"/>
                    </a:lnTo>
                    <a:lnTo>
                      <a:pt x="67" y="193"/>
                    </a:lnTo>
                    <a:lnTo>
                      <a:pt x="65" y="191"/>
                    </a:lnTo>
                    <a:lnTo>
                      <a:pt x="65" y="189"/>
                    </a:lnTo>
                    <a:lnTo>
                      <a:pt x="63" y="189"/>
                    </a:lnTo>
                    <a:lnTo>
                      <a:pt x="61" y="189"/>
                    </a:lnTo>
                    <a:lnTo>
                      <a:pt x="59" y="189"/>
                    </a:lnTo>
                    <a:lnTo>
                      <a:pt x="57" y="189"/>
                    </a:lnTo>
                    <a:lnTo>
                      <a:pt x="57" y="187"/>
                    </a:lnTo>
                    <a:lnTo>
                      <a:pt x="55" y="187"/>
                    </a:lnTo>
                    <a:lnTo>
                      <a:pt x="55" y="185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1" y="185"/>
                    </a:lnTo>
                    <a:lnTo>
                      <a:pt x="51" y="183"/>
                    </a:lnTo>
                    <a:lnTo>
                      <a:pt x="50" y="183"/>
                    </a:lnTo>
                    <a:lnTo>
                      <a:pt x="48" y="181"/>
                    </a:lnTo>
                    <a:lnTo>
                      <a:pt x="46" y="181"/>
                    </a:lnTo>
                    <a:lnTo>
                      <a:pt x="46" y="179"/>
                    </a:lnTo>
                    <a:lnTo>
                      <a:pt x="46" y="177"/>
                    </a:lnTo>
                    <a:lnTo>
                      <a:pt x="44" y="177"/>
                    </a:lnTo>
                    <a:lnTo>
                      <a:pt x="44" y="175"/>
                    </a:lnTo>
                    <a:lnTo>
                      <a:pt x="46" y="173"/>
                    </a:lnTo>
                    <a:lnTo>
                      <a:pt x="48" y="173"/>
                    </a:lnTo>
                    <a:lnTo>
                      <a:pt x="48" y="175"/>
                    </a:lnTo>
                    <a:lnTo>
                      <a:pt x="48" y="173"/>
                    </a:lnTo>
                    <a:lnTo>
                      <a:pt x="50" y="173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50" y="172"/>
                    </a:lnTo>
                    <a:lnTo>
                      <a:pt x="50" y="170"/>
                    </a:lnTo>
                    <a:lnTo>
                      <a:pt x="50" y="172"/>
                    </a:lnTo>
                    <a:lnTo>
                      <a:pt x="48" y="172"/>
                    </a:lnTo>
                    <a:lnTo>
                      <a:pt x="48" y="170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50" y="166"/>
                    </a:lnTo>
                    <a:lnTo>
                      <a:pt x="48" y="166"/>
                    </a:lnTo>
                    <a:lnTo>
                      <a:pt x="50" y="166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51" y="162"/>
                    </a:lnTo>
                    <a:lnTo>
                      <a:pt x="51" y="164"/>
                    </a:lnTo>
                    <a:lnTo>
                      <a:pt x="51" y="162"/>
                    </a:lnTo>
                    <a:lnTo>
                      <a:pt x="51" y="160"/>
                    </a:lnTo>
                    <a:lnTo>
                      <a:pt x="53" y="162"/>
                    </a:lnTo>
                    <a:lnTo>
                      <a:pt x="53" y="160"/>
                    </a:lnTo>
                    <a:lnTo>
                      <a:pt x="53" y="162"/>
                    </a:lnTo>
                    <a:lnTo>
                      <a:pt x="55" y="162"/>
                    </a:lnTo>
                    <a:lnTo>
                      <a:pt x="53" y="162"/>
                    </a:lnTo>
                    <a:lnTo>
                      <a:pt x="55" y="162"/>
                    </a:lnTo>
                    <a:lnTo>
                      <a:pt x="55" y="160"/>
                    </a:lnTo>
                    <a:lnTo>
                      <a:pt x="53" y="160"/>
                    </a:lnTo>
                    <a:lnTo>
                      <a:pt x="55" y="160"/>
                    </a:lnTo>
                    <a:lnTo>
                      <a:pt x="55" y="162"/>
                    </a:lnTo>
                    <a:lnTo>
                      <a:pt x="55" y="160"/>
                    </a:lnTo>
                    <a:lnTo>
                      <a:pt x="57" y="160"/>
                    </a:lnTo>
                    <a:lnTo>
                      <a:pt x="57" y="162"/>
                    </a:lnTo>
                    <a:lnTo>
                      <a:pt x="57" y="160"/>
                    </a:lnTo>
                    <a:lnTo>
                      <a:pt x="57" y="162"/>
                    </a:lnTo>
                    <a:lnTo>
                      <a:pt x="57" y="160"/>
                    </a:lnTo>
                    <a:lnTo>
                      <a:pt x="57" y="162"/>
                    </a:lnTo>
                    <a:lnTo>
                      <a:pt x="57" y="160"/>
                    </a:lnTo>
                    <a:lnTo>
                      <a:pt x="59" y="162"/>
                    </a:lnTo>
                    <a:lnTo>
                      <a:pt x="59" y="160"/>
                    </a:lnTo>
                    <a:lnTo>
                      <a:pt x="61" y="160"/>
                    </a:lnTo>
                    <a:lnTo>
                      <a:pt x="63" y="160"/>
                    </a:lnTo>
                    <a:lnTo>
                      <a:pt x="63" y="158"/>
                    </a:lnTo>
                    <a:lnTo>
                      <a:pt x="63" y="156"/>
                    </a:lnTo>
                    <a:lnTo>
                      <a:pt x="65" y="156"/>
                    </a:lnTo>
                    <a:lnTo>
                      <a:pt x="65" y="154"/>
                    </a:lnTo>
                    <a:lnTo>
                      <a:pt x="63" y="154"/>
                    </a:lnTo>
                    <a:lnTo>
                      <a:pt x="65" y="154"/>
                    </a:lnTo>
                    <a:lnTo>
                      <a:pt x="65" y="152"/>
                    </a:lnTo>
                    <a:lnTo>
                      <a:pt x="67" y="151"/>
                    </a:lnTo>
                    <a:lnTo>
                      <a:pt x="67" y="152"/>
                    </a:lnTo>
                    <a:lnTo>
                      <a:pt x="67" y="151"/>
                    </a:lnTo>
                    <a:lnTo>
                      <a:pt x="67" y="149"/>
                    </a:lnTo>
                    <a:lnTo>
                      <a:pt x="69" y="149"/>
                    </a:lnTo>
                    <a:lnTo>
                      <a:pt x="69" y="147"/>
                    </a:lnTo>
                    <a:lnTo>
                      <a:pt x="69" y="149"/>
                    </a:lnTo>
                    <a:lnTo>
                      <a:pt x="70" y="149"/>
                    </a:lnTo>
                    <a:lnTo>
                      <a:pt x="70" y="147"/>
                    </a:lnTo>
                    <a:lnTo>
                      <a:pt x="69" y="147"/>
                    </a:lnTo>
                    <a:lnTo>
                      <a:pt x="70" y="147"/>
                    </a:lnTo>
                    <a:lnTo>
                      <a:pt x="70" y="145"/>
                    </a:lnTo>
                    <a:lnTo>
                      <a:pt x="72" y="145"/>
                    </a:lnTo>
                    <a:lnTo>
                      <a:pt x="72" y="143"/>
                    </a:lnTo>
                    <a:lnTo>
                      <a:pt x="72" y="141"/>
                    </a:lnTo>
                    <a:lnTo>
                      <a:pt x="72" y="143"/>
                    </a:lnTo>
                    <a:lnTo>
                      <a:pt x="72" y="141"/>
                    </a:lnTo>
                    <a:lnTo>
                      <a:pt x="74" y="141"/>
                    </a:lnTo>
                    <a:lnTo>
                      <a:pt x="72" y="139"/>
                    </a:lnTo>
                    <a:lnTo>
                      <a:pt x="72" y="141"/>
                    </a:lnTo>
                    <a:lnTo>
                      <a:pt x="70" y="141"/>
                    </a:lnTo>
                    <a:lnTo>
                      <a:pt x="70" y="139"/>
                    </a:lnTo>
                    <a:lnTo>
                      <a:pt x="72" y="139"/>
                    </a:lnTo>
                    <a:lnTo>
                      <a:pt x="72" y="137"/>
                    </a:lnTo>
                    <a:lnTo>
                      <a:pt x="70" y="137"/>
                    </a:lnTo>
                    <a:lnTo>
                      <a:pt x="70" y="139"/>
                    </a:lnTo>
                    <a:lnTo>
                      <a:pt x="69" y="139"/>
                    </a:lnTo>
                    <a:lnTo>
                      <a:pt x="69" y="137"/>
                    </a:lnTo>
                    <a:lnTo>
                      <a:pt x="67" y="137"/>
                    </a:lnTo>
                    <a:lnTo>
                      <a:pt x="69" y="137"/>
                    </a:lnTo>
                    <a:lnTo>
                      <a:pt x="67" y="135"/>
                    </a:lnTo>
                    <a:lnTo>
                      <a:pt x="67" y="137"/>
                    </a:lnTo>
                    <a:lnTo>
                      <a:pt x="67" y="135"/>
                    </a:lnTo>
                    <a:lnTo>
                      <a:pt x="67" y="133"/>
                    </a:lnTo>
                    <a:lnTo>
                      <a:pt x="67" y="135"/>
                    </a:lnTo>
                    <a:lnTo>
                      <a:pt x="69" y="133"/>
                    </a:lnTo>
                    <a:lnTo>
                      <a:pt x="69" y="131"/>
                    </a:lnTo>
                    <a:lnTo>
                      <a:pt x="70" y="128"/>
                    </a:lnTo>
                    <a:lnTo>
                      <a:pt x="70" y="126"/>
                    </a:lnTo>
                    <a:lnTo>
                      <a:pt x="69" y="126"/>
                    </a:lnTo>
                    <a:lnTo>
                      <a:pt x="70" y="126"/>
                    </a:lnTo>
                    <a:lnTo>
                      <a:pt x="69" y="126"/>
                    </a:lnTo>
                    <a:lnTo>
                      <a:pt x="69" y="120"/>
                    </a:lnTo>
                    <a:lnTo>
                      <a:pt x="69" y="118"/>
                    </a:lnTo>
                    <a:lnTo>
                      <a:pt x="69" y="116"/>
                    </a:lnTo>
                    <a:lnTo>
                      <a:pt x="69" y="114"/>
                    </a:lnTo>
                    <a:lnTo>
                      <a:pt x="67" y="114"/>
                    </a:lnTo>
                    <a:lnTo>
                      <a:pt x="67" y="116"/>
                    </a:lnTo>
                    <a:lnTo>
                      <a:pt x="67" y="114"/>
                    </a:lnTo>
                    <a:lnTo>
                      <a:pt x="67" y="112"/>
                    </a:lnTo>
                    <a:lnTo>
                      <a:pt x="69" y="112"/>
                    </a:lnTo>
                    <a:lnTo>
                      <a:pt x="70" y="112"/>
                    </a:lnTo>
                    <a:lnTo>
                      <a:pt x="70" y="111"/>
                    </a:lnTo>
                    <a:lnTo>
                      <a:pt x="70" y="109"/>
                    </a:lnTo>
                    <a:lnTo>
                      <a:pt x="69" y="107"/>
                    </a:lnTo>
                    <a:lnTo>
                      <a:pt x="69" y="105"/>
                    </a:lnTo>
                    <a:lnTo>
                      <a:pt x="67" y="103"/>
                    </a:lnTo>
                    <a:lnTo>
                      <a:pt x="69" y="103"/>
                    </a:lnTo>
                    <a:lnTo>
                      <a:pt x="69" y="101"/>
                    </a:lnTo>
                    <a:lnTo>
                      <a:pt x="69" y="99"/>
                    </a:lnTo>
                    <a:lnTo>
                      <a:pt x="70" y="97"/>
                    </a:lnTo>
                    <a:lnTo>
                      <a:pt x="69" y="97"/>
                    </a:lnTo>
                    <a:lnTo>
                      <a:pt x="69" y="95"/>
                    </a:lnTo>
                    <a:lnTo>
                      <a:pt x="67" y="95"/>
                    </a:lnTo>
                    <a:lnTo>
                      <a:pt x="67" y="97"/>
                    </a:lnTo>
                    <a:lnTo>
                      <a:pt x="67" y="95"/>
                    </a:lnTo>
                    <a:lnTo>
                      <a:pt x="65" y="93"/>
                    </a:lnTo>
                    <a:lnTo>
                      <a:pt x="63" y="93"/>
                    </a:lnTo>
                    <a:lnTo>
                      <a:pt x="65" y="91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3" y="84"/>
                    </a:lnTo>
                    <a:lnTo>
                      <a:pt x="63" y="82"/>
                    </a:lnTo>
                    <a:lnTo>
                      <a:pt x="63" y="80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7" y="82"/>
                    </a:lnTo>
                    <a:lnTo>
                      <a:pt x="67" y="80"/>
                    </a:lnTo>
                    <a:lnTo>
                      <a:pt x="69" y="80"/>
                    </a:lnTo>
                    <a:lnTo>
                      <a:pt x="69" y="78"/>
                    </a:lnTo>
                    <a:lnTo>
                      <a:pt x="70" y="76"/>
                    </a:lnTo>
                    <a:lnTo>
                      <a:pt x="72" y="76"/>
                    </a:lnTo>
                    <a:lnTo>
                      <a:pt x="70" y="74"/>
                    </a:lnTo>
                    <a:lnTo>
                      <a:pt x="72" y="74"/>
                    </a:lnTo>
                    <a:lnTo>
                      <a:pt x="70" y="74"/>
                    </a:lnTo>
                    <a:lnTo>
                      <a:pt x="72" y="74"/>
                    </a:lnTo>
                    <a:lnTo>
                      <a:pt x="70" y="72"/>
                    </a:lnTo>
                    <a:lnTo>
                      <a:pt x="70" y="70"/>
                    </a:lnTo>
                    <a:lnTo>
                      <a:pt x="69" y="70"/>
                    </a:lnTo>
                    <a:lnTo>
                      <a:pt x="69" y="69"/>
                    </a:lnTo>
                    <a:lnTo>
                      <a:pt x="69" y="67"/>
                    </a:lnTo>
                    <a:lnTo>
                      <a:pt x="69" y="65"/>
                    </a:lnTo>
                    <a:lnTo>
                      <a:pt x="70" y="67"/>
                    </a:lnTo>
                    <a:lnTo>
                      <a:pt x="72" y="69"/>
                    </a:lnTo>
                    <a:lnTo>
                      <a:pt x="74" y="70"/>
                    </a:lnTo>
                    <a:lnTo>
                      <a:pt x="76" y="70"/>
                    </a:lnTo>
                    <a:lnTo>
                      <a:pt x="76" y="72"/>
                    </a:lnTo>
                    <a:lnTo>
                      <a:pt x="76" y="70"/>
                    </a:lnTo>
                    <a:lnTo>
                      <a:pt x="76" y="72"/>
                    </a:lnTo>
                    <a:lnTo>
                      <a:pt x="78" y="72"/>
                    </a:lnTo>
                    <a:lnTo>
                      <a:pt x="76" y="74"/>
                    </a:lnTo>
                    <a:lnTo>
                      <a:pt x="78" y="74"/>
                    </a:lnTo>
                    <a:lnTo>
                      <a:pt x="76" y="74"/>
                    </a:lnTo>
                    <a:lnTo>
                      <a:pt x="78" y="74"/>
                    </a:lnTo>
                    <a:lnTo>
                      <a:pt x="76" y="74"/>
                    </a:lnTo>
                    <a:lnTo>
                      <a:pt x="76" y="76"/>
                    </a:lnTo>
                    <a:lnTo>
                      <a:pt x="78" y="76"/>
                    </a:lnTo>
                    <a:lnTo>
                      <a:pt x="80" y="74"/>
                    </a:lnTo>
                    <a:lnTo>
                      <a:pt x="78" y="74"/>
                    </a:lnTo>
                    <a:lnTo>
                      <a:pt x="80" y="74"/>
                    </a:lnTo>
                    <a:lnTo>
                      <a:pt x="80" y="72"/>
                    </a:lnTo>
                    <a:lnTo>
                      <a:pt x="78" y="74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78" y="70"/>
                    </a:lnTo>
                    <a:lnTo>
                      <a:pt x="78" y="69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6" y="65"/>
                    </a:lnTo>
                    <a:lnTo>
                      <a:pt x="78" y="65"/>
                    </a:lnTo>
                    <a:lnTo>
                      <a:pt x="80" y="65"/>
                    </a:lnTo>
                    <a:lnTo>
                      <a:pt x="80" y="63"/>
                    </a:lnTo>
                    <a:lnTo>
                      <a:pt x="82" y="63"/>
                    </a:lnTo>
                    <a:lnTo>
                      <a:pt x="82" y="61"/>
                    </a:lnTo>
                    <a:lnTo>
                      <a:pt x="84" y="61"/>
                    </a:lnTo>
                    <a:lnTo>
                      <a:pt x="86" y="59"/>
                    </a:lnTo>
                    <a:lnTo>
                      <a:pt x="88" y="57"/>
                    </a:lnTo>
                    <a:lnTo>
                      <a:pt x="88" y="55"/>
                    </a:lnTo>
                    <a:lnTo>
                      <a:pt x="90" y="55"/>
                    </a:lnTo>
                    <a:lnTo>
                      <a:pt x="90" y="53"/>
                    </a:lnTo>
                    <a:lnTo>
                      <a:pt x="91" y="53"/>
                    </a:lnTo>
                    <a:lnTo>
                      <a:pt x="91" y="51"/>
                    </a:lnTo>
                    <a:lnTo>
                      <a:pt x="93" y="51"/>
                    </a:lnTo>
                    <a:lnTo>
                      <a:pt x="93" y="53"/>
                    </a:lnTo>
                    <a:lnTo>
                      <a:pt x="95" y="51"/>
                    </a:lnTo>
                    <a:lnTo>
                      <a:pt x="97" y="51"/>
                    </a:lnTo>
                    <a:lnTo>
                      <a:pt x="97" y="49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7" y="46"/>
                    </a:lnTo>
                    <a:lnTo>
                      <a:pt x="97" y="44"/>
                    </a:lnTo>
                    <a:lnTo>
                      <a:pt x="97" y="42"/>
                    </a:lnTo>
                    <a:lnTo>
                      <a:pt x="97" y="40"/>
                    </a:lnTo>
                    <a:lnTo>
                      <a:pt x="99" y="40"/>
                    </a:lnTo>
                    <a:lnTo>
                      <a:pt x="97" y="40"/>
                    </a:lnTo>
                    <a:lnTo>
                      <a:pt x="99" y="40"/>
                    </a:lnTo>
                    <a:lnTo>
                      <a:pt x="99" y="38"/>
                    </a:lnTo>
                    <a:lnTo>
                      <a:pt x="97" y="40"/>
                    </a:lnTo>
                    <a:lnTo>
                      <a:pt x="99" y="38"/>
                    </a:lnTo>
                    <a:lnTo>
                      <a:pt x="97" y="38"/>
                    </a:lnTo>
                    <a:lnTo>
                      <a:pt x="97" y="40"/>
                    </a:lnTo>
                    <a:lnTo>
                      <a:pt x="95" y="40"/>
                    </a:lnTo>
                    <a:lnTo>
                      <a:pt x="97" y="40"/>
                    </a:lnTo>
                    <a:lnTo>
                      <a:pt x="95" y="40"/>
                    </a:lnTo>
                    <a:lnTo>
                      <a:pt x="97" y="40"/>
                    </a:lnTo>
                    <a:lnTo>
                      <a:pt x="97" y="38"/>
                    </a:lnTo>
                    <a:lnTo>
                      <a:pt x="99" y="38"/>
                    </a:lnTo>
                    <a:lnTo>
                      <a:pt x="97" y="38"/>
                    </a:lnTo>
                    <a:lnTo>
                      <a:pt x="99" y="38"/>
                    </a:lnTo>
                    <a:lnTo>
                      <a:pt x="99" y="36"/>
                    </a:lnTo>
                    <a:lnTo>
                      <a:pt x="97" y="36"/>
                    </a:lnTo>
                    <a:lnTo>
                      <a:pt x="99" y="34"/>
                    </a:lnTo>
                    <a:lnTo>
                      <a:pt x="99" y="36"/>
                    </a:lnTo>
                    <a:lnTo>
                      <a:pt x="99" y="34"/>
                    </a:lnTo>
                    <a:lnTo>
                      <a:pt x="99" y="32"/>
                    </a:lnTo>
                    <a:lnTo>
                      <a:pt x="101" y="32"/>
                    </a:lnTo>
                    <a:lnTo>
                      <a:pt x="103" y="30"/>
                    </a:lnTo>
                    <a:lnTo>
                      <a:pt x="103" y="28"/>
                    </a:lnTo>
                    <a:lnTo>
                      <a:pt x="105" y="28"/>
                    </a:lnTo>
                    <a:lnTo>
                      <a:pt x="107" y="28"/>
                    </a:lnTo>
                    <a:lnTo>
                      <a:pt x="107" y="27"/>
                    </a:lnTo>
                    <a:lnTo>
                      <a:pt x="109" y="27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09" y="25"/>
                    </a:lnTo>
                    <a:lnTo>
                      <a:pt x="114" y="27"/>
                    </a:lnTo>
                    <a:lnTo>
                      <a:pt x="116" y="27"/>
                    </a:lnTo>
                    <a:lnTo>
                      <a:pt x="118" y="27"/>
                    </a:lnTo>
                    <a:lnTo>
                      <a:pt x="120" y="25"/>
                    </a:lnTo>
                    <a:lnTo>
                      <a:pt x="118" y="23"/>
                    </a:lnTo>
                    <a:lnTo>
                      <a:pt x="120" y="23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4" y="21"/>
                    </a:lnTo>
                    <a:lnTo>
                      <a:pt x="126" y="23"/>
                    </a:lnTo>
                    <a:lnTo>
                      <a:pt x="130" y="23"/>
                    </a:lnTo>
                    <a:lnTo>
                      <a:pt x="133" y="23"/>
                    </a:lnTo>
                    <a:lnTo>
                      <a:pt x="133" y="21"/>
                    </a:lnTo>
                    <a:lnTo>
                      <a:pt x="137" y="19"/>
                    </a:lnTo>
                    <a:lnTo>
                      <a:pt x="141" y="17"/>
                    </a:lnTo>
                    <a:lnTo>
                      <a:pt x="143" y="15"/>
                    </a:lnTo>
                    <a:lnTo>
                      <a:pt x="145" y="15"/>
                    </a:lnTo>
                    <a:lnTo>
                      <a:pt x="147" y="13"/>
                    </a:lnTo>
                    <a:lnTo>
                      <a:pt x="149" y="13"/>
                    </a:lnTo>
                    <a:lnTo>
                      <a:pt x="151" y="11"/>
                    </a:lnTo>
                    <a:lnTo>
                      <a:pt x="152" y="7"/>
                    </a:lnTo>
                    <a:lnTo>
                      <a:pt x="152" y="6"/>
                    </a:lnTo>
                    <a:lnTo>
                      <a:pt x="154" y="6"/>
                    </a:lnTo>
                    <a:lnTo>
                      <a:pt x="154" y="7"/>
                    </a:lnTo>
                    <a:lnTo>
                      <a:pt x="156" y="7"/>
                    </a:lnTo>
                    <a:lnTo>
                      <a:pt x="156" y="6"/>
                    </a:lnTo>
                    <a:lnTo>
                      <a:pt x="154" y="6"/>
                    </a:lnTo>
                    <a:lnTo>
                      <a:pt x="156" y="4"/>
                    </a:lnTo>
                    <a:lnTo>
                      <a:pt x="158" y="4"/>
                    </a:lnTo>
                    <a:lnTo>
                      <a:pt x="156" y="4"/>
                    </a:lnTo>
                    <a:lnTo>
                      <a:pt x="158" y="6"/>
                    </a:lnTo>
                    <a:lnTo>
                      <a:pt x="158" y="4"/>
                    </a:lnTo>
                    <a:lnTo>
                      <a:pt x="160" y="4"/>
                    </a:lnTo>
                    <a:lnTo>
                      <a:pt x="158" y="4"/>
                    </a:lnTo>
                    <a:lnTo>
                      <a:pt x="160" y="4"/>
                    </a:lnTo>
                    <a:lnTo>
                      <a:pt x="158" y="4"/>
                    </a:lnTo>
                    <a:lnTo>
                      <a:pt x="160" y="2"/>
                    </a:lnTo>
                    <a:lnTo>
                      <a:pt x="160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6" y="4"/>
                    </a:lnTo>
                    <a:lnTo>
                      <a:pt x="166" y="6"/>
                    </a:lnTo>
                    <a:lnTo>
                      <a:pt x="168" y="6"/>
                    </a:lnTo>
                    <a:lnTo>
                      <a:pt x="168" y="9"/>
                    </a:lnTo>
                    <a:lnTo>
                      <a:pt x="168" y="11"/>
                    </a:lnTo>
                    <a:lnTo>
                      <a:pt x="166" y="11"/>
                    </a:lnTo>
                    <a:lnTo>
                      <a:pt x="166" y="13"/>
                    </a:lnTo>
                    <a:lnTo>
                      <a:pt x="164" y="13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close/>
                    <a:moveTo>
                      <a:pt x="97" y="36"/>
                    </a:moveTo>
                    <a:lnTo>
                      <a:pt x="99" y="36"/>
                    </a:lnTo>
                    <a:lnTo>
                      <a:pt x="99" y="38"/>
                    </a:lnTo>
                    <a:lnTo>
                      <a:pt x="97" y="38"/>
                    </a:lnTo>
                    <a:lnTo>
                      <a:pt x="97" y="36"/>
                    </a:lnTo>
                    <a:close/>
                    <a:moveTo>
                      <a:pt x="55" y="154"/>
                    </a:moveTo>
                    <a:lnTo>
                      <a:pt x="57" y="154"/>
                    </a:lnTo>
                    <a:lnTo>
                      <a:pt x="57" y="156"/>
                    </a:lnTo>
                    <a:lnTo>
                      <a:pt x="55" y="156"/>
                    </a:lnTo>
                    <a:lnTo>
                      <a:pt x="55" y="154"/>
                    </a:lnTo>
                    <a:close/>
                    <a:moveTo>
                      <a:pt x="72" y="141"/>
                    </a:moveTo>
                    <a:lnTo>
                      <a:pt x="72" y="143"/>
                    </a:lnTo>
                    <a:lnTo>
                      <a:pt x="72" y="141"/>
                    </a:lnTo>
                    <a:close/>
                    <a:moveTo>
                      <a:pt x="88" y="51"/>
                    </a:moveTo>
                    <a:lnTo>
                      <a:pt x="88" y="53"/>
                    </a:lnTo>
                    <a:lnTo>
                      <a:pt x="88" y="51"/>
                    </a:lnTo>
                    <a:close/>
                    <a:moveTo>
                      <a:pt x="72" y="141"/>
                    </a:moveTo>
                    <a:lnTo>
                      <a:pt x="74" y="141"/>
                    </a:lnTo>
                    <a:lnTo>
                      <a:pt x="72" y="141"/>
                    </a:lnTo>
                    <a:close/>
                    <a:moveTo>
                      <a:pt x="46" y="173"/>
                    </a:moveTo>
                    <a:lnTo>
                      <a:pt x="48" y="173"/>
                    </a:lnTo>
                    <a:lnTo>
                      <a:pt x="46" y="173"/>
                    </a:lnTo>
                    <a:close/>
                    <a:moveTo>
                      <a:pt x="67" y="137"/>
                    </a:moveTo>
                    <a:lnTo>
                      <a:pt x="69" y="137"/>
                    </a:lnTo>
                    <a:lnTo>
                      <a:pt x="67" y="137"/>
                    </a:lnTo>
                    <a:close/>
                    <a:moveTo>
                      <a:pt x="97" y="36"/>
                    </a:moveTo>
                    <a:lnTo>
                      <a:pt x="99" y="36"/>
                    </a:lnTo>
                    <a:lnTo>
                      <a:pt x="97" y="36"/>
                    </a:lnTo>
                    <a:close/>
                    <a:moveTo>
                      <a:pt x="50" y="164"/>
                    </a:moveTo>
                    <a:lnTo>
                      <a:pt x="50" y="166"/>
                    </a:lnTo>
                    <a:lnTo>
                      <a:pt x="50" y="16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6" name="Freeform 77">
                <a:extLst>
                  <a:ext uri="{FF2B5EF4-FFF2-40B4-BE49-F238E27FC236}">
                    <a16:creationId xmlns:a16="http://schemas.microsoft.com/office/drawing/2014/main" id="{B924386C-17D3-96D4-2691-C325B7E8F8C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59446" y="-2025598"/>
                <a:ext cx="107203" cy="181471"/>
              </a:xfrm>
              <a:custGeom>
                <a:avLst/>
                <a:gdLst>
                  <a:gd name="T0" fmla="*/ 67 w 69"/>
                  <a:gd name="T1" fmla="*/ 51 h 116"/>
                  <a:gd name="T2" fmla="*/ 65 w 69"/>
                  <a:gd name="T3" fmla="*/ 55 h 116"/>
                  <a:gd name="T4" fmla="*/ 63 w 69"/>
                  <a:gd name="T5" fmla="*/ 55 h 116"/>
                  <a:gd name="T6" fmla="*/ 56 w 69"/>
                  <a:gd name="T7" fmla="*/ 59 h 116"/>
                  <a:gd name="T8" fmla="*/ 56 w 69"/>
                  <a:gd name="T9" fmla="*/ 68 h 116"/>
                  <a:gd name="T10" fmla="*/ 57 w 69"/>
                  <a:gd name="T11" fmla="*/ 78 h 116"/>
                  <a:gd name="T12" fmla="*/ 61 w 69"/>
                  <a:gd name="T13" fmla="*/ 84 h 116"/>
                  <a:gd name="T14" fmla="*/ 65 w 69"/>
                  <a:gd name="T15" fmla="*/ 89 h 116"/>
                  <a:gd name="T16" fmla="*/ 59 w 69"/>
                  <a:gd name="T17" fmla="*/ 93 h 116"/>
                  <a:gd name="T18" fmla="*/ 59 w 69"/>
                  <a:gd name="T19" fmla="*/ 97 h 116"/>
                  <a:gd name="T20" fmla="*/ 57 w 69"/>
                  <a:gd name="T21" fmla="*/ 99 h 116"/>
                  <a:gd name="T22" fmla="*/ 57 w 69"/>
                  <a:gd name="T23" fmla="*/ 101 h 116"/>
                  <a:gd name="T24" fmla="*/ 56 w 69"/>
                  <a:gd name="T25" fmla="*/ 103 h 116"/>
                  <a:gd name="T26" fmla="*/ 57 w 69"/>
                  <a:gd name="T27" fmla="*/ 105 h 116"/>
                  <a:gd name="T28" fmla="*/ 56 w 69"/>
                  <a:gd name="T29" fmla="*/ 106 h 116"/>
                  <a:gd name="T30" fmla="*/ 50 w 69"/>
                  <a:gd name="T31" fmla="*/ 110 h 116"/>
                  <a:gd name="T32" fmla="*/ 48 w 69"/>
                  <a:gd name="T33" fmla="*/ 116 h 116"/>
                  <a:gd name="T34" fmla="*/ 44 w 69"/>
                  <a:gd name="T35" fmla="*/ 116 h 116"/>
                  <a:gd name="T36" fmla="*/ 40 w 69"/>
                  <a:gd name="T37" fmla="*/ 114 h 116"/>
                  <a:gd name="T38" fmla="*/ 33 w 69"/>
                  <a:gd name="T39" fmla="*/ 112 h 116"/>
                  <a:gd name="T40" fmla="*/ 29 w 69"/>
                  <a:gd name="T41" fmla="*/ 106 h 116"/>
                  <a:gd name="T42" fmla="*/ 27 w 69"/>
                  <a:gd name="T43" fmla="*/ 99 h 116"/>
                  <a:gd name="T44" fmla="*/ 25 w 69"/>
                  <a:gd name="T45" fmla="*/ 95 h 116"/>
                  <a:gd name="T46" fmla="*/ 23 w 69"/>
                  <a:gd name="T47" fmla="*/ 87 h 116"/>
                  <a:gd name="T48" fmla="*/ 25 w 69"/>
                  <a:gd name="T49" fmla="*/ 82 h 116"/>
                  <a:gd name="T50" fmla="*/ 25 w 69"/>
                  <a:gd name="T51" fmla="*/ 78 h 116"/>
                  <a:gd name="T52" fmla="*/ 29 w 69"/>
                  <a:gd name="T53" fmla="*/ 74 h 116"/>
                  <a:gd name="T54" fmla="*/ 31 w 69"/>
                  <a:gd name="T55" fmla="*/ 74 h 116"/>
                  <a:gd name="T56" fmla="*/ 29 w 69"/>
                  <a:gd name="T57" fmla="*/ 68 h 116"/>
                  <a:gd name="T58" fmla="*/ 27 w 69"/>
                  <a:gd name="T59" fmla="*/ 64 h 116"/>
                  <a:gd name="T60" fmla="*/ 21 w 69"/>
                  <a:gd name="T61" fmla="*/ 64 h 116"/>
                  <a:gd name="T62" fmla="*/ 23 w 69"/>
                  <a:gd name="T63" fmla="*/ 59 h 116"/>
                  <a:gd name="T64" fmla="*/ 19 w 69"/>
                  <a:gd name="T65" fmla="*/ 51 h 116"/>
                  <a:gd name="T66" fmla="*/ 12 w 69"/>
                  <a:gd name="T67" fmla="*/ 53 h 116"/>
                  <a:gd name="T68" fmla="*/ 6 w 69"/>
                  <a:gd name="T69" fmla="*/ 38 h 116"/>
                  <a:gd name="T70" fmla="*/ 4 w 69"/>
                  <a:gd name="T71" fmla="*/ 30 h 116"/>
                  <a:gd name="T72" fmla="*/ 8 w 69"/>
                  <a:gd name="T73" fmla="*/ 26 h 116"/>
                  <a:gd name="T74" fmla="*/ 15 w 69"/>
                  <a:gd name="T75" fmla="*/ 26 h 116"/>
                  <a:gd name="T76" fmla="*/ 15 w 69"/>
                  <a:gd name="T77" fmla="*/ 21 h 116"/>
                  <a:gd name="T78" fmla="*/ 14 w 69"/>
                  <a:gd name="T79" fmla="*/ 15 h 116"/>
                  <a:gd name="T80" fmla="*/ 19 w 69"/>
                  <a:gd name="T81" fmla="*/ 9 h 116"/>
                  <a:gd name="T82" fmla="*/ 25 w 69"/>
                  <a:gd name="T83" fmla="*/ 3 h 116"/>
                  <a:gd name="T84" fmla="*/ 27 w 69"/>
                  <a:gd name="T85" fmla="*/ 2 h 116"/>
                  <a:gd name="T86" fmla="*/ 44 w 69"/>
                  <a:gd name="T87" fmla="*/ 15 h 116"/>
                  <a:gd name="T88" fmla="*/ 48 w 69"/>
                  <a:gd name="T89" fmla="*/ 24 h 116"/>
                  <a:gd name="T90" fmla="*/ 46 w 69"/>
                  <a:gd name="T91" fmla="*/ 32 h 116"/>
                  <a:gd name="T92" fmla="*/ 48 w 69"/>
                  <a:gd name="T93" fmla="*/ 28 h 116"/>
                  <a:gd name="T94" fmla="*/ 56 w 69"/>
                  <a:gd name="T95" fmla="*/ 26 h 116"/>
                  <a:gd name="T96" fmla="*/ 67 w 69"/>
                  <a:gd name="T97" fmla="*/ 36 h 116"/>
                  <a:gd name="T98" fmla="*/ 69 w 69"/>
                  <a:gd name="T99" fmla="*/ 44 h 116"/>
                  <a:gd name="T100" fmla="*/ 46 w 69"/>
                  <a:gd name="T101" fmla="*/ 28 h 116"/>
                  <a:gd name="T102" fmla="*/ 46 w 69"/>
                  <a:gd name="T103" fmla="*/ 26 h 116"/>
                  <a:gd name="T104" fmla="*/ 48 w 69"/>
                  <a:gd name="T105" fmla="*/ 26 h 116"/>
                  <a:gd name="T106" fmla="*/ 46 w 69"/>
                  <a:gd name="T107" fmla="*/ 26 h 116"/>
                  <a:gd name="T108" fmla="*/ 46 w 69"/>
                  <a:gd name="T109" fmla="*/ 26 h 116"/>
                  <a:gd name="T110" fmla="*/ 46 w 69"/>
                  <a:gd name="T111" fmla="*/ 26 h 116"/>
                  <a:gd name="T112" fmla="*/ 46 w 69"/>
                  <a:gd name="T113" fmla="*/ 26 h 116"/>
                  <a:gd name="T114" fmla="*/ 48 w 69"/>
                  <a:gd name="T115" fmla="*/ 2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9" h="116">
                    <a:moveTo>
                      <a:pt x="69" y="45"/>
                    </a:moveTo>
                    <a:lnTo>
                      <a:pt x="67" y="47"/>
                    </a:lnTo>
                    <a:lnTo>
                      <a:pt x="67" y="49"/>
                    </a:lnTo>
                    <a:lnTo>
                      <a:pt x="65" y="51"/>
                    </a:lnTo>
                    <a:lnTo>
                      <a:pt x="67" y="51"/>
                    </a:lnTo>
                    <a:lnTo>
                      <a:pt x="67" y="53"/>
                    </a:lnTo>
                    <a:lnTo>
                      <a:pt x="67" y="51"/>
                    </a:lnTo>
                    <a:lnTo>
                      <a:pt x="69" y="53"/>
                    </a:lnTo>
                    <a:lnTo>
                      <a:pt x="67" y="53"/>
                    </a:lnTo>
                    <a:lnTo>
                      <a:pt x="65" y="55"/>
                    </a:lnTo>
                    <a:lnTo>
                      <a:pt x="67" y="55"/>
                    </a:lnTo>
                    <a:lnTo>
                      <a:pt x="65" y="55"/>
                    </a:lnTo>
                    <a:lnTo>
                      <a:pt x="65" y="57"/>
                    </a:lnTo>
                    <a:lnTo>
                      <a:pt x="63" y="57"/>
                    </a:lnTo>
                    <a:lnTo>
                      <a:pt x="63" y="55"/>
                    </a:lnTo>
                    <a:lnTo>
                      <a:pt x="61" y="57"/>
                    </a:lnTo>
                    <a:lnTo>
                      <a:pt x="61" y="55"/>
                    </a:lnTo>
                    <a:lnTo>
                      <a:pt x="59" y="57"/>
                    </a:lnTo>
                    <a:lnTo>
                      <a:pt x="57" y="57"/>
                    </a:lnTo>
                    <a:lnTo>
                      <a:pt x="56" y="59"/>
                    </a:lnTo>
                    <a:lnTo>
                      <a:pt x="57" y="59"/>
                    </a:lnTo>
                    <a:lnTo>
                      <a:pt x="57" y="61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6" y="68"/>
                    </a:lnTo>
                    <a:lnTo>
                      <a:pt x="54" y="70"/>
                    </a:lnTo>
                    <a:lnTo>
                      <a:pt x="56" y="70"/>
                    </a:lnTo>
                    <a:lnTo>
                      <a:pt x="56" y="72"/>
                    </a:lnTo>
                    <a:lnTo>
                      <a:pt x="57" y="74"/>
                    </a:lnTo>
                    <a:lnTo>
                      <a:pt x="57" y="78"/>
                    </a:lnTo>
                    <a:lnTo>
                      <a:pt x="59" y="78"/>
                    </a:lnTo>
                    <a:lnTo>
                      <a:pt x="61" y="80"/>
                    </a:lnTo>
                    <a:lnTo>
                      <a:pt x="59" y="82"/>
                    </a:lnTo>
                    <a:lnTo>
                      <a:pt x="61" y="82"/>
                    </a:lnTo>
                    <a:lnTo>
                      <a:pt x="61" y="84"/>
                    </a:lnTo>
                    <a:lnTo>
                      <a:pt x="61" y="85"/>
                    </a:lnTo>
                    <a:lnTo>
                      <a:pt x="61" y="87"/>
                    </a:lnTo>
                    <a:lnTo>
                      <a:pt x="63" y="87"/>
                    </a:lnTo>
                    <a:lnTo>
                      <a:pt x="63" y="89"/>
                    </a:lnTo>
                    <a:lnTo>
                      <a:pt x="65" y="89"/>
                    </a:lnTo>
                    <a:lnTo>
                      <a:pt x="63" y="91"/>
                    </a:lnTo>
                    <a:lnTo>
                      <a:pt x="65" y="91"/>
                    </a:lnTo>
                    <a:lnTo>
                      <a:pt x="63" y="93"/>
                    </a:lnTo>
                    <a:lnTo>
                      <a:pt x="61" y="93"/>
                    </a:lnTo>
                    <a:lnTo>
                      <a:pt x="59" y="93"/>
                    </a:lnTo>
                    <a:lnTo>
                      <a:pt x="59" y="95"/>
                    </a:lnTo>
                    <a:lnTo>
                      <a:pt x="57" y="95"/>
                    </a:lnTo>
                    <a:lnTo>
                      <a:pt x="59" y="95"/>
                    </a:lnTo>
                    <a:lnTo>
                      <a:pt x="57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7"/>
                    </a:lnTo>
                    <a:lnTo>
                      <a:pt x="57" y="99"/>
                    </a:lnTo>
                    <a:lnTo>
                      <a:pt x="57" y="97"/>
                    </a:lnTo>
                    <a:lnTo>
                      <a:pt x="57" y="99"/>
                    </a:lnTo>
                    <a:lnTo>
                      <a:pt x="56" y="99"/>
                    </a:lnTo>
                    <a:lnTo>
                      <a:pt x="56" y="101"/>
                    </a:lnTo>
                    <a:lnTo>
                      <a:pt x="57" y="101"/>
                    </a:lnTo>
                    <a:lnTo>
                      <a:pt x="56" y="101"/>
                    </a:lnTo>
                    <a:lnTo>
                      <a:pt x="57" y="101"/>
                    </a:lnTo>
                    <a:lnTo>
                      <a:pt x="56" y="101"/>
                    </a:lnTo>
                    <a:lnTo>
                      <a:pt x="57" y="103"/>
                    </a:lnTo>
                    <a:lnTo>
                      <a:pt x="56" y="103"/>
                    </a:lnTo>
                    <a:lnTo>
                      <a:pt x="57" y="103"/>
                    </a:lnTo>
                    <a:lnTo>
                      <a:pt x="56" y="103"/>
                    </a:lnTo>
                    <a:lnTo>
                      <a:pt x="57" y="103"/>
                    </a:lnTo>
                    <a:lnTo>
                      <a:pt x="56" y="103"/>
                    </a:lnTo>
                    <a:lnTo>
                      <a:pt x="56" y="105"/>
                    </a:lnTo>
                    <a:lnTo>
                      <a:pt x="56" y="103"/>
                    </a:lnTo>
                    <a:lnTo>
                      <a:pt x="57" y="105"/>
                    </a:lnTo>
                    <a:lnTo>
                      <a:pt x="56" y="105"/>
                    </a:lnTo>
                    <a:lnTo>
                      <a:pt x="57" y="105"/>
                    </a:lnTo>
                    <a:lnTo>
                      <a:pt x="56" y="105"/>
                    </a:lnTo>
                    <a:lnTo>
                      <a:pt x="57" y="105"/>
                    </a:lnTo>
                    <a:lnTo>
                      <a:pt x="56" y="106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8"/>
                    </a:lnTo>
                    <a:lnTo>
                      <a:pt x="50" y="108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50" y="112"/>
                    </a:lnTo>
                    <a:lnTo>
                      <a:pt x="48" y="112"/>
                    </a:lnTo>
                    <a:lnTo>
                      <a:pt x="48" y="114"/>
                    </a:lnTo>
                    <a:lnTo>
                      <a:pt x="48" y="116"/>
                    </a:lnTo>
                    <a:lnTo>
                      <a:pt x="46" y="116"/>
                    </a:lnTo>
                    <a:lnTo>
                      <a:pt x="46" y="114"/>
                    </a:lnTo>
                    <a:lnTo>
                      <a:pt x="46" y="116"/>
                    </a:lnTo>
                    <a:lnTo>
                      <a:pt x="46" y="114"/>
                    </a:lnTo>
                    <a:lnTo>
                      <a:pt x="44" y="116"/>
                    </a:lnTo>
                    <a:lnTo>
                      <a:pt x="44" y="114"/>
                    </a:lnTo>
                    <a:lnTo>
                      <a:pt x="44" y="116"/>
                    </a:lnTo>
                    <a:lnTo>
                      <a:pt x="42" y="116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38" y="114"/>
                    </a:lnTo>
                    <a:lnTo>
                      <a:pt x="36" y="114"/>
                    </a:lnTo>
                    <a:lnTo>
                      <a:pt x="35" y="114"/>
                    </a:lnTo>
                    <a:lnTo>
                      <a:pt x="35" y="112"/>
                    </a:lnTo>
                    <a:lnTo>
                      <a:pt x="33" y="112"/>
                    </a:lnTo>
                    <a:lnTo>
                      <a:pt x="33" y="110"/>
                    </a:lnTo>
                    <a:lnTo>
                      <a:pt x="31" y="110"/>
                    </a:lnTo>
                    <a:lnTo>
                      <a:pt x="31" y="108"/>
                    </a:lnTo>
                    <a:lnTo>
                      <a:pt x="29" y="108"/>
                    </a:lnTo>
                    <a:lnTo>
                      <a:pt x="29" y="106"/>
                    </a:lnTo>
                    <a:lnTo>
                      <a:pt x="27" y="106"/>
                    </a:lnTo>
                    <a:lnTo>
                      <a:pt x="27" y="105"/>
                    </a:lnTo>
                    <a:lnTo>
                      <a:pt x="27" y="103"/>
                    </a:lnTo>
                    <a:lnTo>
                      <a:pt x="27" y="101"/>
                    </a:lnTo>
                    <a:lnTo>
                      <a:pt x="27" y="99"/>
                    </a:lnTo>
                    <a:lnTo>
                      <a:pt x="25" y="99"/>
                    </a:lnTo>
                    <a:lnTo>
                      <a:pt x="25" y="97"/>
                    </a:lnTo>
                    <a:lnTo>
                      <a:pt x="25" y="99"/>
                    </a:lnTo>
                    <a:lnTo>
                      <a:pt x="25" y="97"/>
                    </a:lnTo>
                    <a:lnTo>
                      <a:pt x="25" y="95"/>
                    </a:lnTo>
                    <a:lnTo>
                      <a:pt x="23" y="95"/>
                    </a:lnTo>
                    <a:lnTo>
                      <a:pt x="23" y="93"/>
                    </a:lnTo>
                    <a:lnTo>
                      <a:pt x="23" y="89"/>
                    </a:lnTo>
                    <a:lnTo>
                      <a:pt x="25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5" y="82"/>
                    </a:lnTo>
                    <a:lnTo>
                      <a:pt x="27" y="80"/>
                    </a:lnTo>
                    <a:lnTo>
                      <a:pt x="25" y="80"/>
                    </a:lnTo>
                    <a:lnTo>
                      <a:pt x="25" y="78"/>
                    </a:lnTo>
                    <a:lnTo>
                      <a:pt x="27" y="78"/>
                    </a:lnTo>
                    <a:lnTo>
                      <a:pt x="29" y="76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9" y="74"/>
                    </a:lnTo>
                    <a:lnTo>
                      <a:pt x="31" y="74"/>
                    </a:lnTo>
                    <a:lnTo>
                      <a:pt x="29" y="74"/>
                    </a:lnTo>
                    <a:lnTo>
                      <a:pt x="31" y="74"/>
                    </a:lnTo>
                    <a:lnTo>
                      <a:pt x="31" y="72"/>
                    </a:lnTo>
                    <a:lnTo>
                      <a:pt x="29" y="72"/>
                    </a:lnTo>
                    <a:lnTo>
                      <a:pt x="29" y="70"/>
                    </a:lnTo>
                    <a:lnTo>
                      <a:pt x="27" y="68"/>
                    </a:lnTo>
                    <a:lnTo>
                      <a:pt x="29" y="68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29" y="66"/>
                    </a:lnTo>
                    <a:lnTo>
                      <a:pt x="27" y="66"/>
                    </a:lnTo>
                    <a:lnTo>
                      <a:pt x="27" y="64"/>
                    </a:lnTo>
                    <a:lnTo>
                      <a:pt x="25" y="64"/>
                    </a:lnTo>
                    <a:lnTo>
                      <a:pt x="23" y="64"/>
                    </a:lnTo>
                    <a:lnTo>
                      <a:pt x="23" y="63"/>
                    </a:lnTo>
                    <a:lnTo>
                      <a:pt x="21" y="63"/>
                    </a:lnTo>
                    <a:lnTo>
                      <a:pt x="21" y="64"/>
                    </a:lnTo>
                    <a:lnTo>
                      <a:pt x="21" y="63"/>
                    </a:lnTo>
                    <a:lnTo>
                      <a:pt x="23" y="63"/>
                    </a:lnTo>
                    <a:lnTo>
                      <a:pt x="21" y="61"/>
                    </a:lnTo>
                    <a:lnTo>
                      <a:pt x="23" y="61"/>
                    </a:lnTo>
                    <a:lnTo>
                      <a:pt x="23" y="59"/>
                    </a:lnTo>
                    <a:lnTo>
                      <a:pt x="23" y="55"/>
                    </a:lnTo>
                    <a:lnTo>
                      <a:pt x="21" y="53"/>
                    </a:lnTo>
                    <a:lnTo>
                      <a:pt x="21" y="51"/>
                    </a:lnTo>
                    <a:lnTo>
                      <a:pt x="21" y="53"/>
                    </a:lnTo>
                    <a:lnTo>
                      <a:pt x="19" y="51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4" y="53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0" y="40"/>
                    </a:lnTo>
                    <a:lnTo>
                      <a:pt x="2" y="40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8"/>
                    </a:lnTo>
                    <a:lnTo>
                      <a:pt x="14" y="26"/>
                    </a:lnTo>
                    <a:lnTo>
                      <a:pt x="15" y="26"/>
                    </a:lnTo>
                    <a:lnTo>
                      <a:pt x="15" y="24"/>
                    </a:lnTo>
                    <a:lnTo>
                      <a:pt x="17" y="24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19" y="9"/>
                    </a:lnTo>
                    <a:lnTo>
                      <a:pt x="21" y="7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7" y="3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36" y="7"/>
                    </a:lnTo>
                    <a:lnTo>
                      <a:pt x="40" y="11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4" y="15"/>
                    </a:lnTo>
                    <a:lnTo>
                      <a:pt x="44" y="13"/>
                    </a:lnTo>
                    <a:lnTo>
                      <a:pt x="44" y="15"/>
                    </a:lnTo>
                    <a:lnTo>
                      <a:pt x="48" y="19"/>
                    </a:lnTo>
                    <a:lnTo>
                      <a:pt x="48" y="21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6" y="26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6"/>
                    </a:lnTo>
                    <a:lnTo>
                      <a:pt x="50" y="26"/>
                    </a:lnTo>
                    <a:lnTo>
                      <a:pt x="52" y="26"/>
                    </a:lnTo>
                    <a:lnTo>
                      <a:pt x="54" y="26"/>
                    </a:lnTo>
                    <a:lnTo>
                      <a:pt x="56" y="26"/>
                    </a:lnTo>
                    <a:lnTo>
                      <a:pt x="61" y="32"/>
                    </a:lnTo>
                    <a:lnTo>
                      <a:pt x="61" y="34"/>
                    </a:lnTo>
                    <a:lnTo>
                      <a:pt x="63" y="36"/>
                    </a:lnTo>
                    <a:lnTo>
                      <a:pt x="63" y="34"/>
                    </a:lnTo>
                    <a:lnTo>
                      <a:pt x="67" y="36"/>
                    </a:lnTo>
                    <a:lnTo>
                      <a:pt x="67" y="38"/>
                    </a:lnTo>
                    <a:lnTo>
                      <a:pt x="69" y="38"/>
                    </a:lnTo>
                    <a:lnTo>
                      <a:pt x="69" y="40"/>
                    </a:lnTo>
                    <a:lnTo>
                      <a:pt x="69" y="42"/>
                    </a:lnTo>
                    <a:lnTo>
                      <a:pt x="69" y="44"/>
                    </a:lnTo>
                    <a:lnTo>
                      <a:pt x="69" y="45"/>
                    </a:lnTo>
                    <a:close/>
                    <a:moveTo>
                      <a:pt x="46" y="26"/>
                    </a:moveTo>
                    <a:lnTo>
                      <a:pt x="48" y="26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6" y="26"/>
                    </a:lnTo>
                    <a:close/>
                    <a:moveTo>
                      <a:pt x="46" y="23"/>
                    </a:moveTo>
                    <a:lnTo>
                      <a:pt x="48" y="23"/>
                    </a:lnTo>
                    <a:lnTo>
                      <a:pt x="48" y="26"/>
                    </a:lnTo>
                    <a:lnTo>
                      <a:pt x="46" y="26"/>
                    </a:lnTo>
                    <a:lnTo>
                      <a:pt x="46" y="23"/>
                    </a:lnTo>
                    <a:close/>
                    <a:moveTo>
                      <a:pt x="48" y="24"/>
                    </a:moveTo>
                    <a:lnTo>
                      <a:pt x="50" y="24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4"/>
                    </a:lnTo>
                    <a:close/>
                    <a:moveTo>
                      <a:pt x="46" y="24"/>
                    </a:moveTo>
                    <a:lnTo>
                      <a:pt x="48" y="24"/>
                    </a:lnTo>
                    <a:lnTo>
                      <a:pt x="48" y="26"/>
                    </a:lnTo>
                    <a:lnTo>
                      <a:pt x="46" y="26"/>
                    </a:lnTo>
                    <a:lnTo>
                      <a:pt x="46" y="24"/>
                    </a:lnTo>
                    <a:close/>
                    <a:moveTo>
                      <a:pt x="48" y="23"/>
                    </a:moveTo>
                    <a:lnTo>
                      <a:pt x="48" y="24"/>
                    </a:lnTo>
                    <a:lnTo>
                      <a:pt x="48" y="23"/>
                    </a:lnTo>
                    <a:close/>
                    <a:moveTo>
                      <a:pt x="46" y="26"/>
                    </a:moveTo>
                    <a:lnTo>
                      <a:pt x="48" y="26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6" y="26"/>
                    </a:lnTo>
                    <a:close/>
                    <a:moveTo>
                      <a:pt x="46" y="26"/>
                    </a:moveTo>
                    <a:lnTo>
                      <a:pt x="46" y="28"/>
                    </a:lnTo>
                    <a:lnTo>
                      <a:pt x="46" y="26"/>
                    </a:lnTo>
                    <a:close/>
                    <a:moveTo>
                      <a:pt x="46" y="26"/>
                    </a:moveTo>
                    <a:lnTo>
                      <a:pt x="46" y="28"/>
                    </a:lnTo>
                    <a:lnTo>
                      <a:pt x="46" y="26"/>
                    </a:lnTo>
                    <a:close/>
                    <a:moveTo>
                      <a:pt x="46" y="28"/>
                    </a:moveTo>
                    <a:lnTo>
                      <a:pt x="46" y="30"/>
                    </a:lnTo>
                    <a:lnTo>
                      <a:pt x="46" y="28"/>
                    </a:lnTo>
                    <a:close/>
                    <a:moveTo>
                      <a:pt x="46" y="28"/>
                    </a:moveTo>
                    <a:lnTo>
                      <a:pt x="48" y="28"/>
                    </a:lnTo>
                    <a:lnTo>
                      <a:pt x="46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7" name="Freeform 78">
                <a:extLst>
                  <a:ext uri="{FF2B5EF4-FFF2-40B4-BE49-F238E27FC236}">
                    <a16:creationId xmlns:a16="http://schemas.microsoft.com/office/drawing/2014/main" id="{F8688726-7E62-72B1-0A7B-075DD0064BD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5803" y="-2119465"/>
                <a:ext cx="335590" cy="290980"/>
              </a:xfrm>
              <a:custGeom>
                <a:avLst/>
                <a:gdLst>
                  <a:gd name="T0" fmla="*/ 203 w 216"/>
                  <a:gd name="T1" fmla="*/ 73 h 186"/>
                  <a:gd name="T2" fmla="*/ 203 w 216"/>
                  <a:gd name="T3" fmla="*/ 86 h 186"/>
                  <a:gd name="T4" fmla="*/ 193 w 216"/>
                  <a:gd name="T5" fmla="*/ 94 h 186"/>
                  <a:gd name="T6" fmla="*/ 201 w 216"/>
                  <a:gd name="T7" fmla="*/ 119 h 186"/>
                  <a:gd name="T8" fmla="*/ 189 w 216"/>
                  <a:gd name="T9" fmla="*/ 126 h 186"/>
                  <a:gd name="T10" fmla="*/ 178 w 216"/>
                  <a:gd name="T11" fmla="*/ 130 h 186"/>
                  <a:gd name="T12" fmla="*/ 164 w 216"/>
                  <a:gd name="T13" fmla="*/ 138 h 186"/>
                  <a:gd name="T14" fmla="*/ 155 w 216"/>
                  <a:gd name="T15" fmla="*/ 134 h 186"/>
                  <a:gd name="T16" fmla="*/ 145 w 216"/>
                  <a:gd name="T17" fmla="*/ 130 h 186"/>
                  <a:gd name="T18" fmla="*/ 142 w 216"/>
                  <a:gd name="T19" fmla="*/ 134 h 186"/>
                  <a:gd name="T20" fmla="*/ 149 w 216"/>
                  <a:gd name="T21" fmla="*/ 151 h 186"/>
                  <a:gd name="T22" fmla="*/ 159 w 216"/>
                  <a:gd name="T23" fmla="*/ 161 h 186"/>
                  <a:gd name="T24" fmla="*/ 147 w 216"/>
                  <a:gd name="T25" fmla="*/ 166 h 186"/>
                  <a:gd name="T26" fmla="*/ 140 w 216"/>
                  <a:gd name="T27" fmla="*/ 174 h 186"/>
                  <a:gd name="T28" fmla="*/ 128 w 216"/>
                  <a:gd name="T29" fmla="*/ 182 h 186"/>
                  <a:gd name="T30" fmla="*/ 119 w 216"/>
                  <a:gd name="T31" fmla="*/ 182 h 186"/>
                  <a:gd name="T32" fmla="*/ 100 w 216"/>
                  <a:gd name="T33" fmla="*/ 163 h 186"/>
                  <a:gd name="T34" fmla="*/ 88 w 216"/>
                  <a:gd name="T35" fmla="*/ 151 h 186"/>
                  <a:gd name="T36" fmla="*/ 90 w 216"/>
                  <a:gd name="T37" fmla="*/ 132 h 186"/>
                  <a:gd name="T38" fmla="*/ 90 w 216"/>
                  <a:gd name="T39" fmla="*/ 109 h 186"/>
                  <a:gd name="T40" fmla="*/ 88 w 216"/>
                  <a:gd name="T41" fmla="*/ 94 h 186"/>
                  <a:gd name="T42" fmla="*/ 67 w 216"/>
                  <a:gd name="T43" fmla="*/ 96 h 186"/>
                  <a:gd name="T44" fmla="*/ 39 w 216"/>
                  <a:gd name="T45" fmla="*/ 83 h 186"/>
                  <a:gd name="T46" fmla="*/ 31 w 216"/>
                  <a:gd name="T47" fmla="*/ 83 h 186"/>
                  <a:gd name="T48" fmla="*/ 19 w 216"/>
                  <a:gd name="T49" fmla="*/ 81 h 186"/>
                  <a:gd name="T50" fmla="*/ 16 w 216"/>
                  <a:gd name="T51" fmla="*/ 63 h 186"/>
                  <a:gd name="T52" fmla="*/ 0 w 216"/>
                  <a:gd name="T53" fmla="*/ 48 h 186"/>
                  <a:gd name="T54" fmla="*/ 10 w 216"/>
                  <a:gd name="T55" fmla="*/ 25 h 186"/>
                  <a:gd name="T56" fmla="*/ 31 w 216"/>
                  <a:gd name="T57" fmla="*/ 6 h 186"/>
                  <a:gd name="T58" fmla="*/ 29 w 216"/>
                  <a:gd name="T59" fmla="*/ 23 h 186"/>
                  <a:gd name="T60" fmla="*/ 19 w 216"/>
                  <a:gd name="T61" fmla="*/ 39 h 186"/>
                  <a:gd name="T62" fmla="*/ 25 w 216"/>
                  <a:gd name="T63" fmla="*/ 46 h 186"/>
                  <a:gd name="T64" fmla="*/ 37 w 216"/>
                  <a:gd name="T65" fmla="*/ 41 h 186"/>
                  <a:gd name="T66" fmla="*/ 27 w 216"/>
                  <a:gd name="T67" fmla="*/ 23 h 186"/>
                  <a:gd name="T68" fmla="*/ 46 w 216"/>
                  <a:gd name="T69" fmla="*/ 16 h 186"/>
                  <a:gd name="T70" fmla="*/ 54 w 216"/>
                  <a:gd name="T71" fmla="*/ 12 h 186"/>
                  <a:gd name="T72" fmla="*/ 48 w 216"/>
                  <a:gd name="T73" fmla="*/ 4 h 186"/>
                  <a:gd name="T74" fmla="*/ 65 w 216"/>
                  <a:gd name="T75" fmla="*/ 10 h 186"/>
                  <a:gd name="T76" fmla="*/ 79 w 216"/>
                  <a:gd name="T77" fmla="*/ 21 h 186"/>
                  <a:gd name="T78" fmla="*/ 86 w 216"/>
                  <a:gd name="T79" fmla="*/ 27 h 186"/>
                  <a:gd name="T80" fmla="*/ 113 w 216"/>
                  <a:gd name="T81" fmla="*/ 25 h 186"/>
                  <a:gd name="T82" fmla="*/ 138 w 216"/>
                  <a:gd name="T83" fmla="*/ 31 h 186"/>
                  <a:gd name="T84" fmla="*/ 147 w 216"/>
                  <a:gd name="T85" fmla="*/ 27 h 186"/>
                  <a:gd name="T86" fmla="*/ 147 w 216"/>
                  <a:gd name="T87" fmla="*/ 25 h 186"/>
                  <a:gd name="T88" fmla="*/ 157 w 216"/>
                  <a:gd name="T89" fmla="*/ 25 h 186"/>
                  <a:gd name="T90" fmla="*/ 178 w 216"/>
                  <a:gd name="T91" fmla="*/ 23 h 186"/>
                  <a:gd name="T92" fmla="*/ 176 w 216"/>
                  <a:gd name="T93" fmla="*/ 25 h 186"/>
                  <a:gd name="T94" fmla="*/ 170 w 216"/>
                  <a:gd name="T95" fmla="*/ 33 h 186"/>
                  <a:gd name="T96" fmla="*/ 187 w 216"/>
                  <a:gd name="T97" fmla="*/ 39 h 186"/>
                  <a:gd name="T98" fmla="*/ 197 w 216"/>
                  <a:gd name="T99" fmla="*/ 48 h 186"/>
                  <a:gd name="T100" fmla="*/ 201 w 216"/>
                  <a:gd name="T101" fmla="*/ 56 h 186"/>
                  <a:gd name="T102" fmla="*/ 204 w 216"/>
                  <a:gd name="T103" fmla="*/ 60 h 186"/>
                  <a:gd name="T104" fmla="*/ 149 w 216"/>
                  <a:gd name="T105" fmla="*/ 21 h 186"/>
                  <a:gd name="T106" fmla="*/ 147 w 216"/>
                  <a:gd name="T107" fmla="*/ 20 h 186"/>
                  <a:gd name="T108" fmla="*/ 138 w 216"/>
                  <a:gd name="T109" fmla="*/ 4 h 186"/>
                  <a:gd name="T110" fmla="*/ 113 w 216"/>
                  <a:gd name="T111" fmla="*/ 6 h 186"/>
                  <a:gd name="T112" fmla="*/ 138 w 216"/>
                  <a:gd name="T113" fmla="*/ 31 h 186"/>
                  <a:gd name="T114" fmla="*/ 81 w 216"/>
                  <a:gd name="T115" fmla="*/ 21 h 186"/>
                  <a:gd name="T116" fmla="*/ 103 w 216"/>
                  <a:gd name="T117" fmla="*/ 6 h 186"/>
                  <a:gd name="T118" fmla="*/ 23 w 216"/>
                  <a:gd name="T119" fmla="*/ 4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6" h="186">
                    <a:moveTo>
                      <a:pt x="212" y="60"/>
                    </a:moveTo>
                    <a:lnTo>
                      <a:pt x="216" y="63"/>
                    </a:lnTo>
                    <a:lnTo>
                      <a:pt x="214" y="63"/>
                    </a:lnTo>
                    <a:lnTo>
                      <a:pt x="214" y="65"/>
                    </a:lnTo>
                    <a:lnTo>
                      <a:pt x="212" y="65"/>
                    </a:lnTo>
                    <a:lnTo>
                      <a:pt x="212" y="67"/>
                    </a:lnTo>
                    <a:lnTo>
                      <a:pt x="210" y="67"/>
                    </a:lnTo>
                    <a:lnTo>
                      <a:pt x="208" y="69"/>
                    </a:lnTo>
                    <a:lnTo>
                      <a:pt x="206" y="71"/>
                    </a:lnTo>
                    <a:lnTo>
                      <a:pt x="204" y="71"/>
                    </a:lnTo>
                    <a:lnTo>
                      <a:pt x="203" y="71"/>
                    </a:lnTo>
                    <a:lnTo>
                      <a:pt x="203" y="73"/>
                    </a:lnTo>
                    <a:lnTo>
                      <a:pt x="203" y="75"/>
                    </a:lnTo>
                    <a:lnTo>
                      <a:pt x="203" y="77"/>
                    </a:lnTo>
                    <a:lnTo>
                      <a:pt x="203" y="79"/>
                    </a:lnTo>
                    <a:lnTo>
                      <a:pt x="203" y="81"/>
                    </a:lnTo>
                    <a:lnTo>
                      <a:pt x="204" y="83"/>
                    </a:lnTo>
                    <a:lnTo>
                      <a:pt x="204" y="81"/>
                    </a:lnTo>
                    <a:lnTo>
                      <a:pt x="206" y="81"/>
                    </a:lnTo>
                    <a:lnTo>
                      <a:pt x="206" y="83"/>
                    </a:lnTo>
                    <a:lnTo>
                      <a:pt x="206" y="84"/>
                    </a:lnTo>
                    <a:lnTo>
                      <a:pt x="204" y="84"/>
                    </a:lnTo>
                    <a:lnTo>
                      <a:pt x="204" y="86"/>
                    </a:lnTo>
                    <a:lnTo>
                      <a:pt x="203" y="86"/>
                    </a:lnTo>
                    <a:lnTo>
                      <a:pt x="201" y="88"/>
                    </a:lnTo>
                    <a:lnTo>
                      <a:pt x="199" y="86"/>
                    </a:lnTo>
                    <a:lnTo>
                      <a:pt x="199" y="88"/>
                    </a:lnTo>
                    <a:lnTo>
                      <a:pt x="197" y="86"/>
                    </a:lnTo>
                    <a:lnTo>
                      <a:pt x="199" y="88"/>
                    </a:lnTo>
                    <a:lnTo>
                      <a:pt x="197" y="88"/>
                    </a:lnTo>
                    <a:lnTo>
                      <a:pt x="195" y="88"/>
                    </a:lnTo>
                    <a:lnTo>
                      <a:pt x="193" y="88"/>
                    </a:lnTo>
                    <a:lnTo>
                      <a:pt x="193" y="90"/>
                    </a:lnTo>
                    <a:lnTo>
                      <a:pt x="193" y="92"/>
                    </a:lnTo>
                    <a:lnTo>
                      <a:pt x="195" y="92"/>
                    </a:lnTo>
                    <a:lnTo>
                      <a:pt x="193" y="94"/>
                    </a:lnTo>
                    <a:lnTo>
                      <a:pt x="195" y="96"/>
                    </a:lnTo>
                    <a:lnTo>
                      <a:pt x="195" y="98"/>
                    </a:lnTo>
                    <a:lnTo>
                      <a:pt x="193" y="96"/>
                    </a:lnTo>
                    <a:lnTo>
                      <a:pt x="193" y="98"/>
                    </a:lnTo>
                    <a:lnTo>
                      <a:pt x="191" y="100"/>
                    </a:lnTo>
                    <a:lnTo>
                      <a:pt x="189" y="100"/>
                    </a:lnTo>
                    <a:lnTo>
                      <a:pt x="201" y="113"/>
                    </a:lnTo>
                    <a:lnTo>
                      <a:pt x="203" y="113"/>
                    </a:lnTo>
                    <a:lnTo>
                      <a:pt x="203" y="115"/>
                    </a:lnTo>
                    <a:lnTo>
                      <a:pt x="203" y="117"/>
                    </a:lnTo>
                    <a:lnTo>
                      <a:pt x="203" y="119"/>
                    </a:lnTo>
                    <a:lnTo>
                      <a:pt x="201" y="119"/>
                    </a:lnTo>
                    <a:lnTo>
                      <a:pt x="199" y="121"/>
                    </a:lnTo>
                    <a:lnTo>
                      <a:pt x="197" y="121"/>
                    </a:lnTo>
                    <a:lnTo>
                      <a:pt x="197" y="123"/>
                    </a:lnTo>
                    <a:lnTo>
                      <a:pt x="195" y="123"/>
                    </a:lnTo>
                    <a:lnTo>
                      <a:pt x="195" y="124"/>
                    </a:lnTo>
                    <a:lnTo>
                      <a:pt x="193" y="123"/>
                    </a:lnTo>
                    <a:lnTo>
                      <a:pt x="191" y="123"/>
                    </a:lnTo>
                    <a:lnTo>
                      <a:pt x="191" y="124"/>
                    </a:lnTo>
                    <a:lnTo>
                      <a:pt x="189" y="124"/>
                    </a:lnTo>
                    <a:lnTo>
                      <a:pt x="187" y="124"/>
                    </a:lnTo>
                    <a:lnTo>
                      <a:pt x="187" y="126"/>
                    </a:lnTo>
                    <a:lnTo>
                      <a:pt x="189" y="126"/>
                    </a:lnTo>
                    <a:lnTo>
                      <a:pt x="187" y="128"/>
                    </a:lnTo>
                    <a:lnTo>
                      <a:pt x="185" y="128"/>
                    </a:lnTo>
                    <a:lnTo>
                      <a:pt x="183" y="128"/>
                    </a:lnTo>
                    <a:lnTo>
                      <a:pt x="182" y="128"/>
                    </a:lnTo>
                    <a:lnTo>
                      <a:pt x="182" y="130"/>
                    </a:lnTo>
                    <a:lnTo>
                      <a:pt x="182" y="128"/>
                    </a:lnTo>
                    <a:lnTo>
                      <a:pt x="182" y="130"/>
                    </a:lnTo>
                    <a:lnTo>
                      <a:pt x="182" y="128"/>
                    </a:lnTo>
                    <a:lnTo>
                      <a:pt x="180" y="130"/>
                    </a:lnTo>
                    <a:lnTo>
                      <a:pt x="180" y="128"/>
                    </a:lnTo>
                    <a:lnTo>
                      <a:pt x="180" y="130"/>
                    </a:lnTo>
                    <a:lnTo>
                      <a:pt x="178" y="130"/>
                    </a:lnTo>
                    <a:lnTo>
                      <a:pt x="176" y="130"/>
                    </a:lnTo>
                    <a:lnTo>
                      <a:pt x="174" y="128"/>
                    </a:lnTo>
                    <a:lnTo>
                      <a:pt x="174" y="130"/>
                    </a:lnTo>
                    <a:lnTo>
                      <a:pt x="172" y="130"/>
                    </a:lnTo>
                    <a:lnTo>
                      <a:pt x="172" y="132"/>
                    </a:lnTo>
                    <a:lnTo>
                      <a:pt x="170" y="130"/>
                    </a:lnTo>
                    <a:lnTo>
                      <a:pt x="168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6" y="136"/>
                    </a:lnTo>
                    <a:lnTo>
                      <a:pt x="166" y="138"/>
                    </a:lnTo>
                    <a:lnTo>
                      <a:pt x="164" y="138"/>
                    </a:lnTo>
                    <a:lnTo>
                      <a:pt x="163" y="136"/>
                    </a:lnTo>
                    <a:lnTo>
                      <a:pt x="164" y="136"/>
                    </a:lnTo>
                    <a:lnTo>
                      <a:pt x="163" y="136"/>
                    </a:lnTo>
                    <a:lnTo>
                      <a:pt x="163" y="134"/>
                    </a:lnTo>
                    <a:lnTo>
                      <a:pt x="161" y="134"/>
                    </a:lnTo>
                    <a:lnTo>
                      <a:pt x="161" y="132"/>
                    </a:lnTo>
                    <a:lnTo>
                      <a:pt x="159" y="132"/>
                    </a:lnTo>
                    <a:lnTo>
                      <a:pt x="157" y="132"/>
                    </a:lnTo>
                    <a:lnTo>
                      <a:pt x="159" y="132"/>
                    </a:lnTo>
                    <a:lnTo>
                      <a:pt x="159" y="134"/>
                    </a:lnTo>
                    <a:lnTo>
                      <a:pt x="157" y="134"/>
                    </a:lnTo>
                    <a:lnTo>
                      <a:pt x="155" y="134"/>
                    </a:lnTo>
                    <a:lnTo>
                      <a:pt x="155" y="132"/>
                    </a:lnTo>
                    <a:lnTo>
                      <a:pt x="153" y="132"/>
                    </a:lnTo>
                    <a:lnTo>
                      <a:pt x="155" y="132"/>
                    </a:lnTo>
                    <a:lnTo>
                      <a:pt x="153" y="134"/>
                    </a:lnTo>
                    <a:lnTo>
                      <a:pt x="153" y="132"/>
                    </a:lnTo>
                    <a:lnTo>
                      <a:pt x="151" y="132"/>
                    </a:lnTo>
                    <a:lnTo>
                      <a:pt x="149" y="132"/>
                    </a:lnTo>
                    <a:lnTo>
                      <a:pt x="149" y="134"/>
                    </a:lnTo>
                    <a:lnTo>
                      <a:pt x="149" y="132"/>
                    </a:lnTo>
                    <a:lnTo>
                      <a:pt x="147" y="132"/>
                    </a:lnTo>
                    <a:lnTo>
                      <a:pt x="147" y="130"/>
                    </a:lnTo>
                    <a:lnTo>
                      <a:pt x="145" y="130"/>
                    </a:lnTo>
                    <a:lnTo>
                      <a:pt x="143" y="130"/>
                    </a:lnTo>
                    <a:lnTo>
                      <a:pt x="142" y="130"/>
                    </a:lnTo>
                    <a:lnTo>
                      <a:pt x="140" y="130"/>
                    </a:lnTo>
                    <a:lnTo>
                      <a:pt x="138" y="130"/>
                    </a:lnTo>
                    <a:lnTo>
                      <a:pt x="138" y="128"/>
                    </a:lnTo>
                    <a:lnTo>
                      <a:pt x="136" y="126"/>
                    </a:lnTo>
                    <a:lnTo>
                      <a:pt x="136" y="128"/>
                    </a:lnTo>
                    <a:lnTo>
                      <a:pt x="138" y="130"/>
                    </a:lnTo>
                    <a:lnTo>
                      <a:pt x="138" y="132"/>
                    </a:lnTo>
                    <a:lnTo>
                      <a:pt x="140" y="132"/>
                    </a:lnTo>
                    <a:lnTo>
                      <a:pt x="140" y="134"/>
                    </a:lnTo>
                    <a:lnTo>
                      <a:pt x="142" y="134"/>
                    </a:lnTo>
                    <a:lnTo>
                      <a:pt x="142" y="136"/>
                    </a:lnTo>
                    <a:lnTo>
                      <a:pt x="143" y="136"/>
                    </a:lnTo>
                    <a:lnTo>
                      <a:pt x="143" y="138"/>
                    </a:lnTo>
                    <a:lnTo>
                      <a:pt x="145" y="138"/>
                    </a:lnTo>
                    <a:lnTo>
                      <a:pt x="145" y="140"/>
                    </a:lnTo>
                    <a:lnTo>
                      <a:pt x="145" y="142"/>
                    </a:lnTo>
                    <a:lnTo>
                      <a:pt x="145" y="144"/>
                    </a:lnTo>
                    <a:lnTo>
                      <a:pt x="145" y="145"/>
                    </a:lnTo>
                    <a:lnTo>
                      <a:pt x="145" y="147"/>
                    </a:lnTo>
                    <a:lnTo>
                      <a:pt x="147" y="147"/>
                    </a:lnTo>
                    <a:lnTo>
                      <a:pt x="147" y="149"/>
                    </a:lnTo>
                    <a:lnTo>
                      <a:pt x="149" y="151"/>
                    </a:lnTo>
                    <a:lnTo>
                      <a:pt x="149" y="153"/>
                    </a:lnTo>
                    <a:lnTo>
                      <a:pt x="149" y="155"/>
                    </a:lnTo>
                    <a:lnTo>
                      <a:pt x="147" y="155"/>
                    </a:lnTo>
                    <a:lnTo>
                      <a:pt x="149" y="157"/>
                    </a:lnTo>
                    <a:lnTo>
                      <a:pt x="149" y="155"/>
                    </a:lnTo>
                    <a:lnTo>
                      <a:pt x="149" y="157"/>
                    </a:lnTo>
                    <a:lnTo>
                      <a:pt x="153" y="157"/>
                    </a:lnTo>
                    <a:lnTo>
                      <a:pt x="155" y="157"/>
                    </a:lnTo>
                    <a:lnTo>
                      <a:pt x="157" y="157"/>
                    </a:lnTo>
                    <a:lnTo>
                      <a:pt x="159" y="157"/>
                    </a:lnTo>
                    <a:lnTo>
                      <a:pt x="159" y="159"/>
                    </a:lnTo>
                    <a:lnTo>
                      <a:pt x="159" y="161"/>
                    </a:lnTo>
                    <a:lnTo>
                      <a:pt x="157" y="161"/>
                    </a:lnTo>
                    <a:lnTo>
                      <a:pt x="157" y="163"/>
                    </a:lnTo>
                    <a:lnTo>
                      <a:pt x="155" y="161"/>
                    </a:lnTo>
                    <a:lnTo>
                      <a:pt x="155" y="163"/>
                    </a:lnTo>
                    <a:lnTo>
                      <a:pt x="153" y="163"/>
                    </a:lnTo>
                    <a:lnTo>
                      <a:pt x="153" y="165"/>
                    </a:lnTo>
                    <a:lnTo>
                      <a:pt x="153" y="163"/>
                    </a:lnTo>
                    <a:lnTo>
                      <a:pt x="153" y="165"/>
                    </a:lnTo>
                    <a:lnTo>
                      <a:pt x="151" y="165"/>
                    </a:lnTo>
                    <a:lnTo>
                      <a:pt x="149" y="165"/>
                    </a:lnTo>
                    <a:lnTo>
                      <a:pt x="147" y="165"/>
                    </a:lnTo>
                    <a:lnTo>
                      <a:pt x="147" y="166"/>
                    </a:lnTo>
                    <a:lnTo>
                      <a:pt x="147" y="168"/>
                    </a:lnTo>
                    <a:lnTo>
                      <a:pt x="147" y="170"/>
                    </a:lnTo>
                    <a:lnTo>
                      <a:pt x="145" y="170"/>
                    </a:lnTo>
                    <a:lnTo>
                      <a:pt x="145" y="172"/>
                    </a:lnTo>
                    <a:lnTo>
                      <a:pt x="143" y="172"/>
                    </a:lnTo>
                    <a:lnTo>
                      <a:pt x="143" y="174"/>
                    </a:lnTo>
                    <a:lnTo>
                      <a:pt x="142" y="174"/>
                    </a:lnTo>
                    <a:lnTo>
                      <a:pt x="143" y="172"/>
                    </a:lnTo>
                    <a:lnTo>
                      <a:pt x="142" y="170"/>
                    </a:lnTo>
                    <a:lnTo>
                      <a:pt x="142" y="172"/>
                    </a:lnTo>
                    <a:lnTo>
                      <a:pt x="140" y="172"/>
                    </a:lnTo>
                    <a:lnTo>
                      <a:pt x="140" y="174"/>
                    </a:lnTo>
                    <a:lnTo>
                      <a:pt x="138" y="174"/>
                    </a:lnTo>
                    <a:lnTo>
                      <a:pt x="138" y="176"/>
                    </a:lnTo>
                    <a:lnTo>
                      <a:pt x="136" y="176"/>
                    </a:lnTo>
                    <a:lnTo>
                      <a:pt x="136" y="174"/>
                    </a:lnTo>
                    <a:lnTo>
                      <a:pt x="136" y="176"/>
                    </a:lnTo>
                    <a:lnTo>
                      <a:pt x="134" y="176"/>
                    </a:lnTo>
                    <a:lnTo>
                      <a:pt x="132" y="178"/>
                    </a:lnTo>
                    <a:lnTo>
                      <a:pt x="130" y="178"/>
                    </a:lnTo>
                    <a:lnTo>
                      <a:pt x="130" y="180"/>
                    </a:lnTo>
                    <a:lnTo>
                      <a:pt x="130" y="182"/>
                    </a:lnTo>
                    <a:lnTo>
                      <a:pt x="130" y="180"/>
                    </a:lnTo>
                    <a:lnTo>
                      <a:pt x="128" y="182"/>
                    </a:lnTo>
                    <a:lnTo>
                      <a:pt x="128" y="180"/>
                    </a:lnTo>
                    <a:lnTo>
                      <a:pt x="126" y="182"/>
                    </a:lnTo>
                    <a:lnTo>
                      <a:pt x="126" y="184"/>
                    </a:lnTo>
                    <a:lnTo>
                      <a:pt x="124" y="186"/>
                    </a:lnTo>
                    <a:lnTo>
                      <a:pt x="122" y="184"/>
                    </a:lnTo>
                    <a:lnTo>
                      <a:pt x="124" y="184"/>
                    </a:lnTo>
                    <a:lnTo>
                      <a:pt x="124" y="182"/>
                    </a:lnTo>
                    <a:lnTo>
                      <a:pt x="124" y="180"/>
                    </a:lnTo>
                    <a:lnTo>
                      <a:pt x="122" y="180"/>
                    </a:lnTo>
                    <a:lnTo>
                      <a:pt x="121" y="180"/>
                    </a:lnTo>
                    <a:lnTo>
                      <a:pt x="119" y="180"/>
                    </a:lnTo>
                    <a:lnTo>
                      <a:pt x="119" y="182"/>
                    </a:lnTo>
                    <a:lnTo>
                      <a:pt x="117" y="182"/>
                    </a:lnTo>
                    <a:lnTo>
                      <a:pt x="115" y="182"/>
                    </a:lnTo>
                    <a:lnTo>
                      <a:pt x="115" y="184"/>
                    </a:lnTo>
                    <a:lnTo>
                      <a:pt x="113" y="184"/>
                    </a:lnTo>
                    <a:lnTo>
                      <a:pt x="111" y="184"/>
                    </a:lnTo>
                    <a:lnTo>
                      <a:pt x="103" y="176"/>
                    </a:lnTo>
                    <a:lnTo>
                      <a:pt x="103" y="174"/>
                    </a:lnTo>
                    <a:lnTo>
                      <a:pt x="101" y="172"/>
                    </a:lnTo>
                    <a:lnTo>
                      <a:pt x="101" y="170"/>
                    </a:lnTo>
                    <a:lnTo>
                      <a:pt x="100" y="166"/>
                    </a:lnTo>
                    <a:lnTo>
                      <a:pt x="100" y="165"/>
                    </a:lnTo>
                    <a:lnTo>
                      <a:pt x="100" y="163"/>
                    </a:lnTo>
                    <a:lnTo>
                      <a:pt x="100" y="161"/>
                    </a:lnTo>
                    <a:lnTo>
                      <a:pt x="98" y="161"/>
                    </a:lnTo>
                    <a:lnTo>
                      <a:pt x="98" y="159"/>
                    </a:lnTo>
                    <a:lnTo>
                      <a:pt x="98" y="157"/>
                    </a:lnTo>
                    <a:lnTo>
                      <a:pt x="96" y="157"/>
                    </a:lnTo>
                    <a:lnTo>
                      <a:pt x="96" y="155"/>
                    </a:lnTo>
                    <a:lnTo>
                      <a:pt x="94" y="155"/>
                    </a:lnTo>
                    <a:lnTo>
                      <a:pt x="94" y="153"/>
                    </a:lnTo>
                    <a:lnTo>
                      <a:pt x="92" y="153"/>
                    </a:lnTo>
                    <a:lnTo>
                      <a:pt x="92" y="151"/>
                    </a:lnTo>
                    <a:lnTo>
                      <a:pt x="90" y="151"/>
                    </a:lnTo>
                    <a:lnTo>
                      <a:pt x="88" y="151"/>
                    </a:lnTo>
                    <a:lnTo>
                      <a:pt x="88" y="149"/>
                    </a:lnTo>
                    <a:lnTo>
                      <a:pt x="94" y="144"/>
                    </a:lnTo>
                    <a:lnTo>
                      <a:pt x="96" y="144"/>
                    </a:lnTo>
                    <a:lnTo>
                      <a:pt x="96" y="142"/>
                    </a:lnTo>
                    <a:lnTo>
                      <a:pt x="96" y="140"/>
                    </a:lnTo>
                    <a:lnTo>
                      <a:pt x="94" y="140"/>
                    </a:lnTo>
                    <a:lnTo>
                      <a:pt x="94" y="138"/>
                    </a:lnTo>
                    <a:lnTo>
                      <a:pt x="94" y="136"/>
                    </a:lnTo>
                    <a:lnTo>
                      <a:pt x="92" y="136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0"/>
                    </a:lnTo>
                    <a:lnTo>
                      <a:pt x="88" y="128"/>
                    </a:lnTo>
                    <a:lnTo>
                      <a:pt x="88" y="126"/>
                    </a:lnTo>
                    <a:lnTo>
                      <a:pt x="88" y="124"/>
                    </a:lnTo>
                    <a:lnTo>
                      <a:pt x="88" y="123"/>
                    </a:lnTo>
                    <a:lnTo>
                      <a:pt x="88" y="121"/>
                    </a:lnTo>
                    <a:lnTo>
                      <a:pt x="88" y="117"/>
                    </a:lnTo>
                    <a:lnTo>
                      <a:pt x="88" y="115"/>
                    </a:lnTo>
                    <a:lnTo>
                      <a:pt x="88" y="113"/>
                    </a:lnTo>
                    <a:lnTo>
                      <a:pt x="88" y="111"/>
                    </a:lnTo>
                    <a:lnTo>
                      <a:pt x="88" y="109"/>
                    </a:lnTo>
                    <a:lnTo>
                      <a:pt x="90" y="109"/>
                    </a:lnTo>
                    <a:lnTo>
                      <a:pt x="92" y="107"/>
                    </a:lnTo>
                    <a:lnTo>
                      <a:pt x="90" y="105"/>
                    </a:lnTo>
                    <a:lnTo>
                      <a:pt x="90" y="104"/>
                    </a:lnTo>
                    <a:lnTo>
                      <a:pt x="92" y="102"/>
                    </a:lnTo>
                    <a:lnTo>
                      <a:pt x="94" y="102"/>
                    </a:lnTo>
                    <a:lnTo>
                      <a:pt x="94" y="100"/>
                    </a:lnTo>
                    <a:lnTo>
                      <a:pt x="94" y="98"/>
                    </a:lnTo>
                    <a:lnTo>
                      <a:pt x="94" y="96"/>
                    </a:lnTo>
                    <a:lnTo>
                      <a:pt x="92" y="96"/>
                    </a:lnTo>
                    <a:lnTo>
                      <a:pt x="90" y="96"/>
                    </a:lnTo>
                    <a:lnTo>
                      <a:pt x="88" y="96"/>
                    </a:lnTo>
                    <a:lnTo>
                      <a:pt x="88" y="94"/>
                    </a:lnTo>
                    <a:lnTo>
                      <a:pt x="86" y="96"/>
                    </a:lnTo>
                    <a:lnTo>
                      <a:pt x="84" y="96"/>
                    </a:lnTo>
                    <a:lnTo>
                      <a:pt x="82" y="96"/>
                    </a:lnTo>
                    <a:lnTo>
                      <a:pt x="81" y="96"/>
                    </a:lnTo>
                    <a:lnTo>
                      <a:pt x="81" y="98"/>
                    </a:lnTo>
                    <a:lnTo>
                      <a:pt x="79" y="96"/>
                    </a:lnTo>
                    <a:lnTo>
                      <a:pt x="77" y="98"/>
                    </a:lnTo>
                    <a:lnTo>
                      <a:pt x="75" y="98"/>
                    </a:lnTo>
                    <a:lnTo>
                      <a:pt x="73" y="98"/>
                    </a:lnTo>
                    <a:lnTo>
                      <a:pt x="71" y="98"/>
                    </a:lnTo>
                    <a:lnTo>
                      <a:pt x="69" y="96"/>
                    </a:lnTo>
                    <a:lnTo>
                      <a:pt x="67" y="96"/>
                    </a:lnTo>
                    <a:lnTo>
                      <a:pt x="67" y="98"/>
                    </a:lnTo>
                    <a:lnTo>
                      <a:pt x="65" y="98"/>
                    </a:lnTo>
                    <a:lnTo>
                      <a:pt x="63" y="98"/>
                    </a:lnTo>
                    <a:lnTo>
                      <a:pt x="61" y="98"/>
                    </a:lnTo>
                    <a:lnTo>
                      <a:pt x="52" y="84"/>
                    </a:lnTo>
                    <a:lnTo>
                      <a:pt x="50" y="84"/>
                    </a:lnTo>
                    <a:lnTo>
                      <a:pt x="48" y="84"/>
                    </a:lnTo>
                    <a:lnTo>
                      <a:pt x="46" y="84"/>
                    </a:lnTo>
                    <a:lnTo>
                      <a:pt x="44" y="83"/>
                    </a:lnTo>
                    <a:lnTo>
                      <a:pt x="42" y="83"/>
                    </a:lnTo>
                    <a:lnTo>
                      <a:pt x="40" y="83"/>
                    </a:lnTo>
                    <a:lnTo>
                      <a:pt x="39" y="83"/>
                    </a:lnTo>
                    <a:lnTo>
                      <a:pt x="39" y="84"/>
                    </a:lnTo>
                    <a:lnTo>
                      <a:pt x="37" y="84"/>
                    </a:lnTo>
                    <a:lnTo>
                      <a:pt x="35" y="84"/>
                    </a:lnTo>
                    <a:lnTo>
                      <a:pt x="37" y="84"/>
                    </a:lnTo>
                    <a:lnTo>
                      <a:pt x="35" y="84"/>
                    </a:lnTo>
                    <a:lnTo>
                      <a:pt x="35" y="83"/>
                    </a:lnTo>
                    <a:lnTo>
                      <a:pt x="35" y="84"/>
                    </a:lnTo>
                    <a:lnTo>
                      <a:pt x="33" y="83"/>
                    </a:lnTo>
                    <a:lnTo>
                      <a:pt x="33" y="84"/>
                    </a:lnTo>
                    <a:lnTo>
                      <a:pt x="33" y="83"/>
                    </a:lnTo>
                    <a:lnTo>
                      <a:pt x="31" y="84"/>
                    </a:lnTo>
                    <a:lnTo>
                      <a:pt x="31" y="83"/>
                    </a:lnTo>
                    <a:lnTo>
                      <a:pt x="31" y="84"/>
                    </a:lnTo>
                    <a:lnTo>
                      <a:pt x="29" y="83"/>
                    </a:lnTo>
                    <a:lnTo>
                      <a:pt x="29" y="84"/>
                    </a:lnTo>
                    <a:lnTo>
                      <a:pt x="29" y="83"/>
                    </a:lnTo>
                    <a:lnTo>
                      <a:pt x="27" y="84"/>
                    </a:lnTo>
                    <a:lnTo>
                      <a:pt x="27" y="83"/>
                    </a:lnTo>
                    <a:lnTo>
                      <a:pt x="25" y="83"/>
                    </a:lnTo>
                    <a:lnTo>
                      <a:pt x="23" y="83"/>
                    </a:lnTo>
                    <a:lnTo>
                      <a:pt x="25" y="83"/>
                    </a:lnTo>
                    <a:lnTo>
                      <a:pt x="23" y="84"/>
                    </a:lnTo>
                    <a:lnTo>
                      <a:pt x="21" y="83"/>
                    </a:lnTo>
                    <a:lnTo>
                      <a:pt x="19" y="81"/>
                    </a:lnTo>
                    <a:lnTo>
                      <a:pt x="19" y="79"/>
                    </a:lnTo>
                    <a:lnTo>
                      <a:pt x="18" y="77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4" y="77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69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2" y="58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8" y="50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2" y="44"/>
                    </a:lnTo>
                    <a:lnTo>
                      <a:pt x="4" y="41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6" y="33"/>
                    </a:lnTo>
                    <a:lnTo>
                      <a:pt x="8" y="33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2" y="21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21" y="8"/>
                    </a:lnTo>
                    <a:lnTo>
                      <a:pt x="25" y="8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1" y="6"/>
                    </a:lnTo>
                    <a:lnTo>
                      <a:pt x="31" y="8"/>
                    </a:lnTo>
                    <a:lnTo>
                      <a:pt x="27" y="8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21" y="14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5" y="21"/>
                    </a:lnTo>
                    <a:lnTo>
                      <a:pt x="27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27" y="29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1" y="35"/>
                    </a:lnTo>
                    <a:lnTo>
                      <a:pt x="21" y="37"/>
                    </a:lnTo>
                    <a:lnTo>
                      <a:pt x="19" y="39"/>
                    </a:lnTo>
                    <a:lnTo>
                      <a:pt x="21" y="42"/>
                    </a:lnTo>
                    <a:lnTo>
                      <a:pt x="21" y="44"/>
                    </a:lnTo>
                    <a:lnTo>
                      <a:pt x="21" y="42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3" y="44"/>
                    </a:lnTo>
                    <a:lnTo>
                      <a:pt x="25" y="44"/>
                    </a:lnTo>
                    <a:lnTo>
                      <a:pt x="25" y="46"/>
                    </a:lnTo>
                    <a:lnTo>
                      <a:pt x="25" y="44"/>
                    </a:lnTo>
                    <a:lnTo>
                      <a:pt x="25" y="46"/>
                    </a:lnTo>
                    <a:lnTo>
                      <a:pt x="25" y="44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9" y="52"/>
                    </a:lnTo>
                    <a:lnTo>
                      <a:pt x="33" y="50"/>
                    </a:lnTo>
                    <a:lnTo>
                      <a:pt x="35" y="48"/>
                    </a:lnTo>
                    <a:lnTo>
                      <a:pt x="37" y="46"/>
                    </a:lnTo>
                    <a:lnTo>
                      <a:pt x="37" y="44"/>
                    </a:lnTo>
                    <a:lnTo>
                      <a:pt x="37" y="42"/>
                    </a:lnTo>
                    <a:lnTo>
                      <a:pt x="37" y="41"/>
                    </a:lnTo>
                    <a:lnTo>
                      <a:pt x="37" y="39"/>
                    </a:lnTo>
                    <a:lnTo>
                      <a:pt x="37" y="37"/>
                    </a:lnTo>
                    <a:lnTo>
                      <a:pt x="35" y="37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31" y="29"/>
                    </a:lnTo>
                    <a:lnTo>
                      <a:pt x="29" y="29"/>
                    </a:lnTo>
                    <a:lnTo>
                      <a:pt x="31" y="27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31" y="23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31" y="20"/>
                    </a:lnTo>
                    <a:lnTo>
                      <a:pt x="31" y="21"/>
                    </a:lnTo>
                    <a:lnTo>
                      <a:pt x="31" y="20"/>
                    </a:lnTo>
                    <a:lnTo>
                      <a:pt x="33" y="20"/>
                    </a:lnTo>
                    <a:lnTo>
                      <a:pt x="35" y="20"/>
                    </a:lnTo>
                    <a:lnTo>
                      <a:pt x="40" y="16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6" y="16"/>
                    </a:lnTo>
                    <a:lnTo>
                      <a:pt x="44" y="16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0" y="10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8" y="10"/>
                    </a:lnTo>
                    <a:lnTo>
                      <a:pt x="60" y="12"/>
                    </a:lnTo>
                    <a:lnTo>
                      <a:pt x="61" y="12"/>
                    </a:lnTo>
                    <a:lnTo>
                      <a:pt x="63" y="12"/>
                    </a:lnTo>
                    <a:lnTo>
                      <a:pt x="65" y="10"/>
                    </a:lnTo>
                    <a:lnTo>
                      <a:pt x="65" y="12"/>
                    </a:lnTo>
                    <a:lnTo>
                      <a:pt x="67" y="12"/>
                    </a:lnTo>
                    <a:lnTo>
                      <a:pt x="69" y="12"/>
                    </a:lnTo>
                    <a:lnTo>
                      <a:pt x="71" y="12"/>
                    </a:lnTo>
                    <a:lnTo>
                      <a:pt x="73" y="14"/>
                    </a:lnTo>
                    <a:lnTo>
                      <a:pt x="75" y="14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81" y="21"/>
                    </a:lnTo>
                    <a:lnTo>
                      <a:pt x="81" y="20"/>
                    </a:lnTo>
                    <a:lnTo>
                      <a:pt x="79" y="20"/>
                    </a:lnTo>
                    <a:lnTo>
                      <a:pt x="79" y="21"/>
                    </a:lnTo>
                    <a:lnTo>
                      <a:pt x="81" y="21"/>
                    </a:lnTo>
                    <a:lnTo>
                      <a:pt x="82" y="21"/>
                    </a:lnTo>
                    <a:lnTo>
                      <a:pt x="81" y="21"/>
                    </a:lnTo>
                    <a:lnTo>
                      <a:pt x="81" y="23"/>
                    </a:lnTo>
                    <a:lnTo>
                      <a:pt x="81" y="25"/>
                    </a:lnTo>
                    <a:lnTo>
                      <a:pt x="82" y="27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6" y="29"/>
                    </a:lnTo>
                    <a:lnTo>
                      <a:pt x="86" y="27"/>
                    </a:lnTo>
                    <a:lnTo>
                      <a:pt x="88" y="27"/>
                    </a:lnTo>
                    <a:lnTo>
                      <a:pt x="88" y="29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4" y="27"/>
                    </a:lnTo>
                    <a:lnTo>
                      <a:pt x="98" y="27"/>
                    </a:lnTo>
                    <a:lnTo>
                      <a:pt x="101" y="25"/>
                    </a:lnTo>
                    <a:lnTo>
                      <a:pt x="103" y="25"/>
                    </a:lnTo>
                    <a:lnTo>
                      <a:pt x="105" y="25"/>
                    </a:lnTo>
                    <a:lnTo>
                      <a:pt x="109" y="25"/>
                    </a:lnTo>
                    <a:lnTo>
                      <a:pt x="111" y="25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7" y="25"/>
                    </a:lnTo>
                    <a:lnTo>
                      <a:pt x="115" y="27"/>
                    </a:lnTo>
                    <a:lnTo>
                      <a:pt x="117" y="29"/>
                    </a:lnTo>
                    <a:lnTo>
                      <a:pt x="119" y="31"/>
                    </a:lnTo>
                    <a:lnTo>
                      <a:pt x="124" y="33"/>
                    </a:lnTo>
                    <a:lnTo>
                      <a:pt x="132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6" y="33"/>
                    </a:lnTo>
                    <a:lnTo>
                      <a:pt x="138" y="33"/>
                    </a:lnTo>
                    <a:lnTo>
                      <a:pt x="138" y="31"/>
                    </a:lnTo>
                    <a:lnTo>
                      <a:pt x="138" y="33"/>
                    </a:lnTo>
                    <a:lnTo>
                      <a:pt x="140" y="31"/>
                    </a:lnTo>
                    <a:lnTo>
                      <a:pt x="142" y="31"/>
                    </a:lnTo>
                    <a:lnTo>
                      <a:pt x="143" y="31"/>
                    </a:lnTo>
                    <a:lnTo>
                      <a:pt x="142" y="31"/>
                    </a:lnTo>
                    <a:lnTo>
                      <a:pt x="143" y="31"/>
                    </a:lnTo>
                    <a:lnTo>
                      <a:pt x="143" y="29"/>
                    </a:lnTo>
                    <a:lnTo>
                      <a:pt x="142" y="29"/>
                    </a:lnTo>
                    <a:lnTo>
                      <a:pt x="143" y="29"/>
                    </a:lnTo>
                    <a:lnTo>
                      <a:pt x="145" y="29"/>
                    </a:lnTo>
                    <a:lnTo>
                      <a:pt x="145" y="27"/>
                    </a:lnTo>
                    <a:lnTo>
                      <a:pt x="147" y="27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51" y="29"/>
                    </a:lnTo>
                    <a:lnTo>
                      <a:pt x="153" y="27"/>
                    </a:lnTo>
                    <a:lnTo>
                      <a:pt x="155" y="27"/>
                    </a:lnTo>
                    <a:lnTo>
                      <a:pt x="153" y="27"/>
                    </a:lnTo>
                    <a:lnTo>
                      <a:pt x="151" y="27"/>
                    </a:lnTo>
                    <a:lnTo>
                      <a:pt x="149" y="27"/>
                    </a:lnTo>
                    <a:lnTo>
                      <a:pt x="149" y="25"/>
                    </a:lnTo>
                    <a:lnTo>
                      <a:pt x="147" y="25"/>
                    </a:lnTo>
                    <a:lnTo>
                      <a:pt x="149" y="25"/>
                    </a:lnTo>
                    <a:lnTo>
                      <a:pt x="147" y="25"/>
                    </a:lnTo>
                    <a:lnTo>
                      <a:pt x="147" y="27"/>
                    </a:lnTo>
                    <a:lnTo>
                      <a:pt x="145" y="27"/>
                    </a:lnTo>
                    <a:lnTo>
                      <a:pt x="143" y="25"/>
                    </a:lnTo>
                    <a:lnTo>
                      <a:pt x="145" y="25"/>
                    </a:lnTo>
                    <a:lnTo>
                      <a:pt x="147" y="25"/>
                    </a:lnTo>
                    <a:lnTo>
                      <a:pt x="149" y="25"/>
                    </a:lnTo>
                    <a:lnTo>
                      <a:pt x="151" y="25"/>
                    </a:lnTo>
                    <a:lnTo>
                      <a:pt x="153" y="25"/>
                    </a:lnTo>
                    <a:lnTo>
                      <a:pt x="151" y="25"/>
                    </a:lnTo>
                    <a:lnTo>
                      <a:pt x="151" y="23"/>
                    </a:lnTo>
                    <a:lnTo>
                      <a:pt x="153" y="25"/>
                    </a:lnTo>
                    <a:lnTo>
                      <a:pt x="157" y="25"/>
                    </a:lnTo>
                    <a:lnTo>
                      <a:pt x="159" y="25"/>
                    </a:lnTo>
                    <a:lnTo>
                      <a:pt x="159" y="23"/>
                    </a:lnTo>
                    <a:lnTo>
                      <a:pt x="159" y="25"/>
                    </a:lnTo>
                    <a:lnTo>
                      <a:pt x="161" y="25"/>
                    </a:lnTo>
                    <a:lnTo>
                      <a:pt x="163" y="23"/>
                    </a:lnTo>
                    <a:lnTo>
                      <a:pt x="164" y="23"/>
                    </a:lnTo>
                    <a:lnTo>
                      <a:pt x="166" y="23"/>
                    </a:lnTo>
                    <a:lnTo>
                      <a:pt x="168" y="23"/>
                    </a:lnTo>
                    <a:lnTo>
                      <a:pt x="170" y="23"/>
                    </a:lnTo>
                    <a:lnTo>
                      <a:pt x="176" y="23"/>
                    </a:lnTo>
                    <a:lnTo>
                      <a:pt x="176" y="25"/>
                    </a:lnTo>
                    <a:lnTo>
                      <a:pt x="178" y="23"/>
                    </a:lnTo>
                    <a:lnTo>
                      <a:pt x="178" y="25"/>
                    </a:lnTo>
                    <a:lnTo>
                      <a:pt x="178" y="23"/>
                    </a:lnTo>
                    <a:lnTo>
                      <a:pt x="180" y="23"/>
                    </a:lnTo>
                    <a:lnTo>
                      <a:pt x="182" y="23"/>
                    </a:lnTo>
                    <a:lnTo>
                      <a:pt x="183" y="23"/>
                    </a:lnTo>
                    <a:lnTo>
                      <a:pt x="182" y="23"/>
                    </a:lnTo>
                    <a:lnTo>
                      <a:pt x="182" y="25"/>
                    </a:lnTo>
                    <a:lnTo>
                      <a:pt x="182" y="23"/>
                    </a:lnTo>
                    <a:lnTo>
                      <a:pt x="182" y="25"/>
                    </a:lnTo>
                    <a:lnTo>
                      <a:pt x="180" y="25"/>
                    </a:lnTo>
                    <a:lnTo>
                      <a:pt x="178" y="25"/>
                    </a:lnTo>
                    <a:lnTo>
                      <a:pt x="176" y="25"/>
                    </a:lnTo>
                    <a:lnTo>
                      <a:pt x="176" y="27"/>
                    </a:lnTo>
                    <a:lnTo>
                      <a:pt x="174" y="27"/>
                    </a:lnTo>
                    <a:lnTo>
                      <a:pt x="172" y="27"/>
                    </a:lnTo>
                    <a:lnTo>
                      <a:pt x="170" y="25"/>
                    </a:lnTo>
                    <a:lnTo>
                      <a:pt x="170" y="27"/>
                    </a:lnTo>
                    <a:lnTo>
                      <a:pt x="168" y="27"/>
                    </a:lnTo>
                    <a:lnTo>
                      <a:pt x="166" y="27"/>
                    </a:lnTo>
                    <a:lnTo>
                      <a:pt x="168" y="27"/>
                    </a:lnTo>
                    <a:lnTo>
                      <a:pt x="168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70" y="33"/>
                    </a:lnTo>
                    <a:lnTo>
                      <a:pt x="170" y="31"/>
                    </a:lnTo>
                    <a:lnTo>
                      <a:pt x="172" y="33"/>
                    </a:lnTo>
                    <a:lnTo>
                      <a:pt x="174" y="37"/>
                    </a:lnTo>
                    <a:lnTo>
                      <a:pt x="176" y="37"/>
                    </a:lnTo>
                    <a:lnTo>
                      <a:pt x="178" y="35"/>
                    </a:lnTo>
                    <a:lnTo>
                      <a:pt x="180" y="37"/>
                    </a:lnTo>
                    <a:lnTo>
                      <a:pt x="182" y="37"/>
                    </a:lnTo>
                    <a:lnTo>
                      <a:pt x="183" y="39"/>
                    </a:lnTo>
                    <a:lnTo>
                      <a:pt x="185" y="39"/>
                    </a:lnTo>
                    <a:lnTo>
                      <a:pt x="187" y="39"/>
                    </a:lnTo>
                    <a:lnTo>
                      <a:pt x="185" y="39"/>
                    </a:lnTo>
                    <a:lnTo>
                      <a:pt x="187" y="39"/>
                    </a:lnTo>
                    <a:lnTo>
                      <a:pt x="185" y="37"/>
                    </a:lnTo>
                    <a:lnTo>
                      <a:pt x="187" y="39"/>
                    </a:lnTo>
                    <a:lnTo>
                      <a:pt x="189" y="39"/>
                    </a:lnTo>
                    <a:lnTo>
                      <a:pt x="193" y="42"/>
                    </a:lnTo>
                    <a:lnTo>
                      <a:pt x="197" y="42"/>
                    </a:lnTo>
                    <a:lnTo>
                      <a:pt x="197" y="44"/>
                    </a:lnTo>
                    <a:lnTo>
                      <a:pt x="199" y="44"/>
                    </a:lnTo>
                    <a:lnTo>
                      <a:pt x="199" y="46"/>
                    </a:lnTo>
                    <a:lnTo>
                      <a:pt x="201" y="46"/>
                    </a:lnTo>
                    <a:lnTo>
                      <a:pt x="199" y="46"/>
                    </a:lnTo>
                    <a:lnTo>
                      <a:pt x="199" y="48"/>
                    </a:lnTo>
                    <a:lnTo>
                      <a:pt x="197" y="48"/>
                    </a:lnTo>
                    <a:lnTo>
                      <a:pt x="199" y="48"/>
                    </a:lnTo>
                    <a:lnTo>
                      <a:pt x="201" y="48"/>
                    </a:lnTo>
                    <a:lnTo>
                      <a:pt x="201" y="50"/>
                    </a:lnTo>
                    <a:lnTo>
                      <a:pt x="199" y="50"/>
                    </a:lnTo>
                    <a:lnTo>
                      <a:pt x="201" y="50"/>
                    </a:lnTo>
                    <a:lnTo>
                      <a:pt x="199" y="52"/>
                    </a:lnTo>
                    <a:lnTo>
                      <a:pt x="201" y="52"/>
                    </a:lnTo>
                    <a:lnTo>
                      <a:pt x="199" y="54"/>
                    </a:lnTo>
                    <a:lnTo>
                      <a:pt x="201" y="54"/>
                    </a:lnTo>
                    <a:lnTo>
                      <a:pt x="199" y="56"/>
                    </a:lnTo>
                    <a:lnTo>
                      <a:pt x="201" y="54"/>
                    </a:lnTo>
                    <a:lnTo>
                      <a:pt x="201" y="56"/>
                    </a:lnTo>
                    <a:lnTo>
                      <a:pt x="199" y="56"/>
                    </a:lnTo>
                    <a:lnTo>
                      <a:pt x="201" y="56"/>
                    </a:lnTo>
                    <a:lnTo>
                      <a:pt x="199" y="58"/>
                    </a:lnTo>
                    <a:lnTo>
                      <a:pt x="197" y="58"/>
                    </a:lnTo>
                    <a:lnTo>
                      <a:pt x="197" y="60"/>
                    </a:lnTo>
                    <a:lnTo>
                      <a:pt x="195" y="60"/>
                    </a:lnTo>
                    <a:lnTo>
                      <a:pt x="197" y="60"/>
                    </a:lnTo>
                    <a:lnTo>
                      <a:pt x="197" y="58"/>
                    </a:lnTo>
                    <a:lnTo>
                      <a:pt x="199" y="58"/>
                    </a:lnTo>
                    <a:lnTo>
                      <a:pt x="201" y="58"/>
                    </a:lnTo>
                    <a:lnTo>
                      <a:pt x="203" y="60"/>
                    </a:lnTo>
                    <a:lnTo>
                      <a:pt x="204" y="60"/>
                    </a:lnTo>
                    <a:lnTo>
                      <a:pt x="206" y="58"/>
                    </a:lnTo>
                    <a:lnTo>
                      <a:pt x="210" y="58"/>
                    </a:lnTo>
                    <a:lnTo>
                      <a:pt x="212" y="58"/>
                    </a:lnTo>
                    <a:lnTo>
                      <a:pt x="212" y="60"/>
                    </a:lnTo>
                    <a:close/>
                    <a:moveTo>
                      <a:pt x="151" y="18"/>
                    </a:moveTo>
                    <a:lnTo>
                      <a:pt x="153" y="20"/>
                    </a:lnTo>
                    <a:lnTo>
                      <a:pt x="151" y="20"/>
                    </a:lnTo>
                    <a:lnTo>
                      <a:pt x="151" y="21"/>
                    </a:lnTo>
                    <a:lnTo>
                      <a:pt x="149" y="21"/>
                    </a:lnTo>
                    <a:lnTo>
                      <a:pt x="151" y="21"/>
                    </a:lnTo>
                    <a:lnTo>
                      <a:pt x="149" y="20"/>
                    </a:lnTo>
                    <a:lnTo>
                      <a:pt x="149" y="21"/>
                    </a:lnTo>
                    <a:lnTo>
                      <a:pt x="147" y="21"/>
                    </a:lnTo>
                    <a:lnTo>
                      <a:pt x="147" y="20"/>
                    </a:lnTo>
                    <a:lnTo>
                      <a:pt x="147" y="21"/>
                    </a:lnTo>
                    <a:lnTo>
                      <a:pt x="145" y="20"/>
                    </a:lnTo>
                    <a:lnTo>
                      <a:pt x="147" y="20"/>
                    </a:lnTo>
                    <a:lnTo>
                      <a:pt x="145" y="20"/>
                    </a:lnTo>
                    <a:lnTo>
                      <a:pt x="142" y="20"/>
                    </a:lnTo>
                    <a:lnTo>
                      <a:pt x="143" y="20"/>
                    </a:lnTo>
                    <a:lnTo>
                      <a:pt x="143" y="18"/>
                    </a:lnTo>
                    <a:lnTo>
                      <a:pt x="145" y="18"/>
                    </a:lnTo>
                    <a:lnTo>
                      <a:pt x="145" y="20"/>
                    </a:lnTo>
                    <a:lnTo>
                      <a:pt x="147" y="20"/>
                    </a:lnTo>
                    <a:lnTo>
                      <a:pt x="149" y="20"/>
                    </a:lnTo>
                    <a:lnTo>
                      <a:pt x="149" y="18"/>
                    </a:lnTo>
                    <a:lnTo>
                      <a:pt x="151" y="16"/>
                    </a:lnTo>
                    <a:lnTo>
                      <a:pt x="151" y="18"/>
                    </a:lnTo>
                    <a:close/>
                    <a:moveTo>
                      <a:pt x="128" y="20"/>
                    </a:moveTo>
                    <a:lnTo>
                      <a:pt x="130" y="20"/>
                    </a:lnTo>
                    <a:lnTo>
                      <a:pt x="130" y="21"/>
                    </a:lnTo>
                    <a:lnTo>
                      <a:pt x="128" y="21"/>
                    </a:lnTo>
                    <a:lnTo>
                      <a:pt x="126" y="21"/>
                    </a:lnTo>
                    <a:lnTo>
                      <a:pt x="126" y="20"/>
                    </a:lnTo>
                    <a:lnTo>
                      <a:pt x="128" y="20"/>
                    </a:lnTo>
                    <a:close/>
                    <a:moveTo>
                      <a:pt x="138" y="4"/>
                    </a:moveTo>
                    <a:lnTo>
                      <a:pt x="140" y="4"/>
                    </a:lnTo>
                    <a:lnTo>
                      <a:pt x="140" y="6"/>
                    </a:lnTo>
                    <a:lnTo>
                      <a:pt x="138" y="6"/>
                    </a:lnTo>
                    <a:lnTo>
                      <a:pt x="138" y="4"/>
                    </a:lnTo>
                    <a:close/>
                    <a:moveTo>
                      <a:pt x="149" y="21"/>
                    </a:moveTo>
                    <a:lnTo>
                      <a:pt x="151" y="21"/>
                    </a:lnTo>
                    <a:lnTo>
                      <a:pt x="151" y="23"/>
                    </a:lnTo>
                    <a:lnTo>
                      <a:pt x="149" y="23"/>
                    </a:lnTo>
                    <a:lnTo>
                      <a:pt x="149" y="21"/>
                    </a:lnTo>
                    <a:close/>
                    <a:moveTo>
                      <a:pt x="113" y="6"/>
                    </a:moveTo>
                    <a:lnTo>
                      <a:pt x="115" y="6"/>
                    </a:lnTo>
                    <a:lnTo>
                      <a:pt x="113" y="6"/>
                    </a:lnTo>
                    <a:close/>
                    <a:moveTo>
                      <a:pt x="145" y="21"/>
                    </a:moveTo>
                    <a:lnTo>
                      <a:pt x="147" y="21"/>
                    </a:lnTo>
                    <a:lnTo>
                      <a:pt x="147" y="23"/>
                    </a:lnTo>
                    <a:lnTo>
                      <a:pt x="145" y="23"/>
                    </a:lnTo>
                    <a:lnTo>
                      <a:pt x="145" y="21"/>
                    </a:lnTo>
                    <a:close/>
                    <a:moveTo>
                      <a:pt x="105" y="6"/>
                    </a:moveTo>
                    <a:lnTo>
                      <a:pt x="107" y="6"/>
                    </a:lnTo>
                    <a:lnTo>
                      <a:pt x="105" y="6"/>
                    </a:lnTo>
                    <a:close/>
                    <a:moveTo>
                      <a:pt x="27" y="20"/>
                    </a:moveTo>
                    <a:lnTo>
                      <a:pt x="29" y="20"/>
                    </a:lnTo>
                    <a:lnTo>
                      <a:pt x="27" y="20"/>
                    </a:lnTo>
                    <a:close/>
                    <a:moveTo>
                      <a:pt x="138" y="31"/>
                    </a:moveTo>
                    <a:lnTo>
                      <a:pt x="140" y="31"/>
                    </a:lnTo>
                    <a:lnTo>
                      <a:pt x="138" y="31"/>
                    </a:lnTo>
                    <a:close/>
                    <a:moveTo>
                      <a:pt x="136" y="31"/>
                    </a:moveTo>
                    <a:lnTo>
                      <a:pt x="138" y="31"/>
                    </a:lnTo>
                    <a:lnTo>
                      <a:pt x="136" y="31"/>
                    </a:lnTo>
                    <a:close/>
                    <a:moveTo>
                      <a:pt x="103" y="6"/>
                    </a:moveTo>
                    <a:lnTo>
                      <a:pt x="105" y="6"/>
                    </a:lnTo>
                    <a:lnTo>
                      <a:pt x="103" y="6"/>
                    </a:lnTo>
                    <a:close/>
                    <a:moveTo>
                      <a:pt x="115" y="4"/>
                    </a:moveTo>
                    <a:lnTo>
                      <a:pt x="115" y="6"/>
                    </a:lnTo>
                    <a:lnTo>
                      <a:pt x="115" y="4"/>
                    </a:lnTo>
                    <a:close/>
                    <a:moveTo>
                      <a:pt x="81" y="21"/>
                    </a:moveTo>
                    <a:lnTo>
                      <a:pt x="81" y="23"/>
                    </a:lnTo>
                    <a:lnTo>
                      <a:pt x="81" y="21"/>
                    </a:lnTo>
                    <a:close/>
                    <a:moveTo>
                      <a:pt x="138" y="31"/>
                    </a:moveTo>
                    <a:lnTo>
                      <a:pt x="140" y="31"/>
                    </a:lnTo>
                    <a:lnTo>
                      <a:pt x="138" y="31"/>
                    </a:lnTo>
                    <a:close/>
                    <a:moveTo>
                      <a:pt x="105" y="4"/>
                    </a:moveTo>
                    <a:lnTo>
                      <a:pt x="107" y="4"/>
                    </a:lnTo>
                    <a:lnTo>
                      <a:pt x="105" y="4"/>
                    </a:lnTo>
                    <a:close/>
                    <a:moveTo>
                      <a:pt x="27" y="20"/>
                    </a:moveTo>
                    <a:lnTo>
                      <a:pt x="27" y="21"/>
                    </a:lnTo>
                    <a:lnTo>
                      <a:pt x="27" y="20"/>
                    </a:lnTo>
                    <a:close/>
                    <a:moveTo>
                      <a:pt x="103" y="6"/>
                    </a:moveTo>
                    <a:lnTo>
                      <a:pt x="105" y="6"/>
                    </a:lnTo>
                    <a:lnTo>
                      <a:pt x="105" y="8"/>
                    </a:lnTo>
                    <a:lnTo>
                      <a:pt x="103" y="8"/>
                    </a:lnTo>
                    <a:lnTo>
                      <a:pt x="103" y="6"/>
                    </a:lnTo>
                    <a:close/>
                    <a:moveTo>
                      <a:pt x="103" y="4"/>
                    </a:moveTo>
                    <a:lnTo>
                      <a:pt x="105" y="4"/>
                    </a:lnTo>
                    <a:lnTo>
                      <a:pt x="103" y="4"/>
                    </a:lnTo>
                    <a:close/>
                    <a:moveTo>
                      <a:pt x="90" y="2"/>
                    </a:moveTo>
                    <a:lnTo>
                      <a:pt x="90" y="4"/>
                    </a:lnTo>
                    <a:lnTo>
                      <a:pt x="90" y="2"/>
                    </a:lnTo>
                    <a:close/>
                    <a:moveTo>
                      <a:pt x="21" y="42"/>
                    </a:moveTo>
                    <a:lnTo>
                      <a:pt x="23" y="42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1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8" name="Freeform 79">
                <a:extLst>
                  <a:ext uri="{FF2B5EF4-FFF2-40B4-BE49-F238E27FC236}">
                    <a16:creationId xmlns:a16="http://schemas.microsoft.com/office/drawing/2014/main" id="{C7854128-3E1F-251A-B823-FF94AAB86B3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48568" y="-2097561"/>
                <a:ext cx="34181" cy="32853"/>
              </a:xfrm>
              <a:custGeom>
                <a:avLst/>
                <a:gdLst>
                  <a:gd name="T0" fmla="*/ 15 w 22"/>
                  <a:gd name="T1" fmla="*/ 7 h 21"/>
                  <a:gd name="T2" fmla="*/ 17 w 22"/>
                  <a:gd name="T3" fmla="*/ 7 h 21"/>
                  <a:gd name="T4" fmla="*/ 15 w 22"/>
                  <a:gd name="T5" fmla="*/ 9 h 21"/>
                  <a:gd name="T6" fmla="*/ 13 w 22"/>
                  <a:gd name="T7" fmla="*/ 11 h 21"/>
                  <a:gd name="T8" fmla="*/ 15 w 22"/>
                  <a:gd name="T9" fmla="*/ 13 h 21"/>
                  <a:gd name="T10" fmla="*/ 13 w 22"/>
                  <a:gd name="T11" fmla="*/ 13 h 21"/>
                  <a:gd name="T12" fmla="*/ 15 w 22"/>
                  <a:gd name="T13" fmla="*/ 15 h 21"/>
                  <a:gd name="T14" fmla="*/ 15 w 22"/>
                  <a:gd name="T15" fmla="*/ 17 h 21"/>
                  <a:gd name="T16" fmla="*/ 15 w 22"/>
                  <a:gd name="T17" fmla="*/ 15 h 21"/>
                  <a:gd name="T18" fmla="*/ 15 w 22"/>
                  <a:gd name="T19" fmla="*/ 17 h 21"/>
                  <a:gd name="T20" fmla="*/ 15 w 22"/>
                  <a:gd name="T21" fmla="*/ 19 h 21"/>
                  <a:gd name="T22" fmla="*/ 13 w 22"/>
                  <a:gd name="T23" fmla="*/ 19 h 21"/>
                  <a:gd name="T24" fmla="*/ 11 w 22"/>
                  <a:gd name="T25" fmla="*/ 21 h 21"/>
                  <a:gd name="T26" fmla="*/ 9 w 22"/>
                  <a:gd name="T27" fmla="*/ 21 h 21"/>
                  <a:gd name="T28" fmla="*/ 5 w 22"/>
                  <a:gd name="T29" fmla="*/ 21 h 21"/>
                  <a:gd name="T30" fmla="*/ 3 w 22"/>
                  <a:gd name="T31" fmla="*/ 21 h 21"/>
                  <a:gd name="T32" fmla="*/ 1 w 22"/>
                  <a:gd name="T33" fmla="*/ 21 h 21"/>
                  <a:gd name="T34" fmla="*/ 0 w 22"/>
                  <a:gd name="T35" fmla="*/ 21 h 21"/>
                  <a:gd name="T36" fmla="*/ 1 w 22"/>
                  <a:gd name="T37" fmla="*/ 19 h 21"/>
                  <a:gd name="T38" fmla="*/ 3 w 22"/>
                  <a:gd name="T39" fmla="*/ 19 h 21"/>
                  <a:gd name="T40" fmla="*/ 3 w 22"/>
                  <a:gd name="T41" fmla="*/ 17 h 21"/>
                  <a:gd name="T42" fmla="*/ 5 w 22"/>
                  <a:gd name="T43" fmla="*/ 17 h 21"/>
                  <a:gd name="T44" fmla="*/ 7 w 22"/>
                  <a:gd name="T45" fmla="*/ 17 h 21"/>
                  <a:gd name="T46" fmla="*/ 7 w 22"/>
                  <a:gd name="T47" fmla="*/ 15 h 21"/>
                  <a:gd name="T48" fmla="*/ 7 w 22"/>
                  <a:gd name="T49" fmla="*/ 13 h 21"/>
                  <a:gd name="T50" fmla="*/ 7 w 22"/>
                  <a:gd name="T51" fmla="*/ 11 h 21"/>
                  <a:gd name="T52" fmla="*/ 5 w 22"/>
                  <a:gd name="T53" fmla="*/ 11 h 21"/>
                  <a:gd name="T54" fmla="*/ 5 w 22"/>
                  <a:gd name="T55" fmla="*/ 9 h 21"/>
                  <a:gd name="T56" fmla="*/ 5 w 22"/>
                  <a:gd name="T57" fmla="*/ 11 h 21"/>
                  <a:gd name="T58" fmla="*/ 3 w 22"/>
                  <a:gd name="T59" fmla="*/ 11 h 21"/>
                  <a:gd name="T60" fmla="*/ 3 w 22"/>
                  <a:gd name="T61" fmla="*/ 9 h 21"/>
                  <a:gd name="T62" fmla="*/ 5 w 22"/>
                  <a:gd name="T63" fmla="*/ 9 h 21"/>
                  <a:gd name="T64" fmla="*/ 7 w 22"/>
                  <a:gd name="T65" fmla="*/ 9 h 21"/>
                  <a:gd name="T66" fmla="*/ 9 w 22"/>
                  <a:gd name="T67" fmla="*/ 7 h 21"/>
                  <a:gd name="T68" fmla="*/ 9 w 22"/>
                  <a:gd name="T69" fmla="*/ 9 h 21"/>
                  <a:gd name="T70" fmla="*/ 11 w 22"/>
                  <a:gd name="T71" fmla="*/ 9 h 21"/>
                  <a:gd name="T72" fmla="*/ 13 w 22"/>
                  <a:gd name="T73" fmla="*/ 7 h 21"/>
                  <a:gd name="T74" fmla="*/ 15 w 22"/>
                  <a:gd name="T75" fmla="*/ 7 h 21"/>
                  <a:gd name="T76" fmla="*/ 22 w 22"/>
                  <a:gd name="T77" fmla="*/ 0 h 21"/>
                  <a:gd name="T78" fmla="*/ 22 w 22"/>
                  <a:gd name="T79" fmla="*/ 2 h 21"/>
                  <a:gd name="T80" fmla="*/ 21 w 22"/>
                  <a:gd name="T81" fmla="*/ 2 h 21"/>
                  <a:gd name="T82" fmla="*/ 19 w 22"/>
                  <a:gd name="T83" fmla="*/ 2 h 21"/>
                  <a:gd name="T84" fmla="*/ 19 w 22"/>
                  <a:gd name="T85" fmla="*/ 4 h 21"/>
                  <a:gd name="T86" fmla="*/ 17 w 22"/>
                  <a:gd name="T87" fmla="*/ 4 h 21"/>
                  <a:gd name="T88" fmla="*/ 17 w 22"/>
                  <a:gd name="T89" fmla="*/ 2 h 21"/>
                  <a:gd name="T90" fmla="*/ 19 w 22"/>
                  <a:gd name="T91" fmla="*/ 2 h 21"/>
                  <a:gd name="T92" fmla="*/ 19 w 22"/>
                  <a:gd name="T93" fmla="*/ 0 h 21"/>
                  <a:gd name="T94" fmla="*/ 21 w 22"/>
                  <a:gd name="T95" fmla="*/ 0 h 21"/>
                  <a:gd name="T96" fmla="*/ 22 w 22"/>
                  <a:gd name="T97" fmla="*/ 0 h 21"/>
                  <a:gd name="T98" fmla="*/ 21 w 22"/>
                  <a:gd name="T99" fmla="*/ 0 h 21"/>
                  <a:gd name="T100" fmla="*/ 22 w 22"/>
                  <a:gd name="T101" fmla="*/ 0 h 21"/>
                  <a:gd name="T102" fmla="*/ 3 w 22"/>
                  <a:gd name="T103" fmla="*/ 9 h 21"/>
                  <a:gd name="T104" fmla="*/ 3 w 22"/>
                  <a:gd name="T105" fmla="*/ 11 h 21"/>
                  <a:gd name="T106" fmla="*/ 3 w 22"/>
                  <a:gd name="T107" fmla="*/ 9 h 21"/>
                  <a:gd name="T108" fmla="*/ 1 w 22"/>
                  <a:gd name="T109" fmla="*/ 9 h 21"/>
                  <a:gd name="T110" fmla="*/ 3 w 22"/>
                  <a:gd name="T111" fmla="*/ 9 h 21"/>
                  <a:gd name="T112" fmla="*/ 3 w 22"/>
                  <a:gd name="T113" fmla="*/ 11 h 21"/>
                  <a:gd name="T114" fmla="*/ 1 w 22"/>
                  <a:gd name="T115" fmla="*/ 11 h 21"/>
                  <a:gd name="T116" fmla="*/ 1 w 22"/>
                  <a:gd name="T117" fmla="*/ 9 h 21"/>
                  <a:gd name="T118" fmla="*/ 3 w 22"/>
                  <a:gd name="T119" fmla="*/ 9 h 21"/>
                  <a:gd name="T120" fmla="*/ 3 w 22"/>
                  <a:gd name="T121" fmla="*/ 11 h 21"/>
                  <a:gd name="T122" fmla="*/ 3 w 22"/>
                  <a:gd name="T123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2" h="21">
                    <a:moveTo>
                      <a:pt x="15" y="7"/>
                    </a:moveTo>
                    <a:lnTo>
                      <a:pt x="17" y="7"/>
                    </a:lnTo>
                    <a:lnTo>
                      <a:pt x="15" y="9"/>
                    </a:lnTo>
                    <a:lnTo>
                      <a:pt x="13" y="11"/>
                    </a:lnTo>
                    <a:lnTo>
                      <a:pt x="15" y="13"/>
                    </a:lnTo>
                    <a:lnTo>
                      <a:pt x="13" y="13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3" y="19"/>
                    </a:lnTo>
                    <a:lnTo>
                      <a:pt x="11" y="21"/>
                    </a:lnTo>
                    <a:lnTo>
                      <a:pt x="9" y="21"/>
                    </a:lnTo>
                    <a:lnTo>
                      <a:pt x="5" y="21"/>
                    </a:lnTo>
                    <a:lnTo>
                      <a:pt x="3" y="21"/>
                    </a:lnTo>
                    <a:lnTo>
                      <a:pt x="1" y="21"/>
                    </a:lnTo>
                    <a:lnTo>
                      <a:pt x="0" y="21"/>
                    </a:lnTo>
                    <a:lnTo>
                      <a:pt x="1" y="19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5" y="11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11" y="9"/>
                    </a:lnTo>
                    <a:lnTo>
                      <a:pt x="13" y="7"/>
                    </a:lnTo>
                    <a:lnTo>
                      <a:pt x="15" y="7"/>
                    </a:lnTo>
                    <a:close/>
                    <a:moveTo>
                      <a:pt x="22" y="0"/>
                    </a:moveTo>
                    <a:lnTo>
                      <a:pt x="22" y="2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22" y="0"/>
                    </a:lnTo>
                    <a:close/>
                    <a:moveTo>
                      <a:pt x="3" y="9"/>
                    </a:moveTo>
                    <a:lnTo>
                      <a:pt x="3" y="11"/>
                    </a:lnTo>
                    <a:lnTo>
                      <a:pt x="3" y="9"/>
                    </a:lnTo>
                    <a:close/>
                    <a:moveTo>
                      <a:pt x="1" y="9"/>
                    </a:moveTo>
                    <a:lnTo>
                      <a:pt x="3" y="9"/>
                    </a:lnTo>
                    <a:lnTo>
                      <a:pt x="3" y="11"/>
                    </a:lnTo>
                    <a:lnTo>
                      <a:pt x="1" y="11"/>
                    </a:lnTo>
                    <a:lnTo>
                      <a:pt x="1" y="9"/>
                    </a:lnTo>
                    <a:close/>
                    <a:moveTo>
                      <a:pt x="3" y="9"/>
                    </a:moveTo>
                    <a:lnTo>
                      <a:pt x="3" y="11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9" name="Freeform 80">
                <a:extLst>
                  <a:ext uri="{FF2B5EF4-FFF2-40B4-BE49-F238E27FC236}">
                    <a16:creationId xmlns:a16="http://schemas.microsoft.com/office/drawing/2014/main" id="{E9B9832D-82E3-0FF9-7BAE-08777EB18D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1898" y="-1956766"/>
                <a:ext cx="71468" cy="89172"/>
              </a:xfrm>
              <a:custGeom>
                <a:avLst/>
                <a:gdLst>
                  <a:gd name="T0" fmla="*/ 44 w 46"/>
                  <a:gd name="T1" fmla="*/ 28 h 57"/>
                  <a:gd name="T2" fmla="*/ 42 w 46"/>
                  <a:gd name="T3" fmla="*/ 30 h 57"/>
                  <a:gd name="T4" fmla="*/ 40 w 46"/>
                  <a:gd name="T5" fmla="*/ 32 h 57"/>
                  <a:gd name="T6" fmla="*/ 38 w 46"/>
                  <a:gd name="T7" fmla="*/ 36 h 57"/>
                  <a:gd name="T8" fmla="*/ 34 w 46"/>
                  <a:gd name="T9" fmla="*/ 40 h 57"/>
                  <a:gd name="T10" fmla="*/ 34 w 46"/>
                  <a:gd name="T11" fmla="*/ 43 h 57"/>
                  <a:gd name="T12" fmla="*/ 32 w 46"/>
                  <a:gd name="T13" fmla="*/ 45 h 57"/>
                  <a:gd name="T14" fmla="*/ 30 w 46"/>
                  <a:gd name="T15" fmla="*/ 51 h 57"/>
                  <a:gd name="T16" fmla="*/ 28 w 46"/>
                  <a:gd name="T17" fmla="*/ 53 h 57"/>
                  <a:gd name="T18" fmla="*/ 25 w 46"/>
                  <a:gd name="T19" fmla="*/ 57 h 57"/>
                  <a:gd name="T20" fmla="*/ 19 w 46"/>
                  <a:gd name="T21" fmla="*/ 57 h 57"/>
                  <a:gd name="T22" fmla="*/ 19 w 46"/>
                  <a:gd name="T23" fmla="*/ 55 h 57"/>
                  <a:gd name="T24" fmla="*/ 15 w 46"/>
                  <a:gd name="T25" fmla="*/ 55 h 57"/>
                  <a:gd name="T26" fmla="*/ 11 w 46"/>
                  <a:gd name="T27" fmla="*/ 55 h 57"/>
                  <a:gd name="T28" fmla="*/ 11 w 46"/>
                  <a:gd name="T29" fmla="*/ 55 h 57"/>
                  <a:gd name="T30" fmla="*/ 9 w 46"/>
                  <a:gd name="T31" fmla="*/ 57 h 57"/>
                  <a:gd name="T32" fmla="*/ 6 w 46"/>
                  <a:gd name="T33" fmla="*/ 57 h 57"/>
                  <a:gd name="T34" fmla="*/ 2 w 46"/>
                  <a:gd name="T35" fmla="*/ 57 h 57"/>
                  <a:gd name="T36" fmla="*/ 0 w 46"/>
                  <a:gd name="T37" fmla="*/ 55 h 57"/>
                  <a:gd name="T38" fmla="*/ 2 w 46"/>
                  <a:gd name="T39" fmla="*/ 53 h 57"/>
                  <a:gd name="T40" fmla="*/ 4 w 46"/>
                  <a:gd name="T41" fmla="*/ 49 h 57"/>
                  <a:gd name="T42" fmla="*/ 4 w 46"/>
                  <a:gd name="T43" fmla="*/ 49 h 57"/>
                  <a:gd name="T44" fmla="*/ 6 w 46"/>
                  <a:gd name="T45" fmla="*/ 47 h 57"/>
                  <a:gd name="T46" fmla="*/ 6 w 46"/>
                  <a:gd name="T47" fmla="*/ 43 h 57"/>
                  <a:gd name="T48" fmla="*/ 4 w 46"/>
                  <a:gd name="T49" fmla="*/ 41 h 57"/>
                  <a:gd name="T50" fmla="*/ 7 w 46"/>
                  <a:gd name="T51" fmla="*/ 40 h 57"/>
                  <a:gd name="T52" fmla="*/ 7 w 46"/>
                  <a:gd name="T53" fmla="*/ 34 h 57"/>
                  <a:gd name="T54" fmla="*/ 6 w 46"/>
                  <a:gd name="T55" fmla="*/ 32 h 57"/>
                  <a:gd name="T56" fmla="*/ 6 w 46"/>
                  <a:gd name="T57" fmla="*/ 30 h 57"/>
                  <a:gd name="T58" fmla="*/ 4 w 46"/>
                  <a:gd name="T59" fmla="*/ 28 h 57"/>
                  <a:gd name="T60" fmla="*/ 2 w 46"/>
                  <a:gd name="T61" fmla="*/ 24 h 57"/>
                  <a:gd name="T62" fmla="*/ 0 w 46"/>
                  <a:gd name="T63" fmla="*/ 22 h 57"/>
                  <a:gd name="T64" fmla="*/ 0 w 46"/>
                  <a:gd name="T65" fmla="*/ 19 h 57"/>
                  <a:gd name="T66" fmla="*/ 2 w 46"/>
                  <a:gd name="T67" fmla="*/ 17 h 57"/>
                  <a:gd name="T68" fmla="*/ 0 w 46"/>
                  <a:gd name="T69" fmla="*/ 15 h 57"/>
                  <a:gd name="T70" fmla="*/ 0 w 46"/>
                  <a:gd name="T71" fmla="*/ 11 h 57"/>
                  <a:gd name="T72" fmla="*/ 4 w 46"/>
                  <a:gd name="T73" fmla="*/ 7 h 57"/>
                  <a:gd name="T74" fmla="*/ 7 w 46"/>
                  <a:gd name="T75" fmla="*/ 3 h 57"/>
                  <a:gd name="T76" fmla="*/ 7 w 46"/>
                  <a:gd name="T77" fmla="*/ 0 h 57"/>
                  <a:gd name="T78" fmla="*/ 11 w 46"/>
                  <a:gd name="T79" fmla="*/ 0 h 57"/>
                  <a:gd name="T80" fmla="*/ 19 w 46"/>
                  <a:gd name="T81" fmla="*/ 3 h 57"/>
                  <a:gd name="T82" fmla="*/ 25 w 46"/>
                  <a:gd name="T83" fmla="*/ 5 h 57"/>
                  <a:gd name="T84" fmla="*/ 25 w 46"/>
                  <a:gd name="T85" fmla="*/ 5 h 57"/>
                  <a:gd name="T86" fmla="*/ 27 w 46"/>
                  <a:gd name="T87" fmla="*/ 7 h 57"/>
                  <a:gd name="T88" fmla="*/ 28 w 46"/>
                  <a:gd name="T89" fmla="*/ 9 h 57"/>
                  <a:gd name="T90" fmla="*/ 32 w 46"/>
                  <a:gd name="T91" fmla="*/ 13 h 57"/>
                  <a:gd name="T92" fmla="*/ 36 w 46"/>
                  <a:gd name="T93" fmla="*/ 13 h 57"/>
                  <a:gd name="T94" fmla="*/ 38 w 46"/>
                  <a:gd name="T95" fmla="*/ 15 h 57"/>
                  <a:gd name="T96" fmla="*/ 40 w 46"/>
                  <a:gd name="T97" fmla="*/ 19 h 57"/>
                  <a:gd name="T98" fmla="*/ 42 w 46"/>
                  <a:gd name="T99" fmla="*/ 19 h 57"/>
                  <a:gd name="T100" fmla="*/ 44 w 46"/>
                  <a:gd name="T101" fmla="*/ 20 h 57"/>
                  <a:gd name="T102" fmla="*/ 46 w 46"/>
                  <a:gd name="T103" fmla="*/ 24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" h="57">
                    <a:moveTo>
                      <a:pt x="46" y="26"/>
                    </a:moveTo>
                    <a:lnTo>
                      <a:pt x="44" y="28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0" y="32"/>
                    </a:lnTo>
                    <a:lnTo>
                      <a:pt x="40" y="34"/>
                    </a:lnTo>
                    <a:lnTo>
                      <a:pt x="38" y="36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34" y="41"/>
                    </a:lnTo>
                    <a:lnTo>
                      <a:pt x="34" y="43"/>
                    </a:lnTo>
                    <a:lnTo>
                      <a:pt x="34" y="45"/>
                    </a:lnTo>
                    <a:lnTo>
                      <a:pt x="32" y="45"/>
                    </a:lnTo>
                    <a:lnTo>
                      <a:pt x="30" y="49"/>
                    </a:lnTo>
                    <a:lnTo>
                      <a:pt x="30" y="51"/>
                    </a:lnTo>
                    <a:lnTo>
                      <a:pt x="30" y="53"/>
                    </a:lnTo>
                    <a:lnTo>
                      <a:pt x="28" y="53"/>
                    </a:lnTo>
                    <a:lnTo>
                      <a:pt x="27" y="55"/>
                    </a:lnTo>
                    <a:lnTo>
                      <a:pt x="25" y="57"/>
                    </a:lnTo>
                    <a:lnTo>
                      <a:pt x="23" y="57"/>
                    </a:lnTo>
                    <a:lnTo>
                      <a:pt x="19" y="57"/>
                    </a:lnTo>
                    <a:lnTo>
                      <a:pt x="21" y="55"/>
                    </a:lnTo>
                    <a:lnTo>
                      <a:pt x="19" y="55"/>
                    </a:lnTo>
                    <a:lnTo>
                      <a:pt x="17" y="55"/>
                    </a:lnTo>
                    <a:lnTo>
                      <a:pt x="15" y="55"/>
                    </a:lnTo>
                    <a:lnTo>
                      <a:pt x="13" y="55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11" y="55"/>
                    </a:lnTo>
                    <a:lnTo>
                      <a:pt x="9" y="55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7"/>
                    </a:lnTo>
                    <a:lnTo>
                      <a:pt x="4" y="57"/>
                    </a:lnTo>
                    <a:lnTo>
                      <a:pt x="2" y="57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2" y="51"/>
                    </a:lnTo>
                    <a:lnTo>
                      <a:pt x="4" y="49"/>
                    </a:lnTo>
                    <a:lnTo>
                      <a:pt x="2" y="49"/>
                    </a:lnTo>
                    <a:lnTo>
                      <a:pt x="4" y="49"/>
                    </a:lnTo>
                    <a:lnTo>
                      <a:pt x="4" y="47"/>
                    </a:lnTo>
                    <a:lnTo>
                      <a:pt x="6" y="47"/>
                    </a:lnTo>
                    <a:lnTo>
                      <a:pt x="6" y="45"/>
                    </a:lnTo>
                    <a:lnTo>
                      <a:pt x="6" y="43"/>
                    </a:lnTo>
                    <a:lnTo>
                      <a:pt x="6" y="41"/>
                    </a:lnTo>
                    <a:lnTo>
                      <a:pt x="4" y="41"/>
                    </a:lnTo>
                    <a:lnTo>
                      <a:pt x="6" y="40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7" y="34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7" y="3"/>
                    </a:lnTo>
                    <a:lnTo>
                      <a:pt x="19" y="3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7" y="5"/>
                    </a:lnTo>
                    <a:lnTo>
                      <a:pt x="27" y="7"/>
                    </a:lnTo>
                    <a:lnTo>
                      <a:pt x="28" y="7"/>
                    </a:lnTo>
                    <a:lnTo>
                      <a:pt x="28" y="9"/>
                    </a:lnTo>
                    <a:lnTo>
                      <a:pt x="30" y="9"/>
                    </a:lnTo>
                    <a:lnTo>
                      <a:pt x="32" y="13"/>
                    </a:lnTo>
                    <a:lnTo>
                      <a:pt x="34" y="13"/>
                    </a:lnTo>
                    <a:lnTo>
                      <a:pt x="36" y="13"/>
                    </a:lnTo>
                    <a:lnTo>
                      <a:pt x="36" y="15"/>
                    </a:lnTo>
                    <a:lnTo>
                      <a:pt x="38" y="15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2" y="17"/>
                    </a:lnTo>
                    <a:lnTo>
                      <a:pt x="42" y="19"/>
                    </a:lnTo>
                    <a:lnTo>
                      <a:pt x="44" y="19"/>
                    </a:lnTo>
                    <a:lnTo>
                      <a:pt x="44" y="20"/>
                    </a:lnTo>
                    <a:lnTo>
                      <a:pt x="44" y="22"/>
                    </a:lnTo>
                    <a:lnTo>
                      <a:pt x="46" y="24"/>
                    </a:lnTo>
                    <a:lnTo>
                      <a:pt x="46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0" name="Freeform 92">
                <a:extLst>
                  <a:ext uri="{FF2B5EF4-FFF2-40B4-BE49-F238E27FC236}">
                    <a16:creationId xmlns:a16="http://schemas.microsoft.com/office/drawing/2014/main" id="{C050A38D-A445-D268-8C7C-CF82801E79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9023" y="-1571920"/>
                <a:ext cx="298301" cy="342607"/>
              </a:xfrm>
              <a:custGeom>
                <a:avLst/>
                <a:gdLst>
                  <a:gd name="T0" fmla="*/ 152 w 192"/>
                  <a:gd name="T1" fmla="*/ 158 h 219"/>
                  <a:gd name="T2" fmla="*/ 110 w 192"/>
                  <a:gd name="T3" fmla="*/ 208 h 219"/>
                  <a:gd name="T4" fmla="*/ 89 w 192"/>
                  <a:gd name="T5" fmla="*/ 204 h 219"/>
                  <a:gd name="T6" fmla="*/ 87 w 192"/>
                  <a:gd name="T7" fmla="*/ 211 h 219"/>
                  <a:gd name="T8" fmla="*/ 83 w 192"/>
                  <a:gd name="T9" fmla="*/ 217 h 219"/>
                  <a:gd name="T10" fmla="*/ 80 w 192"/>
                  <a:gd name="T11" fmla="*/ 211 h 219"/>
                  <a:gd name="T12" fmla="*/ 64 w 192"/>
                  <a:gd name="T13" fmla="*/ 206 h 219"/>
                  <a:gd name="T14" fmla="*/ 53 w 192"/>
                  <a:gd name="T15" fmla="*/ 200 h 219"/>
                  <a:gd name="T16" fmla="*/ 45 w 192"/>
                  <a:gd name="T17" fmla="*/ 208 h 219"/>
                  <a:gd name="T18" fmla="*/ 28 w 192"/>
                  <a:gd name="T19" fmla="*/ 219 h 219"/>
                  <a:gd name="T20" fmla="*/ 26 w 192"/>
                  <a:gd name="T21" fmla="*/ 211 h 219"/>
                  <a:gd name="T22" fmla="*/ 22 w 192"/>
                  <a:gd name="T23" fmla="*/ 198 h 219"/>
                  <a:gd name="T24" fmla="*/ 17 w 192"/>
                  <a:gd name="T25" fmla="*/ 181 h 219"/>
                  <a:gd name="T26" fmla="*/ 15 w 192"/>
                  <a:gd name="T27" fmla="*/ 175 h 219"/>
                  <a:gd name="T28" fmla="*/ 15 w 192"/>
                  <a:gd name="T29" fmla="*/ 173 h 219"/>
                  <a:gd name="T30" fmla="*/ 15 w 192"/>
                  <a:gd name="T31" fmla="*/ 168 h 219"/>
                  <a:gd name="T32" fmla="*/ 15 w 192"/>
                  <a:gd name="T33" fmla="*/ 158 h 219"/>
                  <a:gd name="T34" fmla="*/ 11 w 192"/>
                  <a:gd name="T35" fmla="*/ 150 h 219"/>
                  <a:gd name="T36" fmla="*/ 7 w 192"/>
                  <a:gd name="T37" fmla="*/ 141 h 219"/>
                  <a:gd name="T38" fmla="*/ 5 w 192"/>
                  <a:gd name="T39" fmla="*/ 135 h 219"/>
                  <a:gd name="T40" fmla="*/ 0 w 192"/>
                  <a:gd name="T41" fmla="*/ 124 h 219"/>
                  <a:gd name="T42" fmla="*/ 9 w 192"/>
                  <a:gd name="T43" fmla="*/ 114 h 219"/>
                  <a:gd name="T44" fmla="*/ 3 w 192"/>
                  <a:gd name="T45" fmla="*/ 97 h 219"/>
                  <a:gd name="T46" fmla="*/ 5 w 192"/>
                  <a:gd name="T47" fmla="*/ 87 h 219"/>
                  <a:gd name="T48" fmla="*/ 9 w 192"/>
                  <a:gd name="T49" fmla="*/ 78 h 219"/>
                  <a:gd name="T50" fmla="*/ 9 w 192"/>
                  <a:gd name="T51" fmla="*/ 68 h 219"/>
                  <a:gd name="T52" fmla="*/ 11 w 192"/>
                  <a:gd name="T53" fmla="*/ 59 h 219"/>
                  <a:gd name="T54" fmla="*/ 13 w 192"/>
                  <a:gd name="T55" fmla="*/ 47 h 219"/>
                  <a:gd name="T56" fmla="*/ 1 w 192"/>
                  <a:gd name="T57" fmla="*/ 21 h 219"/>
                  <a:gd name="T58" fmla="*/ 9 w 192"/>
                  <a:gd name="T59" fmla="*/ 23 h 219"/>
                  <a:gd name="T60" fmla="*/ 13 w 192"/>
                  <a:gd name="T61" fmla="*/ 23 h 219"/>
                  <a:gd name="T62" fmla="*/ 24 w 192"/>
                  <a:gd name="T63" fmla="*/ 17 h 219"/>
                  <a:gd name="T64" fmla="*/ 32 w 192"/>
                  <a:gd name="T65" fmla="*/ 13 h 219"/>
                  <a:gd name="T66" fmla="*/ 41 w 192"/>
                  <a:gd name="T67" fmla="*/ 9 h 219"/>
                  <a:gd name="T68" fmla="*/ 47 w 192"/>
                  <a:gd name="T69" fmla="*/ 3 h 219"/>
                  <a:gd name="T70" fmla="*/ 53 w 192"/>
                  <a:gd name="T71" fmla="*/ 2 h 219"/>
                  <a:gd name="T72" fmla="*/ 62 w 192"/>
                  <a:gd name="T73" fmla="*/ 2 h 219"/>
                  <a:gd name="T74" fmla="*/ 68 w 192"/>
                  <a:gd name="T75" fmla="*/ 2 h 219"/>
                  <a:gd name="T76" fmla="*/ 66 w 192"/>
                  <a:gd name="T77" fmla="*/ 13 h 219"/>
                  <a:gd name="T78" fmla="*/ 68 w 192"/>
                  <a:gd name="T79" fmla="*/ 23 h 219"/>
                  <a:gd name="T80" fmla="*/ 70 w 192"/>
                  <a:gd name="T81" fmla="*/ 30 h 219"/>
                  <a:gd name="T82" fmla="*/ 72 w 192"/>
                  <a:gd name="T83" fmla="*/ 38 h 219"/>
                  <a:gd name="T84" fmla="*/ 82 w 192"/>
                  <a:gd name="T85" fmla="*/ 44 h 219"/>
                  <a:gd name="T86" fmla="*/ 89 w 192"/>
                  <a:gd name="T87" fmla="*/ 45 h 219"/>
                  <a:gd name="T88" fmla="*/ 97 w 192"/>
                  <a:gd name="T89" fmla="*/ 47 h 219"/>
                  <a:gd name="T90" fmla="*/ 104 w 192"/>
                  <a:gd name="T91" fmla="*/ 49 h 219"/>
                  <a:gd name="T92" fmla="*/ 108 w 192"/>
                  <a:gd name="T93" fmla="*/ 55 h 219"/>
                  <a:gd name="T94" fmla="*/ 116 w 192"/>
                  <a:gd name="T95" fmla="*/ 57 h 219"/>
                  <a:gd name="T96" fmla="*/ 122 w 192"/>
                  <a:gd name="T97" fmla="*/ 63 h 219"/>
                  <a:gd name="T98" fmla="*/ 135 w 192"/>
                  <a:gd name="T99" fmla="*/ 63 h 219"/>
                  <a:gd name="T100" fmla="*/ 144 w 192"/>
                  <a:gd name="T101" fmla="*/ 68 h 219"/>
                  <a:gd name="T102" fmla="*/ 146 w 192"/>
                  <a:gd name="T103" fmla="*/ 78 h 219"/>
                  <a:gd name="T104" fmla="*/ 160 w 192"/>
                  <a:gd name="T105" fmla="*/ 108 h 219"/>
                  <a:gd name="T106" fmla="*/ 177 w 192"/>
                  <a:gd name="T107" fmla="*/ 118 h 219"/>
                  <a:gd name="T108" fmla="*/ 183 w 192"/>
                  <a:gd name="T109" fmla="*/ 127 h 219"/>
                  <a:gd name="T110" fmla="*/ 190 w 192"/>
                  <a:gd name="T111" fmla="*/ 139 h 219"/>
                  <a:gd name="T112" fmla="*/ 186 w 192"/>
                  <a:gd name="T113" fmla="*/ 171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2" h="219">
                    <a:moveTo>
                      <a:pt x="181" y="173"/>
                    </a:moveTo>
                    <a:lnTo>
                      <a:pt x="183" y="173"/>
                    </a:lnTo>
                    <a:lnTo>
                      <a:pt x="181" y="171"/>
                    </a:lnTo>
                    <a:lnTo>
                      <a:pt x="181" y="169"/>
                    </a:lnTo>
                    <a:lnTo>
                      <a:pt x="181" y="168"/>
                    </a:lnTo>
                    <a:lnTo>
                      <a:pt x="167" y="158"/>
                    </a:lnTo>
                    <a:lnTo>
                      <a:pt x="152" y="158"/>
                    </a:lnTo>
                    <a:lnTo>
                      <a:pt x="143" y="162"/>
                    </a:lnTo>
                    <a:lnTo>
                      <a:pt x="125" y="164"/>
                    </a:lnTo>
                    <a:lnTo>
                      <a:pt x="122" y="171"/>
                    </a:lnTo>
                    <a:lnTo>
                      <a:pt x="116" y="179"/>
                    </a:lnTo>
                    <a:lnTo>
                      <a:pt x="116" y="189"/>
                    </a:lnTo>
                    <a:lnTo>
                      <a:pt x="110" y="210"/>
                    </a:lnTo>
                    <a:lnTo>
                      <a:pt x="110" y="208"/>
                    </a:lnTo>
                    <a:lnTo>
                      <a:pt x="108" y="208"/>
                    </a:lnTo>
                    <a:lnTo>
                      <a:pt x="108" y="206"/>
                    </a:lnTo>
                    <a:lnTo>
                      <a:pt x="108" y="204"/>
                    </a:lnTo>
                    <a:lnTo>
                      <a:pt x="95" y="204"/>
                    </a:lnTo>
                    <a:lnTo>
                      <a:pt x="93" y="206"/>
                    </a:lnTo>
                    <a:lnTo>
                      <a:pt x="93" y="204"/>
                    </a:lnTo>
                    <a:lnTo>
                      <a:pt x="89" y="204"/>
                    </a:lnTo>
                    <a:lnTo>
                      <a:pt x="89" y="206"/>
                    </a:lnTo>
                    <a:lnTo>
                      <a:pt x="89" y="208"/>
                    </a:lnTo>
                    <a:lnTo>
                      <a:pt x="87" y="208"/>
                    </a:lnTo>
                    <a:lnTo>
                      <a:pt x="87" y="210"/>
                    </a:lnTo>
                    <a:lnTo>
                      <a:pt x="87" y="208"/>
                    </a:lnTo>
                    <a:lnTo>
                      <a:pt x="87" y="210"/>
                    </a:lnTo>
                    <a:lnTo>
                      <a:pt x="87" y="211"/>
                    </a:lnTo>
                    <a:lnTo>
                      <a:pt x="85" y="213"/>
                    </a:lnTo>
                    <a:lnTo>
                      <a:pt x="85" y="215"/>
                    </a:lnTo>
                    <a:lnTo>
                      <a:pt x="83" y="215"/>
                    </a:lnTo>
                    <a:lnTo>
                      <a:pt x="85" y="215"/>
                    </a:lnTo>
                    <a:lnTo>
                      <a:pt x="83" y="217"/>
                    </a:lnTo>
                    <a:lnTo>
                      <a:pt x="85" y="217"/>
                    </a:lnTo>
                    <a:lnTo>
                      <a:pt x="83" y="217"/>
                    </a:lnTo>
                    <a:lnTo>
                      <a:pt x="83" y="219"/>
                    </a:lnTo>
                    <a:lnTo>
                      <a:pt x="83" y="217"/>
                    </a:lnTo>
                    <a:lnTo>
                      <a:pt x="82" y="217"/>
                    </a:lnTo>
                    <a:lnTo>
                      <a:pt x="82" y="215"/>
                    </a:lnTo>
                    <a:lnTo>
                      <a:pt x="82" y="213"/>
                    </a:lnTo>
                    <a:lnTo>
                      <a:pt x="82" y="211"/>
                    </a:lnTo>
                    <a:lnTo>
                      <a:pt x="80" y="211"/>
                    </a:lnTo>
                    <a:lnTo>
                      <a:pt x="80" y="210"/>
                    </a:lnTo>
                    <a:lnTo>
                      <a:pt x="80" y="208"/>
                    </a:lnTo>
                    <a:lnTo>
                      <a:pt x="78" y="208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2" y="206"/>
                    </a:lnTo>
                    <a:lnTo>
                      <a:pt x="64" y="206"/>
                    </a:lnTo>
                    <a:lnTo>
                      <a:pt x="62" y="206"/>
                    </a:lnTo>
                    <a:lnTo>
                      <a:pt x="61" y="206"/>
                    </a:lnTo>
                    <a:lnTo>
                      <a:pt x="59" y="204"/>
                    </a:lnTo>
                    <a:lnTo>
                      <a:pt x="57" y="204"/>
                    </a:lnTo>
                    <a:lnTo>
                      <a:pt x="57" y="202"/>
                    </a:lnTo>
                    <a:lnTo>
                      <a:pt x="55" y="202"/>
                    </a:lnTo>
                    <a:lnTo>
                      <a:pt x="53" y="200"/>
                    </a:lnTo>
                    <a:lnTo>
                      <a:pt x="53" y="202"/>
                    </a:lnTo>
                    <a:lnTo>
                      <a:pt x="53" y="204"/>
                    </a:lnTo>
                    <a:lnTo>
                      <a:pt x="53" y="206"/>
                    </a:lnTo>
                    <a:lnTo>
                      <a:pt x="51" y="206"/>
                    </a:lnTo>
                    <a:lnTo>
                      <a:pt x="51" y="208"/>
                    </a:lnTo>
                    <a:lnTo>
                      <a:pt x="47" y="208"/>
                    </a:lnTo>
                    <a:lnTo>
                      <a:pt x="45" y="208"/>
                    </a:lnTo>
                    <a:lnTo>
                      <a:pt x="45" y="211"/>
                    </a:lnTo>
                    <a:lnTo>
                      <a:pt x="41" y="213"/>
                    </a:lnTo>
                    <a:lnTo>
                      <a:pt x="41" y="215"/>
                    </a:lnTo>
                    <a:lnTo>
                      <a:pt x="40" y="217"/>
                    </a:lnTo>
                    <a:lnTo>
                      <a:pt x="38" y="219"/>
                    </a:lnTo>
                    <a:lnTo>
                      <a:pt x="32" y="219"/>
                    </a:lnTo>
                    <a:lnTo>
                      <a:pt x="28" y="219"/>
                    </a:lnTo>
                    <a:lnTo>
                      <a:pt x="26" y="219"/>
                    </a:lnTo>
                    <a:lnTo>
                      <a:pt x="26" y="217"/>
                    </a:lnTo>
                    <a:lnTo>
                      <a:pt x="26" y="215"/>
                    </a:lnTo>
                    <a:lnTo>
                      <a:pt x="28" y="215"/>
                    </a:lnTo>
                    <a:lnTo>
                      <a:pt x="28" y="213"/>
                    </a:lnTo>
                    <a:lnTo>
                      <a:pt x="26" y="213"/>
                    </a:lnTo>
                    <a:lnTo>
                      <a:pt x="26" y="211"/>
                    </a:lnTo>
                    <a:lnTo>
                      <a:pt x="26" y="210"/>
                    </a:lnTo>
                    <a:lnTo>
                      <a:pt x="26" y="208"/>
                    </a:lnTo>
                    <a:lnTo>
                      <a:pt x="26" y="206"/>
                    </a:lnTo>
                    <a:lnTo>
                      <a:pt x="24" y="206"/>
                    </a:lnTo>
                    <a:lnTo>
                      <a:pt x="24" y="204"/>
                    </a:lnTo>
                    <a:lnTo>
                      <a:pt x="24" y="200"/>
                    </a:lnTo>
                    <a:lnTo>
                      <a:pt x="22" y="198"/>
                    </a:lnTo>
                    <a:lnTo>
                      <a:pt x="22" y="192"/>
                    </a:lnTo>
                    <a:lnTo>
                      <a:pt x="21" y="189"/>
                    </a:lnTo>
                    <a:lnTo>
                      <a:pt x="19" y="187"/>
                    </a:lnTo>
                    <a:lnTo>
                      <a:pt x="17" y="187"/>
                    </a:lnTo>
                    <a:lnTo>
                      <a:pt x="17" y="185"/>
                    </a:lnTo>
                    <a:lnTo>
                      <a:pt x="17" y="183"/>
                    </a:lnTo>
                    <a:lnTo>
                      <a:pt x="17" y="181"/>
                    </a:lnTo>
                    <a:lnTo>
                      <a:pt x="19" y="181"/>
                    </a:lnTo>
                    <a:lnTo>
                      <a:pt x="17" y="181"/>
                    </a:lnTo>
                    <a:lnTo>
                      <a:pt x="17" y="179"/>
                    </a:lnTo>
                    <a:lnTo>
                      <a:pt x="15" y="179"/>
                    </a:lnTo>
                    <a:lnTo>
                      <a:pt x="13" y="177"/>
                    </a:lnTo>
                    <a:lnTo>
                      <a:pt x="15" y="177"/>
                    </a:lnTo>
                    <a:lnTo>
                      <a:pt x="15" y="175"/>
                    </a:lnTo>
                    <a:lnTo>
                      <a:pt x="13" y="175"/>
                    </a:lnTo>
                    <a:lnTo>
                      <a:pt x="13" y="173"/>
                    </a:lnTo>
                    <a:lnTo>
                      <a:pt x="15" y="173"/>
                    </a:lnTo>
                    <a:lnTo>
                      <a:pt x="13" y="173"/>
                    </a:lnTo>
                    <a:lnTo>
                      <a:pt x="15" y="173"/>
                    </a:lnTo>
                    <a:lnTo>
                      <a:pt x="13" y="173"/>
                    </a:lnTo>
                    <a:lnTo>
                      <a:pt x="15" y="173"/>
                    </a:lnTo>
                    <a:lnTo>
                      <a:pt x="13" y="173"/>
                    </a:lnTo>
                    <a:lnTo>
                      <a:pt x="13" y="171"/>
                    </a:lnTo>
                    <a:lnTo>
                      <a:pt x="15" y="171"/>
                    </a:lnTo>
                    <a:lnTo>
                      <a:pt x="17" y="171"/>
                    </a:lnTo>
                    <a:lnTo>
                      <a:pt x="17" y="169"/>
                    </a:lnTo>
                    <a:lnTo>
                      <a:pt x="17" y="168"/>
                    </a:lnTo>
                    <a:lnTo>
                      <a:pt x="15" y="168"/>
                    </a:lnTo>
                    <a:lnTo>
                      <a:pt x="15" y="166"/>
                    </a:lnTo>
                    <a:lnTo>
                      <a:pt x="15" y="164"/>
                    </a:lnTo>
                    <a:lnTo>
                      <a:pt x="19" y="162"/>
                    </a:lnTo>
                    <a:lnTo>
                      <a:pt x="19" y="160"/>
                    </a:lnTo>
                    <a:lnTo>
                      <a:pt x="17" y="160"/>
                    </a:lnTo>
                    <a:lnTo>
                      <a:pt x="17" y="158"/>
                    </a:lnTo>
                    <a:lnTo>
                      <a:pt x="15" y="158"/>
                    </a:lnTo>
                    <a:lnTo>
                      <a:pt x="15" y="156"/>
                    </a:lnTo>
                    <a:lnTo>
                      <a:pt x="13" y="156"/>
                    </a:lnTo>
                    <a:lnTo>
                      <a:pt x="13" y="154"/>
                    </a:lnTo>
                    <a:lnTo>
                      <a:pt x="11" y="154"/>
                    </a:lnTo>
                    <a:lnTo>
                      <a:pt x="9" y="152"/>
                    </a:lnTo>
                    <a:lnTo>
                      <a:pt x="11" y="152"/>
                    </a:lnTo>
                    <a:lnTo>
                      <a:pt x="11" y="150"/>
                    </a:lnTo>
                    <a:lnTo>
                      <a:pt x="9" y="148"/>
                    </a:lnTo>
                    <a:lnTo>
                      <a:pt x="9" y="147"/>
                    </a:lnTo>
                    <a:lnTo>
                      <a:pt x="9" y="145"/>
                    </a:lnTo>
                    <a:lnTo>
                      <a:pt x="9" y="143"/>
                    </a:lnTo>
                    <a:lnTo>
                      <a:pt x="7" y="141"/>
                    </a:lnTo>
                    <a:lnTo>
                      <a:pt x="9" y="141"/>
                    </a:lnTo>
                    <a:lnTo>
                      <a:pt x="7" y="141"/>
                    </a:lnTo>
                    <a:lnTo>
                      <a:pt x="7" y="139"/>
                    </a:lnTo>
                    <a:lnTo>
                      <a:pt x="9" y="137"/>
                    </a:lnTo>
                    <a:lnTo>
                      <a:pt x="7" y="137"/>
                    </a:lnTo>
                    <a:lnTo>
                      <a:pt x="5" y="137"/>
                    </a:lnTo>
                    <a:lnTo>
                      <a:pt x="5" y="135"/>
                    </a:lnTo>
                    <a:lnTo>
                      <a:pt x="3" y="135"/>
                    </a:lnTo>
                    <a:lnTo>
                      <a:pt x="5" y="135"/>
                    </a:lnTo>
                    <a:lnTo>
                      <a:pt x="3" y="133"/>
                    </a:lnTo>
                    <a:lnTo>
                      <a:pt x="3" y="131"/>
                    </a:lnTo>
                    <a:lnTo>
                      <a:pt x="1" y="129"/>
                    </a:lnTo>
                    <a:lnTo>
                      <a:pt x="1" y="127"/>
                    </a:lnTo>
                    <a:lnTo>
                      <a:pt x="1" y="126"/>
                    </a:lnTo>
                    <a:lnTo>
                      <a:pt x="0" y="126"/>
                    </a:lnTo>
                    <a:lnTo>
                      <a:pt x="0" y="124"/>
                    </a:lnTo>
                    <a:lnTo>
                      <a:pt x="1" y="122"/>
                    </a:lnTo>
                    <a:lnTo>
                      <a:pt x="3" y="122"/>
                    </a:lnTo>
                    <a:lnTo>
                      <a:pt x="3" y="120"/>
                    </a:lnTo>
                    <a:lnTo>
                      <a:pt x="5" y="118"/>
                    </a:lnTo>
                    <a:lnTo>
                      <a:pt x="5" y="116"/>
                    </a:lnTo>
                    <a:lnTo>
                      <a:pt x="7" y="116"/>
                    </a:lnTo>
                    <a:lnTo>
                      <a:pt x="9" y="114"/>
                    </a:lnTo>
                    <a:lnTo>
                      <a:pt x="9" y="112"/>
                    </a:lnTo>
                    <a:lnTo>
                      <a:pt x="9" y="110"/>
                    </a:lnTo>
                    <a:lnTo>
                      <a:pt x="13" y="108"/>
                    </a:lnTo>
                    <a:lnTo>
                      <a:pt x="9" y="106"/>
                    </a:lnTo>
                    <a:lnTo>
                      <a:pt x="7" y="106"/>
                    </a:lnTo>
                    <a:lnTo>
                      <a:pt x="5" y="106"/>
                    </a:lnTo>
                    <a:lnTo>
                      <a:pt x="3" y="97"/>
                    </a:lnTo>
                    <a:lnTo>
                      <a:pt x="3" y="95"/>
                    </a:lnTo>
                    <a:lnTo>
                      <a:pt x="5" y="95"/>
                    </a:lnTo>
                    <a:lnTo>
                      <a:pt x="5" y="93"/>
                    </a:lnTo>
                    <a:lnTo>
                      <a:pt x="5" y="91"/>
                    </a:lnTo>
                    <a:lnTo>
                      <a:pt x="7" y="91"/>
                    </a:lnTo>
                    <a:lnTo>
                      <a:pt x="5" y="89"/>
                    </a:lnTo>
                    <a:lnTo>
                      <a:pt x="5" y="87"/>
                    </a:lnTo>
                    <a:lnTo>
                      <a:pt x="3" y="86"/>
                    </a:lnTo>
                    <a:lnTo>
                      <a:pt x="3" y="84"/>
                    </a:lnTo>
                    <a:lnTo>
                      <a:pt x="5" y="84"/>
                    </a:lnTo>
                    <a:lnTo>
                      <a:pt x="5" y="82"/>
                    </a:lnTo>
                    <a:lnTo>
                      <a:pt x="5" y="80"/>
                    </a:lnTo>
                    <a:lnTo>
                      <a:pt x="7" y="80"/>
                    </a:lnTo>
                    <a:lnTo>
                      <a:pt x="9" y="78"/>
                    </a:lnTo>
                    <a:lnTo>
                      <a:pt x="9" y="76"/>
                    </a:lnTo>
                    <a:lnTo>
                      <a:pt x="9" y="74"/>
                    </a:lnTo>
                    <a:lnTo>
                      <a:pt x="11" y="74"/>
                    </a:lnTo>
                    <a:lnTo>
                      <a:pt x="11" y="72"/>
                    </a:lnTo>
                    <a:lnTo>
                      <a:pt x="11" y="70"/>
                    </a:lnTo>
                    <a:lnTo>
                      <a:pt x="9" y="70"/>
                    </a:lnTo>
                    <a:lnTo>
                      <a:pt x="9" y="68"/>
                    </a:lnTo>
                    <a:lnTo>
                      <a:pt x="9" y="66"/>
                    </a:lnTo>
                    <a:lnTo>
                      <a:pt x="7" y="65"/>
                    </a:lnTo>
                    <a:lnTo>
                      <a:pt x="9" y="65"/>
                    </a:lnTo>
                    <a:lnTo>
                      <a:pt x="9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1" y="59"/>
                    </a:lnTo>
                    <a:lnTo>
                      <a:pt x="11" y="57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11" y="51"/>
                    </a:lnTo>
                    <a:lnTo>
                      <a:pt x="13" y="51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7" y="32"/>
                    </a:lnTo>
                    <a:lnTo>
                      <a:pt x="0" y="21"/>
                    </a:lnTo>
                    <a:lnTo>
                      <a:pt x="1" y="21"/>
                    </a:lnTo>
                    <a:lnTo>
                      <a:pt x="3" y="21"/>
                    </a:lnTo>
                    <a:lnTo>
                      <a:pt x="5" y="21"/>
                    </a:lnTo>
                    <a:lnTo>
                      <a:pt x="7" y="21"/>
                    </a:lnTo>
                    <a:lnTo>
                      <a:pt x="9" y="21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3" y="21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3" y="23"/>
                    </a:lnTo>
                    <a:lnTo>
                      <a:pt x="13" y="24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21" y="23"/>
                    </a:lnTo>
                    <a:lnTo>
                      <a:pt x="21" y="21"/>
                    </a:lnTo>
                    <a:lnTo>
                      <a:pt x="22" y="19"/>
                    </a:lnTo>
                    <a:lnTo>
                      <a:pt x="24" y="17"/>
                    </a:lnTo>
                    <a:lnTo>
                      <a:pt x="26" y="17"/>
                    </a:lnTo>
                    <a:lnTo>
                      <a:pt x="26" y="15"/>
                    </a:lnTo>
                    <a:lnTo>
                      <a:pt x="28" y="15"/>
                    </a:lnTo>
                    <a:lnTo>
                      <a:pt x="28" y="17"/>
                    </a:lnTo>
                    <a:lnTo>
                      <a:pt x="30" y="17"/>
                    </a:lnTo>
                    <a:lnTo>
                      <a:pt x="30" y="15"/>
                    </a:lnTo>
                    <a:lnTo>
                      <a:pt x="32" y="13"/>
                    </a:lnTo>
                    <a:lnTo>
                      <a:pt x="34" y="13"/>
                    </a:lnTo>
                    <a:lnTo>
                      <a:pt x="34" y="11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1" y="9"/>
                    </a:lnTo>
                    <a:lnTo>
                      <a:pt x="41" y="7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5" y="5"/>
                    </a:lnTo>
                    <a:lnTo>
                      <a:pt x="47" y="3"/>
                    </a:lnTo>
                    <a:lnTo>
                      <a:pt x="47" y="5"/>
                    </a:lnTo>
                    <a:lnTo>
                      <a:pt x="47" y="3"/>
                    </a:lnTo>
                    <a:lnTo>
                      <a:pt x="49" y="3"/>
                    </a:lnTo>
                    <a:lnTo>
                      <a:pt x="51" y="3"/>
                    </a:lnTo>
                    <a:lnTo>
                      <a:pt x="53" y="3"/>
                    </a:lnTo>
                    <a:lnTo>
                      <a:pt x="53" y="2"/>
                    </a:lnTo>
                    <a:lnTo>
                      <a:pt x="53" y="3"/>
                    </a:lnTo>
                    <a:lnTo>
                      <a:pt x="55" y="3"/>
                    </a:lnTo>
                    <a:lnTo>
                      <a:pt x="53" y="2"/>
                    </a:lnTo>
                    <a:lnTo>
                      <a:pt x="55" y="2"/>
                    </a:lnTo>
                    <a:lnTo>
                      <a:pt x="57" y="2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2"/>
                    </a:lnTo>
                    <a:lnTo>
                      <a:pt x="62" y="3"/>
                    </a:lnTo>
                    <a:lnTo>
                      <a:pt x="64" y="3"/>
                    </a:lnTo>
                    <a:lnTo>
                      <a:pt x="64" y="2"/>
                    </a:lnTo>
                    <a:lnTo>
                      <a:pt x="66" y="0"/>
                    </a:lnTo>
                    <a:lnTo>
                      <a:pt x="68" y="2"/>
                    </a:lnTo>
                    <a:lnTo>
                      <a:pt x="68" y="3"/>
                    </a:lnTo>
                    <a:lnTo>
                      <a:pt x="68" y="5"/>
                    </a:lnTo>
                    <a:lnTo>
                      <a:pt x="68" y="7"/>
                    </a:lnTo>
                    <a:lnTo>
                      <a:pt x="68" y="9"/>
                    </a:lnTo>
                    <a:lnTo>
                      <a:pt x="68" y="11"/>
                    </a:lnTo>
                    <a:lnTo>
                      <a:pt x="66" y="11"/>
                    </a:lnTo>
                    <a:lnTo>
                      <a:pt x="66" y="13"/>
                    </a:lnTo>
                    <a:lnTo>
                      <a:pt x="66" y="15"/>
                    </a:lnTo>
                    <a:lnTo>
                      <a:pt x="68" y="17"/>
                    </a:lnTo>
                    <a:lnTo>
                      <a:pt x="68" y="19"/>
                    </a:lnTo>
                    <a:lnTo>
                      <a:pt x="66" y="19"/>
                    </a:lnTo>
                    <a:lnTo>
                      <a:pt x="68" y="19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66" y="24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68" y="30"/>
                    </a:lnTo>
                    <a:lnTo>
                      <a:pt x="70" y="32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2" y="34"/>
                    </a:lnTo>
                    <a:lnTo>
                      <a:pt x="72" y="36"/>
                    </a:lnTo>
                    <a:lnTo>
                      <a:pt x="72" y="38"/>
                    </a:lnTo>
                    <a:lnTo>
                      <a:pt x="74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8" y="40"/>
                    </a:lnTo>
                    <a:lnTo>
                      <a:pt x="78" y="42"/>
                    </a:lnTo>
                    <a:lnTo>
                      <a:pt x="80" y="42"/>
                    </a:lnTo>
                    <a:lnTo>
                      <a:pt x="82" y="44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2" y="45"/>
                    </a:lnTo>
                    <a:lnTo>
                      <a:pt x="83" y="45"/>
                    </a:lnTo>
                    <a:lnTo>
                      <a:pt x="85" y="45"/>
                    </a:lnTo>
                    <a:lnTo>
                      <a:pt x="87" y="45"/>
                    </a:lnTo>
                    <a:lnTo>
                      <a:pt x="89" y="45"/>
                    </a:lnTo>
                    <a:lnTo>
                      <a:pt x="89" y="47"/>
                    </a:lnTo>
                    <a:lnTo>
                      <a:pt x="91" y="45"/>
                    </a:lnTo>
                    <a:lnTo>
                      <a:pt x="93" y="45"/>
                    </a:lnTo>
                    <a:lnTo>
                      <a:pt x="95" y="45"/>
                    </a:lnTo>
                    <a:lnTo>
                      <a:pt x="97" y="47"/>
                    </a:lnTo>
                    <a:lnTo>
                      <a:pt x="99" y="47"/>
                    </a:lnTo>
                    <a:lnTo>
                      <a:pt x="97" y="47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101" y="49"/>
                    </a:lnTo>
                    <a:lnTo>
                      <a:pt x="101" y="47"/>
                    </a:lnTo>
                    <a:lnTo>
                      <a:pt x="103" y="47"/>
                    </a:lnTo>
                    <a:lnTo>
                      <a:pt x="103" y="49"/>
                    </a:lnTo>
                    <a:lnTo>
                      <a:pt x="104" y="49"/>
                    </a:lnTo>
                    <a:lnTo>
                      <a:pt x="103" y="49"/>
                    </a:lnTo>
                    <a:lnTo>
                      <a:pt x="104" y="49"/>
                    </a:lnTo>
                    <a:lnTo>
                      <a:pt x="104" y="51"/>
                    </a:lnTo>
                    <a:lnTo>
                      <a:pt x="106" y="51"/>
                    </a:lnTo>
                    <a:lnTo>
                      <a:pt x="106" y="53"/>
                    </a:lnTo>
                    <a:lnTo>
                      <a:pt x="108" y="53"/>
                    </a:lnTo>
                    <a:lnTo>
                      <a:pt x="108" y="55"/>
                    </a:lnTo>
                    <a:lnTo>
                      <a:pt x="110" y="55"/>
                    </a:lnTo>
                    <a:lnTo>
                      <a:pt x="110" y="53"/>
                    </a:lnTo>
                    <a:lnTo>
                      <a:pt x="110" y="55"/>
                    </a:lnTo>
                    <a:lnTo>
                      <a:pt x="112" y="55"/>
                    </a:lnTo>
                    <a:lnTo>
                      <a:pt x="114" y="55"/>
                    </a:lnTo>
                    <a:lnTo>
                      <a:pt x="114" y="57"/>
                    </a:lnTo>
                    <a:lnTo>
                      <a:pt x="116" y="57"/>
                    </a:lnTo>
                    <a:lnTo>
                      <a:pt x="118" y="55"/>
                    </a:lnTo>
                    <a:lnTo>
                      <a:pt x="118" y="57"/>
                    </a:lnTo>
                    <a:lnTo>
                      <a:pt x="118" y="59"/>
                    </a:lnTo>
                    <a:lnTo>
                      <a:pt x="120" y="59"/>
                    </a:lnTo>
                    <a:lnTo>
                      <a:pt x="120" y="61"/>
                    </a:lnTo>
                    <a:lnTo>
                      <a:pt x="122" y="61"/>
                    </a:lnTo>
                    <a:lnTo>
                      <a:pt x="122" y="63"/>
                    </a:lnTo>
                    <a:lnTo>
                      <a:pt x="123" y="63"/>
                    </a:lnTo>
                    <a:lnTo>
                      <a:pt x="125" y="63"/>
                    </a:lnTo>
                    <a:lnTo>
                      <a:pt x="127" y="63"/>
                    </a:lnTo>
                    <a:lnTo>
                      <a:pt x="129" y="63"/>
                    </a:lnTo>
                    <a:lnTo>
                      <a:pt x="131" y="63"/>
                    </a:lnTo>
                    <a:lnTo>
                      <a:pt x="133" y="63"/>
                    </a:lnTo>
                    <a:lnTo>
                      <a:pt x="135" y="63"/>
                    </a:lnTo>
                    <a:lnTo>
                      <a:pt x="137" y="63"/>
                    </a:lnTo>
                    <a:lnTo>
                      <a:pt x="139" y="65"/>
                    </a:lnTo>
                    <a:lnTo>
                      <a:pt x="141" y="65"/>
                    </a:lnTo>
                    <a:lnTo>
                      <a:pt x="141" y="66"/>
                    </a:lnTo>
                    <a:lnTo>
                      <a:pt x="143" y="66"/>
                    </a:lnTo>
                    <a:lnTo>
                      <a:pt x="144" y="66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6" y="70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4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80"/>
                    </a:lnTo>
                    <a:lnTo>
                      <a:pt x="148" y="80"/>
                    </a:lnTo>
                    <a:lnTo>
                      <a:pt x="148" y="89"/>
                    </a:lnTo>
                    <a:lnTo>
                      <a:pt x="143" y="89"/>
                    </a:lnTo>
                    <a:lnTo>
                      <a:pt x="148" y="95"/>
                    </a:lnTo>
                    <a:lnTo>
                      <a:pt x="150" y="108"/>
                    </a:lnTo>
                    <a:lnTo>
                      <a:pt x="160" y="108"/>
                    </a:lnTo>
                    <a:lnTo>
                      <a:pt x="177" y="108"/>
                    </a:lnTo>
                    <a:lnTo>
                      <a:pt x="179" y="108"/>
                    </a:lnTo>
                    <a:lnTo>
                      <a:pt x="179" y="110"/>
                    </a:lnTo>
                    <a:lnTo>
                      <a:pt x="179" y="112"/>
                    </a:lnTo>
                    <a:lnTo>
                      <a:pt x="177" y="114"/>
                    </a:lnTo>
                    <a:lnTo>
                      <a:pt x="177" y="116"/>
                    </a:lnTo>
                    <a:lnTo>
                      <a:pt x="177" y="118"/>
                    </a:lnTo>
                    <a:lnTo>
                      <a:pt x="177" y="120"/>
                    </a:lnTo>
                    <a:lnTo>
                      <a:pt x="177" y="122"/>
                    </a:lnTo>
                    <a:lnTo>
                      <a:pt x="177" y="124"/>
                    </a:lnTo>
                    <a:lnTo>
                      <a:pt x="179" y="124"/>
                    </a:lnTo>
                    <a:lnTo>
                      <a:pt x="179" y="126"/>
                    </a:lnTo>
                    <a:lnTo>
                      <a:pt x="181" y="126"/>
                    </a:lnTo>
                    <a:lnTo>
                      <a:pt x="183" y="127"/>
                    </a:lnTo>
                    <a:lnTo>
                      <a:pt x="185" y="129"/>
                    </a:lnTo>
                    <a:lnTo>
                      <a:pt x="186" y="127"/>
                    </a:lnTo>
                    <a:lnTo>
                      <a:pt x="188" y="129"/>
                    </a:lnTo>
                    <a:lnTo>
                      <a:pt x="188" y="131"/>
                    </a:lnTo>
                    <a:lnTo>
                      <a:pt x="188" y="133"/>
                    </a:lnTo>
                    <a:lnTo>
                      <a:pt x="190" y="137"/>
                    </a:lnTo>
                    <a:lnTo>
                      <a:pt x="190" y="139"/>
                    </a:lnTo>
                    <a:lnTo>
                      <a:pt x="192" y="141"/>
                    </a:lnTo>
                    <a:lnTo>
                      <a:pt x="190" y="141"/>
                    </a:lnTo>
                    <a:lnTo>
                      <a:pt x="188" y="152"/>
                    </a:lnTo>
                    <a:lnTo>
                      <a:pt x="188" y="154"/>
                    </a:lnTo>
                    <a:lnTo>
                      <a:pt x="183" y="166"/>
                    </a:lnTo>
                    <a:lnTo>
                      <a:pt x="186" y="169"/>
                    </a:lnTo>
                    <a:lnTo>
                      <a:pt x="186" y="171"/>
                    </a:lnTo>
                    <a:lnTo>
                      <a:pt x="185" y="171"/>
                    </a:lnTo>
                    <a:lnTo>
                      <a:pt x="183" y="171"/>
                    </a:lnTo>
                    <a:lnTo>
                      <a:pt x="183" y="173"/>
                    </a:lnTo>
                    <a:lnTo>
                      <a:pt x="181" y="17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1" name="Freeform 203">
                <a:extLst>
                  <a:ext uri="{FF2B5EF4-FFF2-40B4-BE49-F238E27FC236}">
                    <a16:creationId xmlns:a16="http://schemas.microsoft.com/office/drawing/2014/main" id="{F7A24B75-9BA1-0927-BE17-7221615100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7125" y="-1897319"/>
                <a:ext cx="43502" cy="46933"/>
              </a:xfrm>
              <a:custGeom>
                <a:avLst/>
                <a:gdLst>
                  <a:gd name="T0" fmla="*/ 26 w 28"/>
                  <a:gd name="T1" fmla="*/ 23 h 30"/>
                  <a:gd name="T2" fmla="*/ 25 w 28"/>
                  <a:gd name="T3" fmla="*/ 24 h 30"/>
                  <a:gd name="T4" fmla="*/ 21 w 28"/>
                  <a:gd name="T5" fmla="*/ 23 h 30"/>
                  <a:gd name="T6" fmla="*/ 19 w 28"/>
                  <a:gd name="T7" fmla="*/ 23 h 30"/>
                  <a:gd name="T8" fmla="*/ 15 w 28"/>
                  <a:gd name="T9" fmla="*/ 23 h 30"/>
                  <a:gd name="T10" fmla="*/ 15 w 28"/>
                  <a:gd name="T11" fmla="*/ 24 h 30"/>
                  <a:gd name="T12" fmla="*/ 13 w 28"/>
                  <a:gd name="T13" fmla="*/ 26 h 30"/>
                  <a:gd name="T14" fmla="*/ 9 w 28"/>
                  <a:gd name="T15" fmla="*/ 26 h 30"/>
                  <a:gd name="T16" fmla="*/ 6 w 28"/>
                  <a:gd name="T17" fmla="*/ 26 h 30"/>
                  <a:gd name="T18" fmla="*/ 6 w 28"/>
                  <a:gd name="T19" fmla="*/ 30 h 30"/>
                  <a:gd name="T20" fmla="*/ 4 w 28"/>
                  <a:gd name="T21" fmla="*/ 30 h 30"/>
                  <a:gd name="T22" fmla="*/ 0 w 28"/>
                  <a:gd name="T23" fmla="*/ 28 h 30"/>
                  <a:gd name="T24" fmla="*/ 2 w 28"/>
                  <a:gd name="T25" fmla="*/ 26 h 30"/>
                  <a:gd name="T26" fmla="*/ 4 w 28"/>
                  <a:gd name="T27" fmla="*/ 24 h 30"/>
                  <a:gd name="T28" fmla="*/ 7 w 28"/>
                  <a:gd name="T29" fmla="*/ 23 h 30"/>
                  <a:gd name="T30" fmla="*/ 7 w 28"/>
                  <a:gd name="T31" fmla="*/ 23 h 30"/>
                  <a:gd name="T32" fmla="*/ 7 w 28"/>
                  <a:gd name="T33" fmla="*/ 23 h 30"/>
                  <a:gd name="T34" fmla="*/ 6 w 28"/>
                  <a:gd name="T35" fmla="*/ 23 h 30"/>
                  <a:gd name="T36" fmla="*/ 7 w 28"/>
                  <a:gd name="T37" fmla="*/ 21 h 30"/>
                  <a:gd name="T38" fmla="*/ 7 w 28"/>
                  <a:gd name="T39" fmla="*/ 21 h 30"/>
                  <a:gd name="T40" fmla="*/ 7 w 28"/>
                  <a:gd name="T41" fmla="*/ 21 h 30"/>
                  <a:gd name="T42" fmla="*/ 7 w 28"/>
                  <a:gd name="T43" fmla="*/ 19 h 30"/>
                  <a:gd name="T44" fmla="*/ 7 w 28"/>
                  <a:gd name="T45" fmla="*/ 19 h 30"/>
                  <a:gd name="T46" fmla="*/ 6 w 28"/>
                  <a:gd name="T47" fmla="*/ 17 h 30"/>
                  <a:gd name="T48" fmla="*/ 7 w 28"/>
                  <a:gd name="T49" fmla="*/ 15 h 30"/>
                  <a:gd name="T50" fmla="*/ 6 w 28"/>
                  <a:gd name="T51" fmla="*/ 15 h 30"/>
                  <a:gd name="T52" fmla="*/ 9 w 28"/>
                  <a:gd name="T53" fmla="*/ 15 h 30"/>
                  <a:gd name="T54" fmla="*/ 9 w 28"/>
                  <a:gd name="T55" fmla="*/ 13 h 30"/>
                  <a:gd name="T56" fmla="*/ 9 w 28"/>
                  <a:gd name="T57" fmla="*/ 13 h 30"/>
                  <a:gd name="T58" fmla="*/ 11 w 28"/>
                  <a:gd name="T59" fmla="*/ 11 h 30"/>
                  <a:gd name="T60" fmla="*/ 15 w 28"/>
                  <a:gd name="T61" fmla="*/ 9 h 30"/>
                  <a:gd name="T62" fmla="*/ 15 w 28"/>
                  <a:gd name="T63" fmla="*/ 7 h 30"/>
                  <a:gd name="T64" fmla="*/ 13 w 28"/>
                  <a:gd name="T65" fmla="*/ 5 h 30"/>
                  <a:gd name="T66" fmla="*/ 11 w 28"/>
                  <a:gd name="T67" fmla="*/ 3 h 30"/>
                  <a:gd name="T68" fmla="*/ 11 w 28"/>
                  <a:gd name="T69" fmla="*/ 0 h 30"/>
                  <a:gd name="T70" fmla="*/ 15 w 28"/>
                  <a:gd name="T71" fmla="*/ 0 h 30"/>
                  <a:gd name="T72" fmla="*/ 17 w 28"/>
                  <a:gd name="T73" fmla="*/ 2 h 30"/>
                  <a:gd name="T74" fmla="*/ 17 w 28"/>
                  <a:gd name="T75" fmla="*/ 5 h 30"/>
                  <a:gd name="T76" fmla="*/ 17 w 28"/>
                  <a:gd name="T77" fmla="*/ 5 h 30"/>
                  <a:gd name="T78" fmla="*/ 19 w 28"/>
                  <a:gd name="T79" fmla="*/ 7 h 30"/>
                  <a:gd name="T80" fmla="*/ 19 w 28"/>
                  <a:gd name="T81" fmla="*/ 7 h 30"/>
                  <a:gd name="T82" fmla="*/ 19 w 28"/>
                  <a:gd name="T83" fmla="*/ 9 h 30"/>
                  <a:gd name="T84" fmla="*/ 21 w 28"/>
                  <a:gd name="T85" fmla="*/ 13 h 30"/>
                  <a:gd name="T86" fmla="*/ 23 w 28"/>
                  <a:gd name="T87" fmla="*/ 15 h 30"/>
                  <a:gd name="T88" fmla="*/ 25 w 28"/>
                  <a:gd name="T89" fmla="*/ 17 h 30"/>
                  <a:gd name="T90" fmla="*/ 26 w 28"/>
                  <a:gd name="T91" fmla="*/ 21 h 30"/>
                  <a:gd name="T92" fmla="*/ 28 w 28"/>
                  <a:gd name="T93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" h="30">
                    <a:moveTo>
                      <a:pt x="28" y="23"/>
                    </a:moveTo>
                    <a:lnTo>
                      <a:pt x="26" y="23"/>
                    </a:lnTo>
                    <a:lnTo>
                      <a:pt x="25" y="23"/>
                    </a:lnTo>
                    <a:lnTo>
                      <a:pt x="25" y="24"/>
                    </a:lnTo>
                    <a:lnTo>
                      <a:pt x="23" y="23"/>
                    </a:lnTo>
                    <a:lnTo>
                      <a:pt x="21" y="23"/>
                    </a:lnTo>
                    <a:lnTo>
                      <a:pt x="19" y="21"/>
                    </a:lnTo>
                    <a:lnTo>
                      <a:pt x="19" y="23"/>
                    </a:lnTo>
                    <a:lnTo>
                      <a:pt x="17" y="23"/>
                    </a:lnTo>
                    <a:lnTo>
                      <a:pt x="15" y="23"/>
                    </a:lnTo>
                    <a:lnTo>
                      <a:pt x="13" y="23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9" y="26"/>
                    </a:lnTo>
                    <a:lnTo>
                      <a:pt x="7" y="26"/>
                    </a:lnTo>
                    <a:lnTo>
                      <a:pt x="6" y="26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2" y="28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7" y="23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7" y="21"/>
                    </a:lnTo>
                    <a:lnTo>
                      <a:pt x="6" y="19"/>
                    </a:lnTo>
                    <a:lnTo>
                      <a:pt x="7" y="19"/>
                    </a:lnTo>
                    <a:lnTo>
                      <a:pt x="6" y="19"/>
                    </a:lnTo>
                    <a:lnTo>
                      <a:pt x="7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7" y="17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9" y="13"/>
                    </a:lnTo>
                    <a:lnTo>
                      <a:pt x="7" y="13"/>
                    </a:lnTo>
                    <a:lnTo>
                      <a:pt x="9" y="13"/>
                    </a:lnTo>
                    <a:lnTo>
                      <a:pt x="9" y="11"/>
                    </a:lnTo>
                    <a:lnTo>
                      <a:pt x="11" y="11"/>
                    </a:lnTo>
                    <a:lnTo>
                      <a:pt x="13" y="11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5" y="7"/>
                    </a:lnTo>
                    <a:lnTo>
                      <a:pt x="13" y="7"/>
                    </a:lnTo>
                    <a:lnTo>
                      <a:pt x="13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1" y="13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5" y="19"/>
                    </a:lnTo>
                    <a:lnTo>
                      <a:pt x="26" y="21"/>
                    </a:lnTo>
                    <a:lnTo>
                      <a:pt x="28" y="21"/>
                    </a:lnTo>
                    <a:lnTo>
                      <a:pt x="28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2" name="Freeform 204">
                <a:extLst>
                  <a:ext uri="{FF2B5EF4-FFF2-40B4-BE49-F238E27FC236}">
                    <a16:creationId xmlns:a16="http://schemas.microsoft.com/office/drawing/2014/main" id="{E555D8F7-3347-02AE-E747-796F8E43DA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643341" y="-1963021"/>
                <a:ext cx="99433" cy="103250"/>
              </a:xfrm>
              <a:custGeom>
                <a:avLst/>
                <a:gdLst>
                  <a:gd name="T0" fmla="*/ 64 w 64"/>
                  <a:gd name="T1" fmla="*/ 7 h 66"/>
                  <a:gd name="T2" fmla="*/ 59 w 64"/>
                  <a:gd name="T3" fmla="*/ 15 h 66"/>
                  <a:gd name="T4" fmla="*/ 57 w 64"/>
                  <a:gd name="T5" fmla="*/ 19 h 66"/>
                  <a:gd name="T6" fmla="*/ 59 w 64"/>
                  <a:gd name="T7" fmla="*/ 23 h 66"/>
                  <a:gd name="T8" fmla="*/ 57 w 64"/>
                  <a:gd name="T9" fmla="*/ 26 h 66"/>
                  <a:gd name="T10" fmla="*/ 59 w 64"/>
                  <a:gd name="T11" fmla="*/ 30 h 66"/>
                  <a:gd name="T12" fmla="*/ 63 w 64"/>
                  <a:gd name="T13" fmla="*/ 34 h 66"/>
                  <a:gd name="T14" fmla="*/ 63 w 64"/>
                  <a:gd name="T15" fmla="*/ 38 h 66"/>
                  <a:gd name="T16" fmla="*/ 64 w 64"/>
                  <a:gd name="T17" fmla="*/ 44 h 66"/>
                  <a:gd name="T18" fmla="*/ 63 w 64"/>
                  <a:gd name="T19" fmla="*/ 45 h 66"/>
                  <a:gd name="T20" fmla="*/ 63 w 64"/>
                  <a:gd name="T21" fmla="*/ 51 h 66"/>
                  <a:gd name="T22" fmla="*/ 59 w 64"/>
                  <a:gd name="T23" fmla="*/ 53 h 66"/>
                  <a:gd name="T24" fmla="*/ 59 w 64"/>
                  <a:gd name="T25" fmla="*/ 57 h 66"/>
                  <a:gd name="T26" fmla="*/ 55 w 64"/>
                  <a:gd name="T27" fmla="*/ 59 h 66"/>
                  <a:gd name="T28" fmla="*/ 51 w 64"/>
                  <a:gd name="T29" fmla="*/ 57 h 66"/>
                  <a:gd name="T30" fmla="*/ 45 w 64"/>
                  <a:gd name="T31" fmla="*/ 55 h 66"/>
                  <a:gd name="T32" fmla="*/ 42 w 64"/>
                  <a:gd name="T33" fmla="*/ 57 h 66"/>
                  <a:gd name="T34" fmla="*/ 36 w 64"/>
                  <a:gd name="T35" fmla="*/ 57 h 66"/>
                  <a:gd name="T36" fmla="*/ 34 w 64"/>
                  <a:gd name="T37" fmla="*/ 55 h 66"/>
                  <a:gd name="T38" fmla="*/ 32 w 64"/>
                  <a:gd name="T39" fmla="*/ 57 h 66"/>
                  <a:gd name="T40" fmla="*/ 32 w 64"/>
                  <a:gd name="T41" fmla="*/ 59 h 66"/>
                  <a:gd name="T42" fmla="*/ 32 w 64"/>
                  <a:gd name="T43" fmla="*/ 61 h 66"/>
                  <a:gd name="T44" fmla="*/ 34 w 64"/>
                  <a:gd name="T45" fmla="*/ 66 h 66"/>
                  <a:gd name="T46" fmla="*/ 30 w 64"/>
                  <a:gd name="T47" fmla="*/ 65 h 66"/>
                  <a:gd name="T48" fmla="*/ 28 w 64"/>
                  <a:gd name="T49" fmla="*/ 65 h 66"/>
                  <a:gd name="T50" fmla="*/ 24 w 64"/>
                  <a:gd name="T51" fmla="*/ 63 h 66"/>
                  <a:gd name="T52" fmla="*/ 21 w 64"/>
                  <a:gd name="T53" fmla="*/ 59 h 66"/>
                  <a:gd name="T54" fmla="*/ 19 w 64"/>
                  <a:gd name="T55" fmla="*/ 55 h 66"/>
                  <a:gd name="T56" fmla="*/ 15 w 64"/>
                  <a:gd name="T57" fmla="*/ 51 h 66"/>
                  <a:gd name="T58" fmla="*/ 13 w 64"/>
                  <a:gd name="T59" fmla="*/ 49 h 66"/>
                  <a:gd name="T60" fmla="*/ 13 w 64"/>
                  <a:gd name="T61" fmla="*/ 47 h 66"/>
                  <a:gd name="T62" fmla="*/ 13 w 64"/>
                  <a:gd name="T63" fmla="*/ 45 h 66"/>
                  <a:gd name="T64" fmla="*/ 11 w 64"/>
                  <a:gd name="T65" fmla="*/ 42 h 66"/>
                  <a:gd name="T66" fmla="*/ 5 w 64"/>
                  <a:gd name="T67" fmla="*/ 42 h 66"/>
                  <a:gd name="T68" fmla="*/ 3 w 64"/>
                  <a:gd name="T69" fmla="*/ 38 h 66"/>
                  <a:gd name="T70" fmla="*/ 2 w 64"/>
                  <a:gd name="T71" fmla="*/ 30 h 66"/>
                  <a:gd name="T72" fmla="*/ 2 w 64"/>
                  <a:gd name="T73" fmla="*/ 26 h 66"/>
                  <a:gd name="T74" fmla="*/ 3 w 64"/>
                  <a:gd name="T75" fmla="*/ 19 h 66"/>
                  <a:gd name="T76" fmla="*/ 5 w 64"/>
                  <a:gd name="T77" fmla="*/ 17 h 66"/>
                  <a:gd name="T78" fmla="*/ 9 w 64"/>
                  <a:gd name="T79" fmla="*/ 15 h 66"/>
                  <a:gd name="T80" fmla="*/ 11 w 64"/>
                  <a:gd name="T81" fmla="*/ 15 h 66"/>
                  <a:gd name="T82" fmla="*/ 13 w 64"/>
                  <a:gd name="T83" fmla="*/ 13 h 66"/>
                  <a:gd name="T84" fmla="*/ 13 w 64"/>
                  <a:gd name="T85" fmla="*/ 13 h 66"/>
                  <a:gd name="T86" fmla="*/ 13 w 64"/>
                  <a:gd name="T87" fmla="*/ 9 h 66"/>
                  <a:gd name="T88" fmla="*/ 15 w 64"/>
                  <a:gd name="T89" fmla="*/ 4 h 66"/>
                  <a:gd name="T90" fmla="*/ 19 w 64"/>
                  <a:gd name="T91" fmla="*/ 0 h 66"/>
                  <a:gd name="T92" fmla="*/ 32 w 64"/>
                  <a:gd name="T93" fmla="*/ 2 h 66"/>
                  <a:gd name="T94" fmla="*/ 34 w 64"/>
                  <a:gd name="T95" fmla="*/ 2 h 66"/>
                  <a:gd name="T96" fmla="*/ 40 w 64"/>
                  <a:gd name="T97" fmla="*/ 0 h 66"/>
                  <a:gd name="T98" fmla="*/ 45 w 64"/>
                  <a:gd name="T99" fmla="*/ 2 h 66"/>
                  <a:gd name="T100" fmla="*/ 47 w 64"/>
                  <a:gd name="T101" fmla="*/ 2 h 66"/>
                  <a:gd name="T102" fmla="*/ 47 w 64"/>
                  <a:gd name="T103" fmla="*/ 0 h 66"/>
                  <a:gd name="T104" fmla="*/ 61 w 64"/>
                  <a:gd name="T105" fmla="*/ 2 h 66"/>
                  <a:gd name="T106" fmla="*/ 64 w 64"/>
                  <a:gd name="T107" fmla="*/ 4 h 66"/>
                  <a:gd name="T108" fmla="*/ 15 w 64"/>
                  <a:gd name="T109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4" h="66">
                    <a:moveTo>
                      <a:pt x="64" y="4"/>
                    </a:moveTo>
                    <a:lnTo>
                      <a:pt x="64" y="5"/>
                    </a:lnTo>
                    <a:lnTo>
                      <a:pt x="64" y="7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59" y="15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7" y="19"/>
                    </a:lnTo>
                    <a:lnTo>
                      <a:pt x="57" y="21"/>
                    </a:lnTo>
                    <a:lnTo>
                      <a:pt x="59" y="21"/>
                    </a:lnTo>
                    <a:lnTo>
                      <a:pt x="59" y="23"/>
                    </a:lnTo>
                    <a:lnTo>
                      <a:pt x="57" y="23"/>
                    </a:lnTo>
                    <a:lnTo>
                      <a:pt x="59" y="24"/>
                    </a:lnTo>
                    <a:lnTo>
                      <a:pt x="57" y="26"/>
                    </a:lnTo>
                    <a:lnTo>
                      <a:pt x="59" y="26"/>
                    </a:lnTo>
                    <a:lnTo>
                      <a:pt x="59" y="28"/>
                    </a:lnTo>
                    <a:lnTo>
                      <a:pt x="59" y="30"/>
                    </a:lnTo>
                    <a:lnTo>
                      <a:pt x="61" y="32"/>
                    </a:lnTo>
                    <a:lnTo>
                      <a:pt x="61" y="34"/>
                    </a:lnTo>
                    <a:lnTo>
                      <a:pt x="63" y="34"/>
                    </a:lnTo>
                    <a:lnTo>
                      <a:pt x="61" y="34"/>
                    </a:lnTo>
                    <a:lnTo>
                      <a:pt x="63" y="36"/>
                    </a:lnTo>
                    <a:lnTo>
                      <a:pt x="63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4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3" y="45"/>
                    </a:lnTo>
                    <a:lnTo>
                      <a:pt x="63" y="47"/>
                    </a:lnTo>
                    <a:lnTo>
                      <a:pt x="63" y="49"/>
                    </a:lnTo>
                    <a:lnTo>
                      <a:pt x="63" y="51"/>
                    </a:lnTo>
                    <a:lnTo>
                      <a:pt x="61" y="51"/>
                    </a:lnTo>
                    <a:lnTo>
                      <a:pt x="61" y="53"/>
                    </a:lnTo>
                    <a:lnTo>
                      <a:pt x="59" y="53"/>
                    </a:lnTo>
                    <a:lnTo>
                      <a:pt x="61" y="53"/>
                    </a:lnTo>
                    <a:lnTo>
                      <a:pt x="59" y="55"/>
                    </a:lnTo>
                    <a:lnTo>
                      <a:pt x="59" y="57"/>
                    </a:lnTo>
                    <a:lnTo>
                      <a:pt x="57" y="57"/>
                    </a:lnTo>
                    <a:lnTo>
                      <a:pt x="57" y="59"/>
                    </a:lnTo>
                    <a:lnTo>
                      <a:pt x="55" y="59"/>
                    </a:lnTo>
                    <a:lnTo>
                      <a:pt x="53" y="59"/>
                    </a:lnTo>
                    <a:lnTo>
                      <a:pt x="53" y="57"/>
                    </a:lnTo>
                    <a:lnTo>
                      <a:pt x="51" y="57"/>
                    </a:lnTo>
                    <a:lnTo>
                      <a:pt x="49" y="55"/>
                    </a:lnTo>
                    <a:lnTo>
                      <a:pt x="47" y="55"/>
                    </a:lnTo>
                    <a:lnTo>
                      <a:pt x="45" y="55"/>
                    </a:lnTo>
                    <a:lnTo>
                      <a:pt x="43" y="55"/>
                    </a:lnTo>
                    <a:lnTo>
                      <a:pt x="43" y="57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38" y="57"/>
                    </a:lnTo>
                    <a:lnTo>
                      <a:pt x="36" y="57"/>
                    </a:lnTo>
                    <a:lnTo>
                      <a:pt x="34" y="55"/>
                    </a:lnTo>
                    <a:lnTo>
                      <a:pt x="32" y="55"/>
                    </a:lnTo>
                    <a:lnTo>
                      <a:pt x="34" y="55"/>
                    </a:lnTo>
                    <a:lnTo>
                      <a:pt x="32" y="57"/>
                    </a:lnTo>
                    <a:lnTo>
                      <a:pt x="34" y="57"/>
                    </a:lnTo>
                    <a:lnTo>
                      <a:pt x="32" y="57"/>
                    </a:lnTo>
                    <a:lnTo>
                      <a:pt x="32" y="59"/>
                    </a:lnTo>
                    <a:lnTo>
                      <a:pt x="32" y="57"/>
                    </a:lnTo>
                    <a:lnTo>
                      <a:pt x="32" y="59"/>
                    </a:lnTo>
                    <a:lnTo>
                      <a:pt x="30" y="59"/>
                    </a:lnTo>
                    <a:lnTo>
                      <a:pt x="32" y="59"/>
                    </a:lnTo>
                    <a:lnTo>
                      <a:pt x="32" y="61"/>
                    </a:lnTo>
                    <a:lnTo>
                      <a:pt x="34" y="63"/>
                    </a:lnTo>
                    <a:lnTo>
                      <a:pt x="34" y="65"/>
                    </a:lnTo>
                    <a:lnTo>
                      <a:pt x="34" y="66"/>
                    </a:lnTo>
                    <a:lnTo>
                      <a:pt x="32" y="66"/>
                    </a:lnTo>
                    <a:lnTo>
                      <a:pt x="30" y="66"/>
                    </a:lnTo>
                    <a:lnTo>
                      <a:pt x="30" y="65"/>
                    </a:lnTo>
                    <a:lnTo>
                      <a:pt x="28" y="65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6" y="65"/>
                    </a:lnTo>
                    <a:lnTo>
                      <a:pt x="24" y="65"/>
                    </a:lnTo>
                    <a:lnTo>
                      <a:pt x="24" y="63"/>
                    </a:lnTo>
                    <a:lnTo>
                      <a:pt x="22" y="63"/>
                    </a:lnTo>
                    <a:lnTo>
                      <a:pt x="21" y="61"/>
                    </a:lnTo>
                    <a:lnTo>
                      <a:pt x="21" y="59"/>
                    </a:lnTo>
                    <a:lnTo>
                      <a:pt x="19" y="59"/>
                    </a:lnTo>
                    <a:lnTo>
                      <a:pt x="19" y="57"/>
                    </a:lnTo>
                    <a:lnTo>
                      <a:pt x="19" y="55"/>
                    </a:lnTo>
                    <a:lnTo>
                      <a:pt x="17" y="55"/>
                    </a:lnTo>
                    <a:lnTo>
                      <a:pt x="17" y="53"/>
                    </a:lnTo>
                    <a:lnTo>
                      <a:pt x="15" y="51"/>
                    </a:lnTo>
                    <a:lnTo>
                      <a:pt x="13" y="51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3" y="47"/>
                    </a:lnTo>
                    <a:lnTo>
                      <a:pt x="13" y="45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7" y="42"/>
                    </a:lnTo>
                    <a:lnTo>
                      <a:pt x="5" y="42"/>
                    </a:lnTo>
                    <a:lnTo>
                      <a:pt x="7" y="40"/>
                    </a:lnTo>
                    <a:lnTo>
                      <a:pt x="5" y="38"/>
                    </a:lnTo>
                    <a:lnTo>
                      <a:pt x="3" y="38"/>
                    </a:lnTo>
                    <a:lnTo>
                      <a:pt x="3" y="34"/>
                    </a:lnTo>
                    <a:lnTo>
                      <a:pt x="2" y="32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3" y="21"/>
                    </a:lnTo>
                    <a:lnTo>
                      <a:pt x="3" y="19"/>
                    </a:lnTo>
                    <a:lnTo>
                      <a:pt x="2" y="19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1" y="15"/>
                    </a:lnTo>
                    <a:lnTo>
                      <a:pt x="13" y="13"/>
                    </a:lnTo>
                    <a:lnTo>
                      <a:pt x="15" y="13"/>
                    </a:lnTo>
                    <a:lnTo>
                      <a:pt x="13" y="11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1" y="11"/>
                    </a:lnTo>
                    <a:lnTo>
                      <a:pt x="13" y="9"/>
                    </a:lnTo>
                    <a:lnTo>
                      <a:pt x="13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3" y="0"/>
                    </a:lnTo>
                    <a:lnTo>
                      <a:pt x="45" y="2"/>
                    </a:lnTo>
                    <a:lnTo>
                      <a:pt x="47" y="2"/>
                    </a:lnTo>
                    <a:lnTo>
                      <a:pt x="49" y="2"/>
                    </a:lnTo>
                    <a:lnTo>
                      <a:pt x="47" y="2"/>
                    </a:lnTo>
                    <a:lnTo>
                      <a:pt x="47" y="0"/>
                    </a:lnTo>
                    <a:lnTo>
                      <a:pt x="45" y="2"/>
                    </a:lnTo>
                    <a:lnTo>
                      <a:pt x="47" y="0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4" y="2"/>
                    </a:lnTo>
                    <a:lnTo>
                      <a:pt x="64" y="4"/>
                    </a:lnTo>
                    <a:close/>
                    <a:moveTo>
                      <a:pt x="15" y="2"/>
                    </a:moveTo>
                    <a:lnTo>
                      <a:pt x="15" y="4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3" name="Freeform 84">
                <a:extLst>
                  <a:ext uri="{FF2B5EF4-FFF2-40B4-BE49-F238E27FC236}">
                    <a16:creationId xmlns:a16="http://schemas.microsoft.com/office/drawing/2014/main" id="{281F4E74-6AE3-E339-E297-17E2F634D00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65859" y="-2623258"/>
                <a:ext cx="305664" cy="339389"/>
              </a:xfrm>
              <a:custGeom>
                <a:avLst/>
                <a:gdLst>
                  <a:gd name="T0" fmla="*/ 171 w 194"/>
                  <a:gd name="T1" fmla="*/ 42 h 215"/>
                  <a:gd name="T2" fmla="*/ 187 w 194"/>
                  <a:gd name="T3" fmla="*/ 189 h 215"/>
                  <a:gd name="T4" fmla="*/ 128 w 194"/>
                  <a:gd name="T5" fmla="*/ 202 h 215"/>
                  <a:gd name="T6" fmla="*/ 122 w 194"/>
                  <a:gd name="T7" fmla="*/ 204 h 215"/>
                  <a:gd name="T8" fmla="*/ 114 w 194"/>
                  <a:gd name="T9" fmla="*/ 204 h 215"/>
                  <a:gd name="T10" fmla="*/ 105 w 194"/>
                  <a:gd name="T11" fmla="*/ 204 h 215"/>
                  <a:gd name="T12" fmla="*/ 99 w 194"/>
                  <a:gd name="T13" fmla="*/ 206 h 215"/>
                  <a:gd name="T14" fmla="*/ 95 w 194"/>
                  <a:gd name="T15" fmla="*/ 206 h 215"/>
                  <a:gd name="T16" fmla="*/ 89 w 194"/>
                  <a:gd name="T17" fmla="*/ 200 h 215"/>
                  <a:gd name="T18" fmla="*/ 84 w 194"/>
                  <a:gd name="T19" fmla="*/ 206 h 215"/>
                  <a:gd name="T20" fmla="*/ 84 w 194"/>
                  <a:gd name="T21" fmla="*/ 214 h 215"/>
                  <a:gd name="T22" fmla="*/ 78 w 194"/>
                  <a:gd name="T23" fmla="*/ 215 h 215"/>
                  <a:gd name="T24" fmla="*/ 74 w 194"/>
                  <a:gd name="T25" fmla="*/ 212 h 215"/>
                  <a:gd name="T26" fmla="*/ 67 w 194"/>
                  <a:gd name="T27" fmla="*/ 208 h 215"/>
                  <a:gd name="T28" fmla="*/ 65 w 194"/>
                  <a:gd name="T29" fmla="*/ 202 h 215"/>
                  <a:gd name="T30" fmla="*/ 61 w 194"/>
                  <a:gd name="T31" fmla="*/ 200 h 215"/>
                  <a:gd name="T32" fmla="*/ 59 w 194"/>
                  <a:gd name="T33" fmla="*/ 195 h 215"/>
                  <a:gd name="T34" fmla="*/ 53 w 194"/>
                  <a:gd name="T35" fmla="*/ 193 h 215"/>
                  <a:gd name="T36" fmla="*/ 51 w 194"/>
                  <a:gd name="T37" fmla="*/ 191 h 215"/>
                  <a:gd name="T38" fmla="*/ 47 w 194"/>
                  <a:gd name="T39" fmla="*/ 187 h 215"/>
                  <a:gd name="T40" fmla="*/ 44 w 194"/>
                  <a:gd name="T41" fmla="*/ 185 h 215"/>
                  <a:gd name="T42" fmla="*/ 40 w 194"/>
                  <a:gd name="T43" fmla="*/ 183 h 215"/>
                  <a:gd name="T44" fmla="*/ 38 w 194"/>
                  <a:gd name="T45" fmla="*/ 185 h 215"/>
                  <a:gd name="T46" fmla="*/ 34 w 194"/>
                  <a:gd name="T47" fmla="*/ 183 h 215"/>
                  <a:gd name="T48" fmla="*/ 32 w 194"/>
                  <a:gd name="T49" fmla="*/ 185 h 215"/>
                  <a:gd name="T50" fmla="*/ 30 w 194"/>
                  <a:gd name="T51" fmla="*/ 185 h 215"/>
                  <a:gd name="T52" fmla="*/ 25 w 194"/>
                  <a:gd name="T53" fmla="*/ 187 h 215"/>
                  <a:gd name="T54" fmla="*/ 19 w 194"/>
                  <a:gd name="T55" fmla="*/ 187 h 215"/>
                  <a:gd name="T56" fmla="*/ 13 w 194"/>
                  <a:gd name="T57" fmla="*/ 187 h 215"/>
                  <a:gd name="T58" fmla="*/ 11 w 194"/>
                  <a:gd name="T59" fmla="*/ 189 h 215"/>
                  <a:gd name="T60" fmla="*/ 9 w 194"/>
                  <a:gd name="T61" fmla="*/ 191 h 215"/>
                  <a:gd name="T62" fmla="*/ 15 w 194"/>
                  <a:gd name="T63" fmla="*/ 170 h 215"/>
                  <a:gd name="T64" fmla="*/ 17 w 194"/>
                  <a:gd name="T65" fmla="*/ 158 h 215"/>
                  <a:gd name="T66" fmla="*/ 13 w 194"/>
                  <a:gd name="T67" fmla="*/ 143 h 215"/>
                  <a:gd name="T68" fmla="*/ 11 w 194"/>
                  <a:gd name="T69" fmla="*/ 137 h 215"/>
                  <a:gd name="T70" fmla="*/ 11 w 194"/>
                  <a:gd name="T71" fmla="*/ 135 h 215"/>
                  <a:gd name="T72" fmla="*/ 11 w 194"/>
                  <a:gd name="T73" fmla="*/ 133 h 215"/>
                  <a:gd name="T74" fmla="*/ 11 w 194"/>
                  <a:gd name="T75" fmla="*/ 130 h 215"/>
                  <a:gd name="T76" fmla="*/ 13 w 194"/>
                  <a:gd name="T77" fmla="*/ 122 h 215"/>
                  <a:gd name="T78" fmla="*/ 9 w 194"/>
                  <a:gd name="T79" fmla="*/ 116 h 215"/>
                  <a:gd name="T80" fmla="*/ 5 w 194"/>
                  <a:gd name="T81" fmla="*/ 114 h 215"/>
                  <a:gd name="T82" fmla="*/ 4 w 194"/>
                  <a:gd name="T83" fmla="*/ 109 h 215"/>
                  <a:gd name="T84" fmla="*/ 0 w 194"/>
                  <a:gd name="T85" fmla="*/ 112 h 215"/>
                  <a:gd name="T86" fmla="*/ 21 w 194"/>
                  <a:gd name="T87" fmla="*/ 105 h 215"/>
                  <a:gd name="T88" fmla="*/ 63 w 194"/>
                  <a:gd name="T89" fmla="*/ 78 h 215"/>
                  <a:gd name="T90" fmla="*/ 76 w 194"/>
                  <a:gd name="T91" fmla="*/ 70 h 215"/>
                  <a:gd name="T92" fmla="*/ 80 w 194"/>
                  <a:gd name="T93" fmla="*/ 25 h 215"/>
                  <a:gd name="T94" fmla="*/ 11 w 194"/>
                  <a:gd name="T95" fmla="*/ 130 h 215"/>
                  <a:gd name="T96" fmla="*/ 9 w 194"/>
                  <a:gd name="T97" fmla="*/ 132 h 215"/>
                  <a:gd name="T98" fmla="*/ 9 w 194"/>
                  <a:gd name="T99" fmla="*/ 116 h 215"/>
                  <a:gd name="T100" fmla="*/ 11 w 194"/>
                  <a:gd name="T101" fmla="*/ 133 h 215"/>
                  <a:gd name="T102" fmla="*/ 9 w 194"/>
                  <a:gd name="T103" fmla="*/ 116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4" h="215">
                    <a:moveTo>
                      <a:pt x="133" y="0"/>
                    </a:moveTo>
                    <a:lnTo>
                      <a:pt x="181" y="32"/>
                    </a:lnTo>
                    <a:lnTo>
                      <a:pt x="194" y="42"/>
                    </a:lnTo>
                    <a:lnTo>
                      <a:pt x="171" y="42"/>
                    </a:lnTo>
                    <a:lnTo>
                      <a:pt x="173" y="67"/>
                    </a:lnTo>
                    <a:lnTo>
                      <a:pt x="181" y="179"/>
                    </a:lnTo>
                    <a:lnTo>
                      <a:pt x="183" y="187"/>
                    </a:lnTo>
                    <a:lnTo>
                      <a:pt x="187" y="189"/>
                    </a:lnTo>
                    <a:lnTo>
                      <a:pt x="185" y="202"/>
                    </a:lnTo>
                    <a:lnTo>
                      <a:pt x="171" y="202"/>
                    </a:lnTo>
                    <a:lnTo>
                      <a:pt x="150" y="202"/>
                    </a:lnTo>
                    <a:lnTo>
                      <a:pt x="128" y="202"/>
                    </a:lnTo>
                    <a:lnTo>
                      <a:pt x="124" y="202"/>
                    </a:lnTo>
                    <a:lnTo>
                      <a:pt x="124" y="200"/>
                    </a:lnTo>
                    <a:lnTo>
                      <a:pt x="122" y="200"/>
                    </a:lnTo>
                    <a:lnTo>
                      <a:pt x="122" y="204"/>
                    </a:lnTo>
                    <a:lnTo>
                      <a:pt x="120" y="204"/>
                    </a:lnTo>
                    <a:lnTo>
                      <a:pt x="118" y="204"/>
                    </a:lnTo>
                    <a:lnTo>
                      <a:pt x="116" y="204"/>
                    </a:lnTo>
                    <a:lnTo>
                      <a:pt x="114" y="204"/>
                    </a:lnTo>
                    <a:lnTo>
                      <a:pt x="112" y="204"/>
                    </a:lnTo>
                    <a:lnTo>
                      <a:pt x="108" y="204"/>
                    </a:lnTo>
                    <a:lnTo>
                      <a:pt x="107" y="204"/>
                    </a:lnTo>
                    <a:lnTo>
                      <a:pt x="105" y="204"/>
                    </a:lnTo>
                    <a:lnTo>
                      <a:pt x="103" y="204"/>
                    </a:lnTo>
                    <a:lnTo>
                      <a:pt x="101" y="204"/>
                    </a:lnTo>
                    <a:lnTo>
                      <a:pt x="101" y="206"/>
                    </a:lnTo>
                    <a:lnTo>
                      <a:pt x="99" y="206"/>
                    </a:lnTo>
                    <a:lnTo>
                      <a:pt x="99" y="208"/>
                    </a:lnTo>
                    <a:lnTo>
                      <a:pt x="99" y="210"/>
                    </a:lnTo>
                    <a:lnTo>
                      <a:pt x="97" y="208"/>
                    </a:lnTo>
                    <a:lnTo>
                      <a:pt x="95" y="206"/>
                    </a:lnTo>
                    <a:lnTo>
                      <a:pt x="93" y="204"/>
                    </a:lnTo>
                    <a:lnTo>
                      <a:pt x="91" y="204"/>
                    </a:lnTo>
                    <a:lnTo>
                      <a:pt x="91" y="202"/>
                    </a:lnTo>
                    <a:lnTo>
                      <a:pt x="89" y="200"/>
                    </a:lnTo>
                    <a:lnTo>
                      <a:pt x="87" y="202"/>
                    </a:lnTo>
                    <a:lnTo>
                      <a:pt x="86" y="202"/>
                    </a:lnTo>
                    <a:lnTo>
                      <a:pt x="86" y="204"/>
                    </a:lnTo>
                    <a:lnTo>
                      <a:pt x="84" y="206"/>
                    </a:lnTo>
                    <a:lnTo>
                      <a:pt x="84" y="208"/>
                    </a:lnTo>
                    <a:lnTo>
                      <a:pt x="84" y="210"/>
                    </a:lnTo>
                    <a:lnTo>
                      <a:pt x="84" y="212"/>
                    </a:lnTo>
                    <a:lnTo>
                      <a:pt x="84" y="214"/>
                    </a:lnTo>
                    <a:lnTo>
                      <a:pt x="82" y="214"/>
                    </a:lnTo>
                    <a:lnTo>
                      <a:pt x="82" y="215"/>
                    </a:lnTo>
                    <a:lnTo>
                      <a:pt x="80" y="215"/>
                    </a:lnTo>
                    <a:lnTo>
                      <a:pt x="78" y="215"/>
                    </a:lnTo>
                    <a:lnTo>
                      <a:pt x="76" y="215"/>
                    </a:lnTo>
                    <a:lnTo>
                      <a:pt x="76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2" y="210"/>
                    </a:lnTo>
                    <a:lnTo>
                      <a:pt x="70" y="210"/>
                    </a:lnTo>
                    <a:lnTo>
                      <a:pt x="68" y="208"/>
                    </a:lnTo>
                    <a:lnTo>
                      <a:pt x="67" y="208"/>
                    </a:lnTo>
                    <a:lnTo>
                      <a:pt x="67" y="206"/>
                    </a:lnTo>
                    <a:lnTo>
                      <a:pt x="67" y="204"/>
                    </a:lnTo>
                    <a:lnTo>
                      <a:pt x="65" y="204"/>
                    </a:lnTo>
                    <a:lnTo>
                      <a:pt x="65" y="202"/>
                    </a:lnTo>
                    <a:lnTo>
                      <a:pt x="65" y="204"/>
                    </a:lnTo>
                    <a:lnTo>
                      <a:pt x="63" y="202"/>
                    </a:lnTo>
                    <a:lnTo>
                      <a:pt x="63" y="200"/>
                    </a:lnTo>
                    <a:lnTo>
                      <a:pt x="61" y="200"/>
                    </a:lnTo>
                    <a:lnTo>
                      <a:pt x="61" y="198"/>
                    </a:lnTo>
                    <a:lnTo>
                      <a:pt x="61" y="196"/>
                    </a:lnTo>
                    <a:lnTo>
                      <a:pt x="59" y="196"/>
                    </a:lnTo>
                    <a:lnTo>
                      <a:pt x="59" y="195"/>
                    </a:lnTo>
                    <a:lnTo>
                      <a:pt x="59" y="193"/>
                    </a:lnTo>
                    <a:lnTo>
                      <a:pt x="57" y="193"/>
                    </a:lnTo>
                    <a:lnTo>
                      <a:pt x="55" y="193"/>
                    </a:lnTo>
                    <a:lnTo>
                      <a:pt x="53" y="193"/>
                    </a:lnTo>
                    <a:lnTo>
                      <a:pt x="53" y="191"/>
                    </a:lnTo>
                    <a:lnTo>
                      <a:pt x="53" y="193"/>
                    </a:lnTo>
                    <a:lnTo>
                      <a:pt x="51" y="193"/>
                    </a:lnTo>
                    <a:lnTo>
                      <a:pt x="51" y="191"/>
                    </a:lnTo>
                    <a:lnTo>
                      <a:pt x="49" y="191"/>
                    </a:lnTo>
                    <a:lnTo>
                      <a:pt x="49" y="189"/>
                    </a:lnTo>
                    <a:lnTo>
                      <a:pt x="47" y="189"/>
                    </a:lnTo>
                    <a:lnTo>
                      <a:pt x="47" y="187"/>
                    </a:lnTo>
                    <a:lnTo>
                      <a:pt x="46" y="187"/>
                    </a:lnTo>
                    <a:lnTo>
                      <a:pt x="46" y="185"/>
                    </a:lnTo>
                    <a:lnTo>
                      <a:pt x="46" y="187"/>
                    </a:lnTo>
                    <a:lnTo>
                      <a:pt x="44" y="185"/>
                    </a:lnTo>
                    <a:lnTo>
                      <a:pt x="44" y="183"/>
                    </a:lnTo>
                    <a:lnTo>
                      <a:pt x="42" y="183"/>
                    </a:lnTo>
                    <a:lnTo>
                      <a:pt x="42" y="185"/>
                    </a:lnTo>
                    <a:lnTo>
                      <a:pt x="40" y="183"/>
                    </a:lnTo>
                    <a:lnTo>
                      <a:pt x="40" y="185"/>
                    </a:lnTo>
                    <a:lnTo>
                      <a:pt x="38" y="185"/>
                    </a:lnTo>
                    <a:lnTo>
                      <a:pt x="38" y="183"/>
                    </a:lnTo>
                    <a:lnTo>
                      <a:pt x="38" y="185"/>
                    </a:lnTo>
                    <a:lnTo>
                      <a:pt x="36" y="183"/>
                    </a:lnTo>
                    <a:lnTo>
                      <a:pt x="36" y="185"/>
                    </a:lnTo>
                    <a:lnTo>
                      <a:pt x="36" y="183"/>
                    </a:lnTo>
                    <a:lnTo>
                      <a:pt x="34" y="183"/>
                    </a:lnTo>
                    <a:lnTo>
                      <a:pt x="34" y="185"/>
                    </a:lnTo>
                    <a:lnTo>
                      <a:pt x="34" y="183"/>
                    </a:lnTo>
                    <a:lnTo>
                      <a:pt x="32" y="183"/>
                    </a:lnTo>
                    <a:lnTo>
                      <a:pt x="32" y="185"/>
                    </a:lnTo>
                    <a:lnTo>
                      <a:pt x="32" y="183"/>
                    </a:lnTo>
                    <a:lnTo>
                      <a:pt x="30" y="183"/>
                    </a:lnTo>
                    <a:lnTo>
                      <a:pt x="32" y="185"/>
                    </a:lnTo>
                    <a:lnTo>
                      <a:pt x="30" y="185"/>
                    </a:lnTo>
                    <a:lnTo>
                      <a:pt x="28" y="185"/>
                    </a:lnTo>
                    <a:lnTo>
                      <a:pt x="26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3" y="185"/>
                    </a:lnTo>
                    <a:lnTo>
                      <a:pt x="23" y="187"/>
                    </a:lnTo>
                    <a:lnTo>
                      <a:pt x="21" y="187"/>
                    </a:lnTo>
                    <a:lnTo>
                      <a:pt x="19" y="187"/>
                    </a:lnTo>
                    <a:lnTo>
                      <a:pt x="19" y="185"/>
                    </a:lnTo>
                    <a:lnTo>
                      <a:pt x="17" y="187"/>
                    </a:lnTo>
                    <a:lnTo>
                      <a:pt x="15" y="185"/>
                    </a:lnTo>
                    <a:lnTo>
                      <a:pt x="13" y="187"/>
                    </a:lnTo>
                    <a:lnTo>
                      <a:pt x="13" y="185"/>
                    </a:lnTo>
                    <a:lnTo>
                      <a:pt x="13" y="187"/>
                    </a:lnTo>
                    <a:lnTo>
                      <a:pt x="11" y="187"/>
                    </a:lnTo>
                    <a:lnTo>
                      <a:pt x="11" y="189"/>
                    </a:lnTo>
                    <a:lnTo>
                      <a:pt x="11" y="191"/>
                    </a:lnTo>
                    <a:lnTo>
                      <a:pt x="9" y="191"/>
                    </a:lnTo>
                    <a:lnTo>
                      <a:pt x="9" y="193"/>
                    </a:lnTo>
                    <a:lnTo>
                      <a:pt x="9" y="191"/>
                    </a:lnTo>
                    <a:lnTo>
                      <a:pt x="9" y="187"/>
                    </a:lnTo>
                    <a:lnTo>
                      <a:pt x="9" y="185"/>
                    </a:lnTo>
                    <a:lnTo>
                      <a:pt x="15" y="174"/>
                    </a:lnTo>
                    <a:lnTo>
                      <a:pt x="15" y="170"/>
                    </a:lnTo>
                    <a:lnTo>
                      <a:pt x="17" y="166"/>
                    </a:lnTo>
                    <a:lnTo>
                      <a:pt x="17" y="162"/>
                    </a:lnTo>
                    <a:lnTo>
                      <a:pt x="17" y="160"/>
                    </a:lnTo>
                    <a:lnTo>
                      <a:pt x="17" y="158"/>
                    </a:lnTo>
                    <a:lnTo>
                      <a:pt x="17" y="153"/>
                    </a:lnTo>
                    <a:lnTo>
                      <a:pt x="15" y="151"/>
                    </a:lnTo>
                    <a:lnTo>
                      <a:pt x="15" y="145"/>
                    </a:lnTo>
                    <a:lnTo>
                      <a:pt x="13" y="143"/>
                    </a:lnTo>
                    <a:lnTo>
                      <a:pt x="11" y="141"/>
                    </a:lnTo>
                    <a:lnTo>
                      <a:pt x="9" y="139"/>
                    </a:lnTo>
                    <a:lnTo>
                      <a:pt x="9" y="137"/>
                    </a:lnTo>
                    <a:lnTo>
                      <a:pt x="11" y="137"/>
                    </a:lnTo>
                    <a:lnTo>
                      <a:pt x="13" y="135"/>
                    </a:lnTo>
                    <a:lnTo>
                      <a:pt x="11" y="135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1" y="137"/>
                    </a:lnTo>
                    <a:lnTo>
                      <a:pt x="9" y="137"/>
                    </a:lnTo>
                    <a:lnTo>
                      <a:pt x="11" y="135"/>
                    </a:lnTo>
                    <a:lnTo>
                      <a:pt x="11" y="133"/>
                    </a:lnTo>
                    <a:lnTo>
                      <a:pt x="11" y="132"/>
                    </a:lnTo>
                    <a:lnTo>
                      <a:pt x="13" y="132"/>
                    </a:lnTo>
                    <a:lnTo>
                      <a:pt x="13" y="130"/>
                    </a:lnTo>
                    <a:lnTo>
                      <a:pt x="11" y="130"/>
                    </a:lnTo>
                    <a:lnTo>
                      <a:pt x="13" y="128"/>
                    </a:lnTo>
                    <a:lnTo>
                      <a:pt x="13" y="126"/>
                    </a:lnTo>
                    <a:lnTo>
                      <a:pt x="13" y="124"/>
                    </a:lnTo>
                    <a:lnTo>
                      <a:pt x="13" y="122"/>
                    </a:lnTo>
                    <a:lnTo>
                      <a:pt x="11" y="120"/>
                    </a:lnTo>
                    <a:lnTo>
                      <a:pt x="11" y="118"/>
                    </a:lnTo>
                    <a:lnTo>
                      <a:pt x="9" y="118"/>
                    </a:lnTo>
                    <a:lnTo>
                      <a:pt x="9" y="116"/>
                    </a:lnTo>
                    <a:lnTo>
                      <a:pt x="9" y="114"/>
                    </a:lnTo>
                    <a:lnTo>
                      <a:pt x="9" y="118"/>
                    </a:lnTo>
                    <a:lnTo>
                      <a:pt x="5" y="116"/>
                    </a:lnTo>
                    <a:lnTo>
                      <a:pt x="5" y="114"/>
                    </a:lnTo>
                    <a:lnTo>
                      <a:pt x="5" y="112"/>
                    </a:lnTo>
                    <a:lnTo>
                      <a:pt x="4" y="112"/>
                    </a:lnTo>
                    <a:lnTo>
                      <a:pt x="4" y="111"/>
                    </a:lnTo>
                    <a:lnTo>
                      <a:pt x="4" y="109"/>
                    </a:lnTo>
                    <a:lnTo>
                      <a:pt x="2" y="109"/>
                    </a:lnTo>
                    <a:lnTo>
                      <a:pt x="2" y="111"/>
                    </a:lnTo>
                    <a:lnTo>
                      <a:pt x="2" y="112"/>
                    </a:lnTo>
                    <a:lnTo>
                      <a:pt x="0" y="112"/>
                    </a:lnTo>
                    <a:lnTo>
                      <a:pt x="0" y="114"/>
                    </a:lnTo>
                    <a:lnTo>
                      <a:pt x="0" y="112"/>
                    </a:lnTo>
                    <a:lnTo>
                      <a:pt x="2" y="105"/>
                    </a:lnTo>
                    <a:lnTo>
                      <a:pt x="21" y="105"/>
                    </a:lnTo>
                    <a:lnTo>
                      <a:pt x="46" y="105"/>
                    </a:lnTo>
                    <a:lnTo>
                      <a:pt x="65" y="105"/>
                    </a:lnTo>
                    <a:lnTo>
                      <a:pt x="63" y="80"/>
                    </a:lnTo>
                    <a:lnTo>
                      <a:pt x="63" y="78"/>
                    </a:lnTo>
                    <a:lnTo>
                      <a:pt x="65" y="76"/>
                    </a:lnTo>
                    <a:lnTo>
                      <a:pt x="65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78" y="69"/>
                    </a:lnTo>
                    <a:lnTo>
                      <a:pt x="80" y="69"/>
                    </a:lnTo>
                    <a:lnTo>
                      <a:pt x="80" y="51"/>
                    </a:lnTo>
                    <a:lnTo>
                      <a:pt x="80" y="25"/>
                    </a:lnTo>
                    <a:lnTo>
                      <a:pt x="99" y="25"/>
                    </a:lnTo>
                    <a:lnTo>
                      <a:pt x="133" y="25"/>
                    </a:lnTo>
                    <a:lnTo>
                      <a:pt x="133" y="0"/>
                    </a:lnTo>
                    <a:close/>
                    <a:moveTo>
                      <a:pt x="11" y="130"/>
                    </a:moveTo>
                    <a:lnTo>
                      <a:pt x="11" y="132"/>
                    </a:lnTo>
                    <a:lnTo>
                      <a:pt x="11" y="133"/>
                    </a:lnTo>
                    <a:lnTo>
                      <a:pt x="9" y="133"/>
                    </a:lnTo>
                    <a:lnTo>
                      <a:pt x="9" y="132"/>
                    </a:lnTo>
                    <a:lnTo>
                      <a:pt x="9" y="133"/>
                    </a:lnTo>
                    <a:lnTo>
                      <a:pt x="9" y="132"/>
                    </a:lnTo>
                    <a:lnTo>
                      <a:pt x="11" y="130"/>
                    </a:lnTo>
                    <a:close/>
                    <a:moveTo>
                      <a:pt x="9" y="116"/>
                    </a:moveTo>
                    <a:lnTo>
                      <a:pt x="9" y="118"/>
                    </a:lnTo>
                    <a:lnTo>
                      <a:pt x="9" y="116"/>
                    </a:lnTo>
                    <a:close/>
                    <a:moveTo>
                      <a:pt x="11" y="132"/>
                    </a:moveTo>
                    <a:lnTo>
                      <a:pt x="11" y="133"/>
                    </a:lnTo>
                    <a:lnTo>
                      <a:pt x="11" y="132"/>
                    </a:lnTo>
                    <a:close/>
                    <a:moveTo>
                      <a:pt x="9" y="116"/>
                    </a:moveTo>
                    <a:lnTo>
                      <a:pt x="9" y="118"/>
                    </a:lnTo>
                    <a:lnTo>
                      <a:pt x="9" y="11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4" name="Freeform 113">
                <a:extLst>
                  <a:ext uri="{FF2B5EF4-FFF2-40B4-BE49-F238E27FC236}">
                    <a16:creationId xmlns:a16="http://schemas.microsoft.com/office/drawing/2014/main" id="{5320ABCF-DF39-F88D-906E-0B15CE6E696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16234" y="-3069985"/>
                <a:ext cx="146530" cy="115235"/>
              </a:xfrm>
              <a:custGeom>
                <a:avLst/>
                <a:gdLst>
                  <a:gd name="T0" fmla="*/ 70 w 93"/>
                  <a:gd name="T1" fmla="*/ 20 h 73"/>
                  <a:gd name="T2" fmla="*/ 76 w 93"/>
                  <a:gd name="T3" fmla="*/ 27 h 73"/>
                  <a:gd name="T4" fmla="*/ 86 w 93"/>
                  <a:gd name="T5" fmla="*/ 29 h 73"/>
                  <a:gd name="T6" fmla="*/ 89 w 93"/>
                  <a:gd name="T7" fmla="*/ 33 h 73"/>
                  <a:gd name="T8" fmla="*/ 82 w 93"/>
                  <a:gd name="T9" fmla="*/ 33 h 73"/>
                  <a:gd name="T10" fmla="*/ 76 w 93"/>
                  <a:gd name="T11" fmla="*/ 35 h 73"/>
                  <a:gd name="T12" fmla="*/ 72 w 93"/>
                  <a:gd name="T13" fmla="*/ 44 h 73"/>
                  <a:gd name="T14" fmla="*/ 72 w 93"/>
                  <a:gd name="T15" fmla="*/ 54 h 73"/>
                  <a:gd name="T16" fmla="*/ 70 w 93"/>
                  <a:gd name="T17" fmla="*/ 54 h 73"/>
                  <a:gd name="T18" fmla="*/ 68 w 93"/>
                  <a:gd name="T19" fmla="*/ 56 h 73"/>
                  <a:gd name="T20" fmla="*/ 66 w 93"/>
                  <a:gd name="T21" fmla="*/ 60 h 73"/>
                  <a:gd name="T22" fmla="*/ 65 w 93"/>
                  <a:gd name="T23" fmla="*/ 62 h 73"/>
                  <a:gd name="T24" fmla="*/ 63 w 93"/>
                  <a:gd name="T25" fmla="*/ 73 h 73"/>
                  <a:gd name="T26" fmla="*/ 57 w 93"/>
                  <a:gd name="T27" fmla="*/ 69 h 73"/>
                  <a:gd name="T28" fmla="*/ 51 w 93"/>
                  <a:gd name="T29" fmla="*/ 63 h 73"/>
                  <a:gd name="T30" fmla="*/ 55 w 93"/>
                  <a:gd name="T31" fmla="*/ 62 h 73"/>
                  <a:gd name="T32" fmla="*/ 57 w 93"/>
                  <a:gd name="T33" fmla="*/ 52 h 73"/>
                  <a:gd name="T34" fmla="*/ 45 w 93"/>
                  <a:gd name="T35" fmla="*/ 48 h 73"/>
                  <a:gd name="T36" fmla="*/ 36 w 93"/>
                  <a:gd name="T37" fmla="*/ 56 h 73"/>
                  <a:gd name="T38" fmla="*/ 30 w 93"/>
                  <a:gd name="T39" fmla="*/ 60 h 73"/>
                  <a:gd name="T40" fmla="*/ 28 w 93"/>
                  <a:gd name="T41" fmla="*/ 60 h 73"/>
                  <a:gd name="T42" fmla="*/ 26 w 93"/>
                  <a:gd name="T43" fmla="*/ 58 h 73"/>
                  <a:gd name="T44" fmla="*/ 28 w 93"/>
                  <a:gd name="T45" fmla="*/ 54 h 73"/>
                  <a:gd name="T46" fmla="*/ 28 w 93"/>
                  <a:gd name="T47" fmla="*/ 50 h 73"/>
                  <a:gd name="T48" fmla="*/ 25 w 93"/>
                  <a:gd name="T49" fmla="*/ 48 h 73"/>
                  <a:gd name="T50" fmla="*/ 15 w 93"/>
                  <a:gd name="T51" fmla="*/ 41 h 73"/>
                  <a:gd name="T52" fmla="*/ 17 w 93"/>
                  <a:gd name="T53" fmla="*/ 39 h 73"/>
                  <a:gd name="T54" fmla="*/ 15 w 93"/>
                  <a:gd name="T55" fmla="*/ 33 h 73"/>
                  <a:gd name="T56" fmla="*/ 9 w 93"/>
                  <a:gd name="T57" fmla="*/ 29 h 73"/>
                  <a:gd name="T58" fmla="*/ 11 w 93"/>
                  <a:gd name="T59" fmla="*/ 23 h 73"/>
                  <a:gd name="T60" fmla="*/ 9 w 93"/>
                  <a:gd name="T61" fmla="*/ 20 h 73"/>
                  <a:gd name="T62" fmla="*/ 7 w 93"/>
                  <a:gd name="T63" fmla="*/ 20 h 73"/>
                  <a:gd name="T64" fmla="*/ 7 w 93"/>
                  <a:gd name="T65" fmla="*/ 16 h 73"/>
                  <a:gd name="T66" fmla="*/ 4 w 93"/>
                  <a:gd name="T67" fmla="*/ 12 h 73"/>
                  <a:gd name="T68" fmla="*/ 11 w 93"/>
                  <a:gd name="T69" fmla="*/ 10 h 73"/>
                  <a:gd name="T70" fmla="*/ 19 w 93"/>
                  <a:gd name="T71" fmla="*/ 16 h 73"/>
                  <a:gd name="T72" fmla="*/ 26 w 93"/>
                  <a:gd name="T73" fmla="*/ 18 h 73"/>
                  <a:gd name="T74" fmla="*/ 30 w 93"/>
                  <a:gd name="T75" fmla="*/ 14 h 73"/>
                  <a:gd name="T76" fmla="*/ 26 w 93"/>
                  <a:gd name="T77" fmla="*/ 10 h 73"/>
                  <a:gd name="T78" fmla="*/ 25 w 93"/>
                  <a:gd name="T79" fmla="*/ 6 h 73"/>
                  <a:gd name="T80" fmla="*/ 25 w 93"/>
                  <a:gd name="T81" fmla="*/ 0 h 73"/>
                  <a:gd name="T82" fmla="*/ 30 w 93"/>
                  <a:gd name="T83" fmla="*/ 0 h 73"/>
                  <a:gd name="T84" fmla="*/ 36 w 93"/>
                  <a:gd name="T85" fmla="*/ 6 h 73"/>
                  <a:gd name="T86" fmla="*/ 40 w 93"/>
                  <a:gd name="T87" fmla="*/ 10 h 73"/>
                  <a:gd name="T88" fmla="*/ 47 w 93"/>
                  <a:gd name="T89" fmla="*/ 16 h 73"/>
                  <a:gd name="T90" fmla="*/ 49 w 93"/>
                  <a:gd name="T91" fmla="*/ 12 h 73"/>
                  <a:gd name="T92" fmla="*/ 55 w 93"/>
                  <a:gd name="T93" fmla="*/ 8 h 73"/>
                  <a:gd name="T94" fmla="*/ 11 w 93"/>
                  <a:gd name="T95" fmla="*/ 25 h 73"/>
                  <a:gd name="T96" fmla="*/ 17 w 93"/>
                  <a:gd name="T97" fmla="*/ 63 h 73"/>
                  <a:gd name="T98" fmla="*/ 11 w 93"/>
                  <a:gd name="T99" fmla="*/ 60 h 73"/>
                  <a:gd name="T100" fmla="*/ 5 w 93"/>
                  <a:gd name="T101" fmla="*/ 56 h 73"/>
                  <a:gd name="T102" fmla="*/ 4 w 93"/>
                  <a:gd name="T103" fmla="*/ 52 h 73"/>
                  <a:gd name="T104" fmla="*/ 2 w 93"/>
                  <a:gd name="T105" fmla="*/ 44 h 73"/>
                  <a:gd name="T106" fmla="*/ 5 w 93"/>
                  <a:gd name="T107" fmla="*/ 48 h 73"/>
                  <a:gd name="T108" fmla="*/ 15 w 93"/>
                  <a:gd name="T109" fmla="*/ 48 h 73"/>
                  <a:gd name="T110" fmla="*/ 19 w 93"/>
                  <a:gd name="T111" fmla="*/ 54 h 73"/>
                  <a:gd name="T112" fmla="*/ 21 w 93"/>
                  <a:gd name="T113" fmla="*/ 63 h 73"/>
                  <a:gd name="T114" fmla="*/ 68 w 93"/>
                  <a:gd name="T115" fmla="*/ 60 h 73"/>
                  <a:gd name="T116" fmla="*/ 7 w 93"/>
                  <a:gd name="T117" fmla="*/ 20 h 73"/>
                  <a:gd name="T118" fmla="*/ 76 w 93"/>
                  <a:gd name="T119" fmla="*/ 41 h 73"/>
                  <a:gd name="T120" fmla="*/ 66 w 93"/>
                  <a:gd name="T121" fmla="*/ 5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3" h="73">
                    <a:moveTo>
                      <a:pt x="61" y="0"/>
                    </a:moveTo>
                    <a:lnTo>
                      <a:pt x="63" y="2"/>
                    </a:lnTo>
                    <a:lnTo>
                      <a:pt x="68" y="12"/>
                    </a:lnTo>
                    <a:lnTo>
                      <a:pt x="70" y="16"/>
                    </a:lnTo>
                    <a:lnTo>
                      <a:pt x="70" y="20"/>
                    </a:lnTo>
                    <a:lnTo>
                      <a:pt x="74" y="21"/>
                    </a:lnTo>
                    <a:lnTo>
                      <a:pt x="74" y="23"/>
                    </a:lnTo>
                    <a:lnTo>
                      <a:pt x="76" y="23"/>
                    </a:lnTo>
                    <a:lnTo>
                      <a:pt x="74" y="25"/>
                    </a:lnTo>
                    <a:lnTo>
                      <a:pt x="76" y="27"/>
                    </a:lnTo>
                    <a:lnTo>
                      <a:pt x="78" y="27"/>
                    </a:lnTo>
                    <a:lnTo>
                      <a:pt x="80" y="27"/>
                    </a:lnTo>
                    <a:lnTo>
                      <a:pt x="84" y="27"/>
                    </a:lnTo>
                    <a:lnTo>
                      <a:pt x="84" y="29"/>
                    </a:lnTo>
                    <a:lnTo>
                      <a:pt x="86" y="29"/>
                    </a:lnTo>
                    <a:lnTo>
                      <a:pt x="87" y="31"/>
                    </a:lnTo>
                    <a:lnTo>
                      <a:pt x="87" y="29"/>
                    </a:lnTo>
                    <a:lnTo>
                      <a:pt x="89" y="31"/>
                    </a:lnTo>
                    <a:lnTo>
                      <a:pt x="87" y="31"/>
                    </a:lnTo>
                    <a:lnTo>
                      <a:pt x="89" y="33"/>
                    </a:lnTo>
                    <a:lnTo>
                      <a:pt x="89" y="35"/>
                    </a:lnTo>
                    <a:lnTo>
                      <a:pt x="87" y="33"/>
                    </a:lnTo>
                    <a:lnTo>
                      <a:pt x="86" y="33"/>
                    </a:lnTo>
                    <a:lnTo>
                      <a:pt x="84" y="33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2" y="33"/>
                    </a:lnTo>
                    <a:lnTo>
                      <a:pt x="80" y="33"/>
                    </a:lnTo>
                    <a:lnTo>
                      <a:pt x="78" y="35"/>
                    </a:lnTo>
                    <a:lnTo>
                      <a:pt x="76" y="35"/>
                    </a:lnTo>
                    <a:lnTo>
                      <a:pt x="74" y="37"/>
                    </a:lnTo>
                    <a:lnTo>
                      <a:pt x="74" y="39"/>
                    </a:lnTo>
                    <a:lnTo>
                      <a:pt x="74" y="41"/>
                    </a:lnTo>
                    <a:lnTo>
                      <a:pt x="74" y="42"/>
                    </a:lnTo>
                    <a:lnTo>
                      <a:pt x="72" y="44"/>
                    </a:lnTo>
                    <a:lnTo>
                      <a:pt x="74" y="46"/>
                    </a:lnTo>
                    <a:lnTo>
                      <a:pt x="72" y="46"/>
                    </a:lnTo>
                    <a:lnTo>
                      <a:pt x="70" y="50"/>
                    </a:lnTo>
                    <a:lnTo>
                      <a:pt x="72" y="52"/>
                    </a:lnTo>
                    <a:lnTo>
                      <a:pt x="72" y="54"/>
                    </a:lnTo>
                    <a:lnTo>
                      <a:pt x="74" y="54"/>
                    </a:lnTo>
                    <a:lnTo>
                      <a:pt x="72" y="54"/>
                    </a:lnTo>
                    <a:lnTo>
                      <a:pt x="74" y="54"/>
                    </a:lnTo>
                    <a:lnTo>
                      <a:pt x="72" y="54"/>
                    </a:lnTo>
                    <a:lnTo>
                      <a:pt x="70" y="54"/>
                    </a:lnTo>
                    <a:lnTo>
                      <a:pt x="70" y="58"/>
                    </a:lnTo>
                    <a:lnTo>
                      <a:pt x="70" y="56"/>
                    </a:lnTo>
                    <a:lnTo>
                      <a:pt x="70" y="58"/>
                    </a:lnTo>
                    <a:lnTo>
                      <a:pt x="68" y="58"/>
                    </a:lnTo>
                    <a:lnTo>
                      <a:pt x="68" y="56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5" y="60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65" y="60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5" y="63"/>
                    </a:lnTo>
                    <a:lnTo>
                      <a:pt x="65" y="62"/>
                    </a:lnTo>
                    <a:lnTo>
                      <a:pt x="65" y="63"/>
                    </a:lnTo>
                    <a:lnTo>
                      <a:pt x="65" y="65"/>
                    </a:lnTo>
                    <a:lnTo>
                      <a:pt x="65" y="71"/>
                    </a:lnTo>
                    <a:lnTo>
                      <a:pt x="63" y="71"/>
                    </a:lnTo>
                    <a:lnTo>
                      <a:pt x="63" y="73"/>
                    </a:lnTo>
                    <a:lnTo>
                      <a:pt x="61" y="73"/>
                    </a:lnTo>
                    <a:lnTo>
                      <a:pt x="61" y="71"/>
                    </a:lnTo>
                    <a:lnTo>
                      <a:pt x="59" y="71"/>
                    </a:lnTo>
                    <a:lnTo>
                      <a:pt x="59" y="69"/>
                    </a:lnTo>
                    <a:lnTo>
                      <a:pt x="57" y="69"/>
                    </a:lnTo>
                    <a:lnTo>
                      <a:pt x="55" y="69"/>
                    </a:lnTo>
                    <a:lnTo>
                      <a:pt x="55" y="67"/>
                    </a:lnTo>
                    <a:lnTo>
                      <a:pt x="55" y="65"/>
                    </a:lnTo>
                    <a:lnTo>
                      <a:pt x="53" y="65"/>
                    </a:lnTo>
                    <a:lnTo>
                      <a:pt x="51" y="63"/>
                    </a:lnTo>
                    <a:lnTo>
                      <a:pt x="51" y="62"/>
                    </a:lnTo>
                    <a:lnTo>
                      <a:pt x="51" y="63"/>
                    </a:lnTo>
                    <a:lnTo>
                      <a:pt x="51" y="62"/>
                    </a:lnTo>
                    <a:lnTo>
                      <a:pt x="53" y="62"/>
                    </a:lnTo>
                    <a:lnTo>
                      <a:pt x="55" y="62"/>
                    </a:lnTo>
                    <a:lnTo>
                      <a:pt x="57" y="60"/>
                    </a:lnTo>
                    <a:lnTo>
                      <a:pt x="55" y="58"/>
                    </a:lnTo>
                    <a:lnTo>
                      <a:pt x="53" y="56"/>
                    </a:lnTo>
                    <a:lnTo>
                      <a:pt x="55" y="54"/>
                    </a:lnTo>
                    <a:lnTo>
                      <a:pt x="57" y="52"/>
                    </a:lnTo>
                    <a:lnTo>
                      <a:pt x="51" y="46"/>
                    </a:lnTo>
                    <a:lnTo>
                      <a:pt x="49" y="46"/>
                    </a:lnTo>
                    <a:lnTo>
                      <a:pt x="47" y="46"/>
                    </a:lnTo>
                    <a:lnTo>
                      <a:pt x="47" y="48"/>
                    </a:lnTo>
                    <a:lnTo>
                      <a:pt x="45" y="48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36" y="56"/>
                    </a:lnTo>
                    <a:lnTo>
                      <a:pt x="36" y="58"/>
                    </a:lnTo>
                    <a:lnTo>
                      <a:pt x="34" y="58"/>
                    </a:lnTo>
                    <a:lnTo>
                      <a:pt x="32" y="58"/>
                    </a:lnTo>
                    <a:lnTo>
                      <a:pt x="32" y="60"/>
                    </a:lnTo>
                    <a:lnTo>
                      <a:pt x="30" y="60"/>
                    </a:lnTo>
                    <a:lnTo>
                      <a:pt x="30" y="62"/>
                    </a:lnTo>
                    <a:lnTo>
                      <a:pt x="28" y="63"/>
                    </a:lnTo>
                    <a:lnTo>
                      <a:pt x="28" y="62"/>
                    </a:lnTo>
                    <a:lnTo>
                      <a:pt x="26" y="62"/>
                    </a:lnTo>
                    <a:lnTo>
                      <a:pt x="28" y="60"/>
                    </a:lnTo>
                    <a:lnTo>
                      <a:pt x="26" y="60"/>
                    </a:lnTo>
                    <a:lnTo>
                      <a:pt x="28" y="60"/>
                    </a:lnTo>
                    <a:lnTo>
                      <a:pt x="26" y="58"/>
                    </a:lnTo>
                    <a:lnTo>
                      <a:pt x="26" y="56"/>
                    </a:lnTo>
                    <a:lnTo>
                      <a:pt x="26" y="58"/>
                    </a:lnTo>
                    <a:lnTo>
                      <a:pt x="26" y="56"/>
                    </a:lnTo>
                    <a:lnTo>
                      <a:pt x="28" y="58"/>
                    </a:lnTo>
                    <a:lnTo>
                      <a:pt x="28" y="56"/>
                    </a:lnTo>
                    <a:lnTo>
                      <a:pt x="26" y="54"/>
                    </a:lnTo>
                    <a:lnTo>
                      <a:pt x="28" y="54"/>
                    </a:lnTo>
                    <a:lnTo>
                      <a:pt x="26" y="54"/>
                    </a:lnTo>
                    <a:lnTo>
                      <a:pt x="25" y="52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8" y="50"/>
                    </a:lnTo>
                    <a:lnTo>
                      <a:pt x="26" y="50"/>
                    </a:lnTo>
                    <a:lnTo>
                      <a:pt x="28" y="50"/>
                    </a:lnTo>
                    <a:lnTo>
                      <a:pt x="28" y="48"/>
                    </a:lnTo>
                    <a:lnTo>
                      <a:pt x="26" y="48"/>
                    </a:lnTo>
                    <a:lnTo>
                      <a:pt x="25" y="48"/>
                    </a:lnTo>
                    <a:lnTo>
                      <a:pt x="23" y="48"/>
                    </a:lnTo>
                    <a:lnTo>
                      <a:pt x="21" y="46"/>
                    </a:lnTo>
                    <a:lnTo>
                      <a:pt x="19" y="44"/>
                    </a:lnTo>
                    <a:lnTo>
                      <a:pt x="17" y="44"/>
                    </a:lnTo>
                    <a:lnTo>
                      <a:pt x="15" y="41"/>
                    </a:lnTo>
                    <a:lnTo>
                      <a:pt x="13" y="41"/>
                    </a:lnTo>
                    <a:lnTo>
                      <a:pt x="13" y="39"/>
                    </a:lnTo>
                    <a:lnTo>
                      <a:pt x="15" y="39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5" y="33"/>
                    </a:lnTo>
                    <a:lnTo>
                      <a:pt x="13" y="33"/>
                    </a:lnTo>
                    <a:lnTo>
                      <a:pt x="13" y="31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9" y="29"/>
                    </a:lnTo>
                    <a:lnTo>
                      <a:pt x="11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1" y="20"/>
                    </a:lnTo>
                    <a:lnTo>
                      <a:pt x="9" y="20"/>
                    </a:lnTo>
                    <a:lnTo>
                      <a:pt x="9" y="18"/>
                    </a:lnTo>
                    <a:lnTo>
                      <a:pt x="9" y="20"/>
                    </a:lnTo>
                    <a:lnTo>
                      <a:pt x="7" y="20"/>
                    </a:lnTo>
                    <a:lnTo>
                      <a:pt x="7" y="18"/>
                    </a:lnTo>
                    <a:lnTo>
                      <a:pt x="7" y="20"/>
                    </a:lnTo>
                    <a:lnTo>
                      <a:pt x="7" y="18"/>
                    </a:lnTo>
                    <a:lnTo>
                      <a:pt x="5" y="18"/>
                    </a:lnTo>
                    <a:lnTo>
                      <a:pt x="4" y="18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5" y="10"/>
                    </a:lnTo>
                    <a:lnTo>
                      <a:pt x="7" y="8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5" y="12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21" y="14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5" y="8"/>
                    </a:lnTo>
                    <a:lnTo>
                      <a:pt x="26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0" y="12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4"/>
                    </a:lnTo>
                    <a:lnTo>
                      <a:pt x="49" y="14"/>
                    </a:lnTo>
                    <a:lnTo>
                      <a:pt x="49" y="12"/>
                    </a:lnTo>
                    <a:lnTo>
                      <a:pt x="51" y="12"/>
                    </a:lnTo>
                    <a:lnTo>
                      <a:pt x="49" y="12"/>
                    </a:lnTo>
                    <a:lnTo>
                      <a:pt x="51" y="12"/>
                    </a:lnTo>
                    <a:lnTo>
                      <a:pt x="51" y="10"/>
                    </a:lnTo>
                    <a:lnTo>
                      <a:pt x="51" y="8"/>
                    </a:lnTo>
                    <a:lnTo>
                      <a:pt x="53" y="8"/>
                    </a:lnTo>
                    <a:lnTo>
                      <a:pt x="55" y="8"/>
                    </a:lnTo>
                    <a:lnTo>
                      <a:pt x="55" y="6"/>
                    </a:lnTo>
                    <a:lnTo>
                      <a:pt x="57" y="6"/>
                    </a:lnTo>
                    <a:lnTo>
                      <a:pt x="59" y="2"/>
                    </a:lnTo>
                    <a:lnTo>
                      <a:pt x="61" y="0"/>
                    </a:lnTo>
                    <a:close/>
                    <a:moveTo>
                      <a:pt x="11" y="25"/>
                    </a:moveTo>
                    <a:lnTo>
                      <a:pt x="11" y="27"/>
                    </a:lnTo>
                    <a:lnTo>
                      <a:pt x="11" y="25"/>
                    </a:lnTo>
                    <a:close/>
                    <a:moveTo>
                      <a:pt x="21" y="63"/>
                    </a:moveTo>
                    <a:lnTo>
                      <a:pt x="19" y="63"/>
                    </a:lnTo>
                    <a:lnTo>
                      <a:pt x="17" y="63"/>
                    </a:lnTo>
                    <a:lnTo>
                      <a:pt x="17" y="62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1" y="62"/>
                    </a:lnTo>
                    <a:lnTo>
                      <a:pt x="11" y="60"/>
                    </a:lnTo>
                    <a:lnTo>
                      <a:pt x="9" y="60"/>
                    </a:lnTo>
                    <a:lnTo>
                      <a:pt x="11" y="60"/>
                    </a:lnTo>
                    <a:lnTo>
                      <a:pt x="9" y="60"/>
                    </a:lnTo>
                    <a:lnTo>
                      <a:pt x="9" y="58"/>
                    </a:lnTo>
                    <a:lnTo>
                      <a:pt x="5" y="56"/>
                    </a:lnTo>
                    <a:lnTo>
                      <a:pt x="5" y="54"/>
                    </a:lnTo>
                    <a:lnTo>
                      <a:pt x="4" y="54"/>
                    </a:lnTo>
                    <a:lnTo>
                      <a:pt x="5" y="54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6"/>
                    </a:lnTo>
                    <a:lnTo>
                      <a:pt x="5" y="48"/>
                    </a:lnTo>
                    <a:lnTo>
                      <a:pt x="7" y="48"/>
                    </a:lnTo>
                    <a:lnTo>
                      <a:pt x="9" y="50"/>
                    </a:lnTo>
                    <a:lnTo>
                      <a:pt x="11" y="50"/>
                    </a:lnTo>
                    <a:lnTo>
                      <a:pt x="13" y="48"/>
                    </a:lnTo>
                    <a:lnTo>
                      <a:pt x="15" y="48"/>
                    </a:lnTo>
                    <a:lnTo>
                      <a:pt x="17" y="50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7" y="54"/>
                    </a:lnTo>
                    <a:lnTo>
                      <a:pt x="19" y="54"/>
                    </a:lnTo>
                    <a:lnTo>
                      <a:pt x="19" y="56"/>
                    </a:lnTo>
                    <a:lnTo>
                      <a:pt x="19" y="58"/>
                    </a:lnTo>
                    <a:lnTo>
                      <a:pt x="21" y="60"/>
                    </a:lnTo>
                    <a:lnTo>
                      <a:pt x="21" y="62"/>
                    </a:lnTo>
                    <a:lnTo>
                      <a:pt x="21" y="63"/>
                    </a:lnTo>
                    <a:close/>
                    <a:moveTo>
                      <a:pt x="68" y="60"/>
                    </a:moveTo>
                    <a:lnTo>
                      <a:pt x="70" y="60"/>
                    </a:lnTo>
                    <a:lnTo>
                      <a:pt x="70" y="62"/>
                    </a:lnTo>
                    <a:lnTo>
                      <a:pt x="68" y="62"/>
                    </a:lnTo>
                    <a:lnTo>
                      <a:pt x="68" y="60"/>
                    </a:lnTo>
                    <a:close/>
                    <a:moveTo>
                      <a:pt x="91" y="33"/>
                    </a:moveTo>
                    <a:lnTo>
                      <a:pt x="93" y="33"/>
                    </a:lnTo>
                    <a:lnTo>
                      <a:pt x="91" y="33"/>
                    </a:lnTo>
                    <a:close/>
                    <a:moveTo>
                      <a:pt x="5" y="20"/>
                    </a:moveTo>
                    <a:lnTo>
                      <a:pt x="7" y="20"/>
                    </a:lnTo>
                    <a:lnTo>
                      <a:pt x="5" y="20"/>
                    </a:lnTo>
                    <a:close/>
                    <a:moveTo>
                      <a:pt x="2" y="44"/>
                    </a:moveTo>
                    <a:lnTo>
                      <a:pt x="4" y="44"/>
                    </a:lnTo>
                    <a:lnTo>
                      <a:pt x="2" y="44"/>
                    </a:lnTo>
                    <a:close/>
                    <a:moveTo>
                      <a:pt x="76" y="41"/>
                    </a:moveTo>
                    <a:lnTo>
                      <a:pt x="78" y="41"/>
                    </a:lnTo>
                    <a:lnTo>
                      <a:pt x="76" y="41"/>
                    </a:lnTo>
                    <a:close/>
                    <a:moveTo>
                      <a:pt x="66" y="56"/>
                    </a:moveTo>
                    <a:lnTo>
                      <a:pt x="66" y="58"/>
                    </a:lnTo>
                    <a:lnTo>
                      <a:pt x="66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5" name="Freeform 47">
                <a:extLst>
                  <a:ext uri="{FF2B5EF4-FFF2-40B4-BE49-F238E27FC236}">
                    <a16:creationId xmlns:a16="http://schemas.microsoft.com/office/drawing/2014/main" id="{4480B22B-9CE0-B803-9213-F19DC61650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65121" y="-2875823"/>
                <a:ext cx="302512" cy="243095"/>
              </a:xfrm>
              <a:custGeom>
                <a:avLst/>
                <a:gdLst>
                  <a:gd name="T0" fmla="*/ 124 w 192"/>
                  <a:gd name="T1" fmla="*/ 3 h 154"/>
                  <a:gd name="T2" fmla="*/ 129 w 192"/>
                  <a:gd name="T3" fmla="*/ 9 h 154"/>
                  <a:gd name="T4" fmla="*/ 135 w 192"/>
                  <a:gd name="T5" fmla="*/ 13 h 154"/>
                  <a:gd name="T6" fmla="*/ 145 w 192"/>
                  <a:gd name="T7" fmla="*/ 13 h 154"/>
                  <a:gd name="T8" fmla="*/ 150 w 192"/>
                  <a:gd name="T9" fmla="*/ 11 h 154"/>
                  <a:gd name="T10" fmla="*/ 158 w 192"/>
                  <a:gd name="T11" fmla="*/ 11 h 154"/>
                  <a:gd name="T12" fmla="*/ 162 w 192"/>
                  <a:gd name="T13" fmla="*/ 11 h 154"/>
                  <a:gd name="T14" fmla="*/ 164 w 192"/>
                  <a:gd name="T15" fmla="*/ 13 h 154"/>
                  <a:gd name="T16" fmla="*/ 166 w 192"/>
                  <a:gd name="T17" fmla="*/ 15 h 154"/>
                  <a:gd name="T18" fmla="*/ 169 w 192"/>
                  <a:gd name="T19" fmla="*/ 15 h 154"/>
                  <a:gd name="T20" fmla="*/ 175 w 192"/>
                  <a:gd name="T21" fmla="*/ 19 h 154"/>
                  <a:gd name="T22" fmla="*/ 179 w 192"/>
                  <a:gd name="T23" fmla="*/ 24 h 154"/>
                  <a:gd name="T24" fmla="*/ 181 w 192"/>
                  <a:gd name="T25" fmla="*/ 32 h 154"/>
                  <a:gd name="T26" fmla="*/ 181 w 192"/>
                  <a:gd name="T27" fmla="*/ 42 h 154"/>
                  <a:gd name="T28" fmla="*/ 183 w 192"/>
                  <a:gd name="T29" fmla="*/ 47 h 154"/>
                  <a:gd name="T30" fmla="*/ 185 w 192"/>
                  <a:gd name="T31" fmla="*/ 55 h 154"/>
                  <a:gd name="T32" fmla="*/ 190 w 192"/>
                  <a:gd name="T33" fmla="*/ 64 h 154"/>
                  <a:gd name="T34" fmla="*/ 188 w 192"/>
                  <a:gd name="T35" fmla="*/ 72 h 154"/>
                  <a:gd name="T36" fmla="*/ 183 w 192"/>
                  <a:gd name="T37" fmla="*/ 72 h 154"/>
                  <a:gd name="T38" fmla="*/ 175 w 192"/>
                  <a:gd name="T39" fmla="*/ 72 h 154"/>
                  <a:gd name="T40" fmla="*/ 167 w 192"/>
                  <a:gd name="T41" fmla="*/ 72 h 154"/>
                  <a:gd name="T42" fmla="*/ 164 w 192"/>
                  <a:gd name="T43" fmla="*/ 78 h 154"/>
                  <a:gd name="T44" fmla="*/ 148 w 192"/>
                  <a:gd name="T45" fmla="*/ 89 h 154"/>
                  <a:gd name="T46" fmla="*/ 150 w 192"/>
                  <a:gd name="T47" fmla="*/ 91 h 154"/>
                  <a:gd name="T48" fmla="*/ 147 w 192"/>
                  <a:gd name="T49" fmla="*/ 101 h 154"/>
                  <a:gd name="T50" fmla="*/ 135 w 192"/>
                  <a:gd name="T51" fmla="*/ 106 h 154"/>
                  <a:gd name="T52" fmla="*/ 124 w 192"/>
                  <a:gd name="T53" fmla="*/ 114 h 154"/>
                  <a:gd name="T54" fmla="*/ 120 w 192"/>
                  <a:gd name="T55" fmla="*/ 120 h 154"/>
                  <a:gd name="T56" fmla="*/ 116 w 192"/>
                  <a:gd name="T57" fmla="*/ 120 h 154"/>
                  <a:gd name="T58" fmla="*/ 108 w 192"/>
                  <a:gd name="T59" fmla="*/ 120 h 154"/>
                  <a:gd name="T60" fmla="*/ 101 w 192"/>
                  <a:gd name="T61" fmla="*/ 122 h 154"/>
                  <a:gd name="T62" fmla="*/ 95 w 192"/>
                  <a:gd name="T63" fmla="*/ 120 h 154"/>
                  <a:gd name="T64" fmla="*/ 87 w 192"/>
                  <a:gd name="T65" fmla="*/ 124 h 154"/>
                  <a:gd name="T66" fmla="*/ 78 w 192"/>
                  <a:gd name="T67" fmla="*/ 131 h 154"/>
                  <a:gd name="T68" fmla="*/ 47 w 192"/>
                  <a:gd name="T69" fmla="*/ 154 h 154"/>
                  <a:gd name="T70" fmla="*/ 2 w 192"/>
                  <a:gd name="T71" fmla="*/ 152 h 154"/>
                  <a:gd name="T72" fmla="*/ 13 w 192"/>
                  <a:gd name="T73" fmla="*/ 147 h 154"/>
                  <a:gd name="T74" fmla="*/ 17 w 192"/>
                  <a:gd name="T75" fmla="*/ 147 h 154"/>
                  <a:gd name="T76" fmla="*/ 28 w 192"/>
                  <a:gd name="T77" fmla="*/ 139 h 154"/>
                  <a:gd name="T78" fmla="*/ 42 w 192"/>
                  <a:gd name="T79" fmla="*/ 127 h 154"/>
                  <a:gd name="T80" fmla="*/ 49 w 192"/>
                  <a:gd name="T81" fmla="*/ 120 h 154"/>
                  <a:gd name="T82" fmla="*/ 55 w 192"/>
                  <a:gd name="T83" fmla="*/ 110 h 154"/>
                  <a:gd name="T84" fmla="*/ 51 w 192"/>
                  <a:gd name="T85" fmla="*/ 101 h 154"/>
                  <a:gd name="T86" fmla="*/ 53 w 192"/>
                  <a:gd name="T87" fmla="*/ 93 h 154"/>
                  <a:gd name="T88" fmla="*/ 53 w 192"/>
                  <a:gd name="T89" fmla="*/ 85 h 154"/>
                  <a:gd name="T90" fmla="*/ 55 w 192"/>
                  <a:gd name="T91" fmla="*/ 80 h 154"/>
                  <a:gd name="T92" fmla="*/ 61 w 192"/>
                  <a:gd name="T93" fmla="*/ 68 h 154"/>
                  <a:gd name="T94" fmla="*/ 63 w 192"/>
                  <a:gd name="T95" fmla="*/ 63 h 154"/>
                  <a:gd name="T96" fmla="*/ 72 w 192"/>
                  <a:gd name="T97" fmla="*/ 53 h 154"/>
                  <a:gd name="T98" fmla="*/ 74 w 192"/>
                  <a:gd name="T99" fmla="*/ 51 h 154"/>
                  <a:gd name="T100" fmla="*/ 87 w 192"/>
                  <a:gd name="T101" fmla="*/ 43 h 154"/>
                  <a:gd name="T102" fmla="*/ 95 w 192"/>
                  <a:gd name="T103" fmla="*/ 40 h 154"/>
                  <a:gd name="T104" fmla="*/ 99 w 192"/>
                  <a:gd name="T105" fmla="*/ 36 h 154"/>
                  <a:gd name="T106" fmla="*/ 106 w 192"/>
                  <a:gd name="T107" fmla="*/ 23 h 154"/>
                  <a:gd name="T108" fmla="*/ 112 w 192"/>
                  <a:gd name="T109" fmla="*/ 7 h 154"/>
                  <a:gd name="T110" fmla="*/ 120 w 192"/>
                  <a:gd name="T111" fmla="*/ 2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2" h="154">
                    <a:moveTo>
                      <a:pt x="124" y="0"/>
                    </a:moveTo>
                    <a:lnTo>
                      <a:pt x="124" y="3"/>
                    </a:lnTo>
                    <a:lnTo>
                      <a:pt x="126" y="3"/>
                    </a:lnTo>
                    <a:lnTo>
                      <a:pt x="124" y="3"/>
                    </a:lnTo>
                    <a:lnTo>
                      <a:pt x="126" y="7"/>
                    </a:lnTo>
                    <a:lnTo>
                      <a:pt x="127" y="7"/>
                    </a:lnTo>
                    <a:lnTo>
                      <a:pt x="127" y="9"/>
                    </a:lnTo>
                    <a:lnTo>
                      <a:pt x="129" y="9"/>
                    </a:lnTo>
                    <a:lnTo>
                      <a:pt x="129" y="11"/>
                    </a:lnTo>
                    <a:lnTo>
                      <a:pt x="131" y="11"/>
                    </a:lnTo>
                    <a:lnTo>
                      <a:pt x="133" y="13"/>
                    </a:lnTo>
                    <a:lnTo>
                      <a:pt x="135" y="13"/>
                    </a:lnTo>
                    <a:lnTo>
                      <a:pt x="139" y="15"/>
                    </a:lnTo>
                    <a:lnTo>
                      <a:pt x="141" y="13"/>
                    </a:lnTo>
                    <a:lnTo>
                      <a:pt x="143" y="13"/>
                    </a:lnTo>
                    <a:lnTo>
                      <a:pt x="145" y="13"/>
                    </a:lnTo>
                    <a:lnTo>
                      <a:pt x="147" y="13"/>
                    </a:lnTo>
                    <a:lnTo>
                      <a:pt x="148" y="13"/>
                    </a:lnTo>
                    <a:lnTo>
                      <a:pt x="148" y="11"/>
                    </a:lnTo>
                    <a:lnTo>
                      <a:pt x="150" y="11"/>
                    </a:lnTo>
                    <a:lnTo>
                      <a:pt x="152" y="13"/>
                    </a:lnTo>
                    <a:lnTo>
                      <a:pt x="156" y="13"/>
                    </a:lnTo>
                    <a:lnTo>
                      <a:pt x="158" y="13"/>
                    </a:lnTo>
                    <a:lnTo>
                      <a:pt x="158" y="11"/>
                    </a:lnTo>
                    <a:lnTo>
                      <a:pt x="160" y="11"/>
                    </a:lnTo>
                    <a:lnTo>
                      <a:pt x="160" y="9"/>
                    </a:lnTo>
                    <a:lnTo>
                      <a:pt x="162" y="9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4" y="13"/>
                    </a:lnTo>
                    <a:lnTo>
                      <a:pt x="162" y="13"/>
                    </a:lnTo>
                    <a:lnTo>
                      <a:pt x="162" y="15"/>
                    </a:lnTo>
                    <a:lnTo>
                      <a:pt x="164" y="15"/>
                    </a:lnTo>
                    <a:lnTo>
                      <a:pt x="166" y="15"/>
                    </a:lnTo>
                    <a:lnTo>
                      <a:pt x="164" y="13"/>
                    </a:lnTo>
                    <a:lnTo>
                      <a:pt x="166" y="15"/>
                    </a:lnTo>
                    <a:lnTo>
                      <a:pt x="167" y="15"/>
                    </a:lnTo>
                    <a:lnTo>
                      <a:pt x="169" y="15"/>
                    </a:lnTo>
                    <a:lnTo>
                      <a:pt x="173" y="15"/>
                    </a:lnTo>
                    <a:lnTo>
                      <a:pt x="173" y="17"/>
                    </a:lnTo>
                    <a:lnTo>
                      <a:pt x="175" y="17"/>
                    </a:lnTo>
                    <a:lnTo>
                      <a:pt x="175" y="19"/>
                    </a:lnTo>
                    <a:lnTo>
                      <a:pt x="177" y="19"/>
                    </a:lnTo>
                    <a:lnTo>
                      <a:pt x="179" y="21"/>
                    </a:lnTo>
                    <a:lnTo>
                      <a:pt x="181" y="23"/>
                    </a:lnTo>
                    <a:lnTo>
                      <a:pt x="179" y="24"/>
                    </a:lnTo>
                    <a:lnTo>
                      <a:pt x="181" y="26"/>
                    </a:lnTo>
                    <a:lnTo>
                      <a:pt x="181" y="28"/>
                    </a:lnTo>
                    <a:lnTo>
                      <a:pt x="181" y="30"/>
                    </a:lnTo>
                    <a:lnTo>
                      <a:pt x="181" y="32"/>
                    </a:lnTo>
                    <a:lnTo>
                      <a:pt x="183" y="34"/>
                    </a:lnTo>
                    <a:lnTo>
                      <a:pt x="181" y="40"/>
                    </a:lnTo>
                    <a:lnTo>
                      <a:pt x="183" y="42"/>
                    </a:lnTo>
                    <a:lnTo>
                      <a:pt x="181" y="42"/>
                    </a:lnTo>
                    <a:lnTo>
                      <a:pt x="181" y="43"/>
                    </a:lnTo>
                    <a:lnTo>
                      <a:pt x="183" y="43"/>
                    </a:lnTo>
                    <a:lnTo>
                      <a:pt x="183" y="45"/>
                    </a:lnTo>
                    <a:lnTo>
                      <a:pt x="183" y="47"/>
                    </a:lnTo>
                    <a:lnTo>
                      <a:pt x="183" y="49"/>
                    </a:lnTo>
                    <a:lnTo>
                      <a:pt x="183" y="51"/>
                    </a:lnTo>
                    <a:lnTo>
                      <a:pt x="183" y="53"/>
                    </a:lnTo>
                    <a:lnTo>
                      <a:pt x="185" y="55"/>
                    </a:lnTo>
                    <a:lnTo>
                      <a:pt x="185" y="57"/>
                    </a:lnTo>
                    <a:lnTo>
                      <a:pt x="187" y="61"/>
                    </a:lnTo>
                    <a:lnTo>
                      <a:pt x="190" y="63"/>
                    </a:lnTo>
                    <a:lnTo>
                      <a:pt x="190" y="64"/>
                    </a:lnTo>
                    <a:lnTo>
                      <a:pt x="192" y="64"/>
                    </a:lnTo>
                    <a:lnTo>
                      <a:pt x="190" y="68"/>
                    </a:lnTo>
                    <a:lnTo>
                      <a:pt x="188" y="70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88" y="72"/>
                    </a:lnTo>
                    <a:lnTo>
                      <a:pt x="187" y="72"/>
                    </a:lnTo>
                    <a:lnTo>
                      <a:pt x="183" y="72"/>
                    </a:lnTo>
                    <a:lnTo>
                      <a:pt x="181" y="72"/>
                    </a:lnTo>
                    <a:lnTo>
                      <a:pt x="179" y="72"/>
                    </a:lnTo>
                    <a:lnTo>
                      <a:pt x="177" y="72"/>
                    </a:lnTo>
                    <a:lnTo>
                      <a:pt x="175" y="72"/>
                    </a:lnTo>
                    <a:lnTo>
                      <a:pt x="173" y="72"/>
                    </a:lnTo>
                    <a:lnTo>
                      <a:pt x="171" y="72"/>
                    </a:lnTo>
                    <a:lnTo>
                      <a:pt x="169" y="72"/>
                    </a:lnTo>
                    <a:lnTo>
                      <a:pt x="167" y="72"/>
                    </a:lnTo>
                    <a:lnTo>
                      <a:pt x="162" y="72"/>
                    </a:lnTo>
                    <a:lnTo>
                      <a:pt x="162" y="74"/>
                    </a:lnTo>
                    <a:lnTo>
                      <a:pt x="164" y="76"/>
                    </a:lnTo>
                    <a:lnTo>
                      <a:pt x="164" y="78"/>
                    </a:lnTo>
                    <a:lnTo>
                      <a:pt x="150" y="82"/>
                    </a:lnTo>
                    <a:lnTo>
                      <a:pt x="150" y="85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8" y="91"/>
                    </a:lnTo>
                    <a:lnTo>
                      <a:pt x="150" y="91"/>
                    </a:lnTo>
                    <a:lnTo>
                      <a:pt x="150" y="89"/>
                    </a:lnTo>
                    <a:lnTo>
                      <a:pt x="150" y="91"/>
                    </a:lnTo>
                    <a:lnTo>
                      <a:pt x="152" y="93"/>
                    </a:lnTo>
                    <a:lnTo>
                      <a:pt x="152" y="95"/>
                    </a:lnTo>
                    <a:lnTo>
                      <a:pt x="148" y="97"/>
                    </a:lnTo>
                    <a:lnTo>
                      <a:pt x="147" y="101"/>
                    </a:lnTo>
                    <a:lnTo>
                      <a:pt x="145" y="101"/>
                    </a:lnTo>
                    <a:lnTo>
                      <a:pt x="143" y="101"/>
                    </a:lnTo>
                    <a:lnTo>
                      <a:pt x="141" y="103"/>
                    </a:lnTo>
                    <a:lnTo>
                      <a:pt x="135" y="106"/>
                    </a:lnTo>
                    <a:lnTo>
                      <a:pt x="129" y="110"/>
                    </a:lnTo>
                    <a:lnTo>
                      <a:pt x="127" y="110"/>
                    </a:lnTo>
                    <a:lnTo>
                      <a:pt x="127" y="112"/>
                    </a:lnTo>
                    <a:lnTo>
                      <a:pt x="124" y="114"/>
                    </a:lnTo>
                    <a:lnTo>
                      <a:pt x="124" y="116"/>
                    </a:lnTo>
                    <a:lnTo>
                      <a:pt x="122" y="116"/>
                    </a:lnTo>
                    <a:lnTo>
                      <a:pt x="122" y="118"/>
                    </a:lnTo>
                    <a:lnTo>
                      <a:pt x="120" y="120"/>
                    </a:lnTo>
                    <a:lnTo>
                      <a:pt x="120" y="122"/>
                    </a:lnTo>
                    <a:lnTo>
                      <a:pt x="118" y="122"/>
                    </a:lnTo>
                    <a:lnTo>
                      <a:pt x="118" y="120"/>
                    </a:lnTo>
                    <a:lnTo>
                      <a:pt x="116" y="120"/>
                    </a:lnTo>
                    <a:lnTo>
                      <a:pt x="114" y="120"/>
                    </a:lnTo>
                    <a:lnTo>
                      <a:pt x="112" y="120"/>
                    </a:lnTo>
                    <a:lnTo>
                      <a:pt x="110" y="122"/>
                    </a:lnTo>
                    <a:lnTo>
                      <a:pt x="108" y="120"/>
                    </a:lnTo>
                    <a:lnTo>
                      <a:pt x="106" y="120"/>
                    </a:lnTo>
                    <a:lnTo>
                      <a:pt x="105" y="120"/>
                    </a:lnTo>
                    <a:lnTo>
                      <a:pt x="103" y="120"/>
                    </a:lnTo>
                    <a:lnTo>
                      <a:pt x="101" y="122"/>
                    </a:lnTo>
                    <a:lnTo>
                      <a:pt x="99" y="122"/>
                    </a:lnTo>
                    <a:lnTo>
                      <a:pt x="99" y="120"/>
                    </a:lnTo>
                    <a:lnTo>
                      <a:pt x="97" y="122"/>
                    </a:lnTo>
                    <a:lnTo>
                      <a:pt x="95" y="120"/>
                    </a:lnTo>
                    <a:lnTo>
                      <a:pt x="93" y="122"/>
                    </a:lnTo>
                    <a:lnTo>
                      <a:pt x="91" y="124"/>
                    </a:lnTo>
                    <a:lnTo>
                      <a:pt x="89" y="124"/>
                    </a:lnTo>
                    <a:lnTo>
                      <a:pt x="87" y="124"/>
                    </a:lnTo>
                    <a:lnTo>
                      <a:pt x="85" y="124"/>
                    </a:lnTo>
                    <a:lnTo>
                      <a:pt x="85" y="126"/>
                    </a:lnTo>
                    <a:lnTo>
                      <a:pt x="82" y="127"/>
                    </a:lnTo>
                    <a:lnTo>
                      <a:pt x="78" y="131"/>
                    </a:lnTo>
                    <a:lnTo>
                      <a:pt x="74" y="133"/>
                    </a:lnTo>
                    <a:lnTo>
                      <a:pt x="70" y="135"/>
                    </a:lnTo>
                    <a:lnTo>
                      <a:pt x="70" y="154"/>
                    </a:lnTo>
                    <a:lnTo>
                      <a:pt x="47" y="154"/>
                    </a:lnTo>
                    <a:lnTo>
                      <a:pt x="34" y="154"/>
                    </a:lnTo>
                    <a:lnTo>
                      <a:pt x="21" y="154"/>
                    </a:lnTo>
                    <a:lnTo>
                      <a:pt x="0" y="154"/>
                    </a:lnTo>
                    <a:lnTo>
                      <a:pt x="2" y="152"/>
                    </a:lnTo>
                    <a:lnTo>
                      <a:pt x="2" y="150"/>
                    </a:lnTo>
                    <a:lnTo>
                      <a:pt x="4" y="148"/>
                    </a:lnTo>
                    <a:lnTo>
                      <a:pt x="9" y="148"/>
                    </a:lnTo>
                    <a:lnTo>
                      <a:pt x="13" y="147"/>
                    </a:lnTo>
                    <a:lnTo>
                      <a:pt x="15" y="147"/>
                    </a:lnTo>
                    <a:lnTo>
                      <a:pt x="13" y="148"/>
                    </a:lnTo>
                    <a:lnTo>
                      <a:pt x="15" y="147"/>
                    </a:lnTo>
                    <a:lnTo>
                      <a:pt x="17" y="147"/>
                    </a:lnTo>
                    <a:lnTo>
                      <a:pt x="19" y="145"/>
                    </a:lnTo>
                    <a:lnTo>
                      <a:pt x="26" y="143"/>
                    </a:lnTo>
                    <a:lnTo>
                      <a:pt x="26" y="141"/>
                    </a:lnTo>
                    <a:lnTo>
                      <a:pt x="28" y="139"/>
                    </a:lnTo>
                    <a:lnTo>
                      <a:pt x="32" y="135"/>
                    </a:lnTo>
                    <a:lnTo>
                      <a:pt x="38" y="131"/>
                    </a:lnTo>
                    <a:lnTo>
                      <a:pt x="42" y="129"/>
                    </a:lnTo>
                    <a:lnTo>
                      <a:pt x="42" y="127"/>
                    </a:lnTo>
                    <a:lnTo>
                      <a:pt x="44" y="126"/>
                    </a:lnTo>
                    <a:lnTo>
                      <a:pt x="45" y="124"/>
                    </a:lnTo>
                    <a:lnTo>
                      <a:pt x="47" y="120"/>
                    </a:lnTo>
                    <a:lnTo>
                      <a:pt x="49" y="120"/>
                    </a:lnTo>
                    <a:lnTo>
                      <a:pt x="49" y="118"/>
                    </a:lnTo>
                    <a:lnTo>
                      <a:pt x="51" y="116"/>
                    </a:lnTo>
                    <a:lnTo>
                      <a:pt x="53" y="114"/>
                    </a:lnTo>
                    <a:lnTo>
                      <a:pt x="55" y="110"/>
                    </a:lnTo>
                    <a:lnTo>
                      <a:pt x="55" y="105"/>
                    </a:lnTo>
                    <a:lnTo>
                      <a:pt x="55" y="101"/>
                    </a:lnTo>
                    <a:lnTo>
                      <a:pt x="53" y="101"/>
                    </a:lnTo>
                    <a:lnTo>
                      <a:pt x="51" y="101"/>
                    </a:lnTo>
                    <a:lnTo>
                      <a:pt x="51" y="99"/>
                    </a:lnTo>
                    <a:lnTo>
                      <a:pt x="53" y="97"/>
                    </a:lnTo>
                    <a:lnTo>
                      <a:pt x="53" y="95"/>
                    </a:lnTo>
                    <a:lnTo>
                      <a:pt x="53" y="93"/>
                    </a:lnTo>
                    <a:lnTo>
                      <a:pt x="53" y="91"/>
                    </a:lnTo>
                    <a:lnTo>
                      <a:pt x="51" y="91"/>
                    </a:lnTo>
                    <a:lnTo>
                      <a:pt x="53" y="87"/>
                    </a:lnTo>
                    <a:lnTo>
                      <a:pt x="53" y="85"/>
                    </a:lnTo>
                    <a:lnTo>
                      <a:pt x="51" y="85"/>
                    </a:lnTo>
                    <a:lnTo>
                      <a:pt x="53" y="84"/>
                    </a:lnTo>
                    <a:lnTo>
                      <a:pt x="55" y="82"/>
                    </a:lnTo>
                    <a:lnTo>
                      <a:pt x="55" y="80"/>
                    </a:lnTo>
                    <a:lnTo>
                      <a:pt x="61" y="74"/>
                    </a:lnTo>
                    <a:lnTo>
                      <a:pt x="61" y="72"/>
                    </a:lnTo>
                    <a:lnTo>
                      <a:pt x="61" y="70"/>
                    </a:lnTo>
                    <a:lnTo>
                      <a:pt x="61" y="68"/>
                    </a:lnTo>
                    <a:lnTo>
                      <a:pt x="61" y="66"/>
                    </a:lnTo>
                    <a:lnTo>
                      <a:pt x="63" y="66"/>
                    </a:lnTo>
                    <a:lnTo>
                      <a:pt x="61" y="64"/>
                    </a:lnTo>
                    <a:lnTo>
                      <a:pt x="63" y="63"/>
                    </a:lnTo>
                    <a:lnTo>
                      <a:pt x="68" y="57"/>
                    </a:lnTo>
                    <a:lnTo>
                      <a:pt x="72" y="53"/>
                    </a:lnTo>
                    <a:lnTo>
                      <a:pt x="70" y="53"/>
                    </a:lnTo>
                    <a:lnTo>
                      <a:pt x="72" y="53"/>
                    </a:lnTo>
                    <a:lnTo>
                      <a:pt x="70" y="53"/>
                    </a:lnTo>
                    <a:lnTo>
                      <a:pt x="72" y="53"/>
                    </a:lnTo>
                    <a:lnTo>
                      <a:pt x="72" y="51"/>
                    </a:lnTo>
                    <a:lnTo>
                      <a:pt x="74" y="51"/>
                    </a:lnTo>
                    <a:lnTo>
                      <a:pt x="76" y="49"/>
                    </a:lnTo>
                    <a:lnTo>
                      <a:pt x="82" y="47"/>
                    </a:lnTo>
                    <a:lnTo>
                      <a:pt x="84" y="45"/>
                    </a:lnTo>
                    <a:lnTo>
                      <a:pt x="87" y="43"/>
                    </a:lnTo>
                    <a:lnTo>
                      <a:pt x="89" y="43"/>
                    </a:lnTo>
                    <a:lnTo>
                      <a:pt x="91" y="42"/>
                    </a:lnTo>
                    <a:lnTo>
                      <a:pt x="93" y="40"/>
                    </a:lnTo>
                    <a:lnTo>
                      <a:pt x="95" y="40"/>
                    </a:lnTo>
                    <a:lnTo>
                      <a:pt x="97" y="40"/>
                    </a:lnTo>
                    <a:lnTo>
                      <a:pt x="99" y="36"/>
                    </a:lnTo>
                    <a:lnTo>
                      <a:pt x="101" y="36"/>
                    </a:lnTo>
                    <a:lnTo>
                      <a:pt x="99" y="36"/>
                    </a:lnTo>
                    <a:lnTo>
                      <a:pt x="101" y="34"/>
                    </a:lnTo>
                    <a:lnTo>
                      <a:pt x="103" y="32"/>
                    </a:lnTo>
                    <a:lnTo>
                      <a:pt x="105" y="28"/>
                    </a:lnTo>
                    <a:lnTo>
                      <a:pt x="106" y="23"/>
                    </a:lnTo>
                    <a:lnTo>
                      <a:pt x="108" y="21"/>
                    </a:lnTo>
                    <a:lnTo>
                      <a:pt x="110" y="13"/>
                    </a:lnTo>
                    <a:lnTo>
                      <a:pt x="112" y="9"/>
                    </a:lnTo>
                    <a:lnTo>
                      <a:pt x="112" y="7"/>
                    </a:lnTo>
                    <a:lnTo>
                      <a:pt x="114" y="2"/>
                    </a:lnTo>
                    <a:lnTo>
                      <a:pt x="116" y="2"/>
                    </a:lnTo>
                    <a:lnTo>
                      <a:pt x="118" y="2"/>
                    </a:lnTo>
                    <a:lnTo>
                      <a:pt x="120" y="2"/>
                    </a:lnTo>
                    <a:lnTo>
                      <a:pt x="120" y="0"/>
                    </a:lnTo>
                    <a:lnTo>
                      <a:pt x="122" y="0"/>
                    </a:lnTo>
                    <a:lnTo>
                      <a:pt x="1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6" name="Freeform 121">
                <a:extLst>
                  <a:ext uri="{FF2B5EF4-FFF2-40B4-BE49-F238E27FC236}">
                    <a16:creationId xmlns:a16="http://schemas.microsoft.com/office/drawing/2014/main" id="{47132934-5EE9-C3D2-91AC-8D0B2B84956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10472" y="-2749540"/>
                <a:ext cx="307242" cy="273087"/>
              </a:xfrm>
              <a:custGeom>
                <a:avLst/>
                <a:gdLst>
                  <a:gd name="T0" fmla="*/ 14 w 195"/>
                  <a:gd name="T1" fmla="*/ 4 h 173"/>
                  <a:gd name="T2" fmla="*/ 35 w 195"/>
                  <a:gd name="T3" fmla="*/ 5 h 173"/>
                  <a:gd name="T4" fmla="*/ 44 w 195"/>
                  <a:gd name="T5" fmla="*/ 7 h 173"/>
                  <a:gd name="T6" fmla="*/ 56 w 195"/>
                  <a:gd name="T7" fmla="*/ 11 h 173"/>
                  <a:gd name="T8" fmla="*/ 67 w 195"/>
                  <a:gd name="T9" fmla="*/ 13 h 173"/>
                  <a:gd name="T10" fmla="*/ 77 w 195"/>
                  <a:gd name="T11" fmla="*/ 15 h 173"/>
                  <a:gd name="T12" fmla="*/ 86 w 195"/>
                  <a:gd name="T13" fmla="*/ 7 h 173"/>
                  <a:gd name="T14" fmla="*/ 103 w 195"/>
                  <a:gd name="T15" fmla="*/ 2 h 173"/>
                  <a:gd name="T16" fmla="*/ 113 w 195"/>
                  <a:gd name="T17" fmla="*/ 4 h 173"/>
                  <a:gd name="T18" fmla="*/ 120 w 195"/>
                  <a:gd name="T19" fmla="*/ 7 h 173"/>
                  <a:gd name="T20" fmla="*/ 126 w 195"/>
                  <a:gd name="T21" fmla="*/ 11 h 173"/>
                  <a:gd name="T22" fmla="*/ 128 w 195"/>
                  <a:gd name="T23" fmla="*/ 13 h 173"/>
                  <a:gd name="T24" fmla="*/ 132 w 195"/>
                  <a:gd name="T25" fmla="*/ 11 h 173"/>
                  <a:gd name="T26" fmla="*/ 136 w 195"/>
                  <a:gd name="T27" fmla="*/ 11 h 173"/>
                  <a:gd name="T28" fmla="*/ 138 w 195"/>
                  <a:gd name="T29" fmla="*/ 11 h 173"/>
                  <a:gd name="T30" fmla="*/ 145 w 195"/>
                  <a:gd name="T31" fmla="*/ 11 h 173"/>
                  <a:gd name="T32" fmla="*/ 157 w 195"/>
                  <a:gd name="T33" fmla="*/ 21 h 173"/>
                  <a:gd name="T34" fmla="*/ 164 w 195"/>
                  <a:gd name="T35" fmla="*/ 42 h 173"/>
                  <a:gd name="T36" fmla="*/ 161 w 195"/>
                  <a:gd name="T37" fmla="*/ 49 h 173"/>
                  <a:gd name="T38" fmla="*/ 157 w 195"/>
                  <a:gd name="T39" fmla="*/ 61 h 173"/>
                  <a:gd name="T40" fmla="*/ 155 w 195"/>
                  <a:gd name="T41" fmla="*/ 68 h 173"/>
                  <a:gd name="T42" fmla="*/ 149 w 195"/>
                  <a:gd name="T43" fmla="*/ 70 h 173"/>
                  <a:gd name="T44" fmla="*/ 141 w 195"/>
                  <a:gd name="T45" fmla="*/ 63 h 173"/>
                  <a:gd name="T46" fmla="*/ 136 w 195"/>
                  <a:gd name="T47" fmla="*/ 55 h 173"/>
                  <a:gd name="T48" fmla="*/ 132 w 195"/>
                  <a:gd name="T49" fmla="*/ 46 h 173"/>
                  <a:gd name="T50" fmla="*/ 128 w 195"/>
                  <a:gd name="T51" fmla="*/ 36 h 173"/>
                  <a:gd name="T52" fmla="*/ 126 w 195"/>
                  <a:gd name="T53" fmla="*/ 34 h 173"/>
                  <a:gd name="T54" fmla="*/ 128 w 195"/>
                  <a:gd name="T55" fmla="*/ 49 h 173"/>
                  <a:gd name="T56" fmla="*/ 134 w 195"/>
                  <a:gd name="T57" fmla="*/ 59 h 173"/>
                  <a:gd name="T58" fmla="*/ 140 w 195"/>
                  <a:gd name="T59" fmla="*/ 67 h 173"/>
                  <a:gd name="T60" fmla="*/ 141 w 195"/>
                  <a:gd name="T61" fmla="*/ 72 h 173"/>
                  <a:gd name="T62" fmla="*/ 143 w 195"/>
                  <a:gd name="T63" fmla="*/ 80 h 173"/>
                  <a:gd name="T64" fmla="*/ 149 w 195"/>
                  <a:gd name="T65" fmla="*/ 89 h 173"/>
                  <a:gd name="T66" fmla="*/ 153 w 195"/>
                  <a:gd name="T67" fmla="*/ 99 h 173"/>
                  <a:gd name="T68" fmla="*/ 159 w 195"/>
                  <a:gd name="T69" fmla="*/ 109 h 173"/>
                  <a:gd name="T70" fmla="*/ 162 w 195"/>
                  <a:gd name="T71" fmla="*/ 116 h 173"/>
                  <a:gd name="T72" fmla="*/ 166 w 195"/>
                  <a:gd name="T73" fmla="*/ 128 h 173"/>
                  <a:gd name="T74" fmla="*/ 172 w 195"/>
                  <a:gd name="T75" fmla="*/ 137 h 173"/>
                  <a:gd name="T76" fmla="*/ 178 w 195"/>
                  <a:gd name="T77" fmla="*/ 139 h 173"/>
                  <a:gd name="T78" fmla="*/ 172 w 195"/>
                  <a:gd name="T79" fmla="*/ 141 h 173"/>
                  <a:gd name="T80" fmla="*/ 174 w 195"/>
                  <a:gd name="T81" fmla="*/ 143 h 173"/>
                  <a:gd name="T82" fmla="*/ 174 w 195"/>
                  <a:gd name="T83" fmla="*/ 152 h 173"/>
                  <a:gd name="T84" fmla="*/ 178 w 195"/>
                  <a:gd name="T85" fmla="*/ 158 h 173"/>
                  <a:gd name="T86" fmla="*/ 185 w 195"/>
                  <a:gd name="T87" fmla="*/ 162 h 173"/>
                  <a:gd name="T88" fmla="*/ 193 w 195"/>
                  <a:gd name="T89" fmla="*/ 170 h 173"/>
                  <a:gd name="T90" fmla="*/ 124 w 195"/>
                  <a:gd name="T91" fmla="*/ 173 h 173"/>
                  <a:gd name="T92" fmla="*/ 6 w 195"/>
                  <a:gd name="T93" fmla="*/ 99 h 173"/>
                  <a:gd name="T94" fmla="*/ 4 w 195"/>
                  <a:gd name="T95" fmla="*/ 36 h 173"/>
                  <a:gd name="T96" fmla="*/ 4 w 195"/>
                  <a:gd name="T97" fmla="*/ 23 h 173"/>
                  <a:gd name="T98" fmla="*/ 4 w 195"/>
                  <a:gd name="T99" fmla="*/ 5 h 173"/>
                  <a:gd name="T100" fmla="*/ 149 w 195"/>
                  <a:gd name="T101" fmla="*/ 76 h 173"/>
                  <a:gd name="T102" fmla="*/ 145 w 195"/>
                  <a:gd name="T103" fmla="*/ 74 h 173"/>
                  <a:gd name="T104" fmla="*/ 149 w 195"/>
                  <a:gd name="T105" fmla="*/ 89 h 173"/>
                  <a:gd name="T106" fmla="*/ 134 w 195"/>
                  <a:gd name="T107" fmla="*/ 9 h 173"/>
                  <a:gd name="T108" fmla="*/ 140 w 195"/>
                  <a:gd name="T109" fmla="*/ 9 h 173"/>
                  <a:gd name="T110" fmla="*/ 183 w 195"/>
                  <a:gd name="T111" fmla="*/ 145 h 173"/>
                  <a:gd name="T112" fmla="*/ 176 w 195"/>
                  <a:gd name="T113" fmla="*/ 158 h 173"/>
                  <a:gd name="T114" fmla="*/ 140 w 195"/>
                  <a:gd name="T115" fmla="*/ 1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5" h="173">
                    <a:moveTo>
                      <a:pt x="8" y="0"/>
                    </a:moveTo>
                    <a:lnTo>
                      <a:pt x="8" y="2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5" y="4"/>
                    </a:lnTo>
                    <a:lnTo>
                      <a:pt x="35" y="5"/>
                    </a:lnTo>
                    <a:lnTo>
                      <a:pt x="39" y="5"/>
                    </a:lnTo>
                    <a:lnTo>
                      <a:pt x="42" y="5"/>
                    </a:lnTo>
                    <a:lnTo>
                      <a:pt x="40" y="5"/>
                    </a:lnTo>
                    <a:lnTo>
                      <a:pt x="40" y="7"/>
                    </a:lnTo>
                    <a:lnTo>
                      <a:pt x="44" y="5"/>
                    </a:lnTo>
                    <a:lnTo>
                      <a:pt x="44" y="7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52" y="9"/>
                    </a:lnTo>
                    <a:lnTo>
                      <a:pt x="52" y="11"/>
                    </a:lnTo>
                    <a:lnTo>
                      <a:pt x="56" y="11"/>
                    </a:lnTo>
                    <a:lnTo>
                      <a:pt x="58" y="11"/>
                    </a:lnTo>
                    <a:lnTo>
                      <a:pt x="59" y="11"/>
                    </a:lnTo>
                    <a:lnTo>
                      <a:pt x="61" y="11"/>
                    </a:lnTo>
                    <a:lnTo>
                      <a:pt x="63" y="13"/>
                    </a:lnTo>
                    <a:lnTo>
                      <a:pt x="65" y="13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69" y="17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7" y="15"/>
                    </a:lnTo>
                    <a:lnTo>
                      <a:pt x="80" y="13"/>
                    </a:lnTo>
                    <a:lnTo>
                      <a:pt x="82" y="11"/>
                    </a:lnTo>
                    <a:lnTo>
                      <a:pt x="84" y="9"/>
                    </a:lnTo>
                    <a:lnTo>
                      <a:pt x="82" y="9"/>
                    </a:lnTo>
                    <a:lnTo>
                      <a:pt x="84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2" y="4"/>
                    </a:lnTo>
                    <a:lnTo>
                      <a:pt x="94" y="5"/>
                    </a:lnTo>
                    <a:lnTo>
                      <a:pt x="101" y="2"/>
                    </a:lnTo>
                    <a:lnTo>
                      <a:pt x="103" y="2"/>
                    </a:lnTo>
                    <a:lnTo>
                      <a:pt x="105" y="4"/>
                    </a:lnTo>
                    <a:lnTo>
                      <a:pt x="109" y="5"/>
                    </a:lnTo>
                    <a:lnTo>
                      <a:pt x="111" y="5"/>
                    </a:lnTo>
                    <a:lnTo>
                      <a:pt x="113" y="4"/>
                    </a:lnTo>
                    <a:lnTo>
                      <a:pt x="113" y="5"/>
                    </a:lnTo>
                    <a:lnTo>
                      <a:pt x="113" y="4"/>
                    </a:lnTo>
                    <a:lnTo>
                      <a:pt x="115" y="4"/>
                    </a:lnTo>
                    <a:lnTo>
                      <a:pt x="117" y="4"/>
                    </a:lnTo>
                    <a:lnTo>
                      <a:pt x="117" y="5"/>
                    </a:lnTo>
                    <a:lnTo>
                      <a:pt x="117" y="4"/>
                    </a:lnTo>
                    <a:lnTo>
                      <a:pt x="117" y="5"/>
                    </a:lnTo>
                    <a:lnTo>
                      <a:pt x="120" y="7"/>
                    </a:lnTo>
                    <a:lnTo>
                      <a:pt x="122" y="7"/>
                    </a:lnTo>
                    <a:lnTo>
                      <a:pt x="122" y="9"/>
                    </a:lnTo>
                    <a:lnTo>
                      <a:pt x="122" y="7"/>
                    </a:lnTo>
                    <a:lnTo>
                      <a:pt x="122" y="9"/>
                    </a:lnTo>
                    <a:lnTo>
                      <a:pt x="124" y="9"/>
                    </a:lnTo>
                    <a:lnTo>
                      <a:pt x="126" y="11"/>
                    </a:lnTo>
                    <a:lnTo>
                      <a:pt x="128" y="11"/>
                    </a:lnTo>
                    <a:lnTo>
                      <a:pt x="130" y="11"/>
                    </a:lnTo>
                    <a:lnTo>
                      <a:pt x="132" y="11"/>
                    </a:lnTo>
                    <a:lnTo>
                      <a:pt x="130" y="11"/>
                    </a:lnTo>
                    <a:lnTo>
                      <a:pt x="128" y="11"/>
                    </a:lnTo>
                    <a:lnTo>
                      <a:pt x="128" y="13"/>
                    </a:lnTo>
                    <a:lnTo>
                      <a:pt x="130" y="13"/>
                    </a:lnTo>
                    <a:lnTo>
                      <a:pt x="132" y="11"/>
                    </a:lnTo>
                    <a:lnTo>
                      <a:pt x="134" y="11"/>
                    </a:lnTo>
                    <a:lnTo>
                      <a:pt x="132" y="11"/>
                    </a:lnTo>
                    <a:lnTo>
                      <a:pt x="134" y="11"/>
                    </a:lnTo>
                    <a:lnTo>
                      <a:pt x="132" y="11"/>
                    </a:lnTo>
                    <a:lnTo>
                      <a:pt x="134" y="13"/>
                    </a:lnTo>
                    <a:lnTo>
                      <a:pt x="134" y="11"/>
                    </a:lnTo>
                    <a:lnTo>
                      <a:pt x="132" y="11"/>
                    </a:lnTo>
                    <a:lnTo>
                      <a:pt x="134" y="11"/>
                    </a:lnTo>
                    <a:lnTo>
                      <a:pt x="134" y="9"/>
                    </a:lnTo>
                    <a:lnTo>
                      <a:pt x="136" y="11"/>
                    </a:lnTo>
                    <a:lnTo>
                      <a:pt x="134" y="11"/>
                    </a:lnTo>
                    <a:lnTo>
                      <a:pt x="136" y="11"/>
                    </a:lnTo>
                    <a:lnTo>
                      <a:pt x="136" y="13"/>
                    </a:lnTo>
                    <a:lnTo>
                      <a:pt x="136" y="11"/>
                    </a:lnTo>
                    <a:lnTo>
                      <a:pt x="138" y="13"/>
                    </a:lnTo>
                    <a:lnTo>
                      <a:pt x="138" y="11"/>
                    </a:lnTo>
                    <a:lnTo>
                      <a:pt x="136" y="11"/>
                    </a:lnTo>
                    <a:lnTo>
                      <a:pt x="138" y="11"/>
                    </a:lnTo>
                    <a:lnTo>
                      <a:pt x="140" y="11"/>
                    </a:lnTo>
                    <a:lnTo>
                      <a:pt x="141" y="11"/>
                    </a:lnTo>
                    <a:lnTo>
                      <a:pt x="143" y="11"/>
                    </a:lnTo>
                    <a:lnTo>
                      <a:pt x="145" y="11"/>
                    </a:lnTo>
                    <a:lnTo>
                      <a:pt x="149" y="9"/>
                    </a:lnTo>
                    <a:lnTo>
                      <a:pt x="153" y="7"/>
                    </a:lnTo>
                    <a:lnTo>
                      <a:pt x="153" y="9"/>
                    </a:lnTo>
                    <a:lnTo>
                      <a:pt x="155" y="15"/>
                    </a:lnTo>
                    <a:lnTo>
                      <a:pt x="157" y="19"/>
                    </a:lnTo>
                    <a:lnTo>
                      <a:pt x="157" y="21"/>
                    </a:lnTo>
                    <a:lnTo>
                      <a:pt x="159" y="23"/>
                    </a:lnTo>
                    <a:lnTo>
                      <a:pt x="159" y="25"/>
                    </a:lnTo>
                    <a:lnTo>
                      <a:pt x="162" y="36"/>
                    </a:lnTo>
                    <a:lnTo>
                      <a:pt x="162" y="38"/>
                    </a:lnTo>
                    <a:lnTo>
                      <a:pt x="162" y="40"/>
                    </a:lnTo>
                    <a:lnTo>
                      <a:pt x="164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61" y="44"/>
                    </a:lnTo>
                    <a:lnTo>
                      <a:pt x="161" y="46"/>
                    </a:lnTo>
                    <a:lnTo>
                      <a:pt x="161" y="47"/>
                    </a:lnTo>
                    <a:lnTo>
                      <a:pt x="161" y="49"/>
                    </a:lnTo>
                    <a:lnTo>
                      <a:pt x="159" y="51"/>
                    </a:lnTo>
                    <a:lnTo>
                      <a:pt x="159" y="53"/>
                    </a:lnTo>
                    <a:lnTo>
                      <a:pt x="159" y="55"/>
                    </a:lnTo>
                    <a:lnTo>
                      <a:pt x="159" y="57"/>
                    </a:lnTo>
                    <a:lnTo>
                      <a:pt x="157" y="59"/>
                    </a:lnTo>
                    <a:lnTo>
                      <a:pt x="157" y="61"/>
                    </a:lnTo>
                    <a:lnTo>
                      <a:pt x="155" y="63"/>
                    </a:lnTo>
                    <a:lnTo>
                      <a:pt x="155" y="65"/>
                    </a:lnTo>
                    <a:lnTo>
                      <a:pt x="157" y="65"/>
                    </a:lnTo>
                    <a:lnTo>
                      <a:pt x="157" y="67"/>
                    </a:lnTo>
                    <a:lnTo>
                      <a:pt x="157" y="68"/>
                    </a:lnTo>
                    <a:lnTo>
                      <a:pt x="155" y="68"/>
                    </a:lnTo>
                    <a:lnTo>
                      <a:pt x="155" y="70"/>
                    </a:lnTo>
                    <a:lnTo>
                      <a:pt x="153" y="70"/>
                    </a:lnTo>
                    <a:lnTo>
                      <a:pt x="153" y="72"/>
                    </a:lnTo>
                    <a:lnTo>
                      <a:pt x="151" y="72"/>
                    </a:lnTo>
                    <a:lnTo>
                      <a:pt x="149" y="72"/>
                    </a:lnTo>
                    <a:lnTo>
                      <a:pt x="149" y="70"/>
                    </a:lnTo>
                    <a:lnTo>
                      <a:pt x="147" y="68"/>
                    </a:lnTo>
                    <a:lnTo>
                      <a:pt x="145" y="68"/>
                    </a:lnTo>
                    <a:lnTo>
                      <a:pt x="145" y="67"/>
                    </a:lnTo>
                    <a:lnTo>
                      <a:pt x="143" y="65"/>
                    </a:lnTo>
                    <a:lnTo>
                      <a:pt x="143" y="63"/>
                    </a:lnTo>
                    <a:lnTo>
                      <a:pt x="141" y="63"/>
                    </a:lnTo>
                    <a:lnTo>
                      <a:pt x="140" y="61"/>
                    </a:lnTo>
                    <a:lnTo>
                      <a:pt x="140" y="59"/>
                    </a:lnTo>
                    <a:lnTo>
                      <a:pt x="138" y="59"/>
                    </a:lnTo>
                    <a:lnTo>
                      <a:pt x="138" y="57"/>
                    </a:lnTo>
                    <a:lnTo>
                      <a:pt x="138" y="59"/>
                    </a:lnTo>
                    <a:lnTo>
                      <a:pt x="136" y="55"/>
                    </a:lnTo>
                    <a:lnTo>
                      <a:pt x="138" y="53"/>
                    </a:lnTo>
                    <a:lnTo>
                      <a:pt x="136" y="53"/>
                    </a:lnTo>
                    <a:lnTo>
                      <a:pt x="136" y="51"/>
                    </a:lnTo>
                    <a:lnTo>
                      <a:pt x="136" y="49"/>
                    </a:lnTo>
                    <a:lnTo>
                      <a:pt x="134" y="47"/>
                    </a:lnTo>
                    <a:lnTo>
                      <a:pt x="132" y="46"/>
                    </a:lnTo>
                    <a:lnTo>
                      <a:pt x="130" y="44"/>
                    </a:lnTo>
                    <a:lnTo>
                      <a:pt x="130" y="42"/>
                    </a:lnTo>
                    <a:lnTo>
                      <a:pt x="128" y="42"/>
                    </a:lnTo>
                    <a:lnTo>
                      <a:pt x="130" y="42"/>
                    </a:lnTo>
                    <a:lnTo>
                      <a:pt x="128" y="40"/>
                    </a:lnTo>
                    <a:lnTo>
                      <a:pt x="128" y="36"/>
                    </a:lnTo>
                    <a:lnTo>
                      <a:pt x="126" y="34"/>
                    </a:lnTo>
                    <a:lnTo>
                      <a:pt x="128" y="34"/>
                    </a:lnTo>
                    <a:lnTo>
                      <a:pt x="126" y="32"/>
                    </a:lnTo>
                    <a:lnTo>
                      <a:pt x="124" y="32"/>
                    </a:lnTo>
                    <a:lnTo>
                      <a:pt x="124" y="34"/>
                    </a:lnTo>
                    <a:lnTo>
                      <a:pt x="126" y="34"/>
                    </a:lnTo>
                    <a:lnTo>
                      <a:pt x="122" y="38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6" y="44"/>
                    </a:lnTo>
                    <a:lnTo>
                      <a:pt x="128" y="47"/>
                    </a:lnTo>
                    <a:lnTo>
                      <a:pt x="128" y="49"/>
                    </a:lnTo>
                    <a:lnTo>
                      <a:pt x="128" y="51"/>
                    </a:lnTo>
                    <a:lnTo>
                      <a:pt x="128" y="53"/>
                    </a:lnTo>
                    <a:lnTo>
                      <a:pt x="130" y="53"/>
                    </a:lnTo>
                    <a:lnTo>
                      <a:pt x="132" y="57"/>
                    </a:lnTo>
                    <a:lnTo>
                      <a:pt x="132" y="59"/>
                    </a:lnTo>
                    <a:lnTo>
                      <a:pt x="134" y="59"/>
                    </a:lnTo>
                    <a:lnTo>
                      <a:pt x="134" y="61"/>
                    </a:lnTo>
                    <a:lnTo>
                      <a:pt x="136" y="61"/>
                    </a:lnTo>
                    <a:lnTo>
                      <a:pt x="136" y="63"/>
                    </a:lnTo>
                    <a:lnTo>
                      <a:pt x="138" y="65"/>
                    </a:lnTo>
                    <a:lnTo>
                      <a:pt x="138" y="67"/>
                    </a:lnTo>
                    <a:lnTo>
                      <a:pt x="140" y="67"/>
                    </a:lnTo>
                    <a:lnTo>
                      <a:pt x="141" y="68"/>
                    </a:lnTo>
                    <a:lnTo>
                      <a:pt x="143" y="70"/>
                    </a:lnTo>
                    <a:lnTo>
                      <a:pt x="143" y="72"/>
                    </a:lnTo>
                    <a:lnTo>
                      <a:pt x="141" y="72"/>
                    </a:lnTo>
                    <a:lnTo>
                      <a:pt x="141" y="70"/>
                    </a:lnTo>
                    <a:lnTo>
                      <a:pt x="141" y="72"/>
                    </a:lnTo>
                    <a:lnTo>
                      <a:pt x="141" y="74"/>
                    </a:lnTo>
                    <a:lnTo>
                      <a:pt x="143" y="74"/>
                    </a:lnTo>
                    <a:lnTo>
                      <a:pt x="141" y="74"/>
                    </a:lnTo>
                    <a:lnTo>
                      <a:pt x="141" y="76"/>
                    </a:lnTo>
                    <a:lnTo>
                      <a:pt x="143" y="78"/>
                    </a:lnTo>
                    <a:lnTo>
                      <a:pt x="143" y="80"/>
                    </a:lnTo>
                    <a:lnTo>
                      <a:pt x="145" y="80"/>
                    </a:lnTo>
                    <a:lnTo>
                      <a:pt x="147" y="82"/>
                    </a:lnTo>
                    <a:lnTo>
                      <a:pt x="147" y="84"/>
                    </a:lnTo>
                    <a:lnTo>
                      <a:pt x="147" y="86"/>
                    </a:lnTo>
                    <a:lnTo>
                      <a:pt x="149" y="88"/>
                    </a:lnTo>
                    <a:lnTo>
                      <a:pt x="149" y="89"/>
                    </a:lnTo>
                    <a:lnTo>
                      <a:pt x="149" y="88"/>
                    </a:lnTo>
                    <a:lnTo>
                      <a:pt x="149" y="89"/>
                    </a:lnTo>
                    <a:lnTo>
                      <a:pt x="149" y="91"/>
                    </a:lnTo>
                    <a:lnTo>
                      <a:pt x="149" y="93"/>
                    </a:lnTo>
                    <a:lnTo>
                      <a:pt x="151" y="95"/>
                    </a:lnTo>
                    <a:lnTo>
                      <a:pt x="153" y="99"/>
                    </a:lnTo>
                    <a:lnTo>
                      <a:pt x="153" y="101"/>
                    </a:lnTo>
                    <a:lnTo>
                      <a:pt x="153" y="103"/>
                    </a:lnTo>
                    <a:lnTo>
                      <a:pt x="155" y="103"/>
                    </a:lnTo>
                    <a:lnTo>
                      <a:pt x="155" y="105"/>
                    </a:lnTo>
                    <a:lnTo>
                      <a:pt x="157" y="107"/>
                    </a:lnTo>
                    <a:lnTo>
                      <a:pt x="159" y="109"/>
                    </a:lnTo>
                    <a:lnTo>
                      <a:pt x="159" y="110"/>
                    </a:lnTo>
                    <a:lnTo>
                      <a:pt x="159" y="112"/>
                    </a:lnTo>
                    <a:lnTo>
                      <a:pt x="161" y="112"/>
                    </a:lnTo>
                    <a:lnTo>
                      <a:pt x="161" y="114"/>
                    </a:lnTo>
                    <a:lnTo>
                      <a:pt x="161" y="116"/>
                    </a:lnTo>
                    <a:lnTo>
                      <a:pt x="162" y="116"/>
                    </a:lnTo>
                    <a:lnTo>
                      <a:pt x="162" y="118"/>
                    </a:lnTo>
                    <a:lnTo>
                      <a:pt x="162" y="120"/>
                    </a:lnTo>
                    <a:lnTo>
                      <a:pt x="164" y="122"/>
                    </a:lnTo>
                    <a:lnTo>
                      <a:pt x="164" y="124"/>
                    </a:lnTo>
                    <a:lnTo>
                      <a:pt x="166" y="126"/>
                    </a:lnTo>
                    <a:lnTo>
                      <a:pt x="166" y="128"/>
                    </a:lnTo>
                    <a:lnTo>
                      <a:pt x="168" y="129"/>
                    </a:lnTo>
                    <a:lnTo>
                      <a:pt x="168" y="131"/>
                    </a:lnTo>
                    <a:lnTo>
                      <a:pt x="170" y="133"/>
                    </a:lnTo>
                    <a:lnTo>
                      <a:pt x="172" y="135"/>
                    </a:lnTo>
                    <a:lnTo>
                      <a:pt x="174" y="137"/>
                    </a:lnTo>
                    <a:lnTo>
                      <a:pt x="172" y="137"/>
                    </a:lnTo>
                    <a:lnTo>
                      <a:pt x="174" y="137"/>
                    </a:lnTo>
                    <a:lnTo>
                      <a:pt x="174" y="139"/>
                    </a:lnTo>
                    <a:lnTo>
                      <a:pt x="176" y="139"/>
                    </a:lnTo>
                    <a:lnTo>
                      <a:pt x="178" y="139"/>
                    </a:lnTo>
                    <a:lnTo>
                      <a:pt x="178" y="141"/>
                    </a:lnTo>
                    <a:lnTo>
                      <a:pt x="178" y="139"/>
                    </a:lnTo>
                    <a:lnTo>
                      <a:pt x="176" y="141"/>
                    </a:lnTo>
                    <a:lnTo>
                      <a:pt x="174" y="141"/>
                    </a:lnTo>
                    <a:lnTo>
                      <a:pt x="174" y="139"/>
                    </a:lnTo>
                    <a:lnTo>
                      <a:pt x="174" y="141"/>
                    </a:lnTo>
                    <a:lnTo>
                      <a:pt x="174" y="139"/>
                    </a:lnTo>
                    <a:lnTo>
                      <a:pt x="172" y="141"/>
                    </a:lnTo>
                    <a:lnTo>
                      <a:pt x="172" y="143"/>
                    </a:lnTo>
                    <a:lnTo>
                      <a:pt x="174" y="143"/>
                    </a:lnTo>
                    <a:lnTo>
                      <a:pt x="172" y="143"/>
                    </a:lnTo>
                    <a:lnTo>
                      <a:pt x="174" y="143"/>
                    </a:lnTo>
                    <a:lnTo>
                      <a:pt x="172" y="143"/>
                    </a:lnTo>
                    <a:lnTo>
                      <a:pt x="174" y="143"/>
                    </a:lnTo>
                    <a:lnTo>
                      <a:pt x="174" y="145"/>
                    </a:lnTo>
                    <a:lnTo>
                      <a:pt x="172" y="145"/>
                    </a:lnTo>
                    <a:lnTo>
                      <a:pt x="174" y="147"/>
                    </a:lnTo>
                    <a:lnTo>
                      <a:pt x="172" y="147"/>
                    </a:lnTo>
                    <a:lnTo>
                      <a:pt x="174" y="150"/>
                    </a:lnTo>
                    <a:lnTo>
                      <a:pt x="174" y="152"/>
                    </a:lnTo>
                    <a:lnTo>
                      <a:pt x="176" y="154"/>
                    </a:lnTo>
                    <a:lnTo>
                      <a:pt x="176" y="156"/>
                    </a:lnTo>
                    <a:lnTo>
                      <a:pt x="176" y="158"/>
                    </a:lnTo>
                    <a:lnTo>
                      <a:pt x="178" y="158"/>
                    </a:lnTo>
                    <a:lnTo>
                      <a:pt x="178" y="160"/>
                    </a:lnTo>
                    <a:lnTo>
                      <a:pt x="178" y="158"/>
                    </a:lnTo>
                    <a:lnTo>
                      <a:pt x="178" y="160"/>
                    </a:lnTo>
                    <a:lnTo>
                      <a:pt x="180" y="160"/>
                    </a:lnTo>
                    <a:lnTo>
                      <a:pt x="180" y="162"/>
                    </a:lnTo>
                    <a:lnTo>
                      <a:pt x="182" y="162"/>
                    </a:lnTo>
                    <a:lnTo>
                      <a:pt x="183" y="162"/>
                    </a:lnTo>
                    <a:lnTo>
                      <a:pt x="185" y="162"/>
                    </a:lnTo>
                    <a:lnTo>
                      <a:pt x="185" y="166"/>
                    </a:lnTo>
                    <a:lnTo>
                      <a:pt x="187" y="166"/>
                    </a:lnTo>
                    <a:lnTo>
                      <a:pt x="187" y="168"/>
                    </a:lnTo>
                    <a:lnTo>
                      <a:pt x="191" y="168"/>
                    </a:lnTo>
                    <a:lnTo>
                      <a:pt x="193" y="171"/>
                    </a:lnTo>
                    <a:lnTo>
                      <a:pt x="193" y="170"/>
                    </a:lnTo>
                    <a:lnTo>
                      <a:pt x="195" y="171"/>
                    </a:lnTo>
                    <a:lnTo>
                      <a:pt x="195" y="173"/>
                    </a:lnTo>
                    <a:lnTo>
                      <a:pt x="193" y="173"/>
                    </a:lnTo>
                    <a:lnTo>
                      <a:pt x="159" y="173"/>
                    </a:lnTo>
                    <a:lnTo>
                      <a:pt x="136" y="173"/>
                    </a:lnTo>
                    <a:lnTo>
                      <a:pt x="124" y="173"/>
                    </a:lnTo>
                    <a:lnTo>
                      <a:pt x="107" y="173"/>
                    </a:lnTo>
                    <a:lnTo>
                      <a:pt x="84" y="173"/>
                    </a:lnTo>
                    <a:lnTo>
                      <a:pt x="6" y="173"/>
                    </a:lnTo>
                    <a:lnTo>
                      <a:pt x="6" y="149"/>
                    </a:lnTo>
                    <a:lnTo>
                      <a:pt x="6" y="120"/>
                    </a:lnTo>
                    <a:lnTo>
                      <a:pt x="6" y="99"/>
                    </a:lnTo>
                    <a:lnTo>
                      <a:pt x="6" y="74"/>
                    </a:lnTo>
                    <a:lnTo>
                      <a:pt x="6" y="68"/>
                    </a:lnTo>
                    <a:lnTo>
                      <a:pt x="6" y="46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2" y="30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6" y="21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4" y="11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  <a:moveTo>
                      <a:pt x="147" y="76"/>
                    </a:moveTo>
                    <a:lnTo>
                      <a:pt x="149" y="76"/>
                    </a:lnTo>
                    <a:lnTo>
                      <a:pt x="149" y="78"/>
                    </a:lnTo>
                    <a:lnTo>
                      <a:pt x="147" y="78"/>
                    </a:lnTo>
                    <a:lnTo>
                      <a:pt x="147" y="76"/>
                    </a:lnTo>
                    <a:close/>
                    <a:moveTo>
                      <a:pt x="145" y="74"/>
                    </a:moveTo>
                    <a:lnTo>
                      <a:pt x="145" y="76"/>
                    </a:lnTo>
                    <a:lnTo>
                      <a:pt x="145" y="74"/>
                    </a:lnTo>
                    <a:close/>
                    <a:moveTo>
                      <a:pt x="147" y="82"/>
                    </a:moveTo>
                    <a:lnTo>
                      <a:pt x="149" y="82"/>
                    </a:lnTo>
                    <a:lnTo>
                      <a:pt x="147" y="82"/>
                    </a:lnTo>
                    <a:close/>
                    <a:moveTo>
                      <a:pt x="149" y="89"/>
                    </a:moveTo>
                    <a:lnTo>
                      <a:pt x="149" y="91"/>
                    </a:lnTo>
                    <a:lnTo>
                      <a:pt x="149" y="89"/>
                    </a:lnTo>
                    <a:close/>
                    <a:moveTo>
                      <a:pt x="136" y="9"/>
                    </a:moveTo>
                    <a:lnTo>
                      <a:pt x="138" y="9"/>
                    </a:lnTo>
                    <a:lnTo>
                      <a:pt x="136" y="9"/>
                    </a:lnTo>
                    <a:lnTo>
                      <a:pt x="134" y="9"/>
                    </a:lnTo>
                    <a:lnTo>
                      <a:pt x="132" y="9"/>
                    </a:lnTo>
                    <a:lnTo>
                      <a:pt x="134" y="9"/>
                    </a:lnTo>
                    <a:lnTo>
                      <a:pt x="136" y="9"/>
                    </a:lnTo>
                    <a:close/>
                    <a:moveTo>
                      <a:pt x="145" y="74"/>
                    </a:moveTo>
                    <a:lnTo>
                      <a:pt x="147" y="74"/>
                    </a:lnTo>
                    <a:lnTo>
                      <a:pt x="145" y="74"/>
                    </a:lnTo>
                    <a:close/>
                    <a:moveTo>
                      <a:pt x="138" y="9"/>
                    </a:moveTo>
                    <a:lnTo>
                      <a:pt x="140" y="9"/>
                    </a:lnTo>
                    <a:lnTo>
                      <a:pt x="138" y="9"/>
                    </a:lnTo>
                    <a:close/>
                    <a:moveTo>
                      <a:pt x="183" y="145"/>
                    </a:moveTo>
                    <a:lnTo>
                      <a:pt x="185" y="145"/>
                    </a:lnTo>
                    <a:lnTo>
                      <a:pt x="185" y="147"/>
                    </a:lnTo>
                    <a:lnTo>
                      <a:pt x="183" y="147"/>
                    </a:lnTo>
                    <a:lnTo>
                      <a:pt x="183" y="145"/>
                    </a:lnTo>
                    <a:close/>
                    <a:moveTo>
                      <a:pt x="143" y="72"/>
                    </a:moveTo>
                    <a:lnTo>
                      <a:pt x="145" y="72"/>
                    </a:lnTo>
                    <a:lnTo>
                      <a:pt x="145" y="74"/>
                    </a:lnTo>
                    <a:lnTo>
                      <a:pt x="143" y="74"/>
                    </a:lnTo>
                    <a:lnTo>
                      <a:pt x="143" y="72"/>
                    </a:lnTo>
                    <a:close/>
                    <a:moveTo>
                      <a:pt x="176" y="158"/>
                    </a:moveTo>
                    <a:lnTo>
                      <a:pt x="178" y="158"/>
                    </a:lnTo>
                    <a:lnTo>
                      <a:pt x="176" y="158"/>
                    </a:lnTo>
                    <a:close/>
                    <a:moveTo>
                      <a:pt x="140" y="9"/>
                    </a:moveTo>
                    <a:lnTo>
                      <a:pt x="141" y="9"/>
                    </a:lnTo>
                    <a:lnTo>
                      <a:pt x="141" y="11"/>
                    </a:lnTo>
                    <a:lnTo>
                      <a:pt x="140" y="11"/>
                    </a:lnTo>
                    <a:lnTo>
                      <a:pt x="140" y="9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7" name="Freeform 123">
                <a:extLst>
                  <a:ext uri="{FF2B5EF4-FFF2-40B4-BE49-F238E27FC236}">
                    <a16:creationId xmlns:a16="http://schemas.microsoft.com/office/drawing/2014/main" id="{A62CC0F6-CCED-DC25-575D-2E645C9990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5413" y="-2912128"/>
                <a:ext cx="519943" cy="517762"/>
              </a:xfrm>
              <a:custGeom>
                <a:avLst/>
                <a:gdLst>
                  <a:gd name="T0" fmla="*/ 273 w 330"/>
                  <a:gd name="T1" fmla="*/ 5 h 328"/>
                  <a:gd name="T2" fmla="*/ 271 w 330"/>
                  <a:gd name="T3" fmla="*/ 11 h 328"/>
                  <a:gd name="T4" fmla="*/ 271 w 330"/>
                  <a:gd name="T5" fmla="*/ 21 h 328"/>
                  <a:gd name="T6" fmla="*/ 271 w 330"/>
                  <a:gd name="T7" fmla="*/ 32 h 328"/>
                  <a:gd name="T8" fmla="*/ 271 w 330"/>
                  <a:gd name="T9" fmla="*/ 42 h 328"/>
                  <a:gd name="T10" fmla="*/ 269 w 330"/>
                  <a:gd name="T11" fmla="*/ 47 h 328"/>
                  <a:gd name="T12" fmla="*/ 263 w 330"/>
                  <a:gd name="T13" fmla="*/ 55 h 328"/>
                  <a:gd name="T14" fmla="*/ 258 w 330"/>
                  <a:gd name="T15" fmla="*/ 63 h 328"/>
                  <a:gd name="T16" fmla="*/ 263 w 330"/>
                  <a:gd name="T17" fmla="*/ 76 h 328"/>
                  <a:gd name="T18" fmla="*/ 290 w 330"/>
                  <a:gd name="T19" fmla="*/ 124 h 328"/>
                  <a:gd name="T20" fmla="*/ 296 w 330"/>
                  <a:gd name="T21" fmla="*/ 152 h 328"/>
                  <a:gd name="T22" fmla="*/ 296 w 330"/>
                  <a:gd name="T23" fmla="*/ 177 h 328"/>
                  <a:gd name="T24" fmla="*/ 294 w 330"/>
                  <a:gd name="T25" fmla="*/ 183 h 328"/>
                  <a:gd name="T26" fmla="*/ 290 w 330"/>
                  <a:gd name="T27" fmla="*/ 200 h 328"/>
                  <a:gd name="T28" fmla="*/ 302 w 330"/>
                  <a:gd name="T29" fmla="*/ 231 h 328"/>
                  <a:gd name="T30" fmla="*/ 313 w 330"/>
                  <a:gd name="T31" fmla="*/ 232 h 328"/>
                  <a:gd name="T32" fmla="*/ 302 w 330"/>
                  <a:gd name="T33" fmla="*/ 269 h 328"/>
                  <a:gd name="T34" fmla="*/ 193 w 330"/>
                  <a:gd name="T35" fmla="*/ 328 h 328"/>
                  <a:gd name="T36" fmla="*/ 189 w 330"/>
                  <a:gd name="T37" fmla="*/ 320 h 328"/>
                  <a:gd name="T38" fmla="*/ 191 w 330"/>
                  <a:gd name="T39" fmla="*/ 313 h 328"/>
                  <a:gd name="T40" fmla="*/ 179 w 330"/>
                  <a:gd name="T41" fmla="*/ 309 h 328"/>
                  <a:gd name="T42" fmla="*/ 178 w 330"/>
                  <a:gd name="T43" fmla="*/ 309 h 328"/>
                  <a:gd name="T44" fmla="*/ 170 w 330"/>
                  <a:gd name="T45" fmla="*/ 307 h 328"/>
                  <a:gd name="T46" fmla="*/ 162 w 330"/>
                  <a:gd name="T47" fmla="*/ 299 h 328"/>
                  <a:gd name="T48" fmla="*/ 138 w 330"/>
                  <a:gd name="T49" fmla="*/ 278 h 328"/>
                  <a:gd name="T50" fmla="*/ 0 w 330"/>
                  <a:gd name="T51" fmla="*/ 158 h 328"/>
                  <a:gd name="T52" fmla="*/ 17 w 330"/>
                  <a:gd name="T53" fmla="*/ 147 h 328"/>
                  <a:gd name="T54" fmla="*/ 29 w 330"/>
                  <a:gd name="T55" fmla="*/ 143 h 328"/>
                  <a:gd name="T56" fmla="*/ 38 w 330"/>
                  <a:gd name="T57" fmla="*/ 143 h 328"/>
                  <a:gd name="T58" fmla="*/ 48 w 330"/>
                  <a:gd name="T59" fmla="*/ 145 h 328"/>
                  <a:gd name="T60" fmla="*/ 54 w 330"/>
                  <a:gd name="T61" fmla="*/ 137 h 328"/>
                  <a:gd name="T62" fmla="*/ 73 w 330"/>
                  <a:gd name="T63" fmla="*/ 124 h 328"/>
                  <a:gd name="T64" fmla="*/ 80 w 330"/>
                  <a:gd name="T65" fmla="*/ 114 h 328"/>
                  <a:gd name="T66" fmla="*/ 80 w 330"/>
                  <a:gd name="T67" fmla="*/ 108 h 328"/>
                  <a:gd name="T68" fmla="*/ 97 w 330"/>
                  <a:gd name="T69" fmla="*/ 95 h 328"/>
                  <a:gd name="T70" fmla="*/ 109 w 330"/>
                  <a:gd name="T71" fmla="*/ 95 h 328"/>
                  <a:gd name="T72" fmla="*/ 118 w 330"/>
                  <a:gd name="T73" fmla="*/ 95 h 328"/>
                  <a:gd name="T74" fmla="*/ 117 w 330"/>
                  <a:gd name="T75" fmla="*/ 84 h 328"/>
                  <a:gd name="T76" fmla="*/ 113 w 330"/>
                  <a:gd name="T77" fmla="*/ 70 h 328"/>
                  <a:gd name="T78" fmla="*/ 111 w 330"/>
                  <a:gd name="T79" fmla="*/ 63 h 328"/>
                  <a:gd name="T80" fmla="*/ 109 w 330"/>
                  <a:gd name="T81" fmla="*/ 47 h 328"/>
                  <a:gd name="T82" fmla="*/ 103 w 330"/>
                  <a:gd name="T83" fmla="*/ 40 h 328"/>
                  <a:gd name="T84" fmla="*/ 111 w 330"/>
                  <a:gd name="T85" fmla="*/ 36 h 328"/>
                  <a:gd name="T86" fmla="*/ 120 w 330"/>
                  <a:gd name="T87" fmla="*/ 28 h 328"/>
                  <a:gd name="T88" fmla="*/ 128 w 330"/>
                  <a:gd name="T89" fmla="*/ 26 h 328"/>
                  <a:gd name="T90" fmla="*/ 134 w 330"/>
                  <a:gd name="T91" fmla="*/ 23 h 328"/>
                  <a:gd name="T92" fmla="*/ 143 w 330"/>
                  <a:gd name="T93" fmla="*/ 17 h 328"/>
                  <a:gd name="T94" fmla="*/ 153 w 330"/>
                  <a:gd name="T95" fmla="*/ 11 h 328"/>
                  <a:gd name="T96" fmla="*/ 162 w 330"/>
                  <a:gd name="T97" fmla="*/ 9 h 328"/>
                  <a:gd name="T98" fmla="*/ 178 w 330"/>
                  <a:gd name="T99" fmla="*/ 7 h 328"/>
                  <a:gd name="T100" fmla="*/ 185 w 330"/>
                  <a:gd name="T101" fmla="*/ 5 h 328"/>
                  <a:gd name="T102" fmla="*/ 197 w 330"/>
                  <a:gd name="T103" fmla="*/ 4 h 328"/>
                  <a:gd name="T104" fmla="*/ 208 w 330"/>
                  <a:gd name="T105" fmla="*/ 4 h 328"/>
                  <a:gd name="T106" fmla="*/ 220 w 330"/>
                  <a:gd name="T107" fmla="*/ 5 h 328"/>
                  <a:gd name="T108" fmla="*/ 227 w 330"/>
                  <a:gd name="T109" fmla="*/ 5 h 328"/>
                  <a:gd name="T110" fmla="*/ 233 w 330"/>
                  <a:gd name="T111" fmla="*/ 4 h 328"/>
                  <a:gd name="T112" fmla="*/ 242 w 330"/>
                  <a:gd name="T113" fmla="*/ 2 h 328"/>
                  <a:gd name="T114" fmla="*/ 248 w 330"/>
                  <a:gd name="T115" fmla="*/ 4 h 328"/>
                  <a:gd name="T116" fmla="*/ 252 w 330"/>
                  <a:gd name="T117" fmla="*/ 0 h 328"/>
                  <a:gd name="T118" fmla="*/ 261 w 330"/>
                  <a:gd name="T119" fmla="*/ 4 h 328"/>
                  <a:gd name="T120" fmla="*/ 277 w 330"/>
                  <a:gd name="T121" fmla="*/ 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0" h="328">
                    <a:moveTo>
                      <a:pt x="277" y="2"/>
                    </a:moveTo>
                    <a:lnTo>
                      <a:pt x="275" y="4"/>
                    </a:lnTo>
                    <a:lnTo>
                      <a:pt x="277" y="4"/>
                    </a:lnTo>
                    <a:lnTo>
                      <a:pt x="277" y="5"/>
                    </a:lnTo>
                    <a:lnTo>
                      <a:pt x="275" y="5"/>
                    </a:lnTo>
                    <a:lnTo>
                      <a:pt x="273" y="5"/>
                    </a:lnTo>
                    <a:lnTo>
                      <a:pt x="273" y="7"/>
                    </a:lnTo>
                    <a:lnTo>
                      <a:pt x="273" y="9"/>
                    </a:lnTo>
                    <a:lnTo>
                      <a:pt x="271" y="9"/>
                    </a:lnTo>
                    <a:lnTo>
                      <a:pt x="269" y="11"/>
                    </a:lnTo>
                    <a:lnTo>
                      <a:pt x="271" y="13"/>
                    </a:lnTo>
                    <a:lnTo>
                      <a:pt x="271" y="11"/>
                    </a:lnTo>
                    <a:lnTo>
                      <a:pt x="273" y="13"/>
                    </a:lnTo>
                    <a:lnTo>
                      <a:pt x="271" y="13"/>
                    </a:lnTo>
                    <a:lnTo>
                      <a:pt x="271" y="15"/>
                    </a:lnTo>
                    <a:lnTo>
                      <a:pt x="271" y="17"/>
                    </a:lnTo>
                    <a:lnTo>
                      <a:pt x="271" y="19"/>
                    </a:lnTo>
                    <a:lnTo>
                      <a:pt x="271" y="21"/>
                    </a:lnTo>
                    <a:lnTo>
                      <a:pt x="269" y="23"/>
                    </a:lnTo>
                    <a:lnTo>
                      <a:pt x="269" y="25"/>
                    </a:lnTo>
                    <a:lnTo>
                      <a:pt x="269" y="26"/>
                    </a:lnTo>
                    <a:lnTo>
                      <a:pt x="271" y="26"/>
                    </a:lnTo>
                    <a:lnTo>
                      <a:pt x="271" y="30"/>
                    </a:lnTo>
                    <a:lnTo>
                      <a:pt x="271" y="32"/>
                    </a:lnTo>
                    <a:lnTo>
                      <a:pt x="271" y="34"/>
                    </a:lnTo>
                    <a:lnTo>
                      <a:pt x="273" y="36"/>
                    </a:lnTo>
                    <a:lnTo>
                      <a:pt x="273" y="38"/>
                    </a:lnTo>
                    <a:lnTo>
                      <a:pt x="271" y="38"/>
                    </a:lnTo>
                    <a:lnTo>
                      <a:pt x="271" y="40"/>
                    </a:lnTo>
                    <a:lnTo>
                      <a:pt x="271" y="42"/>
                    </a:lnTo>
                    <a:lnTo>
                      <a:pt x="269" y="42"/>
                    </a:lnTo>
                    <a:lnTo>
                      <a:pt x="271" y="44"/>
                    </a:lnTo>
                    <a:lnTo>
                      <a:pt x="271" y="46"/>
                    </a:lnTo>
                    <a:lnTo>
                      <a:pt x="269" y="46"/>
                    </a:lnTo>
                    <a:lnTo>
                      <a:pt x="271" y="47"/>
                    </a:lnTo>
                    <a:lnTo>
                      <a:pt x="269" y="47"/>
                    </a:lnTo>
                    <a:lnTo>
                      <a:pt x="269" y="49"/>
                    </a:lnTo>
                    <a:lnTo>
                      <a:pt x="267" y="49"/>
                    </a:lnTo>
                    <a:lnTo>
                      <a:pt x="265" y="51"/>
                    </a:lnTo>
                    <a:lnTo>
                      <a:pt x="263" y="51"/>
                    </a:lnTo>
                    <a:lnTo>
                      <a:pt x="263" y="53"/>
                    </a:lnTo>
                    <a:lnTo>
                      <a:pt x="263" y="55"/>
                    </a:lnTo>
                    <a:lnTo>
                      <a:pt x="260" y="55"/>
                    </a:lnTo>
                    <a:lnTo>
                      <a:pt x="260" y="57"/>
                    </a:lnTo>
                    <a:lnTo>
                      <a:pt x="258" y="59"/>
                    </a:lnTo>
                    <a:lnTo>
                      <a:pt x="260" y="59"/>
                    </a:lnTo>
                    <a:lnTo>
                      <a:pt x="258" y="61"/>
                    </a:lnTo>
                    <a:lnTo>
                      <a:pt x="258" y="63"/>
                    </a:lnTo>
                    <a:lnTo>
                      <a:pt x="260" y="65"/>
                    </a:lnTo>
                    <a:lnTo>
                      <a:pt x="260" y="66"/>
                    </a:lnTo>
                    <a:lnTo>
                      <a:pt x="260" y="68"/>
                    </a:lnTo>
                    <a:lnTo>
                      <a:pt x="261" y="70"/>
                    </a:lnTo>
                    <a:lnTo>
                      <a:pt x="261" y="74"/>
                    </a:lnTo>
                    <a:lnTo>
                      <a:pt x="263" y="76"/>
                    </a:lnTo>
                    <a:lnTo>
                      <a:pt x="267" y="76"/>
                    </a:lnTo>
                    <a:lnTo>
                      <a:pt x="267" y="78"/>
                    </a:lnTo>
                    <a:lnTo>
                      <a:pt x="271" y="82"/>
                    </a:lnTo>
                    <a:lnTo>
                      <a:pt x="271" y="87"/>
                    </a:lnTo>
                    <a:lnTo>
                      <a:pt x="282" y="95"/>
                    </a:lnTo>
                    <a:lnTo>
                      <a:pt x="290" y="124"/>
                    </a:lnTo>
                    <a:lnTo>
                      <a:pt x="290" y="129"/>
                    </a:lnTo>
                    <a:lnTo>
                      <a:pt x="288" y="131"/>
                    </a:lnTo>
                    <a:lnTo>
                      <a:pt x="288" y="133"/>
                    </a:lnTo>
                    <a:lnTo>
                      <a:pt x="290" y="137"/>
                    </a:lnTo>
                    <a:lnTo>
                      <a:pt x="294" y="145"/>
                    </a:lnTo>
                    <a:lnTo>
                      <a:pt x="296" y="152"/>
                    </a:lnTo>
                    <a:lnTo>
                      <a:pt x="296" y="158"/>
                    </a:lnTo>
                    <a:lnTo>
                      <a:pt x="296" y="166"/>
                    </a:lnTo>
                    <a:lnTo>
                      <a:pt x="298" y="173"/>
                    </a:lnTo>
                    <a:lnTo>
                      <a:pt x="296" y="173"/>
                    </a:lnTo>
                    <a:lnTo>
                      <a:pt x="296" y="175"/>
                    </a:lnTo>
                    <a:lnTo>
                      <a:pt x="296" y="177"/>
                    </a:lnTo>
                    <a:lnTo>
                      <a:pt x="296" y="179"/>
                    </a:lnTo>
                    <a:lnTo>
                      <a:pt x="294" y="179"/>
                    </a:lnTo>
                    <a:lnTo>
                      <a:pt x="296" y="179"/>
                    </a:lnTo>
                    <a:lnTo>
                      <a:pt x="296" y="181"/>
                    </a:lnTo>
                    <a:lnTo>
                      <a:pt x="294" y="181"/>
                    </a:lnTo>
                    <a:lnTo>
                      <a:pt x="294" y="183"/>
                    </a:lnTo>
                    <a:lnTo>
                      <a:pt x="294" y="185"/>
                    </a:lnTo>
                    <a:lnTo>
                      <a:pt x="294" y="187"/>
                    </a:lnTo>
                    <a:lnTo>
                      <a:pt x="296" y="191"/>
                    </a:lnTo>
                    <a:lnTo>
                      <a:pt x="296" y="194"/>
                    </a:lnTo>
                    <a:lnTo>
                      <a:pt x="296" y="198"/>
                    </a:lnTo>
                    <a:lnTo>
                      <a:pt x="290" y="200"/>
                    </a:lnTo>
                    <a:lnTo>
                      <a:pt x="288" y="202"/>
                    </a:lnTo>
                    <a:lnTo>
                      <a:pt x="288" y="204"/>
                    </a:lnTo>
                    <a:lnTo>
                      <a:pt x="298" y="217"/>
                    </a:lnTo>
                    <a:lnTo>
                      <a:pt x="298" y="225"/>
                    </a:lnTo>
                    <a:lnTo>
                      <a:pt x="300" y="227"/>
                    </a:lnTo>
                    <a:lnTo>
                      <a:pt x="302" y="231"/>
                    </a:lnTo>
                    <a:lnTo>
                      <a:pt x="303" y="232"/>
                    </a:lnTo>
                    <a:lnTo>
                      <a:pt x="305" y="232"/>
                    </a:lnTo>
                    <a:lnTo>
                      <a:pt x="307" y="232"/>
                    </a:lnTo>
                    <a:lnTo>
                      <a:pt x="309" y="232"/>
                    </a:lnTo>
                    <a:lnTo>
                      <a:pt x="311" y="232"/>
                    </a:lnTo>
                    <a:lnTo>
                      <a:pt x="313" y="232"/>
                    </a:lnTo>
                    <a:lnTo>
                      <a:pt x="315" y="234"/>
                    </a:lnTo>
                    <a:lnTo>
                      <a:pt x="321" y="238"/>
                    </a:lnTo>
                    <a:lnTo>
                      <a:pt x="323" y="236"/>
                    </a:lnTo>
                    <a:lnTo>
                      <a:pt x="330" y="250"/>
                    </a:lnTo>
                    <a:lnTo>
                      <a:pt x="315" y="259"/>
                    </a:lnTo>
                    <a:lnTo>
                      <a:pt x="302" y="269"/>
                    </a:lnTo>
                    <a:lnTo>
                      <a:pt x="282" y="280"/>
                    </a:lnTo>
                    <a:lnTo>
                      <a:pt x="258" y="295"/>
                    </a:lnTo>
                    <a:lnTo>
                      <a:pt x="241" y="311"/>
                    </a:lnTo>
                    <a:lnTo>
                      <a:pt x="231" y="320"/>
                    </a:lnTo>
                    <a:lnTo>
                      <a:pt x="206" y="326"/>
                    </a:lnTo>
                    <a:lnTo>
                      <a:pt x="193" y="328"/>
                    </a:lnTo>
                    <a:lnTo>
                      <a:pt x="191" y="328"/>
                    </a:lnTo>
                    <a:lnTo>
                      <a:pt x="191" y="326"/>
                    </a:lnTo>
                    <a:lnTo>
                      <a:pt x="189" y="326"/>
                    </a:lnTo>
                    <a:lnTo>
                      <a:pt x="187" y="324"/>
                    </a:lnTo>
                    <a:lnTo>
                      <a:pt x="189" y="322"/>
                    </a:lnTo>
                    <a:lnTo>
                      <a:pt x="189" y="320"/>
                    </a:lnTo>
                    <a:lnTo>
                      <a:pt x="191" y="320"/>
                    </a:lnTo>
                    <a:lnTo>
                      <a:pt x="191" y="318"/>
                    </a:lnTo>
                    <a:lnTo>
                      <a:pt x="189" y="318"/>
                    </a:lnTo>
                    <a:lnTo>
                      <a:pt x="191" y="316"/>
                    </a:lnTo>
                    <a:lnTo>
                      <a:pt x="189" y="315"/>
                    </a:lnTo>
                    <a:lnTo>
                      <a:pt x="191" y="313"/>
                    </a:lnTo>
                    <a:lnTo>
                      <a:pt x="189" y="313"/>
                    </a:lnTo>
                    <a:lnTo>
                      <a:pt x="185" y="311"/>
                    </a:lnTo>
                    <a:lnTo>
                      <a:pt x="183" y="311"/>
                    </a:lnTo>
                    <a:lnTo>
                      <a:pt x="181" y="311"/>
                    </a:lnTo>
                    <a:lnTo>
                      <a:pt x="181" y="309"/>
                    </a:lnTo>
                    <a:lnTo>
                      <a:pt x="179" y="309"/>
                    </a:lnTo>
                    <a:lnTo>
                      <a:pt x="179" y="311"/>
                    </a:lnTo>
                    <a:lnTo>
                      <a:pt x="179" y="309"/>
                    </a:lnTo>
                    <a:lnTo>
                      <a:pt x="178" y="309"/>
                    </a:lnTo>
                    <a:lnTo>
                      <a:pt x="176" y="311"/>
                    </a:lnTo>
                    <a:lnTo>
                      <a:pt x="176" y="309"/>
                    </a:lnTo>
                    <a:lnTo>
                      <a:pt x="178" y="309"/>
                    </a:lnTo>
                    <a:lnTo>
                      <a:pt x="176" y="307"/>
                    </a:lnTo>
                    <a:lnTo>
                      <a:pt x="176" y="305"/>
                    </a:lnTo>
                    <a:lnTo>
                      <a:pt x="174" y="305"/>
                    </a:lnTo>
                    <a:lnTo>
                      <a:pt x="172" y="307"/>
                    </a:lnTo>
                    <a:lnTo>
                      <a:pt x="172" y="305"/>
                    </a:lnTo>
                    <a:lnTo>
                      <a:pt x="170" y="307"/>
                    </a:lnTo>
                    <a:lnTo>
                      <a:pt x="168" y="307"/>
                    </a:lnTo>
                    <a:lnTo>
                      <a:pt x="168" y="305"/>
                    </a:lnTo>
                    <a:lnTo>
                      <a:pt x="166" y="305"/>
                    </a:lnTo>
                    <a:lnTo>
                      <a:pt x="164" y="303"/>
                    </a:lnTo>
                    <a:lnTo>
                      <a:pt x="164" y="301"/>
                    </a:lnTo>
                    <a:lnTo>
                      <a:pt x="162" y="299"/>
                    </a:lnTo>
                    <a:lnTo>
                      <a:pt x="160" y="299"/>
                    </a:lnTo>
                    <a:lnTo>
                      <a:pt x="159" y="297"/>
                    </a:lnTo>
                    <a:lnTo>
                      <a:pt x="157" y="297"/>
                    </a:lnTo>
                    <a:lnTo>
                      <a:pt x="157" y="294"/>
                    </a:lnTo>
                    <a:lnTo>
                      <a:pt x="157" y="292"/>
                    </a:lnTo>
                    <a:lnTo>
                      <a:pt x="138" y="278"/>
                    </a:lnTo>
                    <a:lnTo>
                      <a:pt x="97" y="250"/>
                    </a:lnTo>
                    <a:lnTo>
                      <a:pt x="61" y="225"/>
                    </a:lnTo>
                    <a:lnTo>
                      <a:pt x="48" y="215"/>
                    </a:lnTo>
                    <a:lnTo>
                      <a:pt x="0" y="183"/>
                    </a:lnTo>
                    <a:lnTo>
                      <a:pt x="0" y="177"/>
                    </a:lnTo>
                    <a:lnTo>
                      <a:pt x="0" y="158"/>
                    </a:lnTo>
                    <a:lnTo>
                      <a:pt x="4" y="156"/>
                    </a:lnTo>
                    <a:lnTo>
                      <a:pt x="8" y="154"/>
                    </a:lnTo>
                    <a:lnTo>
                      <a:pt x="12" y="150"/>
                    </a:lnTo>
                    <a:lnTo>
                      <a:pt x="15" y="149"/>
                    </a:lnTo>
                    <a:lnTo>
                      <a:pt x="15" y="147"/>
                    </a:lnTo>
                    <a:lnTo>
                      <a:pt x="17" y="147"/>
                    </a:lnTo>
                    <a:lnTo>
                      <a:pt x="19" y="147"/>
                    </a:lnTo>
                    <a:lnTo>
                      <a:pt x="21" y="147"/>
                    </a:lnTo>
                    <a:lnTo>
                      <a:pt x="23" y="145"/>
                    </a:lnTo>
                    <a:lnTo>
                      <a:pt x="25" y="143"/>
                    </a:lnTo>
                    <a:lnTo>
                      <a:pt x="27" y="145"/>
                    </a:lnTo>
                    <a:lnTo>
                      <a:pt x="29" y="143"/>
                    </a:lnTo>
                    <a:lnTo>
                      <a:pt x="29" y="145"/>
                    </a:lnTo>
                    <a:lnTo>
                      <a:pt x="31" y="145"/>
                    </a:lnTo>
                    <a:lnTo>
                      <a:pt x="33" y="143"/>
                    </a:lnTo>
                    <a:lnTo>
                      <a:pt x="35" y="143"/>
                    </a:lnTo>
                    <a:lnTo>
                      <a:pt x="36" y="143"/>
                    </a:lnTo>
                    <a:lnTo>
                      <a:pt x="38" y="143"/>
                    </a:lnTo>
                    <a:lnTo>
                      <a:pt x="40" y="145"/>
                    </a:lnTo>
                    <a:lnTo>
                      <a:pt x="42" y="143"/>
                    </a:lnTo>
                    <a:lnTo>
                      <a:pt x="44" y="143"/>
                    </a:lnTo>
                    <a:lnTo>
                      <a:pt x="46" y="143"/>
                    </a:lnTo>
                    <a:lnTo>
                      <a:pt x="48" y="143"/>
                    </a:lnTo>
                    <a:lnTo>
                      <a:pt x="48" y="145"/>
                    </a:lnTo>
                    <a:lnTo>
                      <a:pt x="50" y="145"/>
                    </a:lnTo>
                    <a:lnTo>
                      <a:pt x="50" y="143"/>
                    </a:lnTo>
                    <a:lnTo>
                      <a:pt x="52" y="141"/>
                    </a:lnTo>
                    <a:lnTo>
                      <a:pt x="52" y="139"/>
                    </a:lnTo>
                    <a:lnTo>
                      <a:pt x="54" y="139"/>
                    </a:lnTo>
                    <a:lnTo>
                      <a:pt x="54" y="137"/>
                    </a:lnTo>
                    <a:lnTo>
                      <a:pt x="57" y="135"/>
                    </a:lnTo>
                    <a:lnTo>
                      <a:pt x="57" y="133"/>
                    </a:lnTo>
                    <a:lnTo>
                      <a:pt x="59" y="133"/>
                    </a:lnTo>
                    <a:lnTo>
                      <a:pt x="65" y="129"/>
                    </a:lnTo>
                    <a:lnTo>
                      <a:pt x="71" y="126"/>
                    </a:lnTo>
                    <a:lnTo>
                      <a:pt x="73" y="124"/>
                    </a:lnTo>
                    <a:lnTo>
                      <a:pt x="75" y="124"/>
                    </a:lnTo>
                    <a:lnTo>
                      <a:pt x="77" y="124"/>
                    </a:lnTo>
                    <a:lnTo>
                      <a:pt x="78" y="120"/>
                    </a:lnTo>
                    <a:lnTo>
                      <a:pt x="82" y="118"/>
                    </a:lnTo>
                    <a:lnTo>
                      <a:pt x="82" y="116"/>
                    </a:lnTo>
                    <a:lnTo>
                      <a:pt x="80" y="114"/>
                    </a:lnTo>
                    <a:lnTo>
                      <a:pt x="80" y="112"/>
                    </a:lnTo>
                    <a:lnTo>
                      <a:pt x="80" y="114"/>
                    </a:lnTo>
                    <a:lnTo>
                      <a:pt x="78" y="114"/>
                    </a:lnTo>
                    <a:lnTo>
                      <a:pt x="78" y="112"/>
                    </a:lnTo>
                    <a:lnTo>
                      <a:pt x="78" y="110"/>
                    </a:lnTo>
                    <a:lnTo>
                      <a:pt x="80" y="108"/>
                    </a:lnTo>
                    <a:lnTo>
                      <a:pt x="80" y="105"/>
                    </a:lnTo>
                    <a:lnTo>
                      <a:pt x="94" y="101"/>
                    </a:lnTo>
                    <a:lnTo>
                      <a:pt x="94" y="99"/>
                    </a:lnTo>
                    <a:lnTo>
                      <a:pt x="92" y="97"/>
                    </a:lnTo>
                    <a:lnTo>
                      <a:pt x="92" y="95"/>
                    </a:lnTo>
                    <a:lnTo>
                      <a:pt x="97" y="95"/>
                    </a:lnTo>
                    <a:lnTo>
                      <a:pt x="99" y="95"/>
                    </a:lnTo>
                    <a:lnTo>
                      <a:pt x="101" y="95"/>
                    </a:lnTo>
                    <a:lnTo>
                      <a:pt x="103" y="95"/>
                    </a:lnTo>
                    <a:lnTo>
                      <a:pt x="105" y="95"/>
                    </a:lnTo>
                    <a:lnTo>
                      <a:pt x="107" y="95"/>
                    </a:lnTo>
                    <a:lnTo>
                      <a:pt x="109" y="95"/>
                    </a:lnTo>
                    <a:lnTo>
                      <a:pt x="111" y="95"/>
                    </a:lnTo>
                    <a:lnTo>
                      <a:pt x="113" y="95"/>
                    </a:lnTo>
                    <a:lnTo>
                      <a:pt x="117" y="95"/>
                    </a:lnTo>
                    <a:lnTo>
                      <a:pt x="118" y="95"/>
                    </a:lnTo>
                    <a:lnTo>
                      <a:pt x="120" y="95"/>
                    </a:lnTo>
                    <a:lnTo>
                      <a:pt x="118" y="95"/>
                    </a:lnTo>
                    <a:lnTo>
                      <a:pt x="118" y="93"/>
                    </a:lnTo>
                    <a:lnTo>
                      <a:pt x="120" y="91"/>
                    </a:lnTo>
                    <a:lnTo>
                      <a:pt x="122" y="87"/>
                    </a:lnTo>
                    <a:lnTo>
                      <a:pt x="120" y="87"/>
                    </a:lnTo>
                    <a:lnTo>
                      <a:pt x="120" y="86"/>
                    </a:lnTo>
                    <a:lnTo>
                      <a:pt x="117" y="84"/>
                    </a:lnTo>
                    <a:lnTo>
                      <a:pt x="115" y="80"/>
                    </a:lnTo>
                    <a:lnTo>
                      <a:pt x="115" y="78"/>
                    </a:lnTo>
                    <a:lnTo>
                      <a:pt x="113" y="76"/>
                    </a:lnTo>
                    <a:lnTo>
                      <a:pt x="113" y="74"/>
                    </a:lnTo>
                    <a:lnTo>
                      <a:pt x="113" y="72"/>
                    </a:lnTo>
                    <a:lnTo>
                      <a:pt x="113" y="70"/>
                    </a:lnTo>
                    <a:lnTo>
                      <a:pt x="113" y="68"/>
                    </a:lnTo>
                    <a:lnTo>
                      <a:pt x="113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3" y="65"/>
                    </a:lnTo>
                    <a:lnTo>
                      <a:pt x="111" y="63"/>
                    </a:lnTo>
                    <a:lnTo>
                      <a:pt x="113" y="57"/>
                    </a:lnTo>
                    <a:lnTo>
                      <a:pt x="111" y="55"/>
                    </a:lnTo>
                    <a:lnTo>
                      <a:pt x="111" y="53"/>
                    </a:lnTo>
                    <a:lnTo>
                      <a:pt x="111" y="51"/>
                    </a:lnTo>
                    <a:lnTo>
                      <a:pt x="111" y="49"/>
                    </a:lnTo>
                    <a:lnTo>
                      <a:pt x="109" y="47"/>
                    </a:lnTo>
                    <a:lnTo>
                      <a:pt x="111" y="46"/>
                    </a:lnTo>
                    <a:lnTo>
                      <a:pt x="109" y="44"/>
                    </a:lnTo>
                    <a:lnTo>
                      <a:pt x="107" y="42"/>
                    </a:lnTo>
                    <a:lnTo>
                      <a:pt x="105" y="42"/>
                    </a:lnTo>
                    <a:lnTo>
                      <a:pt x="105" y="40"/>
                    </a:lnTo>
                    <a:lnTo>
                      <a:pt x="103" y="40"/>
                    </a:lnTo>
                    <a:lnTo>
                      <a:pt x="103" y="38"/>
                    </a:lnTo>
                    <a:lnTo>
                      <a:pt x="105" y="38"/>
                    </a:lnTo>
                    <a:lnTo>
                      <a:pt x="107" y="38"/>
                    </a:lnTo>
                    <a:lnTo>
                      <a:pt x="109" y="38"/>
                    </a:lnTo>
                    <a:lnTo>
                      <a:pt x="111" y="38"/>
                    </a:lnTo>
                    <a:lnTo>
                      <a:pt x="111" y="36"/>
                    </a:lnTo>
                    <a:lnTo>
                      <a:pt x="113" y="36"/>
                    </a:lnTo>
                    <a:lnTo>
                      <a:pt x="115" y="34"/>
                    </a:lnTo>
                    <a:lnTo>
                      <a:pt x="117" y="34"/>
                    </a:lnTo>
                    <a:lnTo>
                      <a:pt x="118" y="34"/>
                    </a:lnTo>
                    <a:lnTo>
                      <a:pt x="118" y="32"/>
                    </a:lnTo>
                    <a:lnTo>
                      <a:pt x="120" y="28"/>
                    </a:lnTo>
                    <a:lnTo>
                      <a:pt x="122" y="28"/>
                    </a:lnTo>
                    <a:lnTo>
                      <a:pt x="122" y="26"/>
                    </a:lnTo>
                    <a:lnTo>
                      <a:pt x="124" y="26"/>
                    </a:lnTo>
                    <a:lnTo>
                      <a:pt x="126" y="25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30" y="25"/>
                    </a:lnTo>
                    <a:lnTo>
                      <a:pt x="130" y="23"/>
                    </a:lnTo>
                    <a:lnTo>
                      <a:pt x="132" y="23"/>
                    </a:lnTo>
                    <a:lnTo>
                      <a:pt x="134" y="23"/>
                    </a:lnTo>
                    <a:lnTo>
                      <a:pt x="134" y="25"/>
                    </a:lnTo>
                    <a:lnTo>
                      <a:pt x="134" y="23"/>
                    </a:lnTo>
                    <a:lnTo>
                      <a:pt x="134" y="25"/>
                    </a:lnTo>
                    <a:lnTo>
                      <a:pt x="138" y="25"/>
                    </a:lnTo>
                    <a:lnTo>
                      <a:pt x="139" y="23"/>
                    </a:lnTo>
                    <a:lnTo>
                      <a:pt x="141" y="21"/>
                    </a:lnTo>
                    <a:lnTo>
                      <a:pt x="141" y="19"/>
                    </a:lnTo>
                    <a:lnTo>
                      <a:pt x="143" y="17"/>
                    </a:lnTo>
                    <a:lnTo>
                      <a:pt x="145" y="17"/>
                    </a:lnTo>
                    <a:lnTo>
                      <a:pt x="149" y="15"/>
                    </a:lnTo>
                    <a:lnTo>
                      <a:pt x="151" y="15"/>
                    </a:lnTo>
                    <a:lnTo>
                      <a:pt x="151" y="13"/>
                    </a:lnTo>
                    <a:lnTo>
                      <a:pt x="153" y="13"/>
                    </a:lnTo>
                    <a:lnTo>
                      <a:pt x="153" y="11"/>
                    </a:lnTo>
                    <a:lnTo>
                      <a:pt x="157" y="11"/>
                    </a:lnTo>
                    <a:lnTo>
                      <a:pt x="159" y="11"/>
                    </a:lnTo>
                    <a:lnTo>
                      <a:pt x="160" y="9"/>
                    </a:lnTo>
                    <a:lnTo>
                      <a:pt x="162" y="9"/>
                    </a:lnTo>
                    <a:lnTo>
                      <a:pt x="162" y="11"/>
                    </a:lnTo>
                    <a:lnTo>
                      <a:pt x="162" y="9"/>
                    </a:lnTo>
                    <a:lnTo>
                      <a:pt x="164" y="9"/>
                    </a:lnTo>
                    <a:lnTo>
                      <a:pt x="166" y="9"/>
                    </a:lnTo>
                    <a:lnTo>
                      <a:pt x="168" y="9"/>
                    </a:lnTo>
                    <a:lnTo>
                      <a:pt x="170" y="9"/>
                    </a:lnTo>
                    <a:lnTo>
                      <a:pt x="176" y="7"/>
                    </a:lnTo>
                    <a:lnTo>
                      <a:pt x="178" y="7"/>
                    </a:lnTo>
                    <a:lnTo>
                      <a:pt x="178" y="9"/>
                    </a:lnTo>
                    <a:lnTo>
                      <a:pt x="179" y="9"/>
                    </a:lnTo>
                    <a:lnTo>
                      <a:pt x="181" y="9"/>
                    </a:lnTo>
                    <a:lnTo>
                      <a:pt x="183" y="7"/>
                    </a:lnTo>
                    <a:lnTo>
                      <a:pt x="183" y="5"/>
                    </a:lnTo>
                    <a:lnTo>
                      <a:pt x="185" y="5"/>
                    </a:lnTo>
                    <a:lnTo>
                      <a:pt x="187" y="4"/>
                    </a:lnTo>
                    <a:lnTo>
                      <a:pt x="187" y="5"/>
                    </a:lnTo>
                    <a:lnTo>
                      <a:pt x="189" y="5"/>
                    </a:lnTo>
                    <a:lnTo>
                      <a:pt x="191" y="5"/>
                    </a:lnTo>
                    <a:lnTo>
                      <a:pt x="195" y="5"/>
                    </a:lnTo>
                    <a:lnTo>
                      <a:pt x="197" y="4"/>
                    </a:lnTo>
                    <a:lnTo>
                      <a:pt x="199" y="4"/>
                    </a:lnTo>
                    <a:lnTo>
                      <a:pt x="200" y="2"/>
                    </a:lnTo>
                    <a:lnTo>
                      <a:pt x="200" y="4"/>
                    </a:lnTo>
                    <a:lnTo>
                      <a:pt x="204" y="4"/>
                    </a:lnTo>
                    <a:lnTo>
                      <a:pt x="206" y="4"/>
                    </a:lnTo>
                    <a:lnTo>
                      <a:pt x="208" y="4"/>
                    </a:lnTo>
                    <a:lnTo>
                      <a:pt x="212" y="4"/>
                    </a:lnTo>
                    <a:lnTo>
                      <a:pt x="214" y="4"/>
                    </a:lnTo>
                    <a:lnTo>
                      <a:pt x="216" y="4"/>
                    </a:lnTo>
                    <a:lnTo>
                      <a:pt x="218" y="4"/>
                    </a:lnTo>
                    <a:lnTo>
                      <a:pt x="218" y="5"/>
                    </a:lnTo>
                    <a:lnTo>
                      <a:pt x="220" y="5"/>
                    </a:lnTo>
                    <a:lnTo>
                      <a:pt x="220" y="7"/>
                    </a:lnTo>
                    <a:lnTo>
                      <a:pt x="221" y="7"/>
                    </a:lnTo>
                    <a:lnTo>
                      <a:pt x="223" y="7"/>
                    </a:lnTo>
                    <a:lnTo>
                      <a:pt x="225" y="7"/>
                    </a:lnTo>
                    <a:lnTo>
                      <a:pt x="227" y="7"/>
                    </a:lnTo>
                    <a:lnTo>
                      <a:pt x="227" y="5"/>
                    </a:lnTo>
                    <a:lnTo>
                      <a:pt x="229" y="5"/>
                    </a:lnTo>
                    <a:lnTo>
                      <a:pt x="229" y="4"/>
                    </a:lnTo>
                    <a:lnTo>
                      <a:pt x="231" y="4"/>
                    </a:lnTo>
                    <a:lnTo>
                      <a:pt x="231" y="5"/>
                    </a:lnTo>
                    <a:lnTo>
                      <a:pt x="233" y="5"/>
                    </a:lnTo>
                    <a:lnTo>
                      <a:pt x="233" y="4"/>
                    </a:lnTo>
                    <a:lnTo>
                      <a:pt x="233" y="5"/>
                    </a:lnTo>
                    <a:lnTo>
                      <a:pt x="237" y="4"/>
                    </a:lnTo>
                    <a:lnTo>
                      <a:pt x="239" y="2"/>
                    </a:lnTo>
                    <a:lnTo>
                      <a:pt x="239" y="0"/>
                    </a:lnTo>
                    <a:lnTo>
                      <a:pt x="242" y="0"/>
                    </a:lnTo>
                    <a:lnTo>
                      <a:pt x="242" y="2"/>
                    </a:lnTo>
                    <a:lnTo>
                      <a:pt x="242" y="0"/>
                    </a:lnTo>
                    <a:lnTo>
                      <a:pt x="242" y="2"/>
                    </a:lnTo>
                    <a:lnTo>
                      <a:pt x="244" y="2"/>
                    </a:lnTo>
                    <a:lnTo>
                      <a:pt x="246" y="2"/>
                    </a:lnTo>
                    <a:lnTo>
                      <a:pt x="248" y="2"/>
                    </a:lnTo>
                    <a:lnTo>
                      <a:pt x="248" y="4"/>
                    </a:lnTo>
                    <a:lnTo>
                      <a:pt x="252" y="2"/>
                    </a:lnTo>
                    <a:lnTo>
                      <a:pt x="252" y="4"/>
                    </a:lnTo>
                    <a:lnTo>
                      <a:pt x="252" y="2"/>
                    </a:lnTo>
                    <a:lnTo>
                      <a:pt x="254" y="2"/>
                    </a:lnTo>
                    <a:lnTo>
                      <a:pt x="254" y="0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6" y="0"/>
                    </a:lnTo>
                    <a:lnTo>
                      <a:pt x="258" y="0"/>
                    </a:lnTo>
                    <a:lnTo>
                      <a:pt x="260" y="2"/>
                    </a:lnTo>
                    <a:lnTo>
                      <a:pt x="261" y="2"/>
                    </a:lnTo>
                    <a:lnTo>
                      <a:pt x="261" y="4"/>
                    </a:lnTo>
                    <a:lnTo>
                      <a:pt x="263" y="4"/>
                    </a:lnTo>
                    <a:lnTo>
                      <a:pt x="265" y="4"/>
                    </a:lnTo>
                    <a:lnTo>
                      <a:pt x="269" y="2"/>
                    </a:lnTo>
                    <a:lnTo>
                      <a:pt x="271" y="2"/>
                    </a:lnTo>
                    <a:lnTo>
                      <a:pt x="273" y="4"/>
                    </a:lnTo>
                    <a:lnTo>
                      <a:pt x="277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8" name="Freeform 124">
                <a:extLst>
                  <a:ext uri="{FF2B5EF4-FFF2-40B4-BE49-F238E27FC236}">
                    <a16:creationId xmlns:a16="http://schemas.microsoft.com/office/drawing/2014/main" id="{7A3D525F-9DE6-BDB8-2573-7E224D18D85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81915" y="-2921601"/>
                <a:ext cx="102413" cy="213103"/>
              </a:xfrm>
              <a:custGeom>
                <a:avLst/>
                <a:gdLst>
                  <a:gd name="T0" fmla="*/ 63 w 65"/>
                  <a:gd name="T1" fmla="*/ 88 h 135"/>
                  <a:gd name="T2" fmla="*/ 61 w 65"/>
                  <a:gd name="T3" fmla="*/ 97 h 135"/>
                  <a:gd name="T4" fmla="*/ 51 w 65"/>
                  <a:gd name="T5" fmla="*/ 103 h 135"/>
                  <a:gd name="T6" fmla="*/ 49 w 65"/>
                  <a:gd name="T7" fmla="*/ 107 h 135"/>
                  <a:gd name="T8" fmla="*/ 42 w 65"/>
                  <a:gd name="T9" fmla="*/ 113 h 135"/>
                  <a:gd name="T10" fmla="*/ 44 w 65"/>
                  <a:gd name="T11" fmla="*/ 126 h 135"/>
                  <a:gd name="T12" fmla="*/ 38 w 65"/>
                  <a:gd name="T13" fmla="*/ 134 h 135"/>
                  <a:gd name="T14" fmla="*/ 24 w 65"/>
                  <a:gd name="T15" fmla="*/ 101 h 135"/>
                  <a:gd name="T16" fmla="*/ 9 w 65"/>
                  <a:gd name="T17" fmla="*/ 82 h 135"/>
                  <a:gd name="T18" fmla="*/ 2 w 65"/>
                  <a:gd name="T19" fmla="*/ 74 h 135"/>
                  <a:gd name="T20" fmla="*/ 0 w 65"/>
                  <a:gd name="T21" fmla="*/ 67 h 135"/>
                  <a:gd name="T22" fmla="*/ 2 w 65"/>
                  <a:gd name="T23" fmla="*/ 61 h 135"/>
                  <a:gd name="T24" fmla="*/ 7 w 65"/>
                  <a:gd name="T25" fmla="*/ 57 h 135"/>
                  <a:gd name="T26" fmla="*/ 13 w 65"/>
                  <a:gd name="T27" fmla="*/ 53 h 135"/>
                  <a:gd name="T28" fmla="*/ 11 w 65"/>
                  <a:gd name="T29" fmla="*/ 48 h 135"/>
                  <a:gd name="T30" fmla="*/ 15 w 65"/>
                  <a:gd name="T31" fmla="*/ 44 h 135"/>
                  <a:gd name="T32" fmla="*/ 13 w 65"/>
                  <a:gd name="T33" fmla="*/ 36 h 135"/>
                  <a:gd name="T34" fmla="*/ 11 w 65"/>
                  <a:gd name="T35" fmla="*/ 29 h 135"/>
                  <a:gd name="T36" fmla="*/ 13 w 65"/>
                  <a:gd name="T37" fmla="*/ 21 h 135"/>
                  <a:gd name="T38" fmla="*/ 13 w 65"/>
                  <a:gd name="T39" fmla="*/ 19 h 135"/>
                  <a:gd name="T40" fmla="*/ 15 w 65"/>
                  <a:gd name="T41" fmla="*/ 13 h 135"/>
                  <a:gd name="T42" fmla="*/ 19 w 65"/>
                  <a:gd name="T43" fmla="*/ 10 h 135"/>
                  <a:gd name="T44" fmla="*/ 23 w 65"/>
                  <a:gd name="T45" fmla="*/ 6 h 135"/>
                  <a:gd name="T46" fmla="*/ 28 w 65"/>
                  <a:gd name="T47" fmla="*/ 2 h 135"/>
                  <a:gd name="T48" fmla="*/ 36 w 65"/>
                  <a:gd name="T49" fmla="*/ 0 h 135"/>
                  <a:gd name="T50" fmla="*/ 36 w 65"/>
                  <a:gd name="T51" fmla="*/ 4 h 135"/>
                  <a:gd name="T52" fmla="*/ 38 w 65"/>
                  <a:gd name="T53" fmla="*/ 2 h 135"/>
                  <a:gd name="T54" fmla="*/ 42 w 65"/>
                  <a:gd name="T55" fmla="*/ 4 h 135"/>
                  <a:gd name="T56" fmla="*/ 44 w 65"/>
                  <a:gd name="T57" fmla="*/ 6 h 135"/>
                  <a:gd name="T58" fmla="*/ 45 w 65"/>
                  <a:gd name="T59" fmla="*/ 10 h 135"/>
                  <a:gd name="T60" fmla="*/ 47 w 65"/>
                  <a:gd name="T61" fmla="*/ 13 h 135"/>
                  <a:gd name="T62" fmla="*/ 55 w 65"/>
                  <a:gd name="T63" fmla="*/ 8 h 135"/>
                  <a:gd name="T64" fmla="*/ 57 w 65"/>
                  <a:gd name="T65" fmla="*/ 8 h 135"/>
                  <a:gd name="T66" fmla="*/ 53 w 65"/>
                  <a:gd name="T67" fmla="*/ 17 h 135"/>
                  <a:gd name="T68" fmla="*/ 47 w 65"/>
                  <a:gd name="T69" fmla="*/ 21 h 135"/>
                  <a:gd name="T70" fmla="*/ 51 w 65"/>
                  <a:gd name="T71" fmla="*/ 31 h 135"/>
                  <a:gd name="T72" fmla="*/ 57 w 65"/>
                  <a:gd name="T73" fmla="*/ 36 h 135"/>
                  <a:gd name="T74" fmla="*/ 59 w 65"/>
                  <a:gd name="T75" fmla="*/ 42 h 135"/>
                  <a:gd name="T76" fmla="*/ 55 w 65"/>
                  <a:gd name="T77" fmla="*/ 46 h 135"/>
                  <a:gd name="T78" fmla="*/ 51 w 65"/>
                  <a:gd name="T79" fmla="*/ 53 h 135"/>
                  <a:gd name="T80" fmla="*/ 45 w 65"/>
                  <a:gd name="T81" fmla="*/ 57 h 135"/>
                  <a:gd name="T82" fmla="*/ 40 w 65"/>
                  <a:gd name="T83" fmla="*/ 63 h 135"/>
                  <a:gd name="T84" fmla="*/ 42 w 65"/>
                  <a:gd name="T85" fmla="*/ 69 h 135"/>
                  <a:gd name="T86" fmla="*/ 51 w 65"/>
                  <a:gd name="T87" fmla="*/ 72 h 135"/>
                  <a:gd name="T88" fmla="*/ 55 w 65"/>
                  <a:gd name="T89" fmla="*/ 72 h 135"/>
                  <a:gd name="T90" fmla="*/ 57 w 65"/>
                  <a:gd name="T91" fmla="*/ 78 h 135"/>
                  <a:gd name="T92" fmla="*/ 57 w 65"/>
                  <a:gd name="T93" fmla="*/ 78 h 135"/>
                  <a:gd name="T94" fmla="*/ 63 w 65"/>
                  <a:gd name="T95" fmla="*/ 80 h 135"/>
                  <a:gd name="T96" fmla="*/ 55 w 65"/>
                  <a:gd name="T97" fmla="*/ 69 h 135"/>
                  <a:gd name="T98" fmla="*/ 55 w 65"/>
                  <a:gd name="T99" fmla="*/ 72 h 135"/>
                  <a:gd name="T100" fmla="*/ 51 w 65"/>
                  <a:gd name="T101" fmla="*/ 71 h 135"/>
                  <a:gd name="T102" fmla="*/ 53 w 65"/>
                  <a:gd name="T103" fmla="*/ 67 h 135"/>
                  <a:gd name="T104" fmla="*/ 61 w 65"/>
                  <a:gd name="T105" fmla="*/ 52 h 135"/>
                  <a:gd name="T106" fmla="*/ 59 w 65"/>
                  <a:gd name="T107" fmla="*/ 52 h 135"/>
                  <a:gd name="T108" fmla="*/ 55 w 65"/>
                  <a:gd name="T109" fmla="*/ 53 h 135"/>
                  <a:gd name="T110" fmla="*/ 55 w 65"/>
                  <a:gd name="T111" fmla="*/ 31 h 135"/>
                  <a:gd name="T112" fmla="*/ 45 w 65"/>
                  <a:gd name="T113" fmla="*/ 59 h 135"/>
                  <a:gd name="T114" fmla="*/ 57 w 65"/>
                  <a:gd name="T115" fmla="*/ 76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5" h="135">
                    <a:moveTo>
                      <a:pt x="65" y="82"/>
                    </a:moveTo>
                    <a:lnTo>
                      <a:pt x="65" y="84"/>
                    </a:lnTo>
                    <a:lnTo>
                      <a:pt x="63" y="86"/>
                    </a:lnTo>
                    <a:lnTo>
                      <a:pt x="63" y="88"/>
                    </a:lnTo>
                    <a:lnTo>
                      <a:pt x="63" y="92"/>
                    </a:lnTo>
                    <a:lnTo>
                      <a:pt x="65" y="93"/>
                    </a:lnTo>
                    <a:lnTo>
                      <a:pt x="65" y="95"/>
                    </a:lnTo>
                    <a:lnTo>
                      <a:pt x="61" y="97"/>
                    </a:lnTo>
                    <a:lnTo>
                      <a:pt x="59" y="99"/>
                    </a:lnTo>
                    <a:lnTo>
                      <a:pt x="55" y="99"/>
                    </a:lnTo>
                    <a:lnTo>
                      <a:pt x="53" y="101"/>
                    </a:lnTo>
                    <a:lnTo>
                      <a:pt x="51" y="103"/>
                    </a:lnTo>
                    <a:lnTo>
                      <a:pt x="51" y="105"/>
                    </a:lnTo>
                    <a:lnTo>
                      <a:pt x="49" y="103"/>
                    </a:lnTo>
                    <a:lnTo>
                      <a:pt x="49" y="105"/>
                    </a:lnTo>
                    <a:lnTo>
                      <a:pt x="49" y="107"/>
                    </a:lnTo>
                    <a:lnTo>
                      <a:pt x="47" y="109"/>
                    </a:lnTo>
                    <a:lnTo>
                      <a:pt x="45" y="109"/>
                    </a:lnTo>
                    <a:lnTo>
                      <a:pt x="44" y="109"/>
                    </a:lnTo>
                    <a:lnTo>
                      <a:pt x="42" y="113"/>
                    </a:lnTo>
                    <a:lnTo>
                      <a:pt x="44" y="120"/>
                    </a:lnTo>
                    <a:lnTo>
                      <a:pt x="44" y="122"/>
                    </a:lnTo>
                    <a:lnTo>
                      <a:pt x="44" y="124"/>
                    </a:lnTo>
                    <a:lnTo>
                      <a:pt x="44" y="126"/>
                    </a:lnTo>
                    <a:lnTo>
                      <a:pt x="44" y="128"/>
                    </a:lnTo>
                    <a:lnTo>
                      <a:pt x="42" y="128"/>
                    </a:lnTo>
                    <a:lnTo>
                      <a:pt x="40" y="132"/>
                    </a:lnTo>
                    <a:lnTo>
                      <a:pt x="38" y="134"/>
                    </a:lnTo>
                    <a:lnTo>
                      <a:pt x="36" y="134"/>
                    </a:lnTo>
                    <a:lnTo>
                      <a:pt x="32" y="135"/>
                    </a:lnTo>
                    <a:lnTo>
                      <a:pt x="32" y="130"/>
                    </a:lnTo>
                    <a:lnTo>
                      <a:pt x="24" y="101"/>
                    </a:lnTo>
                    <a:lnTo>
                      <a:pt x="13" y="93"/>
                    </a:lnTo>
                    <a:lnTo>
                      <a:pt x="13" y="88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5" y="82"/>
                    </a:lnTo>
                    <a:lnTo>
                      <a:pt x="3" y="80"/>
                    </a:lnTo>
                    <a:lnTo>
                      <a:pt x="3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5" y="57"/>
                    </a:lnTo>
                    <a:lnTo>
                      <a:pt x="7" y="57"/>
                    </a:lnTo>
                    <a:lnTo>
                      <a:pt x="9" y="55"/>
                    </a:lnTo>
                    <a:lnTo>
                      <a:pt x="11" y="55"/>
                    </a:lnTo>
                    <a:lnTo>
                      <a:pt x="11" y="53"/>
                    </a:lnTo>
                    <a:lnTo>
                      <a:pt x="13" y="53"/>
                    </a:lnTo>
                    <a:lnTo>
                      <a:pt x="11" y="52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13" y="46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3" y="36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13" y="27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5" y="19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11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7" y="11"/>
                    </a:lnTo>
                    <a:lnTo>
                      <a:pt x="19" y="11"/>
                    </a:lnTo>
                    <a:lnTo>
                      <a:pt x="19" y="10"/>
                    </a:lnTo>
                    <a:lnTo>
                      <a:pt x="17" y="10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2" y="6"/>
                    </a:lnTo>
                    <a:lnTo>
                      <a:pt x="44" y="8"/>
                    </a:lnTo>
                    <a:lnTo>
                      <a:pt x="45" y="8"/>
                    </a:lnTo>
                    <a:lnTo>
                      <a:pt x="45" y="10"/>
                    </a:lnTo>
                    <a:lnTo>
                      <a:pt x="44" y="11"/>
                    </a:lnTo>
                    <a:lnTo>
                      <a:pt x="45" y="11"/>
                    </a:lnTo>
                    <a:lnTo>
                      <a:pt x="45" y="13"/>
                    </a:lnTo>
                    <a:lnTo>
                      <a:pt x="47" y="13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1" y="10"/>
                    </a:lnTo>
                    <a:lnTo>
                      <a:pt x="55" y="8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57" y="6"/>
                    </a:lnTo>
                    <a:lnTo>
                      <a:pt x="57" y="8"/>
                    </a:lnTo>
                    <a:lnTo>
                      <a:pt x="57" y="10"/>
                    </a:lnTo>
                    <a:lnTo>
                      <a:pt x="57" y="11"/>
                    </a:lnTo>
                    <a:lnTo>
                      <a:pt x="55" y="11"/>
                    </a:lnTo>
                    <a:lnTo>
                      <a:pt x="53" y="17"/>
                    </a:lnTo>
                    <a:lnTo>
                      <a:pt x="51" y="19"/>
                    </a:lnTo>
                    <a:lnTo>
                      <a:pt x="49" y="19"/>
                    </a:lnTo>
                    <a:lnTo>
                      <a:pt x="47" y="19"/>
                    </a:lnTo>
                    <a:lnTo>
                      <a:pt x="47" y="21"/>
                    </a:lnTo>
                    <a:lnTo>
                      <a:pt x="47" y="25"/>
                    </a:lnTo>
                    <a:lnTo>
                      <a:pt x="47" y="27"/>
                    </a:lnTo>
                    <a:lnTo>
                      <a:pt x="49" y="31"/>
                    </a:lnTo>
                    <a:lnTo>
                      <a:pt x="51" y="31"/>
                    </a:lnTo>
                    <a:lnTo>
                      <a:pt x="53" y="31"/>
                    </a:lnTo>
                    <a:lnTo>
                      <a:pt x="53" y="32"/>
                    </a:lnTo>
                    <a:lnTo>
                      <a:pt x="57" y="34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7" y="40"/>
                    </a:lnTo>
                    <a:lnTo>
                      <a:pt x="57" y="42"/>
                    </a:lnTo>
                    <a:lnTo>
                      <a:pt x="59" y="42"/>
                    </a:lnTo>
                    <a:lnTo>
                      <a:pt x="57" y="42"/>
                    </a:lnTo>
                    <a:lnTo>
                      <a:pt x="57" y="44"/>
                    </a:lnTo>
                    <a:lnTo>
                      <a:pt x="55" y="44"/>
                    </a:lnTo>
                    <a:lnTo>
                      <a:pt x="55" y="46"/>
                    </a:lnTo>
                    <a:lnTo>
                      <a:pt x="55" y="48"/>
                    </a:lnTo>
                    <a:lnTo>
                      <a:pt x="53" y="50"/>
                    </a:lnTo>
                    <a:lnTo>
                      <a:pt x="51" y="52"/>
                    </a:lnTo>
                    <a:lnTo>
                      <a:pt x="51" y="53"/>
                    </a:lnTo>
                    <a:lnTo>
                      <a:pt x="49" y="53"/>
                    </a:lnTo>
                    <a:lnTo>
                      <a:pt x="49" y="55"/>
                    </a:lnTo>
                    <a:lnTo>
                      <a:pt x="47" y="55"/>
                    </a:lnTo>
                    <a:lnTo>
                      <a:pt x="45" y="57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0" y="63"/>
                    </a:lnTo>
                    <a:lnTo>
                      <a:pt x="40" y="61"/>
                    </a:lnTo>
                    <a:lnTo>
                      <a:pt x="40" y="63"/>
                    </a:lnTo>
                    <a:lnTo>
                      <a:pt x="40" y="67"/>
                    </a:lnTo>
                    <a:lnTo>
                      <a:pt x="42" y="69"/>
                    </a:lnTo>
                    <a:lnTo>
                      <a:pt x="45" y="71"/>
                    </a:lnTo>
                    <a:lnTo>
                      <a:pt x="47" y="72"/>
                    </a:lnTo>
                    <a:lnTo>
                      <a:pt x="51" y="71"/>
                    </a:lnTo>
                    <a:lnTo>
                      <a:pt x="51" y="72"/>
                    </a:lnTo>
                    <a:lnTo>
                      <a:pt x="51" y="74"/>
                    </a:lnTo>
                    <a:lnTo>
                      <a:pt x="51" y="76"/>
                    </a:lnTo>
                    <a:lnTo>
                      <a:pt x="55" y="74"/>
                    </a:lnTo>
                    <a:lnTo>
                      <a:pt x="55" y="72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7" y="76"/>
                    </a:lnTo>
                    <a:lnTo>
                      <a:pt x="57" y="78"/>
                    </a:lnTo>
                    <a:lnTo>
                      <a:pt x="59" y="78"/>
                    </a:lnTo>
                    <a:lnTo>
                      <a:pt x="61" y="80"/>
                    </a:lnTo>
                    <a:lnTo>
                      <a:pt x="59" y="78"/>
                    </a:lnTo>
                    <a:lnTo>
                      <a:pt x="57" y="78"/>
                    </a:lnTo>
                    <a:lnTo>
                      <a:pt x="57" y="80"/>
                    </a:lnTo>
                    <a:lnTo>
                      <a:pt x="59" y="80"/>
                    </a:lnTo>
                    <a:lnTo>
                      <a:pt x="63" y="82"/>
                    </a:lnTo>
                    <a:lnTo>
                      <a:pt x="63" y="80"/>
                    </a:lnTo>
                    <a:lnTo>
                      <a:pt x="61" y="80"/>
                    </a:lnTo>
                    <a:lnTo>
                      <a:pt x="63" y="82"/>
                    </a:lnTo>
                    <a:lnTo>
                      <a:pt x="65" y="82"/>
                    </a:lnTo>
                    <a:close/>
                    <a:moveTo>
                      <a:pt x="55" y="69"/>
                    </a:moveTo>
                    <a:lnTo>
                      <a:pt x="57" y="69"/>
                    </a:lnTo>
                    <a:lnTo>
                      <a:pt x="57" y="71"/>
                    </a:lnTo>
                    <a:lnTo>
                      <a:pt x="55" y="71"/>
                    </a:lnTo>
                    <a:lnTo>
                      <a:pt x="55" y="72"/>
                    </a:lnTo>
                    <a:lnTo>
                      <a:pt x="55" y="71"/>
                    </a:lnTo>
                    <a:lnTo>
                      <a:pt x="53" y="72"/>
                    </a:lnTo>
                    <a:lnTo>
                      <a:pt x="53" y="71"/>
                    </a:lnTo>
                    <a:lnTo>
                      <a:pt x="51" y="71"/>
                    </a:lnTo>
                    <a:lnTo>
                      <a:pt x="51" y="69"/>
                    </a:lnTo>
                    <a:lnTo>
                      <a:pt x="53" y="67"/>
                    </a:lnTo>
                    <a:lnTo>
                      <a:pt x="55" y="69"/>
                    </a:lnTo>
                    <a:lnTo>
                      <a:pt x="53" y="67"/>
                    </a:lnTo>
                    <a:lnTo>
                      <a:pt x="55" y="69"/>
                    </a:lnTo>
                    <a:close/>
                    <a:moveTo>
                      <a:pt x="59" y="50"/>
                    </a:moveTo>
                    <a:lnTo>
                      <a:pt x="61" y="50"/>
                    </a:lnTo>
                    <a:lnTo>
                      <a:pt x="61" y="52"/>
                    </a:lnTo>
                    <a:lnTo>
                      <a:pt x="59" y="52"/>
                    </a:lnTo>
                    <a:lnTo>
                      <a:pt x="57" y="53"/>
                    </a:lnTo>
                    <a:lnTo>
                      <a:pt x="57" y="52"/>
                    </a:lnTo>
                    <a:lnTo>
                      <a:pt x="59" y="52"/>
                    </a:lnTo>
                    <a:lnTo>
                      <a:pt x="59" y="50"/>
                    </a:lnTo>
                    <a:close/>
                    <a:moveTo>
                      <a:pt x="55" y="53"/>
                    </a:moveTo>
                    <a:lnTo>
                      <a:pt x="57" y="53"/>
                    </a:lnTo>
                    <a:lnTo>
                      <a:pt x="55" y="53"/>
                    </a:lnTo>
                    <a:close/>
                    <a:moveTo>
                      <a:pt x="51" y="4"/>
                    </a:moveTo>
                    <a:lnTo>
                      <a:pt x="53" y="4"/>
                    </a:lnTo>
                    <a:lnTo>
                      <a:pt x="51" y="4"/>
                    </a:lnTo>
                    <a:close/>
                    <a:moveTo>
                      <a:pt x="55" y="31"/>
                    </a:moveTo>
                    <a:lnTo>
                      <a:pt x="57" y="31"/>
                    </a:lnTo>
                    <a:lnTo>
                      <a:pt x="55" y="31"/>
                    </a:lnTo>
                    <a:close/>
                    <a:moveTo>
                      <a:pt x="44" y="59"/>
                    </a:moveTo>
                    <a:lnTo>
                      <a:pt x="45" y="59"/>
                    </a:lnTo>
                    <a:lnTo>
                      <a:pt x="44" y="59"/>
                    </a:lnTo>
                    <a:close/>
                    <a:moveTo>
                      <a:pt x="57" y="76"/>
                    </a:moveTo>
                    <a:lnTo>
                      <a:pt x="57" y="78"/>
                    </a:lnTo>
                    <a:lnTo>
                      <a:pt x="57" y="7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9" name="Freeform 91">
                <a:extLst>
                  <a:ext uri="{FF2B5EF4-FFF2-40B4-BE49-F238E27FC236}">
                    <a16:creationId xmlns:a16="http://schemas.microsoft.com/office/drawing/2014/main" id="{4183111D-DE29-7C48-5219-5C2B520394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40607" y="-2231780"/>
                <a:ext cx="42540" cy="47357"/>
              </a:xfrm>
              <a:custGeom>
                <a:avLst/>
                <a:gdLst>
                  <a:gd name="T0" fmla="*/ 23 w 27"/>
                  <a:gd name="T1" fmla="*/ 21 h 30"/>
                  <a:gd name="T2" fmla="*/ 19 w 27"/>
                  <a:gd name="T3" fmla="*/ 29 h 30"/>
                  <a:gd name="T4" fmla="*/ 17 w 27"/>
                  <a:gd name="T5" fmla="*/ 29 h 30"/>
                  <a:gd name="T6" fmla="*/ 15 w 27"/>
                  <a:gd name="T7" fmla="*/ 29 h 30"/>
                  <a:gd name="T8" fmla="*/ 15 w 27"/>
                  <a:gd name="T9" fmla="*/ 27 h 30"/>
                  <a:gd name="T10" fmla="*/ 13 w 27"/>
                  <a:gd name="T11" fmla="*/ 27 h 30"/>
                  <a:gd name="T12" fmla="*/ 11 w 27"/>
                  <a:gd name="T13" fmla="*/ 29 h 30"/>
                  <a:gd name="T14" fmla="*/ 10 w 27"/>
                  <a:gd name="T15" fmla="*/ 29 h 30"/>
                  <a:gd name="T16" fmla="*/ 8 w 27"/>
                  <a:gd name="T17" fmla="*/ 29 h 30"/>
                  <a:gd name="T18" fmla="*/ 6 w 27"/>
                  <a:gd name="T19" fmla="*/ 29 h 30"/>
                  <a:gd name="T20" fmla="*/ 4 w 27"/>
                  <a:gd name="T21" fmla="*/ 29 h 30"/>
                  <a:gd name="T22" fmla="*/ 2 w 27"/>
                  <a:gd name="T23" fmla="*/ 30 h 30"/>
                  <a:gd name="T24" fmla="*/ 2 w 27"/>
                  <a:gd name="T25" fmla="*/ 29 h 30"/>
                  <a:gd name="T26" fmla="*/ 0 w 27"/>
                  <a:gd name="T27" fmla="*/ 29 h 30"/>
                  <a:gd name="T28" fmla="*/ 0 w 27"/>
                  <a:gd name="T29" fmla="*/ 25 h 30"/>
                  <a:gd name="T30" fmla="*/ 0 w 27"/>
                  <a:gd name="T31" fmla="*/ 21 h 30"/>
                  <a:gd name="T32" fmla="*/ 0 w 27"/>
                  <a:gd name="T33" fmla="*/ 17 h 30"/>
                  <a:gd name="T34" fmla="*/ 2 w 27"/>
                  <a:gd name="T35" fmla="*/ 15 h 30"/>
                  <a:gd name="T36" fmla="*/ 4 w 27"/>
                  <a:gd name="T37" fmla="*/ 15 h 30"/>
                  <a:gd name="T38" fmla="*/ 6 w 27"/>
                  <a:gd name="T39" fmla="*/ 11 h 30"/>
                  <a:gd name="T40" fmla="*/ 8 w 27"/>
                  <a:gd name="T41" fmla="*/ 8 h 30"/>
                  <a:gd name="T42" fmla="*/ 10 w 27"/>
                  <a:gd name="T43" fmla="*/ 6 h 30"/>
                  <a:gd name="T44" fmla="*/ 10 w 27"/>
                  <a:gd name="T45" fmla="*/ 4 h 30"/>
                  <a:gd name="T46" fmla="*/ 11 w 27"/>
                  <a:gd name="T47" fmla="*/ 4 h 30"/>
                  <a:gd name="T48" fmla="*/ 15 w 27"/>
                  <a:gd name="T49" fmla="*/ 6 h 30"/>
                  <a:gd name="T50" fmla="*/ 17 w 27"/>
                  <a:gd name="T51" fmla="*/ 6 h 30"/>
                  <a:gd name="T52" fmla="*/ 17 w 27"/>
                  <a:gd name="T53" fmla="*/ 4 h 30"/>
                  <a:gd name="T54" fmla="*/ 15 w 27"/>
                  <a:gd name="T55" fmla="*/ 4 h 30"/>
                  <a:gd name="T56" fmla="*/ 17 w 27"/>
                  <a:gd name="T57" fmla="*/ 4 h 30"/>
                  <a:gd name="T58" fmla="*/ 17 w 27"/>
                  <a:gd name="T59" fmla="*/ 2 h 30"/>
                  <a:gd name="T60" fmla="*/ 19 w 27"/>
                  <a:gd name="T61" fmla="*/ 2 h 30"/>
                  <a:gd name="T62" fmla="*/ 21 w 27"/>
                  <a:gd name="T63" fmla="*/ 0 h 30"/>
                  <a:gd name="T64" fmla="*/ 21 w 27"/>
                  <a:gd name="T65" fmla="*/ 2 h 30"/>
                  <a:gd name="T66" fmla="*/ 25 w 27"/>
                  <a:gd name="T67" fmla="*/ 4 h 30"/>
                  <a:gd name="T68" fmla="*/ 25 w 27"/>
                  <a:gd name="T69" fmla="*/ 6 h 30"/>
                  <a:gd name="T70" fmla="*/ 25 w 27"/>
                  <a:gd name="T71" fmla="*/ 8 h 30"/>
                  <a:gd name="T72" fmla="*/ 27 w 27"/>
                  <a:gd name="T73" fmla="*/ 8 h 30"/>
                  <a:gd name="T74" fmla="*/ 27 w 27"/>
                  <a:gd name="T75" fmla="*/ 9 h 30"/>
                  <a:gd name="T76" fmla="*/ 27 w 27"/>
                  <a:gd name="T77" fmla="*/ 11 h 30"/>
                  <a:gd name="T78" fmla="*/ 25 w 27"/>
                  <a:gd name="T79" fmla="*/ 11 h 30"/>
                  <a:gd name="T80" fmla="*/ 25 w 27"/>
                  <a:gd name="T81" fmla="*/ 13 h 30"/>
                  <a:gd name="T82" fmla="*/ 23 w 27"/>
                  <a:gd name="T83" fmla="*/ 13 h 30"/>
                  <a:gd name="T84" fmla="*/ 21 w 27"/>
                  <a:gd name="T85" fmla="*/ 15 h 30"/>
                  <a:gd name="T86" fmla="*/ 19 w 27"/>
                  <a:gd name="T87" fmla="*/ 15 h 30"/>
                  <a:gd name="T88" fmla="*/ 17 w 27"/>
                  <a:gd name="T89" fmla="*/ 15 h 30"/>
                  <a:gd name="T90" fmla="*/ 15 w 27"/>
                  <a:gd name="T91" fmla="*/ 17 h 30"/>
                  <a:gd name="T92" fmla="*/ 13 w 27"/>
                  <a:gd name="T93" fmla="*/ 19 h 30"/>
                  <a:gd name="T94" fmla="*/ 11 w 27"/>
                  <a:gd name="T95" fmla="*/ 19 h 30"/>
                  <a:gd name="T96" fmla="*/ 13 w 27"/>
                  <a:gd name="T97" fmla="*/ 21 h 30"/>
                  <a:gd name="T98" fmla="*/ 15 w 27"/>
                  <a:gd name="T99" fmla="*/ 21 h 30"/>
                  <a:gd name="T100" fmla="*/ 13 w 27"/>
                  <a:gd name="T101" fmla="*/ 19 h 30"/>
                  <a:gd name="T102" fmla="*/ 15 w 27"/>
                  <a:gd name="T103" fmla="*/ 19 h 30"/>
                  <a:gd name="T104" fmla="*/ 17 w 27"/>
                  <a:gd name="T105" fmla="*/ 19 h 30"/>
                  <a:gd name="T106" fmla="*/ 19 w 27"/>
                  <a:gd name="T107" fmla="*/ 19 h 30"/>
                  <a:gd name="T108" fmla="*/ 21 w 27"/>
                  <a:gd name="T109" fmla="*/ 19 h 30"/>
                  <a:gd name="T110" fmla="*/ 23 w 27"/>
                  <a:gd name="T111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7" h="30">
                    <a:moveTo>
                      <a:pt x="23" y="21"/>
                    </a:moveTo>
                    <a:lnTo>
                      <a:pt x="19" y="29"/>
                    </a:lnTo>
                    <a:lnTo>
                      <a:pt x="17" y="29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3" y="27"/>
                    </a:lnTo>
                    <a:lnTo>
                      <a:pt x="11" y="29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2" y="30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0" y="25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4" y="15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25" y="4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3" y="13"/>
                    </a:lnTo>
                    <a:lnTo>
                      <a:pt x="21" y="15"/>
                    </a:lnTo>
                    <a:lnTo>
                      <a:pt x="19" y="15"/>
                    </a:lnTo>
                    <a:lnTo>
                      <a:pt x="17" y="15"/>
                    </a:lnTo>
                    <a:lnTo>
                      <a:pt x="15" y="17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3" y="19"/>
                    </a:lnTo>
                    <a:lnTo>
                      <a:pt x="15" y="19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3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0" name="Freeform 104">
                <a:extLst>
                  <a:ext uri="{FF2B5EF4-FFF2-40B4-BE49-F238E27FC236}">
                    <a16:creationId xmlns:a16="http://schemas.microsoft.com/office/drawing/2014/main" id="{557F8EEB-249C-1F75-1EA7-9926644B7F4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95851" y="-2596423"/>
                <a:ext cx="198524" cy="262038"/>
              </a:xfrm>
              <a:custGeom>
                <a:avLst/>
                <a:gdLst>
                  <a:gd name="T0" fmla="*/ 75 w 126"/>
                  <a:gd name="T1" fmla="*/ 32 h 166"/>
                  <a:gd name="T2" fmla="*/ 78 w 126"/>
                  <a:gd name="T3" fmla="*/ 40 h 166"/>
                  <a:gd name="T4" fmla="*/ 90 w 126"/>
                  <a:gd name="T5" fmla="*/ 46 h 166"/>
                  <a:gd name="T6" fmla="*/ 101 w 126"/>
                  <a:gd name="T7" fmla="*/ 48 h 166"/>
                  <a:gd name="T8" fmla="*/ 109 w 126"/>
                  <a:gd name="T9" fmla="*/ 50 h 166"/>
                  <a:gd name="T10" fmla="*/ 113 w 126"/>
                  <a:gd name="T11" fmla="*/ 59 h 166"/>
                  <a:gd name="T12" fmla="*/ 122 w 126"/>
                  <a:gd name="T13" fmla="*/ 67 h 166"/>
                  <a:gd name="T14" fmla="*/ 124 w 126"/>
                  <a:gd name="T15" fmla="*/ 71 h 166"/>
                  <a:gd name="T16" fmla="*/ 120 w 126"/>
                  <a:gd name="T17" fmla="*/ 80 h 166"/>
                  <a:gd name="T18" fmla="*/ 109 w 126"/>
                  <a:gd name="T19" fmla="*/ 92 h 166"/>
                  <a:gd name="T20" fmla="*/ 107 w 126"/>
                  <a:gd name="T21" fmla="*/ 99 h 166"/>
                  <a:gd name="T22" fmla="*/ 101 w 126"/>
                  <a:gd name="T23" fmla="*/ 105 h 166"/>
                  <a:gd name="T24" fmla="*/ 99 w 126"/>
                  <a:gd name="T25" fmla="*/ 103 h 166"/>
                  <a:gd name="T26" fmla="*/ 99 w 126"/>
                  <a:gd name="T27" fmla="*/ 101 h 166"/>
                  <a:gd name="T28" fmla="*/ 97 w 126"/>
                  <a:gd name="T29" fmla="*/ 103 h 166"/>
                  <a:gd name="T30" fmla="*/ 94 w 126"/>
                  <a:gd name="T31" fmla="*/ 111 h 166"/>
                  <a:gd name="T32" fmla="*/ 92 w 126"/>
                  <a:gd name="T33" fmla="*/ 124 h 166"/>
                  <a:gd name="T34" fmla="*/ 86 w 126"/>
                  <a:gd name="T35" fmla="*/ 128 h 166"/>
                  <a:gd name="T36" fmla="*/ 75 w 126"/>
                  <a:gd name="T37" fmla="*/ 136 h 166"/>
                  <a:gd name="T38" fmla="*/ 73 w 126"/>
                  <a:gd name="T39" fmla="*/ 141 h 166"/>
                  <a:gd name="T40" fmla="*/ 65 w 126"/>
                  <a:gd name="T41" fmla="*/ 145 h 166"/>
                  <a:gd name="T42" fmla="*/ 55 w 126"/>
                  <a:gd name="T43" fmla="*/ 149 h 166"/>
                  <a:gd name="T44" fmla="*/ 52 w 126"/>
                  <a:gd name="T45" fmla="*/ 157 h 166"/>
                  <a:gd name="T46" fmla="*/ 46 w 126"/>
                  <a:gd name="T47" fmla="*/ 160 h 166"/>
                  <a:gd name="T48" fmla="*/ 38 w 126"/>
                  <a:gd name="T49" fmla="*/ 160 h 166"/>
                  <a:gd name="T50" fmla="*/ 25 w 126"/>
                  <a:gd name="T51" fmla="*/ 164 h 166"/>
                  <a:gd name="T52" fmla="*/ 12 w 126"/>
                  <a:gd name="T53" fmla="*/ 157 h 166"/>
                  <a:gd name="T54" fmla="*/ 23 w 126"/>
                  <a:gd name="T55" fmla="*/ 120 h 166"/>
                  <a:gd name="T56" fmla="*/ 52 w 126"/>
                  <a:gd name="T57" fmla="*/ 63 h 166"/>
                  <a:gd name="T58" fmla="*/ 55 w 126"/>
                  <a:gd name="T59" fmla="*/ 52 h 166"/>
                  <a:gd name="T60" fmla="*/ 59 w 126"/>
                  <a:gd name="T61" fmla="*/ 40 h 166"/>
                  <a:gd name="T62" fmla="*/ 63 w 126"/>
                  <a:gd name="T63" fmla="*/ 38 h 166"/>
                  <a:gd name="T64" fmla="*/ 61 w 126"/>
                  <a:gd name="T65" fmla="*/ 34 h 166"/>
                  <a:gd name="T66" fmla="*/ 63 w 126"/>
                  <a:gd name="T67" fmla="*/ 25 h 166"/>
                  <a:gd name="T68" fmla="*/ 67 w 126"/>
                  <a:gd name="T69" fmla="*/ 29 h 166"/>
                  <a:gd name="T70" fmla="*/ 69 w 126"/>
                  <a:gd name="T71" fmla="*/ 13 h 166"/>
                  <a:gd name="T72" fmla="*/ 65 w 126"/>
                  <a:gd name="T73" fmla="*/ 6 h 166"/>
                  <a:gd name="T74" fmla="*/ 69 w 126"/>
                  <a:gd name="T75" fmla="*/ 2 h 166"/>
                  <a:gd name="T76" fmla="*/ 69 w 126"/>
                  <a:gd name="T77" fmla="*/ 2 h 166"/>
                  <a:gd name="T78" fmla="*/ 71 w 126"/>
                  <a:gd name="T79" fmla="*/ 2 h 166"/>
                  <a:gd name="T80" fmla="*/ 71 w 126"/>
                  <a:gd name="T81" fmla="*/ 2 h 166"/>
                  <a:gd name="T82" fmla="*/ 71 w 126"/>
                  <a:gd name="T83" fmla="*/ 2 h 166"/>
                  <a:gd name="T84" fmla="*/ 71 w 126"/>
                  <a:gd name="T85" fmla="*/ 4 h 166"/>
                  <a:gd name="T86" fmla="*/ 71 w 126"/>
                  <a:gd name="T87" fmla="*/ 4 h 166"/>
                  <a:gd name="T88" fmla="*/ 71 w 126"/>
                  <a:gd name="T89" fmla="*/ 10 h 166"/>
                  <a:gd name="T90" fmla="*/ 111 w 126"/>
                  <a:gd name="T91" fmla="*/ 101 h 166"/>
                  <a:gd name="T92" fmla="*/ 107 w 126"/>
                  <a:gd name="T93" fmla="*/ 103 h 166"/>
                  <a:gd name="T94" fmla="*/ 67 w 126"/>
                  <a:gd name="T95" fmla="*/ 19 h 166"/>
                  <a:gd name="T96" fmla="*/ 63 w 126"/>
                  <a:gd name="T97" fmla="*/ 151 h 166"/>
                  <a:gd name="T98" fmla="*/ 61 w 126"/>
                  <a:gd name="T99" fmla="*/ 153 h 166"/>
                  <a:gd name="T100" fmla="*/ 69 w 126"/>
                  <a:gd name="T101" fmla="*/ 0 h 166"/>
                  <a:gd name="T102" fmla="*/ 107 w 126"/>
                  <a:gd name="T103" fmla="*/ 9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6" h="166">
                    <a:moveTo>
                      <a:pt x="71" y="25"/>
                    </a:moveTo>
                    <a:lnTo>
                      <a:pt x="71" y="29"/>
                    </a:lnTo>
                    <a:lnTo>
                      <a:pt x="73" y="29"/>
                    </a:lnTo>
                    <a:lnTo>
                      <a:pt x="73" y="32"/>
                    </a:lnTo>
                    <a:lnTo>
                      <a:pt x="75" y="32"/>
                    </a:lnTo>
                    <a:lnTo>
                      <a:pt x="75" y="34"/>
                    </a:lnTo>
                    <a:lnTo>
                      <a:pt x="75" y="32"/>
                    </a:lnTo>
                    <a:lnTo>
                      <a:pt x="75" y="34"/>
                    </a:lnTo>
                    <a:lnTo>
                      <a:pt x="76" y="34"/>
                    </a:lnTo>
                    <a:lnTo>
                      <a:pt x="78" y="40"/>
                    </a:lnTo>
                    <a:lnTo>
                      <a:pt x="80" y="40"/>
                    </a:lnTo>
                    <a:lnTo>
                      <a:pt x="82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90" y="46"/>
                    </a:lnTo>
                    <a:lnTo>
                      <a:pt x="92" y="46"/>
                    </a:lnTo>
                    <a:lnTo>
                      <a:pt x="94" y="46"/>
                    </a:lnTo>
                    <a:lnTo>
                      <a:pt x="94" y="48"/>
                    </a:lnTo>
                    <a:lnTo>
                      <a:pt x="97" y="48"/>
                    </a:lnTo>
                    <a:lnTo>
                      <a:pt x="101" y="48"/>
                    </a:lnTo>
                    <a:lnTo>
                      <a:pt x="103" y="48"/>
                    </a:lnTo>
                    <a:lnTo>
                      <a:pt x="105" y="48"/>
                    </a:lnTo>
                    <a:lnTo>
                      <a:pt x="105" y="50"/>
                    </a:lnTo>
                    <a:lnTo>
                      <a:pt x="107" y="50"/>
                    </a:lnTo>
                    <a:lnTo>
                      <a:pt x="109" y="50"/>
                    </a:lnTo>
                    <a:lnTo>
                      <a:pt x="109" y="52"/>
                    </a:lnTo>
                    <a:lnTo>
                      <a:pt x="111" y="53"/>
                    </a:lnTo>
                    <a:lnTo>
                      <a:pt x="111" y="55"/>
                    </a:lnTo>
                    <a:lnTo>
                      <a:pt x="113" y="57"/>
                    </a:lnTo>
                    <a:lnTo>
                      <a:pt x="113" y="59"/>
                    </a:lnTo>
                    <a:lnTo>
                      <a:pt x="115" y="59"/>
                    </a:lnTo>
                    <a:lnTo>
                      <a:pt x="116" y="63"/>
                    </a:lnTo>
                    <a:lnTo>
                      <a:pt x="118" y="65"/>
                    </a:lnTo>
                    <a:lnTo>
                      <a:pt x="120" y="67"/>
                    </a:lnTo>
                    <a:lnTo>
                      <a:pt x="122" y="67"/>
                    </a:lnTo>
                    <a:lnTo>
                      <a:pt x="124" y="67"/>
                    </a:lnTo>
                    <a:lnTo>
                      <a:pt x="124" y="69"/>
                    </a:lnTo>
                    <a:lnTo>
                      <a:pt x="124" y="67"/>
                    </a:lnTo>
                    <a:lnTo>
                      <a:pt x="126" y="69"/>
                    </a:lnTo>
                    <a:lnTo>
                      <a:pt x="124" y="71"/>
                    </a:lnTo>
                    <a:lnTo>
                      <a:pt x="124" y="73"/>
                    </a:lnTo>
                    <a:lnTo>
                      <a:pt x="122" y="74"/>
                    </a:lnTo>
                    <a:lnTo>
                      <a:pt x="122" y="76"/>
                    </a:lnTo>
                    <a:lnTo>
                      <a:pt x="120" y="78"/>
                    </a:lnTo>
                    <a:lnTo>
                      <a:pt x="120" y="80"/>
                    </a:lnTo>
                    <a:lnTo>
                      <a:pt x="118" y="82"/>
                    </a:lnTo>
                    <a:lnTo>
                      <a:pt x="116" y="86"/>
                    </a:lnTo>
                    <a:lnTo>
                      <a:pt x="115" y="88"/>
                    </a:lnTo>
                    <a:lnTo>
                      <a:pt x="113" y="90"/>
                    </a:lnTo>
                    <a:lnTo>
                      <a:pt x="109" y="92"/>
                    </a:lnTo>
                    <a:lnTo>
                      <a:pt x="109" y="94"/>
                    </a:lnTo>
                    <a:lnTo>
                      <a:pt x="109" y="95"/>
                    </a:lnTo>
                    <a:lnTo>
                      <a:pt x="107" y="95"/>
                    </a:lnTo>
                    <a:lnTo>
                      <a:pt x="107" y="97"/>
                    </a:lnTo>
                    <a:lnTo>
                      <a:pt x="107" y="99"/>
                    </a:lnTo>
                    <a:lnTo>
                      <a:pt x="105" y="99"/>
                    </a:lnTo>
                    <a:lnTo>
                      <a:pt x="105" y="101"/>
                    </a:lnTo>
                    <a:lnTo>
                      <a:pt x="105" y="103"/>
                    </a:lnTo>
                    <a:lnTo>
                      <a:pt x="103" y="105"/>
                    </a:lnTo>
                    <a:lnTo>
                      <a:pt x="101" y="105"/>
                    </a:lnTo>
                    <a:lnTo>
                      <a:pt x="99" y="105"/>
                    </a:lnTo>
                    <a:lnTo>
                      <a:pt x="101" y="105"/>
                    </a:lnTo>
                    <a:lnTo>
                      <a:pt x="101" y="103"/>
                    </a:lnTo>
                    <a:lnTo>
                      <a:pt x="101" y="105"/>
                    </a:lnTo>
                    <a:lnTo>
                      <a:pt x="99" y="103"/>
                    </a:lnTo>
                    <a:lnTo>
                      <a:pt x="99" y="105"/>
                    </a:lnTo>
                    <a:lnTo>
                      <a:pt x="99" y="103"/>
                    </a:lnTo>
                    <a:lnTo>
                      <a:pt x="99" y="101"/>
                    </a:lnTo>
                    <a:lnTo>
                      <a:pt x="99" y="103"/>
                    </a:lnTo>
                    <a:lnTo>
                      <a:pt x="99" y="101"/>
                    </a:lnTo>
                    <a:lnTo>
                      <a:pt x="101" y="101"/>
                    </a:lnTo>
                    <a:lnTo>
                      <a:pt x="99" y="101"/>
                    </a:lnTo>
                    <a:lnTo>
                      <a:pt x="99" y="99"/>
                    </a:lnTo>
                    <a:lnTo>
                      <a:pt x="97" y="101"/>
                    </a:lnTo>
                    <a:lnTo>
                      <a:pt x="97" y="103"/>
                    </a:lnTo>
                    <a:lnTo>
                      <a:pt x="95" y="103"/>
                    </a:lnTo>
                    <a:lnTo>
                      <a:pt x="95" y="105"/>
                    </a:lnTo>
                    <a:lnTo>
                      <a:pt x="94" y="107"/>
                    </a:lnTo>
                    <a:lnTo>
                      <a:pt x="94" y="109"/>
                    </a:lnTo>
                    <a:lnTo>
                      <a:pt x="94" y="111"/>
                    </a:lnTo>
                    <a:lnTo>
                      <a:pt x="92" y="115"/>
                    </a:lnTo>
                    <a:lnTo>
                      <a:pt x="92" y="116"/>
                    </a:lnTo>
                    <a:lnTo>
                      <a:pt x="92" y="118"/>
                    </a:lnTo>
                    <a:lnTo>
                      <a:pt x="92" y="120"/>
                    </a:lnTo>
                    <a:lnTo>
                      <a:pt x="92" y="124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2" y="128"/>
                    </a:lnTo>
                    <a:lnTo>
                      <a:pt x="86" y="128"/>
                    </a:lnTo>
                    <a:lnTo>
                      <a:pt x="84" y="130"/>
                    </a:lnTo>
                    <a:lnTo>
                      <a:pt x="80" y="130"/>
                    </a:lnTo>
                    <a:lnTo>
                      <a:pt x="78" y="132"/>
                    </a:lnTo>
                    <a:lnTo>
                      <a:pt x="76" y="132"/>
                    </a:lnTo>
                    <a:lnTo>
                      <a:pt x="75" y="136"/>
                    </a:lnTo>
                    <a:lnTo>
                      <a:pt x="75" y="134"/>
                    </a:lnTo>
                    <a:lnTo>
                      <a:pt x="75" y="136"/>
                    </a:lnTo>
                    <a:lnTo>
                      <a:pt x="75" y="137"/>
                    </a:lnTo>
                    <a:lnTo>
                      <a:pt x="75" y="139"/>
                    </a:lnTo>
                    <a:lnTo>
                      <a:pt x="73" y="141"/>
                    </a:lnTo>
                    <a:lnTo>
                      <a:pt x="71" y="143"/>
                    </a:lnTo>
                    <a:lnTo>
                      <a:pt x="71" y="145"/>
                    </a:lnTo>
                    <a:lnTo>
                      <a:pt x="69" y="145"/>
                    </a:lnTo>
                    <a:lnTo>
                      <a:pt x="67" y="145"/>
                    </a:lnTo>
                    <a:lnTo>
                      <a:pt x="65" y="145"/>
                    </a:lnTo>
                    <a:lnTo>
                      <a:pt x="63" y="145"/>
                    </a:lnTo>
                    <a:lnTo>
                      <a:pt x="61" y="145"/>
                    </a:lnTo>
                    <a:lnTo>
                      <a:pt x="57" y="147"/>
                    </a:lnTo>
                    <a:lnTo>
                      <a:pt x="55" y="147"/>
                    </a:lnTo>
                    <a:lnTo>
                      <a:pt x="55" y="149"/>
                    </a:lnTo>
                    <a:lnTo>
                      <a:pt x="54" y="149"/>
                    </a:lnTo>
                    <a:lnTo>
                      <a:pt x="52" y="151"/>
                    </a:lnTo>
                    <a:lnTo>
                      <a:pt x="52" y="153"/>
                    </a:lnTo>
                    <a:lnTo>
                      <a:pt x="54" y="155"/>
                    </a:lnTo>
                    <a:lnTo>
                      <a:pt x="52" y="157"/>
                    </a:lnTo>
                    <a:lnTo>
                      <a:pt x="52" y="158"/>
                    </a:lnTo>
                    <a:lnTo>
                      <a:pt x="50" y="158"/>
                    </a:lnTo>
                    <a:lnTo>
                      <a:pt x="50" y="160"/>
                    </a:lnTo>
                    <a:lnTo>
                      <a:pt x="48" y="160"/>
                    </a:lnTo>
                    <a:lnTo>
                      <a:pt x="46" y="160"/>
                    </a:lnTo>
                    <a:lnTo>
                      <a:pt x="46" y="162"/>
                    </a:lnTo>
                    <a:lnTo>
                      <a:pt x="44" y="162"/>
                    </a:lnTo>
                    <a:lnTo>
                      <a:pt x="44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3" y="160"/>
                    </a:lnTo>
                    <a:lnTo>
                      <a:pt x="33" y="162"/>
                    </a:lnTo>
                    <a:lnTo>
                      <a:pt x="29" y="162"/>
                    </a:lnTo>
                    <a:lnTo>
                      <a:pt x="27" y="164"/>
                    </a:lnTo>
                    <a:lnTo>
                      <a:pt x="25" y="164"/>
                    </a:lnTo>
                    <a:lnTo>
                      <a:pt x="21" y="166"/>
                    </a:lnTo>
                    <a:lnTo>
                      <a:pt x="19" y="166"/>
                    </a:lnTo>
                    <a:lnTo>
                      <a:pt x="17" y="166"/>
                    </a:lnTo>
                    <a:lnTo>
                      <a:pt x="13" y="157"/>
                    </a:lnTo>
                    <a:lnTo>
                      <a:pt x="12" y="157"/>
                    </a:lnTo>
                    <a:lnTo>
                      <a:pt x="13" y="155"/>
                    </a:lnTo>
                    <a:lnTo>
                      <a:pt x="6" y="137"/>
                    </a:lnTo>
                    <a:lnTo>
                      <a:pt x="0" y="128"/>
                    </a:lnTo>
                    <a:lnTo>
                      <a:pt x="6" y="126"/>
                    </a:lnTo>
                    <a:lnTo>
                      <a:pt x="23" y="120"/>
                    </a:lnTo>
                    <a:lnTo>
                      <a:pt x="48" y="111"/>
                    </a:lnTo>
                    <a:lnTo>
                      <a:pt x="52" y="97"/>
                    </a:lnTo>
                    <a:lnTo>
                      <a:pt x="59" y="76"/>
                    </a:lnTo>
                    <a:lnTo>
                      <a:pt x="52" y="65"/>
                    </a:lnTo>
                    <a:lnTo>
                      <a:pt x="52" y="63"/>
                    </a:lnTo>
                    <a:lnTo>
                      <a:pt x="52" y="59"/>
                    </a:lnTo>
                    <a:lnTo>
                      <a:pt x="52" y="57"/>
                    </a:lnTo>
                    <a:lnTo>
                      <a:pt x="55" y="52"/>
                    </a:lnTo>
                    <a:lnTo>
                      <a:pt x="55" y="53"/>
                    </a:lnTo>
                    <a:lnTo>
                      <a:pt x="55" y="52"/>
                    </a:lnTo>
                    <a:lnTo>
                      <a:pt x="57" y="48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5" y="42"/>
                    </a:lnTo>
                    <a:lnTo>
                      <a:pt x="59" y="40"/>
                    </a:lnTo>
                    <a:lnTo>
                      <a:pt x="61" y="40"/>
                    </a:lnTo>
                    <a:lnTo>
                      <a:pt x="61" y="42"/>
                    </a:lnTo>
                    <a:lnTo>
                      <a:pt x="63" y="40"/>
                    </a:lnTo>
                    <a:lnTo>
                      <a:pt x="65" y="40"/>
                    </a:lnTo>
                    <a:lnTo>
                      <a:pt x="63" y="38"/>
                    </a:lnTo>
                    <a:lnTo>
                      <a:pt x="61" y="38"/>
                    </a:lnTo>
                    <a:lnTo>
                      <a:pt x="59" y="38"/>
                    </a:lnTo>
                    <a:lnTo>
                      <a:pt x="61" y="38"/>
                    </a:lnTo>
                    <a:lnTo>
                      <a:pt x="61" y="36"/>
                    </a:lnTo>
                    <a:lnTo>
                      <a:pt x="61" y="34"/>
                    </a:lnTo>
                    <a:lnTo>
                      <a:pt x="61" y="32"/>
                    </a:lnTo>
                    <a:lnTo>
                      <a:pt x="61" y="31"/>
                    </a:lnTo>
                    <a:lnTo>
                      <a:pt x="61" y="27"/>
                    </a:lnTo>
                    <a:lnTo>
                      <a:pt x="61" y="25"/>
                    </a:lnTo>
                    <a:lnTo>
                      <a:pt x="63" y="25"/>
                    </a:lnTo>
                    <a:lnTo>
                      <a:pt x="65" y="25"/>
                    </a:lnTo>
                    <a:lnTo>
                      <a:pt x="65" y="27"/>
                    </a:lnTo>
                    <a:lnTo>
                      <a:pt x="63" y="27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7" y="27"/>
                    </a:lnTo>
                    <a:lnTo>
                      <a:pt x="69" y="27"/>
                    </a:lnTo>
                    <a:lnTo>
                      <a:pt x="69" y="25"/>
                    </a:lnTo>
                    <a:lnTo>
                      <a:pt x="71" y="25"/>
                    </a:lnTo>
                    <a:close/>
                    <a:moveTo>
                      <a:pt x="69" y="13"/>
                    </a:moveTo>
                    <a:lnTo>
                      <a:pt x="67" y="13"/>
                    </a:lnTo>
                    <a:lnTo>
                      <a:pt x="67" y="10"/>
                    </a:lnTo>
                    <a:lnTo>
                      <a:pt x="67" y="8"/>
                    </a:lnTo>
                    <a:lnTo>
                      <a:pt x="67" y="6"/>
                    </a:lnTo>
                    <a:lnTo>
                      <a:pt x="65" y="6"/>
                    </a:lnTo>
                    <a:lnTo>
                      <a:pt x="67" y="4"/>
                    </a:lnTo>
                    <a:lnTo>
                      <a:pt x="67" y="2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69" y="2"/>
                    </a:lnTo>
                    <a:lnTo>
                      <a:pt x="69" y="4"/>
                    </a:lnTo>
                    <a:lnTo>
                      <a:pt x="71" y="4"/>
                    </a:lnTo>
                    <a:lnTo>
                      <a:pt x="71" y="2"/>
                    </a:lnTo>
                    <a:lnTo>
                      <a:pt x="69" y="4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1" y="0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73" y="4"/>
                    </a:lnTo>
                    <a:lnTo>
                      <a:pt x="71" y="4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4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71" y="4"/>
                    </a:lnTo>
                    <a:lnTo>
                      <a:pt x="71" y="6"/>
                    </a:lnTo>
                    <a:lnTo>
                      <a:pt x="71" y="4"/>
                    </a:lnTo>
                    <a:lnTo>
                      <a:pt x="71" y="6"/>
                    </a:lnTo>
                    <a:lnTo>
                      <a:pt x="73" y="6"/>
                    </a:lnTo>
                    <a:lnTo>
                      <a:pt x="71" y="6"/>
                    </a:lnTo>
                    <a:lnTo>
                      <a:pt x="71" y="8"/>
                    </a:lnTo>
                    <a:lnTo>
                      <a:pt x="71" y="10"/>
                    </a:lnTo>
                    <a:lnTo>
                      <a:pt x="69" y="10"/>
                    </a:lnTo>
                    <a:lnTo>
                      <a:pt x="69" y="12"/>
                    </a:lnTo>
                    <a:lnTo>
                      <a:pt x="69" y="13"/>
                    </a:lnTo>
                    <a:close/>
                    <a:moveTo>
                      <a:pt x="111" y="99"/>
                    </a:moveTo>
                    <a:lnTo>
                      <a:pt x="111" y="101"/>
                    </a:lnTo>
                    <a:lnTo>
                      <a:pt x="109" y="103"/>
                    </a:lnTo>
                    <a:lnTo>
                      <a:pt x="109" y="105"/>
                    </a:lnTo>
                    <a:lnTo>
                      <a:pt x="107" y="107"/>
                    </a:lnTo>
                    <a:lnTo>
                      <a:pt x="105" y="105"/>
                    </a:lnTo>
                    <a:lnTo>
                      <a:pt x="107" y="103"/>
                    </a:lnTo>
                    <a:lnTo>
                      <a:pt x="109" y="103"/>
                    </a:lnTo>
                    <a:lnTo>
                      <a:pt x="109" y="101"/>
                    </a:lnTo>
                    <a:lnTo>
                      <a:pt x="109" y="99"/>
                    </a:lnTo>
                    <a:lnTo>
                      <a:pt x="111" y="99"/>
                    </a:lnTo>
                    <a:close/>
                    <a:moveTo>
                      <a:pt x="67" y="19"/>
                    </a:moveTo>
                    <a:lnTo>
                      <a:pt x="69" y="19"/>
                    </a:lnTo>
                    <a:lnTo>
                      <a:pt x="69" y="21"/>
                    </a:lnTo>
                    <a:lnTo>
                      <a:pt x="67" y="21"/>
                    </a:lnTo>
                    <a:lnTo>
                      <a:pt x="67" y="19"/>
                    </a:lnTo>
                    <a:close/>
                    <a:moveTo>
                      <a:pt x="63" y="151"/>
                    </a:moveTo>
                    <a:lnTo>
                      <a:pt x="65" y="151"/>
                    </a:lnTo>
                    <a:lnTo>
                      <a:pt x="65" y="153"/>
                    </a:lnTo>
                    <a:lnTo>
                      <a:pt x="63" y="153"/>
                    </a:lnTo>
                    <a:lnTo>
                      <a:pt x="63" y="151"/>
                    </a:lnTo>
                    <a:close/>
                    <a:moveTo>
                      <a:pt x="61" y="153"/>
                    </a:moveTo>
                    <a:lnTo>
                      <a:pt x="63" y="153"/>
                    </a:lnTo>
                    <a:lnTo>
                      <a:pt x="61" y="153"/>
                    </a:lnTo>
                    <a:close/>
                    <a:moveTo>
                      <a:pt x="69" y="0"/>
                    </a:moveTo>
                    <a:lnTo>
                      <a:pt x="71" y="0"/>
                    </a:lnTo>
                    <a:lnTo>
                      <a:pt x="69" y="0"/>
                    </a:lnTo>
                    <a:close/>
                    <a:moveTo>
                      <a:pt x="107" y="103"/>
                    </a:moveTo>
                    <a:lnTo>
                      <a:pt x="109" y="103"/>
                    </a:lnTo>
                    <a:lnTo>
                      <a:pt x="107" y="103"/>
                    </a:lnTo>
                    <a:close/>
                    <a:moveTo>
                      <a:pt x="107" y="95"/>
                    </a:moveTo>
                    <a:lnTo>
                      <a:pt x="107" y="97"/>
                    </a:lnTo>
                    <a:lnTo>
                      <a:pt x="107" y="95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1" name="Freeform 105">
                <a:extLst>
                  <a:ext uri="{FF2B5EF4-FFF2-40B4-BE49-F238E27FC236}">
                    <a16:creationId xmlns:a16="http://schemas.microsoft.com/office/drawing/2014/main" id="{02CAC85D-026C-2D3B-617D-9416B14B62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57838" y="-2762168"/>
                <a:ext cx="530973" cy="437255"/>
              </a:xfrm>
              <a:custGeom>
                <a:avLst/>
                <a:gdLst>
                  <a:gd name="T0" fmla="*/ 223 w 337"/>
                  <a:gd name="T1" fmla="*/ 71 h 277"/>
                  <a:gd name="T2" fmla="*/ 229 w 337"/>
                  <a:gd name="T3" fmla="*/ 80 h 277"/>
                  <a:gd name="T4" fmla="*/ 229 w 337"/>
                  <a:gd name="T5" fmla="*/ 84 h 277"/>
                  <a:gd name="T6" fmla="*/ 234 w 337"/>
                  <a:gd name="T7" fmla="*/ 86 h 277"/>
                  <a:gd name="T8" fmla="*/ 236 w 337"/>
                  <a:gd name="T9" fmla="*/ 92 h 277"/>
                  <a:gd name="T10" fmla="*/ 240 w 337"/>
                  <a:gd name="T11" fmla="*/ 90 h 277"/>
                  <a:gd name="T12" fmla="*/ 244 w 337"/>
                  <a:gd name="T13" fmla="*/ 96 h 277"/>
                  <a:gd name="T14" fmla="*/ 248 w 337"/>
                  <a:gd name="T15" fmla="*/ 101 h 277"/>
                  <a:gd name="T16" fmla="*/ 248 w 337"/>
                  <a:gd name="T17" fmla="*/ 109 h 277"/>
                  <a:gd name="T18" fmla="*/ 250 w 337"/>
                  <a:gd name="T19" fmla="*/ 113 h 277"/>
                  <a:gd name="T20" fmla="*/ 250 w 337"/>
                  <a:gd name="T21" fmla="*/ 118 h 277"/>
                  <a:gd name="T22" fmla="*/ 257 w 337"/>
                  <a:gd name="T23" fmla="*/ 132 h 277"/>
                  <a:gd name="T24" fmla="*/ 271 w 337"/>
                  <a:gd name="T25" fmla="*/ 136 h 277"/>
                  <a:gd name="T26" fmla="*/ 271 w 337"/>
                  <a:gd name="T27" fmla="*/ 143 h 277"/>
                  <a:gd name="T28" fmla="*/ 326 w 337"/>
                  <a:gd name="T29" fmla="*/ 216 h 277"/>
                  <a:gd name="T30" fmla="*/ 202 w 337"/>
                  <a:gd name="T31" fmla="*/ 267 h 277"/>
                  <a:gd name="T32" fmla="*/ 158 w 337"/>
                  <a:gd name="T33" fmla="*/ 258 h 277"/>
                  <a:gd name="T34" fmla="*/ 141 w 337"/>
                  <a:gd name="T35" fmla="*/ 256 h 277"/>
                  <a:gd name="T36" fmla="*/ 139 w 337"/>
                  <a:gd name="T37" fmla="*/ 263 h 277"/>
                  <a:gd name="T38" fmla="*/ 137 w 337"/>
                  <a:gd name="T39" fmla="*/ 273 h 277"/>
                  <a:gd name="T40" fmla="*/ 127 w 337"/>
                  <a:gd name="T41" fmla="*/ 265 h 277"/>
                  <a:gd name="T42" fmla="*/ 118 w 337"/>
                  <a:gd name="T43" fmla="*/ 254 h 277"/>
                  <a:gd name="T44" fmla="*/ 112 w 337"/>
                  <a:gd name="T45" fmla="*/ 244 h 277"/>
                  <a:gd name="T46" fmla="*/ 107 w 337"/>
                  <a:gd name="T47" fmla="*/ 235 h 277"/>
                  <a:gd name="T48" fmla="*/ 101 w 337"/>
                  <a:gd name="T49" fmla="*/ 223 h 277"/>
                  <a:gd name="T50" fmla="*/ 91 w 337"/>
                  <a:gd name="T51" fmla="*/ 214 h 277"/>
                  <a:gd name="T52" fmla="*/ 86 w 337"/>
                  <a:gd name="T53" fmla="*/ 210 h 277"/>
                  <a:gd name="T54" fmla="*/ 78 w 337"/>
                  <a:gd name="T55" fmla="*/ 202 h 277"/>
                  <a:gd name="T56" fmla="*/ 74 w 337"/>
                  <a:gd name="T57" fmla="*/ 189 h 277"/>
                  <a:gd name="T58" fmla="*/ 70 w 337"/>
                  <a:gd name="T59" fmla="*/ 183 h 277"/>
                  <a:gd name="T60" fmla="*/ 70 w 337"/>
                  <a:gd name="T61" fmla="*/ 181 h 277"/>
                  <a:gd name="T62" fmla="*/ 74 w 337"/>
                  <a:gd name="T63" fmla="*/ 174 h 277"/>
                  <a:gd name="T64" fmla="*/ 70 w 337"/>
                  <a:gd name="T65" fmla="*/ 164 h 277"/>
                  <a:gd name="T66" fmla="*/ 66 w 337"/>
                  <a:gd name="T67" fmla="*/ 158 h 277"/>
                  <a:gd name="T68" fmla="*/ 61 w 337"/>
                  <a:gd name="T69" fmla="*/ 147 h 277"/>
                  <a:gd name="T70" fmla="*/ 51 w 337"/>
                  <a:gd name="T71" fmla="*/ 143 h 277"/>
                  <a:gd name="T72" fmla="*/ 44 w 337"/>
                  <a:gd name="T73" fmla="*/ 134 h 277"/>
                  <a:gd name="T74" fmla="*/ 40 w 337"/>
                  <a:gd name="T75" fmla="*/ 118 h 277"/>
                  <a:gd name="T76" fmla="*/ 36 w 337"/>
                  <a:gd name="T77" fmla="*/ 111 h 277"/>
                  <a:gd name="T78" fmla="*/ 25 w 337"/>
                  <a:gd name="T79" fmla="*/ 96 h 277"/>
                  <a:gd name="T80" fmla="*/ 15 w 337"/>
                  <a:gd name="T81" fmla="*/ 82 h 277"/>
                  <a:gd name="T82" fmla="*/ 9 w 337"/>
                  <a:gd name="T83" fmla="*/ 75 h 277"/>
                  <a:gd name="T84" fmla="*/ 2 w 337"/>
                  <a:gd name="T85" fmla="*/ 76 h 277"/>
                  <a:gd name="T86" fmla="*/ 5 w 337"/>
                  <a:gd name="T87" fmla="*/ 61 h 277"/>
                  <a:gd name="T88" fmla="*/ 36 w 337"/>
                  <a:gd name="T89" fmla="*/ 44 h 277"/>
                  <a:gd name="T90" fmla="*/ 57 w 337"/>
                  <a:gd name="T91" fmla="*/ 6 h 277"/>
                  <a:gd name="T92" fmla="*/ 162 w 337"/>
                  <a:gd name="T93" fmla="*/ 54 h 277"/>
                  <a:gd name="T94" fmla="*/ 120 w 337"/>
                  <a:gd name="T95" fmla="*/ 271 h 277"/>
                  <a:gd name="T96" fmla="*/ 120 w 337"/>
                  <a:gd name="T97" fmla="*/ 271 h 277"/>
                  <a:gd name="T98" fmla="*/ 118 w 337"/>
                  <a:gd name="T99" fmla="*/ 269 h 277"/>
                  <a:gd name="T100" fmla="*/ 242 w 337"/>
                  <a:gd name="T101" fmla="*/ 88 h 277"/>
                  <a:gd name="T102" fmla="*/ 116 w 337"/>
                  <a:gd name="T103" fmla="*/ 267 h 277"/>
                  <a:gd name="T104" fmla="*/ 114 w 337"/>
                  <a:gd name="T105" fmla="*/ 271 h 277"/>
                  <a:gd name="T106" fmla="*/ 87 w 337"/>
                  <a:gd name="T107" fmla="*/ 212 h 277"/>
                  <a:gd name="T108" fmla="*/ 40 w 337"/>
                  <a:gd name="T109" fmla="*/ 122 h 277"/>
                  <a:gd name="T110" fmla="*/ 118 w 337"/>
                  <a:gd name="T111" fmla="*/ 267 h 277"/>
                  <a:gd name="T112" fmla="*/ 40 w 337"/>
                  <a:gd name="T113" fmla="*/ 120 h 277"/>
                  <a:gd name="T114" fmla="*/ 112 w 337"/>
                  <a:gd name="T115" fmla="*/ 267 h 277"/>
                  <a:gd name="T116" fmla="*/ 114 w 337"/>
                  <a:gd name="T117" fmla="*/ 267 h 277"/>
                  <a:gd name="T118" fmla="*/ 126 w 337"/>
                  <a:gd name="T119" fmla="*/ 269 h 277"/>
                  <a:gd name="T120" fmla="*/ 70 w 337"/>
                  <a:gd name="T121" fmla="*/ 16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7" h="277">
                    <a:moveTo>
                      <a:pt x="192" y="55"/>
                    </a:moveTo>
                    <a:lnTo>
                      <a:pt x="206" y="57"/>
                    </a:lnTo>
                    <a:lnTo>
                      <a:pt x="208" y="61"/>
                    </a:lnTo>
                    <a:lnTo>
                      <a:pt x="209" y="65"/>
                    </a:lnTo>
                    <a:lnTo>
                      <a:pt x="209" y="67"/>
                    </a:lnTo>
                    <a:lnTo>
                      <a:pt x="221" y="67"/>
                    </a:lnTo>
                    <a:lnTo>
                      <a:pt x="223" y="67"/>
                    </a:lnTo>
                    <a:lnTo>
                      <a:pt x="223" y="69"/>
                    </a:lnTo>
                    <a:lnTo>
                      <a:pt x="223" y="71"/>
                    </a:lnTo>
                    <a:lnTo>
                      <a:pt x="225" y="73"/>
                    </a:lnTo>
                    <a:lnTo>
                      <a:pt x="225" y="75"/>
                    </a:lnTo>
                    <a:lnTo>
                      <a:pt x="225" y="76"/>
                    </a:lnTo>
                    <a:lnTo>
                      <a:pt x="225" y="75"/>
                    </a:lnTo>
                    <a:lnTo>
                      <a:pt x="225" y="76"/>
                    </a:lnTo>
                    <a:lnTo>
                      <a:pt x="227" y="76"/>
                    </a:lnTo>
                    <a:lnTo>
                      <a:pt x="227" y="78"/>
                    </a:lnTo>
                    <a:lnTo>
                      <a:pt x="229" y="78"/>
                    </a:lnTo>
                    <a:lnTo>
                      <a:pt x="229" y="80"/>
                    </a:lnTo>
                    <a:lnTo>
                      <a:pt x="229" y="78"/>
                    </a:lnTo>
                    <a:lnTo>
                      <a:pt x="229" y="80"/>
                    </a:lnTo>
                    <a:lnTo>
                      <a:pt x="227" y="80"/>
                    </a:lnTo>
                    <a:lnTo>
                      <a:pt x="227" y="82"/>
                    </a:lnTo>
                    <a:lnTo>
                      <a:pt x="229" y="80"/>
                    </a:lnTo>
                    <a:lnTo>
                      <a:pt x="229" y="82"/>
                    </a:lnTo>
                    <a:lnTo>
                      <a:pt x="229" y="84"/>
                    </a:lnTo>
                    <a:lnTo>
                      <a:pt x="229" y="82"/>
                    </a:lnTo>
                    <a:lnTo>
                      <a:pt x="229" y="84"/>
                    </a:lnTo>
                    <a:lnTo>
                      <a:pt x="230" y="84"/>
                    </a:lnTo>
                    <a:lnTo>
                      <a:pt x="229" y="84"/>
                    </a:lnTo>
                    <a:lnTo>
                      <a:pt x="230" y="82"/>
                    </a:lnTo>
                    <a:lnTo>
                      <a:pt x="230" y="84"/>
                    </a:lnTo>
                    <a:lnTo>
                      <a:pt x="232" y="84"/>
                    </a:lnTo>
                    <a:lnTo>
                      <a:pt x="234" y="84"/>
                    </a:lnTo>
                    <a:lnTo>
                      <a:pt x="234" y="86"/>
                    </a:lnTo>
                    <a:lnTo>
                      <a:pt x="236" y="86"/>
                    </a:lnTo>
                    <a:lnTo>
                      <a:pt x="234" y="86"/>
                    </a:lnTo>
                    <a:lnTo>
                      <a:pt x="232" y="86"/>
                    </a:lnTo>
                    <a:lnTo>
                      <a:pt x="234" y="88"/>
                    </a:lnTo>
                    <a:lnTo>
                      <a:pt x="234" y="86"/>
                    </a:lnTo>
                    <a:lnTo>
                      <a:pt x="234" y="88"/>
                    </a:lnTo>
                    <a:lnTo>
                      <a:pt x="234" y="86"/>
                    </a:lnTo>
                    <a:lnTo>
                      <a:pt x="234" y="88"/>
                    </a:lnTo>
                    <a:lnTo>
                      <a:pt x="236" y="88"/>
                    </a:lnTo>
                    <a:lnTo>
                      <a:pt x="236" y="90"/>
                    </a:lnTo>
                    <a:lnTo>
                      <a:pt x="236" y="92"/>
                    </a:lnTo>
                    <a:lnTo>
                      <a:pt x="236" y="90"/>
                    </a:lnTo>
                    <a:lnTo>
                      <a:pt x="238" y="90"/>
                    </a:lnTo>
                    <a:lnTo>
                      <a:pt x="236" y="90"/>
                    </a:lnTo>
                    <a:lnTo>
                      <a:pt x="238" y="90"/>
                    </a:lnTo>
                    <a:lnTo>
                      <a:pt x="236" y="92"/>
                    </a:lnTo>
                    <a:lnTo>
                      <a:pt x="238" y="92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2" y="92"/>
                    </a:lnTo>
                    <a:lnTo>
                      <a:pt x="240" y="94"/>
                    </a:lnTo>
                    <a:lnTo>
                      <a:pt x="242" y="94"/>
                    </a:lnTo>
                    <a:lnTo>
                      <a:pt x="242" y="96"/>
                    </a:lnTo>
                    <a:lnTo>
                      <a:pt x="242" y="94"/>
                    </a:lnTo>
                    <a:lnTo>
                      <a:pt x="242" y="96"/>
                    </a:lnTo>
                    <a:lnTo>
                      <a:pt x="244" y="96"/>
                    </a:lnTo>
                    <a:lnTo>
                      <a:pt x="246" y="97"/>
                    </a:lnTo>
                    <a:lnTo>
                      <a:pt x="248" y="99"/>
                    </a:lnTo>
                    <a:lnTo>
                      <a:pt x="250" y="99"/>
                    </a:lnTo>
                    <a:lnTo>
                      <a:pt x="250" y="101"/>
                    </a:lnTo>
                    <a:lnTo>
                      <a:pt x="250" y="99"/>
                    </a:lnTo>
                    <a:lnTo>
                      <a:pt x="248" y="99"/>
                    </a:lnTo>
                    <a:lnTo>
                      <a:pt x="246" y="99"/>
                    </a:lnTo>
                    <a:lnTo>
                      <a:pt x="248" y="99"/>
                    </a:lnTo>
                    <a:lnTo>
                      <a:pt x="248" y="101"/>
                    </a:lnTo>
                    <a:lnTo>
                      <a:pt x="248" y="103"/>
                    </a:lnTo>
                    <a:lnTo>
                      <a:pt x="250" y="103"/>
                    </a:lnTo>
                    <a:lnTo>
                      <a:pt x="250" y="105"/>
                    </a:lnTo>
                    <a:lnTo>
                      <a:pt x="250" y="103"/>
                    </a:lnTo>
                    <a:lnTo>
                      <a:pt x="250" y="105"/>
                    </a:lnTo>
                    <a:lnTo>
                      <a:pt x="250" y="107"/>
                    </a:lnTo>
                    <a:lnTo>
                      <a:pt x="250" y="109"/>
                    </a:lnTo>
                    <a:lnTo>
                      <a:pt x="250" y="111"/>
                    </a:lnTo>
                    <a:lnTo>
                      <a:pt x="248" y="109"/>
                    </a:lnTo>
                    <a:lnTo>
                      <a:pt x="246" y="109"/>
                    </a:lnTo>
                    <a:lnTo>
                      <a:pt x="248" y="111"/>
                    </a:lnTo>
                    <a:lnTo>
                      <a:pt x="246" y="111"/>
                    </a:lnTo>
                    <a:lnTo>
                      <a:pt x="248" y="111"/>
                    </a:lnTo>
                    <a:lnTo>
                      <a:pt x="246" y="113"/>
                    </a:lnTo>
                    <a:lnTo>
                      <a:pt x="248" y="113"/>
                    </a:lnTo>
                    <a:lnTo>
                      <a:pt x="248" y="111"/>
                    </a:lnTo>
                    <a:lnTo>
                      <a:pt x="248" y="113"/>
                    </a:lnTo>
                    <a:lnTo>
                      <a:pt x="250" y="113"/>
                    </a:lnTo>
                    <a:lnTo>
                      <a:pt x="248" y="113"/>
                    </a:lnTo>
                    <a:lnTo>
                      <a:pt x="248" y="115"/>
                    </a:lnTo>
                    <a:lnTo>
                      <a:pt x="251" y="118"/>
                    </a:lnTo>
                    <a:lnTo>
                      <a:pt x="250" y="117"/>
                    </a:lnTo>
                    <a:lnTo>
                      <a:pt x="250" y="118"/>
                    </a:lnTo>
                    <a:lnTo>
                      <a:pt x="250" y="117"/>
                    </a:lnTo>
                    <a:lnTo>
                      <a:pt x="250" y="118"/>
                    </a:lnTo>
                    <a:lnTo>
                      <a:pt x="250" y="117"/>
                    </a:lnTo>
                    <a:lnTo>
                      <a:pt x="250" y="118"/>
                    </a:lnTo>
                    <a:lnTo>
                      <a:pt x="251" y="120"/>
                    </a:lnTo>
                    <a:lnTo>
                      <a:pt x="253" y="122"/>
                    </a:lnTo>
                    <a:lnTo>
                      <a:pt x="253" y="120"/>
                    </a:lnTo>
                    <a:lnTo>
                      <a:pt x="255" y="122"/>
                    </a:lnTo>
                    <a:lnTo>
                      <a:pt x="255" y="124"/>
                    </a:lnTo>
                    <a:lnTo>
                      <a:pt x="255" y="126"/>
                    </a:lnTo>
                    <a:lnTo>
                      <a:pt x="255" y="128"/>
                    </a:lnTo>
                    <a:lnTo>
                      <a:pt x="257" y="130"/>
                    </a:lnTo>
                    <a:lnTo>
                      <a:pt x="257" y="132"/>
                    </a:lnTo>
                    <a:lnTo>
                      <a:pt x="259" y="132"/>
                    </a:lnTo>
                    <a:lnTo>
                      <a:pt x="259" y="134"/>
                    </a:lnTo>
                    <a:lnTo>
                      <a:pt x="261" y="137"/>
                    </a:lnTo>
                    <a:lnTo>
                      <a:pt x="263" y="137"/>
                    </a:lnTo>
                    <a:lnTo>
                      <a:pt x="265" y="139"/>
                    </a:lnTo>
                    <a:lnTo>
                      <a:pt x="267" y="137"/>
                    </a:lnTo>
                    <a:lnTo>
                      <a:pt x="269" y="137"/>
                    </a:lnTo>
                    <a:lnTo>
                      <a:pt x="269" y="136"/>
                    </a:lnTo>
                    <a:lnTo>
                      <a:pt x="271" y="136"/>
                    </a:lnTo>
                    <a:lnTo>
                      <a:pt x="271" y="137"/>
                    </a:lnTo>
                    <a:lnTo>
                      <a:pt x="271" y="136"/>
                    </a:lnTo>
                    <a:lnTo>
                      <a:pt x="271" y="137"/>
                    </a:lnTo>
                    <a:lnTo>
                      <a:pt x="269" y="137"/>
                    </a:lnTo>
                    <a:lnTo>
                      <a:pt x="267" y="139"/>
                    </a:lnTo>
                    <a:lnTo>
                      <a:pt x="267" y="141"/>
                    </a:lnTo>
                    <a:lnTo>
                      <a:pt x="269" y="141"/>
                    </a:lnTo>
                    <a:lnTo>
                      <a:pt x="271" y="141"/>
                    </a:lnTo>
                    <a:lnTo>
                      <a:pt x="271" y="143"/>
                    </a:lnTo>
                    <a:lnTo>
                      <a:pt x="272" y="143"/>
                    </a:lnTo>
                    <a:lnTo>
                      <a:pt x="272" y="145"/>
                    </a:lnTo>
                    <a:lnTo>
                      <a:pt x="288" y="166"/>
                    </a:lnTo>
                    <a:lnTo>
                      <a:pt x="301" y="166"/>
                    </a:lnTo>
                    <a:lnTo>
                      <a:pt x="328" y="170"/>
                    </a:lnTo>
                    <a:lnTo>
                      <a:pt x="330" y="170"/>
                    </a:lnTo>
                    <a:lnTo>
                      <a:pt x="337" y="181"/>
                    </a:lnTo>
                    <a:lnTo>
                      <a:pt x="330" y="202"/>
                    </a:lnTo>
                    <a:lnTo>
                      <a:pt x="326" y="216"/>
                    </a:lnTo>
                    <a:lnTo>
                      <a:pt x="301" y="225"/>
                    </a:lnTo>
                    <a:lnTo>
                      <a:pt x="284" y="231"/>
                    </a:lnTo>
                    <a:lnTo>
                      <a:pt x="278" y="233"/>
                    </a:lnTo>
                    <a:lnTo>
                      <a:pt x="259" y="237"/>
                    </a:lnTo>
                    <a:lnTo>
                      <a:pt x="232" y="239"/>
                    </a:lnTo>
                    <a:lnTo>
                      <a:pt x="217" y="246"/>
                    </a:lnTo>
                    <a:lnTo>
                      <a:pt x="208" y="258"/>
                    </a:lnTo>
                    <a:lnTo>
                      <a:pt x="206" y="263"/>
                    </a:lnTo>
                    <a:lnTo>
                      <a:pt x="202" y="267"/>
                    </a:lnTo>
                    <a:lnTo>
                      <a:pt x="198" y="267"/>
                    </a:lnTo>
                    <a:lnTo>
                      <a:pt x="194" y="262"/>
                    </a:lnTo>
                    <a:lnTo>
                      <a:pt x="189" y="262"/>
                    </a:lnTo>
                    <a:lnTo>
                      <a:pt x="185" y="262"/>
                    </a:lnTo>
                    <a:lnTo>
                      <a:pt x="173" y="260"/>
                    </a:lnTo>
                    <a:lnTo>
                      <a:pt x="171" y="258"/>
                    </a:lnTo>
                    <a:lnTo>
                      <a:pt x="162" y="258"/>
                    </a:lnTo>
                    <a:lnTo>
                      <a:pt x="160" y="260"/>
                    </a:lnTo>
                    <a:lnTo>
                      <a:pt x="158" y="258"/>
                    </a:lnTo>
                    <a:lnTo>
                      <a:pt x="154" y="260"/>
                    </a:lnTo>
                    <a:lnTo>
                      <a:pt x="152" y="260"/>
                    </a:lnTo>
                    <a:lnTo>
                      <a:pt x="150" y="260"/>
                    </a:lnTo>
                    <a:lnTo>
                      <a:pt x="148" y="260"/>
                    </a:lnTo>
                    <a:lnTo>
                      <a:pt x="147" y="260"/>
                    </a:lnTo>
                    <a:lnTo>
                      <a:pt x="143" y="258"/>
                    </a:lnTo>
                    <a:lnTo>
                      <a:pt x="143" y="256"/>
                    </a:lnTo>
                    <a:lnTo>
                      <a:pt x="141" y="258"/>
                    </a:lnTo>
                    <a:lnTo>
                      <a:pt x="141" y="256"/>
                    </a:lnTo>
                    <a:lnTo>
                      <a:pt x="139" y="258"/>
                    </a:lnTo>
                    <a:lnTo>
                      <a:pt x="139" y="260"/>
                    </a:lnTo>
                    <a:lnTo>
                      <a:pt x="141" y="260"/>
                    </a:lnTo>
                    <a:lnTo>
                      <a:pt x="141" y="262"/>
                    </a:lnTo>
                    <a:lnTo>
                      <a:pt x="139" y="262"/>
                    </a:lnTo>
                    <a:lnTo>
                      <a:pt x="139" y="263"/>
                    </a:lnTo>
                    <a:lnTo>
                      <a:pt x="137" y="263"/>
                    </a:lnTo>
                    <a:lnTo>
                      <a:pt x="137" y="265"/>
                    </a:lnTo>
                    <a:lnTo>
                      <a:pt x="139" y="263"/>
                    </a:lnTo>
                    <a:lnTo>
                      <a:pt x="139" y="265"/>
                    </a:lnTo>
                    <a:lnTo>
                      <a:pt x="139" y="267"/>
                    </a:lnTo>
                    <a:lnTo>
                      <a:pt x="137" y="267"/>
                    </a:lnTo>
                    <a:lnTo>
                      <a:pt x="139" y="269"/>
                    </a:lnTo>
                    <a:lnTo>
                      <a:pt x="139" y="271"/>
                    </a:lnTo>
                    <a:lnTo>
                      <a:pt x="139" y="269"/>
                    </a:lnTo>
                    <a:lnTo>
                      <a:pt x="139" y="271"/>
                    </a:lnTo>
                    <a:lnTo>
                      <a:pt x="137" y="271"/>
                    </a:lnTo>
                    <a:lnTo>
                      <a:pt x="137" y="273"/>
                    </a:lnTo>
                    <a:lnTo>
                      <a:pt x="135" y="273"/>
                    </a:lnTo>
                    <a:lnTo>
                      <a:pt x="135" y="275"/>
                    </a:lnTo>
                    <a:lnTo>
                      <a:pt x="133" y="277"/>
                    </a:lnTo>
                    <a:lnTo>
                      <a:pt x="131" y="275"/>
                    </a:lnTo>
                    <a:lnTo>
                      <a:pt x="131" y="273"/>
                    </a:lnTo>
                    <a:lnTo>
                      <a:pt x="131" y="271"/>
                    </a:lnTo>
                    <a:lnTo>
                      <a:pt x="129" y="269"/>
                    </a:lnTo>
                    <a:lnTo>
                      <a:pt x="127" y="267"/>
                    </a:lnTo>
                    <a:lnTo>
                      <a:pt x="127" y="265"/>
                    </a:lnTo>
                    <a:lnTo>
                      <a:pt x="126" y="263"/>
                    </a:lnTo>
                    <a:lnTo>
                      <a:pt x="126" y="265"/>
                    </a:lnTo>
                    <a:lnTo>
                      <a:pt x="126" y="260"/>
                    </a:lnTo>
                    <a:lnTo>
                      <a:pt x="124" y="260"/>
                    </a:lnTo>
                    <a:lnTo>
                      <a:pt x="124" y="258"/>
                    </a:lnTo>
                    <a:lnTo>
                      <a:pt x="122" y="256"/>
                    </a:lnTo>
                    <a:lnTo>
                      <a:pt x="120" y="256"/>
                    </a:lnTo>
                    <a:lnTo>
                      <a:pt x="120" y="254"/>
                    </a:lnTo>
                    <a:lnTo>
                      <a:pt x="118" y="254"/>
                    </a:lnTo>
                    <a:lnTo>
                      <a:pt x="118" y="252"/>
                    </a:lnTo>
                    <a:lnTo>
                      <a:pt x="116" y="252"/>
                    </a:lnTo>
                    <a:lnTo>
                      <a:pt x="114" y="250"/>
                    </a:lnTo>
                    <a:lnTo>
                      <a:pt x="114" y="248"/>
                    </a:lnTo>
                    <a:lnTo>
                      <a:pt x="114" y="250"/>
                    </a:lnTo>
                    <a:lnTo>
                      <a:pt x="114" y="248"/>
                    </a:lnTo>
                    <a:lnTo>
                      <a:pt x="112" y="248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0" y="244"/>
                    </a:lnTo>
                    <a:lnTo>
                      <a:pt x="110" y="242"/>
                    </a:lnTo>
                    <a:lnTo>
                      <a:pt x="110" y="241"/>
                    </a:lnTo>
                    <a:lnTo>
                      <a:pt x="108" y="239"/>
                    </a:lnTo>
                    <a:lnTo>
                      <a:pt x="107" y="239"/>
                    </a:lnTo>
                    <a:lnTo>
                      <a:pt x="107" y="237"/>
                    </a:lnTo>
                    <a:lnTo>
                      <a:pt x="107" y="235"/>
                    </a:lnTo>
                    <a:lnTo>
                      <a:pt x="107" y="233"/>
                    </a:lnTo>
                    <a:lnTo>
                      <a:pt x="107" y="231"/>
                    </a:lnTo>
                    <a:lnTo>
                      <a:pt x="105" y="231"/>
                    </a:lnTo>
                    <a:lnTo>
                      <a:pt x="105" y="229"/>
                    </a:lnTo>
                    <a:lnTo>
                      <a:pt x="105" y="227"/>
                    </a:lnTo>
                    <a:lnTo>
                      <a:pt x="103" y="227"/>
                    </a:lnTo>
                    <a:lnTo>
                      <a:pt x="103" y="225"/>
                    </a:lnTo>
                    <a:lnTo>
                      <a:pt x="103" y="223"/>
                    </a:lnTo>
                    <a:lnTo>
                      <a:pt x="101" y="223"/>
                    </a:lnTo>
                    <a:lnTo>
                      <a:pt x="101" y="221"/>
                    </a:lnTo>
                    <a:lnTo>
                      <a:pt x="101" y="220"/>
                    </a:lnTo>
                    <a:lnTo>
                      <a:pt x="99" y="220"/>
                    </a:lnTo>
                    <a:lnTo>
                      <a:pt x="97" y="220"/>
                    </a:lnTo>
                    <a:lnTo>
                      <a:pt x="97" y="218"/>
                    </a:lnTo>
                    <a:lnTo>
                      <a:pt x="97" y="216"/>
                    </a:lnTo>
                    <a:lnTo>
                      <a:pt x="95" y="216"/>
                    </a:lnTo>
                    <a:lnTo>
                      <a:pt x="93" y="214"/>
                    </a:lnTo>
                    <a:lnTo>
                      <a:pt x="91" y="214"/>
                    </a:lnTo>
                    <a:lnTo>
                      <a:pt x="91" y="212"/>
                    </a:lnTo>
                    <a:lnTo>
                      <a:pt x="89" y="212"/>
                    </a:lnTo>
                    <a:lnTo>
                      <a:pt x="89" y="210"/>
                    </a:lnTo>
                    <a:lnTo>
                      <a:pt x="87" y="210"/>
                    </a:lnTo>
                    <a:lnTo>
                      <a:pt x="87" y="212"/>
                    </a:lnTo>
                    <a:lnTo>
                      <a:pt x="87" y="210"/>
                    </a:lnTo>
                    <a:lnTo>
                      <a:pt x="86" y="210"/>
                    </a:lnTo>
                    <a:lnTo>
                      <a:pt x="87" y="212"/>
                    </a:lnTo>
                    <a:lnTo>
                      <a:pt x="86" y="210"/>
                    </a:lnTo>
                    <a:lnTo>
                      <a:pt x="84" y="208"/>
                    </a:lnTo>
                    <a:lnTo>
                      <a:pt x="82" y="208"/>
                    </a:lnTo>
                    <a:lnTo>
                      <a:pt x="82" y="206"/>
                    </a:lnTo>
                    <a:lnTo>
                      <a:pt x="80" y="204"/>
                    </a:lnTo>
                    <a:lnTo>
                      <a:pt x="80" y="202"/>
                    </a:lnTo>
                    <a:lnTo>
                      <a:pt x="78" y="202"/>
                    </a:lnTo>
                    <a:lnTo>
                      <a:pt x="80" y="202"/>
                    </a:lnTo>
                    <a:lnTo>
                      <a:pt x="78" y="200"/>
                    </a:lnTo>
                    <a:lnTo>
                      <a:pt x="78" y="202"/>
                    </a:lnTo>
                    <a:lnTo>
                      <a:pt x="78" y="200"/>
                    </a:lnTo>
                    <a:lnTo>
                      <a:pt x="76" y="200"/>
                    </a:lnTo>
                    <a:lnTo>
                      <a:pt x="76" y="199"/>
                    </a:lnTo>
                    <a:lnTo>
                      <a:pt x="76" y="197"/>
                    </a:lnTo>
                    <a:lnTo>
                      <a:pt x="74" y="197"/>
                    </a:lnTo>
                    <a:lnTo>
                      <a:pt x="74" y="195"/>
                    </a:lnTo>
                    <a:lnTo>
                      <a:pt x="74" y="193"/>
                    </a:lnTo>
                    <a:lnTo>
                      <a:pt x="74" y="191"/>
                    </a:lnTo>
                    <a:lnTo>
                      <a:pt x="74" y="189"/>
                    </a:lnTo>
                    <a:lnTo>
                      <a:pt x="72" y="187"/>
                    </a:lnTo>
                    <a:lnTo>
                      <a:pt x="74" y="187"/>
                    </a:lnTo>
                    <a:lnTo>
                      <a:pt x="74" y="185"/>
                    </a:lnTo>
                    <a:lnTo>
                      <a:pt x="74" y="187"/>
                    </a:lnTo>
                    <a:lnTo>
                      <a:pt x="72" y="187"/>
                    </a:lnTo>
                    <a:lnTo>
                      <a:pt x="72" y="185"/>
                    </a:lnTo>
                    <a:lnTo>
                      <a:pt x="72" y="183"/>
                    </a:lnTo>
                    <a:lnTo>
                      <a:pt x="72" y="185"/>
                    </a:lnTo>
                    <a:lnTo>
                      <a:pt x="70" y="183"/>
                    </a:lnTo>
                    <a:lnTo>
                      <a:pt x="72" y="183"/>
                    </a:lnTo>
                    <a:lnTo>
                      <a:pt x="72" y="181"/>
                    </a:lnTo>
                    <a:lnTo>
                      <a:pt x="72" y="183"/>
                    </a:lnTo>
                    <a:lnTo>
                      <a:pt x="70" y="183"/>
                    </a:lnTo>
                    <a:lnTo>
                      <a:pt x="70" y="181"/>
                    </a:lnTo>
                    <a:lnTo>
                      <a:pt x="70" y="183"/>
                    </a:lnTo>
                    <a:lnTo>
                      <a:pt x="70" y="181"/>
                    </a:lnTo>
                    <a:lnTo>
                      <a:pt x="72" y="181"/>
                    </a:lnTo>
                    <a:lnTo>
                      <a:pt x="70" y="181"/>
                    </a:lnTo>
                    <a:lnTo>
                      <a:pt x="72" y="181"/>
                    </a:lnTo>
                    <a:lnTo>
                      <a:pt x="72" y="179"/>
                    </a:lnTo>
                    <a:lnTo>
                      <a:pt x="72" y="178"/>
                    </a:lnTo>
                    <a:lnTo>
                      <a:pt x="74" y="176"/>
                    </a:lnTo>
                    <a:lnTo>
                      <a:pt x="72" y="176"/>
                    </a:lnTo>
                    <a:lnTo>
                      <a:pt x="74" y="176"/>
                    </a:lnTo>
                    <a:lnTo>
                      <a:pt x="72" y="176"/>
                    </a:lnTo>
                    <a:lnTo>
                      <a:pt x="74" y="176"/>
                    </a:lnTo>
                    <a:lnTo>
                      <a:pt x="74" y="174"/>
                    </a:lnTo>
                    <a:lnTo>
                      <a:pt x="74" y="176"/>
                    </a:lnTo>
                    <a:lnTo>
                      <a:pt x="72" y="174"/>
                    </a:lnTo>
                    <a:lnTo>
                      <a:pt x="72" y="172"/>
                    </a:lnTo>
                    <a:lnTo>
                      <a:pt x="72" y="170"/>
                    </a:lnTo>
                    <a:lnTo>
                      <a:pt x="72" y="168"/>
                    </a:lnTo>
                    <a:lnTo>
                      <a:pt x="70" y="166"/>
                    </a:lnTo>
                    <a:lnTo>
                      <a:pt x="72" y="166"/>
                    </a:lnTo>
                    <a:lnTo>
                      <a:pt x="70" y="166"/>
                    </a:lnTo>
                    <a:lnTo>
                      <a:pt x="70" y="164"/>
                    </a:lnTo>
                    <a:lnTo>
                      <a:pt x="68" y="164"/>
                    </a:lnTo>
                    <a:lnTo>
                      <a:pt x="68" y="162"/>
                    </a:lnTo>
                    <a:lnTo>
                      <a:pt x="68" y="160"/>
                    </a:lnTo>
                    <a:lnTo>
                      <a:pt x="68" y="162"/>
                    </a:lnTo>
                    <a:lnTo>
                      <a:pt x="68" y="160"/>
                    </a:lnTo>
                    <a:lnTo>
                      <a:pt x="66" y="160"/>
                    </a:lnTo>
                    <a:lnTo>
                      <a:pt x="66" y="158"/>
                    </a:lnTo>
                    <a:lnTo>
                      <a:pt x="66" y="160"/>
                    </a:lnTo>
                    <a:lnTo>
                      <a:pt x="66" y="158"/>
                    </a:lnTo>
                    <a:lnTo>
                      <a:pt x="66" y="157"/>
                    </a:lnTo>
                    <a:lnTo>
                      <a:pt x="66" y="155"/>
                    </a:lnTo>
                    <a:lnTo>
                      <a:pt x="65" y="155"/>
                    </a:lnTo>
                    <a:lnTo>
                      <a:pt x="65" y="153"/>
                    </a:lnTo>
                    <a:lnTo>
                      <a:pt x="63" y="151"/>
                    </a:lnTo>
                    <a:lnTo>
                      <a:pt x="61" y="149"/>
                    </a:lnTo>
                    <a:lnTo>
                      <a:pt x="61" y="147"/>
                    </a:lnTo>
                    <a:lnTo>
                      <a:pt x="61" y="149"/>
                    </a:lnTo>
                    <a:lnTo>
                      <a:pt x="61" y="147"/>
                    </a:lnTo>
                    <a:lnTo>
                      <a:pt x="59" y="149"/>
                    </a:lnTo>
                    <a:lnTo>
                      <a:pt x="59" y="147"/>
                    </a:lnTo>
                    <a:lnTo>
                      <a:pt x="57" y="145"/>
                    </a:lnTo>
                    <a:lnTo>
                      <a:pt x="55" y="145"/>
                    </a:lnTo>
                    <a:lnTo>
                      <a:pt x="55" y="143"/>
                    </a:lnTo>
                    <a:lnTo>
                      <a:pt x="55" y="145"/>
                    </a:lnTo>
                    <a:lnTo>
                      <a:pt x="53" y="145"/>
                    </a:lnTo>
                    <a:lnTo>
                      <a:pt x="53" y="143"/>
                    </a:lnTo>
                    <a:lnTo>
                      <a:pt x="51" y="143"/>
                    </a:lnTo>
                    <a:lnTo>
                      <a:pt x="51" y="141"/>
                    </a:lnTo>
                    <a:lnTo>
                      <a:pt x="49" y="141"/>
                    </a:lnTo>
                    <a:lnTo>
                      <a:pt x="49" y="143"/>
                    </a:lnTo>
                    <a:lnTo>
                      <a:pt x="49" y="141"/>
                    </a:lnTo>
                    <a:lnTo>
                      <a:pt x="47" y="141"/>
                    </a:lnTo>
                    <a:lnTo>
                      <a:pt x="47" y="139"/>
                    </a:lnTo>
                    <a:lnTo>
                      <a:pt x="45" y="137"/>
                    </a:lnTo>
                    <a:lnTo>
                      <a:pt x="45" y="136"/>
                    </a:lnTo>
                    <a:lnTo>
                      <a:pt x="44" y="134"/>
                    </a:lnTo>
                    <a:lnTo>
                      <a:pt x="42" y="132"/>
                    </a:lnTo>
                    <a:lnTo>
                      <a:pt x="44" y="132"/>
                    </a:lnTo>
                    <a:lnTo>
                      <a:pt x="44" y="130"/>
                    </a:lnTo>
                    <a:lnTo>
                      <a:pt x="44" y="128"/>
                    </a:lnTo>
                    <a:lnTo>
                      <a:pt x="44" y="126"/>
                    </a:lnTo>
                    <a:lnTo>
                      <a:pt x="42" y="124"/>
                    </a:lnTo>
                    <a:lnTo>
                      <a:pt x="42" y="122"/>
                    </a:lnTo>
                    <a:lnTo>
                      <a:pt x="40" y="120"/>
                    </a:lnTo>
                    <a:lnTo>
                      <a:pt x="40" y="118"/>
                    </a:lnTo>
                    <a:lnTo>
                      <a:pt x="38" y="118"/>
                    </a:lnTo>
                    <a:lnTo>
                      <a:pt x="38" y="117"/>
                    </a:lnTo>
                    <a:lnTo>
                      <a:pt x="36" y="117"/>
                    </a:lnTo>
                    <a:lnTo>
                      <a:pt x="38" y="117"/>
                    </a:lnTo>
                    <a:lnTo>
                      <a:pt x="36" y="117"/>
                    </a:lnTo>
                    <a:lnTo>
                      <a:pt x="36" y="115"/>
                    </a:lnTo>
                    <a:lnTo>
                      <a:pt x="34" y="115"/>
                    </a:lnTo>
                    <a:lnTo>
                      <a:pt x="36" y="113"/>
                    </a:lnTo>
                    <a:lnTo>
                      <a:pt x="36" y="111"/>
                    </a:lnTo>
                    <a:lnTo>
                      <a:pt x="34" y="111"/>
                    </a:lnTo>
                    <a:lnTo>
                      <a:pt x="32" y="111"/>
                    </a:lnTo>
                    <a:lnTo>
                      <a:pt x="32" y="109"/>
                    </a:lnTo>
                    <a:lnTo>
                      <a:pt x="32" y="107"/>
                    </a:lnTo>
                    <a:lnTo>
                      <a:pt x="30" y="105"/>
                    </a:lnTo>
                    <a:lnTo>
                      <a:pt x="28" y="103"/>
                    </a:lnTo>
                    <a:lnTo>
                      <a:pt x="28" y="101"/>
                    </a:lnTo>
                    <a:lnTo>
                      <a:pt x="26" y="99"/>
                    </a:lnTo>
                    <a:lnTo>
                      <a:pt x="25" y="96"/>
                    </a:lnTo>
                    <a:lnTo>
                      <a:pt x="23" y="94"/>
                    </a:lnTo>
                    <a:lnTo>
                      <a:pt x="21" y="92"/>
                    </a:lnTo>
                    <a:lnTo>
                      <a:pt x="21" y="90"/>
                    </a:lnTo>
                    <a:lnTo>
                      <a:pt x="21" y="88"/>
                    </a:lnTo>
                    <a:lnTo>
                      <a:pt x="19" y="88"/>
                    </a:lnTo>
                    <a:lnTo>
                      <a:pt x="17" y="86"/>
                    </a:lnTo>
                    <a:lnTo>
                      <a:pt x="17" y="84"/>
                    </a:lnTo>
                    <a:lnTo>
                      <a:pt x="17" y="82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3" y="80"/>
                    </a:lnTo>
                    <a:lnTo>
                      <a:pt x="13" y="78"/>
                    </a:lnTo>
                    <a:lnTo>
                      <a:pt x="13" y="76"/>
                    </a:lnTo>
                    <a:lnTo>
                      <a:pt x="11" y="76"/>
                    </a:lnTo>
                    <a:lnTo>
                      <a:pt x="11" y="75"/>
                    </a:lnTo>
                    <a:lnTo>
                      <a:pt x="9" y="75"/>
                    </a:lnTo>
                    <a:lnTo>
                      <a:pt x="7" y="75"/>
                    </a:lnTo>
                    <a:lnTo>
                      <a:pt x="9" y="75"/>
                    </a:lnTo>
                    <a:lnTo>
                      <a:pt x="7" y="75"/>
                    </a:lnTo>
                    <a:lnTo>
                      <a:pt x="5" y="75"/>
                    </a:lnTo>
                    <a:lnTo>
                      <a:pt x="4" y="75"/>
                    </a:lnTo>
                    <a:lnTo>
                      <a:pt x="4" y="73"/>
                    </a:lnTo>
                    <a:lnTo>
                      <a:pt x="4" y="75"/>
                    </a:lnTo>
                    <a:lnTo>
                      <a:pt x="2" y="75"/>
                    </a:lnTo>
                    <a:lnTo>
                      <a:pt x="4" y="75"/>
                    </a:lnTo>
                    <a:lnTo>
                      <a:pt x="2" y="75"/>
                    </a:lnTo>
                    <a:lnTo>
                      <a:pt x="2" y="76"/>
                    </a:lnTo>
                    <a:lnTo>
                      <a:pt x="2" y="75"/>
                    </a:lnTo>
                    <a:lnTo>
                      <a:pt x="2" y="73"/>
                    </a:lnTo>
                    <a:lnTo>
                      <a:pt x="4" y="73"/>
                    </a:lnTo>
                    <a:lnTo>
                      <a:pt x="2" y="73"/>
                    </a:lnTo>
                    <a:lnTo>
                      <a:pt x="4" y="73"/>
                    </a:lnTo>
                    <a:lnTo>
                      <a:pt x="4" y="71"/>
                    </a:lnTo>
                    <a:lnTo>
                      <a:pt x="5" y="67"/>
                    </a:lnTo>
                    <a:lnTo>
                      <a:pt x="5" y="63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5" y="57"/>
                    </a:lnTo>
                    <a:lnTo>
                      <a:pt x="7" y="54"/>
                    </a:lnTo>
                    <a:lnTo>
                      <a:pt x="7" y="52"/>
                    </a:lnTo>
                    <a:lnTo>
                      <a:pt x="25" y="54"/>
                    </a:lnTo>
                    <a:lnTo>
                      <a:pt x="30" y="50"/>
                    </a:lnTo>
                    <a:lnTo>
                      <a:pt x="32" y="48"/>
                    </a:lnTo>
                    <a:lnTo>
                      <a:pt x="34" y="44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47" y="40"/>
                    </a:lnTo>
                    <a:lnTo>
                      <a:pt x="51" y="33"/>
                    </a:lnTo>
                    <a:lnTo>
                      <a:pt x="55" y="31"/>
                    </a:lnTo>
                    <a:lnTo>
                      <a:pt x="40" y="12"/>
                    </a:lnTo>
                    <a:lnTo>
                      <a:pt x="45" y="10"/>
                    </a:lnTo>
                    <a:lnTo>
                      <a:pt x="47" y="10"/>
                    </a:lnTo>
                    <a:lnTo>
                      <a:pt x="53" y="8"/>
                    </a:lnTo>
                    <a:lnTo>
                      <a:pt x="57" y="6"/>
                    </a:lnTo>
                    <a:lnTo>
                      <a:pt x="72" y="2"/>
                    </a:lnTo>
                    <a:lnTo>
                      <a:pt x="74" y="0"/>
                    </a:lnTo>
                    <a:lnTo>
                      <a:pt x="95" y="4"/>
                    </a:lnTo>
                    <a:lnTo>
                      <a:pt x="110" y="13"/>
                    </a:lnTo>
                    <a:lnTo>
                      <a:pt x="120" y="19"/>
                    </a:lnTo>
                    <a:lnTo>
                      <a:pt x="124" y="21"/>
                    </a:lnTo>
                    <a:lnTo>
                      <a:pt x="127" y="25"/>
                    </a:lnTo>
                    <a:lnTo>
                      <a:pt x="139" y="34"/>
                    </a:lnTo>
                    <a:lnTo>
                      <a:pt x="162" y="54"/>
                    </a:lnTo>
                    <a:lnTo>
                      <a:pt x="164" y="55"/>
                    </a:lnTo>
                    <a:lnTo>
                      <a:pt x="166" y="55"/>
                    </a:lnTo>
                    <a:lnTo>
                      <a:pt x="190" y="57"/>
                    </a:lnTo>
                    <a:lnTo>
                      <a:pt x="192" y="55"/>
                    </a:lnTo>
                    <a:close/>
                    <a:moveTo>
                      <a:pt x="116" y="267"/>
                    </a:moveTo>
                    <a:lnTo>
                      <a:pt x="118" y="269"/>
                    </a:lnTo>
                    <a:lnTo>
                      <a:pt x="120" y="271"/>
                    </a:lnTo>
                    <a:lnTo>
                      <a:pt x="120" y="269"/>
                    </a:lnTo>
                    <a:lnTo>
                      <a:pt x="120" y="271"/>
                    </a:lnTo>
                    <a:lnTo>
                      <a:pt x="120" y="269"/>
                    </a:lnTo>
                    <a:lnTo>
                      <a:pt x="120" y="271"/>
                    </a:lnTo>
                    <a:lnTo>
                      <a:pt x="120" y="269"/>
                    </a:lnTo>
                    <a:lnTo>
                      <a:pt x="122" y="269"/>
                    </a:lnTo>
                    <a:lnTo>
                      <a:pt x="122" y="271"/>
                    </a:lnTo>
                    <a:lnTo>
                      <a:pt x="122" y="273"/>
                    </a:lnTo>
                    <a:lnTo>
                      <a:pt x="120" y="271"/>
                    </a:lnTo>
                    <a:lnTo>
                      <a:pt x="122" y="271"/>
                    </a:lnTo>
                    <a:lnTo>
                      <a:pt x="120" y="271"/>
                    </a:lnTo>
                    <a:lnTo>
                      <a:pt x="118" y="271"/>
                    </a:lnTo>
                    <a:lnTo>
                      <a:pt x="116" y="269"/>
                    </a:lnTo>
                    <a:lnTo>
                      <a:pt x="116" y="267"/>
                    </a:lnTo>
                    <a:close/>
                    <a:moveTo>
                      <a:pt x="118" y="267"/>
                    </a:moveTo>
                    <a:lnTo>
                      <a:pt x="120" y="267"/>
                    </a:lnTo>
                    <a:lnTo>
                      <a:pt x="120" y="269"/>
                    </a:lnTo>
                    <a:lnTo>
                      <a:pt x="118" y="269"/>
                    </a:lnTo>
                    <a:lnTo>
                      <a:pt x="120" y="269"/>
                    </a:lnTo>
                    <a:lnTo>
                      <a:pt x="118" y="269"/>
                    </a:lnTo>
                    <a:lnTo>
                      <a:pt x="116" y="267"/>
                    </a:lnTo>
                    <a:lnTo>
                      <a:pt x="118" y="267"/>
                    </a:lnTo>
                    <a:close/>
                    <a:moveTo>
                      <a:pt x="0" y="76"/>
                    </a:moveTo>
                    <a:lnTo>
                      <a:pt x="2" y="76"/>
                    </a:lnTo>
                    <a:lnTo>
                      <a:pt x="2" y="78"/>
                    </a:lnTo>
                    <a:lnTo>
                      <a:pt x="0" y="78"/>
                    </a:lnTo>
                    <a:lnTo>
                      <a:pt x="0" y="76"/>
                    </a:lnTo>
                    <a:close/>
                    <a:moveTo>
                      <a:pt x="240" y="88"/>
                    </a:moveTo>
                    <a:lnTo>
                      <a:pt x="242" y="88"/>
                    </a:lnTo>
                    <a:lnTo>
                      <a:pt x="240" y="88"/>
                    </a:lnTo>
                    <a:lnTo>
                      <a:pt x="240" y="90"/>
                    </a:lnTo>
                    <a:lnTo>
                      <a:pt x="240" y="88"/>
                    </a:lnTo>
                    <a:lnTo>
                      <a:pt x="238" y="88"/>
                    </a:lnTo>
                    <a:lnTo>
                      <a:pt x="238" y="90"/>
                    </a:lnTo>
                    <a:lnTo>
                      <a:pt x="238" y="88"/>
                    </a:lnTo>
                    <a:lnTo>
                      <a:pt x="240" y="88"/>
                    </a:lnTo>
                    <a:close/>
                    <a:moveTo>
                      <a:pt x="114" y="267"/>
                    </a:moveTo>
                    <a:lnTo>
                      <a:pt x="116" y="267"/>
                    </a:lnTo>
                    <a:lnTo>
                      <a:pt x="114" y="267"/>
                    </a:lnTo>
                    <a:close/>
                    <a:moveTo>
                      <a:pt x="238" y="88"/>
                    </a:moveTo>
                    <a:lnTo>
                      <a:pt x="240" y="88"/>
                    </a:lnTo>
                    <a:lnTo>
                      <a:pt x="240" y="90"/>
                    </a:lnTo>
                    <a:lnTo>
                      <a:pt x="238" y="90"/>
                    </a:lnTo>
                    <a:lnTo>
                      <a:pt x="238" y="88"/>
                    </a:lnTo>
                    <a:close/>
                    <a:moveTo>
                      <a:pt x="114" y="271"/>
                    </a:moveTo>
                    <a:lnTo>
                      <a:pt x="116" y="271"/>
                    </a:lnTo>
                    <a:lnTo>
                      <a:pt x="114" y="271"/>
                    </a:lnTo>
                    <a:close/>
                    <a:moveTo>
                      <a:pt x="4" y="76"/>
                    </a:moveTo>
                    <a:lnTo>
                      <a:pt x="4" y="78"/>
                    </a:lnTo>
                    <a:lnTo>
                      <a:pt x="4" y="76"/>
                    </a:lnTo>
                    <a:close/>
                    <a:moveTo>
                      <a:pt x="112" y="267"/>
                    </a:moveTo>
                    <a:lnTo>
                      <a:pt x="114" y="267"/>
                    </a:lnTo>
                    <a:lnTo>
                      <a:pt x="114" y="269"/>
                    </a:lnTo>
                    <a:lnTo>
                      <a:pt x="112" y="269"/>
                    </a:lnTo>
                    <a:lnTo>
                      <a:pt x="112" y="267"/>
                    </a:lnTo>
                    <a:close/>
                    <a:moveTo>
                      <a:pt x="87" y="212"/>
                    </a:moveTo>
                    <a:lnTo>
                      <a:pt x="89" y="212"/>
                    </a:lnTo>
                    <a:lnTo>
                      <a:pt x="91" y="212"/>
                    </a:lnTo>
                    <a:lnTo>
                      <a:pt x="89" y="212"/>
                    </a:lnTo>
                    <a:lnTo>
                      <a:pt x="87" y="212"/>
                    </a:lnTo>
                    <a:close/>
                    <a:moveTo>
                      <a:pt x="120" y="271"/>
                    </a:moveTo>
                    <a:lnTo>
                      <a:pt x="120" y="273"/>
                    </a:lnTo>
                    <a:lnTo>
                      <a:pt x="120" y="271"/>
                    </a:lnTo>
                    <a:close/>
                    <a:moveTo>
                      <a:pt x="40" y="120"/>
                    </a:moveTo>
                    <a:lnTo>
                      <a:pt x="40" y="122"/>
                    </a:lnTo>
                    <a:lnTo>
                      <a:pt x="40" y="120"/>
                    </a:lnTo>
                    <a:close/>
                    <a:moveTo>
                      <a:pt x="105" y="239"/>
                    </a:moveTo>
                    <a:lnTo>
                      <a:pt x="105" y="241"/>
                    </a:lnTo>
                    <a:lnTo>
                      <a:pt x="105" y="239"/>
                    </a:lnTo>
                    <a:close/>
                    <a:moveTo>
                      <a:pt x="38" y="118"/>
                    </a:moveTo>
                    <a:lnTo>
                      <a:pt x="38" y="120"/>
                    </a:lnTo>
                    <a:lnTo>
                      <a:pt x="38" y="118"/>
                    </a:lnTo>
                    <a:close/>
                    <a:moveTo>
                      <a:pt x="118" y="265"/>
                    </a:moveTo>
                    <a:lnTo>
                      <a:pt x="118" y="267"/>
                    </a:lnTo>
                    <a:lnTo>
                      <a:pt x="118" y="265"/>
                    </a:lnTo>
                    <a:close/>
                    <a:moveTo>
                      <a:pt x="116" y="265"/>
                    </a:moveTo>
                    <a:lnTo>
                      <a:pt x="116" y="267"/>
                    </a:lnTo>
                    <a:lnTo>
                      <a:pt x="116" y="265"/>
                    </a:lnTo>
                    <a:close/>
                    <a:moveTo>
                      <a:pt x="32" y="117"/>
                    </a:moveTo>
                    <a:lnTo>
                      <a:pt x="34" y="117"/>
                    </a:lnTo>
                    <a:lnTo>
                      <a:pt x="32" y="117"/>
                    </a:lnTo>
                    <a:close/>
                    <a:moveTo>
                      <a:pt x="38" y="120"/>
                    </a:moveTo>
                    <a:lnTo>
                      <a:pt x="40" y="120"/>
                    </a:lnTo>
                    <a:lnTo>
                      <a:pt x="38" y="120"/>
                    </a:lnTo>
                    <a:close/>
                    <a:moveTo>
                      <a:pt x="116" y="271"/>
                    </a:moveTo>
                    <a:lnTo>
                      <a:pt x="118" y="271"/>
                    </a:lnTo>
                    <a:lnTo>
                      <a:pt x="116" y="271"/>
                    </a:lnTo>
                    <a:close/>
                    <a:moveTo>
                      <a:pt x="112" y="267"/>
                    </a:moveTo>
                    <a:lnTo>
                      <a:pt x="114" y="267"/>
                    </a:lnTo>
                    <a:lnTo>
                      <a:pt x="114" y="269"/>
                    </a:lnTo>
                    <a:lnTo>
                      <a:pt x="112" y="269"/>
                    </a:lnTo>
                    <a:lnTo>
                      <a:pt x="112" y="267"/>
                    </a:lnTo>
                    <a:close/>
                    <a:moveTo>
                      <a:pt x="38" y="118"/>
                    </a:moveTo>
                    <a:lnTo>
                      <a:pt x="40" y="118"/>
                    </a:lnTo>
                    <a:lnTo>
                      <a:pt x="38" y="118"/>
                    </a:lnTo>
                    <a:close/>
                    <a:moveTo>
                      <a:pt x="118" y="263"/>
                    </a:moveTo>
                    <a:lnTo>
                      <a:pt x="118" y="265"/>
                    </a:lnTo>
                    <a:lnTo>
                      <a:pt x="118" y="263"/>
                    </a:lnTo>
                    <a:close/>
                    <a:moveTo>
                      <a:pt x="114" y="267"/>
                    </a:moveTo>
                    <a:lnTo>
                      <a:pt x="116" y="267"/>
                    </a:lnTo>
                    <a:lnTo>
                      <a:pt x="114" y="267"/>
                    </a:lnTo>
                    <a:close/>
                    <a:moveTo>
                      <a:pt x="9" y="80"/>
                    </a:moveTo>
                    <a:lnTo>
                      <a:pt x="11" y="80"/>
                    </a:lnTo>
                    <a:lnTo>
                      <a:pt x="9" y="80"/>
                    </a:lnTo>
                    <a:close/>
                    <a:moveTo>
                      <a:pt x="68" y="164"/>
                    </a:moveTo>
                    <a:lnTo>
                      <a:pt x="70" y="164"/>
                    </a:lnTo>
                    <a:lnTo>
                      <a:pt x="70" y="166"/>
                    </a:lnTo>
                    <a:lnTo>
                      <a:pt x="68" y="166"/>
                    </a:lnTo>
                    <a:lnTo>
                      <a:pt x="68" y="164"/>
                    </a:lnTo>
                    <a:close/>
                    <a:moveTo>
                      <a:pt x="126" y="269"/>
                    </a:moveTo>
                    <a:lnTo>
                      <a:pt x="127" y="269"/>
                    </a:lnTo>
                    <a:lnTo>
                      <a:pt x="126" y="269"/>
                    </a:lnTo>
                    <a:close/>
                    <a:moveTo>
                      <a:pt x="87" y="212"/>
                    </a:moveTo>
                    <a:lnTo>
                      <a:pt x="89" y="212"/>
                    </a:lnTo>
                    <a:lnTo>
                      <a:pt x="87" y="212"/>
                    </a:lnTo>
                    <a:close/>
                    <a:moveTo>
                      <a:pt x="42" y="126"/>
                    </a:moveTo>
                    <a:lnTo>
                      <a:pt x="44" y="126"/>
                    </a:lnTo>
                    <a:lnTo>
                      <a:pt x="42" y="126"/>
                    </a:lnTo>
                    <a:close/>
                    <a:moveTo>
                      <a:pt x="70" y="164"/>
                    </a:moveTo>
                    <a:lnTo>
                      <a:pt x="70" y="166"/>
                    </a:lnTo>
                    <a:lnTo>
                      <a:pt x="70" y="164"/>
                    </a:lnTo>
                    <a:close/>
                    <a:moveTo>
                      <a:pt x="118" y="263"/>
                    </a:moveTo>
                    <a:lnTo>
                      <a:pt x="118" y="265"/>
                    </a:lnTo>
                    <a:lnTo>
                      <a:pt x="118" y="26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2" name="Freeform 106">
                <a:extLst>
                  <a:ext uri="{FF2B5EF4-FFF2-40B4-BE49-F238E27FC236}">
                    <a16:creationId xmlns:a16="http://schemas.microsoft.com/office/drawing/2014/main" id="{168F6B70-9F35-1EDB-DCE9-E946BFB66B3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84826" y="-2586950"/>
                <a:ext cx="122894" cy="93135"/>
              </a:xfrm>
              <a:custGeom>
                <a:avLst/>
                <a:gdLst>
                  <a:gd name="T0" fmla="*/ 78 w 78"/>
                  <a:gd name="T1" fmla="*/ 11 h 59"/>
                  <a:gd name="T2" fmla="*/ 78 w 78"/>
                  <a:gd name="T3" fmla="*/ 19 h 59"/>
                  <a:gd name="T4" fmla="*/ 70 w 78"/>
                  <a:gd name="T5" fmla="*/ 21 h 59"/>
                  <a:gd name="T6" fmla="*/ 68 w 78"/>
                  <a:gd name="T7" fmla="*/ 25 h 59"/>
                  <a:gd name="T8" fmla="*/ 68 w 78"/>
                  <a:gd name="T9" fmla="*/ 32 h 59"/>
                  <a:gd name="T10" fmla="*/ 66 w 78"/>
                  <a:gd name="T11" fmla="*/ 34 h 59"/>
                  <a:gd name="T12" fmla="*/ 62 w 78"/>
                  <a:gd name="T13" fmla="*/ 47 h 59"/>
                  <a:gd name="T14" fmla="*/ 57 w 78"/>
                  <a:gd name="T15" fmla="*/ 59 h 59"/>
                  <a:gd name="T16" fmla="*/ 1 w 78"/>
                  <a:gd name="T17" fmla="*/ 28 h 59"/>
                  <a:gd name="T18" fmla="*/ 3 w 78"/>
                  <a:gd name="T19" fmla="*/ 32 h 59"/>
                  <a:gd name="T20" fmla="*/ 11 w 78"/>
                  <a:gd name="T21" fmla="*/ 36 h 59"/>
                  <a:gd name="T22" fmla="*/ 20 w 78"/>
                  <a:gd name="T23" fmla="*/ 34 h 59"/>
                  <a:gd name="T24" fmla="*/ 24 w 78"/>
                  <a:gd name="T25" fmla="*/ 32 h 59"/>
                  <a:gd name="T26" fmla="*/ 30 w 78"/>
                  <a:gd name="T27" fmla="*/ 34 h 59"/>
                  <a:gd name="T28" fmla="*/ 36 w 78"/>
                  <a:gd name="T29" fmla="*/ 34 h 59"/>
                  <a:gd name="T30" fmla="*/ 43 w 78"/>
                  <a:gd name="T31" fmla="*/ 32 h 59"/>
                  <a:gd name="T32" fmla="*/ 40 w 78"/>
                  <a:gd name="T33" fmla="*/ 32 h 59"/>
                  <a:gd name="T34" fmla="*/ 47 w 78"/>
                  <a:gd name="T35" fmla="*/ 30 h 59"/>
                  <a:gd name="T36" fmla="*/ 49 w 78"/>
                  <a:gd name="T37" fmla="*/ 25 h 59"/>
                  <a:gd name="T38" fmla="*/ 51 w 78"/>
                  <a:gd name="T39" fmla="*/ 23 h 59"/>
                  <a:gd name="T40" fmla="*/ 53 w 78"/>
                  <a:gd name="T41" fmla="*/ 21 h 59"/>
                  <a:gd name="T42" fmla="*/ 55 w 78"/>
                  <a:gd name="T43" fmla="*/ 17 h 59"/>
                  <a:gd name="T44" fmla="*/ 61 w 78"/>
                  <a:gd name="T45" fmla="*/ 13 h 59"/>
                  <a:gd name="T46" fmla="*/ 61 w 78"/>
                  <a:gd name="T47" fmla="*/ 13 h 59"/>
                  <a:gd name="T48" fmla="*/ 62 w 78"/>
                  <a:gd name="T49" fmla="*/ 11 h 59"/>
                  <a:gd name="T50" fmla="*/ 64 w 78"/>
                  <a:gd name="T51" fmla="*/ 9 h 59"/>
                  <a:gd name="T52" fmla="*/ 66 w 78"/>
                  <a:gd name="T53" fmla="*/ 7 h 59"/>
                  <a:gd name="T54" fmla="*/ 70 w 78"/>
                  <a:gd name="T55" fmla="*/ 4 h 59"/>
                  <a:gd name="T56" fmla="*/ 74 w 78"/>
                  <a:gd name="T57" fmla="*/ 0 h 59"/>
                  <a:gd name="T58" fmla="*/ 76 w 78"/>
                  <a:gd name="T59" fmla="*/ 13 h 59"/>
                  <a:gd name="T60" fmla="*/ 38 w 78"/>
                  <a:gd name="T61" fmla="*/ 30 h 59"/>
                  <a:gd name="T62" fmla="*/ 38 w 78"/>
                  <a:gd name="T63" fmla="*/ 34 h 59"/>
                  <a:gd name="T64" fmla="*/ 34 w 78"/>
                  <a:gd name="T65" fmla="*/ 34 h 59"/>
                  <a:gd name="T66" fmla="*/ 45 w 78"/>
                  <a:gd name="T67" fmla="*/ 26 h 59"/>
                  <a:gd name="T68" fmla="*/ 43 w 78"/>
                  <a:gd name="T69" fmla="*/ 28 h 59"/>
                  <a:gd name="T70" fmla="*/ 19 w 78"/>
                  <a:gd name="T71" fmla="*/ 28 h 59"/>
                  <a:gd name="T72" fmla="*/ 43 w 78"/>
                  <a:gd name="T73" fmla="*/ 32 h 59"/>
                  <a:gd name="T74" fmla="*/ 47 w 78"/>
                  <a:gd name="T75" fmla="*/ 28 h 59"/>
                  <a:gd name="T76" fmla="*/ 24 w 78"/>
                  <a:gd name="T77" fmla="*/ 32 h 59"/>
                  <a:gd name="T78" fmla="*/ 28 w 78"/>
                  <a:gd name="T79" fmla="*/ 32 h 59"/>
                  <a:gd name="T80" fmla="*/ 43 w 78"/>
                  <a:gd name="T81" fmla="*/ 30 h 59"/>
                  <a:gd name="T82" fmla="*/ 49 w 78"/>
                  <a:gd name="T83" fmla="*/ 28 h 59"/>
                  <a:gd name="T84" fmla="*/ 45 w 78"/>
                  <a:gd name="T85" fmla="*/ 28 h 59"/>
                  <a:gd name="T86" fmla="*/ 43 w 78"/>
                  <a:gd name="T87" fmla="*/ 13 h 59"/>
                  <a:gd name="T88" fmla="*/ 64 w 78"/>
                  <a:gd name="T89" fmla="*/ 7 h 59"/>
                  <a:gd name="T90" fmla="*/ 59 w 78"/>
                  <a:gd name="T91" fmla="*/ 13 h 59"/>
                  <a:gd name="T92" fmla="*/ 55 w 78"/>
                  <a:gd name="T93" fmla="*/ 17 h 59"/>
                  <a:gd name="T94" fmla="*/ 49 w 78"/>
                  <a:gd name="T95" fmla="*/ 25 h 59"/>
                  <a:gd name="T96" fmla="*/ 57 w 78"/>
                  <a:gd name="T97" fmla="*/ 15 h 59"/>
                  <a:gd name="T98" fmla="*/ 45 w 78"/>
                  <a:gd name="T99" fmla="*/ 30 h 59"/>
                  <a:gd name="T100" fmla="*/ 28 w 78"/>
                  <a:gd name="T101" fmla="*/ 26 h 59"/>
                  <a:gd name="T102" fmla="*/ 51 w 78"/>
                  <a:gd name="T103" fmla="*/ 25 h 59"/>
                  <a:gd name="T104" fmla="*/ 1 w 78"/>
                  <a:gd name="T105" fmla="*/ 28 h 59"/>
                  <a:gd name="T106" fmla="*/ 45 w 78"/>
                  <a:gd name="T107" fmla="*/ 26 h 59"/>
                  <a:gd name="T108" fmla="*/ 45 w 78"/>
                  <a:gd name="T109" fmla="*/ 28 h 59"/>
                  <a:gd name="T110" fmla="*/ 57 w 78"/>
                  <a:gd name="T111" fmla="*/ 15 h 59"/>
                  <a:gd name="T112" fmla="*/ 38 w 78"/>
                  <a:gd name="T113" fmla="*/ 32 h 59"/>
                  <a:gd name="T114" fmla="*/ 64 w 78"/>
                  <a:gd name="T115" fmla="*/ 7 h 59"/>
                  <a:gd name="T116" fmla="*/ 64 w 78"/>
                  <a:gd name="T117" fmla="*/ 7 h 59"/>
                  <a:gd name="T118" fmla="*/ 41 w 78"/>
                  <a:gd name="T119" fmla="*/ 28 h 59"/>
                  <a:gd name="T120" fmla="*/ 17 w 78"/>
                  <a:gd name="T121" fmla="*/ 3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59">
                    <a:moveTo>
                      <a:pt x="76" y="7"/>
                    </a:moveTo>
                    <a:lnTo>
                      <a:pt x="78" y="9"/>
                    </a:lnTo>
                    <a:lnTo>
                      <a:pt x="78" y="11"/>
                    </a:lnTo>
                    <a:lnTo>
                      <a:pt x="76" y="11"/>
                    </a:lnTo>
                    <a:lnTo>
                      <a:pt x="78" y="13"/>
                    </a:lnTo>
                    <a:lnTo>
                      <a:pt x="78" y="11"/>
                    </a:lnTo>
                    <a:lnTo>
                      <a:pt x="78" y="13"/>
                    </a:lnTo>
                    <a:lnTo>
                      <a:pt x="78" y="15"/>
                    </a:lnTo>
                    <a:lnTo>
                      <a:pt x="78" y="17"/>
                    </a:lnTo>
                    <a:lnTo>
                      <a:pt x="78" y="19"/>
                    </a:lnTo>
                    <a:lnTo>
                      <a:pt x="78" y="17"/>
                    </a:lnTo>
                    <a:lnTo>
                      <a:pt x="78" y="19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4" y="21"/>
                    </a:lnTo>
                    <a:lnTo>
                      <a:pt x="74" y="23"/>
                    </a:lnTo>
                    <a:lnTo>
                      <a:pt x="72" y="23"/>
                    </a:lnTo>
                    <a:lnTo>
                      <a:pt x="70" y="21"/>
                    </a:lnTo>
                    <a:lnTo>
                      <a:pt x="72" y="21"/>
                    </a:lnTo>
                    <a:lnTo>
                      <a:pt x="72" y="19"/>
                    </a:lnTo>
                    <a:lnTo>
                      <a:pt x="70" y="19"/>
                    </a:lnTo>
                    <a:lnTo>
                      <a:pt x="68" y="19"/>
                    </a:lnTo>
                    <a:lnTo>
                      <a:pt x="68" y="21"/>
                    </a:lnTo>
                    <a:lnTo>
                      <a:pt x="68" y="25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68" y="30"/>
                    </a:lnTo>
                    <a:lnTo>
                      <a:pt x="68" y="32"/>
                    </a:lnTo>
                    <a:lnTo>
                      <a:pt x="66" y="32"/>
                    </a:lnTo>
                    <a:lnTo>
                      <a:pt x="68" y="32"/>
                    </a:lnTo>
                    <a:lnTo>
                      <a:pt x="70" y="32"/>
                    </a:lnTo>
                    <a:lnTo>
                      <a:pt x="72" y="34"/>
                    </a:lnTo>
                    <a:lnTo>
                      <a:pt x="70" y="34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66" y="34"/>
                    </a:lnTo>
                    <a:lnTo>
                      <a:pt x="62" y="36"/>
                    </a:lnTo>
                    <a:lnTo>
                      <a:pt x="64" y="38"/>
                    </a:lnTo>
                    <a:lnTo>
                      <a:pt x="64" y="40"/>
                    </a:lnTo>
                    <a:lnTo>
                      <a:pt x="64" y="42"/>
                    </a:lnTo>
                    <a:lnTo>
                      <a:pt x="62" y="46"/>
                    </a:lnTo>
                    <a:lnTo>
                      <a:pt x="62" y="47"/>
                    </a:lnTo>
                    <a:lnTo>
                      <a:pt x="62" y="46"/>
                    </a:lnTo>
                    <a:lnTo>
                      <a:pt x="59" y="51"/>
                    </a:lnTo>
                    <a:lnTo>
                      <a:pt x="59" y="53"/>
                    </a:lnTo>
                    <a:lnTo>
                      <a:pt x="59" y="57"/>
                    </a:lnTo>
                    <a:lnTo>
                      <a:pt x="59" y="59"/>
                    </a:lnTo>
                    <a:lnTo>
                      <a:pt x="57" y="59"/>
                    </a:lnTo>
                    <a:lnTo>
                      <a:pt x="30" y="55"/>
                    </a:lnTo>
                    <a:lnTo>
                      <a:pt x="17" y="55"/>
                    </a:lnTo>
                    <a:lnTo>
                      <a:pt x="1" y="34"/>
                    </a:lnTo>
                    <a:lnTo>
                      <a:pt x="1" y="32"/>
                    </a:lnTo>
                    <a:lnTo>
                      <a:pt x="1" y="30"/>
                    </a:lnTo>
                    <a:lnTo>
                      <a:pt x="1" y="28"/>
                    </a:lnTo>
                    <a:lnTo>
                      <a:pt x="1" y="30"/>
                    </a:lnTo>
                    <a:lnTo>
                      <a:pt x="1" y="32"/>
                    </a:lnTo>
                    <a:lnTo>
                      <a:pt x="1" y="30"/>
                    </a:lnTo>
                    <a:lnTo>
                      <a:pt x="3" y="32"/>
                    </a:lnTo>
                    <a:lnTo>
                      <a:pt x="3" y="30"/>
                    </a:lnTo>
                    <a:lnTo>
                      <a:pt x="3" y="32"/>
                    </a:lnTo>
                    <a:lnTo>
                      <a:pt x="3" y="34"/>
                    </a:lnTo>
                    <a:lnTo>
                      <a:pt x="3" y="36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9" y="36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15" y="34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9" y="34"/>
                    </a:lnTo>
                    <a:lnTo>
                      <a:pt x="20" y="34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40" y="34"/>
                    </a:lnTo>
                    <a:lnTo>
                      <a:pt x="41" y="34"/>
                    </a:lnTo>
                    <a:lnTo>
                      <a:pt x="40" y="32"/>
                    </a:lnTo>
                    <a:lnTo>
                      <a:pt x="41" y="34"/>
                    </a:lnTo>
                    <a:lnTo>
                      <a:pt x="43" y="32"/>
                    </a:lnTo>
                    <a:lnTo>
                      <a:pt x="41" y="32"/>
                    </a:lnTo>
                    <a:lnTo>
                      <a:pt x="40" y="32"/>
                    </a:lnTo>
                    <a:lnTo>
                      <a:pt x="41" y="32"/>
                    </a:lnTo>
                    <a:lnTo>
                      <a:pt x="40" y="32"/>
                    </a:lnTo>
                    <a:lnTo>
                      <a:pt x="41" y="32"/>
                    </a:lnTo>
                    <a:lnTo>
                      <a:pt x="40" y="32"/>
                    </a:lnTo>
                    <a:lnTo>
                      <a:pt x="41" y="32"/>
                    </a:lnTo>
                    <a:lnTo>
                      <a:pt x="41" y="30"/>
                    </a:lnTo>
                    <a:lnTo>
                      <a:pt x="43" y="32"/>
                    </a:lnTo>
                    <a:lnTo>
                      <a:pt x="45" y="32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47" y="28"/>
                    </a:lnTo>
                    <a:lnTo>
                      <a:pt x="49" y="28"/>
                    </a:lnTo>
                    <a:lnTo>
                      <a:pt x="49" y="26"/>
                    </a:lnTo>
                    <a:lnTo>
                      <a:pt x="49" y="25"/>
                    </a:lnTo>
                    <a:lnTo>
                      <a:pt x="51" y="25"/>
                    </a:lnTo>
                    <a:lnTo>
                      <a:pt x="49" y="25"/>
                    </a:lnTo>
                    <a:lnTo>
                      <a:pt x="49" y="23"/>
                    </a:lnTo>
                    <a:lnTo>
                      <a:pt x="51" y="23"/>
                    </a:lnTo>
                    <a:lnTo>
                      <a:pt x="49" y="23"/>
                    </a:lnTo>
                    <a:lnTo>
                      <a:pt x="51" y="23"/>
                    </a:lnTo>
                    <a:lnTo>
                      <a:pt x="49" y="23"/>
                    </a:lnTo>
                    <a:lnTo>
                      <a:pt x="51" y="23"/>
                    </a:lnTo>
                    <a:lnTo>
                      <a:pt x="51" y="21"/>
                    </a:lnTo>
                    <a:lnTo>
                      <a:pt x="51" y="23"/>
                    </a:lnTo>
                    <a:lnTo>
                      <a:pt x="51" y="21"/>
                    </a:lnTo>
                    <a:lnTo>
                      <a:pt x="51" y="23"/>
                    </a:lnTo>
                    <a:lnTo>
                      <a:pt x="51" y="21"/>
                    </a:lnTo>
                    <a:lnTo>
                      <a:pt x="53" y="21"/>
                    </a:lnTo>
                    <a:lnTo>
                      <a:pt x="55" y="19"/>
                    </a:lnTo>
                    <a:lnTo>
                      <a:pt x="53" y="19"/>
                    </a:lnTo>
                    <a:lnTo>
                      <a:pt x="55" y="19"/>
                    </a:lnTo>
                    <a:lnTo>
                      <a:pt x="55" y="17"/>
                    </a:lnTo>
                    <a:lnTo>
                      <a:pt x="55" y="19"/>
                    </a:lnTo>
                    <a:lnTo>
                      <a:pt x="55" y="17"/>
                    </a:lnTo>
                    <a:lnTo>
                      <a:pt x="55" y="19"/>
                    </a:lnTo>
                    <a:lnTo>
                      <a:pt x="57" y="19"/>
                    </a:lnTo>
                    <a:lnTo>
                      <a:pt x="57" y="17"/>
                    </a:lnTo>
                    <a:lnTo>
                      <a:pt x="59" y="15"/>
                    </a:lnTo>
                    <a:lnTo>
                      <a:pt x="59" y="13"/>
                    </a:lnTo>
                    <a:lnTo>
                      <a:pt x="61" y="13"/>
                    </a:lnTo>
                    <a:lnTo>
                      <a:pt x="59" y="13"/>
                    </a:lnTo>
                    <a:lnTo>
                      <a:pt x="61" y="13"/>
                    </a:lnTo>
                    <a:lnTo>
                      <a:pt x="59" y="13"/>
                    </a:lnTo>
                    <a:lnTo>
                      <a:pt x="61" y="13"/>
                    </a:lnTo>
                    <a:lnTo>
                      <a:pt x="61" y="15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62" y="11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2" y="9"/>
                    </a:lnTo>
                    <a:lnTo>
                      <a:pt x="64" y="7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4" y="7"/>
                    </a:lnTo>
                    <a:lnTo>
                      <a:pt x="66" y="7"/>
                    </a:lnTo>
                    <a:lnTo>
                      <a:pt x="66" y="6"/>
                    </a:lnTo>
                    <a:lnTo>
                      <a:pt x="66" y="7"/>
                    </a:lnTo>
                    <a:lnTo>
                      <a:pt x="68" y="6"/>
                    </a:lnTo>
                    <a:lnTo>
                      <a:pt x="70" y="4"/>
                    </a:lnTo>
                    <a:lnTo>
                      <a:pt x="70" y="6"/>
                    </a:lnTo>
                    <a:lnTo>
                      <a:pt x="70" y="4"/>
                    </a:lnTo>
                    <a:lnTo>
                      <a:pt x="72" y="4"/>
                    </a:lnTo>
                    <a:lnTo>
                      <a:pt x="72" y="2"/>
                    </a:lnTo>
                    <a:lnTo>
                      <a:pt x="72" y="4"/>
                    </a:lnTo>
                    <a:lnTo>
                      <a:pt x="72" y="2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4" y="2"/>
                    </a:lnTo>
                    <a:lnTo>
                      <a:pt x="74" y="4"/>
                    </a:lnTo>
                    <a:lnTo>
                      <a:pt x="74" y="7"/>
                    </a:lnTo>
                    <a:lnTo>
                      <a:pt x="76" y="7"/>
                    </a:lnTo>
                    <a:close/>
                    <a:moveTo>
                      <a:pt x="74" y="13"/>
                    </a:moveTo>
                    <a:lnTo>
                      <a:pt x="76" y="13"/>
                    </a:lnTo>
                    <a:lnTo>
                      <a:pt x="76" y="15"/>
                    </a:lnTo>
                    <a:lnTo>
                      <a:pt x="74" y="15"/>
                    </a:lnTo>
                    <a:lnTo>
                      <a:pt x="74" y="13"/>
                    </a:lnTo>
                    <a:close/>
                    <a:moveTo>
                      <a:pt x="38" y="30"/>
                    </a:moveTo>
                    <a:lnTo>
                      <a:pt x="38" y="32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6" y="34"/>
                    </a:lnTo>
                    <a:lnTo>
                      <a:pt x="34" y="32"/>
                    </a:lnTo>
                    <a:lnTo>
                      <a:pt x="34" y="34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8" y="30"/>
                    </a:lnTo>
                    <a:close/>
                    <a:moveTo>
                      <a:pt x="45" y="26"/>
                    </a:moveTo>
                    <a:lnTo>
                      <a:pt x="45" y="28"/>
                    </a:lnTo>
                    <a:lnTo>
                      <a:pt x="47" y="28"/>
                    </a:lnTo>
                    <a:lnTo>
                      <a:pt x="45" y="28"/>
                    </a:lnTo>
                    <a:lnTo>
                      <a:pt x="47" y="28"/>
                    </a:lnTo>
                    <a:lnTo>
                      <a:pt x="45" y="28"/>
                    </a:lnTo>
                    <a:lnTo>
                      <a:pt x="43" y="28"/>
                    </a:lnTo>
                    <a:lnTo>
                      <a:pt x="45" y="28"/>
                    </a:lnTo>
                    <a:lnTo>
                      <a:pt x="43" y="26"/>
                    </a:lnTo>
                    <a:lnTo>
                      <a:pt x="45" y="28"/>
                    </a:lnTo>
                    <a:lnTo>
                      <a:pt x="45" y="26"/>
                    </a:lnTo>
                    <a:close/>
                    <a:moveTo>
                      <a:pt x="17" y="28"/>
                    </a:moveTo>
                    <a:lnTo>
                      <a:pt x="19" y="28"/>
                    </a:lnTo>
                    <a:lnTo>
                      <a:pt x="19" y="32"/>
                    </a:lnTo>
                    <a:lnTo>
                      <a:pt x="17" y="32"/>
                    </a:lnTo>
                    <a:lnTo>
                      <a:pt x="17" y="28"/>
                    </a:lnTo>
                    <a:close/>
                    <a:moveTo>
                      <a:pt x="41" y="30"/>
                    </a:moveTo>
                    <a:lnTo>
                      <a:pt x="43" y="30"/>
                    </a:lnTo>
                    <a:lnTo>
                      <a:pt x="43" y="32"/>
                    </a:lnTo>
                    <a:lnTo>
                      <a:pt x="41" y="32"/>
                    </a:lnTo>
                    <a:lnTo>
                      <a:pt x="41" y="30"/>
                    </a:lnTo>
                    <a:close/>
                    <a:moveTo>
                      <a:pt x="47" y="26"/>
                    </a:moveTo>
                    <a:lnTo>
                      <a:pt x="49" y="26"/>
                    </a:lnTo>
                    <a:lnTo>
                      <a:pt x="49" y="28"/>
                    </a:lnTo>
                    <a:lnTo>
                      <a:pt x="47" y="28"/>
                    </a:lnTo>
                    <a:lnTo>
                      <a:pt x="47" y="26"/>
                    </a:lnTo>
                    <a:close/>
                    <a:moveTo>
                      <a:pt x="24" y="32"/>
                    </a:moveTo>
                    <a:lnTo>
                      <a:pt x="26" y="32"/>
                    </a:lnTo>
                    <a:lnTo>
                      <a:pt x="26" y="34"/>
                    </a:lnTo>
                    <a:lnTo>
                      <a:pt x="24" y="34"/>
                    </a:lnTo>
                    <a:lnTo>
                      <a:pt x="24" y="32"/>
                    </a:lnTo>
                    <a:close/>
                    <a:moveTo>
                      <a:pt x="13" y="26"/>
                    </a:moveTo>
                    <a:lnTo>
                      <a:pt x="13" y="28"/>
                    </a:lnTo>
                    <a:lnTo>
                      <a:pt x="13" y="26"/>
                    </a:lnTo>
                    <a:close/>
                    <a:moveTo>
                      <a:pt x="26" y="30"/>
                    </a:moveTo>
                    <a:lnTo>
                      <a:pt x="28" y="30"/>
                    </a:lnTo>
                    <a:lnTo>
                      <a:pt x="28" y="32"/>
                    </a:lnTo>
                    <a:lnTo>
                      <a:pt x="26" y="32"/>
                    </a:lnTo>
                    <a:lnTo>
                      <a:pt x="26" y="30"/>
                    </a:lnTo>
                    <a:close/>
                    <a:moveTo>
                      <a:pt x="43" y="28"/>
                    </a:moveTo>
                    <a:lnTo>
                      <a:pt x="45" y="28"/>
                    </a:lnTo>
                    <a:lnTo>
                      <a:pt x="45" y="30"/>
                    </a:lnTo>
                    <a:lnTo>
                      <a:pt x="43" y="30"/>
                    </a:lnTo>
                    <a:lnTo>
                      <a:pt x="43" y="28"/>
                    </a:lnTo>
                    <a:close/>
                    <a:moveTo>
                      <a:pt x="45" y="26"/>
                    </a:moveTo>
                    <a:lnTo>
                      <a:pt x="47" y="26"/>
                    </a:lnTo>
                    <a:lnTo>
                      <a:pt x="45" y="26"/>
                    </a:lnTo>
                    <a:close/>
                    <a:moveTo>
                      <a:pt x="49" y="26"/>
                    </a:moveTo>
                    <a:lnTo>
                      <a:pt x="49" y="28"/>
                    </a:lnTo>
                    <a:lnTo>
                      <a:pt x="49" y="26"/>
                    </a:lnTo>
                    <a:close/>
                    <a:moveTo>
                      <a:pt x="45" y="28"/>
                    </a:moveTo>
                    <a:lnTo>
                      <a:pt x="47" y="28"/>
                    </a:lnTo>
                    <a:lnTo>
                      <a:pt x="47" y="30"/>
                    </a:lnTo>
                    <a:lnTo>
                      <a:pt x="45" y="30"/>
                    </a:lnTo>
                    <a:lnTo>
                      <a:pt x="45" y="28"/>
                    </a:lnTo>
                    <a:close/>
                    <a:moveTo>
                      <a:pt x="41" y="28"/>
                    </a:moveTo>
                    <a:lnTo>
                      <a:pt x="43" y="28"/>
                    </a:lnTo>
                    <a:lnTo>
                      <a:pt x="43" y="30"/>
                    </a:lnTo>
                    <a:lnTo>
                      <a:pt x="41" y="30"/>
                    </a:lnTo>
                    <a:lnTo>
                      <a:pt x="41" y="28"/>
                    </a:lnTo>
                    <a:close/>
                    <a:moveTo>
                      <a:pt x="43" y="13"/>
                    </a:moveTo>
                    <a:lnTo>
                      <a:pt x="43" y="15"/>
                    </a:lnTo>
                    <a:lnTo>
                      <a:pt x="43" y="13"/>
                    </a:lnTo>
                    <a:close/>
                    <a:moveTo>
                      <a:pt x="47" y="28"/>
                    </a:moveTo>
                    <a:lnTo>
                      <a:pt x="49" y="28"/>
                    </a:lnTo>
                    <a:lnTo>
                      <a:pt x="47" y="28"/>
                    </a:lnTo>
                    <a:close/>
                    <a:moveTo>
                      <a:pt x="64" y="7"/>
                    </a:moveTo>
                    <a:lnTo>
                      <a:pt x="66" y="7"/>
                    </a:lnTo>
                    <a:lnTo>
                      <a:pt x="64" y="7"/>
                    </a:lnTo>
                    <a:close/>
                    <a:moveTo>
                      <a:pt x="45" y="26"/>
                    </a:moveTo>
                    <a:lnTo>
                      <a:pt x="45" y="28"/>
                    </a:lnTo>
                    <a:lnTo>
                      <a:pt x="45" y="26"/>
                    </a:lnTo>
                    <a:close/>
                    <a:moveTo>
                      <a:pt x="59" y="13"/>
                    </a:moveTo>
                    <a:lnTo>
                      <a:pt x="59" y="15"/>
                    </a:lnTo>
                    <a:lnTo>
                      <a:pt x="59" y="13"/>
                    </a:lnTo>
                    <a:close/>
                    <a:moveTo>
                      <a:pt x="47" y="25"/>
                    </a:moveTo>
                    <a:lnTo>
                      <a:pt x="49" y="25"/>
                    </a:lnTo>
                    <a:lnTo>
                      <a:pt x="47" y="25"/>
                    </a:lnTo>
                    <a:close/>
                    <a:moveTo>
                      <a:pt x="55" y="17"/>
                    </a:moveTo>
                    <a:lnTo>
                      <a:pt x="55" y="19"/>
                    </a:lnTo>
                    <a:lnTo>
                      <a:pt x="55" y="17"/>
                    </a:lnTo>
                    <a:close/>
                    <a:moveTo>
                      <a:pt x="51" y="21"/>
                    </a:moveTo>
                    <a:lnTo>
                      <a:pt x="51" y="23"/>
                    </a:lnTo>
                    <a:lnTo>
                      <a:pt x="51" y="21"/>
                    </a:lnTo>
                    <a:close/>
                    <a:moveTo>
                      <a:pt x="49" y="25"/>
                    </a:moveTo>
                    <a:lnTo>
                      <a:pt x="49" y="26"/>
                    </a:lnTo>
                    <a:lnTo>
                      <a:pt x="49" y="25"/>
                    </a:lnTo>
                    <a:close/>
                    <a:moveTo>
                      <a:pt x="47" y="26"/>
                    </a:moveTo>
                    <a:lnTo>
                      <a:pt x="49" y="26"/>
                    </a:lnTo>
                    <a:lnTo>
                      <a:pt x="47" y="26"/>
                    </a:lnTo>
                    <a:close/>
                    <a:moveTo>
                      <a:pt x="57" y="15"/>
                    </a:moveTo>
                    <a:lnTo>
                      <a:pt x="57" y="17"/>
                    </a:lnTo>
                    <a:lnTo>
                      <a:pt x="57" y="15"/>
                    </a:lnTo>
                    <a:close/>
                    <a:moveTo>
                      <a:pt x="45" y="26"/>
                    </a:moveTo>
                    <a:lnTo>
                      <a:pt x="45" y="28"/>
                    </a:lnTo>
                    <a:lnTo>
                      <a:pt x="45" y="26"/>
                    </a:lnTo>
                    <a:close/>
                    <a:moveTo>
                      <a:pt x="45" y="30"/>
                    </a:moveTo>
                    <a:lnTo>
                      <a:pt x="45" y="32"/>
                    </a:lnTo>
                    <a:lnTo>
                      <a:pt x="45" y="30"/>
                    </a:lnTo>
                    <a:close/>
                    <a:moveTo>
                      <a:pt x="3" y="25"/>
                    </a:moveTo>
                    <a:lnTo>
                      <a:pt x="3" y="26"/>
                    </a:lnTo>
                    <a:lnTo>
                      <a:pt x="3" y="25"/>
                    </a:lnTo>
                    <a:close/>
                    <a:moveTo>
                      <a:pt x="28" y="26"/>
                    </a:moveTo>
                    <a:lnTo>
                      <a:pt x="30" y="26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26"/>
                    </a:lnTo>
                    <a:close/>
                    <a:moveTo>
                      <a:pt x="49" y="25"/>
                    </a:moveTo>
                    <a:lnTo>
                      <a:pt x="51" y="25"/>
                    </a:lnTo>
                    <a:lnTo>
                      <a:pt x="49" y="25"/>
                    </a:lnTo>
                    <a:close/>
                    <a:moveTo>
                      <a:pt x="49" y="21"/>
                    </a:moveTo>
                    <a:lnTo>
                      <a:pt x="49" y="23"/>
                    </a:lnTo>
                    <a:lnTo>
                      <a:pt x="49" y="21"/>
                    </a:lnTo>
                    <a:close/>
                    <a:moveTo>
                      <a:pt x="0" y="28"/>
                    </a:moveTo>
                    <a:lnTo>
                      <a:pt x="1" y="28"/>
                    </a:lnTo>
                    <a:lnTo>
                      <a:pt x="0" y="28"/>
                    </a:lnTo>
                    <a:close/>
                    <a:moveTo>
                      <a:pt x="45" y="26"/>
                    </a:moveTo>
                    <a:lnTo>
                      <a:pt x="47" y="26"/>
                    </a:lnTo>
                    <a:lnTo>
                      <a:pt x="47" y="28"/>
                    </a:lnTo>
                    <a:lnTo>
                      <a:pt x="45" y="28"/>
                    </a:lnTo>
                    <a:lnTo>
                      <a:pt x="45" y="26"/>
                    </a:lnTo>
                    <a:close/>
                    <a:moveTo>
                      <a:pt x="20" y="15"/>
                    </a:moveTo>
                    <a:lnTo>
                      <a:pt x="22" y="15"/>
                    </a:lnTo>
                    <a:lnTo>
                      <a:pt x="20" y="15"/>
                    </a:lnTo>
                    <a:close/>
                    <a:moveTo>
                      <a:pt x="45" y="28"/>
                    </a:moveTo>
                    <a:lnTo>
                      <a:pt x="45" y="30"/>
                    </a:lnTo>
                    <a:lnTo>
                      <a:pt x="45" y="28"/>
                    </a:lnTo>
                    <a:close/>
                    <a:moveTo>
                      <a:pt x="40" y="32"/>
                    </a:moveTo>
                    <a:lnTo>
                      <a:pt x="40" y="34"/>
                    </a:lnTo>
                    <a:lnTo>
                      <a:pt x="40" y="32"/>
                    </a:lnTo>
                    <a:close/>
                    <a:moveTo>
                      <a:pt x="57" y="15"/>
                    </a:moveTo>
                    <a:lnTo>
                      <a:pt x="57" y="17"/>
                    </a:lnTo>
                    <a:lnTo>
                      <a:pt x="57" y="15"/>
                    </a:lnTo>
                    <a:close/>
                    <a:moveTo>
                      <a:pt x="45" y="30"/>
                    </a:moveTo>
                    <a:lnTo>
                      <a:pt x="47" y="30"/>
                    </a:lnTo>
                    <a:lnTo>
                      <a:pt x="47" y="32"/>
                    </a:lnTo>
                    <a:lnTo>
                      <a:pt x="45" y="32"/>
                    </a:lnTo>
                    <a:lnTo>
                      <a:pt x="45" y="30"/>
                    </a:lnTo>
                    <a:close/>
                    <a:moveTo>
                      <a:pt x="38" y="32"/>
                    </a:moveTo>
                    <a:lnTo>
                      <a:pt x="38" y="34"/>
                    </a:lnTo>
                    <a:lnTo>
                      <a:pt x="38" y="32"/>
                    </a:lnTo>
                    <a:close/>
                    <a:moveTo>
                      <a:pt x="36" y="30"/>
                    </a:moveTo>
                    <a:lnTo>
                      <a:pt x="38" y="30"/>
                    </a:lnTo>
                    <a:lnTo>
                      <a:pt x="36" y="30"/>
                    </a:lnTo>
                    <a:close/>
                    <a:moveTo>
                      <a:pt x="64" y="7"/>
                    </a:moveTo>
                    <a:lnTo>
                      <a:pt x="64" y="9"/>
                    </a:lnTo>
                    <a:lnTo>
                      <a:pt x="64" y="7"/>
                    </a:lnTo>
                    <a:close/>
                    <a:moveTo>
                      <a:pt x="28" y="25"/>
                    </a:moveTo>
                    <a:lnTo>
                      <a:pt x="28" y="26"/>
                    </a:lnTo>
                    <a:lnTo>
                      <a:pt x="28" y="25"/>
                    </a:lnTo>
                    <a:close/>
                    <a:moveTo>
                      <a:pt x="64" y="7"/>
                    </a:moveTo>
                    <a:lnTo>
                      <a:pt x="66" y="7"/>
                    </a:lnTo>
                    <a:lnTo>
                      <a:pt x="64" y="7"/>
                    </a:lnTo>
                    <a:close/>
                    <a:moveTo>
                      <a:pt x="57" y="15"/>
                    </a:moveTo>
                    <a:lnTo>
                      <a:pt x="57" y="17"/>
                    </a:lnTo>
                    <a:lnTo>
                      <a:pt x="57" y="15"/>
                    </a:lnTo>
                    <a:close/>
                    <a:moveTo>
                      <a:pt x="41" y="28"/>
                    </a:moveTo>
                    <a:lnTo>
                      <a:pt x="43" y="28"/>
                    </a:lnTo>
                    <a:lnTo>
                      <a:pt x="41" y="28"/>
                    </a:lnTo>
                    <a:close/>
                    <a:moveTo>
                      <a:pt x="24" y="25"/>
                    </a:moveTo>
                    <a:lnTo>
                      <a:pt x="24" y="26"/>
                    </a:lnTo>
                    <a:lnTo>
                      <a:pt x="24" y="25"/>
                    </a:lnTo>
                    <a:close/>
                    <a:moveTo>
                      <a:pt x="17" y="30"/>
                    </a:moveTo>
                    <a:lnTo>
                      <a:pt x="19" y="30"/>
                    </a:lnTo>
                    <a:lnTo>
                      <a:pt x="17" y="30"/>
                    </a:lnTo>
                    <a:close/>
                    <a:moveTo>
                      <a:pt x="68" y="6"/>
                    </a:moveTo>
                    <a:lnTo>
                      <a:pt x="70" y="6"/>
                    </a:lnTo>
                    <a:lnTo>
                      <a:pt x="6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3" name="Freeform 107">
                <a:extLst>
                  <a:ext uri="{FF2B5EF4-FFF2-40B4-BE49-F238E27FC236}">
                    <a16:creationId xmlns:a16="http://schemas.microsoft.com/office/drawing/2014/main" id="{416C10BE-FA7B-8672-883D-06FC5ECE703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65914" y="-2590107"/>
                <a:ext cx="20484" cy="47357"/>
              </a:xfrm>
              <a:custGeom>
                <a:avLst/>
                <a:gdLst>
                  <a:gd name="T0" fmla="*/ 6 w 13"/>
                  <a:gd name="T1" fmla="*/ 30 h 30"/>
                  <a:gd name="T2" fmla="*/ 2 w 13"/>
                  <a:gd name="T3" fmla="*/ 28 h 30"/>
                  <a:gd name="T4" fmla="*/ 2 w 13"/>
                  <a:gd name="T5" fmla="*/ 25 h 30"/>
                  <a:gd name="T6" fmla="*/ 0 w 13"/>
                  <a:gd name="T7" fmla="*/ 21 h 30"/>
                  <a:gd name="T8" fmla="*/ 0 w 13"/>
                  <a:gd name="T9" fmla="*/ 15 h 30"/>
                  <a:gd name="T10" fmla="*/ 0 w 13"/>
                  <a:gd name="T11" fmla="*/ 11 h 30"/>
                  <a:gd name="T12" fmla="*/ 0 w 13"/>
                  <a:gd name="T13" fmla="*/ 11 h 30"/>
                  <a:gd name="T14" fmla="*/ 2 w 13"/>
                  <a:gd name="T15" fmla="*/ 9 h 30"/>
                  <a:gd name="T16" fmla="*/ 2 w 13"/>
                  <a:gd name="T17" fmla="*/ 9 h 30"/>
                  <a:gd name="T18" fmla="*/ 2 w 13"/>
                  <a:gd name="T19" fmla="*/ 9 h 30"/>
                  <a:gd name="T20" fmla="*/ 2 w 13"/>
                  <a:gd name="T21" fmla="*/ 9 h 30"/>
                  <a:gd name="T22" fmla="*/ 2 w 13"/>
                  <a:gd name="T23" fmla="*/ 6 h 30"/>
                  <a:gd name="T24" fmla="*/ 4 w 13"/>
                  <a:gd name="T25" fmla="*/ 8 h 30"/>
                  <a:gd name="T26" fmla="*/ 2 w 13"/>
                  <a:gd name="T27" fmla="*/ 6 h 30"/>
                  <a:gd name="T28" fmla="*/ 4 w 13"/>
                  <a:gd name="T29" fmla="*/ 4 h 30"/>
                  <a:gd name="T30" fmla="*/ 6 w 13"/>
                  <a:gd name="T31" fmla="*/ 2 h 30"/>
                  <a:gd name="T32" fmla="*/ 8 w 13"/>
                  <a:gd name="T33" fmla="*/ 0 h 30"/>
                  <a:gd name="T34" fmla="*/ 10 w 13"/>
                  <a:gd name="T35" fmla="*/ 4 h 30"/>
                  <a:gd name="T36" fmla="*/ 13 w 13"/>
                  <a:gd name="T37" fmla="*/ 4 h 30"/>
                  <a:gd name="T38" fmla="*/ 13 w 13"/>
                  <a:gd name="T39" fmla="*/ 4 h 30"/>
                  <a:gd name="T40" fmla="*/ 13 w 13"/>
                  <a:gd name="T41" fmla="*/ 8 h 30"/>
                  <a:gd name="T42" fmla="*/ 13 w 13"/>
                  <a:gd name="T43" fmla="*/ 8 h 30"/>
                  <a:gd name="T44" fmla="*/ 13 w 13"/>
                  <a:gd name="T45" fmla="*/ 8 h 30"/>
                  <a:gd name="T46" fmla="*/ 13 w 13"/>
                  <a:gd name="T47" fmla="*/ 8 h 30"/>
                  <a:gd name="T48" fmla="*/ 12 w 13"/>
                  <a:gd name="T49" fmla="*/ 9 h 30"/>
                  <a:gd name="T50" fmla="*/ 12 w 13"/>
                  <a:gd name="T51" fmla="*/ 13 h 30"/>
                  <a:gd name="T52" fmla="*/ 13 w 13"/>
                  <a:gd name="T53" fmla="*/ 15 h 30"/>
                  <a:gd name="T54" fmla="*/ 13 w 13"/>
                  <a:gd name="T55" fmla="*/ 19 h 30"/>
                  <a:gd name="T56" fmla="*/ 13 w 13"/>
                  <a:gd name="T57" fmla="*/ 23 h 30"/>
                  <a:gd name="T58" fmla="*/ 12 w 13"/>
                  <a:gd name="T59" fmla="*/ 25 h 30"/>
                  <a:gd name="T60" fmla="*/ 12 w 13"/>
                  <a:gd name="T61" fmla="*/ 25 h 30"/>
                  <a:gd name="T62" fmla="*/ 10 w 13"/>
                  <a:gd name="T63" fmla="*/ 28 h 30"/>
                  <a:gd name="T64" fmla="*/ 8 w 13"/>
                  <a:gd name="T65" fmla="*/ 27 h 30"/>
                  <a:gd name="T66" fmla="*/ 12 w 13"/>
                  <a:gd name="T67" fmla="*/ 13 h 30"/>
                  <a:gd name="T68" fmla="*/ 12 w 13"/>
                  <a:gd name="T6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" h="30">
                    <a:moveTo>
                      <a:pt x="8" y="28"/>
                    </a:moveTo>
                    <a:lnTo>
                      <a:pt x="6" y="30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2" y="8"/>
                    </a:lnTo>
                    <a:lnTo>
                      <a:pt x="13" y="8"/>
                    </a:lnTo>
                    <a:lnTo>
                      <a:pt x="12" y="8"/>
                    </a:lnTo>
                    <a:lnTo>
                      <a:pt x="13" y="8"/>
                    </a:lnTo>
                    <a:lnTo>
                      <a:pt x="12" y="8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2" y="13"/>
                    </a:lnTo>
                    <a:lnTo>
                      <a:pt x="12" y="15"/>
                    </a:lnTo>
                    <a:lnTo>
                      <a:pt x="13" y="15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13" y="21"/>
                    </a:lnTo>
                    <a:lnTo>
                      <a:pt x="13" y="23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0" y="27"/>
                    </a:lnTo>
                    <a:lnTo>
                      <a:pt x="10" y="28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8" y="28"/>
                    </a:lnTo>
                    <a:close/>
                    <a:moveTo>
                      <a:pt x="12" y="13"/>
                    </a:moveTo>
                    <a:lnTo>
                      <a:pt x="13" y="13"/>
                    </a:lnTo>
                    <a:lnTo>
                      <a:pt x="12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4" name="Freeform 108">
                <a:extLst>
                  <a:ext uri="{FF2B5EF4-FFF2-40B4-BE49-F238E27FC236}">
                    <a16:creationId xmlns:a16="http://schemas.microsoft.com/office/drawing/2014/main" id="{88DE50A6-9E0B-B6E8-EEC3-62B534DDA93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56462" y="-2596423"/>
                <a:ext cx="9453" cy="20521"/>
              </a:xfrm>
              <a:custGeom>
                <a:avLst/>
                <a:gdLst>
                  <a:gd name="T0" fmla="*/ 2 w 6"/>
                  <a:gd name="T1" fmla="*/ 2 h 13"/>
                  <a:gd name="T2" fmla="*/ 4 w 6"/>
                  <a:gd name="T3" fmla="*/ 2 h 13"/>
                  <a:gd name="T4" fmla="*/ 4 w 6"/>
                  <a:gd name="T5" fmla="*/ 4 h 13"/>
                  <a:gd name="T6" fmla="*/ 2 w 6"/>
                  <a:gd name="T7" fmla="*/ 4 h 13"/>
                  <a:gd name="T8" fmla="*/ 4 w 6"/>
                  <a:gd name="T9" fmla="*/ 4 h 13"/>
                  <a:gd name="T10" fmla="*/ 4 w 6"/>
                  <a:gd name="T11" fmla="*/ 6 h 13"/>
                  <a:gd name="T12" fmla="*/ 4 w 6"/>
                  <a:gd name="T13" fmla="*/ 8 h 13"/>
                  <a:gd name="T14" fmla="*/ 4 w 6"/>
                  <a:gd name="T15" fmla="*/ 10 h 13"/>
                  <a:gd name="T16" fmla="*/ 2 w 6"/>
                  <a:gd name="T17" fmla="*/ 10 h 13"/>
                  <a:gd name="T18" fmla="*/ 2 w 6"/>
                  <a:gd name="T19" fmla="*/ 8 h 13"/>
                  <a:gd name="T20" fmla="*/ 0 w 6"/>
                  <a:gd name="T21" fmla="*/ 8 h 13"/>
                  <a:gd name="T22" fmla="*/ 2 w 6"/>
                  <a:gd name="T23" fmla="*/ 6 h 13"/>
                  <a:gd name="T24" fmla="*/ 0 w 6"/>
                  <a:gd name="T25" fmla="*/ 6 h 13"/>
                  <a:gd name="T26" fmla="*/ 0 w 6"/>
                  <a:gd name="T27" fmla="*/ 4 h 13"/>
                  <a:gd name="T28" fmla="*/ 0 w 6"/>
                  <a:gd name="T29" fmla="*/ 2 h 13"/>
                  <a:gd name="T30" fmla="*/ 2 w 6"/>
                  <a:gd name="T31" fmla="*/ 2 h 13"/>
                  <a:gd name="T32" fmla="*/ 2 w 6"/>
                  <a:gd name="T33" fmla="*/ 0 h 13"/>
                  <a:gd name="T34" fmla="*/ 4 w 6"/>
                  <a:gd name="T35" fmla="*/ 0 h 13"/>
                  <a:gd name="T36" fmla="*/ 4 w 6"/>
                  <a:gd name="T37" fmla="*/ 4 h 13"/>
                  <a:gd name="T38" fmla="*/ 2 w 6"/>
                  <a:gd name="T39" fmla="*/ 4 h 13"/>
                  <a:gd name="T40" fmla="*/ 2 w 6"/>
                  <a:gd name="T41" fmla="*/ 0 h 13"/>
                  <a:gd name="T42" fmla="*/ 6 w 6"/>
                  <a:gd name="T43" fmla="*/ 12 h 13"/>
                  <a:gd name="T44" fmla="*/ 6 w 6"/>
                  <a:gd name="T45" fmla="*/ 13 h 13"/>
                  <a:gd name="T46" fmla="*/ 6 w 6"/>
                  <a:gd name="T47" fmla="*/ 12 h 13"/>
                  <a:gd name="T48" fmla="*/ 2 w 6"/>
                  <a:gd name="T49" fmla="*/ 4 h 13"/>
                  <a:gd name="T50" fmla="*/ 4 w 6"/>
                  <a:gd name="T51" fmla="*/ 4 h 13"/>
                  <a:gd name="T52" fmla="*/ 2 w 6"/>
                  <a:gd name="T53" fmla="*/ 4 h 13"/>
                  <a:gd name="T54" fmla="*/ 0 w 6"/>
                  <a:gd name="T55" fmla="*/ 2 h 13"/>
                  <a:gd name="T56" fmla="*/ 2 w 6"/>
                  <a:gd name="T57" fmla="*/ 2 h 13"/>
                  <a:gd name="T58" fmla="*/ 0 w 6"/>
                  <a:gd name="T59" fmla="*/ 2 h 13"/>
                  <a:gd name="T60" fmla="*/ 6 w 6"/>
                  <a:gd name="T61" fmla="*/ 12 h 13"/>
                  <a:gd name="T62" fmla="*/ 6 w 6"/>
                  <a:gd name="T63" fmla="*/ 13 h 13"/>
                  <a:gd name="T64" fmla="*/ 6 w 6"/>
                  <a:gd name="T6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" h="13">
                    <a:moveTo>
                      <a:pt x="2" y="2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  <a:moveTo>
                      <a:pt x="2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  <a:moveTo>
                      <a:pt x="6" y="12"/>
                    </a:moveTo>
                    <a:lnTo>
                      <a:pt x="6" y="13"/>
                    </a:lnTo>
                    <a:lnTo>
                      <a:pt x="6" y="12"/>
                    </a:lnTo>
                    <a:close/>
                    <a:moveTo>
                      <a:pt x="2" y="4"/>
                    </a:moveTo>
                    <a:lnTo>
                      <a:pt x="4" y="4"/>
                    </a:lnTo>
                    <a:lnTo>
                      <a:pt x="2" y="4"/>
                    </a:lnTo>
                    <a:close/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close/>
                    <a:moveTo>
                      <a:pt x="6" y="12"/>
                    </a:moveTo>
                    <a:lnTo>
                      <a:pt x="6" y="13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5" name="Freeform 109">
                <a:extLst>
                  <a:ext uri="{FF2B5EF4-FFF2-40B4-BE49-F238E27FC236}">
                    <a16:creationId xmlns:a16="http://schemas.microsoft.com/office/drawing/2014/main" id="{9F393EB2-4095-65F5-43E6-CFE20E52915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60353" y="-2702183"/>
                <a:ext cx="45690" cy="45779"/>
              </a:xfrm>
              <a:custGeom>
                <a:avLst/>
                <a:gdLst>
                  <a:gd name="T0" fmla="*/ 17 w 29"/>
                  <a:gd name="T1" fmla="*/ 29 h 29"/>
                  <a:gd name="T2" fmla="*/ 16 w 29"/>
                  <a:gd name="T3" fmla="*/ 23 h 29"/>
                  <a:gd name="T4" fmla="*/ 0 w 29"/>
                  <a:gd name="T5" fmla="*/ 17 h 29"/>
                  <a:gd name="T6" fmla="*/ 4 w 29"/>
                  <a:gd name="T7" fmla="*/ 12 h 29"/>
                  <a:gd name="T8" fmla="*/ 6 w 29"/>
                  <a:gd name="T9" fmla="*/ 8 h 29"/>
                  <a:gd name="T10" fmla="*/ 10 w 29"/>
                  <a:gd name="T11" fmla="*/ 2 h 29"/>
                  <a:gd name="T12" fmla="*/ 17 w 29"/>
                  <a:gd name="T13" fmla="*/ 0 h 29"/>
                  <a:gd name="T14" fmla="*/ 23 w 29"/>
                  <a:gd name="T15" fmla="*/ 2 h 29"/>
                  <a:gd name="T16" fmla="*/ 23 w 29"/>
                  <a:gd name="T17" fmla="*/ 6 h 29"/>
                  <a:gd name="T18" fmla="*/ 25 w 29"/>
                  <a:gd name="T19" fmla="*/ 8 h 29"/>
                  <a:gd name="T20" fmla="*/ 23 w 29"/>
                  <a:gd name="T21" fmla="*/ 10 h 29"/>
                  <a:gd name="T22" fmla="*/ 19 w 29"/>
                  <a:gd name="T23" fmla="*/ 12 h 29"/>
                  <a:gd name="T24" fmla="*/ 17 w 29"/>
                  <a:gd name="T25" fmla="*/ 14 h 29"/>
                  <a:gd name="T26" fmla="*/ 21 w 29"/>
                  <a:gd name="T27" fmla="*/ 14 h 29"/>
                  <a:gd name="T28" fmla="*/ 21 w 29"/>
                  <a:gd name="T29" fmla="*/ 14 h 29"/>
                  <a:gd name="T30" fmla="*/ 25 w 29"/>
                  <a:gd name="T31" fmla="*/ 14 h 29"/>
                  <a:gd name="T32" fmla="*/ 25 w 29"/>
                  <a:gd name="T33" fmla="*/ 17 h 29"/>
                  <a:gd name="T34" fmla="*/ 27 w 29"/>
                  <a:gd name="T35" fmla="*/ 21 h 29"/>
                  <a:gd name="T36" fmla="*/ 29 w 29"/>
                  <a:gd name="T37" fmla="*/ 25 h 29"/>
                  <a:gd name="T38" fmla="*/ 29 w 29"/>
                  <a:gd name="T39" fmla="*/ 25 h 29"/>
                  <a:gd name="T40" fmla="*/ 29 w 29"/>
                  <a:gd name="T41" fmla="*/ 29 h 29"/>
                  <a:gd name="T42" fmla="*/ 27 w 29"/>
                  <a:gd name="T43" fmla="*/ 2 h 29"/>
                  <a:gd name="T44" fmla="*/ 29 w 29"/>
                  <a:gd name="T45" fmla="*/ 6 h 29"/>
                  <a:gd name="T46" fmla="*/ 27 w 29"/>
                  <a:gd name="T47" fmla="*/ 10 h 29"/>
                  <a:gd name="T48" fmla="*/ 25 w 29"/>
                  <a:gd name="T49" fmla="*/ 8 h 29"/>
                  <a:gd name="T50" fmla="*/ 23 w 29"/>
                  <a:gd name="T51" fmla="*/ 6 h 29"/>
                  <a:gd name="T52" fmla="*/ 25 w 29"/>
                  <a:gd name="T53" fmla="*/ 4 h 29"/>
                  <a:gd name="T54" fmla="*/ 25 w 29"/>
                  <a:gd name="T55" fmla="*/ 2 h 29"/>
                  <a:gd name="T56" fmla="*/ 25 w 29"/>
                  <a:gd name="T57" fmla="*/ 2 h 29"/>
                  <a:gd name="T58" fmla="*/ 25 w 29"/>
                  <a:gd name="T59" fmla="*/ 2 h 29"/>
                  <a:gd name="T60" fmla="*/ 29 w 29"/>
                  <a:gd name="T61" fmla="*/ 12 h 29"/>
                  <a:gd name="T62" fmla="*/ 27 w 29"/>
                  <a:gd name="T63" fmla="*/ 14 h 29"/>
                  <a:gd name="T64" fmla="*/ 23 w 29"/>
                  <a:gd name="T65" fmla="*/ 2 h 29"/>
                  <a:gd name="T66" fmla="*/ 25 w 29"/>
                  <a:gd name="T67" fmla="*/ 4 h 29"/>
                  <a:gd name="T68" fmla="*/ 23 w 29"/>
                  <a:gd name="T69" fmla="*/ 2 h 29"/>
                  <a:gd name="T70" fmla="*/ 25 w 29"/>
                  <a:gd name="T71" fmla="*/ 2 h 29"/>
                  <a:gd name="T72" fmla="*/ 23 w 29"/>
                  <a:gd name="T73" fmla="*/ 4 h 29"/>
                  <a:gd name="T74" fmla="*/ 23 w 29"/>
                  <a:gd name="T75" fmla="*/ 4 h 29"/>
                  <a:gd name="T76" fmla="*/ 23 w 29"/>
                  <a:gd name="T77" fmla="*/ 6 h 29"/>
                  <a:gd name="T78" fmla="*/ 23 w 29"/>
                  <a:gd name="T79" fmla="*/ 4 h 29"/>
                  <a:gd name="T80" fmla="*/ 23 w 29"/>
                  <a:gd name="T81" fmla="*/ 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" h="29">
                    <a:moveTo>
                      <a:pt x="29" y="29"/>
                    </a:moveTo>
                    <a:lnTo>
                      <a:pt x="17" y="29"/>
                    </a:lnTo>
                    <a:lnTo>
                      <a:pt x="17" y="27"/>
                    </a:lnTo>
                    <a:lnTo>
                      <a:pt x="16" y="23"/>
                    </a:lnTo>
                    <a:lnTo>
                      <a:pt x="14" y="19"/>
                    </a:lnTo>
                    <a:lnTo>
                      <a:pt x="0" y="17"/>
                    </a:lnTo>
                    <a:lnTo>
                      <a:pt x="2" y="16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5" y="10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5" y="17"/>
                    </a:lnTo>
                    <a:lnTo>
                      <a:pt x="25" y="19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29" y="29"/>
                    </a:lnTo>
                    <a:close/>
                    <a:moveTo>
                      <a:pt x="25" y="2"/>
                    </a:moveTo>
                    <a:lnTo>
                      <a:pt x="27" y="2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29" y="8"/>
                    </a:lnTo>
                    <a:lnTo>
                      <a:pt x="27" y="10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7" y="2"/>
                    </a:lnTo>
                    <a:lnTo>
                      <a:pt x="25" y="2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25" y="4"/>
                    </a:lnTo>
                    <a:lnTo>
                      <a:pt x="25" y="2"/>
                    </a:lnTo>
                    <a:close/>
                    <a:moveTo>
                      <a:pt x="27" y="12"/>
                    </a:moveTo>
                    <a:lnTo>
                      <a:pt x="29" y="12"/>
                    </a:lnTo>
                    <a:lnTo>
                      <a:pt x="29" y="14"/>
                    </a:lnTo>
                    <a:lnTo>
                      <a:pt x="27" y="14"/>
                    </a:lnTo>
                    <a:lnTo>
                      <a:pt x="27" y="12"/>
                    </a:lnTo>
                    <a:close/>
                    <a:moveTo>
                      <a:pt x="23" y="2"/>
                    </a:moveTo>
                    <a:lnTo>
                      <a:pt x="25" y="2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3" y="2"/>
                    </a:lnTo>
                    <a:close/>
                    <a:moveTo>
                      <a:pt x="23" y="2"/>
                    </a:moveTo>
                    <a:lnTo>
                      <a:pt x="25" y="2"/>
                    </a:lnTo>
                    <a:lnTo>
                      <a:pt x="23" y="2"/>
                    </a:lnTo>
                    <a:close/>
                    <a:moveTo>
                      <a:pt x="23" y="4"/>
                    </a:moveTo>
                    <a:lnTo>
                      <a:pt x="25" y="4"/>
                    </a:lnTo>
                    <a:lnTo>
                      <a:pt x="23" y="4"/>
                    </a:lnTo>
                    <a:close/>
                    <a:moveTo>
                      <a:pt x="23" y="4"/>
                    </a:moveTo>
                    <a:lnTo>
                      <a:pt x="23" y="6"/>
                    </a:lnTo>
                    <a:lnTo>
                      <a:pt x="23" y="4"/>
                    </a:lnTo>
                    <a:close/>
                    <a:moveTo>
                      <a:pt x="23" y="4"/>
                    </a:moveTo>
                    <a:lnTo>
                      <a:pt x="23" y="6"/>
                    </a:lnTo>
                    <a:lnTo>
                      <a:pt x="23" y="4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6" name="Freeform 110">
                <a:extLst>
                  <a:ext uri="{FF2B5EF4-FFF2-40B4-BE49-F238E27FC236}">
                    <a16:creationId xmlns:a16="http://schemas.microsoft.com/office/drawing/2014/main" id="{66B203FA-B425-2C9B-6B7C-8952F635425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97327" y="-3000527"/>
                <a:ext cx="483705" cy="440415"/>
              </a:xfrm>
              <a:custGeom>
                <a:avLst/>
                <a:gdLst>
                  <a:gd name="T0" fmla="*/ 21 w 307"/>
                  <a:gd name="T1" fmla="*/ 16 h 279"/>
                  <a:gd name="T2" fmla="*/ 42 w 307"/>
                  <a:gd name="T3" fmla="*/ 18 h 279"/>
                  <a:gd name="T4" fmla="*/ 59 w 307"/>
                  <a:gd name="T5" fmla="*/ 2 h 279"/>
                  <a:gd name="T6" fmla="*/ 63 w 307"/>
                  <a:gd name="T7" fmla="*/ 19 h 279"/>
                  <a:gd name="T8" fmla="*/ 77 w 307"/>
                  <a:gd name="T9" fmla="*/ 31 h 279"/>
                  <a:gd name="T10" fmla="*/ 105 w 307"/>
                  <a:gd name="T11" fmla="*/ 58 h 279"/>
                  <a:gd name="T12" fmla="*/ 155 w 307"/>
                  <a:gd name="T13" fmla="*/ 60 h 279"/>
                  <a:gd name="T14" fmla="*/ 159 w 307"/>
                  <a:gd name="T15" fmla="*/ 52 h 279"/>
                  <a:gd name="T16" fmla="*/ 181 w 307"/>
                  <a:gd name="T17" fmla="*/ 37 h 279"/>
                  <a:gd name="T18" fmla="*/ 204 w 307"/>
                  <a:gd name="T19" fmla="*/ 33 h 279"/>
                  <a:gd name="T20" fmla="*/ 223 w 307"/>
                  <a:gd name="T21" fmla="*/ 40 h 279"/>
                  <a:gd name="T22" fmla="*/ 244 w 307"/>
                  <a:gd name="T23" fmla="*/ 46 h 279"/>
                  <a:gd name="T24" fmla="*/ 260 w 307"/>
                  <a:gd name="T25" fmla="*/ 63 h 279"/>
                  <a:gd name="T26" fmla="*/ 273 w 307"/>
                  <a:gd name="T27" fmla="*/ 81 h 279"/>
                  <a:gd name="T28" fmla="*/ 271 w 307"/>
                  <a:gd name="T29" fmla="*/ 102 h 279"/>
                  <a:gd name="T30" fmla="*/ 262 w 307"/>
                  <a:gd name="T31" fmla="*/ 121 h 279"/>
                  <a:gd name="T32" fmla="*/ 267 w 307"/>
                  <a:gd name="T33" fmla="*/ 155 h 279"/>
                  <a:gd name="T34" fmla="*/ 277 w 307"/>
                  <a:gd name="T35" fmla="*/ 205 h 279"/>
                  <a:gd name="T36" fmla="*/ 298 w 307"/>
                  <a:gd name="T37" fmla="*/ 222 h 279"/>
                  <a:gd name="T38" fmla="*/ 305 w 307"/>
                  <a:gd name="T39" fmla="*/ 248 h 279"/>
                  <a:gd name="T40" fmla="*/ 292 w 307"/>
                  <a:gd name="T41" fmla="*/ 254 h 279"/>
                  <a:gd name="T42" fmla="*/ 283 w 307"/>
                  <a:gd name="T43" fmla="*/ 264 h 279"/>
                  <a:gd name="T44" fmla="*/ 277 w 307"/>
                  <a:gd name="T45" fmla="*/ 279 h 279"/>
                  <a:gd name="T46" fmla="*/ 260 w 307"/>
                  <a:gd name="T47" fmla="*/ 275 h 279"/>
                  <a:gd name="T48" fmla="*/ 252 w 307"/>
                  <a:gd name="T49" fmla="*/ 275 h 279"/>
                  <a:gd name="T50" fmla="*/ 241 w 307"/>
                  <a:gd name="T51" fmla="*/ 273 h 279"/>
                  <a:gd name="T52" fmla="*/ 227 w 307"/>
                  <a:gd name="T53" fmla="*/ 269 h 279"/>
                  <a:gd name="T54" fmla="*/ 221 w 307"/>
                  <a:gd name="T55" fmla="*/ 268 h 279"/>
                  <a:gd name="T56" fmla="*/ 210 w 307"/>
                  <a:gd name="T57" fmla="*/ 266 h 279"/>
                  <a:gd name="T58" fmla="*/ 208 w 307"/>
                  <a:gd name="T59" fmla="*/ 254 h 279"/>
                  <a:gd name="T60" fmla="*/ 204 w 307"/>
                  <a:gd name="T61" fmla="*/ 243 h 279"/>
                  <a:gd name="T62" fmla="*/ 193 w 307"/>
                  <a:gd name="T63" fmla="*/ 243 h 279"/>
                  <a:gd name="T64" fmla="*/ 174 w 307"/>
                  <a:gd name="T65" fmla="*/ 252 h 279"/>
                  <a:gd name="T66" fmla="*/ 157 w 307"/>
                  <a:gd name="T67" fmla="*/ 250 h 279"/>
                  <a:gd name="T68" fmla="*/ 138 w 307"/>
                  <a:gd name="T69" fmla="*/ 237 h 279"/>
                  <a:gd name="T70" fmla="*/ 117 w 307"/>
                  <a:gd name="T71" fmla="*/ 229 h 279"/>
                  <a:gd name="T72" fmla="*/ 107 w 307"/>
                  <a:gd name="T73" fmla="*/ 210 h 279"/>
                  <a:gd name="T74" fmla="*/ 99 w 307"/>
                  <a:gd name="T75" fmla="*/ 193 h 279"/>
                  <a:gd name="T76" fmla="*/ 82 w 307"/>
                  <a:gd name="T77" fmla="*/ 185 h 279"/>
                  <a:gd name="T78" fmla="*/ 77 w 307"/>
                  <a:gd name="T79" fmla="*/ 184 h 279"/>
                  <a:gd name="T80" fmla="*/ 71 w 307"/>
                  <a:gd name="T81" fmla="*/ 189 h 279"/>
                  <a:gd name="T82" fmla="*/ 59 w 307"/>
                  <a:gd name="T83" fmla="*/ 155 h 279"/>
                  <a:gd name="T84" fmla="*/ 42 w 307"/>
                  <a:gd name="T85" fmla="*/ 138 h 279"/>
                  <a:gd name="T86" fmla="*/ 31 w 307"/>
                  <a:gd name="T87" fmla="*/ 124 h 279"/>
                  <a:gd name="T88" fmla="*/ 25 w 307"/>
                  <a:gd name="T89" fmla="*/ 111 h 279"/>
                  <a:gd name="T90" fmla="*/ 27 w 307"/>
                  <a:gd name="T91" fmla="*/ 100 h 279"/>
                  <a:gd name="T92" fmla="*/ 33 w 307"/>
                  <a:gd name="T93" fmla="*/ 90 h 279"/>
                  <a:gd name="T94" fmla="*/ 27 w 307"/>
                  <a:gd name="T95" fmla="*/ 81 h 279"/>
                  <a:gd name="T96" fmla="*/ 16 w 307"/>
                  <a:gd name="T97" fmla="*/ 65 h 279"/>
                  <a:gd name="T98" fmla="*/ 10 w 307"/>
                  <a:gd name="T99" fmla="*/ 48 h 279"/>
                  <a:gd name="T100" fmla="*/ 4 w 307"/>
                  <a:gd name="T101" fmla="*/ 40 h 279"/>
                  <a:gd name="T102" fmla="*/ 6 w 307"/>
                  <a:gd name="T103" fmla="*/ 29 h 279"/>
                  <a:gd name="T104" fmla="*/ 0 w 307"/>
                  <a:gd name="T105" fmla="*/ 8 h 279"/>
                  <a:gd name="T106" fmla="*/ 195 w 307"/>
                  <a:gd name="T107" fmla="*/ 245 h 279"/>
                  <a:gd name="T108" fmla="*/ 183 w 307"/>
                  <a:gd name="T109" fmla="*/ 250 h 279"/>
                  <a:gd name="T110" fmla="*/ 157 w 307"/>
                  <a:gd name="T111" fmla="*/ 252 h 279"/>
                  <a:gd name="T112" fmla="*/ 199 w 307"/>
                  <a:gd name="T113" fmla="*/ 245 h 279"/>
                  <a:gd name="T114" fmla="*/ 157 w 307"/>
                  <a:gd name="T115" fmla="*/ 52 h 279"/>
                  <a:gd name="T116" fmla="*/ 117 w 307"/>
                  <a:gd name="T117" fmla="*/ 229 h 279"/>
                  <a:gd name="T118" fmla="*/ 212 w 307"/>
                  <a:gd name="T119" fmla="*/ 268 h 279"/>
                  <a:gd name="T120" fmla="*/ 82 w 307"/>
                  <a:gd name="T121" fmla="*/ 184 h 279"/>
                  <a:gd name="T122" fmla="*/ 162 w 307"/>
                  <a:gd name="T123" fmla="*/ 250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7" h="279">
                    <a:moveTo>
                      <a:pt x="12" y="4"/>
                    </a:moveTo>
                    <a:lnTo>
                      <a:pt x="14" y="4"/>
                    </a:lnTo>
                    <a:lnTo>
                      <a:pt x="14" y="6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7" y="10"/>
                    </a:lnTo>
                    <a:lnTo>
                      <a:pt x="16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21" y="14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8"/>
                    </a:lnTo>
                    <a:lnTo>
                      <a:pt x="27" y="18"/>
                    </a:lnTo>
                    <a:lnTo>
                      <a:pt x="29" y="18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7" y="18"/>
                    </a:lnTo>
                    <a:lnTo>
                      <a:pt x="38" y="19"/>
                    </a:lnTo>
                    <a:lnTo>
                      <a:pt x="40" y="19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54" y="8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7" y="4"/>
                    </a:lnTo>
                    <a:lnTo>
                      <a:pt x="59" y="4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9" y="8"/>
                    </a:lnTo>
                    <a:lnTo>
                      <a:pt x="67" y="10"/>
                    </a:lnTo>
                    <a:lnTo>
                      <a:pt x="65" y="12"/>
                    </a:lnTo>
                    <a:lnTo>
                      <a:pt x="67" y="14"/>
                    </a:lnTo>
                    <a:lnTo>
                      <a:pt x="69" y="16"/>
                    </a:lnTo>
                    <a:lnTo>
                      <a:pt x="67" y="18"/>
                    </a:lnTo>
                    <a:lnTo>
                      <a:pt x="65" y="18"/>
                    </a:lnTo>
                    <a:lnTo>
                      <a:pt x="63" y="18"/>
                    </a:lnTo>
                    <a:lnTo>
                      <a:pt x="63" y="19"/>
                    </a:lnTo>
                    <a:lnTo>
                      <a:pt x="63" y="18"/>
                    </a:lnTo>
                    <a:lnTo>
                      <a:pt x="63" y="19"/>
                    </a:lnTo>
                    <a:lnTo>
                      <a:pt x="65" y="21"/>
                    </a:lnTo>
                    <a:lnTo>
                      <a:pt x="67" y="21"/>
                    </a:lnTo>
                    <a:lnTo>
                      <a:pt x="67" y="23"/>
                    </a:lnTo>
                    <a:lnTo>
                      <a:pt x="67" y="25"/>
                    </a:lnTo>
                    <a:lnTo>
                      <a:pt x="69" y="25"/>
                    </a:lnTo>
                    <a:lnTo>
                      <a:pt x="71" y="25"/>
                    </a:lnTo>
                    <a:lnTo>
                      <a:pt x="71" y="27"/>
                    </a:lnTo>
                    <a:lnTo>
                      <a:pt x="73" y="27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5" y="27"/>
                    </a:lnTo>
                    <a:lnTo>
                      <a:pt x="77" y="27"/>
                    </a:lnTo>
                    <a:lnTo>
                      <a:pt x="77" y="31"/>
                    </a:lnTo>
                    <a:lnTo>
                      <a:pt x="77" y="35"/>
                    </a:lnTo>
                    <a:lnTo>
                      <a:pt x="78" y="39"/>
                    </a:lnTo>
                    <a:lnTo>
                      <a:pt x="78" y="40"/>
                    </a:lnTo>
                    <a:lnTo>
                      <a:pt x="78" y="42"/>
                    </a:lnTo>
                    <a:lnTo>
                      <a:pt x="80" y="44"/>
                    </a:lnTo>
                    <a:lnTo>
                      <a:pt x="82" y="46"/>
                    </a:lnTo>
                    <a:lnTo>
                      <a:pt x="86" y="48"/>
                    </a:lnTo>
                    <a:lnTo>
                      <a:pt x="92" y="48"/>
                    </a:lnTo>
                    <a:lnTo>
                      <a:pt x="94" y="48"/>
                    </a:lnTo>
                    <a:lnTo>
                      <a:pt x="98" y="50"/>
                    </a:lnTo>
                    <a:lnTo>
                      <a:pt x="99" y="54"/>
                    </a:lnTo>
                    <a:lnTo>
                      <a:pt x="103" y="56"/>
                    </a:lnTo>
                    <a:lnTo>
                      <a:pt x="105" y="58"/>
                    </a:lnTo>
                    <a:lnTo>
                      <a:pt x="105" y="60"/>
                    </a:lnTo>
                    <a:lnTo>
                      <a:pt x="111" y="61"/>
                    </a:lnTo>
                    <a:lnTo>
                      <a:pt x="115" y="63"/>
                    </a:lnTo>
                    <a:lnTo>
                      <a:pt x="117" y="63"/>
                    </a:lnTo>
                    <a:lnTo>
                      <a:pt x="120" y="65"/>
                    </a:lnTo>
                    <a:lnTo>
                      <a:pt x="124" y="65"/>
                    </a:lnTo>
                    <a:lnTo>
                      <a:pt x="126" y="65"/>
                    </a:lnTo>
                    <a:lnTo>
                      <a:pt x="134" y="63"/>
                    </a:lnTo>
                    <a:lnTo>
                      <a:pt x="139" y="61"/>
                    </a:lnTo>
                    <a:lnTo>
                      <a:pt x="147" y="60"/>
                    </a:lnTo>
                    <a:lnTo>
                      <a:pt x="155" y="60"/>
                    </a:lnTo>
                    <a:lnTo>
                      <a:pt x="157" y="60"/>
                    </a:lnTo>
                    <a:lnTo>
                      <a:pt x="155" y="60"/>
                    </a:lnTo>
                    <a:lnTo>
                      <a:pt x="153" y="60"/>
                    </a:lnTo>
                    <a:lnTo>
                      <a:pt x="151" y="60"/>
                    </a:lnTo>
                    <a:lnTo>
                      <a:pt x="149" y="60"/>
                    </a:lnTo>
                    <a:lnTo>
                      <a:pt x="149" y="61"/>
                    </a:lnTo>
                    <a:lnTo>
                      <a:pt x="151" y="61"/>
                    </a:lnTo>
                    <a:lnTo>
                      <a:pt x="153" y="61"/>
                    </a:lnTo>
                    <a:lnTo>
                      <a:pt x="157" y="61"/>
                    </a:lnTo>
                    <a:lnTo>
                      <a:pt x="159" y="61"/>
                    </a:lnTo>
                    <a:lnTo>
                      <a:pt x="159" y="60"/>
                    </a:lnTo>
                    <a:lnTo>
                      <a:pt x="159" y="58"/>
                    </a:lnTo>
                    <a:lnTo>
                      <a:pt x="159" y="56"/>
                    </a:lnTo>
                    <a:lnTo>
                      <a:pt x="159" y="54"/>
                    </a:lnTo>
                    <a:lnTo>
                      <a:pt x="159" y="52"/>
                    </a:lnTo>
                    <a:lnTo>
                      <a:pt x="159" y="50"/>
                    </a:lnTo>
                    <a:lnTo>
                      <a:pt x="162" y="50"/>
                    </a:lnTo>
                    <a:lnTo>
                      <a:pt x="164" y="50"/>
                    </a:lnTo>
                    <a:lnTo>
                      <a:pt x="168" y="48"/>
                    </a:lnTo>
                    <a:lnTo>
                      <a:pt x="172" y="46"/>
                    </a:lnTo>
                    <a:lnTo>
                      <a:pt x="172" y="44"/>
                    </a:lnTo>
                    <a:lnTo>
                      <a:pt x="170" y="44"/>
                    </a:lnTo>
                    <a:lnTo>
                      <a:pt x="172" y="42"/>
                    </a:lnTo>
                    <a:lnTo>
                      <a:pt x="174" y="40"/>
                    </a:lnTo>
                    <a:lnTo>
                      <a:pt x="176" y="39"/>
                    </a:lnTo>
                    <a:lnTo>
                      <a:pt x="178" y="39"/>
                    </a:lnTo>
                    <a:lnTo>
                      <a:pt x="178" y="37"/>
                    </a:lnTo>
                    <a:lnTo>
                      <a:pt x="181" y="37"/>
                    </a:lnTo>
                    <a:lnTo>
                      <a:pt x="181" y="35"/>
                    </a:lnTo>
                    <a:lnTo>
                      <a:pt x="187" y="35"/>
                    </a:lnTo>
                    <a:lnTo>
                      <a:pt x="189" y="35"/>
                    </a:lnTo>
                    <a:lnTo>
                      <a:pt x="191" y="35"/>
                    </a:lnTo>
                    <a:lnTo>
                      <a:pt x="193" y="35"/>
                    </a:lnTo>
                    <a:lnTo>
                      <a:pt x="195" y="35"/>
                    </a:lnTo>
                    <a:lnTo>
                      <a:pt x="195" y="33"/>
                    </a:lnTo>
                    <a:lnTo>
                      <a:pt x="197" y="31"/>
                    </a:lnTo>
                    <a:lnTo>
                      <a:pt x="199" y="31"/>
                    </a:lnTo>
                    <a:lnTo>
                      <a:pt x="201" y="33"/>
                    </a:lnTo>
                    <a:lnTo>
                      <a:pt x="201" y="31"/>
                    </a:lnTo>
                    <a:lnTo>
                      <a:pt x="202" y="31"/>
                    </a:lnTo>
                    <a:lnTo>
                      <a:pt x="204" y="33"/>
                    </a:lnTo>
                    <a:lnTo>
                      <a:pt x="206" y="33"/>
                    </a:lnTo>
                    <a:lnTo>
                      <a:pt x="208" y="31"/>
                    </a:lnTo>
                    <a:lnTo>
                      <a:pt x="210" y="31"/>
                    </a:lnTo>
                    <a:lnTo>
                      <a:pt x="210" y="33"/>
                    </a:lnTo>
                    <a:lnTo>
                      <a:pt x="212" y="35"/>
                    </a:lnTo>
                    <a:lnTo>
                      <a:pt x="212" y="37"/>
                    </a:lnTo>
                    <a:lnTo>
                      <a:pt x="214" y="39"/>
                    </a:lnTo>
                    <a:lnTo>
                      <a:pt x="216" y="39"/>
                    </a:lnTo>
                    <a:lnTo>
                      <a:pt x="218" y="39"/>
                    </a:lnTo>
                    <a:lnTo>
                      <a:pt x="220" y="40"/>
                    </a:lnTo>
                    <a:lnTo>
                      <a:pt x="220" y="39"/>
                    </a:lnTo>
                    <a:lnTo>
                      <a:pt x="221" y="40"/>
                    </a:lnTo>
                    <a:lnTo>
                      <a:pt x="223" y="40"/>
                    </a:lnTo>
                    <a:lnTo>
                      <a:pt x="225" y="40"/>
                    </a:lnTo>
                    <a:lnTo>
                      <a:pt x="225" y="42"/>
                    </a:lnTo>
                    <a:lnTo>
                      <a:pt x="227" y="44"/>
                    </a:lnTo>
                    <a:lnTo>
                      <a:pt x="229" y="44"/>
                    </a:lnTo>
                    <a:lnTo>
                      <a:pt x="231" y="42"/>
                    </a:lnTo>
                    <a:lnTo>
                      <a:pt x="233" y="44"/>
                    </a:lnTo>
                    <a:lnTo>
                      <a:pt x="235" y="44"/>
                    </a:lnTo>
                    <a:lnTo>
                      <a:pt x="235" y="42"/>
                    </a:lnTo>
                    <a:lnTo>
                      <a:pt x="237" y="44"/>
                    </a:lnTo>
                    <a:lnTo>
                      <a:pt x="239" y="44"/>
                    </a:lnTo>
                    <a:lnTo>
                      <a:pt x="241" y="46"/>
                    </a:lnTo>
                    <a:lnTo>
                      <a:pt x="242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4" y="50"/>
                    </a:lnTo>
                    <a:lnTo>
                      <a:pt x="244" y="52"/>
                    </a:lnTo>
                    <a:lnTo>
                      <a:pt x="246" y="52"/>
                    </a:lnTo>
                    <a:lnTo>
                      <a:pt x="246" y="54"/>
                    </a:lnTo>
                    <a:lnTo>
                      <a:pt x="248" y="54"/>
                    </a:lnTo>
                    <a:lnTo>
                      <a:pt x="250" y="54"/>
                    </a:lnTo>
                    <a:lnTo>
                      <a:pt x="252" y="56"/>
                    </a:lnTo>
                    <a:lnTo>
                      <a:pt x="254" y="56"/>
                    </a:lnTo>
                    <a:lnTo>
                      <a:pt x="256" y="60"/>
                    </a:lnTo>
                    <a:lnTo>
                      <a:pt x="258" y="60"/>
                    </a:lnTo>
                    <a:lnTo>
                      <a:pt x="258" y="61"/>
                    </a:lnTo>
                    <a:lnTo>
                      <a:pt x="260" y="63"/>
                    </a:lnTo>
                    <a:lnTo>
                      <a:pt x="265" y="65"/>
                    </a:lnTo>
                    <a:lnTo>
                      <a:pt x="271" y="63"/>
                    </a:lnTo>
                    <a:lnTo>
                      <a:pt x="273" y="65"/>
                    </a:lnTo>
                    <a:lnTo>
                      <a:pt x="273" y="67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73" y="71"/>
                    </a:lnTo>
                    <a:lnTo>
                      <a:pt x="273" y="73"/>
                    </a:lnTo>
                    <a:lnTo>
                      <a:pt x="273" y="75"/>
                    </a:lnTo>
                    <a:lnTo>
                      <a:pt x="273" y="77"/>
                    </a:lnTo>
                    <a:lnTo>
                      <a:pt x="271" y="77"/>
                    </a:lnTo>
                    <a:lnTo>
                      <a:pt x="273" y="79"/>
                    </a:lnTo>
                    <a:lnTo>
                      <a:pt x="273" y="81"/>
                    </a:lnTo>
                    <a:lnTo>
                      <a:pt x="273" y="82"/>
                    </a:lnTo>
                    <a:lnTo>
                      <a:pt x="275" y="84"/>
                    </a:lnTo>
                    <a:lnTo>
                      <a:pt x="275" y="86"/>
                    </a:lnTo>
                    <a:lnTo>
                      <a:pt x="273" y="86"/>
                    </a:lnTo>
                    <a:lnTo>
                      <a:pt x="273" y="88"/>
                    </a:lnTo>
                    <a:lnTo>
                      <a:pt x="273" y="90"/>
                    </a:lnTo>
                    <a:lnTo>
                      <a:pt x="271" y="90"/>
                    </a:lnTo>
                    <a:lnTo>
                      <a:pt x="271" y="92"/>
                    </a:lnTo>
                    <a:lnTo>
                      <a:pt x="271" y="94"/>
                    </a:lnTo>
                    <a:lnTo>
                      <a:pt x="271" y="96"/>
                    </a:lnTo>
                    <a:lnTo>
                      <a:pt x="271" y="98"/>
                    </a:lnTo>
                    <a:lnTo>
                      <a:pt x="271" y="100"/>
                    </a:lnTo>
                    <a:lnTo>
                      <a:pt x="271" y="102"/>
                    </a:lnTo>
                    <a:lnTo>
                      <a:pt x="269" y="102"/>
                    </a:lnTo>
                    <a:lnTo>
                      <a:pt x="269" y="103"/>
                    </a:lnTo>
                    <a:lnTo>
                      <a:pt x="267" y="105"/>
                    </a:lnTo>
                    <a:lnTo>
                      <a:pt x="265" y="105"/>
                    </a:lnTo>
                    <a:lnTo>
                      <a:pt x="267" y="107"/>
                    </a:lnTo>
                    <a:lnTo>
                      <a:pt x="267" y="109"/>
                    </a:lnTo>
                    <a:lnTo>
                      <a:pt x="269" y="109"/>
                    </a:lnTo>
                    <a:lnTo>
                      <a:pt x="265" y="109"/>
                    </a:lnTo>
                    <a:lnTo>
                      <a:pt x="265" y="111"/>
                    </a:lnTo>
                    <a:lnTo>
                      <a:pt x="263" y="111"/>
                    </a:lnTo>
                    <a:lnTo>
                      <a:pt x="262" y="115"/>
                    </a:lnTo>
                    <a:lnTo>
                      <a:pt x="263" y="119"/>
                    </a:lnTo>
                    <a:lnTo>
                      <a:pt x="262" y="121"/>
                    </a:lnTo>
                    <a:lnTo>
                      <a:pt x="263" y="124"/>
                    </a:lnTo>
                    <a:lnTo>
                      <a:pt x="267" y="124"/>
                    </a:lnTo>
                    <a:lnTo>
                      <a:pt x="269" y="124"/>
                    </a:lnTo>
                    <a:lnTo>
                      <a:pt x="267" y="124"/>
                    </a:lnTo>
                    <a:lnTo>
                      <a:pt x="267" y="126"/>
                    </a:lnTo>
                    <a:lnTo>
                      <a:pt x="263" y="130"/>
                    </a:lnTo>
                    <a:lnTo>
                      <a:pt x="263" y="132"/>
                    </a:lnTo>
                    <a:lnTo>
                      <a:pt x="263" y="134"/>
                    </a:lnTo>
                    <a:lnTo>
                      <a:pt x="265" y="140"/>
                    </a:lnTo>
                    <a:lnTo>
                      <a:pt x="267" y="143"/>
                    </a:lnTo>
                    <a:lnTo>
                      <a:pt x="267" y="149"/>
                    </a:lnTo>
                    <a:lnTo>
                      <a:pt x="267" y="153"/>
                    </a:lnTo>
                    <a:lnTo>
                      <a:pt x="267" y="155"/>
                    </a:lnTo>
                    <a:lnTo>
                      <a:pt x="267" y="159"/>
                    </a:lnTo>
                    <a:lnTo>
                      <a:pt x="267" y="163"/>
                    </a:lnTo>
                    <a:lnTo>
                      <a:pt x="281" y="164"/>
                    </a:lnTo>
                    <a:lnTo>
                      <a:pt x="283" y="166"/>
                    </a:lnTo>
                    <a:lnTo>
                      <a:pt x="283" y="168"/>
                    </a:lnTo>
                    <a:lnTo>
                      <a:pt x="283" y="172"/>
                    </a:lnTo>
                    <a:lnTo>
                      <a:pt x="283" y="174"/>
                    </a:lnTo>
                    <a:lnTo>
                      <a:pt x="283" y="176"/>
                    </a:lnTo>
                    <a:lnTo>
                      <a:pt x="267" y="193"/>
                    </a:lnTo>
                    <a:lnTo>
                      <a:pt x="273" y="199"/>
                    </a:lnTo>
                    <a:lnTo>
                      <a:pt x="275" y="203"/>
                    </a:lnTo>
                    <a:lnTo>
                      <a:pt x="275" y="205"/>
                    </a:lnTo>
                    <a:lnTo>
                      <a:pt x="277" y="205"/>
                    </a:lnTo>
                    <a:lnTo>
                      <a:pt x="277" y="206"/>
                    </a:lnTo>
                    <a:lnTo>
                      <a:pt x="277" y="208"/>
                    </a:lnTo>
                    <a:lnTo>
                      <a:pt x="279" y="208"/>
                    </a:lnTo>
                    <a:lnTo>
                      <a:pt x="279" y="210"/>
                    </a:lnTo>
                    <a:lnTo>
                      <a:pt x="281" y="212"/>
                    </a:lnTo>
                    <a:lnTo>
                      <a:pt x="284" y="216"/>
                    </a:lnTo>
                    <a:lnTo>
                      <a:pt x="286" y="218"/>
                    </a:lnTo>
                    <a:lnTo>
                      <a:pt x="288" y="218"/>
                    </a:lnTo>
                    <a:lnTo>
                      <a:pt x="292" y="220"/>
                    </a:lnTo>
                    <a:lnTo>
                      <a:pt x="294" y="220"/>
                    </a:lnTo>
                    <a:lnTo>
                      <a:pt x="294" y="222"/>
                    </a:lnTo>
                    <a:lnTo>
                      <a:pt x="296" y="222"/>
                    </a:lnTo>
                    <a:lnTo>
                      <a:pt x="298" y="222"/>
                    </a:lnTo>
                    <a:lnTo>
                      <a:pt x="298" y="227"/>
                    </a:lnTo>
                    <a:lnTo>
                      <a:pt x="300" y="231"/>
                    </a:lnTo>
                    <a:lnTo>
                      <a:pt x="300" y="237"/>
                    </a:lnTo>
                    <a:lnTo>
                      <a:pt x="298" y="239"/>
                    </a:lnTo>
                    <a:lnTo>
                      <a:pt x="298" y="241"/>
                    </a:lnTo>
                    <a:lnTo>
                      <a:pt x="300" y="241"/>
                    </a:lnTo>
                    <a:lnTo>
                      <a:pt x="302" y="241"/>
                    </a:lnTo>
                    <a:lnTo>
                      <a:pt x="303" y="241"/>
                    </a:lnTo>
                    <a:lnTo>
                      <a:pt x="305" y="241"/>
                    </a:lnTo>
                    <a:lnTo>
                      <a:pt x="307" y="243"/>
                    </a:lnTo>
                    <a:lnTo>
                      <a:pt x="305" y="243"/>
                    </a:lnTo>
                    <a:lnTo>
                      <a:pt x="305" y="247"/>
                    </a:lnTo>
                    <a:lnTo>
                      <a:pt x="305" y="248"/>
                    </a:lnTo>
                    <a:lnTo>
                      <a:pt x="303" y="248"/>
                    </a:lnTo>
                    <a:lnTo>
                      <a:pt x="305" y="248"/>
                    </a:lnTo>
                    <a:lnTo>
                      <a:pt x="303" y="250"/>
                    </a:lnTo>
                    <a:lnTo>
                      <a:pt x="305" y="250"/>
                    </a:lnTo>
                    <a:lnTo>
                      <a:pt x="303" y="250"/>
                    </a:lnTo>
                    <a:lnTo>
                      <a:pt x="302" y="252"/>
                    </a:lnTo>
                    <a:lnTo>
                      <a:pt x="302" y="250"/>
                    </a:lnTo>
                    <a:lnTo>
                      <a:pt x="298" y="252"/>
                    </a:lnTo>
                    <a:lnTo>
                      <a:pt x="298" y="250"/>
                    </a:lnTo>
                    <a:lnTo>
                      <a:pt x="298" y="252"/>
                    </a:lnTo>
                    <a:lnTo>
                      <a:pt x="296" y="252"/>
                    </a:lnTo>
                    <a:lnTo>
                      <a:pt x="292" y="252"/>
                    </a:lnTo>
                    <a:lnTo>
                      <a:pt x="292" y="254"/>
                    </a:lnTo>
                    <a:lnTo>
                      <a:pt x="292" y="252"/>
                    </a:lnTo>
                    <a:lnTo>
                      <a:pt x="290" y="254"/>
                    </a:lnTo>
                    <a:lnTo>
                      <a:pt x="290" y="256"/>
                    </a:lnTo>
                    <a:lnTo>
                      <a:pt x="290" y="258"/>
                    </a:lnTo>
                    <a:lnTo>
                      <a:pt x="288" y="256"/>
                    </a:lnTo>
                    <a:lnTo>
                      <a:pt x="290" y="258"/>
                    </a:lnTo>
                    <a:lnTo>
                      <a:pt x="288" y="258"/>
                    </a:lnTo>
                    <a:lnTo>
                      <a:pt x="286" y="258"/>
                    </a:lnTo>
                    <a:lnTo>
                      <a:pt x="286" y="256"/>
                    </a:lnTo>
                    <a:lnTo>
                      <a:pt x="286" y="258"/>
                    </a:lnTo>
                    <a:lnTo>
                      <a:pt x="284" y="258"/>
                    </a:lnTo>
                    <a:lnTo>
                      <a:pt x="283" y="262"/>
                    </a:lnTo>
                    <a:lnTo>
                      <a:pt x="283" y="264"/>
                    </a:lnTo>
                    <a:lnTo>
                      <a:pt x="284" y="266"/>
                    </a:lnTo>
                    <a:lnTo>
                      <a:pt x="283" y="266"/>
                    </a:lnTo>
                    <a:lnTo>
                      <a:pt x="283" y="268"/>
                    </a:lnTo>
                    <a:lnTo>
                      <a:pt x="281" y="268"/>
                    </a:lnTo>
                    <a:lnTo>
                      <a:pt x="281" y="269"/>
                    </a:lnTo>
                    <a:lnTo>
                      <a:pt x="281" y="275"/>
                    </a:lnTo>
                    <a:lnTo>
                      <a:pt x="279" y="277"/>
                    </a:lnTo>
                    <a:lnTo>
                      <a:pt x="277" y="277"/>
                    </a:lnTo>
                    <a:lnTo>
                      <a:pt x="277" y="275"/>
                    </a:lnTo>
                    <a:lnTo>
                      <a:pt x="277" y="277"/>
                    </a:lnTo>
                    <a:lnTo>
                      <a:pt x="279" y="277"/>
                    </a:lnTo>
                    <a:lnTo>
                      <a:pt x="277" y="277"/>
                    </a:lnTo>
                    <a:lnTo>
                      <a:pt x="277" y="279"/>
                    </a:lnTo>
                    <a:lnTo>
                      <a:pt x="273" y="279"/>
                    </a:lnTo>
                    <a:lnTo>
                      <a:pt x="273" y="277"/>
                    </a:lnTo>
                    <a:lnTo>
                      <a:pt x="271" y="277"/>
                    </a:lnTo>
                    <a:lnTo>
                      <a:pt x="265" y="275"/>
                    </a:lnTo>
                    <a:lnTo>
                      <a:pt x="263" y="275"/>
                    </a:lnTo>
                    <a:lnTo>
                      <a:pt x="263" y="273"/>
                    </a:lnTo>
                    <a:lnTo>
                      <a:pt x="262" y="273"/>
                    </a:lnTo>
                    <a:lnTo>
                      <a:pt x="260" y="273"/>
                    </a:lnTo>
                    <a:lnTo>
                      <a:pt x="262" y="273"/>
                    </a:lnTo>
                    <a:lnTo>
                      <a:pt x="260" y="273"/>
                    </a:lnTo>
                    <a:lnTo>
                      <a:pt x="260" y="275"/>
                    </a:lnTo>
                    <a:lnTo>
                      <a:pt x="262" y="275"/>
                    </a:lnTo>
                    <a:lnTo>
                      <a:pt x="260" y="275"/>
                    </a:lnTo>
                    <a:lnTo>
                      <a:pt x="258" y="273"/>
                    </a:lnTo>
                    <a:lnTo>
                      <a:pt x="260" y="273"/>
                    </a:lnTo>
                    <a:lnTo>
                      <a:pt x="258" y="273"/>
                    </a:lnTo>
                    <a:lnTo>
                      <a:pt x="260" y="273"/>
                    </a:lnTo>
                    <a:lnTo>
                      <a:pt x="258" y="273"/>
                    </a:lnTo>
                    <a:lnTo>
                      <a:pt x="256" y="273"/>
                    </a:lnTo>
                    <a:lnTo>
                      <a:pt x="258" y="273"/>
                    </a:lnTo>
                    <a:lnTo>
                      <a:pt x="256" y="275"/>
                    </a:lnTo>
                    <a:lnTo>
                      <a:pt x="258" y="275"/>
                    </a:lnTo>
                    <a:lnTo>
                      <a:pt x="256" y="275"/>
                    </a:lnTo>
                    <a:lnTo>
                      <a:pt x="256" y="273"/>
                    </a:lnTo>
                    <a:lnTo>
                      <a:pt x="254" y="273"/>
                    </a:lnTo>
                    <a:lnTo>
                      <a:pt x="252" y="275"/>
                    </a:lnTo>
                    <a:lnTo>
                      <a:pt x="252" y="273"/>
                    </a:lnTo>
                    <a:lnTo>
                      <a:pt x="250" y="273"/>
                    </a:lnTo>
                    <a:lnTo>
                      <a:pt x="248" y="273"/>
                    </a:lnTo>
                    <a:lnTo>
                      <a:pt x="246" y="273"/>
                    </a:lnTo>
                    <a:lnTo>
                      <a:pt x="246" y="271"/>
                    </a:lnTo>
                    <a:lnTo>
                      <a:pt x="244" y="271"/>
                    </a:lnTo>
                    <a:lnTo>
                      <a:pt x="242" y="273"/>
                    </a:lnTo>
                    <a:lnTo>
                      <a:pt x="242" y="271"/>
                    </a:lnTo>
                    <a:lnTo>
                      <a:pt x="241" y="271"/>
                    </a:lnTo>
                    <a:lnTo>
                      <a:pt x="242" y="271"/>
                    </a:lnTo>
                    <a:lnTo>
                      <a:pt x="241" y="273"/>
                    </a:lnTo>
                    <a:lnTo>
                      <a:pt x="241" y="271"/>
                    </a:lnTo>
                    <a:lnTo>
                      <a:pt x="241" y="273"/>
                    </a:lnTo>
                    <a:lnTo>
                      <a:pt x="239" y="273"/>
                    </a:lnTo>
                    <a:lnTo>
                      <a:pt x="241" y="273"/>
                    </a:lnTo>
                    <a:lnTo>
                      <a:pt x="241" y="271"/>
                    </a:lnTo>
                    <a:lnTo>
                      <a:pt x="242" y="273"/>
                    </a:lnTo>
                    <a:lnTo>
                      <a:pt x="241" y="273"/>
                    </a:lnTo>
                    <a:lnTo>
                      <a:pt x="239" y="273"/>
                    </a:lnTo>
                    <a:lnTo>
                      <a:pt x="237" y="271"/>
                    </a:lnTo>
                    <a:lnTo>
                      <a:pt x="235" y="271"/>
                    </a:lnTo>
                    <a:lnTo>
                      <a:pt x="235" y="269"/>
                    </a:lnTo>
                    <a:lnTo>
                      <a:pt x="233" y="269"/>
                    </a:lnTo>
                    <a:lnTo>
                      <a:pt x="231" y="269"/>
                    </a:lnTo>
                    <a:lnTo>
                      <a:pt x="229" y="269"/>
                    </a:lnTo>
                    <a:lnTo>
                      <a:pt x="227" y="269"/>
                    </a:lnTo>
                    <a:lnTo>
                      <a:pt x="229" y="269"/>
                    </a:lnTo>
                    <a:lnTo>
                      <a:pt x="227" y="269"/>
                    </a:lnTo>
                    <a:lnTo>
                      <a:pt x="225" y="269"/>
                    </a:lnTo>
                    <a:lnTo>
                      <a:pt x="227" y="269"/>
                    </a:lnTo>
                    <a:lnTo>
                      <a:pt x="225" y="269"/>
                    </a:lnTo>
                    <a:lnTo>
                      <a:pt x="225" y="271"/>
                    </a:lnTo>
                    <a:lnTo>
                      <a:pt x="225" y="269"/>
                    </a:lnTo>
                    <a:lnTo>
                      <a:pt x="223" y="271"/>
                    </a:lnTo>
                    <a:lnTo>
                      <a:pt x="223" y="269"/>
                    </a:lnTo>
                    <a:lnTo>
                      <a:pt x="221" y="269"/>
                    </a:lnTo>
                    <a:lnTo>
                      <a:pt x="223" y="269"/>
                    </a:lnTo>
                    <a:lnTo>
                      <a:pt x="221" y="269"/>
                    </a:lnTo>
                    <a:lnTo>
                      <a:pt x="221" y="268"/>
                    </a:lnTo>
                    <a:lnTo>
                      <a:pt x="220" y="268"/>
                    </a:lnTo>
                    <a:lnTo>
                      <a:pt x="218" y="269"/>
                    </a:lnTo>
                    <a:lnTo>
                      <a:pt x="218" y="268"/>
                    </a:lnTo>
                    <a:lnTo>
                      <a:pt x="218" y="269"/>
                    </a:lnTo>
                    <a:lnTo>
                      <a:pt x="220" y="269"/>
                    </a:lnTo>
                    <a:lnTo>
                      <a:pt x="220" y="268"/>
                    </a:lnTo>
                    <a:lnTo>
                      <a:pt x="218" y="268"/>
                    </a:lnTo>
                    <a:lnTo>
                      <a:pt x="216" y="268"/>
                    </a:lnTo>
                    <a:lnTo>
                      <a:pt x="214" y="268"/>
                    </a:lnTo>
                    <a:lnTo>
                      <a:pt x="212" y="268"/>
                    </a:lnTo>
                    <a:lnTo>
                      <a:pt x="210" y="266"/>
                    </a:lnTo>
                    <a:lnTo>
                      <a:pt x="212" y="268"/>
                    </a:lnTo>
                    <a:lnTo>
                      <a:pt x="210" y="266"/>
                    </a:lnTo>
                    <a:lnTo>
                      <a:pt x="210" y="264"/>
                    </a:lnTo>
                    <a:lnTo>
                      <a:pt x="210" y="262"/>
                    </a:lnTo>
                    <a:lnTo>
                      <a:pt x="208" y="262"/>
                    </a:lnTo>
                    <a:lnTo>
                      <a:pt x="210" y="262"/>
                    </a:lnTo>
                    <a:lnTo>
                      <a:pt x="208" y="262"/>
                    </a:lnTo>
                    <a:lnTo>
                      <a:pt x="210" y="260"/>
                    </a:lnTo>
                    <a:lnTo>
                      <a:pt x="208" y="260"/>
                    </a:lnTo>
                    <a:lnTo>
                      <a:pt x="208" y="258"/>
                    </a:lnTo>
                    <a:lnTo>
                      <a:pt x="208" y="256"/>
                    </a:lnTo>
                    <a:lnTo>
                      <a:pt x="206" y="254"/>
                    </a:lnTo>
                    <a:lnTo>
                      <a:pt x="208" y="254"/>
                    </a:lnTo>
                    <a:lnTo>
                      <a:pt x="206" y="254"/>
                    </a:lnTo>
                    <a:lnTo>
                      <a:pt x="208" y="254"/>
                    </a:lnTo>
                    <a:lnTo>
                      <a:pt x="208" y="252"/>
                    </a:lnTo>
                    <a:lnTo>
                      <a:pt x="206" y="248"/>
                    </a:lnTo>
                    <a:lnTo>
                      <a:pt x="204" y="247"/>
                    </a:lnTo>
                    <a:lnTo>
                      <a:pt x="206" y="247"/>
                    </a:lnTo>
                    <a:lnTo>
                      <a:pt x="204" y="247"/>
                    </a:lnTo>
                    <a:lnTo>
                      <a:pt x="206" y="247"/>
                    </a:lnTo>
                    <a:lnTo>
                      <a:pt x="204" y="245"/>
                    </a:lnTo>
                    <a:lnTo>
                      <a:pt x="206" y="247"/>
                    </a:lnTo>
                    <a:lnTo>
                      <a:pt x="206" y="245"/>
                    </a:lnTo>
                    <a:lnTo>
                      <a:pt x="204" y="245"/>
                    </a:lnTo>
                    <a:lnTo>
                      <a:pt x="204" y="243"/>
                    </a:lnTo>
                    <a:lnTo>
                      <a:pt x="202" y="243"/>
                    </a:lnTo>
                    <a:lnTo>
                      <a:pt x="204" y="243"/>
                    </a:lnTo>
                    <a:lnTo>
                      <a:pt x="202" y="243"/>
                    </a:lnTo>
                    <a:lnTo>
                      <a:pt x="201" y="243"/>
                    </a:lnTo>
                    <a:lnTo>
                      <a:pt x="201" y="241"/>
                    </a:lnTo>
                    <a:lnTo>
                      <a:pt x="201" y="243"/>
                    </a:lnTo>
                    <a:lnTo>
                      <a:pt x="201" y="241"/>
                    </a:lnTo>
                    <a:lnTo>
                      <a:pt x="201" y="243"/>
                    </a:lnTo>
                    <a:lnTo>
                      <a:pt x="199" y="241"/>
                    </a:lnTo>
                    <a:lnTo>
                      <a:pt x="199" y="243"/>
                    </a:lnTo>
                    <a:lnTo>
                      <a:pt x="199" y="241"/>
                    </a:lnTo>
                    <a:lnTo>
                      <a:pt x="199" y="243"/>
                    </a:lnTo>
                    <a:lnTo>
                      <a:pt x="195" y="241"/>
                    </a:lnTo>
                    <a:lnTo>
                      <a:pt x="195" y="243"/>
                    </a:lnTo>
                    <a:lnTo>
                      <a:pt x="193" y="243"/>
                    </a:lnTo>
                    <a:lnTo>
                      <a:pt x="191" y="243"/>
                    </a:lnTo>
                    <a:lnTo>
                      <a:pt x="189" y="245"/>
                    </a:lnTo>
                    <a:lnTo>
                      <a:pt x="187" y="245"/>
                    </a:lnTo>
                    <a:lnTo>
                      <a:pt x="185" y="245"/>
                    </a:lnTo>
                    <a:lnTo>
                      <a:pt x="183" y="245"/>
                    </a:lnTo>
                    <a:lnTo>
                      <a:pt x="183" y="247"/>
                    </a:lnTo>
                    <a:lnTo>
                      <a:pt x="183" y="248"/>
                    </a:lnTo>
                    <a:lnTo>
                      <a:pt x="181" y="248"/>
                    </a:lnTo>
                    <a:lnTo>
                      <a:pt x="180" y="248"/>
                    </a:lnTo>
                    <a:lnTo>
                      <a:pt x="178" y="248"/>
                    </a:lnTo>
                    <a:lnTo>
                      <a:pt x="178" y="250"/>
                    </a:lnTo>
                    <a:lnTo>
                      <a:pt x="176" y="250"/>
                    </a:lnTo>
                    <a:lnTo>
                      <a:pt x="174" y="252"/>
                    </a:lnTo>
                    <a:lnTo>
                      <a:pt x="172" y="254"/>
                    </a:lnTo>
                    <a:lnTo>
                      <a:pt x="170" y="254"/>
                    </a:lnTo>
                    <a:lnTo>
                      <a:pt x="168" y="254"/>
                    </a:lnTo>
                    <a:lnTo>
                      <a:pt x="168" y="252"/>
                    </a:lnTo>
                    <a:lnTo>
                      <a:pt x="166" y="252"/>
                    </a:lnTo>
                    <a:lnTo>
                      <a:pt x="164" y="252"/>
                    </a:lnTo>
                    <a:lnTo>
                      <a:pt x="164" y="250"/>
                    </a:lnTo>
                    <a:lnTo>
                      <a:pt x="162" y="250"/>
                    </a:lnTo>
                    <a:lnTo>
                      <a:pt x="164" y="250"/>
                    </a:lnTo>
                    <a:lnTo>
                      <a:pt x="162" y="250"/>
                    </a:lnTo>
                    <a:lnTo>
                      <a:pt x="160" y="250"/>
                    </a:lnTo>
                    <a:lnTo>
                      <a:pt x="159" y="248"/>
                    </a:lnTo>
                    <a:lnTo>
                      <a:pt x="157" y="250"/>
                    </a:lnTo>
                    <a:lnTo>
                      <a:pt x="155" y="250"/>
                    </a:lnTo>
                    <a:lnTo>
                      <a:pt x="153" y="250"/>
                    </a:lnTo>
                    <a:lnTo>
                      <a:pt x="153" y="248"/>
                    </a:lnTo>
                    <a:lnTo>
                      <a:pt x="151" y="248"/>
                    </a:lnTo>
                    <a:lnTo>
                      <a:pt x="151" y="247"/>
                    </a:lnTo>
                    <a:lnTo>
                      <a:pt x="149" y="245"/>
                    </a:lnTo>
                    <a:lnTo>
                      <a:pt x="143" y="243"/>
                    </a:lnTo>
                    <a:lnTo>
                      <a:pt x="141" y="243"/>
                    </a:lnTo>
                    <a:lnTo>
                      <a:pt x="139" y="241"/>
                    </a:lnTo>
                    <a:lnTo>
                      <a:pt x="138" y="239"/>
                    </a:lnTo>
                    <a:lnTo>
                      <a:pt x="136" y="239"/>
                    </a:lnTo>
                    <a:lnTo>
                      <a:pt x="136" y="237"/>
                    </a:lnTo>
                    <a:lnTo>
                      <a:pt x="138" y="237"/>
                    </a:lnTo>
                    <a:lnTo>
                      <a:pt x="136" y="237"/>
                    </a:lnTo>
                    <a:lnTo>
                      <a:pt x="134" y="235"/>
                    </a:lnTo>
                    <a:lnTo>
                      <a:pt x="134" y="233"/>
                    </a:lnTo>
                    <a:lnTo>
                      <a:pt x="132" y="233"/>
                    </a:lnTo>
                    <a:lnTo>
                      <a:pt x="130" y="233"/>
                    </a:lnTo>
                    <a:lnTo>
                      <a:pt x="128" y="229"/>
                    </a:lnTo>
                    <a:lnTo>
                      <a:pt x="126" y="229"/>
                    </a:lnTo>
                    <a:lnTo>
                      <a:pt x="124" y="229"/>
                    </a:lnTo>
                    <a:lnTo>
                      <a:pt x="122" y="229"/>
                    </a:lnTo>
                    <a:lnTo>
                      <a:pt x="120" y="229"/>
                    </a:lnTo>
                    <a:lnTo>
                      <a:pt x="119" y="229"/>
                    </a:lnTo>
                    <a:lnTo>
                      <a:pt x="117" y="227"/>
                    </a:lnTo>
                    <a:lnTo>
                      <a:pt x="117" y="229"/>
                    </a:lnTo>
                    <a:lnTo>
                      <a:pt x="117" y="226"/>
                    </a:lnTo>
                    <a:lnTo>
                      <a:pt x="115" y="226"/>
                    </a:lnTo>
                    <a:lnTo>
                      <a:pt x="115" y="224"/>
                    </a:lnTo>
                    <a:lnTo>
                      <a:pt x="113" y="220"/>
                    </a:lnTo>
                    <a:lnTo>
                      <a:pt x="113" y="218"/>
                    </a:lnTo>
                    <a:lnTo>
                      <a:pt x="111" y="214"/>
                    </a:lnTo>
                    <a:lnTo>
                      <a:pt x="111" y="212"/>
                    </a:lnTo>
                    <a:lnTo>
                      <a:pt x="109" y="212"/>
                    </a:lnTo>
                    <a:lnTo>
                      <a:pt x="111" y="212"/>
                    </a:lnTo>
                    <a:lnTo>
                      <a:pt x="109" y="212"/>
                    </a:lnTo>
                    <a:lnTo>
                      <a:pt x="111" y="212"/>
                    </a:lnTo>
                    <a:lnTo>
                      <a:pt x="109" y="212"/>
                    </a:lnTo>
                    <a:lnTo>
                      <a:pt x="107" y="210"/>
                    </a:lnTo>
                    <a:lnTo>
                      <a:pt x="107" y="208"/>
                    </a:lnTo>
                    <a:lnTo>
                      <a:pt x="109" y="210"/>
                    </a:lnTo>
                    <a:lnTo>
                      <a:pt x="109" y="208"/>
                    </a:lnTo>
                    <a:lnTo>
                      <a:pt x="109" y="206"/>
                    </a:lnTo>
                    <a:lnTo>
                      <a:pt x="107" y="206"/>
                    </a:lnTo>
                    <a:lnTo>
                      <a:pt x="105" y="206"/>
                    </a:lnTo>
                    <a:lnTo>
                      <a:pt x="105" y="205"/>
                    </a:lnTo>
                    <a:lnTo>
                      <a:pt x="105" y="203"/>
                    </a:lnTo>
                    <a:lnTo>
                      <a:pt x="105" y="201"/>
                    </a:lnTo>
                    <a:lnTo>
                      <a:pt x="103" y="199"/>
                    </a:lnTo>
                    <a:lnTo>
                      <a:pt x="101" y="197"/>
                    </a:lnTo>
                    <a:lnTo>
                      <a:pt x="98" y="193"/>
                    </a:lnTo>
                    <a:lnTo>
                      <a:pt x="99" y="193"/>
                    </a:lnTo>
                    <a:lnTo>
                      <a:pt x="98" y="193"/>
                    </a:lnTo>
                    <a:lnTo>
                      <a:pt x="98" y="191"/>
                    </a:lnTo>
                    <a:lnTo>
                      <a:pt x="98" y="189"/>
                    </a:lnTo>
                    <a:lnTo>
                      <a:pt x="96" y="187"/>
                    </a:lnTo>
                    <a:lnTo>
                      <a:pt x="94" y="187"/>
                    </a:lnTo>
                    <a:lnTo>
                      <a:pt x="88" y="191"/>
                    </a:lnTo>
                    <a:lnTo>
                      <a:pt x="86" y="189"/>
                    </a:lnTo>
                    <a:lnTo>
                      <a:pt x="86" y="187"/>
                    </a:lnTo>
                    <a:lnTo>
                      <a:pt x="84" y="187"/>
                    </a:lnTo>
                    <a:lnTo>
                      <a:pt x="82" y="187"/>
                    </a:lnTo>
                    <a:lnTo>
                      <a:pt x="82" y="185"/>
                    </a:lnTo>
                    <a:lnTo>
                      <a:pt x="82" y="187"/>
                    </a:lnTo>
                    <a:lnTo>
                      <a:pt x="82" y="185"/>
                    </a:lnTo>
                    <a:lnTo>
                      <a:pt x="82" y="187"/>
                    </a:lnTo>
                    <a:lnTo>
                      <a:pt x="80" y="185"/>
                    </a:lnTo>
                    <a:lnTo>
                      <a:pt x="78" y="185"/>
                    </a:lnTo>
                    <a:lnTo>
                      <a:pt x="78" y="184"/>
                    </a:lnTo>
                    <a:lnTo>
                      <a:pt x="80" y="184"/>
                    </a:lnTo>
                    <a:lnTo>
                      <a:pt x="82" y="184"/>
                    </a:lnTo>
                    <a:lnTo>
                      <a:pt x="82" y="182"/>
                    </a:lnTo>
                    <a:lnTo>
                      <a:pt x="82" y="184"/>
                    </a:lnTo>
                    <a:lnTo>
                      <a:pt x="82" y="182"/>
                    </a:lnTo>
                    <a:lnTo>
                      <a:pt x="80" y="182"/>
                    </a:lnTo>
                    <a:lnTo>
                      <a:pt x="80" y="184"/>
                    </a:lnTo>
                    <a:lnTo>
                      <a:pt x="78" y="184"/>
                    </a:lnTo>
                    <a:lnTo>
                      <a:pt x="77" y="184"/>
                    </a:lnTo>
                    <a:lnTo>
                      <a:pt x="77" y="185"/>
                    </a:lnTo>
                    <a:lnTo>
                      <a:pt x="77" y="184"/>
                    </a:lnTo>
                    <a:lnTo>
                      <a:pt x="75" y="185"/>
                    </a:lnTo>
                    <a:lnTo>
                      <a:pt x="77" y="185"/>
                    </a:lnTo>
                    <a:lnTo>
                      <a:pt x="78" y="187"/>
                    </a:lnTo>
                    <a:lnTo>
                      <a:pt x="77" y="189"/>
                    </a:lnTo>
                    <a:lnTo>
                      <a:pt x="78" y="189"/>
                    </a:lnTo>
                    <a:lnTo>
                      <a:pt x="77" y="191"/>
                    </a:lnTo>
                    <a:lnTo>
                      <a:pt x="75" y="189"/>
                    </a:lnTo>
                    <a:lnTo>
                      <a:pt x="75" y="191"/>
                    </a:lnTo>
                    <a:lnTo>
                      <a:pt x="73" y="191"/>
                    </a:lnTo>
                    <a:lnTo>
                      <a:pt x="71" y="191"/>
                    </a:lnTo>
                    <a:lnTo>
                      <a:pt x="71" y="189"/>
                    </a:lnTo>
                    <a:lnTo>
                      <a:pt x="69" y="187"/>
                    </a:lnTo>
                    <a:lnTo>
                      <a:pt x="67" y="185"/>
                    </a:lnTo>
                    <a:lnTo>
                      <a:pt x="67" y="184"/>
                    </a:lnTo>
                    <a:lnTo>
                      <a:pt x="67" y="185"/>
                    </a:lnTo>
                    <a:lnTo>
                      <a:pt x="65" y="184"/>
                    </a:lnTo>
                    <a:lnTo>
                      <a:pt x="63" y="182"/>
                    </a:lnTo>
                    <a:lnTo>
                      <a:pt x="63" y="172"/>
                    </a:lnTo>
                    <a:lnTo>
                      <a:pt x="57" y="172"/>
                    </a:lnTo>
                    <a:lnTo>
                      <a:pt x="57" y="170"/>
                    </a:lnTo>
                    <a:lnTo>
                      <a:pt x="57" y="164"/>
                    </a:lnTo>
                    <a:lnTo>
                      <a:pt x="61" y="157"/>
                    </a:lnTo>
                    <a:lnTo>
                      <a:pt x="59" y="157"/>
                    </a:lnTo>
                    <a:lnTo>
                      <a:pt x="59" y="155"/>
                    </a:lnTo>
                    <a:lnTo>
                      <a:pt x="57" y="153"/>
                    </a:lnTo>
                    <a:lnTo>
                      <a:pt x="57" y="151"/>
                    </a:lnTo>
                    <a:lnTo>
                      <a:pt x="56" y="151"/>
                    </a:lnTo>
                    <a:lnTo>
                      <a:pt x="56" y="149"/>
                    </a:lnTo>
                    <a:lnTo>
                      <a:pt x="56" y="147"/>
                    </a:lnTo>
                    <a:lnTo>
                      <a:pt x="54" y="147"/>
                    </a:lnTo>
                    <a:lnTo>
                      <a:pt x="54" y="145"/>
                    </a:lnTo>
                    <a:lnTo>
                      <a:pt x="52" y="145"/>
                    </a:lnTo>
                    <a:lnTo>
                      <a:pt x="52" y="143"/>
                    </a:lnTo>
                    <a:lnTo>
                      <a:pt x="52" y="145"/>
                    </a:lnTo>
                    <a:lnTo>
                      <a:pt x="50" y="145"/>
                    </a:lnTo>
                    <a:lnTo>
                      <a:pt x="46" y="142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8" y="136"/>
                    </a:lnTo>
                    <a:lnTo>
                      <a:pt x="35" y="136"/>
                    </a:lnTo>
                    <a:lnTo>
                      <a:pt x="33" y="136"/>
                    </a:lnTo>
                    <a:lnTo>
                      <a:pt x="33" y="134"/>
                    </a:lnTo>
                    <a:lnTo>
                      <a:pt x="35" y="134"/>
                    </a:lnTo>
                    <a:lnTo>
                      <a:pt x="31" y="132"/>
                    </a:lnTo>
                    <a:lnTo>
                      <a:pt x="33" y="132"/>
                    </a:lnTo>
                    <a:lnTo>
                      <a:pt x="35" y="130"/>
                    </a:lnTo>
                    <a:lnTo>
                      <a:pt x="33" y="128"/>
                    </a:lnTo>
                    <a:lnTo>
                      <a:pt x="33" y="126"/>
                    </a:lnTo>
                    <a:lnTo>
                      <a:pt x="31" y="126"/>
                    </a:lnTo>
                    <a:lnTo>
                      <a:pt x="31" y="124"/>
                    </a:lnTo>
                    <a:lnTo>
                      <a:pt x="31" y="126"/>
                    </a:lnTo>
                    <a:lnTo>
                      <a:pt x="29" y="124"/>
                    </a:lnTo>
                    <a:lnTo>
                      <a:pt x="31" y="124"/>
                    </a:lnTo>
                    <a:lnTo>
                      <a:pt x="29" y="122"/>
                    </a:lnTo>
                    <a:lnTo>
                      <a:pt x="27" y="122"/>
                    </a:lnTo>
                    <a:lnTo>
                      <a:pt x="25" y="121"/>
                    </a:lnTo>
                    <a:lnTo>
                      <a:pt x="25" y="119"/>
                    </a:lnTo>
                    <a:lnTo>
                      <a:pt x="23" y="117"/>
                    </a:lnTo>
                    <a:lnTo>
                      <a:pt x="21" y="117"/>
                    </a:lnTo>
                    <a:lnTo>
                      <a:pt x="23" y="115"/>
                    </a:lnTo>
                    <a:lnTo>
                      <a:pt x="25" y="113"/>
                    </a:lnTo>
                    <a:lnTo>
                      <a:pt x="23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1" y="107"/>
                    </a:lnTo>
                    <a:lnTo>
                      <a:pt x="23" y="107"/>
                    </a:lnTo>
                    <a:lnTo>
                      <a:pt x="23" y="105"/>
                    </a:lnTo>
                    <a:lnTo>
                      <a:pt x="23" y="103"/>
                    </a:lnTo>
                    <a:lnTo>
                      <a:pt x="25" y="105"/>
                    </a:lnTo>
                    <a:lnTo>
                      <a:pt x="27" y="105"/>
                    </a:lnTo>
                    <a:lnTo>
                      <a:pt x="27" y="103"/>
                    </a:lnTo>
                    <a:lnTo>
                      <a:pt x="27" y="102"/>
                    </a:lnTo>
                    <a:lnTo>
                      <a:pt x="25" y="102"/>
                    </a:lnTo>
                    <a:lnTo>
                      <a:pt x="27" y="102"/>
                    </a:lnTo>
                    <a:lnTo>
                      <a:pt x="27" y="100"/>
                    </a:lnTo>
                    <a:lnTo>
                      <a:pt x="27" y="98"/>
                    </a:lnTo>
                    <a:lnTo>
                      <a:pt x="29" y="98"/>
                    </a:lnTo>
                    <a:lnTo>
                      <a:pt x="29" y="96"/>
                    </a:lnTo>
                    <a:lnTo>
                      <a:pt x="31" y="96"/>
                    </a:lnTo>
                    <a:lnTo>
                      <a:pt x="29" y="94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3" y="94"/>
                    </a:lnTo>
                    <a:lnTo>
                      <a:pt x="35" y="94"/>
                    </a:lnTo>
                    <a:lnTo>
                      <a:pt x="33" y="94"/>
                    </a:lnTo>
                    <a:lnTo>
                      <a:pt x="35" y="92"/>
                    </a:lnTo>
                    <a:lnTo>
                      <a:pt x="33" y="92"/>
                    </a:lnTo>
                    <a:lnTo>
                      <a:pt x="33" y="90"/>
                    </a:lnTo>
                    <a:lnTo>
                      <a:pt x="33" y="88"/>
                    </a:lnTo>
                    <a:lnTo>
                      <a:pt x="31" y="86"/>
                    </a:lnTo>
                    <a:lnTo>
                      <a:pt x="31" y="84"/>
                    </a:lnTo>
                    <a:lnTo>
                      <a:pt x="31" y="82"/>
                    </a:lnTo>
                    <a:lnTo>
                      <a:pt x="33" y="82"/>
                    </a:lnTo>
                    <a:lnTo>
                      <a:pt x="35" y="82"/>
                    </a:lnTo>
                    <a:lnTo>
                      <a:pt x="37" y="81"/>
                    </a:lnTo>
                    <a:lnTo>
                      <a:pt x="35" y="81"/>
                    </a:lnTo>
                    <a:lnTo>
                      <a:pt x="33" y="81"/>
                    </a:lnTo>
                    <a:lnTo>
                      <a:pt x="33" y="79"/>
                    </a:lnTo>
                    <a:lnTo>
                      <a:pt x="31" y="81"/>
                    </a:lnTo>
                    <a:lnTo>
                      <a:pt x="29" y="81"/>
                    </a:lnTo>
                    <a:lnTo>
                      <a:pt x="27" y="81"/>
                    </a:lnTo>
                    <a:lnTo>
                      <a:pt x="25" y="79"/>
                    </a:lnTo>
                    <a:lnTo>
                      <a:pt x="23" y="77"/>
                    </a:lnTo>
                    <a:lnTo>
                      <a:pt x="21" y="77"/>
                    </a:lnTo>
                    <a:lnTo>
                      <a:pt x="21" y="75"/>
                    </a:lnTo>
                    <a:lnTo>
                      <a:pt x="19" y="73"/>
                    </a:lnTo>
                    <a:lnTo>
                      <a:pt x="21" y="73"/>
                    </a:lnTo>
                    <a:lnTo>
                      <a:pt x="19" y="73"/>
                    </a:lnTo>
                    <a:lnTo>
                      <a:pt x="19" y="71"/>
                    </a:lnTo>
                    <a:lnTo>
                      <a:pt x="19" y="69"/>
                    </a:lnTo>
                    <a:lnTo>
                      <a:pt x="17" y="69"/>
                    </a:lnTo>
                    <a:lnTo>
                      <a:pt x="16" y="69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4" y="61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4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4" y="39"/>
                    </a:lnTo>
                    <a:lnTo>
                      <a:pt x="4" y="40"/>
                    </a:lnTo>
                    <a:lnTo>
                      <a:pt x="4" y="39"/>
                    </a:lnTo>
                    <a:lnTo>
                      <a:pt x="2" y="39"/>
                    </a:lnTo>
                    <a:lnTo>
                      <a:pt x="4" y="39"/>
                    </a:lnTo>
                    <a:lnTo>
                      <a:pt x="2" y="37"/>
                    </a:lnTo>
                    <a:lnTo>
                      <a:pt x="4" y="37"/>
                    </a:lnTo>
                    <a:lnTo>
                      <a:pt x="4" y="35"/>
                    </a:lnTo>
                    <a:lnTo>
                      <a:pt x="6" y="35"/>
                    </a:lnTo>
                    <a:lnTo>
                      <a:pt x="4" y="35"/>
                    </a:lnTo>
                    <a:lnTo>
                      <a:pt x="6" y="35"/>
                    </a:lnTo>
                    <a:lnTo>
                      <a:pt x="6" y="31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2" y="19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4"/>
                    </a:lnTo>
                    <a:close/>
                    <a:moveTo>
                      <a:pt x="193" y="245"/>
                    </a:moveTo>
                    <a:lnTo>
                      <a:pt x="195" y="245"/>
                    </a:lnTo>
                    <a:lnTo>
                      <a:pt x="195" y="247"/>
                    </a:lnTo>
                    <a:lnTo>
                      <a:pt x="193" y="247"/>
                    </a:lnTo>
                    <a:lnTo>
                      <a:pt x="193" y="248"/>
                    </a:lnTo>
                    <a:lnTo>
                      <a:pt x="189" y="250"/>
                    </a:lnTo>
                    <a:lnTo>
                      <a:pt x="187" y="250"/>
                    </a:lnTo>
                    <a:lnTo>
                      <a:pt x="185" y="250"/>
                    </a:lnTo>
                    <a:lnTo>
                      <a:pt x="183" y="252"/>
                    </a:lnTo>
                    <a:lnTo>
                      <a:pt x="181" y="252"/>
                    </a:lnTo>
                    <a:lnTo>
                      <a:pt x="180" y="252"/>
                    </a:lnTo>
                    <a:lnTo>
                      <a:pt x="178" y="252"/>
                    </a:lnTo>
                    <a:lnTo>
                      <a:pt x="178" y="250"/>
                    </a:lnTo>
                    <a:lnTo>
                      <a:pt x="180" y="250"/>
                    </a:lnTo>
                    <a:lnTo>
                      <a:pt x="183" y="250"/>
                    </a:lnTo>
                    <a:lnTo>
                      <a:pt x="185" y="248"/>
                    </a:lnTo>
                    <a:lnTo>
                      <a:pt x="187" y="248"/>
                    </a:lnTo>
                    <a:lnTo>
                      <a:pt x="187" y="247"/>
                    </a:lnTo>
                    <a:lnTo>
                      <a:pt x="185" y="247"/>
                    </a:lnTo>
                    <a:lnTo>
                      <a:pt x="187" y="247"/>
                    </a:lnTo>
                    <a:lnTo>
                      <a:pt x="189" y="247"/>
                    </a:lnTo>
                    <a:lnTo>
                      <a:pt x="191" y="247"/>
                    </a:lnTo>
                    <a:lnTo>
                      <a:pt x="193" y="245"/>
                    </a:lnTo>
                    <a:close/>
                    <a:moveTo>
                      <a:pt x="157" y="252"/>
                    </a:moveTo>
                    <a:lnTo>
                      <a:pt x="159" y="252"/>
                    </a:lnTo>
                    <a:lnTo>
                      <a:pt x="159" y="254"/>
                    </a:lnTo>
                    <a:lnTo>
                      <a:pt x="157" y="254"/>
                    </a:lnTo>
                    <a:lnTo>
                      <a:pt x="157" y="252"/>
                    </a:lnTo>
                    <a:close/>
                    <a:moveTo>
                      <a:pt x="145" y="248"/>
                    </a:moveTo>
                    <a:lnTo>
                      <a:pt x="147" y="248"/>
                    </a:lnTo>
                    <a:lnTo>
                      <a:pt x="149" y="248"/>
                    </a:lnTo>
                    <a:lnTo>
                      <a:pt x="147" y="248"/>
                    </a:lnTo>
                    <a:lnTo>
                      <a:pt x="145" y="248"/>
                    </a:lnTo>
                    <a:close/>
                    <a:moveTo>
                      <a:pt x="195" y="247"/>
                    </a:moveTo>
                    <a:lnTo>
                      <a:pt x="197" y="247"/>
                    </a:lnTo>
                    <a:lnTo>
                      <a:pt x="197" y="248"/>
                    </a:lnTo>
                    <a:lnTo>
                      <a:pt x="195" y="248"/>
                    </a:lnTo>
                    <a:lnTo>
                      <a:pt x="195" y="247"/>
                    </a:lnTo>
                    <a:close/>
                    <a:moveTo>
                      <a:pt x="197" y="243"/>
                    </a:moveTo>
                    <a:lnTo>
                      <a:pt x="199" y="243"/>
                    </a:lnTo>
                    <a:lnTo>
                      <a:pt x="199" y="245"/>
                    </a:lnTo>
                    <a:lnTo>
                      <a:pt x="197" y="245"/>
                    </a:lnTo>
                    <a:lnTo>
                      <a:pt x="197" y="243"/>
                    </a:lnTo>
                    <a:close/>
                    <a:moveTo>
                      <a:pt x="187" y="250"/>
                    </a:moveTo>
                    <a:lnTo>
                      <a:pt x="189" y="250"/>
                    </a:lnTo>
                    <a:lnTo>
                      <a:pt x="189" y="252"/>
                    </a:lnTo>
                    <a:lnTo>
                      <a:pt x="187" y="252"/>
                    </a:lnTo>
                    <a:lnTo>
                      <a:pt x="187" y="250"/>
                    </a:lnTo>
                    <a:close/>
                    <a:moveTo>
                      <a:pt x="151" y="250"/>
                    </a:moveTo>
                    <a:lnTo>
                      <a:pt x="153" y="250"/>
                    </a:lnTo>
                    <a:lnTo>
                      <a:pt x="151" y="250"/>
                    </a:lnTo>
                    <a:close/>
                    <a:moveTo>
                      <a:pt x="157" y="50"/>
                    </a:moveTo>
                    <a:lnTo>
                      <a:pt x="159" y="58"/>
                    </a:lnTo>
                    <a:lnTo>
                      <a:pt x="157" y="52"/>
                    </a:lnTo>
                    <a:lnTo>
                      <a:pt x="157" y="50"/>
                    </a:lnTo>
                    <a:close/>
                    <a:moveTo>
                      <a:pt x="174" y="264"/>
                    </a:moveTo>
                    <a:lnTo>
                      <a:pt x="176" y="264"/>
                    </a:lnTo>
                    <a:lnTo>
                      <a:pt x="176" y="266"/>
                    </a:lnTo>
                    <a:lnTo>
                      <a:pt x="174" y="266"/>
                    </a:lnTo>
                    <a:lnTo>
                      <a:pt x="174" y="264"/>
                    </a:lnTo>
                    <a:close/>
                    <a:moveTo>
                      <a:pt x="82" y="182"/>
                    </a:moveTo>
                    <a:lnTo>
                      <a:pt x="82" y="184"/>
                    </a:lnTo>
                    <a:lnTo>
                      <a:pt x="82" y="182"/>
                    </a:lnTo>
                    <a:close/>
                    <a:moveTo>
                      <a:pt x="159" y="58"/>
                    </a:moveTo>
                    <a:lnTo>
                      <a:pt x="159" y="60"/>
                    </a:lnTo>
                    <a:lnTo>
                      <a:pt x="159" y="58"/>
                    </a:lnTo>
                    <a:close/>
                    <a:moveTo>
                      <a:pt x="117" y="229"/>
                    </a:moveTo>
                    <a:lnTo>
                      <a:pt x="119" y="229"/>
                    </a:lnTo>
                    <a:lnTo>
                      <a:pt x="117" y="229"/>
                    </a:lnTo>
                    <a:close/>
                    <a:moveTo>
                      <a:pt x="77" y="184"/>
                    </a:moveTo>
                    <a:lnTo>
                      <a:pt x="78" y="184"/>
                    </a:lnTo>
                    <a:lnTo>
                      <a:pt x="78" y="185"/>
                    </a:lnTo>
                    <a:lnTo>
                      <a:pt x="77" y="185"/>
                    </a:lnTo>
                    <a:lnTo>
                      <a:pt x="77" y="184"/>
                    </a:lnTo>
                    <a:close/>
                    <a:moveTo>
                      <a:pt x="204" y="245"/>
                    </a:moveTo>
                    <a:lnTo>
                      <a:pt x="204" y="247"/>
                    </a:lnTo>
                    <a:lnTo>
                      <a:pt x="204" y="245"/>
                    </a:lnTo>
                    <a:close/>
                    <a:moveTo>
                      <a:pt x="212" y="268"/>
                    </a:moveTo>
                    <a:lnTo>
                      <a:pt x="214" y="268"/>
                    </a:lnTo>
                    <a:lnTo>
                      <a:pt x="212" y="268"/>
                    </a:lnTo>
                    <a:close/>
                    <a:moveTo>
                      <a:pt x="218" y="268"/>
                    </a:moveTo>
                    <a:lnTo>
                      <a:pt x="220" y="268"/>
                    </a:lnTo>
                    <a:lnTo>
                      <a:pt x="220" y="269"/>
                    </a:lnTo>
                    <a:lnTo>
                      <a:pt x="218" y="269"/>
                    </a:lnTo>
                    <a:lnTo>
                      <a:pt x="218" y="268"/>
                    </a:lnTo>
                    <a:close/>
                    <a:moveTo>
                      <a:pt x="229" y="269"/>
                    </a:moveTo>
                    <a:lnTo>
                      <a:pt x="231" y="269"/>
                    </a:lnTo>
                    <a:lnTo>
                      <a:pt x="229" y="269"/>
                    </a:lnTo>
                    <a:close/>
                    <a:moveTo>
                      <a:pt x="78" y="185"/>
                    </a:moveTo>
                    <a:lnTo>
                      <a:pt x="80" y="185"/>
                    </a:lnTo>
                    <a:lnTo>
                      <a:pt x="78" y="185"/>
                    </a:lnTo>
                    <a:close/>
                    <a:moveTo>
                      <a:pt x="82" y="182"/>
                    </a:moveTo>
                    <a:lnTo>
                      <a:pt x="82" y="184"/>
                    </a:lnTo>
                    <a:lnTo>
                      <a:pt x="82" y="182"/>
                    </a:lnTo>
                    <a:close/>
                    <a:moveTo>
                      <a:pt x="80" y="187"/>
                    </a:moveTo>
                    <a:lnTo>
                      <a:pt x="82" y="187"/>
                    </a:lnTo>
                    <a:lnTo>
                      <a:pt x="80" y="187"/>
                    </a:lnTo>
                    <a:close/>
                    <a:moveTo>
                      <a:pt x="206" y="256"/>
                    </a:moveTo>
                    <a:lnTo>
                      <a:pt x="208" y="256"/>
                    </a:lnTo>
                    <a:lnTo>
                      <a:pt x="208" y="258"/>
                    </a:lnTo>
                    <a:lnTo>
                      <a:pt x="206" y="258"/>
                    </a:lnTo>
                    <a:lnTo>
                      <a:pt x="206" y="256"/>
                    </a:lnTo>
                    <a:close/>
                    <a:moveTo>
                      <a:pt x="103" y="199"/>
                    </a:moveTo>
                    <a:lnTo>
                      <a:pt x="103" y="201"/>
                    </a:lnTo>
                    <a:lnTo>
                      <a:pt x="103" y="199"/>
                    </a:lnTo>
                    <a:close/>
                    <a:moveTo>
                      <a:pt x="162" y="250"/>
                    </a:moveTo>
                    <a:lnTo>
                      <a:pt x="164" y="250"/>
                    </a:lnTo>
                    <a:lnTo>
                      <a:pt x="162" y="250"/>
                    </a:lnTo>
                    <a:close/>
                    <a:moveTo>
                      <a:pt x="210" y="262"/>
                    </a:moveTo>
                    <a:lnTo>
                      <a:pt x="210" y="264"/>
                    </a:lnTo>
                    <a:lnTo>
                      <a:pt x="210" y="26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7" name="Freeform 119">
                <a:extLst>
                  <a:ext uri="{FF2B5EF4-FFF2-40B4-BE49-F238E27FC236}">
                    <a16:creationId xmlns:a16="http://schemas.microsoft.com/office/drawing/2014/main" id="{388D1B27-F614-55E6-384D-EB30E7577F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1537" y="-2798476"/>
                <a:ext cx="36239" cy="115235"/>
              </a:xfrm>
              <a:custGeom>
                <a:avLst/>
                <a:gdLst>
                  <a:gd name="T0" fmla="*/ 2 w 23"/>
                  <a:gd name="T1" fmla="*/ 38 h 73"/>
                  <a:gd name="T2" fmla="*/ 6 w 23"/>
                  <a:gd name="T3" fmla="*/ 35 h 73"/>
                  <a:gd name="T4" fmla="*/ 6 w 23"/>
                  <a:gd name="T5" fmla="*/ 31 h 73"/>
                  <a:gd name="T6" fmla="*/ 9 w 23"/>
                  <a:gd name="T7" fmla="*/ 23 h 73"/>
                  <a:gd name="T8" fmla="*/ 11 w 23"/>
                  <a:gd name="T9" fmla="*/ 10 h 73"/>
                  <a:gd name="T10" fmla="*/ 11 w 23"/>
                  <a:gd name="T11" fmla="*/ 10 h 73"/>
                  <a:gd name="T12" fmla="*/ 13 w 23"/>
                  <a:gd name="T13" fmla="*/ 8 h 73"/>
                  <a:gd name="T14" fmla="*/ 15 w 23"/>
                  <a:gd name="T15" fmla="*/ 4 h 73"/>
                  <a:gd name="T16" fmla="*/ 17 w 23"/>
                  <a:gd name="T17" fmla="*/ 6 h 73"/>
                  <a:gd name="T18" fmla="*/ 19 w 23"/>
                  <a:gd name="T19" fmla="*/ 4 h 73"/>
                  <a:gd name="T20" fmla="*/ 21 w 23"/>
                  <a:gd name="T21" fmla="*/ 2 h 73"/>
                  <a:gd name="T22" fmla="*/ 23 w 23"/>
                  <a:gd name="T23" fmla="*/ 2 h 73"/>
                  <a:gd name="T24" fmla="*/ 23 w 23"/>
                  <a:gd name="T25" fmla="*/ 6 h 73"/>
                  <a:gd name="T26" fmla="*/ 21 w 23"/>
                  <a:gd name="T27" fmla="*/ 8 h 73"/>
                  <a:gd name="T28" fmla="*/ 23 w 23"/>
                  <a:gd name="T29" fmla="*/ 12 h 73"/>
                  <a:gd name="T30" fmla="*/ 21 w 23"/>
                  <a:gd name="T31" fmla="*/ 14 h 73"/>
                  <a:gd name="T32" fmla="*/ 21 w 23"/>
                  <a:gd name="T33" fmla="*/ 17 h 73"/>
                  <a:gd name="T34" fmla="*/ 19 w 23"/>
                  <a:gd name="T35" fmla="*/ 15 h 73"/>
                  <a:gd name="T36" fmla="*/ 15 w 23"/>
                  <a:gd name="T37" fmla="*/ 15 h 73"/>
                  <a:gd name="T38" fmla="*/ 13 w 23"/>
                  <a:gd name="T39" fmla="*/ 19 h 73"/>
                  <a:gd name="T40" fmla="*/ 13 w 23"/>
                  <a:gd name="T41" fmla="*/ 21 h 73"/>
                  <a:gd name="T42" fmla="*/ 11 w 23"/>
                  <a:gd name="T43" fmla="*/ 23 h 73"/>
                  <a:gd name="T44" fmla="*/ 11 w 23"/>
                  <a:gd name="T45" fmla="*/ 27 h 73"/>
                  <a:gd name="T46" fmla="*/ 13 w 23"/>
                  <a:gd name="T47" fmla="*/ 29 h 73"/>
                  <a:gd name="T48" fmla="*/ 13 w 23"/>
                  <a:gd name="T49" fmla="*/ 29 h 73"/>
                  <a:gd name="T50" fmla="*/ 15 w 23"/>
                  <a:gd name="T51" fmla="*/ 31 h 73"/>
                  <a:gd name="T52" fmla="*/ 11 w 23"/>
                  <a:gd name="T53" fmla="*/ 35 h 73"/>
                  <a:gd name="T54" fmla="*/ 11 w 23"/>
                  <a:gd name="T55" fmla="*/ 38 h 73"/>
                  <a:gd name="T56" fmla="*/ 13 w 23"/>
                  <a:gd name="T57" fmla="*/ 38 h 73"/>
                  <a:gd name="T58" fmla="*/ 19 w 23"/>
                  <a:gd name="T59" fmla="*/ 35 h 73"/>
                  <a:gd name="T60" fmla="*/ 19 w 23"/>
                  <a:gd name="T61" fmla="*/ 38 h 73"/>
                  <a:gd name="T62" fmla="*/ 19 w 23"/>
                  <a:gd name="T63" fmla="*/ 42 h 73"/>
                  <a:gd name="T64" fmla="*/ 19 w 23"/>
                  <a:gd name="T65" fmla="*/ 46 h 73"/>
                  <a:gd name="T66" fmla="*/ 17 w 23"/>
                  <a:gd name="T67" fmla="*/ 48 h 73"/>
                  <a:gd name="T68" fmla="*/ 15 w 23"/>
                  <a:gd name="T69" fmla="*/ 52 h 73"/>
                  <a:gd name="T70" fmla="*/ 15 w 23"/>
                  <a:gd name="T71" fmla="*/ 56 h 73"/>
                  <a:gd name="T72" fmla="*/ 15 w 23"/>
                  <a:gd name="T73" fmla="*/ 59 h 73"/>
                  <a:gd name="T74" fmla="*/ 13 w 23"/>
                  <a:gd name="T75" fmla="*/ 65 h 73"/>
                  <a:gd name="T76" fmla="*/ 13 w 23"/>
                  <a:gd name="T77" fmla="*/ 69 h 73"/>
                  <a:gd name="T78" fmla="*/ 11 w 23"/>
                  <a:gd name="T79" fmla="*/ 73 h 73"/>
                  <a:gd name="T80" fmla="*/ 9 w 23"/>
                  <a:gd name="T81" fmla="*/ 69 h 73"/>
                  <a:gd name="T82" fmla="*/ 6 w 23"/>
                  <a:gd name="T83" fmla="*/ 56 h 73"/>
                  <a:gd name="T84" fmla="*/ 4 w 23"/>
                  <a:gd name="T85" fmla="*/ 52 h 73"/>
                  <a:gd name="T86" fmla="*/ 2 w 23"/>
                  <a:gd name="T87" fmla="*/ 4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" h="73">
                    <a:moveTo>
                      <a:pt x="0" y="40"/>
                    </a:moveTo>
                    <a:lnTo>
                      <a:pt x="2" y="38"/>
                    </a:lnTo>
                    <a:lnTo>
                      <a:pt x="2" y="36"/>
                    </a:lnTo>
                    <a:lnTo>
                      <a:pt x="6" y="35"/>
                    </a:lnTo>
                    <a:lnTo>
                      <a:pt x="4" y="33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9" y="23"/>
                    </a:lnTo>
                    <a:lnTo>
                      <a:pt x="11" y="15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1" y="8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21" y="15"/>
                    </a:lnTo>
                    <a:lnTo>
                      <a:pt x="21" y="17"/>
                    </a:lnTo>
                    <a:lnTo>
                      <a:pt x="19" y="17"/>
                    </a:lnTo>
                    <a:lnTo>
                      <a:pt x="19" y="15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1" y="25"/>
                    </a:lnTo>
                    <a:lnTo>
                      <a:pt x="11" y="27"/>
                    </a:lnTo>
                    <a:lnTo>
                      <a:pt x="13" y="27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13" y="29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11" y="33"/>
                    </a:lnTo>
                    <a:lnTo>
                      <a:pt x="11" y="35"/>
                    </a:lnTo>
                    <a:lnTo>
                      <a:pt x="9" y="36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19" y="35"/>
                    </a:lnTo>
                    <a:lnTo>
                      <a:pt x="19" y="36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4"/>
                    </a:lnTo>
                    <a:lnTo>
                      <a:pt x="19" y="46"/>
                    </a:lnTo>
                    <a:lnTo>
                      <a:pt x="17" y="46"/>
                    </a:lnTo>
                    <a:lnTo>
                      <a:pt x="17" y="48"/>
                    </a:lnTo>
                    <a:lnTo>
                      <a:pt x="17" y="50"/>
                    </a:lnTo>
                    <a:lnTo>
                      <a:pt x="15" y="52"/>
                    </a:lnTo>
                    <a:lnTo>
                      <a:pt x="15" y="54"/>
                    </a:lnTo>
                    <a:lnTo>
                      <a:pt x="15" y="56"/>
                    </a:lnTo>
                    <a:lnTo>
                      <a:pt x="15" y="57"/>
                    </a:lnTo>
                    <a:lnTo>
                      <a:pt x="15" y="59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7"/>
                    </a:lnTo>
                    <a:lnTo>
                      <a:pt x="13" y="69"/>
                    </a:lnTo>
                    <a:lnTo>
                      <a:pt x="11" y="71"/>
                    </a:lnTo>
                    <a:lnTo>
                      <a:pt x="11" y="73"/>
                    </a:lnTo>
                    <a:lnTo>
                      <a:pt x="9" y="71"/>
                    </a:lnTo>
                    <a:lnTo>
                      <a:pt x="9" y="69"/>
                    </a:lnTo>
                    <a:lnTo>
                      <a:pt x="9" y="67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2" y="46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8" name="Freeform 227">
                <a:extLst>
                  <a:ext uri="{FF2B5EF4-FFF2-40B4-BE49-F238E27FC236}">
                    <a16:creationId xmlns:a16="http://schemas.microsoft.com/office/drawing/2014/main" id="{E7B1AA05-6BFD-3E27-D4C6-A6073626F7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72020" y="-2839517"/>
                <a:ext cx="39389" cy="50512"/>
              </a:xfrm>
              <a:custGeom>
                <a:avLst/>
                <a:gdLst>
                  <a:gd name="T0" fmla="*/ 12 w 25"/>
                  <a:gd name="T1" fmla="*/ 26 h 32"/>
                  <a:gd name="T2" fmla="*/ 10 w 25"/>
                  <a:gd name="T3" fmla="*/ 26 h 32"/>
                  <a:gd name="T4" fmla="*/ 10 w 25"/>
                  <a:gd name="T5" fmla="*/ 28 h 32"/>
                  <a:gd name="T6" fmla="*/ 8 w 25"/>
                  <a:gd name="T7" fmla="*/ 26 h 32"/>
                  <a:gd name="T8" fmla="*/ 8 w 25"/>
                  <a:gd name="T9" fmla="*/ 28 h 32"/>
                  <a:gd name="T10" fmla="*/ 8 w 25"/>
                  <a:gd name="T11" fmla="*/ 30 h 32"/>
                  <a:gd name="T12" fmla="*/ 6 w 25"/>
                  <a:gd name="T13" fmla="*/ 30 h 32"/>
                  <a:gd name="T14" fmla="*/ 6 w 25"/>
                  <a:gd name="T15" fmla="*/ 32 h 32"/>
                  <a:gd name="T16" fmla="*/ 4 w 25"/>
                  <a:gd name="T17" fmla="*/ 32 h 32"/>
                  <a:gd name="T18" fmla="*/ 4 w 25"/>
                  <a:gd name="T19" fmla="*/ 30 h 32"/>
                  <a:gd name="T20" fmla="*/ 2 w 25"/>
                  <a:gd name="T21" fmla="*/ 30 h 32"/>
                  <a:gd name="T22" fmla="*/ 0 w 25"/>
                  <a:gd name="T23" fmla="*/ 30 h 32"/>
                  <a:gd name="T24" fmla="*/ 2 w 25"/>
                  <a:gd name="T25" fmla="*/ 28 h 32"/>
                  <a:gd name="T26" fmla="*/ 2 w 25"/>
                  <a:gd name="T27" fmla="*/ 26 h 32"/>
                  <a:gd name="T28" fmla="*/ 4 w 25"/>
                  <a:gd name="T29" fmla="*/ 24 h 32"/>
                  <a:gd name="T30" fmla="*/ 4 w 25"/>
                  <a:gd name="T31" fmla="*/ 22 h 32"/>
                  <a:gd name="T32" fmla="*/ 6 w 25"/>
                  <a:gd name="T33" fmla="*/ 20 h 32"/>
                  <a:gd name="T34" fmla="*/ 6 w 25"/>
                  <a:gd name="T35" fmla="*/ 19 h 32"/>
                  <a:gd name="T36" fmla="*/ 6 w 25"/>
                  <a:gd name="T37" fmla="*/ 17 h 32"/>
                  <a:gd name="T38" fmla="*/ 6 w 25"/>
                  <a:gd name="T39" fmla="*/ 15 h 32"/>
                  <a:gd name="T40" fmla="*/ 8 w 25"/>
                  <a:gd name="T41" fmla="*/ 15 h 32"/>
                  <a:gd name="T42" fmla="*/ 10 w 25"/>
                  <a:gd name="T43" fmla="*/ 13 h 32"/>
                  <a:gd name="T44" fmla="*/ 10 w 25"/>
                  <a:gd name="T45" fmla="*/ 11 h 32"/>
                  <a:gd name="T46" fmla="*/ 10 w 25"/>
                  <a:gd name="T47" fmla="*/ 9 h 32"/>
                  <a:gd name="T48" fmla="*/ 10 w 25"/>
                  <a:gd name="T49" fmla="*/ 7 h 32"/>
                  <a:gd name="T50" fmla="*/ 12 w 25"/>
                  <a:gd name="T51" fmla="*/ 7 h 32"/>
                  <a:gd name="T52" fmla="*/ 12 w 25"/>
                  <a:gd name="T53" fmla="*/ 5 h 32"/>
                  <a:gd name="T54" fmla="*/ 14 w 25"/>
                  <a:gd name="T55" fmla="*/ 5 h 32"/>
                  <a:gd name="T56" fmla="*/ 14 w 25"/>
                  <a:gd name="T57" fmla="*/ 3 h 32"/>
                  <a:gd name="T58" fmla="*/ 16 w 25"/>
                  <a:gd name="T59" fmla="*/ 3 h 32"/>
                  <a:gd name="T60" fmla="*/ 16 w 25"/>
                  <a:gd name="T61" fmla="*/ 1 h 32"/>
                  <a:gd name="T62" fmla="*/ 17 w 25"/>
                  <a:gd name="T63" fmla="*/ 1 h 32"/>
                  <a:gd name="T64" fmla="*/ 19 w 25"/>
                  <a:gd name="T65" fmla="*/ 1 h 32"/>
                  <a:gd name="T66" fmla="*/ 19 w 25"/>
                  <a:gd name="T67" fmla="*/ 0 h 32"/>
                  <a:gd name="T68" fmla="*/ 21 w 25"/>
                  <a:gd name="T69" fmla="*/ 0 h 32"/>
                  <a:gd name="T70" fmla="*/ 21 w 25"/>
                  <a:gd name="T71" fmla="*/ 1 h 32"/>
                  <a:gd name="T72" fmla="*/ 23 w 25"/>
                  <a:gd name="T73" fmla="*/ 1 h 32"/>
                  <a:gd name="T74" fmla="*/ 21 w 25"/>
                  <a:gd name="T75" fmla="*/ 1 h 32"/>
                  <a:gd name="T76" fmla="*/ 21 w 25"/>
                  <a:gd name="T77" fmla="*/ 3 h 32"/>
                  <a:gd name="T78" fmla="*/ 23 w 25"/>
                  <a:gd name="T79" fmla="*/ 5 h 32"/>
                  <a:gd name="T80" fmla="*/ 23 w 25"/>
                  <a:gd name="T81" fmla="*/ 7 h 32"/>
                  <a:gd name="T82" fmla="*/ 25 w 25"/>
                  <a:gd name="T83" fmla="*/ 7 h 32"/>
                  <a:gd name="T84" fmla="*/ 25 w 25"/>
                  <a:gd name="T85" fmla="*/ 9 h 32"/>
                  <a:gd name="T86" fmla="*/ 25 w 25"/>
                  <a:gd name="T87" fmla="*/ 11 h 32"/>
                  <a:gd name="T88" fmla="*/ 23 w 25"/>
                  <a:gd name="T89" fmla="*/ 11 h 32"/>
                  <a:gd name="T90" fmla="*/ 23 w 25"/>
                  <a:gd name="T91" fmla="*/ 13 h 32"/>
                  <a:gd name="T92" fmla="*/ 21 w 25"/>
                  <a:gd name="T93" fmla="*/ 13 h 32"/>
                  <a:gd name="T94" fmla="*/ 19 w 25"/>
                  <a:gd name="T95" fmla="*/ 15 h 32"/>
                  <a:gd name="T96" fmla="*/ 21 w 25"/>
                  <a:gd name="T97" fmla="*/ 17 h 32"/>
                  <a:gd name="T98" fmla="*/ 19 w 25"/>
                  <a:gd name="T99" fmla="*/ 17 h 32"/>
                  <a:gd name="T100" fmla="*/ 17 w 25"/>
                  <a:gd name="T101" fmla="*/ 17 h 32"/>
                  <a:gd name="T102" fmla="*/ 16 w 25"/>
                  <a:gd name="T103" fmla="*/ 17 h 32"/>
                  <a:gd name="T104" fmla="*/ 16 w 25"/>
                  <a:gd name="T105" fmla="*/ 19 h 32"/>
                  <a:gd name="T106" fmla="*/ 14 w 25"/>
                  <a:gd name="T107" fmla="*/ 19 h 32"/>
                  <a:gd name="T108" fmla="*/ 14 w 25"/>
                  <a:gd name="T109" fmla="*/ 20 h 32"/>
                  <a:gd name="T110" fmla="*/ 16 w 25"/>
                  <a:gd name="T111" fmla="*/ 20 h 32"/>
                  <a:gd name="T112" fmla="*/ 16 w 25"/>
                  <a:gd name="T113" fmla="*/ 22 h 32"/>
                  <a:gd name="T114" fmla="*/ 14 w 25"/>
                  <a:gd name="T115" fmla="*/ 22 h 32"/>
                  <a:gd name="T116" fmla="*/ 14 w 25"/>
                  <a:gd name="T117" fmla="*/ 24 h 32"/>
                  <a:gd name="T118" fmla="*/ 12 w 25"/>
                  <a:gd name="T119" fmla="*/ 24 h 32"/>
                  <a:gd name="T120" fmla="*/ 12 w 25"/>
                  <a:gd name="T121" fmla="*/ 2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" h="32">
                    <a:moveTo>
                      <a:pt x="12" y="26"/>
                    </a:moveTo>
                    <a:lnTo>
                      <a:pt x="10" y="26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6" y="20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8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6" y="3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19" y="1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1" y="1"/>
                    </a:lnTo>
                    <a:lnTo>
                      <a:pt x="23" y="1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3" y="5"/>
                    </a:lnTo>
                    <a:lnTo>
                      <a:pt x="23" y="7"/>
                    </a:lnTo>
                    <a:lnTo>
                      <a:pt x="25" y="7"/>
                    </a:lnTo>
                    <a:lnTo>
                      <a:pt x="25" y="9"/>
                    </a:lnTo>
                    <a:lnTo>
                      <a:pt x="25" y="11"/>
                    </a:lnTo>
                    <a:lnTo>
                      <a:pt x="23" y="11"/>
                    </a:lnTo>
                    <a:lnTo>
                      <a:pt x="23" y="13"/>
                    </a:lnTo>
                    <a:lnTo>
                      <a:pt x="21" y="13"/>
                    </a:lnTo>
                    <a:lnTo>
                      <a:pt x="19" y="15"/>
                    </a:lnTo>
                    <a:lnTo>
                      <a:pt x="21" y="17"/>
                    </a:lnTo>
                    <a:lnTo>
                      <a:pt x="19" y="17"/>
                    </a:lnTo>
                    <a:lnTo>
                      <a:pt x="17" y="17"/>
                    </a:lnTo>
                    <a:lnTo>
                      <a:pt x="16" y="17"/>
                    </a:lnTo>
                    <a:lnTo>
                      <a:pt x="16" y="19"/>
                    </a:lnTo>
                    <a:lnTo>
                      <a:pt x="14" y="19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4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9" name="Freeform 230">
                <a:extLst>
                  <a:ext uri="{FF2B5EF4-FFF2-40B4-BE49-F238E27FC236}">
                    <a16:creationId xmlns:a16="http://schemas.microsoft.com/office/drawing/2014/main" id="{FE9058B9-93D6-77C5-BE4B-198959C579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65714" y="-2774796"/>
                <a:ext cx="18908" cy="36307"/>
              </a:xfrm>
              <a:custGeom>
                <a:avLst/>
                <a:gdLst>
                  <a:gd name="T0" fmla="*/ 12 w 12"/>
                  <a:gd name="T1" fmla="*/ 2 h 23"/>
                  <a:gd name="T2" fmla="*/ 12 w 12"/>
                  <a:gd name="T3" fmla="*/ 6 h 23"/>
                  <a:gd name="T4" fmla="*/ 12 w 12"/>
                  <a:gd name="T5" fmla="*/ 8 h 23"/>
                  <a:gd name="T6" fmla="*/ 12 w 12"/>
                  <a:gd name="T7" fmla="*/ 10 h 23"/>
                  <a:gd name="T8" fmla="*/ 12 w 12"/>
                  <a:gd name="T9" fmla="*/ 12 h 23"/>
                  <a:gd name="T10" fmla="*/ 12 w 12"/>
                  <a:gd name="T11" fmla="*/ 14 h 23"/>
                  <a:gd name="T12" fmla="*/ 12 w 12"/>
                  <a:gd name="T13" fmla="*/ 16 h 23"/>
                  <a:gd name="T14" fmla="*/ 10 w 12"/>
                  <a:gd name="T15" fmla="*/ 18 h 23"/>
                  <a:gd name="T16" fmla="*/ 10 w 12"/>
                  <a:gd name="T17" fmla="*/ 20 h 23"/>
                  <a:gd name="T18" fmla="*/ 6 w 12"/>
                  <a:gd name="T19" fmla="*/ 21 h 23"/>
                  <a:gd name="T20" fmla="*/ 4 w 12"/>
                  <a:gd name="T21" fmla="*/ 23 h 23"/>
                  <a:gd name="T22" fmla="*/ 2 w 12"/>
                  <a:gd name="T23" fmla="*/ 21 h 23"/>
                  <a:gd name="T24" fmla="*/ 2 w 12"/>
                  <a:gd name="T25" fmla="*/ 23 h 23"/>
                  <a:gd name="T26" fmla="*/ 0 w 12"/>
                  <a:gd name="T27" fmla="*/ 21 h 23"/>
                  <a:gd name="T28" fmla="*/ 2 w 12"/>
                  <a:gd name="T29" fmla="*/ 20 h 23"/>
                  <a:gd name="T30" fmla="*/ 2 w 12"/>
                  <a:gd name="T31" fmla="*/ 18 h 23"/>
                  <a:gd name="T32" fmla="*/ 6 w 12"/>
                  <a:gd name="T33" fmla="*/ 16 h 23"/>
                  <a:gd name="T34" fmla="*/ 6 w 12"/>
                  <a:gd name="T35" fmla="*/ 14 h 23"/>
                  <a:gd name="T36" fmla="*/ 4 w 12"/>
                  <a:gd name="T37" fmla="*/ 14 h 23"/>
                  <a:gd name="T38" fmla="*/ 2 w 12"/>
                  <a:gd name="T39" fmla="*/ 14 h 23"/>
                  <a:gd name="T40" fmla="*/ 4 w 12"/>
                  <a:gd name="T41" fmla="*/ 14 h 23"/>
                  <a:gd name="T42" fmla="*/ 4 w 12"/>
                  <a:gd name="T43" fmla="*/ 12 h 23"/>
                  <a:gd name="T44" fmla="*/ 2 w 12"/>
                  <a:gd name="T45" fmla="*/ 12 h 23"/>
                  <a:gd name="T46" fmla="*/ 2 w 12"/>
                  <a:gd name="T47" fmla="*/ 10 h 23"/>
                  <a:gd name="T48" fmla="*/ 2 w 12"/>
                  <a:gd name="T49" fmla="*/ 8 h 23"/>
                  <a:gd name="T50" fmla="*/ 2 w 12"/>
                  <a:gd name="T51" fmla="*/ 6 h 23"/>
                  <a:gd name="T52" fmla="*/ 4 w 12"/>
                  <a:gd name="T53" fmla="*/ 6 h 23"/>
                  <a:gd name="T54" fmla="*/ 2 w 12"/>
                  <a:gd name="T55" fmla="*/ 4 h 23"/>
                  <a:gd name="T56" fmla="*/ 4 w 12"/>
                  <a:gd name="T57" fmla="*/ 4 h 23"/>
                  <a:gd name="T58" fmla="*/ 4 w 12"/>
                  <a:gd name="T59" fmla="*/ 2 h 23"/>
                  <a:gd name="T60" fmla="*/ 6 w 12"/>
                  <a:gd name="T61" fmla="*/ 0 h 23"/>
                  <a:gd name="T62" fmla="*/ 8 w 12"/>
                  <a:gd name="T63" fmla="*/ 0 h 23"/>
                  <a:gd name="T64" fmla="*/ 10 w 12"/>
                  <a:gd name="T65" fmla="*/ 0 h 23"/>
                  <a:gd name="T66" fmla="*/ 10 w 12"/>
                  <a:gd name="T67" fmla="*/ 2 h 23"/>
                  <a:gd name="T68" fmla="*/ 12 w 12"/>
                  <a:gd name="T69" fmla="*/ 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" h="23">
                    <a:moveTo>
                      <a:pt x="12" y="2"/>
                    </a:moveTo>
                    <a:lnTo>
                      <a:pt x="12" y="6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10" y="20"/>
                    </a:lnTo>
                    <a:lnTo>
                      <a:pt x="6" y="21"/>
                    </a:lnTo>
                    <a:lnTo>
                      <a:pt x="4" y="23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0" y="21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30" name="Freeform 231">
                <a:extLst>
                  <a:ext uri="{FF2B5EF4-FFF2-40B4-BE49-F238E27FC236}">
                    <a16:creationId xmlns:a16="http://schemas.microsoft.com/office/drawing/2014/main" id="{9888B343-C7C6-73A0-C34A-FCCD317A31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1535" y="-2746383"/>
                <a:ext cx="9453" cy="11050"/>
              </a:xfrm>
              <a:custGeom>
                <a:avLst/>
                <a:gdLst>
                  <a:gd name="T0" fmla="*/ 0 w 6"/>
                  <a:gd name="T1" fmla="*/ 7 h 7"/>
                  <a:gd name="T2" fmla="*/ 0 w 6"/>
                  <a:gd name="T3" fmla="*/ 5 h 7"/>
                  <a:gd name="T4" fmla="*/ 2 w 6"/>
                  <a:gd name="T5" fmla="*/ 3 h 7"/>
                  <a:gd name="T6" fmla="*/ 4 w 6"/>
                  <a:gd name="T7" fmla="*/ 0 h 7"/>
                  <a:gd name="T8" fmla="*/ 6 w 6"/>
                  <a:gd name="T9" fmla="*/ 2 h 7"/>
                  <a:gd name="T10" fmla="*/ 2 w 6"/>
                  <a:gd name="T11" fmla="*/ 3 h 7"/>
                  <a:gd name="T12" fmla="*/ 2 w 6"/>
                  <a:gd name="T13" fmla="*/ 5 h 7"/>
                  <a:gd name="T14" fmla="*/ 0 w 6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7">
                    <a:moveTo>
                      <a:pt x="0" y="7"/>
                    </a:move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chemeClr val="tx1">
                    <a:alpha val="4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95CA664-9EA8-C272-F964-17E7423A8C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10155" y="4369652"/>
              <a:ext cx="3467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4" name="Freeform 122">
              <a:extLst>
                <a:ext uri="{FF2B5EF4-FFF2-40B4-BE49-F238E27FC236}">
                  <a16:creationId xmlns:a16="http://schemas.microsoft.com/office/drawing/2014/main" id="{66784CD6-6D15-F73B-354E-ADBFAE5DE59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72226" y="3900403"/>
              <a:ext cx="433287" cy="420207"/>
            </a:xfrm>
            <a:custGeom>
              <a:avLst/>
              <a:gdLst>
                <a:gd name="T0" fmla="*/ 248 w 250"/>
                <a:gd name="T1" fmla="*/ 31 h 242"/>
                <a:gd name="T2" fmla="*/ 248 w 250"/>
                <a:gd name="T3" fmla="*/ 42 h 242"/>
                <a:gd name="T4" fmla="*/ 246 w 250"/>
                <a:gd name="T5" fmla="*/ 52 h 242"/>
                <a:gd name="T6" fmla="*/ 246 w 250"/>
                <a:gd name="T7" fmla="*/ 61 h 242"/>
                <a:gd name="T8" fmla="*/ 248 w 250"/>
                <a:gd name="T9" fmla="*/ 73 h 242"/>
                <a:gd name="T10" fmla="*/ 248 w 250"/>
                <a:gd name="T11" fmla="*/ 147 h 242"/>
                <a:gd name="T12" fmla="*/ 248 w 250"/>
                <a:gd name="T13" fmla="*/ 235 h 242"/>
                <a:gd name="T14" fmla="*/ 181 w 250"/>
                <a:gd name="T15" fmla="*/ 216 h 242"/>
                <a:gd name="T16" fmla="*/ 118 w 250"/>
                <a:gd name="T17" fmla="*/ 183 h 242"/>
                <a:gd name="T18" fmla="*/ 69 w 250"/>
                <a:gd name="T19" fmla="*/ 181 h 242"/>
                <a:gd name="T20" fmla="*/ 35 w 250"/>
                <a:gd name="T21" fmla="*/ 160 h 242"/>
                <a:gd name="T22" fmla="*/ 23 w 250"/>
                <a:gd name="T23" fmla="*/ 156 h 242"/>
                <a:gd name="T24" fmla="*/ 15 w 250"/>
                <a:gd name="T25" fmla="*/ 156 h 242"/>
                <a:gd name="T26" fmla="*/ 10 w 250"/>
                <a:gd name="T27" fmla="*/ 141 h 242"/>
                <a:gd name="T28" fmla="*/ 8 w 250"/>
                <a:gd name="T29" fmla="*/ 122 h 242"/>
                <a:gd name="T30" fmla="*/ 6 w 250"/>
                <a:gd name="T31" fmla="*/ 109 h 242"/>
                <a:gd name="T32" fmla="*/ 8 w 250"/>
                <a:gd name="T33" fmla="*/ 103 h 242"/>
                <a:gd name="T34" fmla="*/ 8 w 250"/>
                <a:gd name="T35" fmla="*/ 99 h 242"/>
                <a:gd name="T36" fmla="*/ 8 w 250"/>
                <a:gd name="T37" fmla="*/ 82 h 242"/>
                <a:gd name="T38" fmla="*/ 0 w 250"/>
                <a:gd name="T39" fmla="*/ 57 h 242"/>
                <a:gd name="T40" fmla="*/ 8 w 250"/>
                <a:gd name="T41" fmla="*/ 52 h 242"/>
                <a:gd name="T42" fmla="*/ 14 w 250"/>
                <a:gd name="T43" fmla="*/ 44 h 242"/>
                <a:gd name="T44" fmla="*/ 12 w 250"/>
                <a:gd name="T45" fmla="*/ 31 h 242"/>
                <a:gd name="T46" fmla="*/ 19 w 250"/>
                <a:gd name="T47" fmla="*/ 25 h 242"/>
                <a:gd name="T48" fmla="*/ 21 w 250"/>
                <a:gd name="T49" fmla="*/ 21 h 242"/>
                <a:gd name="T50" fmla="*/ 31 w 250"/>
                <a:gd name="T51" fmla="*/ 15 h 242"/>
                <a:gd name="T52" fmla="*/ 33 w 250"/>
                <a:gd name="T53" fmla="*/ 6 h 242"/>
                <a:gd name="T54" fmla="*/ 36 w 250"/>
                <a:gd name="T55" fmla="*/ 0 h 242"/>
                <a:gd name="T56" fmla="*/ 38 w 250"/>
                <a:gd name="T57" fmla="*/ 0 h 242"/>
                <a:gd name="T58" fmla="*/ 50 w 250"/>
                <a:gd name="T59" fmla="*/ 6 h 242"/>
                <a:gd name="T60" fmla="*/ 59 w 250"/>
                <a:gd name="T61" fmla="*/ 4 h 242"/>
                <a:gd name="T62" fmla="*/ 63 w 250"/>
                <a:gd name="T63" fmla="*/ 4 h 242"/>
                <a:gd name="T64" fmla="*/ 73 w 250"/>
                <a:gd name="T65" fmla="*/ 8 h 242"/>
                <a:gd name="T66" fmla="*/ 76 w 250"/>
                <a:gd name="T67" fmla="*/ 10 h 242"/>
                <a:gd name="T68" fmla="*/ 86 w 250"/>
                <a:gd name="T69" fmla="*/ 13 h 242"/>
                <a:gd name="T70" fmla="*/ 94 w 250"/>
                <a:gd name="T71" fmla="*/ 15 h 242"/>
                <a:gd name="T72" fmla="*/ 96 w 250"/>
                <a:gd name="T73" fmla="*/ 23 h 242"/>
                <a:gd name="T74" fmla="*/ 105 w 250"/>
                <a:gd name="T75" fmla="*/ 34 h 242"/>
                <a:gd name="T76" fmla="*/ 126 w 250"/>
                <a:gd name="T77" fmla="*/ 38 h 242"/>
                <a:gd name="T78" fmla="*/ 134 w 250"/>
                <a:gd name="T79" fmla="*/ 42 h 242"/>
                <a:gd name="T80" fmla="*/ 143 w 250"/>
                <a:gd name="T81" fmla="*/ 48 h 242"/>
                <a:gd name="T82" fmla="*/ 147 w 250"/>
                <a:gd name="T83" fmla="*/ 50 h 242"/>
                <a:gd name="T84" fmla="*/ 151 w 250"/>
                <a:gd name="T85" fmla="*/ 53 h 242"/>
                <a:gd name="T86" fmla="*/ 162 w 250"/>
                <a:gd name="T87" fmla="*/ 52 h 242"/>
                <a:gd name="T88" fmla="*/ 172 w 250"/>
                <a:gd name="T89" fmla="*/ 38 h 242"/>
                <a:gd name="T90" fmla="*/ 168 w 250"/>
                <a:gd name="T91" fmla="*/ 31 h 242"/>
                <a:gd name="T92" fmla="*/ 170 w 250"/>
                <a:gd name="T93" fmla="*/ 19 h 242"/>
                <a:gd name="T94" fmla="*/ 179 w 250"/>
                <a:gd name="T95" fmla="*/ 10 h 242"/>
                <a:gd name="T96" fmla="*/ 195 w 250"/>
                <a:gd name="T97" fmla="*/ 4 h 242"/>
                <a:gd name="T98" fmla="*/ 202 w 250"/>
                <a:gd name="T99" fmla="*/ 4 h 242"/>
                <a:gd name="T100" fmla="*/ 210 w 250"/>
                <a:gd name="T101" fmla="*/ 6 h 242"/>
                <a:gd name="T102" fmla="*/ 218 w 250"/>
                <a:gd name="T103" fmla="*/ 10 h 242"/>
                <a:gd name="T104" fmla="*/ 218 w 250"/>
                <a:gd name="T105" fmla="*/ 15 h 242"/>
                <a:gd name="T106" fmla="*/ 221 w 250"/>
                <a:gd name="T107" fmla="*/ 19 h 242"/>
                <a:gd name="T108" fmla="*/ 231 w 250"/>
                <a:gd name="T109" fmla="*/ 19 h 242"/>
                <a:gd name="T110" fmla="*/ 231 w 250"/>
                <a:gd name="T111" fmla="*/ 21 h 242"/>
                <a:gd name="T112" fmla="*/ 239 w 250"/>
                <a:gd name="T113" fmla="*/ 21 h 242"/>
                <a:gd name="T114" fmla="*/ 246 w 250"/>
                <a:gd name="T115" fmla="*/ 21 h 242"/>
                <a:gd name="T116" fmla="*/ 250 w 250"/>
                <a:gd name="T117" fmla="*/ 27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" h="242">
                  <a:moveTo>
                    <a:pt x="250" y="27"/>
                  </a:moveTo>
                  <a:lnTo>
                    <a:pt x="250" y="29"/>
                  </a:lnTo>
                  <a:lnTo>
                    <a:pt x="250" y="31"/>
                  </a:lnTo>
                  <a:lnTo>
                    <a:pt x="248" y="31"/>
                  </a:lnTo>
                  <a:lnTo>
                    <a:pt x="246" y="32"/>
                  </a:lnTo>
                  <a:lnTo>
                    <a:pt x="246" y="34"/>
                  </a:lnTo>
                  <a:lnTo>
                    <a:pt x="246" y="38"/>
                  </a:lnTo>
                  <a:lnTo>
                    <a:pt x="248" y="42"/>
                  </a:lnTo>
                  <a:lnTo>
                    <a:pt x="248" y="44"/>
                  </a:lnTo>
                  <a:lnTo>
                    <a:pt x="248" y="48"/>
                  </a:lnTo>
                  <a:lnTo>
                    <a:pt x="246" y="50"/>
                  </a:lnTo>
                  <a:lnTo>
                    <a:pt x="246" y="52"/>
                  </a:lnTo>
                  <a:lnTo>
                    <a:pt x="244" y="53"/>
                  </a:lnTo>
                  <a:lnTo>
                    <a:pt x="242" y="55"/>
                  </a:lnTo>
                  <a:lnTo>
                    <a:pt x="244" y="57"/>
                  </a:lnTo>
                  <a:lnTo>
                    <a:pt x="246" y="61"/>
                  </a:lnTo>
                  <a:lnTo>
                    <a:pt x="246" y="63"/>
                  </a:lnTo>
                  <a:lnTo>
                    <a:pt x="246" y="65"/>
                  </a:lnTo>
                  <a:lnTo>
                    <a:pt x="246" y="67"/>
                  </a:lnTo>
                  <a:lnTo>
                    <a:pt x="248" y="73"/>
                  </a:lnTo>
                  <a:lnTo>
                    <a:pt x="248" y="95"/>
                  </a:lnTo>
                  <a:lnTo>
                    <a:pt x="248" y="101"/>
                  </a:lnTo>
                  <a:lnTo>
                    <a:pt x="248" y="126"/>
                  </a:lnTo>
                  <a:lnTo>
                    <a:pt x="248" y="147"/>
                  </a:lnTo>
                  <a:lnTo>
                    <a:pt x="248" y="176"/>
                  </a:lnTo>
                  <a:lnTo>
                    <a:pt x="248" y="200"/>
                  </a:lnTo>
                  <a:lnTo>
                    <a:pt x="248" y="216"/>
                  </a:lnTo>
                  <a:lnTo>
                    <a:pt x="248" y="235"/>
                  </a:lnTo>
                  <a:lnTo>
                    <a:pt x="233" y="235"/>
                  </a:lnTo>
                  <a:lnTo>
                    <a:pt x="233" y="242"/>
                  </a:lnTo>
                  <a:lnTo>
                    <a:pt x="204" y="227"/>
                  </a:lnTo>
                  <a:lnTo>
                    <a:pt x="181" y="216"/>
                  </a:lnTo>
                  <a:lnTo>
                    <a:pt x="166" y="208"/>
                  </a:lnTo>
                  <a:lnTo>
                    <a:pt x="155" y="200"/>
                  </a:lnTo>
                  <a:lnTo>
                    <a:pt x="136" y="191"/>
                  </a:lnTo>
                  <a:lnTo>
                    <a:pt x="118" y="183"/>
                  </a:lnTo>
                  <a:lnTo>
                    <a:pt x="105" y="176"/>
                  </a:lnTo>
                  <a:lnTo>
                    <a:pt x="90" y="183"/>
                  </a:lnTo>
                  <a:lnTo>
                    <a:pt x="76" y="189"/>
                  </a:lnTo>
                  <a:lnTo>
                    <a:pt x="69" y="181"/>
                  </a:lnTo>
                  <a:lnTo>
                    <a:pt x="65" y="181"/>
                  </a:lnTo>
                  <a:lnTo>
                    <a:pt x="63" y="179"/>
                  </a:lnTo>
                  <a:lnTo>
                    <a:pt x="42" y="174"/>
                  </a:lnTo>
                  <a:lnTo>
                    <a:pt x="35" y="160"/>
                  </a:lnTo>
                  <a:lnTo>
                    <a:pt x="33" y="162"/>
                  </a:lnTo>
                  <a:lnTo>
                    <a:pt x="27" y="158"/>
                  </a:lnTo>
                  <a:lnTo>
                    <a:pt x="25" y="156"/>
                  </a:lnTo>
                  <a:lnTo>
                    <a:pt x="23" y="156"/>
                  </a:lnTo>
                  <a:lnTo>
                    <a:pt x="21" y="156"/>
                  </a:lnTo>
                  <a:lnTo>
                    <a:pt x="19" y="156"/>
                  </a:lnTo>
                  <a:lnTo>
                    <a:pt x="17" y="156"/>
                  </a:lnTo>
                  <a:lnTo>
                    <a:pt x="15" y="156"/>
                  </a:lnTo>
                  <a:lnTo>
                    <a:pt x="14" y="155"/>
                  </a:lnTo>
                  <a:lnTo>
                    <a:pt x="12" y="151"/>
                  </a:lnTo>
                  <a:lnTo>
                    <a:pt x="10" y="149"/>
                  </a:lnTo>
                  <a:lnTo>
                    <a:pt x="10" y="141"/>
                  </a:lnTo>
                  <a:lnTo>
                    <a:pt x="0" y="128"/>
                  </a:lnTo>
                  <a:lnTo>
                    <a:pt x="0" y="126"/>
                  </a:lnTo>
                  <a:lnTo>
                    <a:pt x="2" y="124"/>
                  </a:lnTo>
                  <a:lnTo>
                    <a:pt x="8" y="122"/>
                  </a:lnTo>
                  <a:lnTo>
                    <a:pt x="8" y="118"/>
                  </a:lnTo>
                  <a:lnTo>
                    <a:pt x="8" y="115"/>
                  </a:lnTo>
                  <a:lnTo>
                    <a:pt x="6" y="111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5"/>
                  </a:lnTo>
                  <a:lnTo>
                    <a:pt x="8" y="105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8" y="103"/>
                  </a:lnTo>
                  <a:lnTo>
                    <a:pt x="8" y="101"/>
                  </a:lnTo>
                  <a:lnTo>
                    <a:pt x="8" y="99"/>
                  </a:lnTo>
                  <a:lnTo>
                    <a:pt x="8" y="97"/>
                  </a:lnTo>
                  <a:lnTo>
                    <a:pt x="10" y="97"/>
                  </a:lnTo>
                  <a:lnTo>
                    <a:pt x="8" y="90"/>
                  </a:lnTo>
                  <a:lnTo>
                    <a:pt x="8" y="82"/>
                  </a:lnTo>
                  <a:lnTo>
                    <a:pt x="8" y="76"/>
                  </a:lnTo>
                  <a:lnTo>
                    <a:pt x="6" y="69"/>
                  </a:lnTo>
                  <a:lnTo>
                    <a:pt x="2" y="61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3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1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7" y="27"/>
                  </a:lnTo>
                  <a:lnTo>
                    <a:pt x="19" y="25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21" y="23"/>
                  </a:lnTo>
                  <a:lnTo>
                    <a:pt x="21" y="21"/>
                  </a:lnTo>
                  <a:lnTo>
                    <a:pt x="23" y="19"/>
                  </a:lnTo>
                  <a:lnTo>
                    <a:pt x="25" y="17"/>
                  </a:lnTo>
                  <a:lnTo>
                    <a:pt x="29" y="17"/>
                  </a:lnTo>
                  <a:lnTo>
                    <a:pt x="31" y="15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3" y="10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4" y="6"/>
                  </a:lnTo>
                  <a:lnTo>
                    <a:pt x="57" y="6"/>
                  </a:lnTo>
                  <a:lnTo>
                    <a:pt x="59" y="6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7" y="6"/>
                  </a:lnTo>
                  <a:lnTo>
                    <a:pt x="71" y="6"/>
                  </a:lnTo>
                  <a:lnTo>
                    <a:pt x="73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1"/>
                  </a:lnTo>
                  <a:lnTo>
                    <a:pt x="82" y="11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7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7" y="27"/>
                  </a:lnTo>
                  <a:lnTo>
                    <a:pt x="99" y="31"/>
                  </a:lnTo>
                  <a:lnTo>
                    <a:pt x="101" y="32"/>
                  </a:lnTo>
                  <a:lnTo>
                    <a:pt x="105" y="34"/>
                  </a:lnTo>
                  <a:lnTo>
                    <a:pt x="107" y="36"/>
                  </a:lnTo>
                  <a:lnTo>
                    <a:pt x="111" y="36"/>
                  </a:lnTo>
                  <a:lnTo>
                    <a:pt x="117" y="36"/>
                  </a:lnTo>
                  <a:lnTo>
                    <a:pt x="126" y="38"/>
                  </a:lnTo>
                  <a:lnTo>
                    <a:pt x="128" y="38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4" y="42"/>
                  </a:lnTo>
                  <a:lnTo>
                    <a:pt x="136" y="42"/>
                  </a:lnTo>
                  <a:lnTo>
                    <a:pt x="139" y="44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5" y="50"/>
                  </a:lnTo>
                  <a:lnTo>
                    <a:pt x="147" y="50"/>
                  </a:lnTo>
                  <a:lnTo>
                    <a:pt x="145" y="50"/>
                  </a:lnTo>
                  <a:lnTo>
                    <a:pt x="147" y="50"/>
                  </a:lnTo>
                  <a:lnTo>
                    <a:pt x="145" y="50"/>
                  </a:lnTo>
                  <a:lnTo>
                    <a:pt x="147" y="52"/>
                  </a:lnTo>
                  <a:lnTo>
                    <a:pt x="149" y="52"/>
                  </a:lnTo>
                  <a:lnTo>
                    <a:pt x="151" y="53"/>
                  </a:lnTo>
                  <a:lnTo>
                    <a:pt x="153" y="53"/>
                  </a:lnTo>
                  <a:lnTo>
                    <a:pt x="157" y="53"/>
                  </a:lnTo>
                  <a:lnTo>
                    <a:pt x="158" y="53"/>
                  </a:lnTo>
                  <a:lnTo>
                    <a:pt x="162" y="52"/>
                  </a:lnTo>
                  <a:lnTo>
                    <a:pt x="166" y="50"/>
                  </a:lnTo>
                  <a:lnTo>
                    <a:pt x="168" y="46"/>
                  </a:lnTo>
                  <a:lnTo>
                    <a:pt x="170" y="42"/>
                  </a:lnTo>
                  <a:lnTo>
                    <a:pt x="172" y="38"/>
                  </a:lnTo>
                  <a:lnTo>
                    <a:pt x="172" y="36"/>
                  </a:lnTo>
                  <a:lnTo>
                    <a:pt x="170" y="34"/>
                  </a:lnTo>
                  <a:lnTo>
                    <a:pt x="170" y="32"/>
                  </a:lnTo>
                  <a:lnTo>
                    <a:pt x="168" y="31"/>
                  </a:lnTo>
                  <a:lnTo>
                    <a:pt x="168" y="27"/>
                  </a:lnTo>
                  <a:lnTo>
                    <a:pt x="168" y="23"/>
                  </a:lnTo>
                  <a:lnTo>
                    <a:pt x="170" y="21"/>
                  </a:lnTo>
                  <a:lnTo>
                    <a:pt x="170" y="19"/>
                  </a:lnTo>
                  <a:lnTo>
                    <a:pt x="170" y="17"/>
                  </a:lnTo>
                  <a:lnTo>
                    <a:pt x="172" y="15"/>
                  </a:lnTo>
                  <a:lnTo>
                    <a:pt x="176" y="13"/>
                  </a:lnTo>
                  <a:lnTo>
                    <a:pt x="179" y="10"/>
                  </a:lnTo>
                  <a:lnTo>
                    <a:pt x="185" y="8"/>
                  </a:lnTo>
                  <a:lnTo>
                    <a:pt x="191" y="6"/>
                  </a:lnTo>
                  <a:lnTo>
                    <a:pt x="193" y="6"/>
                  </a:lnTo>
                  <a:lnTo>
                    <a:pt x="195" y="4"/>
                  </a:lnTo>
                  <a:lnTo>
                    <a:pt x="197" y="4"/>
                  </a:lnTo>
                  <a:lnTo>
                    <a:pt x="199" y="4"/>
                  </a:lnTo>
                  <a:lnTo>
                    <a:pt x="200" y="4"/>
                  </a:lnTo>
                  <a:lnTo>
                    <a:pt x="202" y="4"/>
                  </a:lnTo>
                  <a:lnTo>
                    <a:pt x="204" y="6"/>
                  </a:lnTo>
                  <a:lnTo>
                    <a:pt x="206" y="6"/>
                  </a:lnTo>
                  <a:lnTo>
                    <a:pt x="208" y="6"/>
                  </a:lnTo>
                  <a:lnTo>
                    <a:pt x="210" y="6"/>
                  </a:lnTo>
                  <a:lnTo>
                    <a:pt x="210" y="8"/>
                  </a:lnTo>
                  <a:lnTo>
                    <a:pt x="214" y="8"/>
                  </a:lnTo>
                  <a:lnTo>
                    <a:pt x="216" y="10"/>
                  </a:lnTo>
                  <a:lnTo>
                    <a:pt x="218" y="10"/>
                  </a:lnTo>
                  <a:lnTo>
                    <a:pt x="218" y="11"/>
                  </a:lnTo>
                  <a:lnTo>
                    <a:pt x="219" y="13"/>
                  </a:lnTo>
                  <a:lnTo>
                    <a:pt x="218" y="13"/>
                  </a:lnTo>
                  <a:lnTo>
                    <a:pt x="218" y="15"/>
                  </a:lnTo>
                  <a:lnTo>
                    <a:pt x="219" y="15"/>
                  </a:lnTo>
                  <a:lnTo>
                    <a:pt x="219" y="17"/>
                  </a:lnTo>
                  <a:lnTo>
                    <a:pt x="221" y="17"/>
                  </a:lnTo>
                  <a:lnTo>
                    <a:pt x="221" y="19"/>
                  </a:lnTo>
                  <a:lnTo>
                    <a:pt x="221" y="17"/>
                  </a:lnTo>
                  <a:lnTo>
                    <a:pt x="223" y="19"/>
                  </a:lnTo>
                  <a:lnTo>
                    <a:pt x="227" y="17"/>
                  </a:lnTo>
                  <a:lnTo>
                    <a:pt x="231" y="19"/>
                  </a:lnTo>
                  <a:lnTo>
                    <a:pt x="233" y="19"/>
                  </a:lnTo>
                  <a:lnTo>
                    <a:pt x="233" y="21"/>
                  </a:lnTo>
                  <a:lnTo>
                    <a:pt x="231" y="19"/>
                  </a:lnTo>
                  <a:lnTo>
                    <a:pt x="231" y="21"/>
                  </a:lnTo>
                  <a:lnTo>
                    <a:pt x="233" y="21"/>
                  </a:lnTo>
                  <a:lnTo>
                    <a:pt x="235" y="21"/>
                  </a:lnTo>
                  <a:lnTo>
                    <a:pt x="237" y="21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6" y="21"/>
                  </a:lnTo>
                  <a:lnTo>
                    <a:pt x="248" y="23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0" y="27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7" name="Rectangle 1536">
              <a:extLst>
                <a:ext uri="{FF2B5EF4-FFF2-40B4-BE49-F238E27FC236}">
                  <a16:creationId xmlns:a16="http://schemas.microsoft.com/office/drawing/2014/main" id="{FB5B42AB-2FD2-7467-7FDB-13F73D00F7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840918" y="5711887"/>
              <a:ext cx="3467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0" name="Rectangle 329">
              <a:extLst>
                <a:ext uri="{FF2B5EF4-FFF2-40B4-BE49-F238E27FC236}">
                  <a16:creationId xmlns:a16="http://schemas.microsoft.com/office/drawing/2014/main" id="{EE1AB950-2139-55C1-655A-2490945B34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880733" y="5211806"/>
              <a:ext cx="3467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4" name="Rectangle 252">
              <a:extLst>
                <a:ext uri="{FF2B5EF4-FFF2-40B4-BE49-F238E27FC236}">
                  <a16:creationId xmlns:a16="http://schemas.microsoft.com/office/drawing/2014/main" id="{3AB5671B-27A3-71CF-DC91-FDD445D02A4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23374" y="5164924"/>
              <a:ext cx="1733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5" name="Freeform 509">
              <a:extLst>
                <a:ext uri="{FF2B5EF4-FFF2-40B4-BE49-F238E27FC236}">
                  <a16:creationId xmlns:a16="http://schemas.microsoft.com/office/drawing/2014/main" id="{815FDC87-E1ED-0AE4-320C-2C8DA696BB13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1998" y="3834021"/>
              <a:ext cx="43700" cy="77581"/>
            </a:xfrm>
            <a:custGeom>
              <a:avLst/>
              <a:gdLst>
                <a:gd name="T0" fmla="*/ 291 w 364"/>
                <a:gd name="T1" fmla="*/ 122 h 645"/>
                <a:gd name="T2" fmla="*/ 251 w 364"/>
                <a:gd name="T3" fmla="*/ 103 h 645"/>
                <a:gd name="T4" fmla="*/ 209 w 364"/>
                <a:gd name="T5" fmla="*/ 101 h 645"/>
                <a:gd name="T6" fmla="*/ 169 w 364"/>
                <a:gd name="T7" fmla="*/ 131 h 645"/>
                <a:gd name="T8" fmla="*/ 159 w 364"/>
                <a:gd name="T9" fmla="*/ 135 h 645"/>
                <a:gd name="T10" fmla="*/ 150 w 364"/>
                <a:gd name="T11" fmla="*/ 129 h 645"/>
                <a:gd name="T12" fmla="*/ 143 w 364"/>
                <a:gd name="T13" fmla="*/ 112 h 645"/>
                <a:gd name="T14" fmla="*/ 129 w 364"/>
                <a:gd name="T15" fmla="*/ 129 h 645"/>
                <a:gd name="T16" fmla="*/ 122 w 364"/>
                <a:gd name="T17" fmla="*/ 148 h 645"/>
                <a:gd name="T18" fmla="*/ 112 w 364"/>
                <a:gd name="T19" fmla="*/ 180 h 645"/>
                <a:gd name="T20" fmla="*/ 86 w 364"/>
                <a:gd name="T21" fmla="*/ 206 h 645"/>
                <a:gd name="T22" fmla="*/ 140 w 364"/>
                <a:gd name="T23" fmla="*/ 229 h 645"/>
                <a:gd name="T24" fmla="*/ 126 w 364"/>
                <a:gd name="T25" fmla="*/ 300 h 645"/>
                <a:gd name="T26" fmla="*/ 201 w 364"/>
                <a:gd name="T27" fmla="*/ 321 h 645"/>
                <a:gd name="T28" fmla="*/ 138 w 364"/>
                <a:gd name="T29" fmla="*/ 380 h 645"/>
                <a:gd name="T30" fmla="*/ 140 w 364"/>
                <a:gd name="T31" fmla="*/ 412 h 645"/>
                <a:gd name="T32" fmla="*/ 166 w 364"/>
                <a:gd name="T33" fmla="*/ 434 h 645"/>
                <a:gd name="T34" fmla="*/ 176 w 364"/>
                <a:gd name="T35" fmla="*/ 494 h 645"/>
                <a:gd name="T36" fmla="*/ 145 w 364"/>
                <a:gd name="T37" fmla="*/ 521 h 645"/>
                <a:gd name="T38" fmla="*/ 173 w 364"/>
                <a:gd name="T39" fmla="*/ 535 h 645"/>
                <a:gd name="T40" fmla="*/ 208 w 364"/>
                <a:gd name="T41" fmla="*/ 548 h 645"/>
                <a:gd name="T42" fmla="*/ 242 w 364"/>
                <a:gd name="T43" fmla="*/ 570 h 645"/>
                <a:gd name="T44" fmla="*/ 215 w 364"/>
                <a:gd name="T45" fmla="*/ 582 h 645"/>
                <a:gd name="T46" fmla="*/ 222 w 364"/>
                <a:gd name="T47" fmla="*/ 600 h 645"/>
                <a:gd name="T48" fmla="*/ 237 w 364"/>
                <a:gd name="T49" fmla="*/ 619 h 645"/>
                <a:gd name="T50" fmla="*/ 218 w 364"/>
                <a:gd name="T51" fmla="*/ 645 h 645"/>
                <a:gd name="T52" fmla="*/ 187 w 364"/>
                <a:gd name="T53" fmla="*/ 619 h 645"/>
                <a:gd name="T54" fmla="*/ 147 w 364"/>
                <a:gd name="T55" fmla="*/ 602 h 645"/>
                <a:gd name="T56" fmla="*/ 112 w 364"/>
                <a:gd name="T57" fmla="*/ 582 h 645"/>
                <a:gd name="T58" fmla="*/ 79 w 364"/>
                <a:gd name="T59" fmla="*/ 560 h 645"/>
                <a:gd name="T60" fmla="*/ 61 w 364"/>
                <a:gd name="T61" fmla="*/ 525 h 645"/>
                <a:gd name="T62" fmla="*/ 49 w 364"/>
                <a:gd name="T63" fmla="*/ 502 h 645"/>
                <a:gd name="T64" fmla="*/ 40 w 364"/>
                <a:gd name="T65" fmla="*/ 483 h 645"/>
                <a:gd name="T66" fmla="*/ 51 w 364"/>
                <a:gd name="T67" fmla="*/ 464 h 645"/>
                <a:gd name="T68" fmla="*/ 51 w 364"/>
                <a:gd name="T69" fmla="*/ 446 h 645"/>
                <a:gd name="T70" fmla="*/ 49 w 364"/>
                <a:gd name="T71" fmla="*/ 424 h 645"/>
                <a:gd name="T72" fmla="*/ 44 w 364"/>
                <a:gd name="T73" fmla="*/ 396 h 645"/>
                <a:gd name="T74" fmla="*/ 40 w 364"/>
                <a:gd name="T75" fmla="*/ 366 h 645"/>
                <a:gd name="T76" fmla="*/ 40 w 364"/>
                <a:gd name="T77" fmla="*/ 333 h 645"/>
                <a:gd name="T78" fmla="*/ 28 w 364"/>
                <a:gd name="T79" fmla="*/ 304 h 645"/>
                <a:gd name="T80" fmla="*/ 23 w 364"/>
                <a:gd name="T81" fmla="*/ 269 h 645"/>
                <a:gd name="T82" fmla="*/ 21 w 364"/>
                <a:gd name="T83" fmla="*/ 234 h 645"/>
                <a:gd name="T84" fmla="*/ 9 w 364"/>
                <a:gd name="T85" fmla="*/ 218 h 645"/>
                <a:gd name="T86" fmla="*/ 9 w 364"/>
                <a:gd name="T87" fmla="*/ 190 h 645"/>
                <a:gd name="T88" fmla="*/ 13 w 364"/>
                <a:gd name="T89" fmla="*/ 157 h 645"/>
                <a:gd name="T90" fmla="*/ 49 w 364"/>
                <a:gd name="T91" fmla="*/ 152 h 645"/>
                <a:gd name="T92" fmla="*/ 65 w 364"/>
                <a:gd name="T93" fmla="*/ 142 h 645"/>
                <a:gd name="T94" fmla="*/ 70 w 364"/>
                <a:gd name="T95" fmla="*/ 117 h 645"/>
                <a:gd name="T96" fmla="*/ 93 w 364"/>
                <a:gd name="T97" fmla="*/ 94 h 645"/>
                <a:gd name="T98" fmla="*/ 124 w 364"/>
                <a:gd name="T99" fmla="*/ 84 h 645"/>
                <a:gd name="T100" fmla="*/ 147 w 364"/>
                <a:gd name="T101" fmla="*/ 60 h 645"/>
                <a:gd name="T102" fmla="*/ 157 w 364"/>
                <a:gd name="T103" fmla="*/ 37 h 645"/>
                <a:gd name="T104" fmla="*/ 161 w 364"/>
                <a:gd name="T105" fmla="*/ 11 h 645"/>
                <a:gd name="T106" fmla="*/ 185 w 364"/>
                <a:gd name="T107" fmla="*/ 18 h 645"/>
                <a:gd name="T108" fmla="*/ 216 w 364"/>
                <a:gd name="T109" fmla="*/ 21 h 645"/>
                <a:gd name="T110" fmla="*/ 242 w 364"/>
                <a:gd name="T111" fmla="*/ 7 h 645"/>
                <a:gd name="T112" fmla="*/ 269 w 364"/>
                <a:gd name="T113" fmla="*/ 33 h 645"/>
                <a:gd name="T114" fmla="*/ 270 w 364"/>
                <a:gd name="T115" fmla="*/ 63 h 645"/>
                <a:gd name="T116" fmla="*/ 307 w 364"/>
                <a:gd name="T117" fmla="*/ 84 h 645"/>
                <a:gd name="T118" fmla="*/ 349 w 364"/>
                <a:gd name="T119" fmla="*/ 98 h 645"/>
                <a:gd name="T120" fmla="*/ 347 w 364"/>
                <a:gd name="T121" fmla="*/ 11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4" h="645">
                  <a:moveTo>
                    <a:pt x="335" y="124"/>
                  </a:moveTo>
                  <a:lnTo>
                    <a:pt x="335" y="126"/>
                  </a:lnTo>
                  <a:lnTo>
                    <a:pt x="333" y="126"/>
                  </a:lnTo>
                  <a:lnTo>
                    <a:pt x="331" y="126"/>
                  </a:lnTo>
                  <a:lnTo>
                    <a:pt x="330" y="128"/>
                  </a:lnTo>
                  <a:lnTo>
                    <a:pt x="328" y="128"/>
                  </a:lnTo>
                  <a:lnTo>
                    <a:pt x="326" y="128"/>
                  </a:lnTo>
                  <a:lnTo>
                    <a:pt x="324" y="128"/>
                  </a:lnTo>
                  <a:lnTo>
                    <a:pt x="321" y="128"/>
                  </a:lnTo>
                  <a:lnTo>
                    <a:pt x="317" y="129"/>
                  </a:lnTo>
                  <a:lnTo>
                    <a:pt x="314" y="129"/>
                  </a:lnTo>
                  <a:lnTo>
                    <a:pt x="312" y="128"/>
                  </a:lnTo>
                  <a:lnTo>
                    <a:pt x="310" y="128"/>
                  </a:lnTo>
                  <a:lnTo>
                    <a:pt x="310" y="129"/>
                  </a:lnTo>
                  <a:lnTo>
                    <a:pt x="310" y="128"/>
                  </a:lnTo>
                  <a:lnTo>
                    <a:pt x="307" y="126"/>
                  </a:lnTo>
                  <a:lnTo>
                    <a:pt x="305" y="126"/>
                  </a:lnTo>
                  <a:lnTo>
                    <a:pt x="303" y="126"/>
                  </a:lnTo>
                  <a:lnTo>
                    <a:pt x="302" y="126"/>
                  </a:lnTo>
                  <a:lnTo>
                    <a:pt x="300" y="126"/>
                  </a:lnTo>
                  <a:lnTo>
                    <a:pt x="298" y="126"/>
                  </a:lnTo>
                  <a:lnTo>
                    <a:pt x="296" y="124"/>
                  </a:lnTo>
                  <a:lnTo>
                    <a:pt x="295" y="124"/>
                  </a:lnTo>
                  <a:lnTo>
                    <a:pt x="291" y="122"/>
                  </a:lnTo>
                  <a:lnTo>
                    <a:pt x="289" y="121"/>
                  </a:lnTo>
                  <a:lnTo>
                    <a:pt x="288" y="119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3" y="117"/>
                  </a:lnTo>
                  <a:lnTo>
                    <a:pt x="279" y="114"/>
                  </a:lnTo>
                  <a:lnTo>
                    <a:pt x="279" y="112"/>
                  </a:lnTo>
                  <a:lnTo>
                    <a:pt x="277" y="112"/>
                  </a:lnTo>
                  <a:lnTo>
                    <a:pt x="276" y="110"/>
                  </a:lnTo>
                  <a:lnTo>
                    <a:pt x="276" y="108"/>
                  </a:lnTo>
                  <a:lnTo>
                    <a:pt x="276" y="107"/>
                  </a:lnTo>
                  <a:lnTo>
                    <a:pt x="274" y="107"/>
                  </a:lnTo>
                  <a:lnTo>
                    <a:pt x="272" y="105"/>
                  </a:lnTo>
                  <a:lnTo>
                    <a:pt x="270" y="105"/>
                  </a:lnTo>
                  <a:lnTo>
                    <a:pt x="269" y="105"/>
                  </a:lnTo>
                  <a:lnTo>
                    <a:pt x="267" y="105"/>
                  </a:lnTo>
                  <a:lnTo>
                    <a:pt x="267" y="103"/>
                  </a:lnTo>
                  <a:lnTo>
                    <a:pt x="263" y="103"/>
                  </a:lnTo>
                  <a:lnTo>
                    <a:pt x="262" y="103"/>
                  </a:lnTo>
                  <a:lnTo>
                    <a:pt x="258" y="103"/>
                  </a:lnTo>
                  <a:lnTo>
                    <a:pt x="256" y="103"/>
                  </a:lnTo>
                  <a:lnTo>
                    <a:pt x="255" y="103"/>
                  </a:lnTo>
                  <a:lnTo>
                    <a:pt x="253" y="103"/>
                  </a:lnTo>
                  <a:lnTo>
                    <a:pt x="251" y="103"/>
                  </a:lnTo>
                  <a:lnTo>
                    <a:pt x="249" y="103"/>
                  </a:lnTo>
                  <a:lnTo>
                    <a:pt x="246" y="101"/>
                  </a:lnTo>
                  <a:lnTo>
                    <a:pt x="244" y="100"/>
                  </a:lnTo>
                  <a:lnTo>
                    <a:pt x="242" y="100"/>
                  </a:lnTo>
                  <a:lnTo>
                    <a:pt x="241" y="100"/>
                  </a:lnTo>
                  <a:lnTo>
                    <a:pt x="237" y="100"/>
                  </a:lnTo>
                  <a:lnTo>
                    <a:pt x="236" y="100"/>
                  </a:lnTo>
                  <a:lnTo>
                    <a:pt x="234" y="100"/>
                  </a:lnTo>
                  <a:lnTo>
                    <a:pt x="232" y="100"/>
                  </a:lnTo>
                  <a:lnTo>
                    <a:pt x="230" y="100"/>
                  </a:lnTo>
                  <a:lnTo>
                    <a:pt x="229" y="100"/>
                  </a:lnTo>
                  <a:lnTo>
                    <a:pt x="227" y="98"/>
                  </a:lnTo>
                  <a:lnTo>
                    <a:pt x="225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8" y="96"/>
                  </a:lnTo>
                  <a:lnTo>
                    <a:pt x="216" y="96"/>
                  </a:lnTo>
                  <a:lnTo>
                    <a:pt x="215" y="96"/>
                  </a:lnTo>
                  <a:lnTo>
                    <a:pt x="213" y="96"/>
                  </a:lnTo>
                  <a:lnTo>
                    <a:pt x="211" y="96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09" y="101"/>
                  </a:lnTo>
                  <a:lnTo>
                    <a:pt x="208" y="101"/>
                  </a:lnTo>
                  <a:lnTo>
                    <a:pt x="208" y="103"/>
                  </a:lnTo>
                  <a:lnTo>
                    <a:pt x="206" y="110"/>
                  </a:lnTo>
                  <a:lnTo>
                    <a:pt x="206" y="114"/>
                  </a:lnTo>
                  <a:lnTo>
                    <a:pt x="204" y="117"/>
                  </a:lnTo>
                  <a:lnTo>
                    <a:pt x="201" y="121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185" y="135"/>
                  </a:lnTo>
                  <a:lnTo>
                    <a:pt x="182" y="138"/>
                  </a:lnTo>
                  <a:lnTo>
                    <a:pt x="178" y="131"/>
                  </a:lnTo>
                  <a:lnTo>
                    <a:pt x="175" y="129"/>
                  </a:lnTo>
                  <a:lnTo>
                    <a:pt x="176" y="128"/>
                  </a:lnTo>
                  <a:lnTo>
                    <a:pt x="176" y="126"/>
                  </a:lnTo>
                  <a:lnTo>
                    <a:pt x="175" y="126"/>
                  </a:lnTo>
                  <a:lnTo>
                    <a:pt x="173" y="124"/>
                  </a:lnTo>
                  <a:lnTo>
                    <a:pt x="171" y="124"/>
                  </a:lnTo>
                  <a:lnTo>
                    <a:pt x="171" y="126"/>
                  </a:lnTo>
                  <a:lnTo>
                    <a:pt x="169" y="126"/>
                  </a:lnTo>
                  <a:lnTo>
                    <a:pt x="171" y="128"/>
                  </a:lnTo>
                  <a:lnTo>
                    <a:pt x="171" y="129"/>
                  </a:lnTo>
                  <a:lnTo>
                    <a:pt x="169" y="131"/>
                  </a:lnTo>
                  <a:lnTo>
                    <a:pt x="169" y="133"/>
                  </a:lnTo>
                  <a:lnTo>
                    <a:pt x="168" y="133"/>
                  </a:lnTo>
                  <a:lnTo>
                    <a:pt x="166" y="133"/>
                  </a:lnTo>
                  <a:lnTo>
                    <a:pt x="166" y="135"/>
                  </a:lnTo>
                  <a:lnTo>
                    <a:pt x="164" y="135"/>
                  </a:lnTo>
                  <a:lnTo>
                    <a:pt x="166" y="136"/>
                  </a:lnTo>
                  <a:lnTo>
                    <a:pt x="166" y="138"/>
                  </a:lnTo>
                  <a:lnTo>
                    <a:pt x="166" y="140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6" y="145"/>
                  </a:lnTo>
                  <a:lnTo>
                    <a:pt x="164" y="145"/>
                  </a:lnTo>
                  <a:lnTo>
                    <a:pt x="162" y="145"/>
                  </a:lnTo>
                  <a:lnTo>
                    <a:pt x="162" y="147"/>
                  </a:lnTo>
                  <a:lnTo>
                    <a:pt x="161" y="145"/>
                  </a:lnTo>
                  <a:lnTo>
                    <a:pt x="159" y="145"/>
                  </a:lnTo>
                  <a:lnTo>
                    <a:pt x="159" y="147"/>
                  </a:lnTo>
                  <a:lnTo>
                    <a:pt x="159" y="145"/>
                  </a:lnTo>
                  <a:lnTo>
                    <a:pt x="157" y="145"/>
                  </a:lnTo>
                  <a:lnTo>
                    <a:pt x="159" y="143"/>
                  </a:lnTo>
                  <a:lnTo>
                    <a:pt x="159" y="140"/>
                  </a:lnTo>
                  <a:lnTo>
                    <a:pt x="159" y="138"/>
                  </a:lnTo>
                  <a:lnTo>
                    <a:pt x="159" y="136"/>
                  </a:lnTo>
                  <a:lnTo>
                    <a:pt x="159" y="135"/>
                  </a:lnTo>
                  <a:lnTo>
                    <a:pt x="157" y="135"/>
                  </a:lnTo>
                  <a:lnTo>
                    <a:pt x="155" y="135"/>
                  </a:lnTo>
                  <a:lnTo>
                    <a:pt x="154" y="138"/>
                  </a:lnTo>
                  <a:lnTo>
                    <a:pt x="155" y="138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5" y="142"/>
                  </a:lnTo>
                  <a:lnTo>
                    <a:pt x="155" y="143"/>
                  </a:lnTo>
                  <a:lnTo>
                    <a:pt x="154" y="143"/>
                  </a:lnTo>
                  <a:lnTo>
                    <a:pt x="154" y="142"/>
                  </a:lnTo>
                  <a:lnTo>
                    <a:pt x="154" y="140"/>
                  </a:lnTo>
                  <a:lnTo>
                    <a:pt x="152" y="138"/>
                  </a:lnTo>
                  <a:lnTo>
                    <a:pt x="152" y="136"/>
                  </a:lnTo>
                  <a:lnTo>
                    <a:pt x="150" y="136"/>
                  </a:lnTo>
                  <a:lnTo>
                    <a:pt x="152" y="136"/>
                  </a:lnTo>
                  <a:lnTo>
                    <a:pt x="154" y="136"/>
                  </a:lnTo>
                  <a:lnTo>
                    <a:pt x="154" y="135"/>
                  </a:lnTo>
                  <a:lnTo>
                    <a:pt x="155" y="133"/>
                  </a:lnTo>
                  <a:lnTo>
                    <a:pt x="155" y="131"/>
                  </a:lnTo>
                  <a:lnTo>
                    <a:pt x="155" y="129"/>
                  </a:lnTo>
                  <a:lnTo>
                    <a:pt x="154" y="128"/>
                  </a:lnTo>
                  <a:lnTo>
                    <a:pt x="152" y="128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0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7" y="129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4"/>
                  </a:lnTo>
                  <a:lnTo>
                    <a:pt x="147" y="122"/>
                  </a:lnTo>
                  <a:lnTo>
                    <a:pt x="148" y="122"/>
                  </a:lnTo>
                  <a:lnTo>
                    <a:pt x="148" y="121"/>
                  </a:lnTo>
                  <a:lnTo>
                    <a:pt x="147" y="122"/>
                  </a:lnTo>
                  <a:lnTo>
                    <a:pt x="145" y="122"/>
                  </a:lnTo>
                  <a:lnTo>
                    <a:pt x="145" y="124"/>
                  </a:lnTo>
                  <a:lnTo>
                    <a:pt x="145" y="122"/>
                  </a:lnTo>
                  <a:lnTo>
                    <a:pt x="143" y="122"/>
                  </a:lnTo>
                  <a:lnTo>
                    <a:pt x="141" y="122"/>
                  </a:lnTo>
                  <a:lnTo>
                    <a:pt x="141" y="121"/>
                  </a:lnTo>
                  <a:lnTo>
                    <a:pt x="143" y="119"/>
                  </a:lnTo>
                  <a:lnTo>
                    <a:pt x="141" y="119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3" y="115"/>
                  </a:lnTo>
                  <a:lnTo>
                    <a:pt x="143" y="114"/>
                  </a:lnTo>
                  <a:lnTo>
                    <a:pt x="143" y="112"/>
                  </a:lnTo>
                  <a:lnTo>
                    <a:pt x="141" y="114"/>
                  </a:lnTo>
                  <a:lnTo>
                    <a:pt x="140" y="115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21"/>
                  </a:lnTo>
                  <a:lnTo>
                    <a:pt x="140" y="122"/>
                  </a:lnTo>
                  <a:lnTo>
                    <a:pt x="140" y="124"/>
                  </a:lnTo>
                  <a:lnTo>
                    <a:pt x="138" y="126"/>
                  </a:lnTo>
                  <a:lnTo>
                    <a:pt x="138" y="124"/>
                  </a:lnTo>
                  <a:lnTo>
                    <a:pt x="136" y="124"/>
                  </a:lnTo>
                  <a:lnTo>
                    <a:pt x="136" y="122"/>
                  </a:lnTo>
                  <a:lnTo>
                    <a:pt x="134" y="122"/>
                  </a:lnTo>
                  <a:lnTo>
                    <a:pt x="134" y="121"/>
                  </a:lnTo>
                  <a:lnTo>
                    <a:pt x="134" y="119"/>
                  </a:lnTo>
                  <a:lnTo>
                    <a:pt x="133" y="119"/>
                  </a:lnTo>
                  <a:lnTo>
                    <a:pt x="131" y="119"/>
                  </a:lnTo>
                  <a:lnTo>
                    <a:pt x="131" y="121"/>
                  </a:lnTo>
                  <a:lnTo>
                    <a:pt x="129" y="121"/>
                  </a:lnTo>
                  <a:lnTo>
                    <a:pt x="129" y="122"/>
                  </a:lnTo>
                  <a:lnTo>
                    <a:pt x="129" y="124"/>
                  </a:lnTo>
                  <a:lnTo>
                    <a:pt x="131" y="126"/>
                  </a:lnTo>
                  <a:lnTo>
                    <a:pt x="131" y="128"/>
                  </a:lnTo>
                  <a:lnTo>
                    <a:pt x="131" y="129"/>
                  </a:lnTo>
                  <a:lnTo>
                    <a:pt x="129" y="129"/>
                  </a:lnTo>
                  <a:lnTo>
                    <a:pt x="129" y="128"/>
                  </a:lnTo>
                  <a:lnTo>
                    <a:pt x="128" y="128"/>
                  </a:lnTo>
                  <a:lnTo>
                    <a:pt x="126" y="128"/>
                  </a:lnTo>
                  <a:lnTo>
                    <a:pt x="126" y="129"/>
                  </a:lnTo>
                  <a:lnTo>
                    <a:pt x="124" y="129"/>
                  </a:lnTo>
                  <a:lnTo>
                    <a:pt x="124" y="131"/>
                  </a:lnTo>
                  <a:lnTo>
                    <a:pt x="124" y="133"/>
                  </a:lnTo>
                  <a:lnTo>
                    <a:pt x="126" y="133"/>
                  </a:lnTo>
                  <a:lnTo>
                    <a:pt x="126" y="135"/>
                  </a:lnTo>
                  <a:lnTo>
                    <a:pt x="128" y="138"/>
                  </a:lnTo>
                  <a:lnTo>
                    <a:pt x="129" y="140"/>
                  </a:lnTo>
                  <a:lnTo>
                    <a:pt x="129" y="142"/>
                  </a:lnTo>
                  <a:lnTo>
                    <a:pt x="129" y="143"/>
                  </a:lnTo>
                  <a:lnTo>
                    <a:pt x="128" y="143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2"/>
                  </a:lnTo>
                  <a:lnTo>
                    <a:pt x="121" y="143"/>
                  </a:lnTo>
                  <a:lnTo>
                    <a:pt x="121" y="145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6" y="147"/>
                  </a:lnTo>
                  <a:lnTo>
                    <a:pt x="124" y="147"/>
                  </a:lnTo>
                  <a:lnTo>
                    <a:pt x="122" y="148"/>
                  </a:lnTo>
                  <a:lnTo>
                    <a:pt x="122" y="147"/>
                  </a:lnTo>
                  <a:lnTo>
                    <a:pt x="121" y="147"/>
                  </a:lnTo>
                  <a:lnTo>
                    <a:pt x="119" y="147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9" y="152"/>
                  </a:lnTo>
                  <a:lnTo>
                    <a:pt x="121" y="152"/>
                  </a:lnTo>
                  <a:lnTo>
                    <a:pt x="122" y="152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2" y="157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19" y="159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9" y="164"/>
                  </a:lnTo>
                  <a:lnTo>
                    <a:pt x="119" y="168"/>
                  </a:lnTo>
                  <a:lnTo>
                    <a:pt x="117" y="168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4" y="175"/>
                  </a:lnTo>
                  <a:lnTo>
                    <a:pt x="112" y="176"/>
                  </a:lnTo>
                  <a:lnTo>
                    <a:pt x="112" y="180"/>
                  </a:lnTo>
                  <a:lnTo>
                    <a:pt x="110" y="182"/>
                  </a:lnTo>
                  <a:lnTo>
                    <a:pt x="108" y="183"/>
                  </a:lnTo>
                  <a:lnTo>
                    <a:pt x="107" y="185"/>
                  </a:lnTo>
                  <a:lnTo>
                    <a:pt x="105" y="187"/>
                  </a:lnTo>
                  <a:lnTo>
                    <a:pt x="103" y="189"/>
                  </a:lnTo>
                  <a:lnTo>
                    <a:pt x="103" y="190"/>
                  </a:lnTo>
                  <a:lnTo>
                    <a:pt x="101" y="190"/>
                  </a:lnTo>
                  <a:lnTo>
                    <a:pt x="100" y="190"/>
                  </a:lnTo>
                  <a:lnTo>
                    <a:pt x="98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4" y="192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4" y="197"/>
                  </a:lnTo>
                  <a:lnTo>
                    <a:pt x="93" y="197"/>
                  </a:lnTo>
                  <a:lnTo>
                    <a:pt x="93" y="199"/>
                  </a:lnTo>
                  <a:lnTo>
                    <a:pt x="91" y="199"/>
                  </a:lnTo>
                  <a:lnTo>
                    <a:pt x="89" y="201"/>
                  </a:lnTo>
                  <a:lnTo>
                    <a:pt x="89" y="203"/>
                  </a:lnTo>
                  <a:lnTo>
                    <a:pt x="87" y="203"/>
                  </a:lnTo>
                  <a:lnTo>
                    <a:pt x="87" y="204"/>
                  </a:lnTo>
                  <a:lnTo>
                    <a:pt x="86" y="206"/>
                  </a:lnTo>
                  <a:lnTo>
                    <a:pt x="86" y="208"/>
                  </a:lnTo>
                  <a:lnTo>
                    <a:pt x="87" y="208"/>
                  </a:lnTo>
                  <a:lnTo>
                    <a:pt x="89" y="209"/>
                  </a:lnTo>
                  <a:lnTo>
                    <a:pt x="91" y="209"/>
                  </a:lnTo>
                  <a:lnTo>
                    <a:pt x="91" y="211"/>
                  </a:lnTo>
                  <a:lnTo>
                    <a:pt x="93" y="211"/>
                  </a:lnTo>
                  <a:lnTo>
                    <a:pt x="94" y="211"/>
                  </a:lnTo>
                  <a:lnTo>
                    <a:pt x="101" y="213"/>
                  </a:lnTo>
                  <a:lnTo>
                    <a:pt x="108" y="213"/>
                  </a:lnTo>
                  <a:lnTo>
                    <a:pt x="110" y="215"/>
                  </a:lnTo>
                  <a:lnTo>
                    <a:pt x="112" y="215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21" y="218"/>
                  </a:lnTo>
                  <a:lnTo>
                    <a:pt x="121" y="220"/>
                  </a:lnTo>
                  <a:lnTo>
                    <a:pt x="124" y="220"/>
                  </a:lnTo>
                  <a:lnTo>
                    <a:pt x="124" y="222"/>
                  </a:lnTo>
                  <a:lnTo>
                    <a:pt x="126" y="222"/>
                  </a:lnTo>
                  <a:lnTo>
                    <a:pt x="129" y="222"/>
                  </a:lnTo>
                  <a:lnTo>
                    <a:pt x="131" y="223"/>
                  </a:lnTo>
                  <a:lnTo>
                    <a:pt x="134" y="227"/>
                  </a:lnTo>
                  <a:lnTo>
                    <a:pt x="136" y="227"/>
                  </a:lnTo>
                  <a:lnTo>
                    <a:pt x="138" y="229"/>
                  </a:lnTo>
                  <a:lnTo>
                    <a:pt x="140" y="229"/>
                  </a:lnTo>
                  <a:lnTo>
                    <a:pt x="141" y="230"/>
                  </a:lnTo>
                  <a:lnTo>
                    <a:pt x="145" y="234"/>
                  </a:lnTo>
                  <a:lnTo>
                    <a:pt x="148" y="237"/>
                  </a:lnTo>
                  <a:lnTo>
                    <a:pt x="148" y="239"/>
                  </a:lnTo>
                  <a:lnTo>
                    <a:pt x="148" y="244"/>
                  </a:lnTo>
                  <a:lnTo>
                    <a:pt x="147" y="246"/>
                  </a:lnTo>
                  <a:lnTo>
                    <a:pt x="143" y="246"/>
                  </a:lnTo>
                  <a:lnTo>
                    <a:pt x="141" y="246"/>
                  </a:lnTo>
                  <a:lnTo>
                    <a:pt x="141" y="251"/>
                  </a:lnTo>
                  <a:lnTo>
                    <a:pt x="140" y="258"/>
                  </a:lnTo>
                  <a:lnTo>
                    <a:pt x="141" y="260"/>
                  </a:lnTo>
                  <a:lnTo>
                    <a:pt x="140" y="262"/>
                  </a:lnTo>
                  <a:lnTo>
                    <a:pt x="134" y="263"/>
                  </a:lnTo>
                  <a:lnTo>
                    <a:pt x="129" y="263"/>
                  </a:lnTo>
                  <a:lnTo>
                    <a:pt x="128" y="265"/>
                  </a:lnTo>
                  <a:lnTo>
                    <a:pt x="121" y="269"/>
                  </a:lnTo>
                  <a:lnTo>
                    <a:pt x="117" y="272"/>
                  </a:lnTo>
                  <a:lnTo>
                    <a:pt x="115" y="276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7" y="284"/>
                  </a:lnTo>
                  <a:lnTo>
                    <a:pt x="121" y="291"/>
                  </a:lnTo>
                  <a:lnTo>
                    <a:pt x="124" y="297"/>
                  </a:lnTo>
                  <a:lnTo>
                    <a:pt x="126" y="300"/>
                  </a:lnTo>
                  <a:lnTo>
                    <a:pt x="128" y="302"/>
                  </a:lnTo>
                  <a:lnTo>
                    <a:pt x="128" y="305"/>
                  </a:lnTo>
                  <a:lnTo>
                    <a:pt x="131" y="307"/>
                  </a:lnTo>
                  <a:lnTo>
                    <a:pt x="136" y="307"/>
                  </a:lnTo>
                  <a:lnTo>
                    <a:pt x="140" y="307"/>
                  </a:lnTo>
                  <a:lnTo>
                    <a:pt x="143" y="307"/>
                  </a:lnTo>
                  <a:lnTo>
                    <a:pt x="148" y="304"/>
                  </a:lnTo>
                  <a:lnTo>
                    <a:pt x="150" y="302"/>
                  </a:lnTo>
                  <a:lnTo>
                    <a:pt x="152" y="304"/>
                  </a:lnTo>
                  <a:lnTo>
                    <a:pt x="154" y="304"/>
                  </a:lnTo>
                  <a:lnTo>
                    <a:pt x="155" y="304"/>
                  </a:lnTo>
                  <a:lnTo>
                    <a:pt x="159" y="304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9" y="302"/>
                  </a:lnTo>
                  <a:lnTo>
                    <a:pt x="175" y="304"/>
                  </a:lnTo>
                  <a:lnTo>
                    <a:pt x="178" y="305"/>
                  </a:lnTo>
                  <a:lnTo>
                    <a:pt x="183" y="305"/>
                  </a:lnTo>
                  <a:lnTo>
                    <a:pt x="192" y="305"/>
                  </a:lnTo>
                  <a:lnTo>
                    <a:pt x="195" y="307"/>
                  </a:lnTo>
                  <a:lnTo>
                    <a:pt x="201" y="309"/>
                  </a:lnTo>
                  <a:lnTo>
                    <a:pt x="201" y="311"/>
                  </a:lnTo>
                  <a:lnTo>
                    <a:pt x="201" y="312"/>
                  </a:lnTo>
                  <a:lnTo>
                    <a:pt x="201" y="321"/>
                  </a:lnTo>
                  <a:lnTo>
                    <a:pt x="201" y="326"/>
                  </a:lnTo>
                  <a:lnTo>
                    <a:pt x="201" y="328"/>
                  </a:lnTo>
                  <a:lnTo>
                    <a:pt x="201" y="331"/>
                  </a:lnTo>
                  <a:lnTo>
                    <a:pt x="202" y="335"/>
                  </a:lnTo>
                  <a:lnTo>
                    <a:pt x="202" y="337"/>
                  </a:lnTo>
                  <a:lnTo>
                    <a:pt x="192" y="349"/>
                  </a:lnTo>
                  <a:lnTo>
                    <a:pt x="190" y="349"/>
                  </a:lnTo>
                  <a:lnTo>
                    <a:pt x="185" y="354"/>
                  </a:lnTo>
                  <a:lnTo>
                    <a:pt x="178" y="356"/>
                  </a:lnTo>
                  <a:lnTo>
                    <a:pt x="173" y="359"/>
                  </a:lnTo>
                  <a:lnTo>
                    <a:pt x="169" y="359"/>
                  </a:lnTo>
                  <a:lnTo>
                    <a:pt x="168" y="361"/>
                  </a:lnTo>
                  <a:lnTo>
                    <a:pt x="161" y="361"/>
                  </a:lnTo>
                  <a:lnTo>
                    <a:pt x="157" y="359"/>
                  </a:lnTo>
                  <a:lnTo>
                    <a:pt x="155" y="359"/>
                  </a:lnTo>
                  <a:lnTo>
                    <a:pt x="154" y="361"/>
                  </a:lnTo>
                  <a:lnTo>
                    <a:pt x="150" y="363"/>
                  </a:lnTo>
                  <a:lnTo>
                    <a:pt x="148" y="365"/>
                  </a:lnTo>
                  <a:lnTo>
                    <a:pt x="147" y="365"/>
                  </a:lnTo>
                  <a:lnTo>
                    <a:pt x="148" y="372"/>
                  </a:lnTo>
                  <a:lnTo>
                    <a:pt x="147" y="373"/>
                  </a:lnTo>
                  <a:lnTo>
                    <a:pt x="145" y="375"/>
                  </a:lnTo>
                  <a:lnTo>
                    <a:pt x="141" y="379"/>
                  </a:lnTo>
                  <a:lnTo>
                    <a:pt x="138" y="380"/>
                  </a:lnTo>
                  <a:lnTo>
                    <a:pt x="136" y="382"/>
                  </a:lnTo>
                  <a:lnTo>
                    <a:pt x="134" y="382"/>
                  </a:lnTo>
                  <a:lnTo>
                    <a:pt x="133" y="382"/>
                  </a:lnTo>
                  <a:lnTo>
                    <a:pt x="131" y="382"/>
                  </a:lnTo>
                  <a:lnTo>
                    <a:pt x="131" y="384"/>
                  </a:lnTo>
                  <a:lnTo>
                    <a:pt x="129" y="385"/>
                  </a:lnTo>
                  <a:lnTo>
                    <a:pt x="128" y="387"/>
                  </a:lnTo>
                  <a:lnTo>
                    <a:pt x="126" y="385"/>
                  </a:lnTo>
                  <a:lnTo>
                    <a:pt x="128" y="387"/>
                  </a:lnTo>
                  <a:lnTo>
                    <a:pt x="128" y="389"/>
                  </a:lnTo>
                  <a:lnTo>
                    <a:pt x="128" y="391"/>
                  </a:lnTo>
                  <a:lnTo>
                    <a:pt x="128" y="392"/>
                  </a:lnTo>
                  <a:lnTo>
                    <a:pt x="128" y="394"/>
                  </a:lnTo>
                  <a:lnTo>
                    <a:pt x="129" y="396"/>
                  </a:lnTo>
                  <a:lnTo>
                    <a:pt x="131" y="396"/>
                  </a:lnTo>
                  <a:lnTo>
                    <a:pt x="131" y="398"/>
                  </a:lnTo>
                  <a:lnTo>
                    <a:pt x="131" y="399"/>
                  </a:lnTo>
                  <a:lnTo>
                    <a:pt x="131" y="401"/>
                  </a:lnTo>
                  <a:lnTo>
                    <a:pt x="131" y="403"/>
                  </a:lnTo>
                  <a:lnTo>
                    <a:pt x="131" y="405"/>
                  </a:lnTo>
                  <a:lnTo>
                    <a:pt x="133" y="406"/>
                  </a:lnTo>
                  <a:lnTo>
                    <a:pt x="134" y="406"/>
                  </a:lnTo>
                  <a:lnTo>
                    <a:pt x="136" y="410"/>
                  </a:lnTo>
                  <a:lnTo>
                    <a:pt x="140" y="412"/>
                  </a:lnTo>
                  <a:lnTo>
                    <a:pt x="143" y="415"/>
                  </a:lnTo>
                  <a:lnTo>
                    <a:pt x="145" y="417"/>
                  </a:lnTo>
                  <a:lnTo>
                    <a:pt x="150" y="417"/>
                  </a:lnTo>
                  <a:lnTo>
                    <a:pt x="155" y="419"/>
                  </a:lnTo>
                  <a:lnTo>
                    <a:pt x="157" y="422"/>
                  </a:lnTo>
                  <a:lnTo>
                    <a:pt x="155" y="426"/>
                  </a:lnTo>
                  <a:lnTo>
                    <a:pt x="152" y="429"/>
                  </a:lnTo>
                  <a:lnTo>
                    <a:pt x="148" y="431"/>
                  </a:lnTo>
                  <a:lnTo>
                    <a:pt x="148" y="433"/>
                  </a:lnTo>
                  <a:lnTo>
                    <a:pt x="150" y="433"/>
                  </a:lnTo>
                  <a:lnTo>
                    <a:pt x="152" y="433"/>
                  </a:lnTo>
                  <a:lnTo>
                    <a:pt x="154" y="433"/>
                  </a:lnTo>
                  <a:lnTo>
                    <a:pt x="155" y="431"/>
                  </a:lnTo>
                  <a:lnTo>
                    <a:pt x="155" y="429"/>
                  </a:lnTo>
                  <a:lnTo>
                    <a:pt x="157" y="427"/>
                  </a:lnTo>
                  <a:lnTo>
                    <a:pt x="157" y="426"/>
                  </a:lnTo>
                  <a:lnTo>
                    <a:pt x="159" y="424"/>
                  </a:lnTo>
                  <a:lnTo>
                    <a:pt x="161" y="424"/>
                  </a:lnTo>
                  <a:lnTo>
                    <a:pt x="162" y="424"/>
                  </a:lnTo>
                  <a:lnTo>
                    <a:pt x="162" y="426"/>
                  </a:lnTo>
                  <a:lnTo>
                    <a:pt x="164" y="427"/>
                  </a:lnTo>
                  <a:lnTo>
                    <a:pt x="164" y="429"/>
                  </a:lnTo>
                  <a:lnTo>
                    <a:pt x="164" y="433"/>
                  </a:lnTo>
                  <a:lnTo>
                    <a:pt x="166" y="434"/>
                  </a:lnTo>
                  <a:lnTo>
                    <a:pt x="168" y="436"/>
                  </a:lnTo>
                  <a:lnTo>
                    <a:pt x="169" y="440"/>
                  </a:lnTo>
                  <a:lnTo>
                    <a:pt x="173" y="443"/>
                  </a:lnTo>
                  <a:lnTo>
                    <a:pt x="176" y="446"/>
                  </a:lnTo>
                  <a:lnTo>
                    <a:pt x="178" y="448"/>
                  </a:lnTo>
                  <a:lnTo>
                    <a:pt x="180" y="452"/>
                  </a:lnTo>
                  <a:lnTo>
                    <a:pt x="180" y="455"/>
                  </a:lnTo>
                  <a:lnTo>
                    <a:pt x="180" y="462"/>
                  </a:lnTo>
                  <a:lnTo>
                    <a:pt x="180" y="467"/>
                  </a:lnTo>
                  <a:lnTo>
                    <a:pt x="182" y="469"/>
                  </a:lnTo>
                  <a:lnTo>
                    <a:pt x="182" y="471"/>
                  </a:lnTo>
                  <a:lnTo>
                    <a:pt x="183" y="473"/>
                  </a:lnTo>
                  <a:lnTo>
                    <a:pt x="183" y="474"/>
                  </a:lnTo>
                  <a:lnTo>
                    <a:pt x="183" y="476"/>
                  </a:lnTo>
                  <a:lnTo>
                    <a:pt x="183" y="478"/>
                  </a:lnTo>
                  <a:lnTo>
                    <a:pt x="183" y="480"/>
                  </a:lnTo>
                  <a:lnTo>
                    <a:pt x="182" y="481"/>
                  </a:lnTo>
                  <a:lnTo>
                    <a:pt x="180" y="483"/>
                  </a:lnTo>
                  <a:lnTo>
                    <a:pt x="178" y="485"/>
                  </a:lnTo>
                  <a:lnTo>
                    <a:pt x="178" y="487"/>
                  </a:lnTo>
                  <a:lnTo>
                    <a:pt x="176" y="488"/>
                  </a:lnTo>
                  <a:lnTo>
                    <a:pt x="176" y="490"/>
                  </a:lnTo>
                  <a:lnTo>
                    <a:pt x="176" y="492"/>
                  </a:lnTo>
                  <a:lnTo>
                    <a:pt x="176" y="494"/>
                  </a:lnTo>
                  <a:lnTo>
                    <a:pt x="175" y="495"/>
                  </a:lnTo>
                  <a:lnTo>
                    <a:pt x="175" y="497"/>
                  </a:lnTo>
                  <a:lnTo>
                    <a:pt x="173" y="499"/>
                  </a:lnTo>
                  <a:lnTo>
                    <a:pt x="171" y="500"/>
                  </a:lnTo>
                  <a:lnTo>
                    <a:pt x="169" y="502"/>
                  </a:lnTo>
                  <a:lnTo>
                    <a:pt x="166" y="506"/>
                  </a:lnTo>
                  <a:lnTo>
                    <a:pt x="164" y="506"/>
                  </a:lnTo>
                  <a:lnTo>
                    <a:pt x="162" y="507"/>
                  </a:lnTo>
                  <a:lnTo>
                    <a:pt x="161" y="507"/>
                  </a:lnTo>
                  <a:lnTo>
                    <a:pt x="159" y="509"/>
                  </a:lnTo>
                  <a:lnTo>
                    <a:pt x="159" y="511"/>
                  </a:lnTo>
                  <a:lnTo>
                    <a:pt x="157" y="509"/>
                  </a:lnTo>
                  <a:lnTo>
                    <a:pt x="155" y="509"/>
                  </a:lnTo>
                  <a:lnTo>
                    <a:pt x="154" y="509"/>
                  </a:lnTo>
                  <a:lnTo>
                    <a:pt x="152" y="509"/>
                  </a:lnTo>
                  <a:lnTo>
                    <a:pt x="148" y="509"/>
                  </a:lnTo>
                  <a:lnTo>
                    <a:pt x="147" y="509"/>
                  </a:lnTo>
                  <a:lnTo>
                    <a:pt x="145" y="511"/>
                  </a:lnTo>
                  <a:lnTo>
                    <a:pt x="141" y="514"/>
                  </a:lnTo>
                  <a:lnTo>
                    <a:pt x="141" y="518"/>
                  </a:lnTo>
                  <a:lnTo>
                    <a:pt x="143" y="518"/>
                  </a:lnTo>
                  <a:lnTo>
                    <a:pt x="143" y="520"/>
                  </a:lnTo>
                  <a:lnTo>
                    <a:pt x="145" y="520"/>
                  </a:lnTo>
                  <a:lnTo>
                    <a:pt x="145" y="521"/>
                  </a:lnTo>
                  <a:lnTo>
                    <a:pt x="147" y="521"/>
                  </a:lnTo>
                  <a:lnTo>
                    <a:pt x="148" y="521"/>
                  </a:lnTo>
                  <a:lnTo>
                    <a:pt x="148" y="523"/>
                  </a:lnTo>
                  <a:lnTo>
                    <a:pt x="150" y="523"/>
                  </a:lnTo>
                  <a:lnTo>
                    <a:pt x="150" y="525"/>
                  </a:lnTo>
                  <a:lnTo>
                    <a:pt x="152" y="525"/>
                  </a:lnTo>
                  <a:lnTo>
                    <a:pt x="154" y="525"/>
                  </a:lnTo>
                  <a:lnTo>
                    <a:pt x="155" y="525"/>
                  </a:lnTo>
                  <a:lnTo>
                    <a:pt x="157" y="527"/>
                  </a:lnTo>
                  <a:lnTo>
                    <a:pt x="159" y="527"/>
                  </a:lnTo>
                  <a:lnTo>
                    <a:pt x="161" y="527"/>
                  </a:lnTo>
                  <a:lnTo>
                    <a:pt x="164" y="527"/>
                  </a:lnTo>
                  <a:lnTo>
                    <a:pt x="164" y="528"/>
                  </a:lnTo>
                  <a:lnTo>
                    <a:pt x="162" y="528"/>
                  </a:lnTo>
                  <a:lnTo>
                    <a:pt x="164" y="528"/>
                  </a:lnTo>
                  <a:lnTo>
                    <a:pt x="166" y="528"/>
                  </a:lnTo>
                  <a:lnTo>
                    <a:pt x="168" y="528"/>
                  </a:lnTo>
                  <a:lnTo>
                    <a:pt x="171" y="530"/>
                  </a:lnTo>
                  <a:lnTo>
                    <a:pt x="173" y="530"/>
                  </a:lnTo>
                  <a:lnTo>
                    <a:pt x="171" y="530"/>
                  </a:lnTo>
                  <a:lnTo>
                    <a:pt x="171" y="532"/>
                  </a:lnTo>
                  <a:lnTo>
                    <a:pt x="173" y="532"/>
                  </a:lnTo>
                  <a:lnTo>
                    <a:pt x="173" y="534"/>
                  </a:lnTo>
                  <a:lnTo>
                    <a:pt x="173" y="535"/>
                  </a:lnTo>
                  <a:lnTo>
                    <a:pt x="175" y="535"/>
                  </a:lnTo>
                  <a:lnTo>
                    <a:pt x="175" y="534"/>
                  </a:lnTo>
                  <a:lnTo>
                    <a:pt x="176" y="534"/>
                  </a:lnTo>
                  <a:lnTo>
                    <a:pt x="178" y="534"/>
                  </a:lnTo>
                  <a:lnTo>
                    <a:pt x="180" y="534"/>
                  </a:lnTo>
                  <a:lnTo>
                    <a:pt x="182" y="534"/>
                  </a:lnTo>
                  <a:lnTo>
                    <a:pt x="183" y="534"/>
                  </a:lnTo>
                  <a:lnTo>
                    <a:pt x="185" y="537"/>
                  </a:lnTo>
                  <a:lnTo>
                    <a:pt x="185" y="539"/>
                  </a:lnTo>
                  <a:lnTo>
                    <a:pt x="185" y="541"/>
                  </a:lnTo>
                  <a:lnTo>
                    <a:pt x="187" y="541"/>
                  </a:lnTo>
                  <a:lnTo>
                    <a:pt x="188" y="544"/>
                  </a:lnTo>
                  <a:lnTo>
                    <a:pt x="190" y="544"/>
                  </a:lnTo>
                  <a:lnTo>
                    <a:pt x="192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5" y="546"/>
                  </a:lnTo>
                  <a:lnTo>
                    <a:pt x="195" y="548"/>
                  </a:lnTo>
                  <a:lnTo>
                    <a:pt x="197" y="548"/>
                  </a:lnTo>
                  <a:lnTo>
                    <a:pt x="201" y="548"/>
                  </a:lnTo>
                  <a:lnTo>
                    <a:pt x="202" y="548"/>
                  </a:lnTo>
                  <a:lnTo>
                    <a:pt x="204" y="548"/>
                  </a:lnTo>
                  <a:lnTo>
                    <a:pt x="206" y="548"/>
                  </a:lnTo>
                  <a:lnTo>
                    <a:pt x="208" y="548"/>
                  </a:lnTo>
                  <a:lnTo>
                    <a:pt x="209" y="549"/>
                  </a:lnTo>
                  <a:lnTo>
                    <a:pt x="216" y="549"/>
                  </a:lnTo>
                  <a:lnTo>
                    <a:pt x="222" y="556"/>
                  </a:lnTo>
                  <a:lnTo>
                    <a:pt x="223" y="558"/>
                  </a:lnTo>
                  <a:lnTo>
                    <a:pt x="227" y="556"/>
                  </a:lnTo>
                  <a:lnTo>
                    <a:pt x="229" y="556"/>
                  </a:lnTo>
                  <a:lnTo>
                    <a:pt x="230" y="556"/>
                  </a:lnTo>
                  <a:lnTo>
                    <a:pt x="234" y="556"/>
                  </a:lnTo>
                  <a:lnTo>
                    <a:pt x="236" y="558"/>
                  </a:lnTo>
                  <a:lnTo>
                    <a:pt x="236" y="560"/>
                  </a:lnTo>
                  <a:lnTo>
                    <a:pt x="239" y="560"/>
                  </a:lnTo>
                  <a:lnTo>
                    <a:pt x="241" y="558"/>
                  </a:lnTo>
                  <a:lnTo>
                    <a:pt x="242" y="558"/>
                  </a:lnTo>
                  <a:lnTo>
                    <a:pt x="244" y="561"/>
                  </a:lnTo>
                  <a:lnTo>
                    <a:pt x="246" y="561"/>
                  </a:lnTo>
                  <a:lnTo>
                    <a:pt x="248" y="561"/>
                  </a:lnTo>
                  <a:lnTo>
                    <a:pt x="249" y="563"/>
                  </a:lnTo>
                  <a:lnTo>
                    <a:pt x="248" y="565"/>
                  </a:lnTo>
                  <a:lnTo>
                    <a:pt x="248" y="567"/>
                  </a:lnTo>
                  <a:lnTo>
                    <a:pt x="246" y="567"/>
                  </a:lnTo>
                  <a:lnTo>
                    <a:pt x="244" y="567"/>
                  </a:lnTo>
                  <a:lnTo>
                    <a:pt x="244" y="568"/>
                  </a:lnTo>
                  <a:lnTo>
                    <a:pt x="242" y="568"/>
                  </a:lnTo>
                  <a:lnTo>
                    <a:pt x="242" y="570"/>
                  </a:lnTo>
                  <a:lnTo>
                    <a:pt x="242" y="572"/>
                  </a:lnTo>
                  <a:lnTo>
                    <a:pt x="241" y="572"/>
                  </a:lnTo>
                  <a:lnTo>
                    <a:pt x="239" y="572"/>
                  </a:lnTo>
                  <a:lnTo>
                    <a:pt x="237" y="572"/>
                  </a:lnTo>
                  <a:lnTo>
                    <a:pt x="237" y="574"/>
                  </a:lnTo>
                  <a:lnTo>
                    <a:pt x="236" y="575"/>
                  </a:lnTo>
                  <a:lnTo>
                    <a:pt x="236" y="577"/>
                  </a:lnTo>
                  <a:lnTo>
                    <a:pt x="234" y="577"/>
                  </a:lnTo>
                  <a:lnTo>
                    <a:pt x="232" y="579"/>
                  </a:lnTo>
                  <a:lnTo>
                    <a:pt x="230" y="581"/>
                  </a:lnTo>
                  <a:lnTo>
                    <a:pt x="230" y="582"/>
                  </a:lnTo>
                  <a:lnTo>
                    <a:pt x="229" y="582"/>
                  </a:lnTo>
                  <a:lnTo>
                    <a:pt x="227" y="582"/>
                  </a:lnTo>
                  <a:lnTo>
                    <a:pt x="225" y="582"/>
                  </a:lnTo>
                  <a:lnTo>
                    <a:pt x="225" y="581"/>
                  </a:lnTo>
                  <a:lnTo>
                    <a:pt x="223" y="581"/>
                  </a:lnTo>
                  <a:lnTo>
                    <a:pt x="222" y="581"/>
                  </a:lnTo>
                  <a:lnTo>
                    <a:pt x="220" y="581"/>
                  </a:lnTo>
                  <a:lnTo>
                    <a:pt x="218" y="581"/>
                  </a:lnTo>
                  <a:lnTo>
                    <a:pt x="218" y="582"/>
                  </a:lnTo>
                  <a:lnTo>
                    <a:pt x="216" y="582"/>
                  </a:lnTo>
                  <a:lnTo>
                    <a:pt x="215" y="582"/>
                  </a:lnTo>
                  <a:lnTo>
                    <a:pt x="215" y="581"/>
                  </a:lnTo>
                  <a:lnTo>
                    <a:pt x="215" y="582"/>
                  </a:lnTo>
                  <a:lnTo>
                    <a:pt x="213" y="582"/>
                  </a:lnTo>
                  <a:lnTo>
                    <a:pt x="215" y="582"/>
                  </a:lnTo>
                  <a:lnTo>
                    <a:pt x="215" y="584"/>
                  </a:lnTo>
                  <a:lnTo>
                    <a:pt x="213" y="584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5" y="588"/>
                  </a:lnTo>
                  <a:lnTo>
                    <a:pt x="216" y="588"/>
                  </a:lnTo>
                  <a:lnTo>
                    <a:pt x="216" y="589"/>
                  </a:lnTo>
                  <a:lnTo>
                    <a:pt x="218" y="589"/>
                  </a:lnTo>
                  <a:lnTo>
                    <a:pt x="216" y="589"/>
                  </a:lnTo>
                  <a:lnTo>
                    <a:pt x="218" y="589"/>
                  </a:lnTo>
                  <a:lnTo>
                    <a:pt x="218" y="591"/>
                  </a:lnTo>
                  <a:lnTo>
                    <a:pt x="218" y="593"/>
                  </a:lnTo>
                  <a:lnTo>
                    <a:pt x="218" y="595"/>
                  </a:lnTo>
                  <a:lnTo>
                    <a:pt x="216" y="595"/>
                  </a:lnTo>
                  <a:lnTo>
                    <a:pt x="216" y="596"/>
                  </a:lnTo>
                  <a:lnTo>
                    <a:pt x="215" y="596"/>
                  </a:lnTo>
                  <a:lnTo>
                    <a:pt x="215" y="598"/>
                  </a:lnTo>
                  <a:lnTo>
                    <a:pt x="216" y="598"/>
                  </a:lnTo>
                  <a:lnTo>
                    <a:pt x="218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22" y="600"/>
                  </a:lnTo>
                  <a:lnTo>
                    <a:pt x="223" y="600"/>
                  </a:lnTo>
                  <a:lnTo>
                    <a:pt x="223" y="602"/>
                  </a:lnTo>
                  <a:lnTo>
                    <a:pt x="225" y="602"/>
                  </a:lnTo>
                  <a:lnTo>
                    <a:pt x="223" y="602"/>
                  </a:lnTo>
                  <a:lnTo>
                    <a:pt x="225" y="602"/>
                  </a:lnTo>
                  <a:lnTo>
                    <a:pt x="225" y="603"/>
                  </a:lnTo>
                  <a:lnTo>
                    <a:pt x="227" y="603"/>
                  </a:lnTo>
                  <a:lnTo>
                    <a:pt x="225" y="603"/>
                  </a:lnTo>
                  <a:lnTo>
                    <a:pt x="227" y="603"/>
                  </a:lnTo>
                  <a:lnTo>
                    <a:pt x="227" y="605"/>
                  </a:lnTo>
                  <a:lnTo>
                    <a:pt x="229" y="605"/>
                  </a:lnTo>
                  <a:lnTo>
                    <a:pt x="229" y="607"/>
                  </a:lnTo>
                  <a:lnTo>
                    <a:pt x="230" y="607"/>
                  </a:lnTo>
                  <a:lnTo>
                    <a:pt x="230" y="609"/>
                  </a:lnTo>
                  <a:lnTo>
                    <a:pt x="232" y="609"/>
                  </a:lnTo>
                  <a:lnTo>
                    <a:pt x="232" y="610"/>
                  </a:lnTo>
                  <a:lnTo>
                    <a:pt x="234" y="610"/>
                  </a:lnTo>
                  <a:lnTo>
                    <a:pt x="234" y="612"/>
                  </a:lnTo>
                  <a:lnTo>
                    <a:pt x="234" y="614"/>
                  </a:lnTo>
                  <a:lnTo>
                    <a:pt x="234" y="616"/>
                  </a:lnTo>
                  <a:lnTo>
                    <a:pt x="236" y="616"/>
                  </a:lnTo>
                  <a:lnTo>
                    <a:pt x="237" y="616"/>
                  </a:lnTo>
                  <a:lnTo>
                    <a:pt x="237" y="617"/>
                  </a:lnTo>
                  <a:lnTo>
                    <a:pt x="237" y="619"/>
                  </a:lnTo>
                  <a:lnTo>
                    <a:pt x="237" y="621"/>
                  </a:lnTo>
                  <a:lnTo>
                    <a:pt x="237" y="622"/>
                  </a:lnTo>
                  <a:lnTo>
                    <a:pt x="237" y="624"/>
                  </a:lnTo>
                  <a:lnTo>
                    <a:pt x="237" y="626"/>
                  </a:lnTo>
                  <a:lnTo>
                    <a:pt x="239" y="626"/>
                  </a:lnTo>
                  <a:lnTo>
                    <a:pt x="239" y="628"/>
                  </a:lnTo>
                  <a:lnTo>
                    <a:pt x="239" y="629"/>
                  </a:lnTo>
                  <a:lnTo>
                    <a:pt x="241" y="629"/>
                  </a:lnTo>
                  <a:lnTo>
                    <a:pt x="241" y="631"/>
                  </a:lnTo>
                  <a:lnTo>
                    <a:pt x="242" y="631"/>
                  </a:lnTo>
                  <a:lnTo>
                    <a:pt x="242" y="633"/>
                  </a:lnTo>
                  <a:lnTo>
                    <a:pt x="244" y="633"/>
                  </a:lnTo>
                  <a:lnTo>
                    <a:pt x="244" y="635"/>
                  </a:lnTo>
                  <a:lnTo>
                    <a:pt x="242" y="635"/>
                  </a:lnTo>
                  <a:lnTo>
                    <a:pt x="242" y="636"/>
                  </a:lnTo>
                  <a:lnTo>
                    <a:pt x="237" y="640"/>
                  </a:lnTo>
                  <a:lnTo>
                    <a:pt x="234" y="640"/>
                  </a:lnTo>
                  <a:lnTo>
                    <a:pt x="232" y="640"/>
                  </a:lnTo>
                  <a:lnTo>
                    <a:pt x="230" y="642"/>
                  </a:lnTo>
                  <a:lnTo>
                    <a:pt x="227" y="645"/>
                  </a:lnTo>
                  <a:lnTo>
                    <a:pt x="225" y="645"/>
                  </a:lnTo>
                  <a:lnTo>
                    <a:pt x="222" y="645"/>
                  </a:lnTo>
                  <a:lnTo>
                    <a:pt x="220" y="645"/>
                  </a:lnTo>
                  <a:lnTo>
                    <a:pt x="218" y="645"/>
                  </a:lnTo>
                  <a:lnTo>
                    <a:pt x="218" y="643"/>
                  </a:lnTo>
                  <a:lnTo>
                    <a:pt x="216" y="643"/>
                  </a:lnTo>
                  <a:lnTo>
                    <a:pt x="216" y="642"/>
                  </a:lnTo>
                  <a:lnTo>
                    <a:pt x="215" y="642"/>
                  </a:lnTo>
                  <a:lnTo>
                    <a:pt x="211" y="638"/>
                  </a:lnTo>
                  <a:lnTo>
                    <a:pt x="209" y="636"/>
                  </a:lnTo>
                  <a:lnTo>
                    <a:pt x="208" y="635"/>
                  </a:lnTo>
                  <a:lnTo>
                    <a:pt x="208" y="633"/>
                  </a:lnTo>
                  <a:lnTo>
                    <a:pt x="208" y="631"/>
                  </a:lnTo>
                  <a:lnTo>
                    <a:pt x="208" y="629"/>
                  </a:lnTo>
                  <a:lnTo>
                    <a:pt x="206" y="628"/>
                  </a:lnTo>
                  <a:lnTo>
                    <a:pt x="204" y="628"/>
                  </a:lnTo>
                  <a:lnTo>
                    <a:pt x="202" y="628"/>
                  </a:lnTo>
                  <a:lnTo>
                    <a:pt x="201" y="628"/>
                  </a:lnTo>
                  <a:lnTo>
                    <a:pt x="199" y="628"/>
                  </a:lnTo>
                  <a:lnTo>
                    <a:pt x="199" y="626"/>
                  </a:lnTo>
                  <a:lnTo>
                    <a:pt x="197" y="624"/>
                  </a:lnTo>
                  <a:lnTo>
                    <a:pt x="195" y="624"/>
                  </a:lnTo>
                  <a:lnTo>
                    <a:pt x="194" y="624"/>
                  </a:lnTo>
                  <a:lnTo>
                    <a:pt x="190" y="622"/>
                  </a:lnTo>
                  <a:lnTo>
                    <a:pt x="188" y="622"/>
                  </a:lnTo>
                  <a:lnTo>
                    <a:pt x="187" y="622"/>
                  </a:lnTo>
                  <a:lnTo>
                    <a:pt x="187" y="621"/>
                  </a:lnTo>
                  <a:lnTo>
                    <a:pt x="187" y="619"/>
                  </a:lnTo>
                  <a:lnTo>
                    <a:pt x="187" y="617"/>
                  </a:lnTo>
                  <a:lnTo>
                    <a:pt x="185" y="617"/>
                  </a:lnTo>
                  <a:lnTo>
                    <a:pt x="183" y="616"/>
                  </a:lnTo>
                  <a:lnTo>
                    <a:pt x="182" y="616"/>
                  </a:lnTo>
                  <a:lnTo>
                    <a:pt x="182" y="614"/>
                  </a:lnTo>
                  <a:lnTo>
                    <a:pt x="180" y="612"/>
                  </a:lnTo>
                  <a:lnTo>
                    <a:pt x="178" y="612"/>
                  </a:lnTo>
                  <a:lnTo>
                    <a:pt x="176" y="612"/>
                  </a:lnTo>
                  <a:lnTo>
                    <a:pt x="175" y="612"/>
                  </a:lnTo>
                  <a:lnTo>
                    <a:pt x="173" y="612"/>
                  </a:lnTo>
                  <a:lnTo>
                    <a:pt x="171" y="610"/>
                  </a:lnTo>
                  <a:lnTo>
                    <a:pt x="169" y="610"/>
                  </a:lnTo>
                  <a:lnTo>
                    <a:pt x="166" y="610"/>
                  </a:lnTo>
                  <a:lnTo>
                    <a:pt x="162" y="609"/>
                  </a:lnTo>
                  <a:lnTo>
                    <a:pt x="161" y="609"/>
                  </a:lnTo>
                  <a:lnTo>
                    <a:pt x="157" y="607"/>
                  </a:lnTo>
                  <a:lnTo>
                    <a:pt x="155" y="607"/>
                  </a:lnTo>
                  <a:lnTo>
                    <a:pt x="154" y="607"/>
                  </a:lnTo>
                  <a:lnTo>
                    <a:pt x="152" y="605"/>
                  </a:lnTo>
                  <a:lnTo>
                    <a:pt x="152" y="603"/>
                  </a:lnTo>
                  <a:lnTo>
                    <a:pt x="152" y="602"/>
                  </a:lnTo>
                  <a:lnTo>
                    <a:pt x="150" y="600"/>
                  </a:lnTo>
                  <a:lnTo>
                    <a:pt x="148" y="600"/>
                  </a:lnTo>
                  <a:lnTo>
                    <a:pt x="147" y="602"/>
                  </a:lnTo>
                  <a:lnTo>
                    <a:pt x="145" y="602"/>
                  </a:lnTo>
                  <a:lnTo>
                    <a:pt x="143" y="602"/>
                  </a:lnTo>
                  <a:lnTo>
                    <a:pt x="141" y="600"/>
                  </a:lnTo>
                  <a:lnTo>
                    <a:pt x="140" y="600"/>
                  </a:lnTo>
                  <a:lnTo>
                    <a:pt x="138" y="600"/>
                  </a:lnTo>
                  <a:lnTo>
                    <a:pt x="138" y="598"/>
                  </a:lnTo>
                  <a:lnTo>
                    <a:pt x="140" y="596"/>
                  </a:lnTo>
                  <a:lnTo>
                    <a:pt x="140" y="595"/>
                  </a:lnTo>
                  <a:lnTo>
                    <a:pt x="138" y="593"/>
                  </a:lnTo>
                  <a:lnTo>
                    <a:pt x="136" y="593"/>
                  </a:lnTo>
                  <a:lnTo>
                    <a:pt x="134" y="593"/>
                  </a:lnTo>
                  <a:lnTo>
                    <a:pt x="133" y="591"/>
                  </a:lnTo>
                  <a:lnTo>
                    <a:pt x="131" y="591"/>
                  </a:lnTo>
                  <a:lnTo>
                    <a:pt x="131" y="589"/>
                  </a:lnTo>
                  <a:lnTo>
                    <a:pt x="131" y="588"/>
                  </a:lnTo>
                  <a:lnTo>
                    <a:pt x="131" y="586"/>
                  </a:lnTo>
                  <a:lnTo>
                    <a:pt x="129" y="586"/>
                  </a:lnTo>
                  <a:lnTo>
                    <a:pt x="128" y="586"/>
                  </a:lnTo>
                  <a:lnTo>
                    <a:pt x="126" y="586"/>
                  </a:lnTo>
                  <a:lnTo>
                    <a:pt x="124" y="588"/>
                  </a:lnTo>
                  <a:lnTo>
                    <a:pt x="122" y="586"/>
                  </a:lnTo>
                  <a:lnTo>
                    <a:pt x="119" y="584"/>
                  </a:lnTo>
                  <a:lnTo>
                    <a:pt x="117" y="582"/>
                  </a:lnTo>
                  <a:lnTo>
                    <a:pt x="112" y="582"/>
                  </a:lnTo>
                  <a:lnTo>
                    <a:pt x="107" y="582"/>
                  </a:lnTo>
                  <a:lnTo>
                    <a:pt x="105" y="582"/>
                  </a:lnTo>
                  <a:lnTo>
                    <a:pt x="101" y="582"/>
                  </a:lnTo>
                  <a:lnTo>
                    <a:pt x="100" y="581"/>
                  </a:lnTo>
                  <a:lnTo>
                    <a:pt x="98" y="582"/>
                  </a:lnTo>
                  <a:lnTo>
                    <a:pt x="96" y="582"/>
                  </a:lnTo>
                  <a:lnTo>
                    <a:pt x="94" y="582"/>
                  </a:lnTo>
                  <a:lnTo>
                    <a:pt x="93" y="582"/>
                  </a:lnTo>
                  <a:lnTo>
                    <a:pt x="91" y="581"/>
                  </a:lnTo>
                  <a:lnTo>
                    <a:pt x="91" y="579"/>
                  </a:lnTo>
                  <a:lnTo>
                    <a:pt x="89" y="579"/>
                  </a:lnTo>
                  <a:lnTo>
                    <a:pt x="87" y="577"/>
                  </a:lnTo>
                  <a:lnTo>
                    <a:pt x="87" y="574"/>
                  </a:lnTo>
                  <a:lnTo>
                    <a:pt x="86" y="572"/>
                  </a:lnTo>
                  <a:lnTo>
                    <a:pt x="86" y="570"/>
                  </a:lnTo>
                  <a:lnTo>
                    <a:pt x="86" y="568"/>
                  </a:lnTo>
                  <a:lnTo>
                    <a:pt x="84" y="568"/>
                  </a:lnTo>
                  <a:lnTo>
                    <a:pt x="84" y="567"/>
                  </a:lnTo>
                  <a:lnTo>
                    <a:pt x="84" y="565"/>
                  </a:lnTo>
                  <a:lnTo>
                    <a:pt x="82" y="563"/>
                  </a:lnTo>
                  <a:lnTo>
                    <a:pt x="81" y="563"/>
                  </a:lnTo>
                  <a:lnTo>
                    <a:pt x="79" y="563"/>
                  </a:lnTo>
                  <a:lnTo>
                    <a:pt x="79" y="561"/>
                  </a:lnTo>
                  <a:lnTo>
                    <a:pt x="79" y="560"/>
                  </a:lnTo>
                  <a:lnTo>
                    <a:pt x="77" y="560"/>
                  </a:lnTo>
                  <a:lnTo>
                    <a:pt x="75" y="560"/>
                  </a:lnTo>
                  <a:lnTo>
                    <a:pt x="74" y="560"/>
                  </a:lnTo>
                  <a:lnTo>
                    <a:pt x="74" y="558"/>
                  </a:lnTo>
                  <a:lnTo>
                    <a:pt x="72" y="558"/>
                  </a:lnTo>
                  <a:lnTo>
                    <a:pt x="72" y="556"/>
                  </a:lnTo>
                  <a:lnTo>
                    <a:pt x="70" y="556"/>
                  </a:lnTo>
                  <a:lnTo>
                    <a:pt x="68" y="556"/>
                  </a:lnTo>
                  <a:lnTo>
                    <a:pt x="67" y="556"/>
                  </a:lnTo>
                  <a:lnTo>
                    <a:pt x="65" y="556"/>
                  </a:lnTo>
                  <a:lnTo>
                    <a:pt x="65" y="555"/>
                  </a:lnTo>
                  <a:lnTo>
                    <a:pt x="63" y="555"/>
                  </a:lnTo>
                  <a:lnTo>
                    <a:pt x="61" y="553"/>
                  </a:lnTo>
                  <a:lnTo>
                    <a:pt x="60" y="551"/>
                  </a:lnTo>
                  <a:lnTo>
                    <a:pt x="58" y="549"/>
                  </a:lnTo>
                  <a:lnTo>
                    <a:pt x="58" y="548"/>
                  </a:lnTo>
                  <a:lnTo>
                    <a:pt x="60" y="544"/>
                  </a:lnTo>
                  <a:lnTo>
                    <a:pt x="60" y="542"/>
                  </a:lnTo>
                  <a:lnTo>
                    <a:pt x="61" y="539"/>
                  </a:lnTo>
                  <a:lnTo>
                    <a:pt x="63" y="535"/>
                  </a:lnTo>
                  <a:lnTo>
                    <a:pt x="65" y="532"/>
                  </a:lnTo>
                  <a:lnTo>
                    <a:pt x="65" y="528"/>
                  </a:lnTo>
                  <a:lnTo>
                    <a:pt x="63" y="527"/>
                  </a:lnTo>
                  <a:lnTo>
                    <a:pt x="61" y="525"/>
                  </a:lnTo>
                  <a:lnTo>
                    <a:pt x="60" y="525"/>
                  </a:lnTo>
                  <a:lnTo>
                    <a:pt x="60" y="523"/>
                  </a:lnTo>
                  <a:lnTo>
                    <a:pt x="58" y="523"/>
                  </a:lnTo>
                  <a:lnTo>
                    <a:pt x="58" y="525"/>
                  </a:lnTo>
                  <a:lnTo>
                    <a:pt x="58" y="527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3"/>
                  </a:lnTo>
                  <a:lnTo>
                    <a:pt x="54" y="521"/>
                  </a:lnTo>
                  <a:lnTo>
                    <a:pt x="56" y="521"/>
                  </a:lnTo>
                  <a:lnTo>
                    <a:pt x="56" y="520"/>
                  </a:lnTo>
                  <a:lnTo>
                    <a:pt x="54" y="520"/>
                  </a:lnTo>
                  <a:lnTo>
                    <a:pt x="53" y="520"/>
                  </a:lnTo>
                  <a:lnTo>
                    <a:pt x="53" y="518"/>
                  </a:lnTo>
                  <a:lnTo>
                    <a:pt x="53" y="516"/>
                  </a:lnTo>
                  <a:lnTo>
                    <a:pt x="51" y="516"/>
                  </a:lnTo>
                  <a:lnTo>
                    <a:pt x="51" y="514"/>
                  </a:lnTo>
                  <a:lnTo>
                    <a:pt x="51" y="513"/>
                  </a:lnTo>
                  <a:lnTo>
                    <a:pt x="51" y="511"/>
                  </a:lnTo>
                  <a:lnTo>
                    <a:pt x="49" y="509"/>
                  </a:lnTo>
                  <a:lnTo>
                    <a:pt x="49" y="507"/>
                  </a:lnTo>
                  <a:lnTo>
                    <a:pt x="49" y="506"/>
                  </a:lnTo>
                  <a:lnTo>
                    <a:pt x="49" y="504"/>
                  </a:lnTo>
                  <a:lnTo>
                    <a:pt x="49" y="502"/>
                  </a:lnTo>
                  <a:lnTo>
                    <a:pt x="47" y="502"/>
                  </a:lnTo>
                  <a:lnTo>
                    <a:pt x="47" y="500"/>
                  </a:lnTo>
                  <a:lnTo>
                    <a:pt x="47" y="499"/>
                  </a:lnTo>
                  <a:lnTo>
                    <a:pt x="46" y="499"/>
                  </a:lnTo>
                  <a:lnTo>
                    <a:pt x="46" y="497"/>
                  </a:lnTo>
                  <a:lnTo>
                    <a:pt x="46" y="495"/>
                  </a:lnTo>
                  <a:lnTo>
                    <a:pt x="47" y="495"/>
                  </a:lnTo>
                  <a:lnTo>
                    <a:pt x="47" y="494"/>
                  </a:lnTo>
                  <a:lnTo>
                    <a:pt x="47" y="492"/>
                  </a:lnTo>
                  <a:lnTo>
                    <a:pt x="47" y="490"/>
                  </a:lnTo>
                  <a:lnTo>
                    <a:pt x="46" y="490"/>
                  </a:lnTo>
                  <a:lnTo>
                    <a:pt x="46" y="492"/>
                  </a:lnTo>
                  <a:lnTo>
                    <a:pt x="46" y="494"/>
                  </a:lnTo>
                  <a:lnTo>
                    <a:pt x="44" y="494"/>
                  </a:lnTo>
                  <a:lnTo>
                    <a:pt x="42" y="494"/>
                  </a:lnTo>
                  <a:lnTo>
                    <a:pt x="42" y="492"/>
                  </a:lnTo>
                  <a:lnTo>
                    <a:pt x="40" y="492"/>
                  </a:lnTo>
                  <a:lnTo>
                    <a:pt x="40" y="490"/>
                  </a:lnTo>
                  <a:lnTo>
                    <a:pt x="42" y="490"/>
                  </a:lnTo>
                  <a:lnTo>
                    <a:pt x="42" y="488"/>
                  </a:lnTo>
                  <a:lnTo>
                    <a:pt x="44" y="487"/>
                  </a:lnTo>
                  <a:lnTo>
                    <a:pt x="42" y="487"/>
                  </a:lnTo>
                  <a:lnTo>
                    <a:pt x="40" y="487"/>
                  </a:lnTo>
                  <a:lnTo>
                    <a:pt x="40" y="483"/>
                  </a:lnTo>
                  <a:lnTo>
                    <a:pt x="40" y="481"/>
                  </a:lnTo>
                  <a:lnTo>
                    <a:pt x="42" y="480"/>
                  </a:lnTo>
                  <a:lnTo>
                    <a:pt x="40" y="480"/>
                  </a:lnTo>
                  <a:lnTo>
                    <a:pt x="40" y="478"/>
                  </a:lnTo>
                  <a:lnTo>
                    <a:pt x="42" y="476"/>
                  </a:lnTo>
                  <a:lnTo>
                    <a:pt x="44" y="476"/>
                  </a:lnTo>
                  <a:lnTo>
                    <a:pt x="44" y="474"/>
                  </a:lnTo>
                  <a:lnTo>
                    <a:pt x="44" y="473"/>
                  </a:lnTo>
                  <a:lnTo>
                    <a:pt x="46" y="473"/>
                  </a:lnTo>
                  <a:lnTo>
                    <a:pt x="46" y="471"/>
                  </a:lnTo>
                  <a:lnTo>
                    <a:pt x="47" y="471"/>
                  </a:lnTo>
                  <a:lnTo>
                    <a:pt x="47" y="469"/>
                  </a:lnTo>
                  <a:lnTo>
                    <a:pt x="47" y="467"/>
                  </a:lnTo>
                  <a:lnTo>
                    <a:pt x="46" y="469"/>
                  </a:lnTo>
                  <a:lnTo>
                    <a:pt x="46" y="467"/>
                  </a:lnTo>
                  <a:lnTo>
                    <a:pt x="44" y="467"/>
                  </a:lnTo>
                  <a:lnTo>
                    <a:pt x="46" y="467"/>
                  </a:lnTo>
                  <a:lnTo>
                    <a:pt x="46" y="466"/>
                  </a:lnTo>
                  <a:lnTo>
                    <a:pt x="47" y="466"/>
                  </a:lnTo>
                  <a:lnTo>
                    <a:pt x="47" y="464"/>
                  </a:lnTo>
                  <a:lnTo>
                    <a:pt x="46" y="464"/>
                  </a:lnTo>
                  <a:lnTo>
                    <a:pt x="47" y="464"/>
                  </a:lnTo>
                  <a:lnTo>
                    <a:pt x="49" y="464"/>
                  </a:lnTo>
                  <a:lnTo>
                    <a:pt x="51" y="464"/>
                  </a:lnTo>
                  <a:lnTo>
                    <a:pt x="51" y="462"/>
                  </a:lnTo>
                  <a:lnTo>
                    <a:pt x="51" y="460"/>
                  </a:lnTo>
                  <a:lnTo>
                    <a:pt x="53" y="460"/>
                  </a:lnTo>
                  <a:lnTo>
                    <a:pt x="54" y="460"/>
                  </a:lnTo>
                  <a:lnTo>
                    <a:pt x="54" y="462"/>
                  </a:lnTo>
                  <a:lnTo>
                    <a:pt x="54" y="460"/>
                  </a:lnTo>
                  <a:lnTo>
                    <a:pt x="54" y="459"/>
                  </a:lnTo>
                  <a:lnTo>
                    <a:pt x="54" y="457"/>
                  </a:lnTo>
                  <a:lnTo>
                    <a:pt x="53" y="457"/>
                  </a:lnTo>
                  <a:lnTo>
                    <a:pt x="53" y="455"/>
                  </a:lnTo>
                  <a:lnTo>
                    <a:pt x="53" y="453"/>
                  </a:lnTo>
                  <a:lnTo>
                    <a:pt x="51" y="453"/>
                  </a:lnTo>
                  <a:lnTo>
                    <a:pt x="51" y="455"/>
                  </a:lnTo>
                  <a:lnTo>
                    <a:pt x="49" y="455"/>
                  </a:lnTo>
                  <a:lnTo>
                    <a:pt x="49" y="453"/>
                  </a:lnTo>
                  <a:lnTo>
                    <a:pt x="51" y="452"/>
                  </a:lnTo>
                  <a:lnTo>
                    <a:pt x="49" y="452"/>
                  </a:lnTo>
                  <a:lnTo>
                    <a:pt x="49" y="450"/>
                  </a:lnTo>
                  <a:lnTo>
                    <a:pt x="49" y="448"/>
                  </a:lnTo>
                  <a:lnTo>
                    <a:pt x="47" y="448"/>
                  </a:lnTo>
                  <a:lnTo>
                    <a:pt x="49" y="448"/>
                  </a:lnTo>
                  <a:lnTo>
                    <a:pt x="49" y="446"/>
                  </a:lnTo>
                  <a:lnTo>
                    <a:pt x="51" y="448"/>
                  </a:lnTo>
                  <a:lnTo>
                    <a:pt x="51" y="446"/>
                  </a:lnTo>
                  <a:lnTo>
                    <a:pt x="51" y="445"/>
                  </a:lnTo>
                  <a:lnTo>
                    <a:pt x="51" y="443"/>
                  </a:lnTo>
                  <a:lnTo>
                    <a:pt x="53" y="443"/>
                  </a:lnTo>
                  <a:lnTo>
                    <a:pt x="53" y="441"/>
                  </a:lnTo>
                  <a:lnTo>
                    <a:pt x="54" y="441"/>
                  </a:lnTo>
                  <a:lnTo>
                    <a:pt x="54" y="440"/>
                  </a:lnTo>
                  <a:lnTo>
                    <a:pt x="56" y="441"/>
                  </a:lnTo>
                  <a:lnTo>
                    <a:pt x="56" y="440"/>
                  </a:lnTo>
                  <a:lnTo>
                    <a:pt x="56" y="438"/>
                  </a:lnTo>
                  <a:lnTo>
                    <a:pt x="54" y="438"/>
                  </a:lnTo>
                  <a:lnTo>
                    <a:pt x="53" y="438"/>
                  </a:lnTo>
                  <a:lnTo>
                    <a:pt x="53" y="436"/>
                  </a:lnTo>
                  <a:lnTo>
                    <a:pt x="53" y="434"/>
                  </a:lnTo>
                  <a:lnTo>
                    <a:pt x="54" y="434"/>
                  </a:lnTo>
                  <a:lnTo>
                    <a:pt x="54" y="433"/>
                  </a:lnTo>
                  <a:lnTo>
                    <a:pt x="53" y="431"/>
                  </a:lnTo>
                  <a:lnTo>
                    <a:pt x="54" y="431"/>
                  </a:lnTo>
                  <a:lnTo>
                    <a:pt x="53" y="431"/>
                  </a:lnTo>
                  <a:lnTo>
                    <a:pt x="54" y="429"/>
                  </a:lnTo>
                  <a:lnTo>
                    <a:pt x="53" y="427"/>
                  </a:lnTo>
                  <a:lnTo>
                    <a:pt x="53" y="426"/>
                  </a:lnTo>
                  <a:lnTo>
                    <a:pt x="51" y="426"/>
                  </a:lnTo>
                  <a:lnTo>
                    <a:pt x="51" y="424"/>
                  </a:lnTo>
                  <a:lnTo>
                    <a:pt x="49" y="424"/>
                  </a:lnTo>
                  <a:lnTo>
                    <a:pt x="49" y="422"/>
                  </a:lnTo>
                  <a:lnTo>
                    <a:pt x="51" y="420"/>
                  </a:lnTo>
                  <a:lnTo>
                    <a:pt x="49" y="420"/>
                  </a:lnTo>
                  <a:lnTo>
                    <a:pt x="49" y="419"/>
                  </a:lnTo>
                  <a:lnTo>
                    <a:pt x="49" y="420"/>
                  </a:lnTo>
                  <a:lnTo>
                    <a:pt x="47" y="420"/>
                  </a:lnTo>
                  <a:lnTo>
                    <a:pt x="46" y="419"/>
                  </a:lnTo>
                  <a:lnTo>
                    <a:pt x="46" y="417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2" y="417"/>
                  </a:lnTo>
                  <a:lnTo>
                    <a:pt x="42" y="415"/>
                  </a:lnTo>
                  <a:lnTo>
                    <a:pt x="40" y="415"/>
                  </a:lnTo>
                  <a:lnTo>
                    <a:pt x="40" y="413"/>
                  </a:lnTo>
                  <a:lnTo>
                    <a:pt x="42" y="412"/>
                  </a:lnTo>
                  <a:lnTo>
                    <a:pt x="42" y="410"/>
                  </a:lnTo>
                  <a:lnTo>
                    <a:pt x="42" y="408"/>
                  </a:lnTo>
                  <a:lnTo>
                    <a:pt x="40" y="406"/>
                  </a:lnTo>
                  <a:lnTo>
                    <a:pt x="40" y="405"/>
                  </a:lnTo>
                  <a:lnTo>
                    <a:pt x="40" y="403"/>
                  </a:lnTo>
                  <a:lnTo>
                    <a:pt x="40" y="401"/>
                  </a:lnTo>
                  <a:lnTo>
                    <a:pt x="42" y="399"/>
                  </a:lnTo>
                  <a:lnTo>
                    <a:pt x="44" y="398"/>
                  </a:lnTo>
                  <a:lnTo>
                    <a:pt x="44" y="396"/>
                  </a:lnTo>
                  <a:lnTo>
                    <a:pt x="46" y="396"/>
                  </a:lnTo>
                  <a:lnTo>
                    <a:pt x="46" y="394"/>
                  </a:lnTo>
                  <a:lnTo>
                    <a:pt x="47" y="394"/>
                  </a:lnTo>
                  <a:lnTo>
                    <a:pt x="47" y="392"/>
                  </a:lnTo>
                  <a:lnTo>
                    <a:pt x="47" y="391"/>
                  </a:lnTo>
                  <a:lnTo>
                    <a:pt x="49" y="391"/>
                  </a:lnTo>
                  <a:lnTo>
                    <a:pt x="49" y="389"/>
                  </a:lnTo>
                  <a:lnTo>
                    <a:pt x="49" y="387"/>
                  </a:lnTo>
                  <a:lnTo>
                    <a:pt x="49" y="385"/>
                  </a:lnTo>
                  <a:lnTo>
                    <a:pt x="47" y="384"/>
                  </a:lnTo>
                  <a:lnTo>
                    <a:pt x="47" y="382"/>
                  </a:lnTo>
                  <a:lnTo>
                    <a:pt x="47" y="380"/>
                  </a:lnTo>
                  <a:lnTo>
                    <a:pt x="47" y="379"/>
                  </a:lnTo>
                  <a:lnTo>
                    <a:pt x="46" y="379"/>
                  </a:lnTo>
                  <a:lnTo>
                    <a:pt x="44" y="379"/>
                  </a:lnTo>
                  <a:lnTo>
                    <a:pt x="44" y="377"/>
                  </a:lnTo>
                  <a:lnTo>
                    <a:pt x="42" y="377"/>
                  </a:lnTo>
                  <a:lnTo>
                    <a:pt x="42" y="375"/>
                  </a:lnTo>
                  <a:lnTo>
                    <a:pt x="40" y="373"/>
                  </a:lnTo>
                  <a:lnTo>
                    <a:pt x="39" y="373"/>
                  </a:lnTo>
                  <a:lnTo>
                    <a:pt x="39" y="372"/>
                  </a:lnTo>
                  <a:lnTo>
                    <a:pt x="39" y="370"/>
                  </a:lnTo>
                  <a:lnTo>
                    <a:pt x="39" y="368"/>
                  </a:lnTo>
                  <a:lnTo>
                    <a:pt x="40" y="366"/>
                  </a:lnTo>
                  <a:lnTo>
                    <a:pt x="40" y="363"/>
                  </a:lnTo>
                  <a:lnTo>
                    <a:pt x="40" y="361"/>
                  </a:lnTo>
                  <a:lnTo>
                    <a:pt x="42" y="361"/>
                  </a:lnTo>
                  <a:lnTo>
                    <a:pt x="42" y="359"/>
                  </a:lnTo>
                  <a:lnTo>
                    <a:pt x="42" y="358"/>
                  </a:lnTo>
                  <a:lnTo>
                    <a:pt x="42" y="356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4" y="352"/>
                  </a:lnTo>
                  <a:lnTo>
                    <a:pt x="46" y="351"/>
                  </a:lnTo>
                  <a:lnTo>
                    <a:pt x="46" y="349"/>
                  </a:lnTo>
                  <a:lnTo>
                    <a:pt x="46" y="347"/>
                  </a:lnTo>
                  <a:lnTo>
                    <a:pt x="44" y="347"/>
                  </a:lnTo>
                  <a:lnTo>
                    <a:pt x="44" y="345"/>
                  </a:lnTo>
                  <a:lnTo>
                    <a:pt x="46" y="345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4" y="338"/>
                  </a:lnTo>
                  <a:lnTo>
                    <a:pt x="44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0" y="335"/>
                  </a:lnTo>
                  <a:lnTo>
                    <a:pt x="40" y="333"/>
                  </a:lnTo>
                  <a:lnTo>
                    <a:pt x="39" y="333"/>
                  </a:lnTo>
                  <a:lnTo>
                    <a:pt x="39" y="331"/>
                  </a:lnTo>
                  <a:lnTo>
                    <a:pt x="39" y="330"/>
                  </a:lnTo>
                  <a:lnTo>
                    <a:pt x="37" y="330"/>
                  </a:lnTo>
                  <a:lnTo>
                    <a:pt x="35" y="328"/>
                  </a:lnTo>
                  <a:lnTo>
                    <a:pt x="35" y="326"/>
                  </a:lnTo>
                  <a:lnTo>
                    <a:pt x="33" y="324"/>
                  </a:lnTo>
                  <a:lnTo>
                    <a:pt x="33" y="323"/>
                  </a:lnTo>
                  <a:lnTo>
                    <a:pt x="33" y="321"/>
                  </a:lnTo>
                  <a:lnTo>
                    <a:pt x="33" y="319"/>
                  </a:lnTo>
                  <a:lnTo>
                    <a:pt x="32" y="319"/>
                  </a:lnTo>
                  <a:lnTo>
                    <a:pt x="32" y="318"/>
                  </a:lnTo>
                  <a:lnTo>
                    <a:pt x="33" y="318"/>
                  </a:lnTo>
                  <a:lnTo>
                    <a:pt x="32" y="318"/>
                  </a:lnTo>
                  <a:lnTo>
                    <a:pt x="32" y="316"/>
                  </a:lnTo>
                  <a:lnTo>
                    <a:pt x="32" y="314"/>
                  </a:lnTo>
                  <a:lnTo>
                    <a:pt x="30" y="314"/>
                  </a:lnTo>
                  <a:lnTo>
                    <a:pt x="30" y="312"/>
                  </a:lnTo>
                  <a:lnTo>
                    <a:pt x="28" y="312"/>
                  </a:lnTo>
                  <a:lnTo>
                    <a:pt x="28" y="311"/>
                  </a:lnTo>
                  <a:lnTo>
                    <a:pt x="28" y="309"/>
                  </a:lnTo>
                  <a:lnTo>
                    <a:pt x="28" y="307"/>
                  </a:lnTo>
                  <a:lnTo>
                    <a:pt x="28" y="305"/>
                  </a:lnTo>
                  <a:lnTo>
                    <a:pt x="28" y="304"/>
                  </a:lnTo>
                  <a:lnTo>
                    <a:pt x="27" y="304"/>
                  </a:lnTo>
                  <a:lnTo>
                    <a:pt x="28" y="302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295"/>
                  </a:lnTo>
                  <a:lnTo>
                    <a:pt x="27" y="293"/>
                  </a:lnTo>
                  <a:lnTo>
                    <a:pt x="25" y="293"/>
                  </a:lnTo>
                  <a:lnTo>
                    <a:pt x="25" y="291"/>
                  </a:lnTo>
                  <a:lnTo>
                    <a:pt x="25" y="290"/>
                  </a:lnTo>
                  <a:lnTo>
                    <a:pt x="25" y="288"/>
                  </a:lnTo>
                  <a:lnTo>
                    <a:pt x="25" y="286"/>
                  </a:lnTo>
                  <a:lnTo>
                    <a:pt x="25" y="284"/>
                  </a:lnTo>
                  <a:lnTo>
                    <a:pt x="25" y="283"/>
                  </a:lnTo>
                  <a:lnTo>
                    <a:pt x="25" y="281"/>
                  </a:lnTo>
                  <a:lnTo>
                    <a:pt x="23" y="279"/>
                  </a:lnTo>
                  <a:lnTo>
                    <a:pt x="23" y="277"/>
                  </a:lnTo>
                  <a:lnTo>
                    <a:pt x="23" y="276"/>
                  </a:lnTo>
                  <a:lnTo>
                    <a:pt x="25" y="276"/>
                  </a:lnTo>
                  <a:lnTo>
                    <a:pt x="23" y="276"/>
                  </a:lnTo>
                  <a:lnTo>
                    <a:pt x="23" y="274"/>
                  </a:lnTo>
                  <a:lnTo>
                    <a:pt x="23" y="272"/>
                  </a:lnTo>
                  <a:lnTo>
                    <a:pt x="23" y="270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3" y="265"/>
                  </a:lnTo>
                  <a:lnTo>
                    <a:pt x="23" y="263"/>
                  </a:lnTo>
                  <a:lnTo>
                    <a:pt x="23" y="262"/>
                  </a:lnTo>
                  <a:lnTo>
                    <a:pt x="23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5" y="257"/>
                  </a:lnTo>
                  <a:lnTo>
                    <a:pt x="25" y="255"/>
                  </a:lnTo>
                  <a:lnTo>
                    <a:pt x="23" y="253"/>
                  </a:lnTo>
                  <a:lnTo>
                    <a:pt x="23" y="251"/>
                  </a:lnTo>
                  <a:lnTo>
                    <a:pt x="21" y="250"/>
                  </a:lnTo>
                  <a:lnTo>
                    <a:pt x="21" y="248"/>
                  </a:lnTo>
                  <a:lnTo>
                    <a:pt x="20" y="248"/>
                  </a:lnTo>
                  <a:lnTo>
                    <a:pt x="20" y="246"/>
                  </a:lnTo>
                  <a:lnTo>
                    <a:pt x="20" y="244"/>
                  </a:lnTo>
                  <a:lnTo>
                    <a:pt x="20" y="243"/>
                  </a:lnTo>
                  <a:lnTo>
                    <a:pt x="20" y="241"/>
                  </a:lnTo>
                  <a:lnTo>
                    <a:pt x="20" y="239"/>
                  </a:lnTo>
                  <a:lnTo>
                    <a:pt x="21" y="237"/>
                  </a:lnTo>
                  <a:lnTo>
                    <a:pt x="21" y="236"/>
                  </a:lnTo>
                  <a:lnTo>
                    <a:pt x="21" y="234"/>
                  </a:lnTo>
                  <a:lnTo>
                    <a:pt x="21" y="232"/>
                  </a:lnTo>
                  <a:lnTo>
                    <a:pt x="20" y="232"/>
                  </a:lnTo>
                  <a:lnTo>
                    <a:pt x="20" y="234"/>
                  </a:lnTo>
                  <a:lnTo>
                    <a:pt x="18" y="236"/>
                  </a:lnTo>
                  <a:lnTo>
                    <a:pt x="16" y="236"/>
                  </a:lnTo>
                  <a:lnTo>
                    <a:pt x="16" y="237"/>
                  </a:lnTo>
                  <a:lnTo>
                    <a:pt x="14" y="236"/>
                  </a:lnTo>
                  <a:lnTo>
                    <a:pt x="16" y="236"/>
                  </a:lnTo>
                  <a:lnTo>
                    <a:pt x="16" y="234"/>
                  </a:lnTo>
                  <a:lnTo>
                    <a:pt x="16" y="232"/>
                  </a:lnTo>
                  <a:lnTo>
                    <a:pt x="14" y="232"/>
                  </a:lnTo>
                  <a:lnTo>
                    <a:pt x="14" y="230"/>
                  </a:lnTo>
                  <a:lnTo>
                    <a:pt x="13" y="230"/>
                  </a:lnTo>
                  <a:lnTo>
                    <a:pt x="13" y="229"/>
                  </a:lnTo>
                  <a:lnTo>
                    <a:pt x="13" y="227"/>
                  </a:lnTo>
                  <a:lnTo>
                    <a:pt x="13" y="225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9" y="223"/>
                  </a:lnTo>
                  <a:lnTo>
                    <a:pt x="9" y="222"/>
                  </a:lnTo>
                  <a:lnTo>
                    <a:pt x="9" y="220"/>
                  </a:lnTo>
                  <a:lnTo>
                    <a:pt x="7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7" y="218"/>
                  </a:lnTo>
                  <a:lnTo>
                    <a:pt x="6" y="218"/>
                  </a:lnTo>
                  <a:lnTo>
                    <a:pt x="6" y="216"/>
                  </a:lnTo>
                  <a:lnTo>
                    <a:pt x="4" y="216"/>
                  </a:lnTo>
                  <a:lnTo>
                    <a:pt x="4" y="215"/>
                  </a:lnTo>
                  <a:lnTo>
                    <a:pt x="4" y="213"/>
                  </a:lnTo>
                  <a:lnTo>
                    <a:pt x="2" y="213"/>
                  </a:lnTo>
                  <a:lnTo>
                    <a:pt x="2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4" y="208"/>
                  </a:lnTo>
                  <a:lnTo>
                    <a:pt x="4" y="206"/>
                  </a:lnTo>
                  <a:lnTo>
                    <a:pt x="4" y="204"/>
                  </a:lnTo>
                  <a:lnTo>
                    <a:pt x="6" y="203"/>
                  </a:lnTo>
                  <a:lnTo>
                    <a:pt x="6" y="201"/>
                  </a:lnTo>
                  <a:lnTo>
                    <a:pt x="7" y="201"/>
                  </a:lnTo>
                  <a:lnTo>
                    <a:pt x="7" y="199"/>
                  </a:lnTo>
                  <a:lnTo>
                    <a:pt x="7" y="197"/>
                  </a:lnTo>
                  <a:lnTo>
                    <a:pt x="7" y="196"/>
                  </a:lnTo>
                  <a:lnTo>
                    <a:pt x="9" y="196"/>
                  </a:lnTo>
                  <a:lnTo>
                    <a:pt x="9" y="194"/>
                  </a:lnTo>
                  <a:lnTo>
                    <a:pt x="9" y="192"/>
                  </a:lnTo>
                  <a:lnTo>
                    <a:pt x="9" y="190"/>
                  </a:lnTo>
                  <a:lnTo>
                    <a:pt x="7" y="190"/>
                  </a:lnTo>
                  <a:lnTo>
                    <a:pt x="7" y="189"/>
                  </a:lnTo>
                  <a:lnTo>
                    <a:pt x="9" y="189"/>
                  </a:lnTo>
                  <a:lnTo>
                    <a:pt x="9" y="187"/>
                  </a:lnTo>
                  <a:lnTo>
                    <a:pt x="7" y="187"/>
                  </a:lnTo>
                  <a:lnTo>
                    <a:pt x="7" y="185"/>
                  </a:lnTo>
                  <a:lnTo>
                    <a:pt x="9" y="183"/>
                  </a:lnTo>
                  <a:lnTo>
                    <a:pt x="9" y="182"/>
                  </a:lnTo>
                  <a:lnTo>
                    <a:pt x="11" y="180"/>
                  </a:lnTo>
                  <a:lnTo>
                    <a:pt x="11" y="178"/>
                  </a:lnTo>
                  <a:lnTo>
                    <a:pt x="11" y="176"/>
                  </a:lnTo>
                  <a:lnTo>
                    <a:pt x="11" y="175"/>
                  </a:lnTo>
                  <a:lnTo>
                    <a:pt x="11" y="173"/>
                  </a:lnTo>
                  <a:lnTo>
                    <a:pt x="11" y="171"/>
                  </a:lnTo>
                  <a:lnTo>
                    <a:pt x="9" y="171"/>
                  </a:lnTo>
                  <a:lnTo>
                    <a:pt x="9" y="169"/>
                  </a:lnTo>
                  <a:lnTo>
                    <a:pt x="11" y="169"/>
                  </a:lnTo>
                  <a:lnTo>
                    <a:pt x="11" y="168"/>
                  </a:lnTo>
                  <a:lnTo>
                    <a:pt x="13" y="168"/>
                  </a:lnTo>
                  <a:lnTo>
                    <a:pt x="13" y="166"/>
                  </a:lnTo>
                  <a:lnTo>
                    <a:pt x="13" y="162"/>
                  </a:lnTo>
                  <a:lnTo>
                    <a:pt x="13" y="161"/>
                  </a:lnTo>
                  <a:lnTo>
                    <a:pt x="13" y="159"/>
                  </a:lnTo>
                  <a:lnTo>
                    <a:pt x="13" y="157"/>
                  </a:lnTo>
                  <a:lnTo>
                    <a:pt x="14" y="155"/>
                  </a:lnTo>
                  <a:lnTo>
                    <a:pt x="16" y="155"/>
                  </a:lnTo>
                  <a:lnTo>
                    <a:pt x="18" y="155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1" y="155"/>
                  </a:lnTo>
                  <a:lnTo>
                    <a:pt x="23" y="155"/>
                  </a:lnTo>
                  <a:lnTo>
                    <a:pt x="25" y="154"/>
                  </a:lnTo>
                  <a:lnTo>
                    <a:pt x="27" y="155"/>
                  </a:lnTo>
                  <a:lnTo>
                    <a:pt x="28" y="155"/>
                  </a:lnTo>
                  <a:lnTo>
                    <a:pt x="30" y="155"/>
                  </a:lnTo>
                  <a:lnTo>
                    <a:pt x="32" y="155"/>
                  </a:lnTo>
                  <a:lnTo>
                    <a:pt x="33" y="155"/>
                  </a:lnTo>
                  <a:lnTo>
                    <a:pt x="35" y="154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9" y="150"/>
                  </a:lnTo>
                  <a:lnTo>
                    <a:pt x="40" y="152"/>
                  </a:lnTo>
                  <a:lnTo>
                    <a:pt x="42" y="152"/>
                  </a:lnTo>
                  <a:lnTo>
                    <a:pt x="44" y="152"/>
                  </a:lnTo>
                  <a:lnTo>
                    <a:pt x="46" y="152"/>
                  </a:lnTo>
                  <a:lnTo>
                    <a:pt x="47" y="152"/>
                  </a:lnTo>
                  <a:lnTo>
                    <a:pt x="49" y="152"/>
                  </a:lnTo>
                  <a:lnTo>
                    <a:pt x="51" y="152"/>
                  </a:lnTo>
                  <a:lnTo>
                    <a:pt x="51" y="154"/>
                  </a:lnTo>
                  <a:lnTo>
                    <a:pt x="53" y="154"/>
                  </a:lnTo>
                  <a:lnTo>
                    <a:pt x="53" y="155"/>
                  </a:lnTo>
                  <a:lnTo>
                    <a:pt x="54" y="155"/>
                  </a:lnTo>
                  <a:lnTo>
                    <a:pt x="54" y="157"/>
                  </a:lnTo>
                  <a:lnTo>
                    <a:pt x="54" y="159"/>
                  </a:lnTo>
                  <a:lnTo>
                    <a:pt x="56" y="159"/>
                  </a:lnTo>
                  <a:lnTo>
                    <a:pt x="58" y="159"/>
                  </a:lnTo>
                  <a:lnTo>
                    <a:pt x="60" y="159"/>
                  </a:lnTo>
                  <a:lnTo>
                    <a:pt x="60" y="157"/>
                  </a:lnTo>
                  <a:lnTo>
                    <a:pt x="60" y="155"/>
                  </a:lnTo>
                  <a:lnTo>
                    <a:pt x="61" y="155"/>
                  </a:lnTo>
                  <a:lnTo>
                    <a:pt x="61" y="154"/>
                  </a:lnTo>
                  <a:lnTo>
                    <a:pt x="61" y="152"/>
                  </a:lnTo>
                  <a:lnTo>
                    <a:pt x="61" y="150"/>
                  </a:lnTo>
                  <a:lnTo>
                    <a:pt x="60" y="148"/>
                  </a:lnTo>
                  <a:lnTo>
                    <a:pt x="60" y="147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3"/>
                  </a:lnTo>
                  <a:lnTo>
                    <a:pt x="63" y="142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8" y="136"/>
                  </a:lnTo>
                  <a:lnTo>
                    <a:pt x="68" y="135"/>
                  </a:lnTo>
                  <a:lnTo>
                    <a:pt x="68" y="133"/>
                  </a:lnTo>
                  <a:lnTo>
                    <a:pt x="67" y="133"/>
                  </a:lnTo>
                  <a:lnTo>
                    <a:pt x="65" y="133"/>
                  </a:lnTo>
                  <a:lnTo>
                    <a:pt x="65" y="131"/>
                  </a:lnTo>
                  <a:lnTo>
                    <a:pt x="63" y="131"/>
                  </a:lnTo>
                  <a:lnTo>
                    <a:pt x="61" y="131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5" y="122"/>
                  </a:lnTo>
                  <a:lnTo>
                    <a:pt x="67" y="122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0" y="115"/>
                  </a:lnTo>
                  <a:lnTo>
                    <a:pt x="72" y="115"/>
                  </a:lnTo>
                  <a:lnTo>
                    <a:pt x="72" y="114"/>
                  </a:lnTo>
                  <a:lnTo>
                    <a:pt x="72" y="112"/>
                  </a:lnTo>
                  <a:lnTo>
                    <a:pt x="74" y="110"/>
                  </a:lnTo>
                  <a:lnTo>
                    <a:pt x="74" y="108"/>
                  </a:lnTo>
                  <a:lnTo>
                    <a:pt x="75" y="107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5" y="101"/>
                  </a:lnTo>
                  <a:lnTo>
                    <a:pt x="77" y="101"/>
                  </a:lnTo>
                  <a:lnTo>
                    <a:pt x="77" y="100"/>
                  </a:lnTo>
                  <a:lnTo>
                    <a:pt x="79" y="100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82" y="98"/>
                  </a:lnTo>
                  <a:lnTo>
                    <a:pt x="82" y="96"/>
                  </a:lnTo>
                  <a:lnTo>
                    <a:pt x="84" y="96"/>
                  </a:lnTo>
                  <a:lnTo>
                    <a:pt x="84" y="94"/>
                  </a:lnTo>
                  <a:lnTo>
                    <a:pt x="86" y="94"/>
                  </a:lnTo>
                  <a:lnTo>
                    <a:pt x="87" y="94"/>
                  </a:lnTo>
                  <a:lnTo>
                    <a:pt x="89" y="94"/>
                  </a:lnTo>
                  <a:lnTo>
                    <a:pt x="91" y="94"/>
                  </a:lnTo>
                  <a:lnTo>
                    <a:pt x="93" y="94"/>
                  </a:lnTo>
                  <a:lnTo>
                    <a:pt x="94" y="94"/>
                  </a:lnTo>
                  <a:lnTo>
                    <a:pt x="96" y="94"/>
                  </a:lnTo>
                  <a:lnTo>
                    <a:pt x="98" y="94"/>
                  </a:lnTo>
                  <a:lnTo>
                    <a:pt x="100" y="93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7" y="91"/>
                  </a:lnTo>
                  <a:lnTo>
                    <a:pt x="107" y="89"/>
                  </a:lnTo>
                  <a:lnTo>
                    <a:pt x="108" y="89"/>
                  </a:lnTo>
                  <a:lnTo>
                    <a:pt x="110" y="89"/>
                  </a:lnTo>
                  <a:lnTo>
                    <a:pt x="112" y="89"/>
                  </a:lnTo>
                  <a:lnTo>
                    <a:pt x="114" y="89"/>
                  </a:lnTo>
                  <a:lnTo>
                    <a:pt x="114" y="87"/>
                  </a:lnTo>
                  <a:lnTo>
                    <a:pt x="115" y="87"/>
                  </a:lnTo>
                  <a:lnTo>
                    <a:pt x="115" y="89"/>
                  </a:lnTo>
                  <a:lnTo>
                    <a:pt x="117" y="89"/>
                  </a:lnTo>
                  <a:lnTo>
                    <a:pt x="119" y="89"/>
                  </a:lnTo>
                  <a:lnTo>
                    <a:pt x="121" y="89"/>
                  </a:lnTo>
                  <a:lnTo>
                    <a:pt x="121" y="87"/>
                  </a:lnTo>
                  <a:lnTo>
                    <a:pt x="122" y="86"/>
                  </a:lnTo>
                  <a:lnTo>
                    <a:pt x="122" y="84"/>
                  </a:lnTo>
                  <a:lnTo>
                    <a:pt x="124" y="84"/>
                  </a:lnTo>
                  <a:lnTo>
                    <a:pt x="126" y="84"/>
                  </a:lnTo>
                  <a:lnTo>
                    <a:pt x="128" y="84"/>
                  </a:lnTo>
                  <a:lnTo>
                    <a:pt x="129" y="82"/>
                  </a:lnTo>
                  <a:lnTo>
                    <a:pt x="129" y="81"/>
                  </a:lnTo>
                  <a:lnTo>
                    <a:pt x="131" y="79"/>
                  </a:lnTo>
                  <a:lnTo>
                    <a:pt x="131" y="77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4"/>
                  </a:lnTo>
                  <a:lnTo>
                    <a:pt x="138" y="72"/>
                  </a:lnTo>
                  <a:lnTo>
                    <a:pt x="140" y="72"/>
                  </a:lnTo>
                  <a:lnTo>
                    <a:pt x="141" y="72"/>
                  </a:lnTo>
                  <a:lnTo>
                    <a:pt x="141" y="70"/>
                  </a:lnTo>
                  <a:lnTo>
                    <a:pt x="143" y="70"/>
                  </a:lnTo>
                  <a:lnTo>
                    <a:pt x="145" y="70"/>
                  </a:lnTo>
                  <a:lnTo>
                    <a:pt x="147" y="68"/>
                  </a:lnTo>
                  <a:lnTo>
                    <a:pt x="147" y="67"/>
                  </a:lnTo>
                  <a:lnTo>
                    <a:pt x="147" y="65"/>
                  </a:lnTo>
                  <a:lnTo>
                    <a:pt x="147" y="63"/>
                  </a:lnTo>
                  <a:lnTo>
                    <a:pt x="147" y="61"/>
                  </a:lnTo>
                  <a:lnTo>
                    <a:pt x="147" y="60"/>
                  </a:lnTo>
                  <a:lnTo>
                    <a:pt x="148" y="60"/>
                  </a:lnTo>
                  <a:lnTo>
                    <a:pt x="150" y="60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4" y="58"/>
                  </a:lnTo>
                  <a:lnTo>
                    <a:pt x="154" y="56"/>
                  </a:lnTo>
                  <a:lnTo>
                    <a:pt x="154" y="54"/>
                  </a:lnTo>
                  <a:lnTo>
                    <a:pt x="152" y="54"/>
                  </a:lnTo>
                  <a:lnTo>
                    <a:pt x="150" y="54"/>
                  </a:lnTo>
                  <a:lnTo>
                    <a:pt x="150" y="53"/>
                  </a:lnTo>
                  <a:lnTo>
                    <a:pt x="152" y="53"/>
                  </a:lnTo>
                  <a:lnTo>
                    <a:pt x="152" y="51"/>
                  </a:lnTo>
                  <a:lnTo>
                    <a:pt x="152" y="49"/>
                  </a:lnTo>
                  <a:lnTo>
                    <a:pt x="152" y="47"/>
                  </a:lnTo>
                  <a:lnTo>
                    <a:pt x="152" y="46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0" y="40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4" y="39"/>
                  </a:lnTo>
                  <a:lnTo>
                    <a:pt x="154" y="37"/>
                  </a:lnTo>
                  <a:lnTo>
                    <a:pt x="155" y="37"/>
                  </a:lnTo>
                  <a:lnTo>
                    <a:pt x="157" y="37"/>
                  </a:lnTo>
                  <a:lnTo>
                    <a:pt x="157" y="39"/>
                  </a:lnTo>
                  <a:lnTo>
                    <a:pt x="157" y="37"/>
                  </a:lnTo>
                  <a:lnTo>
                    <a:pt x="159" y="37"/>
                  </a:lnTo>
                  <a:lnTo>
                    <a:pt x="161" y="37"/>
                  </a:lnTo>
                  <a:lnTo>
                    <a:pt x="161" y="35"/>
                  </a:lnTo>
                  <a:lnTo>
                    <a:pt x="162" y="33"/>
                  </a:lnTo>
                  <a:lnTo>
                    <a:pt x="162" y="32"/>
                  </a:lnTo>
                  <a:lnTo>
                    <a:pt x="161" y="30"/>
                  </a:lnTo>
                  <a:lnTo>
                    <a:pt x="159" y="28"/>
                  </a:lnTo>
                  <a:lnTo>
                    <a:pt x="157" y="28"/>
                  </a:lnTo>
                  <a:lnTo>
                    <a:pt x="155" y="28"/>
                  </a:lnTo>
                  <a:lnTo>
                    <a:pt x="155" y="26"/>
                  </a:lnTo>
                  <a:lnTo>
                    <a:pt x="154" y="25"/>
                  </a:lnTo>
                  <a:lnTo>
                    <a:pt x="155" y="23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5" y="21"/>
                  </a:lnTo>
                  <a:lnTo>
                    <a:pt x="155" y="20"/>
                  </a:lnTo>
                  <a:lnTo>
                    <a:pt x="155" y="18"/>
                  </a:lnTo>
                  <a:lnTo>
                    <a:pt x="155" y="16"/>
                  </a:lnTo>
                  <a:lnTo>
                    <a:pt x="157" y="16"/>
                  </a:lnTo>
                  <a:lnTo>
                    <a:pt x="157" y="14"/>
                  </a:lnTo>
                  <a:lnTo>
                    <a:pt x="159" y="13"/>
                  </a:lnTo>
                  <a:lnTo>
                    <a:pt x="161" y="11"/>
                  </a:lnTo>
                  <a:lnTo>
                    <a:pt x="161" y="9"/>
                  </a:lnTo>
                  <a:lnTo>
                    <a:pt x="162" y="9"/>
                  </a:lnTo>
                  <a:lnTo>
                    <a:pt x="164" y="9"/>
                  </a:lnTo>
                  <a:lnTo>
                    <a:pt x="166" y="9"/>
                  </a:lnTo>
                  <a:lnTo>
                    <a:pt x="168" y="9"/>
                  </a:lnTo>
                  <a:lnTo>
                    <a:pt x="169" y="11"/>
                  </a:lnTo>
                  <a:lnTo>
                    <a:pt x="171" y="11"/>
                  </a:lnTo>
                  <a:lnTo>
                    <a:pt x="171" y="13"/>
                  </a:lnTo>
                  <a:lnTo>
                    <a:pt x="169" y="13"/>
                  </a:lnTo>
                  <a:lnTo>
                    <a:pt x="171" y="13"/>
                  </a:lnTo>
                  <a:lnTo>
                    <a:pt x="171" y="14"/>
                  </a:lnTo>
                  <a:lnTo>
                    <a:pt x="173" y="14"/>
                  </a:lnTo>
                  <a:lnTo>
                    <a:pt x="173" y="16"/>
                  </a:lnTo>
                  <a:lnTo>
                    <a:pt x="175" y="16"/>
                  </a:lnTo>
                  <a:lnTo>
                    <a:pt x="176" y="16"/>
                  </a:lnTo>
                  <a:lnTo>
                    <a:pt x="178" y="16"/>
                  </a:lnTo>
                  <a:lnTo>
                    <a:pt x="178" y="14"/>
                  </a:lnTo>
                  <a:lnTo>
                    <a:pt x="180" y="14"/>
                  </a:lnTo>
                  <a:lnTo>
                    <a:pt x="182" y="13"/>
                  </a:lnTo>
                  <a:lnTo>
                    <a:pt x="183" y="13"/>
                  </a:lnTo>
                  <a:lnTo>
                    <a:pt x="185" y="13"/>
                  </a:lnTo>
                  <a:lnTo>
                    <a:pt x="185" y="14"/>
                  </a:lnTo>
                  <a:lnTo>
                    <a:pt x="185" y="16"/>
                  </a:lnTo>
                  <a:lnTo>
                    <a:pt x="185" y="18"/>
                  </a:lnTo>
                  <a:lnTo>
                    <a:pt x="187" y="18"/>
                  </a:lnTo>
                  <a:lnTo>
                    <a:pt x="187" y="20"/>
                  </a:lnTo>
                  <a:lnTo>
                    <a:pt x="188" y="20"/>
                  </a:lnTo>
                  <a:lnTo>
                    <a:pt x="190" y="21"/>
                  </a:lnTo>
                  <a:lnTo>
                    <a:pt x="192" y="25"/>
                  </a:lnTo>
                  <a:lnTo>
                    <a:pt x="192" y="26"/>
                  </a:lnTo>
                  <a:lnTo>
                    <a:pt x="194" y="26"/>
                  </a:lnTo>
                  <a:lnTo>
                    <a:pt x="194" y="28"/>
                  </a:lnTo>
                  <a:lnTo>
                    <a:pt x="195" y="28"/>
                  </a:lnTo>
                  <a:lnTo>
                    <a:pt x="199" y="26"/>
                  </a:lnTo>
                  <a:lnTo>
                    <a:pt x="199" y="25"/>
                  </a:lnTo>
                  <a:lnTo>
                    <a:pt x="201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4" y="20"/>
                  </a:lnTo>
                  <a:lnTo>
                    <a:pt x="206" y="20"/>
                  </a:lnTo>
                  <a:lnTo>
                    <a:pt x="208" y="20"/>
                  </a:lnTo>
                  <a:lnTo>
                    <a:pt x="208" y="21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3" y="21"/>
                  </a:lnTo>
                  <a:lnTo>
                    <a:pt x="215" y="21"/>
                  </a:lnTo>
                  <a:lnTo>
                    <a:pt x="216" y="21"/>
                  </a:lnTo>
                  <a:lnTo>
                    <a:pt x="218" y="21"/>
                  </a:lnTo>
                  <a:lnTo>
                    <a:pt x="220" y="21"/>
                  </a:lnTo>
                  <a:lnTo>
                    <a:pt x="222" y="20"/>
                  </a:lnTo>
                  <a:lnTo>
                    <a:pt x="222" y="18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6"/>
                  </a:lnTo>
                  <a:lnTo>
                    <a:pt x="225" y="14"/>
                  </a:lnTo>
                  <a:lnTo>
                    <a:pt x="227" y="13"/>
                  </a:lnTo>
                  <a:lnTo>
                    <a:pt x="229" y="13"/>
                  </a:lnTo>
                  <a:lnTo>
                    <a:pt x="229" y="11"/>
                  </a:lnTo>
                  <a:lnTo>
                    <a:pt x="230" y="9"/>
                  </a:lnTo>
                  <a:lnTo>
                    <a:pt x="232" y="7"/>
                  </a:lnTo>
                  <a:lnTo>
                    <a:pt x="234" y="6"/>
                  </a:lnTo>
                  <a:lnTo>
                    <a:pt x="234" y="4"/>
                  </a:lnTo>
                  <a:lnTo>
                    <a:pt x="236" y="4"/>
                  </a:lnTo>
                  <a:lnTo>
                    <a:pt x="236" y="0"/>
                  </a:lnTo>
                  <a:lnTo>
                    <a:pt x="237" y="2"/>
                  </a:lnTo>
                  <a:lnTo>
                    <a:pt x="239" y="2"/>
                  </a:lnTo>
                  <a:lnTo>
                    <a:pt x="241" y="2"/>
                  </a:lnTo>
                  <a:lnTo>
                    <a:pt x="241" y="4"/>
                  </a:lnTo>
                  <a:lnTo>
                    <a:pt x="241" y="6"/>
                  </a:lnTo>
                  <a:lnTo>
                    <a:pt x="241" y="7"/>
                  </a:lnTo>
                  <a:lnTo>
                    <a:pt x="242" y="7"/>
                  </a:lnTo>
                  <a:lnTo>
                    <a:pt x="244" y="7"/>
                  </a:lnTo>
                  <a:lnTo>
                    <a:pt x="246" y="7"/>
                  </a:lnTo>
                  <a:lnTo>
                    <a:pt x="249" y="9"/>
                  </a:lnTo>
                  <a:lnTo>
                    <a:pt x="251" y="9"/>
                  </a:lnTo>
                  <a:lnTo>
                    <a:pt x="251" y="11"/>
                  </a:lnTo>
                  <a:lnTo>
                    <a:pt x="253" y="13"/>
                  </a:lnTo>
                  <a:lnTo>
                    <a:pt x="253" y="14"/>
                  </a:lnTo>
                  <a:lnTo>
                    <a:pt x="255" y="16"/>
                  </a:lnTo>
                  <a:lnTo>
                    <a:pt x="256" y="18"/>
                  </a:lnTo>
                  <a:lnTo>
                    <a:pt x="258" y="18"/>
                  </a:lnTo>
                  <a:lnTo>
                    <a:pt x="260" y="20"/>
                  </a:lnTo>
                  <a:lnTo>
                    <a:pt x="260" y="21"/>
                  </a:lnTo>
                  <a:lnTo>
                    <a:pt x="260" y="23"/>
                  </a:lnTo>
                  <a:lnTo>
                    <a:pt x="258" y="25"/>
                  </a:lnTo>
                  <a:lnTo>
                    <a:pt x="258" y="26"/>
                  </a:lnTo>
                  <a:lnTo>
                    <a:pt x="258" y="28"/>
                  </a:lnTo>
                  <a:lnTo>
                    <a:pt x="258" y="30"/>
                  </a:lnTo>
                  <a:lnTo>
                    <a:pt x="260" y="32"/>
                  </a:lnTo>
                  <a:lnTo>
                    <a:pt x="260" y="33"/>
                  </a:lnTo>
                  <a:lnTo>
                    <a:pt x="262" y="33"/>
                  </a:lnTo>
                  <a:lnTo>
                    <a:pt x="263" y="33"/>
                  </a:lnTo>
                  <a:lnTo>
                    <a:pt x="265" y="33"/>
                  </a:lnTo>
                  <a:lnTo>
                    <a:pt x="267" y="33"/>
                  </a:lnTo>
                  <a:lnTo>
                    <a:pt x="269" y="33"/>
                  </a:lnTo>
                  <a:lnTo>
                    <a:pt x="269" y="35"/>
                  </a:lnTo>
                  <a:lnTo>
                    <a:pt x="270" y="37"/>
                  </a:lnTo>
                  <a:lnTo>
                    <a:pt x="269" y="39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5" y="46"/>
                  </a:lnTo>
                  <a:lnTo>
                    <a:pt x="265" y="47"/>
                  </a:lnTo>
                  <a:lnTo>
                    <a:pt x="267" y="47"/>
                  </a:lnTo>
                  <a:lnTo>
                    <a:pt x="265" y="49"/>
                  </a:lnTo>
                  <a:lnTo>
                    <a:pt x="265" y="51"/>
                  </a:lnTo>
                  <a:lnTo>
                    <a:pt x="263" y="53"/>
                  </a:lnTo>
                  <a:lnTo>
                    <a:pt x="265" y="53"/>
                  </a:lnTo>
                  <a:lnTo>
                    <a:pt x="265" y="54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5" y="58"/>
                  </a:lnTo>
                  <a:lnTo>
                    <a:pt x="267" y="60"/>
                  </a:lnTo>
                  <a:lnTo>
                    <a:pt x="267" y="61"/>
                  </a:lnTo>
                  <a:lnTo>
                    <a:pt x="267" y="63"/>
                  </a:lnTo>
                  <a:lnTo>
                    <a:pt x="269" y="63"/>
                  </a:lnTo>
                  <a:lnTo>
                    <a:pt x="269" y="65"/>
                  </a:lnTo>
                  <a:lnTo>
                    <a:pt x="270" y="65"/>
                  </a:lnTo>
                  <a:lnTo>
                    <a:pt x="270" y="63"/>
                  </a:lnTo>
                  <a:lnTo>
                    <a:pt x="272" y="63"/>
                  </a:lnTo>
                  <a:lnTo>
                    <a:pt x="272" y="61"/>
                  </a:lnTo>
                  <a:lnTo>
                    <a:pt x="274" y="61"/>
                  </a:lnTo>
                  <a:lnTo>
                    <a:pt x="276" y="61"/>
                  </a:lnTo>
                  <a:lnTo>
                    <a:pt x="277" y="63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3" y="65"/>
                  </a:lnTo>
                  <a:lnTo>
                    <a:pt x="284" y="67"/>
                  </a:lnTo>
                  <a:lnTo>
                    <a:pt x="286" y="67"/>
                  </a:lnTo>
                  <a:lnTo>
                    <a:pt x="288" y="67"/>
                  </a:lnTo>
                  <a:lnTo>
                    <a:pt x="289" y="68"/>
                  </a:lnTo>
                  <a:lnTo>
                    <a:pt x="289" y="70"/>
                  </a:lnTo>
                  <a:lnTo>
                    <a:pt x="291" y="72"/>
                  </a:lnTo>
                  <a:lnTo>
                    <a:pt x="293" y="74"/>
                  </a:lnTo>
                  <a:lnTo>
                    <a:pt x="295" y="74"/>
                  </a:lnTo>
                  <a:lnTo>
                    <a:pt x="296" y="74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2" y="79"/>
                  </a:lnTo>
                  <a:lnTo>
                    <a:pt x="303" y="81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7" y="84"/>
                  </a:lnTo>
                  <a:lnTo>
                    <a:pt x="309" y="84"/>
                  </a:lnTo>
                  <a:lnTo>
                    <a:pt x="310" y="82"/>
                  </a:lnTo>
                  <a:lnTo>
                    <a:pt x="312" y="82"/>
                  </a:lnTo>
                  <a:lnTo>
                    <a:pt x="314" y="82"/>
                  </a:lnTo>
                  <a:lnTo>
                    <a:pt x="316" y="82"/>
                  </a:lnTo>
                  <a:lnTo>
                    <a:pt x="317" y="81"/>
                  </a:lnTo>
                  <a:lnTo>
                    <a:pt x="319" y="82"/>
                  </a:lnTo>
                  <a:lnTo>
                    <a:pt x="321" y="82"/>
                  </a:lnTo>
                  <a:lnTo>
                    <a:pt x="324" y="84"/>
                  </a:lnTo>
                  <a:lnTo>
                    <a:pt x="328" y="86"/>
                  </a:lnTo>
                  <a:lnTo>
                    <a:pt x="330" y="86"/>
                  </a:lnTo>
                  <a:lnTo>
                    <a:pt x="333" y="86"/>
                  </a:lnTo>
                  <a:lnTo>
                    <a:pt x="333" y="87"/>
                  </a:lnTo>
                  <a:lnTo>
                    <a:pt x="335" y="87"/>
                  </a:lnTo>
                  <a:lnTo>
                    <a:pt x="338" y="89"/>
                  </a:lnTo>
                  <a:lnTo>
                    <a:pt x="340" y="91"/>
                  </a:lnTo>
                  <a:lnTo>
                    <a:pt x="342" y="91"/>
                  </a:lnTo>
                  <a:lnTo>
                    <a:pt x="342" y="93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3" y="98"/>
                  </a:lnTo>
                  <a:lnTo>
                    <a:pt x="345" y="100"/>
                  </a:lnTo>
                  <a:lnTo>
                    <a:pt x="347" y="98"/>
                  </a:lnTo>
                  <a:lnTo>
                    <a:pt x="349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2" y="94"/>
                  </a:lnTo>
                  <a:lnTo>
                    <a:pt x="354" y="94"/>
                  </a:lnTo>
                  <a:lnTo>
                    <a:pt x="356" y="94"/>
                  </a:lnTo>
                  <a:lnTo>
                    <a:pt x="356" y="93"/>
                  </a:lnTo>
                  <a:lnTo>
                    <a:pt x="357" y="91"/>
                  </a:lnTo>
                  <a:lnTo>
                    <a:pt x="357" y="89"/>
                  </a:lnTo>
                  <a:lnTo>
                    <a:pt x="359" y="87"/>
                  </a:lnTo>
                  <a:lnTo>
                    <a:pt x="361" y="86"/>
                  </a:lnTo>
                  <a:lnTo>
                    <a:pt x="364" y="84"/>
                  </a:lnTo>
                  <a:lnTo>
                    <a:pt x="364" y="89"/>
                  </a:lnTo>
                  <a:lnTo>
                    <a:pt x="364" y="93"/>
                  </a:lnTo>
                  <a:lnTo>
                    <a:pt x="363" y="94"/>
                  </a:lnTo>
                  <a:lnTo>
                    <a:pt x="361" y="98"/>
                  </a:lnTo>
                  <a:lnTo>
                    <a:pt x="359" y="100"/>
                  </a:lnTo>
                  <a:lnTo>
                    <a:pt x="357" y="101"/>
                  </a:lnTo>
                  <a:lnTo>
                    <a:pt x="356" y="103"/>
                  </a:lnTo>
                  <a:lnTo>
                    <a:pt x="354" y="105"/>
                  </a:lnTo>
                  <a:lnTo>
                    <a:pt x="352" y="105"/>
                  </a:lnTo>
                  <a:lnTo>
                    <a:pt x="350" y="105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7" y="110"/>
                  </a:lnTo>
                  <a:lnTo>
                    <a:pt x="345" y="110"/>
                  </a:lnTo>
                  <a:lnTo>
                    <a:pt x="343" y="110"/>
                  </a:lnTo>
                  <a:lnTo>
                    <a:pt x="343" y="112"/>
                  </a:lnTo>
                  <a:lnTo>
                    <a:pt x="343" y="114"/>
                  </a:lnTo>
                  <a:lnTo>
                    <a:pt x="340" y="114"/>
                  </a:lnTo>
                  <a:lnTo>
                    <a:pt x="338" y="114"/>
                  </a:lnTo>
                  <a:lnTo>
                    <a:pt x="337" y="115"/>
                  </a:lnTo>
                  <a:lnTo>
                    <a:pt x="337" y="117"/>
                  </a:lnTo>
                  <a:lnTo>
                    <a:pt x="337" y="119"/>
                  </a:lnTo>
                  <a:lnTo>
                    <a:pt x="337" y="121"/>
                  </a:lnTo>
                  <a:lnTo>
                    <a:pt x="335" y="122"/>
                  </a:lnTo>
                  <a:lnTo>
                    <a:pt x="335" y="124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alpha val="40000"/>
                </a:schemeClr>
              </a:solidFill>
              <a:prstDash val="sysDash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4" name="Rectangle 236">
              <a:extLst>
                <a:ext uri="{FF2B5EF4-FFF2-40B4-BE49-F238E27FC236}">
                  <a16:creationId xmlns:a16="http://schemas.microsoft.com/office/drawing/2014/main" id="{ACB3AA3A-B6B2-118A-AB48-5305CC714C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54852" y="3518821"/>
              <a:ext cx="3467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0" name="Rectangle 409">
              <a:extLst>
                <a:ext uri="{FF2B5EF4-FFF2-40B4-BE49-F238E27FC236}">
                  <a16:creationId xmlns:a16="http://schemas.microsoft.com/office/drawing/2014/main" id="{C6CA6BA8-FE27-7F23-1655-00BC803CA3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40586" y="4433971"/>
              <a:ext cx="3467" cy="3474"/>
            </a:xfrm>
            <a:prstGeom prst="rect">
              <a:avLst/>
            </a:prstGeom>
            <a:grpFill/>
            <a:ln w="3175">
              <a:solidFill>
                <a:schemeClr val="tx1">
                  <a:alpha val="4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1" name="Freeform 202">
              <a:extLst>
                <a:ext uri="{FF2B5EF4-FFF2-40B4-BE49-F238E27FC236}">
                  <a16:creationId xmlns:a16="http://schemas.microsoft.com/office/drawing/2014/main" id="{3F6C2B6D-89CE-94BB-FA67-B93016403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23258" y="4418346"/>
              <a:ext cx="10398" cy="5210"/>
            </a:xfrm>
            <a:custGeom>
              <a:avLst/>
              <a:gdLst>
                <a:gd name="T0" fmla="*/ 2 w 6"/>
                <a:gd name="T1" fmla="*/ 0 h 3"/>
                <a:gd name="T2" fmla="*/ 4 w 6"/>
                <a:gd name="T3" fmla="*/ 2 h 3"/>
                <a:gd name="T4" fmla="*/ 2 w 6"/>
                <a:gd name="T5" fmla="*/ 2 h 3"/>
                <a:gd name="T6" fmla="*/ 0 w 6"/>
                <a:gd name="T7" fmla="*/ 0 h 3"/>
                <a:gd name="T8" fmla="*/ 2 w 6"/>
                <a:gd name="T9" fmla="*/ 0 h 3"/>
                <a:gd name="T10" fmla="*/ 4 w 6"/>
                <a:gd name="T11" fmla="*/ 2 h 3"/>
                <a:gd name="T12" fmla="*/ 6 w 6"/>
                <a:gd name="T13" fmla="*/ 2 h 3"/>
                <a:gd name="T14" fmla="*/ 6 w 6"/>
                <a:gd name="T15" fmla="*/ 3 h 3"/>
                <a:gd name="T16" fmla="*/ 4 w 6"/>
                <a:gd name="T17" fmla="*/ 3 h 3"/>
                <a:gd name="T18" fmla="*/ 4 w 6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3">
                  <a:moveTo>
                    <a:pt x="2" y="0"/>
                  </a:moveTo>
                  <a:lnTo>
                    <a:pt x="4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close/>
                  <a:moveTo>
                    <a:pt x="4" y="2"/>
                  </a:moveTo>
                  <a:lnTo>
                    <a:pt x="6" y="2"/>
                  </a:lnTo>
                  <a:lnTo>
                    <a:pt x="6" y="3"/>
                  </a:lnTo>
                  <a:lnTo>
                    <a:pt x="4" y="3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chemeClr val="tx1">
                  <a:alpha val="4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68948352-500F-F049-6891-B533BF6D146B}"/>
              </a:ext>
            </a:extLst>
          </p:cNvPr>
          <p:cNvSpPr/>
          <p:nvPr/>
        </p:nvSpPr>
        <p:spPr>
          <a:xfrm>
            <a:off x="7412593" y="4237036"/>
            <a:ext cx="1196573" cy="445926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2222544-1B0D-57D3-C2E1-424F0ED16909}"/>
              </a:ext>
            </a:extLst>
          </p:cNvPr>
          <p:cNvSpPr/>
          <p:nvPr/>
        </p:nvSpPr>
        <p:spPr>
          <a:xfrm>
            <a:off x="8287152" y="4497373"/>
            <a:ext cx="1196573" cy="99131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28C304-70BA-2164-5EE0-A060469259BF}"/>
              </a:ext>
            </a:extLst>
          </p:cNvPr>
          <p:cNvSpPr/>
          <p:nvPr/>
        </p:nvSpPr>
        <p:spPr>
          <a:xfrm>
            <a:off x="5338412" y="4768665"/>
            <a:ext cx="585677" cy="73810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B08D125-DA1B-AE6F-04C5-ECD3C2735935}"/>
              </a:ext>
            </a:extLst>
          </p:cNvPr>
          <p:cNvSpPr/>
          <p:nvPr/>
        </p:nvSpPr>
        <p:spPr>
          <a:xfrm>
            <a:off x="5079358" y="5750500"/>
            <a:ext cx="1268825" cy="841832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529984A-271D-8958-CE8B-F9D58567FDB1}"/>
              </a:ext>
            </a:extLst>
          </p:cNvPr>
          <p:cNvSpPr/>
          <p:nvPr/>
        </p:nvSpPr>
        <p:spPr>
          <a:xfrm>
            <a:off x="-54369" y="4138980"/>
            <a:ext cx="273295" cy="22871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544AA8-416B-DC06-869E-F4FE83CE48B2}"/>
              </a:ext>
            </a:extLst>
          </p:cNvPr>
          <p:cNvSpPr/>
          <p:nvPr/>
        </p:nvSpPr>
        <p:spPr>
          <a:xfrm>
            <a:off x="150618" y="4755712"/>
            <a:ext cx="924580" cy="841832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7" name="Oval 1796">
            <a:extLst>
              <a:ext uri="{FF2B5EF4-FFF2-40B4-BE49-F238E27FC236}">
                <a16:creationId xmlns:a16="http://schemas.microsoft.com/office/drawing/2014/main" id="{1F48505F-07B0-2527-07A7-0CA67E30C993}"/>
              </a:ext>
            </a:extLst>
          </p:cNvPr>
          <p:cNvSpPr>
            <a:spLocks/>
          </p:cNvSpPr>
          <p:nvPr/>
        </p:nvSpPr>
        <p:spPr>
          <a:xfrm>
            <a:off x="6175516" y="3465600"/>
            <a:ext cx="691497" cy="679222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6" name="Rectangle 1805">
            <a:extLst>
              <a:ext uri="{FF2B5EF4-FFF2-40B4-BE49-F238E27FC236}">
                <a16:creationId xmlns:a16="http://schemas.microsoft.com/office/drawing/2014/main" id="{BAE7FC42-0493-FCFC-B0A5-7B6178F5962A}"/>
              </a:ext>
            </a:extLst>
          </p:cNvPr>
          <p:cNvSpPr/>
          <p:nvPr/>
        </p:nvSpPr>
        <p:spPr>
          <a:xfrm flipH="1">
            <a:off x="7567968" y="0"/>
            <a:ext cx="4386695" cy="6858000"/>
          </a:xfrm>
          <a:prstGeom prst="rect">
            <a:avLst/>
          </a:prstGeom>
          <a:gradFill>
            <a:gsLst>
              <a:gs pos="39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21594000" scaled="0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7051B560-601D-0A51-3991-45CCDCBDAA67}"/>
              </a:ext>
            </a:extLst>
          </p:cNvPr>
          <p:cNvSpPr>
            <a:spLocks/>
          </p:cNvSpPr>
          <p:nvPr/>
        </p:nvSpPr>
        <p:spPr>
          <a:xfrm>
            <a:off x="4082372" y="2995276"/>
            <a:ext cx="699589" cy="687169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8" name="Oval 1877">
            <a:extLst>
              <a:ext uri="{FF2B5EF4-FFF2-40B4-BE49-F238E27FC236}">
                <a16:creationId xmlns:a16="http://schemas.microsoft.com/office/drawing/2014/main" id="{130F3C08-82FD-9C53-EC4E-428B94C69ED7}"/>
              </a:ext>
            </a:extLst>
          </p:cNvPr>
          <p:cNvSpPr>
            <a:spLocks/>
          </p:cNvSpPr>
          <p:nvPr/>
        </p:nvSpPr>
        <p:spPr>
          <a:xfrm>
            <a:off x="2096720" y="5066803"/>
            <a:ext cx="837100" cy="822241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9" name="Oval 1878">
            <a:extLst>
              <a:ext uri="{FF2B5EF4-FFF2-40B4-BE49-F238E27FC236}">
                <a16:creationId xmlns:a16="http://schemas.microsoft.com/office/drawing/2014/main" id="{9977C0F8-EEF6-485D-D609-2AEDD0445ED4}"/>
              </a:ext>
            </a:extLst>
          </p:cNvPr>
          <p:cNvSpPr>
            <a:spLocks/>
          </p:cNvSpPr>
          <p:nvPr/>
        </p:nvSpPr>
        <p:spPr>
          <a:xfrm>
            <a:off x="794903" y="2714142"/>
            <a:ext cx="1299079" cy="1276017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0" name="Oval 1879">
            <a:extLst>
              <a:ext uri="{FF2B5EF4-FFF2-40B4-BE49-F238E27FC236}">
                <a16:creationId xmlns:a16="http://schemas.microsoft.com/office/drawing/2014/main" id="{BC0FCBEE-0F45-3184-7681-CA612F007DE5}"/>
              </a:ext>
            </a:extLst>
          </p:cNvPr>
          <p:cNvSpPr>
            <a:spLocks/>
          </p:cNvSpPr>
          <p:nvPr/>
        </p:nvSpPr>
        <p:spPr>
          <a:xfrm>
            <a:off x="7137879" y="5149922"/>
            <a:ext cx="691818" cy="679538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1" name="Oval 1880">
            <a:extLst>
              <a:ext uri="{FF2B5EF4-FFF2-40B4-BE49-F238E27FC236}">
                <a16:creationId xmlns:a16="http://schemas.microsoft.com/office/drawing/2014/main" id="{2FAC36EA-BA8D-FD9D-3261-9504A6696EC1}"/>
              </a:ext>
            </a:extLst>
          </p:cNvPr>
          <p:cNvSpPr>
            <a:spLocks/>
          </p:cNvSpPr>
          <p:nvPr/>
        </p:nvSpPr>
        <p:spPr>
          <a:xfrm>
            <a:off x="4828298" y="3730219"/>
            <a:ext cx="691818" cy="679538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9" name="Oval 1888">
            <a:extLst>
              <a:ext uri="{FF2B5EF4-FFF2-40B4-BE49-F238E27FC236}">
                <a16:creationId xmlns:a16="http://schemas.microsoft.com/office/drawing/2014/main" id="{25F5C6E1-7603-70CA-3D32-C42BD19F5C49}"/>
              </a:ext>
            </a:extLst>
          </p:cNvPr>
          <p:cNvSpPr>
            <a:spLocks/>
          </p:cNvSpPr>
          <p:nvPr/>
        </p:nvSpPr>
        <p:spPr>
          <a:xfrm>
            <a:off x="3865913" y="3664290"/>
            <a:ext cx="494568" cy="485787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0" name="Oval 1889">
            <a:extLst>
              <a:ext uri="{FF2B5EF4-FFF2-40B4-BE49-F238E27FC236}">
                <a16:creationId xmlns:a16="http://schemas.microsoft.com/office/drawing/2014/main" id="{FA43472F-7977-733C-F318-CD15925F2C28}"/>
              </a:ext>
            </a:extLst>
          </p:cNvPr>
          <p:cNvSpPr>
            <a:spLocks/>
          </p:cNvSpPr>
          <p:nvPr/>
        </p:nvSpPr>
        <p:spPr>
          <a:xfrm>
            <a:off x="4032323" y="2404458"/>
            <a:ext cx="544540" cy="534871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1" name="Oval 1890">
            <a:extLst>
              <a:ext uri="{FF2B5EF4-FFF2-40B4-BE49-F238E27FC236}">
                <a16:creationId xmlns:a16="http://schemas.microsoft.com/office/drawing/2014/main" id="{B303138F-4FEF-DEDF-5057-4C625FB63A8B}"/>
              </a:ext>
            </a:extLst>
          </p:cNvPr>
          <p:cNvSpPr>
            <a:spLocks/>
          </p:cNvSpPr>
          <p:nvPr/>
        </p:nvSpPr>
        <p:spPr>
          <a:xfrm>
            <a:off x="4415253" y="5321773"/>
            <a:ext cx="218676" cy="214794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3" name="Oval 1892">
            <a:extLst>
              <a:ext uri="{FF2B5EF4-FFF2-40B4-BE49-F238E27FC236}">
                <a16:creationId xmlns:a16="http://schemas.microsoft.com/office/drawing/2014/main" id="{C45D724F-DC2D-9016-BF54-CADE8486635C}"/>
              </a:ext>
            </a:extLst>
          </p:cNvPr>
          <p:cNvSpPr>
            <a:spLocks/>
          </p:cNvSpPr>
          <p:nvPr/>
        </p:nvSpPr>
        <p:spPr>
          <a:xfrm>
            <a:off x="6273980" y="3562318"/>
            <a:ext cx="494568" cy="485787"/>
          </a:xfrm>
          <a:prstGeom prst="ellipse">
            <a:avLst/>
          </a:prstGeom>
          <a:solidFill>
            <a:srgbClr val="9CB7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8" name="Oval 1897">
            <a:extLst>
              <a:ext uri="{FF2B5EF4-FFF2-40B4-BE49-F238E27FC236}">
                <a16:creationId xmlns:a16="http://schemas.microsoft.com/office/drawing/2014/main" id="{0CC9AF68-71FD-7839-EAE0-3CB368F6EFA3}"/>
              </a:ext>
            </a:extLst>
          </p:cNvPr>
          <p:cNvSpPr>
            <a:spLocks/>
          </p:cNvSpPr>
          <p:nvPr/>
        </p:nvSpPr>
        <p:spPr>
          <a:xfrm>
            <a:off x="4322829" y="3231463"/>
            <a:ext cx="218676" cy="214794"/>
          </a:xfrm>
          <a:prstGeom prst="ellipse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3" name="Rectangle 1802">
            <a:extLst>
              <a:ext uri="{FF2B5EF4-FFF2-40B4-BE49-F238E27FC236}">
                <a16:creationId xmlns:a16="http://schemas.microsoft.com/office/drawing/2014/main" id="{D2D6E578-2196-04EE-AAD1-2BEE93CBDE4B}"/>
              </a:ext>
            </a:extLst>
          </p:cNvPr>
          <p:cNvSpPr/>
          <p:nvPr/>
        </p:nvSpPr>
        <p:spPr>
          <a:xfrm rot="5400000">
            <a:off x="4922766" y="-4952298"/>
            <a:ext cx="2314130" cy="12218726"/>
          </a:xfrm>
          <a:prstGeom prst="rect">
            <a:avLst/>
          </a:prstGeom>
          <a:gradFill>
            <a:gsLst>
              <a:gs pos="5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21594000" scaled="0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4" name="Rectangle 1803">
            <a:extLst>
              <a:ext uri="{FF2B5EF4-FFF2-40B4-BE49-F238E27FC236}">
                <a16:creationId xmlns:a16="http://schemas.microsoft.com/office/drawing/2014/main" id="{2C619F98-F82B-0695-70FA-33586433605C}"/>
              </a:ext>
            </a:extLst>
          </p:cNvPr>
          <p:cNvSpPr/>
          <p:nvPr/>
        </p:nvSpPr>
        <p:spPr>
          <a:xfrm rot="5400000" flipH="1">
            <a:off x="5584173" y="252976"/>
            <a:ext cx="991318" cy="12218727"/>
          </a:xfrm>
          <a:prstGeom prst="rect">
            <a:avLst/>
          </a:prstGeom>
          <a:gradFill>
            <a:gsLst>
              <a:gs pos="39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21594000" scaled="0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5" name="Rectangle 3">
            <a:extLst>
              <a:ext uri="{FF2B5EF4-FFF2-40B4-BE49-F238E27FC236}">
                <a16:creationId xmlns:a16="http://schemas.microsoft.com/office/drawing/2014/main" id="{25444516-2F9F-E61F-9300-438D08781E84}"/>
              </a:ext>
            </a:extLst>
          </p:cNvPr>
          <p:cNvSpPr/>
          <p:nvPr/>
        </p:nvSpPr>
        <p:spPr>
          <a:xfrm>
            <a:off x="-29530" y="-17082"/>
            <a:ext cx="2225013" cy="6875082"/>
          </a:xfrm>
          <a:prstGeom prst="rect">
            <a:avLst/>
          </a:prstGeom>
          <a:gradFill>
            <a:gsLst>
              <a:gs pos="52300">
                <a:srgbClr val="021519">
                  <a:lumMod val="99000"/>
                  <a:lumOff val="1000"/>
                  <a:alpha val="25000"/>
                </a:srgbClr>
              </a:gs>
              <a:gs pos="0">
                <a:schemeClr val="bg1"/>
              </a:gs>
              <a:gs pos="100000">
                <a:schemeClr val="bg1">
                  <a:alpha val="0"/>
                  <a:lumMod val="0"/>
                </a:schemeClr>
              </a:gs>
            </a:gsLst>
            <a:lin ang="21594000" scaled="0"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064A769-9EDC-8761-5DFB-D73B6727B6D8}"/>
              </a:ext>
            </a:extLst>
          </p:cNvPr>
          <p:cNvSpPr>
            <a:spLocks/>
          </p:cNvSpPr>
          <p:nvPr/>
        </p:nvSpPr>
        <p:spPr>
          <a:xfrm>
            <a:off x="7104304" y="3427559"/>
            <a:ext cx="699589" cy="687169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961AE1AA-045E-1E30-11A6-3B5FE260BFC2}"/>
              </a:ext>
            </a:extLst>
          </p:cNvPr>
          <p:cNvSpPr>
            <a:spLocks/>
          </p:cNvSpPr>
          <p:nvPr/>
        </p:nvSpPr>
        <p:spPr>
          <a:xfrm>
            <a:off x="6556299" y="4636843"/>
            <a:ext cx="364728" cy="358254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0" name="Oval 1839">
            <a:extLst>
              <a:ext uri="{FF2B5EF4-FFF2-40B4-BE49-F238E27FC236}">
                <a16:creationId xmlns:a16="http://schemas.microsoft.com/office/drawing/2014/main" id="{3D2A9228-03B8-0281-F2DE-8658757B9BAA}"/>
              </a:ext>
            </a:extLst>
          </p:cNvPr>
          <p:cNvSpPr>
            <a:spLocks/>
          </p:cNvSpPr>
          <p:nvPr/>
        </p:nvSpPr>
        <p:spPr>
          <a:xfrm>
            <a:off x="4258725" y="2626840"/>
            <a:ext cx="91736" cy="90108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4" name="Oval 1843">
            <a:extLst>
              <a:ext uri="{FF2B5EF4-FFF2-40B4-BE49-F238E27FC236}">
                <a16:creationId xmlns:a16="http://schemas.microsoft.com/office/drawing/2014/main" id="{14C51882-1A1C-EE0C-E846-7C6FEAF08B90}"/>
              </a:ext>
            </a:extLst>
          </p:cNvPr>
          <p:cNvSpPr>
            <a:spLocks/>
          </p:cNvSpPr>
          <p:nvPr/>
        </p:nvSpPr>
        <p:spPr>
          <a:xfrm flipH="1">
            <a:off x="4067329" y="3862130"/>
            <a:ext cx="91736" cy="90108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6" name="Oval 1845">
            <a:extLst>
              <a:ext uri="{FF2B5EF4-FFF2-40B4-BE49-F238E27FC236}">
                <a16:creationId xmlns:a16="http://schemas.microsoft.com/office/drawing/2014/main" id="{10660401-C199-E972-8065-44CE28072CD5}"/>
              </a:ext>
            </a:extLst>
          </p:cNvPr>
          <p:cNvSpPr>
            <a:spLocks/>
          </p:cNvSpPr>
          <p:nvPr/>
        </p:nvSpPr>
        <p:spPr>
          <a:xfrm>
            <a:off x="2372834" y="5338016"/>
            <a:ext cx="284872" cy="279815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7" name="Oval 1846">
            <a:extLst>
              <a:ext uri="{FF2B5EF4-FFF2-40B4-BE49-F238E27FC236}">
                <a16:creationId xmlns:a16="http://schemas.microsoft.com/office/drawing/2014/main" id="{AF40F54F-7778-0422-0EA8-107E4EEBA844}"/>
              </a:ext>
            </a:extLst>
          </p:cNvPr>
          <p:cNvSpPr>
            <a:spLocks/>
          </p:cNvSpPr>
          <p:nvPr/>
        </p:nvSpPr>
        <p:spPr>
          <a:xfrm>
            <a:off x="1098693" y="3012539"/>
            <a:ext cx="691497" cy="679222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8" name="Oval 1847">
            <a:extLst>
              <a:ext uri="{FF2B5EF4-FFF2-40B4-BE49-F238E27FC236}">
                <a16:creationId xmlns:a16="http://schemas.microsoft.com/office/drawing/2014/main" id="{EC240071-EC76-E282-2B27-6A12356318FD}"/>
              </a:ext>
            </a:extLst>
          </p:cNvPr>
          <p:cNvSpPr>
            <a:spLocks/>
          </p:cNvSpPr>
          <p:nvPr/>
        </p:nvSpPr>
        <p:spPr>
          <a:xfrm>
            <a:off x="5031771" y="3930080"/>
            <a:ext cx="284872" cy="279815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9" name="Oval 1848">
            <a:extLst>
              <a:ext uri="{FF2B5EF4-FFF2-40B4-BE49-F238E27FC236}">
                <a16:creationId xmlns:a16="http://schemas.microsoft.com/office/drawing/2014/main" id="{7D964266-963B-41CB-6FFB-AC37EA48C3AA}"/>
              </a:ext>
            </a:extLst>
          </p:cNvPr>
          <p:cNvSpPr>
            <a:spLocks/>
          </p:cNvSpPr>
          <p:nvPr/>
        </p:nvSpPr>
        <p:spPr>
          <a:xfrm>
            <a:off x="7341352" y="5349782"/>
            <a:ext cx="284872" cy="279815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9" name="Oval 1858">
            <a:extLst>
              <a:ext uri="{FF2B5EF4-FFF2-40B4-BE49-F238E27FC236}">
                <a16:creationId xmlns:a16="http://schemas.microsoft.com/office/drawing/2014/main" id="{EFDD1602-CB48-C180-91E4-EEA5C23B6920}"/>
              </a:ext>
            </a:extLst>
          </p:cNvPr>
          <p:cNvSpPr>
            <a:spLocks/>
          </p:cNvSpPr>
          <p:nvPr/>
        </p:nvSpPr>
        <p:spPr>
          <a:xfrm>
            <a:off x="5703316" y="3997406"/>
            <a:ext cx="558257" cy="548345"/>
          </a:xfrm>
          <a:prstGeom prst="ellipse">
            <a:avLst/>
          </a:prstGeom>
          <a:solidFill>
            <a:schemeClr val="accent3">
              <a:alpha val="7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6" name="Oval 1895">
            <a:extLst>
              <a:ext uri="{FF2B5EF4-FFF2-40B4-BE49-F238E27FC236}">
                <a16:creationId xmlns:a16="http://schemas.microsoft.com/office/drawing/2014/main" id="{83500194-C29E-95E4-5E6E-469BAB8629E9}"/>
              </a:ext>
            </a:extLst>
          </p:cNvPr>
          <p:cNvSpPr>
            <a:spLocks/>
          </p:cNvSpPr>
          <p:nvPr/>
        </p:nvSpPr>
        <p:spPr>
          <a:xfrm>
            <a:off x="5735161" y="4028685"/>
            <a:ext cx="494568" cy="485787"/>
          </a:xfrm>
          <a:prstGeom prst="ellipse">
            <a:avLst/>
          </a:prstGeom>
          <a:solidFill>
            <a:srgbClr val="9CB7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7" name="Oval 1896">
            <a:extLst>
              <a:ext uri="{FF2B5EF4-FFF2-40B4-BE49-F238E27FC236}">
                <a16:creationId xmlns:a16="http://schemas.microsoft.com/office/drawing/2014/main" id="{CDF5A481-853E-D271-6D1C-06B4035F1077}"/>
              </a:ext>
            </a:extLst>
          </p:cNvPr>
          <p:cNvSpPr>
            <a:spLocks/>
          </p:cNvSpPr>
          <p:nvPr/>
        </p:nvSpPr>
        <p:spPr>
          <a:xfrm>
            <a:off x="6629326" y="4708573"/>
            <a:ext cx="218676" cy="214794"/>
          </a:xfrm>
          <a:prstGeom prst="ellipse">
            <a:avLst/>
          </a:prstGeom>
          <a:solidFill>
            <a:srgbClr val="9CB7C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62" name="Graphic 1861">
            <a:extLst>
              <a:ext uri="{FF2B5EF4-FFF2-40B4-BE49-F238E27FC236}">
                <a16:creationId xmlns:a16="http://schemas.microsoft.com/office/drawing/2014/main" id="{773213E3-5C2D-6E6F-CA6D-32B7D6F69B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43583" y="3681182"/>
            <a:ext cx="490148" cy="1960592"/>
          </a:xfrm>
          <a:prstGeom prst="rect">
            <a:avLst/>
          </a:prstGeom>
        </p:spPr>
      </p:pic>
      <p:sp>
        <p:nvSpPr>
          <p:cNvPr id="1907" name="Freeform: Shape 1906">
            <a:extLst>
              <a:ext uri="{FF2B5EF4-FFF2-40B4-BE49-F238E27FC236}">
                <a16:creationId xmlns:a16="http://schemas.microsoft.com/office/drawing/2014/main" id="{D8C1FDD7-61F5-0C0D-E30A-31C585E9AD50}"/>
              </a:ext>
            </a:extLst>
          </p:cNvPr>
          <p:cNvSpPr/>
          <p:nvPr/>
        </p:nvSpPr>
        <p:spPr>
          <a:xfrm rot="2098019">
            <a:off x="4086601" y="3422442"/>
            <a:ext cx="205520" cy="473533"/>
          </a:xfrm>
          <a:custGeom>
            <a:avLst/>
            <a:gdLst>
              <a:gd name="connsiteX0" fmla="*/ 122810 w 200360"/>
              <a:gd name="connsiteY0" fmla="*/ 133362 h 1191866"/>
              <a:gd name="connsiteX1" fmla="*/ 148872 w 200360"/>
              <a:gd name="connsiteY1" fmla="*/ 135777 h 1191866"/>
              <a:gd name="connsiteX2" fmla="*/ 86323 w 200360"/>
              <a:gd name="connsiteY2" fmla="*/ 0 h 1191866"/>
              <a:gd name="connsiteX3" fmla="*/ 0 w 200360"/>
              <a:gd name="connsiteY3" fmla="*/ 122047 h 1191866"/>
              <a:gd name="connsiteX4" fmla="*/ 27333 w 200360"/>
              <a:gd name="connsiteY4" fmla="*/ 124590 h 1191866"/>
              <a:gd name="connsiteX5" fmla="*/ 196547 w 200360"/>
              <a:gd name="connsiteY5" fmla="*/ 1191867 h 1191866"/>
              <a:gd name="connsiteX6" fmla="*/ 200361 w 200360"/>
              <a:gd name="connsiteY6" fmla="*/ 1190722 h 1191866"/>
              <a:gd name="connsiteX7" fmla="*/ 122937 w 200360"/>
              <a:gd name="connsiteY7" fmla="*/ 133235 h 1191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60" h="1191866">
                <a:moveTo>
                  <a:pt x="122810" y="133362"/>
                </a:moveTo>
                <a:lnTo>
                  <a:pt x="148872" y="135777"/>
                </a:lnTo>
                <a:lnTo>
                  <a:pt x="86323" y="0"/>
                </a:lnTo>
                <a:lnTo>
                  <a:pt x="0" y="122047"/>
                </a:lnTo>
                <a:lnTo>
                  <a:pt x="27333" y="124590"/>
                </a:lnTo>
                <a:cubicBezTo>
                  <a:pt x="21104" y="611380"/>
                  <a:pt x="28859" y="800172"/>
                  <a:pt x="196547" y="1191867"/>
                </a:cubicBezTo>
                <a:lnTo>
                  <a:pt x="200361" y="1190722"/>
                </a:lnTo>
                <a:cubicBezTo>
                  <a:pt x="75389" y="690965"/>
                  <a:pt x="101960" y="386483"/>
                  <a:pt x="122937" y="133235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8" name="Freeform: Shape 1907">
            <a:extLst>
              <a:ext uri="{FF2B5EF4-FFF2-40B4-BE49-F238E27FC236}">
                <a16:creationId xmlns:a16="http://schemas.microsoft.com/office/drawing/2014/main" id="{76C4592F-6F3A-9BB5-8982-DD540F62392E}"/>
              </a:ext>
            </a:extLst>
          </p:cNvPr>
          <p:cNvSpPr/>
          <p:nvPr/>
        </p:nvSpPr>
        <p:spPr>
          <a:xfrm rot="19020581" flipH="1">
            <a:off x="4165437" y="2794983"/>
            <a:ext cx="236671" cy="365625"/>
          </a:xfrm>
          <a:custGeom>
            <a:avLst/>
            <a:gdLst>
              <a:gd name="connsiteX0" fmla="*/ 237611 w 330162"/>
              <a:gd name="connsiteY0" fmla="*/ 424241 h 510055"/>
              <a:gd name="connsiteX1" fmla="*/ 218032 w 330162"/>
              <a:gd name="connsiteY1" fmla="*/ 432759 h 510055"/>
              <a:gd name="connsiteX2" fmla="*/ 313255 w 330162"/>
              <a:gd name="connsiteY2" fmla="*/ 510055 h 510055"/>
              <a:gd name="connsiteX3" fmla="*/ 330163 w 330162"/>
              <a:gd name="connsiteY3" fmla="*/ 383686 h 510055"/>
              <a:gd name="connsiteX4" fmla="*/ 309568 w 330162"/>
              <a:gd name="connsiteY4" fmla="*/ 392712 h 510055"/>
              <a:gd name="connsiteX5" fmla="*/ 2161 w 330162"/>
              <a:gd name="connsiteY5" fmla="*/ 0 h 510055"/>
              <a:gd name="connsiteX6" fmla="*/ 0 w 330162"/>
              <a:gd name="connsiteY6" fmla="*/ 12332 h 510055"/>
              <a:gd name="connsiteX7" fmla="*/ 237738 w 330162"/>
              <a:gd name="connsiteY7" fmla="*/ 424241 h 510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0162" h="510055">
                <a:moveTo>
                  <a:pt x="237611" y="424241"/>
                </a:moveTo>
                <a:lnTo>
                  <a:pt x="218032" y="432759"/>
                </a:lnTo>
                <a:lnTo>
                  <a:pt x="313255" y="510055"/>
                </a:lnTo>
                <a:lnTo>
                  <a:pt x="330163" y="383686"/>
                </a:lnTo>
                <a:lnTo>
                  <a:pt x="309568" y="392712"/>
                </a:lnTo>
                <a:cubicBezTo>
                  <a:pt x="198708" y="121284"/>
                  <a:pt x="170739" y="127641"/>
                  <a:pt x="2161" y="0"/>
                </a:cubicBezTo>
                <a:lnTo>
                  <a:pt x="0" y="12332"/>
                </a:lnTo>
                <a:cubicBezTo>
                  <a:pt x="38648" y="54921"/>
                  <a:pt x="208752" y="207353"/>
                  <a:pt x="237738" y="424241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0" name="Freeform: Shape 1909">
            <a:extLst>
              <a:ext uri="{FF2B5EF4-FFF2-40B4-BE49-F238E27FC236}">
                <a16:creationId xmlns:a16="http://schemas.microsoft.com/office/drawing/2014/main" id="{C796DCE3-B2CB-16F4-415C-C4E85751F6CA}"/>
              </a:ext>
            </a:extLst>
          </p:cNvPr>
          <p:cNvSpPr/>
          <p:nvPr/>
        </p:nvSpPr>
        <p:spPr>
          <a:xfrm>
            <a:off x="4524661" y="3359729"/>
            <a:ext cx="522381" cy="661014"/>
          </a:xfrm>
          <a:custGeom>
            <a:avLst/>
            <a:gdLst>
              <a:gd name="connsiteX0" fmla="*/ 122683 w 457838"/>
              <a:gd name="connsiteY0" fmla="*/ 21104 h 579342"/>
              <a:gd name="connsiteX1" fmla="*/ 132599 w 457838"/>
              <a:gd name="connsiteY1" fmla="*/ 0 h 579342"/>
              <a:gd name="connsiteX2" fmla="*/ 0 w 457838"/>
              <a:gd name="connsiteY2" fmla="*/ 11060 h 579342"/>
              <a:gd name="connsiteX3" fmla="*/ 75898 w 457838"/>
              <a:gd name="connsiteY3" fmla="*/ 120394 h 579342"/>
              <a:gd name="connsiteX4" fmla="*/ 86323 w 457838"/>
              <a:gd name="connsiteY4" fmla="*/ 98400 h 579342"/>
              <a:gd name="connsiteX5" fmla="*/ 414197 w 457838"/>
              <a:gd name="connsiteY5" fmla="*/ 579342 h 579342"/>
              <a:gd name="connsiteX6" fmla="*/ 426911 w 457838"/>
              <a:gd name="connsiteY6" fmla="*/ 574257 h 579342"/>
              <a:gd name="connsiteX7" fmla="*/ 122683 w 457838"/>
              <a:gd name="connsiteY7" fmla="*/ 21104 h 579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838" h="579342">
                <a:moveTo>
                  <a:pt x="122683" y="21104"/>
                </a:moveTo>
                <a:lnTo>
                  <a:pt x="132599" y="0"/>
                </a:lnTo>
                <a:lnTo>
                  <a:pt x="0" y="11060"/>
                </a:lnTo>
                <a:lnTo>
                  <a:pt x="75898" y="120394"/>
                </a:lnTo>
                <a:lnTo>
                  <a:pt x="86323" y="98400"/>
                </a:lnTo>
                <a:cubicBezTo>
                  <a:pt x="238246" y="161712"/>
                  <a:pt x="469246" y="171502"/>
                  <a:pt x="414197" y="579342"/>
                </a:cubicBezTo>
                <a:lnTo>
                  <a:pt x="426911" y="574257"/>
                </a:lnTo>
                <a:cubicBezTo>
                  <a:pt x="465432" y="405679"/>
                  <a:pt x="539423" y="169595"/>
                  <a:pt x="122683" y="21104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1" name="Freeform: Shape 1910">
            <a:extLst>
              <a:ext uri="{FF2B5EF4-FFF2-40B4-BE49-F238E27FC236}">
                <a16:creationId xmlns:a16="http://schemas.microsoft.com/office/drawing/2014/main" id="{4998D161-4C0C-83AF-7714-1CA144693837}"/>
              </a:ext>
            </a:extLst>
          </p:cNvPr>
          <p:cNvSpPr/>
          <p:nvPr/>
        </p:nvSpPr>
        <p:spPr>
          <a:xfrm rot="21185402">
            <a:off x="3934121" y="3118594"/>
            <a:ext cx="396317" cy="175512"/>
          </a:xfrm>
          <a:custGeom>
            <a:avLst/>
            <a:gdLst>
              <a:gd name="connsiteX0" fmla="*/ 117979 w 471661"/>
              <a:gd name="connsiteY0" fmla="*/ 16147 h 208879"/>
              <a:gd name="connsiteX1" fmla="*/ 461745 w 471661"/>
              <a:gd name="connsiteY1" fmla="*/ 167815 h 208879"/>
              <a:gd name="connsiteX2" fmla="*/ 471026 w 471661"/>
              <a:gd name="connsiteY2" fmla="*/ 164128 h 208879"/>
              <a:gd name="connsiteX3" fmla="*/ 471661 w 471661"/>
              <a:gd name="connsiteY3" fmla="*/ 208879 h 208879"/>
              <a:gd name="connsiteX4" fmla="*/ 428817 w 471661"/>
              <a:gd name="connsiteY4" fmla="*/ 187013 h 208879"/>
              <a:gd name="connsiteX5" fmla="*/ 438734 w 471661"/>
              <a:gd name="connsiteY5" fmla="*/ 179003 h 208879"/>
              <a:gd name="connsiteX6" fmla="*/ 0 w 471661"/>
              <a:gd name="connsiteY6" fmla="*/ 79331 h 208879"/>
              <a:gd name="connsiteX7" fmla="*/ 0 w 471661"/>
              <a:gd name="connsiteY7" fmla="*/ 79331 h 208879"/>
              <a:gd name="connsiteX8" fmla="*/ 118106 w 471661"/>
              <a:gd name="connsiteY8" fmla="*/ 16019 h 208879"/>
              <a:gd name="connsiteX9" fmla="*/ 118106 w 471661"/>
              <a:gd name="connsiteY9" fmla="*/ 16274 h 208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1661" h="208879">
                <a:moveTo>
                  <a:pt x="117979" y="16147"/>
                </a:moveTo>
                <a:cubicBezTo>
                  <a:pt x="230110" y="-11314"/>
                  <a:pt x="346436" y="-26570"/>
                  <a:pt x="461745" y="167815"/>
                </a:cubicBezTo>
                <a:lnTo>
                  <a:pt x="471026" y="164128"/>
                </a:lnTo>
                <a:lnTo>
                  <a:pt x="471661" y="208879"/>
                </a:lnTo>
                <a:lnTo>
                  <a:pt x="428817" y="187013"/>
                </a:lnTo>
                <a:lnTo>
                  <a:pt x="438734" y="179003"/>
                </a:lnTo>
                <a:cubicBezTo>
                  <a:pt x="390805" y="111623"/>
                  <a:pt x="233669" y="-78186"/>
                  <a:pt x="0" y="79331"/>
                </a:cubicBezTo>
                <a:lnTo>
                  <a:pt x="0" y="79331"/>
                </a:lnTo>
                <a:cubicBezTo>
                  <a:pt x="37250" y="48438"/>
                  <a:pt x="77805" y="26571"/>
                  <a:pt x="118106" y="16019"/>
                </a:cubicBezTo>
                <a:lnTo>
                  <a:pt x="118106" y="16274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2" name="Freeform: Shape 1911">
            <a:extLst>
              <a:ext uri="{FF2B5EF4-FFF2-40B4-BE49-F238E27FC236}">
                <a16:creationId xmlns:a16="http://schemas.microsoft.com/office/drawing/2014/main" id="{3A012BA6-0915-CE48-C817-2EC574871752}"/>
              </a:ext>
            </a:extLst>
          </p:cNvPr>
          <p:cNvSpPr/>
          <p:nvPr/>
        </p:nvSpPr>
        <p:spPr>
          <a:xfrm>
            <a:off x="2330155" y="3239070"/>
            <a:ext cx="1608199" cy="1957830"/>
          </a:xfrm>
          <a:custGeom>
            <a:avLst/>
            <a:gdLst>
              <a:gd name="connsiteX0" fmla="*/ 1665623 w 1760081"/>
              <a:gd name="connsiteY0" fmla="*/ 0 h 1833631"/>
              <a:gd name="connsiteX1" fmla="*/ 1662826 w 1760081"/>
              <a:gd name="connsiteY1" fmla="*/ 42589 h 1833631"/>
              <a:gd name="connsiteX2" fmla="*/ 23326 w 1760081"/>
              <a:gd name="connsiteY2" fmla="*/ 1829944 h 1833631"/>
              <a:gd name="connsiteX3" fmla="*/ 51168 w 1760081"/>
              <a:gd name="connsiteY3" fmla="*/ 1833631 h 1833631"/>
              <a:gd name="connsiteX4" fmla="*/ 1647315 w 1760081"/>
              <a:gd name="connsiteY4" fmla="*/ 162729 h 1833631"/>
              <a:gd name="connsiteX5" fmla="*/ 1645281 w 1760081"/>
              <a:gd name="connsiteY5" fmla="*/ 201378 h 1833631"/>
              <a:gd name="connsiteX6" fmla="*/ 1760082 w 1760081"/>
              <a:gd name="connsiteY6" fmla="*/ 120267 h 1833631"/>
              <a:gd name="connsiteX7" fmla="*/ 1665750 w 1760081"/>
              <a:gd name="connsiteY7" fmla="*/ 0 h 1833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60081" h="1833631">
                <a:moveTo>
                  <a:pt x="1665623" y="0"/>
                </a:moveTo>
                <a:lnTo>
                  <a:pt x="1662826" y="42589"/>
                </a:lnTo>
                <a:cubicBezTo>
                  <a:pt x="588429" y="-29113"/>
                  <a:pt x="-141946" y="763430"/>
                  <a:pt x="23326" y="1829944"/>
                </a:cubicBezTo>
                <a:lnTo>
                  <a:pt x="51168" y="1833631"/>
                </a:lnTo>
                <a:cubicBezTo>
                  <a:pt x="-67066" y="785551"/>
                  <a:pt x="667506" y="94714"/>
                  <a:pt x="1647315" y="162729"/>
                </a:cubicBezTo>
                <a:lnTo>
                  <a:pt x="1645281" y="201378"/>
                </a:lnTo>
                <a:lnTo>
                  <a:pt x="1760082" y="120267"/>
                </a:lnTo>
                <a:lnTo>
                  <a:pt x="1665750" y="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3" name="Freeform: Shape 1912">
            <a:extLst>
              <a:ext uri="{FF2B5EF4-FFF2-40B4-BE49-F238E27FC236}">
                <a16:creationId xmlns:a16="http://schemas.microsoft.com/office/drawing/2014/main" id="{895C04C4-C367-5356-8AC7-084693765BFD}"/>
              </a:ext>
            </a:extLst>
          </p:cNvPr>
          <p:cNvSpPr/>
          <p:nvPr/>
        </p:nvSpPr>
        <p:spPr>
          <a:xfrm>
            <a:off x="972338" y="3761101"/>
            <a:ext cx="1409913" cy="1491401"/>
          </a:xfrm>
          <a:custGeom>
            <a:avLst/>
            <a:gdLst>
              <a:gd name="connsiteX0" fmla="*/ 58162 w 1543069"/>
              <a:gd name="connsiteY0" fmla="*/ 381 h 1632253"/>
              <a:gd name="connsiteX1" fmla="*/ 16209 w 1543069"/>
              <a:gd name="connsiteY1" fmla="*/ 65219 h 1632253"/>
              <a:gd name="connsiteX2" fmla="*/ 35151 w 1543069"/>
              <a:gd name="connsiteY2" fmla="*/ 65728 h 1632253"/>
              <a:gd name="connsiteX3" fmla="*/ 1543069 w 1543069"/>
              <a:gd name="connsiteY3" fmla="*/ 1632254 h 1632253"/>
              <a:gd name="connsiteX4" fmla="*/ 1543069 w 1543069"/>
              <a:gd name="connsiteY4" fmla="*/ 1632254 h 1632253"/>
              <a:gd name="connsiteX5" fmla="*/ 62612 w 1543069"/>
              <a:gd name="connsiteY5" fmla="*/ 68779 h 1632253"/>
              <a:gd name="connsiteX6" fmla="*/ 89183 w 1543069"/>
              <a:gd name="connsiteY6" fmla="*/ 69541 h 1632253"/>
              <a:gd name="connsiteX7" fmla="*/ 58417 w 1543069"/>
              <a:gd name="connsiteY7" fmla="*/ 0 h 1632253"/>
              <a:gd name="connsiteX8" fmla="*/ 58417 w 1543069"/>
              <a:gd name="connsiteY8" fmla="*/ 254 h 1632253"/>
              <a:gd name="connsiteX9" fmla="*/ 58162 w 1543069"/>
              <a:gd name="connsiteY9" fmla="*/ 381 h 1632253"/>
              <a:gd name="connsiteX10" fmla="*/ 58162 w 1543069"/>
              <a:gd name="connsiteY10" fmla="*/ 381 h 1632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43069" h="1632253">
                <a:moveTo>
                  <a:pt x="58162" y="381"/>
                </a:moveTo>
                <a:lnTo>
                  <a:pt x="16209" y="65219"/>
                </a:lnTo>
                <a:lnTo>
                  <a:pt x="35151" y="65728"/>
                </a:lnTo>
                <a:cubicBezTo>
                  <a:pt x="-138130" y="660326"/>
                  <a:pt x="323742" y="1521775"/>
                  <a:pt x="1543069" y="1632254"/>
                </a:cubicBezTo>
                <a:lnTo>
                  <a:pt x="1543069" y="1632254"/>
                </a:lnTo>
                <a:cubicBezTo>
                  <a:pt x="322471" y="1431765"/>
                  <a:pt x="-126434" y="633119"/>
                  <a:pt x="62612" y="68779"/>
                </a:cubicBezTo>
                <a:lnTo>
                  <a:pt x="89183" y="69541"/>
                </a:lnTo>
                <a:lnTo>
                  <a:pt x="58417" y="0"/>
                </a:lnTo>
                <a:lnTo>
                  <a:pt x="58417" y="254"/>
                </a:lnTo>
                <a:cubicBezTo>
                  <a:pt x="58417" y="254"/>
                  <a:pt x="58162" y="381"/>
                  <a:pt x="58162" y="381"/>
                </a:cubicBezTo>
                <a:lnTo>
                  <a:pt x="58162" y="381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4" name="Freeform: Shape 1913">
            <a:extLst>
              <a:ext uri="{FF2B5EF4-FFF2-40B4-BE49-F238E27FC236}">
                <a16:creationId xmlns:a16="http://schemas.microsoft.com/office/drawing/2014/main" id="{99B84A20-D9AC-8061-C065-60E5955D5AF2}"/>
              </a:ext>
            </a:extLst>
          </p:cNvPr>
          <p:cNvSpPr/>
          <p:nvPr/>
        </p:nvSpPr>
        <p:spPr>
          <a:xfrm>
            <a:off x="2502827" y="4067876"/>
            <a:ext cx="5085246" cy="1570973"/>
          </a:xfrm>
          <a:custGeom>
            <a:avLst/>
            <a:gdLst>
              <a:gd name="connsiteX0" fmla="*/ 5491613 w 5491612"/>
              <a:gd name="connsiteY0" fmla="*/ 130438 h 1837309"/>
              <a:gd name="connsiteX1" fmla="*/ 5445464 w 5491612"/>
              <a:gd name="connsiteY1" fmla="*/ 130438 h 1837309"/>
              <a:gd name="connsiteX2" fmla="*/ 14239 w 5491612"/>
              <a:gd name="connsiteY2" fmla="*/ 1676368 h 1837309"/>
              <a:gd name="connsiteX3" fmla="*/ 0 w 5491612"/>
              <a:gd name="connsiteY3" fmla="*/ 1629202 h 1837309"/>
              <a:gd name="connsiteX4" fmla="*/ 5311212 w 5491612"/>
              <a:gd name="connsiteY4" fmla="*/ 132980 h 1837309"/>
              <a:gd name="connsiteX5" fmla="*/ 5269004 w 5491612"/>
              <a:gd name="connsiteY5" fmla="*/ 132980 h 1837309"/>
              <a:gd name="connsiteX6" fmla="*/ 5385711 w 5491612"/>
              <a:gd name="connsiteY6" fmla="*/ 0 h 1837309"/>
              <a:gd name="connsiteX7" fmla="*/ 5491613 w 5491612"/>
              <a:gd name="connsiteY7" fmla="*/ 130438 h 1837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91612" h="1837309">
                <a:moveTo>
                  <a:pt x="5491613" y="130438"/>
                </a:moveTo>
                <a:lnTo>
                  <a:pt x="5445464" y="130438"/>
                </a:lnTo>
                <a:cubicBezTo>
                  <a:pt x="5426012" y="827759"/>
                  <a:pt x="4384671" y="2329829"/>
                  <a:pt x="14239" y="1676368"/>
                </a:cubicBezTo>
                <a:lnTo>
                  <a:pt x="0" y="1629202"/>
                </a:lnTo>
                <a:cubicBezTo>
                  <a:pt x="4007977" y="2156548"/>
                  <a:pt x="5306381" y="811613"/>
                  <a:pt x="5311212" y="132980"/>
                </a:cubicBezTo>
                <a:lnTo>
                  <a:pt x="5269004" y="132980"/>
                </a:lnTo>
                <a:lnTo>
                  <a:pt x="5385711" y="0"/>
                </a:lnTo>
                <a:lnTo>
                  <a:pt x="5491613" y="130438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5" name="Freeform: Shape 1914">
            <a:extLst>
              <a:ext uri="{FF2B5EF4-FFF2-40B4-BE49-F238E27FC236}">
                <a16:creationId xmlns:a16="http://schemas.microsoft.com/office/drawing/2014/main" id="{B33E1DC3-E6EF-112C-E0C2-B94E6DE4154E}"/>
              </a:ext>
            </a:extLst>
          </p:cNvPr>
          <p:cNvSpPr/>
          <p:nvPr/>
        </p:nvSpPr>
        <p:spPr>
          <a:xfrm>
            <a:off x="2501085" y="4100410"/>
            <a:ext cx="4234213" cy="1432783"/>
          </a:xfrm>
          <a:custGeom>
            <a:avLst/>
            <a:gdLst>
              <a:gd name="connsiteX0" fmla="*/ 4634104 w 4634103"/>
              <a:gd name="connsiteY0" fmla="*/ 53777 h 1568099"/>
              <a:gd name="connsiteX1" fmla="*/ 4618340 w 4634103"/>
              <a:gd name="connsiteY1" fmla="*/ 55049 h 1568099"/>
              <a:gd name="connsiteX2" fmla="*/ 0 w 4634103"/>
              <a:gd name="connsiteY2" fmla="*/ 1478677 h 1568099"/>
              <a:gd name="connsiteX3" fmla="*/ 0 w 4634103"/>
              <a:gd name="connsiteY3" fmla="*/ 1478677 h 1568099"/>
              <a:gd name="connsiteX4" fmla="*/ 4581471 w 4634103"/>
              <a:gd name="connsiteY4" fmla="*/ 57464 h 1568099"/>
              <a:gd name="connsiteX5" fmla="*/ 4564309 w 4634103"/>
              <a:gd name="connsiteY5" fmla="*/ 59117 h 1568099"/>
              <a:gd name="connsiteX6" fmla="*/ 4598888 w 4634103"/>
              <a:gd name="connsiteY6" fmla="*/ 0 h 1568099"/>
              <a:gd name="connsiteX7" fmla="*/ 4633977 w 4634103"/>
              <a:gd name="connsiteY7" fmla="*/ 53777 h 1568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34103" h="1568099">
                <a:moveTo>
                  <a:pt x="4634104" y="53777"/>
                </a:moveTo>
                <a:lnTo>
                  <a:pt x="4618340" y="55049"/>
                </a:lnTo>
                <a:cubicBezTo>
                  <a:pt x="4607025" y="646850"/>
                  <a:pt x="3726505" y="1914487"/>
                  <a:pt x="0" y="1478677"/>
                </a:cubicBezTo>
                <a:lnTo>
                  <a:pt x="0" y="1478677"/>
                </a:lnTo>
                <a:cubicBezTo>
                  <a:pt x="3555004" y="1886137"/>
                  <a:pt x="4561511" y="648503"/>
                  <a:pt x="4581471" y="57464"/>
                </a:cubicBezTo>
                <a:lnTo>
                  <a:pt x="4564309" y="59117"/>
                </a:lnTo>
                <a:lnTo>
                  <a:pt x="4598888" y="0"/>
                </a:lnTo>
                <a:lnTo>
                  <a:pt x="4633977" y="53777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9" name="Freeform: Shape 1918">
            <a:extLst>
              <a:ext uri="{FF2B5EF4-FFF2-40B4-BE49-F238E27FC236}">
                <a16:creationId xmlns:a16="http://schemas.microsoft.com/office/drawing/2014/main" id="{D9115340-D874-D8BC-352F-B897B9519F57}"/>
              </a:ext>
            </a:extLst>
          </p:cNvPr>
          <p:cNvSpPr/>
          <p:nvPr/>
        </p:nvSpPr>
        <p:spPr>
          <a:xfrm>
            <a:off x="1442850" y="2118866"/>
            <a:ext cx="5225423" cy="1315724"/>
          </a:xfrm>
          <a:custGeom>
            <a:avLst/>
            <a:gdLst>
              <a:gd name="connsiteX0" fmla="*/ 5755666 w 5755666"/>
              <a:gd name="connsiteY0" fmla="*/ 1089967 h 1220404"/>
              <a:gd name="connsiteX1" fmla="*/ 5709517 w 5755666"/>
              <a:gd name="connsiteY1" fmla="*/ 1089967 h 1220404"/>
              <a:gd name="connsiteX2" fmla="*/ 14239 w 5755666"/>
              <a:gd name="connsiteY2" fmla="*/ 981142 h 1220404"/>
              <a:gd name="connsiteX3" fmla="*/ 0 w 5755666"/>
              <a:gd name="connsiteY3" fmla="*/ 1028308 h 1220404"/>
              <a:gd name="connsiteX4" fmla="*/ 5575266 w 5755666"/>
              <a:gd name="connsiteY4" fmla="*/ 1087425 h 1220404"/>
              <a:gd name="connsiteX5" fmla="*/ 5533057 w 5755666"/>
              <a:gd name="connsiteY5" fmla="*/ 1087425 h 1220404"/>
              <a:gd name="connsiteX6" fmla="*/ 5649765 w 5755666"/>
              <a:gd name="connsiteY6" fmla="*/ 1220405 h 1220404"/>
              <a:gd name="connsiteX7" fmla="*/ 5755666 w 5755666"/>
              <a:gd name="connsiteY7" fmla="*/ 1089967 h 1220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5666" h="1220404">
                <a:moveTo>
                  <a:pt x="5755666" y="1089967"/>
                </a:moveTo>
                <a:lnTo>
                  <a:pt x="5709517" y="1089967"/>
                </a:lnTo>
                <a:cubicBezTo>
                  <a:pt x="5690066" y="392646"/>
                  <a:pt x="3536697" y="-910589"/>
                  <a:pt x="14239" y="981142"/>
                </a:cubicBezTo>
                <a:lnTo>
                  <a:pt x="0" y="1028308"/>
                </a:lnTo>
                <a:cubicBezTo>
                  <a:pt x="3437788" y="-684674"/>
                  <a:pt x="5570562" y="408792"/>
                  <a:pt x="5575266" y="1087425"/>
                </a:cubicBezTo>
                <a:lnTo>
                  <a:pt x="5533057" y="1087425"/>
                </a:lnTo>
                <a:lnTo>
                  <a:pt x="5649765" y="1220405"/>
                </a:lnTo>
                <a:lnTo>
                  <a:pt x="5755666" y="1089967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0" name="Freeform: Shape 1919">
            <a:extLst>
              <a:ext uri="{FF2B5EF4-FFF2-40B4-BE49-F238E27FC236}">
                <a16:creationId xmlns:a16="http://schemas.microsoft.com/office/drawing/2014/main" id="{F8248569-CE48-B4A6-CB62-CEE839C06D5A}"/>
              </a:ext>
            </a:extLst>
          </p:cNvPr>
          <p:cNvSpPr/>
          <p:nvPr/>
        </p:nvSpPr>
        <p:spPr>
          <a:xfrm>
            <a:off x="1442850" y="2098545"/>
            <a:ext cx="5966659" cy="1292079"/>
          </a:xfrm>
          <a:custGeom>
            <a:avLst/>
            <a:gdLst>
              <a:gd name="connsiteX0" fmla="*/ 6679157 w 6679283"/>
              <a:gd name="connsiteY0" fmla="*/ 992320 h 1157337"/>
              <a:gd name="connsiteX1" fmla="*/ 6638474 w 6679283"/>
              <a:gd name="connsiteY1" fmla="*/ 1014059 h 1157337"/>
              <a:gd name="connsiteX2" fmla="*/ 14239 w 6679283"/>
              <a:gd name="connsiteY2" fmla="*/ 981005 h 1157337"/>
              <a:gd name="connsiteX3" fmla="*/ 0 w 6679283"/>
              <a:gd name="connsiteY3" fmla="*/ 1028171 h 1157337"/>
              <a:gd name="connsiteX4" fmla="*/ 6519097 w 6679283"/>
              <a:gd name="connsiteY4" fmla="*/ 1075337 h 1157337"/>
              <a:gd name="connsiteX5" fmla="*/ 6481974 w 6679283"/>
              <a:gd name="connsiteY5" fmla="*/ 1095297 h 1157337"/>
              <a:gd name="connsiteX6" fmla="*/ 6647628 w 6679283"/>
              <a:gd name="connsiteY6" fmla="*/ 1157338 h 1157337"/>
              <a:gd name="connsiteX7" fmla="*/ 6679284 w 6679283"/>
              <a:gd name="connsiteY7" fmla="*/ 992320 h 1157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79283" h="1157337">
                <a:moveTo>
                  <a:pt x="6679157" y="992320"/>
                </a:moveTo>
                <a:lnTo>
                  <a:pt x="6638474" y="1014059"/>
                </a:lnTo>
                <a:cubicBezTo>
                  <a:pt x="6291784" y="408782"/>
                  <a:pt x="3536697" y="-910726"/>
                  <a:pt x="14239" y="981005"/>
                </a:cubicBezTo>
                <a:lnTo>
                  <a:pt x="0" y="1028171"/>
                </a:lnTo>
                <a:cubicBezTo>
                  <a:pt x="3437788" y="-684811"/>
                  <a:pt x="6194146" y="479595"/>
                  <a:pt x="6519097" y="1075337"/>
                </a:cubicBezTo>
                <a:lnTo>
                  <a:pt x="6481974" y="1095297"/>
                </a:lnTo>
                <a:lnTo>
                  <a:pt x="6647628" y="1157338"/>
                </a:lnTo>
                <a:lnTo>
                  <a:pt x="6679284" y="992320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1" name="Freeform: Shape 1920">
            <a:extLst>
              <a:ext uri="{FF2B5EF4-FFF2-40B4-BE49-F238E27FC236}">
                <a16:creationId xmlns:a16="http://schemas.microsoft.com/office/drawing/2014/main" id="{152068C0-6B64-CE5F-3FFC-436CA1FE8DD8}"/>
              </a:ext>
            </a:extLst>
          </p:cNvPr>
          <p:cNvSpPr/>
          <p:nvPr/>
        </p:nvSpPr>
        <p:spPr>
          <a:xfrm>
            <a:off x="1442734" y="2748669"/>
            <a:ext cx="2699833" cy="761406"/>
          </a:xfrm>
          <a:custGeom>
            <a:avLst/>
            <a:gdLst>
              <a:gd name="connsiteX0" fmla="*/ 2861497 w 2954812"/>
              <a:gd name="connsiteY0" fmla="*/ 76369 h 833315"/>
              <a:gd name="connsiteX1" fmla="*/ 2847767 w 2954812"/>
              <a:gd name="connsiteY1" fmla="*/ 120484 h 833315"/>
              <a:gd name="connsiteX2" fmla="*/ 14239 w 2954812"/>
              <a:gd name="connsiteY2" fmla="*/ 786150 h 833315"/>
              <a:gd name="connsiteX3" fmla="*/ 0 w 2954812"/>
              <a:gd name="connsiteY3" fmla="*/ 833316 h 833315"/>
              <a:gd name="connsiteX4" fmla="*/ 2805813 w 2954812"/>
              <a:gd name="connsiteY4" fmla="*/ 247998 h 833315"/>
              <a:gd name="connsiteX5" fmla="*/ 2793354 w 2954812"/>
              <a:gd name="connsiteY5" fmla="*/ 288299 h 833315"/>
              <a:gd name="connsiteX6" fmla="*/ 2954812 w 2954812"/>
              <a:gd name="connsiteY6" fmla="*/ 216088 h 833315"/>
              <a:gd name="connsiteX7" fmla="*/ 2861370 w 2954812"/>
              <a:gd name="connsiteY7" fmla="*/ 76369 h 833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54812" h="833315">
                <a:moveTo>
                  <a:pt x="2861497" y="76369"/>
                </a:moveTo>
                <a:lnTo>
                  <a:pt x="2847767" y="120484"/>
                </a:lnTo>
                <a:cubicBezTo>
                  <a:pt x="1887281" y="-211077"/>
                  <a:pt x="1237380" y="184432"/>
                  <a:pt x="14239" y="786150"/>
                </a:cubicBezTo>
                <a:lnTo>
                  <a:pt x="0" y="833316"/>
                </a:lnTo>
                <a:cubicBezTo>
                  <a:pt x="1423883" y="289062"/>
                  <a:pt x="1946525" y="-64112"/>
                  <a:pt x="2805813" y="247998"/>
                </a:cubicBezTo>
                <a:lnTo>
                  <a:pt x="2793354" y="288299"/>
                </a:lnTo>
                <a:lnTo>
                  <a:pt x="2954812" y="216088"/>
                </a:lnTo>
                <a:lnTo>
                  <a:pt x="2861370" y="76369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3" name="Freeform: Shape 1922">
            <a:extLst>
              <a:ext uri="{FF2B5EF4-FFF2-40B4-BE49-F238E27FC236}">
                <a16:creationId xmlns:a16="http://schemas.microsoft.com/office/drawing/2014/main" id="{571F7B45-2238-291E-8B31-BCDAA2A28463}"/>
              </a:ext>
            </a:extLst>
          </p:cNvPr>
          <p:cNvSpPr/>
          <p:nvPr/>
        </p:nvSpPr>
        <p:spPr>
          <a:xfrm>
            <a:off x="6735298" y="3921236"/>
            <a:ext cx="976021" cy="1465318"/>
          </a:xfrm>
          <a:custGeom>
            <a:avLst/>
            <a:gdLst>
              <a:gd name="connsiteX0" fmla="*/ 111623 w 1047247"/>
              <a:gd name="connsiteY0" fmla="*/ 19197 h 1924657"/>
              <a:gd name="connsiteX1" fmla="*/ 108572 w 1047247"/>
              <a:gd name="connsiteY1" fmla="*/ 0 h 1924657"/>
              <a:gd name="connsiteX2" fmla="*/ 0 w 1047247"/>
              <a:gd name="connsiteY2" fmla="*/ 27206 h 1924657"/>
              <a:gd name="connsiteX3" fmla="*/ 105139 w 1047247"/>
              <a:gd name="connsiteY3" fmla="*/ 66109 h 1924657"/>
              <a:gd name="connsiteX4" fmla="*/ 107427 w 1047247"/>
              <a:gd name="connsiteY4" fmla="*/ 45895 h 1924657"/>
              <a:gd name="connsiteX5" fmla="*/ 686134 w 1047247"/>
              <a:gd name="connsiteY5" fmla="*/ 1924658 h 1924657"/>
              <a:gd name="connsiteX6" fmla="*/ 1044011 w 1047247"/>
              <a:gd name="connsiteY6" fmla="*/ 1031934 h 1924657"/>
              <a:gd name="connsiteX7" fmla="*/ 111750 w 1047247"/>
              <a:gd name="connsiteY7" fmla="*/ 19070 h 1924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7247" h="1924657">
                <a:moveTo>
                  <a:pt x="111623" y="19197"/>
                </a:moveTo>
                <a:lnTo>
                  <a:pt x="108572" y="0"/>
                </a:lnTo>
                <a:lnTo>
                  <a:pt x="0" y="27206"/>
                </a:lnTo>
                <a:lnTo>
                  <a:pt x="105139" y="66109"/>
                </a:lnTo>
                <a:lnTo>
                  <a:pt x="107427" y="45895"/>
                </a:lnTo>
                <a:cubicBezTo>
                  <a:pt x="1635305" y="301177"/>
                  <a:pt x="686007" y="1924658"/>
                  <a:pt x="686134" y="1924658"/>
                </a:cubicBezTo>
                <a:cubicBezTo>
                  <a:pt x="846702" y="1570848"/>
                  <a:pt x="1006507" y="1419434"/>
                  <a:pt x="1044011" y="1031934"/>
                </a:cubicBezTo>
                <a:cubicBezTo>
                  <a:pt x="1060793" y="844032"/>
                  <a:pt x="1046682" y="38394"/>
                  <a:pt x="111750" y="19070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4" name="Freeform: Shape 1923">
            <a:extLst>
              <a:ext uri="{FF2B5EF4-FFF2-40B4-BE49-F238E27FC236}">
                <a16:creationId xmlns:a16="http://schemas.microsoft.com/office/drawing/2014/main" id="{1A132F8E-9812-5A22-97DD-034CD2CB15D0}"/>
              </a:ext>
            </a:extLst>
          </p:cNvPr>
          <p:cNvSpPr/>
          <p:nvPr/>
        </p:nvSpPr>
        <p:spPr>
          <a:xfrm>
            <a:off x="6197159" y="4109703"/>
            <a:ext cx="1248119" cy="1487841"/>
          </a:xfrm>
          <a:custGeom>
            <a:avLst/>
            <a:gdLst>
              <a:gd name="connsiteX0" fmla="*/ 17036 w 1301581"/>
              <a:gd name="connsiteY0" fmla="*/ 101579 h 1376208"/>
              <a:gd name="connsiteX1" fmla="*/ 0 w 1301581"/>
              <a:gd name="connsiteY1" fmla="*/ 100689 h 1376208"/>
              <a:gd name="connsiteX2" fmla="*/ 60388 w 1301581"/>
              <a:gd name="connsiteY2" fmla="*/ 0 h 1376208"/>
              <a:gd name="connsiteX3" fmla="*/ 142516 w 1301581"/>
              <a:gd name="connsiteY3" fmla="*/ 78314 h 1376208"/>
              <a:gd name="connsiteX4" fmla="*/ 124971 w 1301581"/>
              <a:gd name="connsiteY4" fmla="*/ 82127 h 1376208"/>
              <a:gd name="connsiteX5" fmla="*/ 1297260 w 1301581"/>
              <a:gd name="connsiteY5" fmla="*/ 1362860 h 1376208"/>
              <a:gd name="connsiteX6" fmla="*/ 1301582 w 1301581"/>
              <a:gd name="connsiteY6" fmla="*/ 1376209 h 1376208"/>
              <a:gd name="connsiteX7" fmla="*/ 17036 w 1301581"/>
              <a:gd name="connsiteY7" fmla="*/ 101451 h 1376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01581" h="1376208">
                <a:moveTo>
                  <a:pt x="17036" y="101579"/>
                </a:moveTo>
                <a:lnTo>
                  <a:pt x="0" y="100689"/>
                </a:lnTo>
                <a:lnTo>
                  <a:pt x="60388" y="0"/>
                </a:lnTo>
                <a:lnTo>
                  <a:pt x="142516" y="78314"/>
                </a:lnTo>
                <a:lnTo>
                  <a:pt x="124971" y="82127"/>
                </a:lnTo>
                <a:cubicBezTo>
                  <a:pt x="310203" y="1006889"/>
                  <a:pt x="770041" y="1054691"/>
                  <a:pt x="1297260" y="1362860"/>
                </a:cubicBezTo>
                <a:lnTo>
                  <a:pt x="1301582" y="1376209"/>
                </a:lnTo>
                <a:cubicBezTo>
                  <a:pt x="427674" y="1050877"/>
                  <a:pt x="133871" y="809833"/>
                  <a:pt x="17036" y="101451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5" name="Freeform: Shape 1924">
            <a:extLst>
              <a:ext uri="{FF2B5EF4-FFF2-40B4-BE49-F238E27FC236}">
                <a16:creationId xmlns:a16="http://schemas.microsoft.com/office/drawing/2014/main" id="{A6474E6B-98D2-D5D3-2961-AD9CEC4AB37A}"/>
              </a:ext>
            </a:extLst>
          </p:cNvPr>
          <p:cNvSpPr/>
          <p:nvPr/>
        </p:nvSpPr>
        <p:spPr>
          <a:xfrm>
            <a:off x="5132500" y="3551573"/>
            <a:ext cx="1123516" cy="472054"/>
          </a:xfrm>
          <a:custGeom>
            <a:avLst/>
            <a:gdLst>
              <a:gd name="connsiteX0" fmla="*/ 1388032 w 1429095"/>
              <a:gd name="connsiteY0" fmla="*/ 70910 h 516636"/>
              <a:gd name="connsiteX1" fmla="*/ 1383328 w 1429095"/>
              <a:gd name="connsiteY1" fmla="*/ 82733 h 516636"/>
              <a:gd name="connsiteX2" fmla="*/ 0 w 1429095"/>
              <a:gd name="connsiteY2" fmla="*/ 516636 h 516636"/>
              <a:gd name="connsiteX3" fmla="*/ 1373030 w 1429095"/>
              <a:gd name="connsiteY3" fmla="*/ 110066 h 516636"/>
              <a:gd name="connsiteX4" fmla="*/ 1368835 w 1429095"/>
              <a:gd name="connsiteY4" fmla="*/ 121890 h 516636"/>
              <a:gd name="connsiteX5" fmla="*/ 1429095 w 1429095"/>
              <a:gd name="connsiteY5" fmla="*/ 109176 h 516636"/>
              <a:gd name="connsiteX6" fmla="*/ 1388159 w 1429095"/>
              <a:gd name="connsiteY6" fmla="*/ 71037 h 516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095" h="516636">
                <a:moveTo>
                  <a:pt x="1388032" y="70910"/>
                </a:moveTo>
                <a:lnTo>
                  <a:pt x="1383328" y="82733"/>
                </a:lnTo>
                <a:cubicBezTo>
                  <a:pt x="442548" y="-247303"/>
                  <a:pt x="0" y="516636"/>
                  <a:pt x="0" y="516636"/>
                </a:cubicBezTo>
                <a:cubicBezTo>
                  <a:pt x="162857" y="365221"/>
                  <a:pt x="494545" y="-123476"/>
                  <a:pt x="1373030" y="110066"/>
                </a:cubicBezTo>
                <a:lnTo>
                  <a:pt x="1368835" y="121890"/>
                </a:lnTo>
                <a:lnTo>
                  <a:pt x="1429095" y="109176"/>
                </a:lnTo>
                <a:lnTo>
                  <a:pt x="1388159" y="71037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6" name="Freeform: Shape 1925">
            <a:extLst>
              <a:ext uri="{FF2B5EF4-FFF2-40B4-BE49-F238E27FC236}">
                <a16:creationId xmlns:a16="http://schemas.microsoft.com/office/drawing/2014/main" id="{BD5C0C6A-E769-B26B-366B-129BDEB900F8}"/>
              </a:ext>
            </a:extLst>
          </p:cNvPr>
          <p:cNvSpPr/>
          <p:nvPr/>
        </p:nvSpPr>
        <p:spPr>
          <a:xfrm>
            <a:off x="6668273" y="3535203"/>
            <a:ext cx="757724" cy="151671"/>
          </a:xfrm>
          <a:custGeom>
            <a:avLst/>
            <a:gdLst>
              <a:gd name="connsiteX0" fmla="*/ 787077 w 829285"/>
              <a:gd name="connsiteY0" fmla="*/ 88063 h 165995"/>
              <a:gd name="connsiteX1" fmla="*/ 782246 w 829285"/>
              <a:gd name="connsiteY1" fmla="*/ 100141 h 165995"/>
              <a:gd name="connsiteX2" fmla="*/ 0 w 829285"/>
              <a:gd name="connsiteY2" fmla="*/ 165995 h 165995"/>
              <a:gd name="connsiteX3" fmla="*/ 771567 w 829285"/>
              <a:gd name="connsiteY3" fmla="*/ 128237 h 165995"/>
              <a:gd name="connsiteX4" fmla="*/ 767245 w 829285"/>
              <a:gd name="connsiteY4" fmla="*/ 140315 h 165995"/>
              <a:gd name="connsiteX5" fmla="*/ 829285 w 829285"/>
              <a:gd name="connsiteY5" fmla="*/ 127220 h 165995"/>
              <a:gd name="connsiteX6" fmla="*/ 787077 w 829285"/>
              <a:gd name="connsiteY6" fmla="*/ 87936 h 165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9285" h="165995">
                <a:moveTo>
                  <a:pt x="787077" y="88063"/>
                </a:moveTo>
                <a:lnTo>
                  <a:pt x="782246" y="100141"/>
                </a:lnTo>
                <a:cubicBezTo>
                  <a:pt x="250070" y="-158701"/>
                  <a:pt x="0" y="165995"/>
                  <a:pt x="0" y="165995"/>
                </a:cubicBezTo>
                <a:cubicBezTo>
                  <a:pt x="184342" y="38863"/>
                  <a:pt x="383813" y="-42375"/>
                  <a:pt x="771567" y="128237"/>
                </a:cubicBezTo>
                <a:lnTo>
                  <a:pt x="767245" y="140315"/>
                </a:lnTo>
                <a:lnTo>
                  <a:pt x="829285" y="127220"/>
                </a:lnTo>
                <a:lnTo>
                  <a:pt x="787077" y="87936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7" name="Freeform: Shape 1926">
            <a:extLst>
              <a:ext uri="{FF2B5EF4-FFF2-40B4-BE49-F238E27FC236}">
                <a16:creationId xmlns:a16="http://schemas.microsoft.com/office/drawing/2014/main" id="{5EF8B19D-1C7F-5115-45CC-D381B04C6DD0}"/>
              </a:ext>
            </a:extLst>
          </p:cNvPr>
          <p:cNvSpPr/>
          <p:nvPr/>
        </p:nvSpPr>
        <p:spPr>
          <a:xfrm>
            <a:off x="5171993" y="4176845"/>
            <a:ext cx="844729" cy="240850"/>
          </a:xfrm>
          <a:custGeom>
            <a:avLst/>
            <a:gdLst>
              <a:gd name="connsiteX0" fmla="*/ 907980 w 924507"/>
              <a:gd name="connsiteY0" fmla="*/ 98146 h 263596"/>
              <a:gd name="connsiteX1" fmla="*/ 898064 w 924507"/>
              <a:gd name="connsiteY1" fmla="*/ 90264 h 263596"/>
              <a:gd name="connsiteX2" fmla="*/ 0 w 924507"/>
              <a:gd name="connsiteY2" fmla="*/ 0 h 263596"/>
              <a:gd name="connsiteX3" fmla="*/ 875435 w 924507"/>
              <a:gd name="connsiteY3" fmla="*/ 71702 h 263596"/>
              <a:gd name="connsiteX4" fmla="*/ 865900 w 924507"/>
              <a:gd name="connsiteY4" fmla="*/ 63566 h 263596"/>
              <a:gd name="connsiteX5" fmla="*/ 924507 w 924507"/>
              <a:gd name="connsiteY5" fmla="*/ 44496 h 263596"/>
              <a:gd name="connsiteX6" fmla="*/ 908108 w 924507"/>
              <a:gd name="connsiteY6" fmla="*/ 98019 h 2635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4507" h="263596">
                <a:moveTo>
                  <a:pt x="907980" y="98146"/>
                </a:moveTo>
                <a:lnTo>
                  <a:pt x="898064" y="90264"/>
                </a:lnTo>
                <a:cubicBezTo>
                  <a:pt x="367286" y="527345"/>
                  <a:pt x="0" y="0"/>
                  <a:pt x="0" y="0"/>
                </a:cubicBezTo>
                <a:cubicBezTo>
                  <a:pt x="58227" y="69287"/>
                  <a:pt x="462254" y="399450"/>
                  <a:pt x="875435" y="71702"/>
                </a:cubicBezTo>
                <a:lnTo>
                  <a:pt x="865900" y="63566"/>
                </a:lnTo>
                <a:lnTo>
                  <a:pt x="924507" y="44496"/>
                </a:lnTo>
                <a:lnTo>
                  <a:pt x="908108" y="98019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8" name="Freeform: Shape 1927">
            <a:extLst>
              <a:ext uri="{FF2B5EF4-FFF2-40B4-BE49-F238E27FC236}">
                <a16:creationId xmlns:a16="http://schemas.microsoft.com/office/drawing/2014/main" id="{66CDE4C8-2CDE-FE52-8CBF-31B73B14A427}"/>
              </a:ext>
            </a:extLst>
          </p:cNvPr>
          <p:cNvSpPr/>
          <p:nvPr/>
        </p:nvSpPr>
        <p:spPr>
          <a:xfrm>
            <a:off x="4542070" y="3839540"/>
            <a:ext cx="2636527" cy="1605339"/>
          </a:xfrm>
          <a:custGeom>
            <a:avLst/>
            <a:gdLst>
              <a:gd name="connsiteX0" fmla="*/ 2808102 w 2817509"/>
              <a:gd name="connsiteY0" fmla="*/ 36614 h 824115"/>
              <a:gd name="connsiteX1" fmla="*/ 2801236 w 2817509"/>
              <a:gd name="connsiteY1" fmla="*/ 31020 h 824115"/>
              <a:gd name="connsiteX2" fmla="*/ 0 w 2817509"/>
              <a:gd name="connsiteY2" fmla="*/ 796993 h 824115"/>
              <a:gd name="connsiteX3" fmla="*/ 0 w 2817509"/>
              <a:gd name="connsiteY3" fmla="*/ 796993 h 824115"/>
              <a:gd name="connsiteX4" fmla="*/ 2785726 w 2817509"/>
              <a:gd name="connsiteY4" fmla="*/ 17926 h 824115"/>
              <a:gd name="connsiteX5" fmla="*/ 2779115 w 2817509"/>
              <a:gd name="connsiteY5" fmla="*/ 12205 h 824115"/>
              <a:gd name="connsiteX6" fmla="*/ 2817509 w 2817509"/>
              <a:gd name="connsiteY6" fmla="*/ 0 h 824115"/>
              <a:gd name="connsiteX7" fmla="*/ 2808102 w 2817509"/>
              <a:gd name="connsiteY7" fmla="*/ 36741 h 824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17509" h="824115">
                <a:moveTo>
                  <a:pt x="2808102" y="36614"/>
                </a:moveTo>
                <a:lnTo>
                  <a:pt x="2801236" y="31020"/>
                </a:lnTo>
                <a:cubicBezTo>
                  <a:pt x="1817994" y="853313"/>
                  <a:pt x="371989" y="868950"/>
                  <a:pt x="0" y="796993"/>
                </a:cubicBezTo>
                <a:lnTo>
                  <a:pt x="0" y="796993"/>
                </a:lnTo>
                <a:cubicBezTo>
                  <a:pt x="351521" y="810342"/>
                  <a:pt x="1709550" y="853313"/>
                  <a:pt x="2785726" y="17926"/>
                </a:cubicBezTo>
                <a:lnTo>
                  <a:pt x="2779115" y="12205"/>
                </a:lnTo>
                <a:lnTo>
                  <a:pt x="2817509" y="0"/>
                </a:lnTo>
                <a:lnTo>
                  <a:pt x="2808102" y="36741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0" name="Freeform: Shape 1929">
            <a:extLst>
              <a:ext uri="{FF2B5EF4-FFF2-40B4-BE49-F238E27FC236}">
                <a16:creationId xmlns:a16="http://schemas.microsoft.com/office/drawing/2014/main" id="{FCB205D2-B3F1-EFD2-E816-8CFB8E9D2F6A}"/>
              </a:ext>
            </a:extLst>
          </p:cNvPr>
          <p:cNvSpPr/>
          <p:nvPr/>
        </p:nvSpPr>
        <p:spPr>
          <a:xfrm rot="17221838">
            <a:off x="3813416" y="3468573"/>
            <a:ext cx="338884" cy="150077"/>
          </a:xfrm>
          <a:custGeom>
            <a:avLst/>
            <a:gdLst>
              <a:gd name="connsiteX0" fmla="*/ 117979 w 471661"/>
              <a:gd name="connsiteY0" fmla="*/ 16147 h 208879"/>
              <a:gd name="connsiteX1" fmla="*/ 461745 w 471661"/>
              <a:gd name="connsiteY1" fmla="*/ 167815 h 208879"/>
              <a:gd name="connsiteX2" fmla="*/ 471026 w 471661"/>
              <a:gd name="connsiteY2" fmla="*/ 164128 h 208879"/>
              <a:gd name="connsiteX3" fmla="*/ 471661 w 471661"/>
              <a:gd name="connsiteY3" fmla="*/ 208879 h 208879"/>
              <a:gd name="connsiteX4" fmla="*/ 428817 w 471661"/>
              <a:gd name="connsiteY4" fmla="*/ 187013 h 208879"/>
              <a:gd name="connsiteX5" fmla="*/ 438734 w 471661"/>
              <a:gd name="connsiteY5" fmla="*/ 179003 h 208879"/>
              <a:gd name="connsiteX6" fmla="*/ 0 w 471661"/>
              <a:gd name="connsiteY6" fmla="*/ 79331 h 208879"/>
              <a:gd name="connsiteX7" fmla="*/ 0 w 471661"/>
              <a:gd name="connsiteY7" fmla="*/ 79331 h 208879"/>
              <a:gd name="connsiteX8" fmla="*/ 118106 w 471661"/>
              <a:gd name="connsiteY8" fmla="*/ 16019 h 208879"/>
              <a:gd name="connsiteX9" fmla="*/ 118106 w 471661"/>
              <a:gd name="connsiteY9" fmla="*/ 16274 h 208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1661" h="208879">
                <a:moveTo>
                  <a:pt x="117979" y="16147"/>
                </a:moveTo>
                <a:cubicBezTo>
                  <a:pt x="230110" y="-11314"/>
                  <a:pt x="346436" y="-26570"/>
                  <a:pt x="461745" y="167815"/>
                </a:cubicBezTo>
                <a:lnTo>
                  <a:pt x="471026" y="164128"/>
                </a:lnTo>
                <a:lnTo>
                  <a:pt x="471661" y="208879"/>
                </a:lnTo>
                <a:lnTo>
                  <a:pt x="428817" y="187013"/>
                </a:lnTo>
                <a:lnTo>
                  <a:pt x="438734" y="179003"/>
                </a:lnTo>
                <a:cubicBezTo>
                  <a:pt x="390805" y="111623"/>
                  <a:pt x="233669" y="-78186"/>
                  <a:pt x="0" y="79331"/>
                </a:cubicBezTo>
                <a:lnTo>
                  <a:pt x="0" y="79331"/>
                </a:lnTo>
                <a:cubicBezTo>
                  <a:pt x="37250" y="48438"/>
                  <a:pt x="77805" y="26571"/>
                  <a:pt x="118106" y="16019"/>
                </a:cubicBezTo>
                <a:lnTo>
                  <a:pt x="118106" y="16274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06" name="Graphic 1905">
            <a:extLst>
              <a:ext uri="{FF2B5EF4-FFF2-40B4-BE49-F238E27FC236}">
                <a16:creationId xmlns:a16="http://schemas.microsoft.com/office/drawing/2014/main" id="{F54718B5-9F1E-F62D-B543-75A35A2267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95335" y="4144743"/>
            <a:ext cx="2265743" cy="530114"/>
          </a:xfrm>
          <a:prstGeom prst="rect">
            <a:avLst/>
          </a:prstGeom>
        </p:spPr>
      </p:pic>
      <p:sp>
        <p:nvSpPr>
          <p:cNvPr id="1851" name="TextBox 1850">
            <a:extLst>
              <a:ext uri="{FF2B5EF4-FFF2-40B4-BE49-F238E27FC236}">
                <a16:creationId xmlns:a16="http://schemas.microsoft.com/office/drawing/2014/main" id="{8EC10D0E-038C-AB59-6F50-B5163B3621F8}"/>
              </a:ext>
            </a:extLst>
          </p:cNvPr>
          <p:cNvSpPr txBox="1">
            <a:spLocks/>
          </p:cNvSpPr>
          <p:nvPr/>
        </p:nvSpPr>
        <p:spPr>
          <a:xfrm>
            <a:off x="506439" y="5030367"/>
            <a:ext cx="1148833" cy="25309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3C3C3C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7921D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onsumption</a:t>
            </a:r>
          </a:p>
        </p:txBody>
      </p:sp>
      <p:sp>
        <p:nvSpPr>
          <p:cNvPr id="1837" name="Freeform: Shape 1836">
            <a:extLst>
              <a:ext uri="{FF2B5EF4-FFF2-40B4-BE49-F238E27FC236}">
                <a16:creationId xmlns:a16="http://schemas.microsoft.com/office/drawing/2014/main" id="{6457BE4C-1676-022B-B670-0855C2F8D694}"/>
              </a:ext>
            </a:extLst>
          </p:cNvPr>
          <p:cNvSpPr/>
          <p:nvPr/>
        </p:nvSpPr>
        <p:spPr>
          <a:xfrm flipH="1">
            <a:off x="4577150" y="4350096"/>
            <a:ext cx="1475061" cy="1078432"/>
          </a:xfrm>
          <a:custGeom>
            <a:avLst/>
            <a:gdLst>
              <a:gd name="connsiteX0" fmla="*/ 17036 w 1301581"/>
              <a:gd name="connsiteY0" fmla="*/ 101579 h 1376208"/>
              <a:gd name="connsiteX1" fmla="*/ 0 w 1301581"/>
              <a:gd name="connsiteY1" fmla="*/ 100689 h 1376208"/>
              <a:gd name="connsiteX2" fmla="*/ 60388 w 1301581"/>
              <a:gd name="connsiteY2" fmla="*/ 0 h 1376208"/>
              <a:gd name="connsiteX3" fmla="*/ 142516 w 1301581"/>
              <a:gd name="connsiteY3" fmla="*/ 78314 h 1376208"/>
              <a:gd name="connsiteX4" fmla="*/ 124971 w 1301581"/>
              <a:gd name="connsiteY4" fmla="*/ 82127 h 1376208"/>
              <a:gd name="connsiteX5" fmla="*/ 1297260 w 1301581"/>
              <a:gd name="connsiteY5" fmla="*/ 1362860 h 1376208"/>
              <a:gd name="connsiteX6" fmla="*/ 1301582 w 1301581"/>
              <a:gd name="connsiteY6" fmla="*/ 1376209 h 1376208"/>
              <a:gd name="connsiteX7" fmla="*/ 17036 w 1301581"/>
              <a:gd name="connsiteY7" fmla="*/ 101451 h 1376208"/>
              <a:gd name="connsiteX0" fmla="*/ 17036 w 1301582"/>
              <a:gd name="connsiteY0" fmla="*/ 101579 h 1376209"/>
              <a:gd name="connsiteX1" fmla="*/ 0 w 1301582"/>
              <a:gd name="connsiteY1" fmla="*/ 100689 h 1376209"/>
              <a:gd name="connsiteX2" fmla="*/ 60388 w 1301582"/>
              <a:gd name="connsiteY2" fmla="*/ 0 h 1376209"/>
              <a:gd name="connsiteX3" fmla="*/ 142516 w 1301582"/>
              <a:gd name="connsiteY3" fmla="*/ 78314 h 1376209"/>
              <a:gd name="connsiteX4" fmla="*/ 82096 w 1301582"/>
              <a:gd name="connsiteY4" fmla="*/ 82127 h 1376209"/>
              <a:gd name="connsiteX5" fmla="*/ 1297260 w 1301582"/>
              <a:gd name="connsiteY5" fmla="*/ 1362860 h 1376209"/>
              <a:gd name="connsiteX6" fmla="*/ 1301582 w 1301582"/>
              <a:gd name="connsiteY6" fmla="*/ 1376209 h 1376209"/>
              <a:gd name="connsiteX7" fmla="*/ 17036 w 1301582"/>
              <a:gd name="connsiteY7" fmla="*/ 101451 h 1376209"/>
              <a:gd name="connsiteX8" fmla="*/ 17036 w 1301582"/>
              <a:gd name="connsiteY8" fmla="*/ 101579 h 1376209"/>
              <a:gd name="connsiteX0" fmla="*/ 54552 w 1301582"/>
              <a:gd name="connsiteY0" fmla="*/ 89801 h 1376209"/>
              <a:gd name="connsiteX1" fmla="*/ 0 w 1301582"/>
              <a:gd name="connsiteY1" fmla="*/ 100689 h 1376209"/>
              <a:gd name="connsiteX2" fmla="*/ 60388 w 1301582"/>
              <a:gd name="connsiteY2" fmla="*/ 0 h 1376209"/>
              <a:gd name="connsiteX3" fmla="*/ 142516 w 1301582"/>
              <a:gd name="connsiteY3" fmla="*/ 78314 h 1376209"/>
              <a:gd name="connsiteX4" fmla="*/ 82096 w 1301582"/>
              <a:gd name="connsiteY4" fmla="*/ 82127 h 1376209"/>
              <a:gd name="connsiteX5" fmla="*/ 1297260 w 1301582"/>
              <a:gd name="connsiteY5" fmla="*/ 1362860 h 1376209"/>
              <a:gd name="connsiteX6" fmla="*/ 1301582 w 1301582"/>
              <a:gd name="connsiteY6" fmla="*/ 1376209 h 1376209"/>
              <a:gd name="connsiteX7" fmla="*/ 17036 w 1301582"/>
              <a:gd name="connsiteY7" fmla="*/ 101451 h 1376209"/>
              <a:gd name="connsiteX8" fmla="*/ 54552 w 1301582"/>
              <a:gd name="connsiteY8" fmla="*/ 89801 h 1376209"/>
              <a:gd name="connsiteX0" fmla="*/ 54552 w 1301582"/>
              <a:gd name="connsiteY0" fmla="*/ 89801 h 1376209"/>
              <a:gd name="connsiteX1" fmla="*/ 0 w 1301582"/>
              <a:gd name="connsiteY1" fmla="*/ 100689 h 1376209"/>
              <a:gd name="connsiteX2" fmla="*/ 60388 w 1301582"/>
              <a:gd name="connsiteY2" fmla="*/ 0 h 1376209"/>
              <a:gd name="connsiteX3" fmla="*/ 142516 w 1301582"/>
              <a:gd name="connsiteY3" fmla="*/ 78314 h 1376209"/>
              <a:gd name="connsiteX4" fmla="*/ 82096 w 1301582"/>
              <a:gd name="connsiteY4" fmla="*/ 82127 h 1376209"/>
              <a:gd name="connsiteX5" fmla="*/ 1297260 w 1301582"/>
              <a:gd name="connsiteY5" fmla="*/ 1362860 h 1376209"/>
              <a:gd name="connsiteX6" fmla="*/ 1301582 w 1301582"/>
              <a:gd name="connsiteY6" fmla="*/ 1376209 h 1376209"/>
              <a:gd name="connsiteX7" fmla="*/ 57232 w 1301582"/>
              <a:gd name="connsiteY7" fmla="*/ 93599 h 1376209"/>
              <a:gd name="connsiteX8" fmla="*/ 54552 w 1301582"/>
              <a:gd name="connsiteY8" fmla="*/ 89801 h 1376209"/>
              <a:gd name="connsiteX0" fmla="*/ 27755 w 1274785"/>
              <a:gd name="connsiteY0" fmla="*/ 89801 h 1376209"/>
              <a:gd name="connsiteX1" fmla="*/ 0 w 1274785"/>
              <a:gd name="connsiteY1" fmla="*/ 96764 h 1376209"/>
              <a:gd name="connsiteX2" fmla="*/ 33591 w 1274785"/>
              <a:gd name="connsiteY2" fmla="*/ 0 h 1376209"/>
              <a:gd name="connsiteX3" fmla="*/ 115719 w 1274785"/>
              <a:gd name="connsiteY3" fmla="*/ 78314 h 1376209"/>
              <a:gd name="connsiteX4" fmla="*/ 55299 w 1274785"/>
              <a:gd name="connsiteY4" fmla="*/ 82127 h 1376209"/>
              <a:gd name="connsiteX5" fmla="*/ 1270463 w 1274785"/>
              <a:gd name="connsiteY5" fmla="*/ 1362860 h 1376209"/>
              <a:gd name="connsiteX6" fmla="*/ 1274785 w 1274785"/>
              <a:gd name="connsiteY6" fmla="*/ 1376209 h 1376209"/>
              <a:gd name="connsiteX7" fmla="*/ 30435 w 1274785"/>
              <a:gd name="connsiteY7" fmla="*/ 93599 h 1376209"/>
              <a:gd name="connsiteX8" fmla="*/ 27755 w 1274785"/>
              <a:gd name="connsiteY8" fmla="*/ 89801 h 1376209"/>
              <a:gd name="connsiteX0" fmla="*/ 27755 w 1274785"/>
              <a:gd name="connsiteY0" fmla="*/ 89801 h 1376209"/>
              <a:gd name="connsiteX1" fmla="*/ 0 w 1274785"/>
              <a:gd name="connsiteY1" fmla="*/ 96764 h 1376209"/>
              <a:gd name="connsiteX2" fmla="*/ 33591 w 1274785"/>
              <a:gd name="connsiteY2" fmla="*/ 0 h 1376209"/>
              <a:gd name="connsiteX3" fmla="*/ 83563 w 1274785"/>
              <a:gd name="connsiteY3" fmla="*/ 78314 h 1376209"/>
              <a:gd name="connsiteX4" fmla="*/ 55299 w 1274785"/>
              <a:gd name="connsiteY4" fmla="*/ 82127 h 1376209"/>
              <a:gd name="connsiteX5" fmla="*/ 1270463 w 1274785"/>
              <a:gd name="connsiteY5" fmla="*/ 1362860 h 1376209"/>
              <a:gd name="connsiteX6" fmla="*/ 1274785 w 1274785"/>
              <a:gd name="connsiteY6" fmla="*/ 1376209 h 1376209"/>
              <a:gd name="connsiteX7" fmla="*/ 30435 w 1274785"/>
              <a:gd name="connsiteY7" fmla="*/ 93599 h 1376209"/>
              <a:gd name="connsiteX8" fmla="*/ 27755 w 1274785"/>
              <a:gd name="connsiteY8" fmla="*/ 89801 h 1376209"/>
              <a:gd name="connsiteX0" fmla="*/ 27755 w 1274785"/>
              <a:gd name="connsiteY0" fmla="*/ 89801 h 1376209"/>
              <a:gd name="connsiteX1" fmla="*/ 0 w 1274785"/>
              <a:gd name="connsiteY1" fmla="*/ 96764 h 1376209"/>
              <a:gd name="connsiteX2" fmla="*/ 33591 w 1274785"/>
              <a:gd name="connsiteY2" fmla="*/ 0 h 1376209"/>
              <a:gd name="connsiteX3" fmla="*/ 83563 w 1274785"/>
              <a:gd name="connsiteY3" fmla="*/ 78314 h 1376209"/>
              <a:gd name="connsiteX4" fmla="*/ 39221 w 1274785"/>
              <a:gd name="connsiteY4" fmla="*/ 82127 h 1376209"/>
              <a:gd name="connsiteX5" fmla="*/ 1270463 w 1274785"/>
              <a:gd name="connsiteY5" fmla="*/ 1362860 h 1376209"/>
              <a:gd name="connsiteX6" fmla="*/ 1274785 w 1274785"/>
              <a:gd name="connsiteY6" fmla="*/ 1376209 h 1376209"/>
              <a:gd name="connsiteX7" fmla="*/ 30435 w 1274785"/>
              <a:gd name="connsiteY7" fmla="*/ 93599 h 1376209"/>
              <a:gd name="connsiteX8" fmla="*/ 27755 w 1274785"/>
              <a:gd name="connsiteY8" fmla="*/ 89801 h 1376209"/>
              <a:gd name="connsiteX0" fmla="*/ 33114 w 1274785"/>
              <a:gd name="connsiteY0" fmla="*/ 89801 h 1376209"/>
              <a:gd name="connsiteX1" fmla="*/ 0 w 1274785"/>
              <a:gd name="connsiteY1" fmla="*/ 96764 h 1376209"/>
              <a:gd name="connsiteX2" fmla="*/ 33591 w 1274785"/>
              <a:gd name="connsiteY2" fmla="*/ 0 h 1376209"/>
              <a:gd name="connsiteX3" fmla="*/ 83563 w 1274785"/>
              <a:gd name="connsiteY3" fmla="*/ 78314 h 1376209"/>
              <a:gd name="connsiteX4" fmla="*/ 39221 w 1274785"/>
              <a:gd name="connsiteY4" fmla="*/ 82127 h 1376209"/>
              <a:gd name="connsiteX5" fmla="*/ 1270463 w 1274785"/>
              <a:gd name="connsiteY5" fmla="*/ 1362860 h 1376209"/>
              <a:gd name="connsiteX6" fmla="*/ 1274785 w 1274785"/>
              <a:gd name="connsiteY6" fmla="*/ 1376209 h 1376209"/>
              <a:gd name="connsiteX7" fmla="*/ 30435 w 1274785"/>
              <a:gd name="connsiteY7" fmla="*/ 93599 h 1376209"/>
              <a:gd name="connsiteX8" fmla="*/ 33114 w 1274785"/>
              <a:gd name="connsiteY8" fmla="*/ 89801 h 1376209"/>
              <a:gd name="connsiteX0" fmla="*/ 33114 w 1274785"/>
              <a:gd name="connsiteY0" fmla="*/ 89801 h 1376209"/>
              <a:gd name="connsiteX1" fmla="*/ 0 w 1274785"/>
              <a:gd name="connsiteY1" fmla="*/ 96764 h 1376209"/>
              <a:gd name="connsiteX2" fmla="*/ 33591 w 1274785"/>
              <a:gd name="connsiteY2" fmla="*/ 0 h 1376209"/>
              <a:gd name="connsiteX3" fmla="*/ 58318 w 1274785"/>
              <a:gd name="connsiteY3" fmla="*/ 84841 h 1376209"/>
              <a:gd name="connsiteX4" fmla="*/ 39221 w 1274785"/>
              <a:gd name="connsiteY4" fmla="*/ 82127 h 1376209"/>
              <a:gd name="connsiteX5" fmla="*/ 1270463 w 1274785"/>
              <a:gd name="connsiteY5" fmla="*/ 1362860 h 1376209"/>
              <a:gd name="connsiteX6" fmla="*/ 1274785 w 1274785"/>
              <a:gd name="connsiteY6" fmla="*/ 1376209 h 1376209"/>
              <a:gd name="connsiteX7" fmla="*/ 30435 w 1274785"/>
              <a:gd name="connsiteY7" fmla="*/ 93599 h 1376209"/>
              <a:gd name="connsiteX8" fmla="*/ 33114 w 1274785"/>
              <a:gd name="connsiteY8" fmla="*/ 89801 h 1376209"/>
              <a:gd name="connsiteX0" fmla="*/ 16779 w 1258450"/>
              <a:gd name="connsiteY0" fmla="*/ 89801 h 1376209"/>
              <a:gd name="connsiteX1" fmla="*/ 0 w 1258450"/>
              <a:gd name="connsiteY1" fmla="*/ 103290 h 1376209"/>
              <a:gd name="connsiteX2" fmla="*/ 17256 w 1258450"/>
              <a:gd name="connsiteY2" fmla="*/ 0 h 1376209"/>
              <a:gd name="connsiteX3" fmla="*/ 41983 w 1258450"/>
              <a:gd name="connsiteY3" fmla="*/ 84841 h 1376209"/>
              <a:gd name="connsiteX4" fmla="*/ 22886 w 1258450"/>
              <a:gd name="connsiteY4" fmla="*/ 82127 h 1376209"/>
              <a:gd name="connsiteX5" fmla="*/ 1254128 w 1258450"/>
              <a:gd name="connsiteY5" fmla="*/ 1362860 h 1376209"/>
              <a:gd name="connsiteX6" fmla="*/ 1258450 w 1258450"/>
              <a:gd name="connsiteY6" fmla="*/ 1376209 h 1376209"/>
              <a:gd name="connsiteX7" fmla="*/ 14100 w 1258450"/>
              <a:gd name="connsiteY7" fmla="*/ 93599 h 1376209"/>
              <a:gd name="connsiteX8" fmla="*/ 16779 w 1258450"/>
              <a:gd name="connsiteY8" fmla="*/ 89801 h 1376209"/>
              <a:gd name="connsiteX0" fmla="*/ 16779 w 1258450"/>
              <a:gd name="connsiteY0" fmla="*/ 61518 h 1347926"/>
              <a:gd name="connsiteX1" fmla="*/ 0 w 1258450"/>
              <a:gd name="connsiteY1" fmla="*/ 75007 h 1347926"/>
              <a:gd name="connsiteX2" fmla="*/ 17256 w 1258450"/>
              <a:gd name="connsiteY2" fmla="*/ 0 h 1347926"/>
              <a:gd name="connsiteX3" fmla="*/ 41983 w 1258450"/>
              <a:gd name="connsiteY3" fmla="*/ 56558 h 1347926"/>
              <a:gd name="connsiteX4" fmla="*/ 22886 w 1258450"/>
              <a:gd name="connsiteY4" fmla="*/ 53844 h 1347926"/>
              <a:gd name="connsiteX5" fmla="*/ 1254128 w 1258450"/>
              <a:gd name="connsiteY5" fmla="*/ 1334577 h 1347926"/>
              <a:gd name="connsiteX6" fmla="*/ 1258450 w 1258450"/>
              <a:gd name="connsiteY6" fmla="*/ 1347926 h 1347926"/>
              <a:gd name="connsiteX7" fmla="*/ 14100 w 1258450"/>
              <a:gd name="connsiteY7" fmla="*/ 65316 h 1347926"/>
              <a:gd name="connsiteX8" fmla="*/ 16779 w 1258450"/>
              <a:gd name="connsiteY8" fmla="*/ 61518 h 1347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58450" h="1347926">
                <a:moveTo>
                  <a:pt x="16779" y="61518"/>
                </a:moveTo>
                <a:lnTo>
                  <a:pt x="0" y="75007"/>
                </a:lnTo>
                <a:lnTo>
                  <a:pt x="17256" y="0"/>
                </a:lnTo>
                <a:lnTo>
                  <a:pt x="41983" y="56558"/>
                </a:lnTo>
                <a:cubicBezTo>
                  <a:pt x="36135" y="57829"/>
                  <a:pt x="28734" y="52573"/>
                  <a:pt x="22886" y="53844"/>
                </a:cubicBezTo>
                <a:cubicBezTo>
                  <a:pt x="208118" y="978606"/>
                  <a:pt x="726909" y="1026408"/>
                  <a:pt x="1254128" y="1334577"/>
                </a:cubicBezTo>
                <a:lnTo>
                  <a:pt x="1258450" y="1347926"/>
                </a:lnTo>
                <a:cubicBezTo>
                  <a:pt x="384542" y="1022594"/>
                  <a:pt x="130935" y="773698"/>
                  <a:pt x="14100" y="65316"/>
                </a:cubicBezTo>
                <a:lnTo>
                  <a:pt x="16779" y="61518"/>
                </a:ln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36" name="Group 1535">
            <a:extLst>
              <a:ext uri="{FF2B5EF4-FFF2-40B4-BE49-F238E27FC236}">
                <a16:creationId xmlns:a16="http://schemas.microsoft.com/office/drawing/2014/main" id="{7555E734-B1F3-F938-A5DF-73EFEFCF256E}"/>
              </a:ext>
            </a:extLst>
          </p:cNvPr>
          <p:cNvGrpSpPr/>
          <p:nvPr/>
        </p:nvGrpSpPr>
        <p:grpSpPr>
          <a:xfrm>
            <a:off x="1442734" y="1810435"/>
            <a:ext cx="1441333" cy="923735"/>
            <a:chOff x="1539720" y="1819432"/>
            <a:chExt cx="1577456" cy="1085934"/>
          </a:xfrm>
        </p:grpSpPr>
        <p:sp>
          <p:nvSpPr>
            <p:cNvPr id="1850" name="TextBox 1849">
              <a:extLst>
                <a:ext uri="{FF2B5EF4-FFF2-40B4-BE49-F238E27FC236}">
                  <a16:creationId xmlns:a16="http://schemas.microsoft.com/office/drawing/2014/main" id="{DF1D1AC6-E26C-27E7-1DC3-82AEF32E1A92}"/>
                </a:ext>
              </a:extLst>
            </p:cNvPr>
            <p:cNvSpPr txBox="1">
              <a:spLocks/>
            </p:cNvSpPr>
            <p:nvPr/>
          </p:nvSpPr>
          <p:spPr>
            <a:xfrm>
              <a:off x="2085355" y="1819432"/>
              <a:ext cx="1031821" cy="2769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 typeface="Arial" panose="020B0604020202020204" pitchFamily="34" charset="0"/>
                <a:buChar char="̶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roduction</a:t>
              </a:r>
            </a:p>
          </p:txBody>
        </p:sp>
        <p:cxnSp>
          <p:nvCxnSpPr>
            <p:cNvPr id="1863" name="Connector: Elbow 1862">
              <a:extLst>
                <a:ext uri="{FF2B5EF4-FFF2-40B4-BE49-F238E27FC236}">
                  <a16:creationId xmlns:a16="http://schemas.microsoft.com/office/drawing/2014/main" id="{A53D35F6-7C6A-25A8-3CD3-B3FC3A496824}"/>
                </a:ext>
              </a:extLst>
            </p:cNvPr>
            <p:cNvCxnSpPr>
              <a:endCxn id="1850" idx="1"/>
            </p:cNvCxnSpPr>
            <p:nvPr/>
          </p:nvCxnSpPr>
          <p:spPr>
            <a:xfrm rot="5400000" flipH="1" flipV="1">
              <a:off x="1338821" y="2158832"/>
              <a:ext cx="947433" cy="545635"/>
            </a:xfrm>
            <a:prstGeom prst="bentConnector2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75" name="Connector: Elbow 1874">
            <a:extLst>
              <a:ext uri="{FF2B5EF4-FFF2-40B4-BE49-F238E27FC236}">
                <a16:creationId xmlns:a16="http://schemas.microsoft.com/office/drawing/2014/main" id="{F2C94B3E-3382-A27A-20A1-00EB65961365}"/>
              </a:ext>
            </a:extLst>
          </p:cNvPr>
          <p:cNvCxnSpPr>
            <a:cxnSpLocks/>
            <a:endCxn id="1847" idx="2"/>
          </p:cNvCxnSpPr>
          <p:nvPr/>
        </p:nvCxnSpPr>
        <p:spPr>
          <a:xfrm rot="5400000" flipH="1" flipV="1">
            <a:off x="-2284" y="3897181"/>
            <a:ext cx="1646009" cy="555947"/>
          </a:xfrm>
          <a:prstGeom prst="bentConnector2">
            <a:avLst/>
          </a:prstGeom>
          <a:ln w="6350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33" name="Graphic 1932">
            <a:extLst>
              <a:ext uri="{FF2B5EF4-FFF2-40B4-BE49-F238E27FC236}">
                <a16:creationId xmlns:a16="http://schemas.microsoft.com/office/drawing/2014/main" id="{AD0D44D1-A25A-F125-9C19-8D195E3747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679771">
            <a:off x="5038783" y="4564008"/>
            <a:ext cx="1589848" cy="493464"/>
          </a:xfrm>
          <a:prstGeom prst="rect">
            <a:avLst/>
          </a:prstGeom>
        </p:spPr>
      </p:pic>
      <p:sp>
        <p:nvSpPr>
          <p:cNvPr id="1934" name="Freeform: Shape 1933">
            <a:extLst>
              <a:ext uri="{FF2B5EF4-FFF2-40B4-BE49-F238E27FC236}">
                <a16:creationId xmlns:a16="http://schemas.microsoft.com/office/drawing/2014/main" id="{DCD26D19-6C5C-7CAE-EB80-7D9C38056C69}"/>
              </a:ext>
            </a:extLst>
          </p:cNvPr>
          <p:cNvSpPr/>
          <p:nvPr/>
        </p:nvSpPr>
        <p:spPr>
          <a:xfrm>
            <a:off x="6860387" y="4903384"/>
            <a:ext cx="523767" cy="568462"/>
          </a:xfrm>
          <a:custGeom>
            <a:avLst/>
            <a:gdLst>
              <a:gd name="connsiteX0" fmla="*/ 17036 w 1301581"/>
              <a:gd name="connsiteY0" fmla="*/ 101579 h 1376208"/>
              <a:gd name="connsiteX1" fmla="*/ 0 w 1301581"/>
              <a:gd name="connsiteY1" fmla="*/ 100689 h 1376208"/>
              <a:gd name="connsiteX2" fmla="*/ 60388 w 1301581"/>
              <a:gd name="connsiteY2" fmla="*/ 0 h 1376208"/>
              <a:gd name="connsiteX3" fmla="*/ 142516 w 1301581"/>
              <a:gd name="connsiteY3" fmla="*/ 78314 h 1376208"/>
              <a:gd name="connsiteX4" fmla="*/ 124971 w 1301581"/>
              <a:gd name="connsiteY4" fmla="*/ 82127 h 1376208"/>
              <a:gd name="connsiteX5" fmla="*/ 1297260 w 1301581"/>
              <a:gd name="connsiteY5" fmla="*/ 1362860 h 1376208"/>
              <a:gd name="connsiteX6" fmla="*/ 1301582 w 1301581"/>
              <a:gd name="connsiteY6" fmla="*/ 1376209 h 1376208"/>
              <a:gd name="connsiteX7" fmla="*/ 17036 w 1301581"/>
              <a:gd name="connsiteY7" fmla="*/ 101451 h 1376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01581" h="1376208">
                <a:moveTo>
                  <a:pt x="17036" y="101579"/>
                </a:moveTo>
                <a:lnTo>
                  <a:pt x="0" y="100689"/>
                </a:lnTo>
                <a:lnTo>
                  <a:pt x="60388" y="0"/>
                </a:lnTo>
                <a:lnTo>
                  <a:pt x="142516" y="78314"/>
                </a:lnTo>
                <a:lnTo>
                  <a:pt x="124971" y="82127"/>
                </a:lnTo>
                <a:cubicBezTo>
                  <a:pt x="310203" y="1006889"/>
                  <a:pt x="770041" y="1054691"/>
                  <a:pt x="1297260" y="1362860"/>
                </a:cubicBezTo>
                <a:lnTo>
                  <a:pt x="1301582" y="1376209"/>
                </a:lnTo>
                <a:cubicBezTo>
                  <a:pt x="427674" y="1050877"/>
                  <a:pt x="133871" y="809833"/>
                  <a:pt x="17036" y="101451"/>
                </a:cubicBezTo>
                <a:close/>
              </a:path>
            </a:pathLst>
          </a:custGeom>
          <a:solidFill>
            <a:schemeClr val="tx1">
              <a:alpha val="5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BBBFAA0-6C13-4658-9B39-B0414513540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09486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40% lower cost and up to 10 </a:t>
            </a:r>
            <a:r>
              <a:rPr lang="en-US" dirty="0" err="1"/>
              <a:t>mn</a:t>
            </a:r>
            <a:r>
              <a:rPr lang="en-US" dirty="0"/>
              <a:t> jobs created in the global H</a:t>
            </a:r>
            <a:r>
              <a:rPr lang="en-US" baseline="-25000" dirty="0"/>
              <a:t>2 </a:t>
            </a:r>
            <a:r>
              <a:rPr lang="en-US" dirty="0"/>
              <a:t>economy by 2035</a:t>
            </a:r>
          </a:p>
        </p:txBody>
      </p:sp>
      <p:sp>
        <p:nvSpPr>
          <p:cNvPr id="1538" name="TextBox 1537">
            <a:extLst>
              <a:ext uri="{FF2B5EF4-FFF2-40B4-BE49-F238E27FC236}">
                <a16:creationId xmlns:a16="http://schemas.microsoft.com/office/drawing/2014/main" id="{510EF422-C379-7B79-ECD6-5FA175C4B198}"/>
              </a:ext>
            </a:extLst>
          </p:cNvPr>
          <p:cNvSpPr txBox="1"/>
          <p:nvPr/>
        </p:nvSpPr>
        <p:spPr>
          <a:xfrm>
            <a:off x="550047" y="1191699"/>
            <a:ext cx="605324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/>
            </a:lvl1pPr>
            <a:lvl2pPr marL="180000" lvl="1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Char char=""/>
              <a:defRPr sz="1600"/>
            </a:lvl2pPr>
            <a:lvl3pPr marL="360000" lvl="2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‒"/>
              <a:defRPr sz="1600"/>
            </a:lvl3pPr>
            <a:lvl4pPr marL="540000" lvl="3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sz="1600"/>
            </a:lvl4pPr>
            <a:lvl5pPr marL="792000" lvl="4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cio-economic benefits unlocked by global trade rout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29B0D4-6925-F640-AF84-34729B581D42}"/>
              </a:ext>
            </a:extLst>
          </p:cNvPr>
          <p:cNvSpPr/>
          <p:nvPr/>
        </p:nvSpPr>
        <p:spPr>
          <a:xfrm>
            <a:off x="3023864" y="4252511"/>
            <a:ext cx="404953" cy="26217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5E2374-716A-8F2E-EA18-74D57F0D11B4}"/>
              </a:ext>
            </a:extLst>
          </p:cNvPr>
          <p:cNvSpPr/>
          <p:nvPr/>
        </p:nvSpPr>
        <p:spPr>
          <a:xfrm>
            <a:off x="1648064" y="4714587"/>
            <a:ext cx="273295" cy="228713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4727ECA8-B10E-F358-27E7-CC07FD5E905A}"/>
              </a:ext>
            </a:extLst>
          </p:cNvPr>
          <p:cNvSpPr>
            <a:spLocks/>
          </p:cNvSpPr>
          <p:nvPr/>
        </p:nvSpPr>
        <p:spPr>
          <a:xfrm rot="5400000" flipV="1">
            <a:off x="9549683" y="81661"/>
            <a:ext cx="1659437" cy="3712636"/>
          </a:xfrm>
          <a:prstGeom prst="round2SameRect">
            <a:avLst>
              <a:gd name="adj1" fmla="val 16912"/>
              <a:gd name="adj2" fmla="val 0"/>
            </a:avLst>
          </a:prstGeom>
          <a:solidFill>
            <a:srgbClr val="073E4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842BEE66-2EFF-5A2B-FEBE-4AA137A9DD8A}"/>
              </a:ext>
            </a:extLst>
          </p:cNvPr>
          <p:cNvSpPr>
            <a:spLocks/>
          </p:cNvSpPr>
          <p:nvPr/>
        </p:nvSpPr>
        <p:spPr>
          <a:xfrm rot="5400000" flipV="1">
            <a:off x="9551634" y="3629377"/>
            <a:ext cx="1659437" cy="3712636"/>
          </a:xfrm>
          <a:prstGeom prst="round2SameRect">
            <a:avLst>
              <a:gd name="adj1" fmla="val 16912"/>
              <a:gd name="adj2" fmla="val 0"/>
            </a:avLst>
          </a:prstGeom>
          <a:solidFill>
            <a:srgbClr val="073E4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75BD1C20-EF0B-2E8B-506C-D74ACE9869AF}"/>
              </a:ext>
            </a:extLst>
          </p:cNvPr>
          <p:cNvSpPr>
            <a:spLocks/>
          </p:cNvSpPr>
          <p:nvPr/>
        </p:nvSpPr>
        <p:spPr>
          <a:xfrm rot="5400000" flipV="1">
            <a:off x="9551633" y="1852537"/>
            <a:ext cx="1659437" cy="3712636"/>
          </a:xfrm>
          <a:prstGeom prst="round2SameRect">
            <a:avLst>
              <a:gd name="adj1" fmla="val 16912"/>
              <a:gd name="adj2" fmla="val 0"/>
            </a:avLst>
          </a:prstGeom>
          <a:solidFill>
            <a:srgbClr val="073E4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44CCC37-4D1C-CFE7-E1B8-E7806CF545DD}"/>
              </a:ext>
            </a:extLst>
          </p:cNvPr>
          <p:cNvSpPr txBox="1">
            <a:spLocks/>
          </p:cNvSpPr>
          <p:nvPr/>
        </p:nvSpPr>
        <p:spPr>
          <a:xfrm flipH="1">
            <a:off x="8920350" y="3216413"/>
            <a:ext cx="2797978" cy="98488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0" marR="0" lvl="1" indent="0" algn="ctr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‒"/>
              <a:defRPr sz="160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sz="160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-10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n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52B3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52B3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bs created</a:t>
            </a:r>
          </a:p>
        </p:txBody>
      </p:sp>
      <p:sp>
        <p:nvSpPr>
          <p:cNvPr id="1900" name="TextBox 1899">
            <a:extLst>
              <a:ext uri="{FF2B5EF4-FFF2-40B4-BE49-F238E27FC236}">
                <a16:creationId xmlns:a16="http://schemas.microsoft.com/office/drawing/2014/main" id="{E58F6A68-4D5C-7665-78C4-279F12ADB2FF}"/>
              </a:ext>
            </a:extLst>
          </p:cNvPr>
          <p:cNvSpPr txBox="1">
            <a:spLocks/>
          </p:cNvSpPr>
          <p:nvPr/>
        </p:nvSpPr>
        <p:spPr>
          <a:xfrm flipH="1">
            <a:off x="8920342" y="1291648"/>
            <a:ext cx="2797978" cy="129266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0" marR="0" lvl="1" indent="0" algn="ctr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‒"/>
              <a:defRPr sz="160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sz="160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%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52B3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</a:t>
            </a:r>
            <a:b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52B35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 for consumers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H</a:t>
            </a:r>
            <a:r>
              <a:rPr kumimoji="0" lang="en-US" sz="20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rad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6AE784-0D2D-B1C2-6F7C-7F08C78F2B78}"/>
              </a:ext>
            </a:extLst>
          </p:cNvPr>
          <p:cNvSpPr/>
          <p:nvPr/>
        </p:nvSpPr>
        <p:spPr>
          <a:xfrm>
            <a:off x="10461872" y="6402028"/>
            <a:ext cx="1775795" cy="455972"/>
          </a:xfrm>
          <a:prstGeom prst="rect">
            <a:avLst/>
          </a:prstGeom>
          <a:solidFill>
            <a:schemeClr val="bg1">
              <a:alpha val="5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2B3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5">
            <a:extLst>
              <a:ext uri="{FF2B5EF4-FFF2-40B4-BE49-F238E27FC236}">
                <a16:creationId xmlns:a16="http://schemas.microsoft.com/office/drawing/2014/main" id="{4546A53A-0B60-E583-DC64-61AF9C7FCC7C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559651" y="6465595"/>
            <a:ext cx="574627" cy="224627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15D355F5-4712-0591-3FF4-21CB1A3DBB09}"/>
              </a:ext>
            </a:extLst>
          </p:cNvPr>
          <p:cNvSpPr>
            <a:spLocks noEditPoints="1"/>
          </p:cNvSpPr>
          <p:nvPr/>
        </p:nvSpPr>
        <p:spPr bwMode="black">
          <a:xfrm>
            <a:off x="11238260" y="6477500"/>
            <a:ext cx="726986" cy="224627"/>
          </a:xfrm>
          <a:custGeom>
            <a:avLst/>
            <a:gdLst>
              <a:gd name="T0" fmla="*/ 4209 w 15155"/>
              <a:gd name="T1" fmla="*/ 2986 h 4678"/>
              <a:gd name="T2" fmla="*/ 3707 w 15155"/>
              <a:gd name="T3" fmla="*/ 2422 h 4678"/>
              <a:gd name="T4" fmla="*/ 3712 w 15155"/>
              <a:gd name="T5" fmla="*/ 2340 h 4678"/>
              <a:gd name="T6" fmla="*/ 4724 w 15155"/>
              <a:gd name="T7" fmla="*/ 4124 h 4678"/>
              <a:gd name="T8" fmla="*/ 3330 w 15155"/>
              <a:gd name="T9" fmla="*/ 3521 h 4678"/>
              <a:gd name="T10" fmla="*/ 5673 w 15155"/>
              <a:gd name="T11" fmla="*/ 3002 h 4678"/>
              <a:gd name="T12" fmla="*/ 6627 w 15155"/>
              <a:gd name="T13" fmla="*/ 2408 h 4678"/>
              <a:gd name="T14" fmla="*/ 6279 w 15155"/>
              <a:gd name="T15" fmla="*/ 4007 h 4678"/>
              <a:gd name="T16" fmla="*/ 10270 w 15155"/>
              <a:gd name="T17" fmla="*/ 3073 h 4678"/>
              <a:gd name="T18" fmla="*/ 10801 w 15155"/>
              <a:gd name="T19" fmla="*/ 4678 h 4678"/>
              <a:gd name="T20" fmla="*/ 11466 w 15155"/>
              <a:gd name="T21" fmla="*/ 3537 h 4678"/>
              <a:gd name="T22" fmla="*/ 10602 w 15155"/>
              <a:gd name="T23" fmla="*/ 3405 h 4678"/>
              <a:gd name="T24" fmla="*/ 14762 w 15155"/>
              <a:gd name="T25" fmla="*/ 3073 h 4678"/>
              <a:gd name="T26" fmla="*/ 14505 w 15155"/>
              <a:gd name="T27" fmla="*/ 2986 h 4678"/>
              <a:gd name="T28" fmla="*/ 14145 w 15155"/>
              <a:gd name="T29" fmla="*/ 4620 h 4678"/>
              <a:gd name="T30" fmla="*/ 15155 w 15155"/>
              <a:gd name="T31" fmla="*/ 2986 h 4678"/>
              <a:gd name="T32" fmla="*/ 10231 w 15155"/>
              <a:gd name="T33" fmla="*/ 4037 h 4678"/>
              <a:gd name="T34" fmla="*/ 9005 w 15155"/>
              <a:gd name="T35" fmla="*/ 2961 h 4678"/>
              <a:gd name="T36" fmla="*/ 8378 w 15155"/>
              <a:gd name="T37" fmla="*/ 3194 h 4678"/>
              <a:gd name="T38" fmla="*/ 8775 w 15155"/>
              <a:gd name="T39" fmla="*/ 4037 h 4678"/>
              <a:gd name="T40" fmla="*/ 9107 w 15155"/>
              <a:gd name="T41" fmla="*/ 3916 h 4678"/>
              <a:gd name="T42" fmla="*/ 9439 w 15155"/>
              <a:gd name="T43" fmla="*/ 4037 h 4678"/>
              <a:gd name="T44" fmla="*/ 9712 w 15155"/>
              <a:gd name="T45" fmla="*/ 4037 h 4678"/>
              <a:gd name="T46" fmla="*/ 7962 w 15155"/>
              <a:gd name="T47" fmla="*/ 3741 h 4678"/>
              <a:gd name="T48" fmla="*/ 7962 w 15155"/>
              <a:gd name="T49" fmla="*/ 3741 h 4678"/>
              <a:gd name="T50" fmla="*/ 12654 w 15155"/>
              <a:gd name="T51" fmla="*/ 2986 h 4678"/>
              <a:gd name="T52" fmla="*/ 12586 w 15155"/>
              <a:gd name="T53" fmla="*/ 4036 h 4678"/>
              <a:gd name="T54" fmla="*/ 11780 w 15155"/>
              <a:gd name="T55" fmla="*/ 3367 h 4678"/>
              <a:gd name="T56" fmla="*/ 11871 w 15155"/>
              <a:gd name="T57" fmla="*/ 4146 h 4678"/>
              <a:gd name="T58" fmla="*/ 13060 w 15155"/>
              <a:gd name="T59" fmla="*/ 3917 h 4678"/>
              <a:gd name="T60" fmla="*/ 13423 w 15155"/>
              <a:gd name="T61" fmla="*/ 4037 h 4678"/>
              <a:gd name="T62" fmla="*/ 12250 w 15155"/>
              <a:gd name="T63" fmla="*/ 3787 h 4678"/>
              <a:gd name="T64" fmla="*/ 12250 w 15155"/>
              <a:gd name="T65" fmla="*/ 3787 h 4678"/>
              <a:gd name="T66" fmla="*/ 8758 w 15155"/>
              <a:gd name="T67" fmla="*/ 1080 h 4678"/>
              <a:gd name="T68" fmla="*/ 8559 w 15155"/>
              <a:gd name="T69" fmla="*/ 1013 h 4678"/>
              <a:gd name="T70" fmla="*/ 9105 w 15155"/>
              <a:gd name="T71" fmla="*/ 2310 h 4678"/>
              <a:gd name="T72" fmla="*/ 9553 w 15155"/>
              <a:gd name="T73" fmla="*/ 626 h 4678"/>
              <a:gd name="T74" fmla="*/ 9293 w 15155"/>
              <a:gd name="T75" fmla="*/ 713 h 4678"/>
              <a:gd name="T76" fmla="*/ 8947 w 15155"/>
              <a:gd name="T77" fmla="*/ 843 h 4678"/>
              <a:gd name="T78" fmla="*/ 5105 w 15155"/>
              <a:gd name="T79" fmla="*/ 349 h 4678"/>
              <a:gd name="T80" fmla="*/ 3793 w 15155"/>
              <a:gd name="T81" fmla="*/ 882 h 4678"/>
              <a:gd name="T82" fmla="*/ 5848 w 15155"/>
              <a:gd name="T83" fmla="*/ 981 h 4678"/>
              <a:gd name="T84" fmla="*/ 6211 w 15155"/>
              <a:gd name="T85" fmla="*/ 1763 h 4678"/>
              <a:gd name="T86" fmla="*/ 6296 w 15155"/>
              <a:gd name="T87" fmla="*/ 601 h 4678"/>
              <a:gd name="T88" fmla="*/ 5638 w 15155"/>
              <a:gd name="T89" fmla="*/ 833 h 4678"/>
              <a:gd name="T90" fmla="*/ 4836 w 15155"/>
              <a:gd name="T91" fmla="*/ 625 h 4678"/>
              <a:gd name="T92" fmla="*/ 4778 w 15155"/>
              <a:gd name="T93" fmla="*/ 1676 h 4678"/>
              <a:gd name="T94" fmla="*/ 4692 w 15155"/>
              <a:gd name="T95" fmla="*/ 0 h 4678"/>
              <a:gd name="T96" fmla="*/ 3614 w 15155"/>
              <a:gd name="T97" fmla="*/ 221 h 4678"/>
              <a:gd name="T98" fmla="*/ 3236 w 15155"/>
              <a:gd name="T99" fmla="*/ 88 h 4678"/>
              <a:gd name="T100" fmla="*/ 3836 w 15155"/>
              <a:gd name="T101" fmla="*/ 1763 h 4678"/>
              <a:gd name="T102" fmla="*/ 7219 w 15155"/>
              <a:gd name="T103" fmla="*/ 683 h 4678"/>
              <a:gd name="T104" fmla="*/ 7226 w 15155"/>
              <a:gd name="T105" fmla="*/ 598 h 4678"/>
              <a:gd name="T106" fmla="*/ 6952 w 15155"/>
              <a:gd name="T107" fmla="*/ 1361 h 4678"/>
              <a:gd name="T108" fmla="*/ 7720 w 15155"/>
              <a:gd name="T109" fmla="*/ 1446 h 4678"/>
              <a:gd name="T110" fmla="*/ 3049 w 15155"/>
              <a:gd name="T111" fmla="*/ 753 h 4678"/>
              <a:gd name="T112" fmla="*/ 2703 w 15155"/>
              <a:gd name="T113" fmla="*/ 1584 h 4678"/>
              <a:gd name="T114" fmla="*/ 87 w 15155"/>
              <a:gd name="T115" fmla="*/ 88 h 4678"/>
              <a:gd name="T116" fmla="*/ 549 w 15155"/>
              <a:gd name="T117" fmla="*/ 1763 h 4678"/>
              <a:gd name="T118" fmla="*/ 1609 w 15155"/>
              <a:gd name="T119" fmla="*/ 259 h 4678"/>
              <a:gd name="T120" fmla="*/ 2069 w 15155"/>
              <a:gd name="T121" fmla="*/ 1676 h 4678"/>
              <a:gd name="T122" fmla="*/ 2070 w 15155"/>
              <a:gd name="T123" fmla="*/ 0 h 46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155" h="4678">
                <a:moveTo>
                  <a:pt x="4451" y="3751"/>
                </a:moveTo>
                <a:cubicBezTo>
                  <a:pt x="4549" y="3607"/>
                  <a:pt x="4604" y="3438"/>
                  <a:pt x="4609" y="3264"/>
                </a:cubicBezTo>
                <a:cubicBezTo>
                  <a:pt x="4611" y="3211"/>
                  <a:pt x="4732" y="3072"/>
                  <a:pt x="4766" y="3072"/>
                </a:cubicBezTo>
                <a:cubicBezTo>
                  <a:pt x="4834" y="3072"/>
                  <a:pt x="4834" y="3072"/>
                  <a:pt x="4834" y="3072"/>
                </a:cubicBezTo>
                <a:cubicBezTo>
                  <a:pt x="4834" y="2986"/>
                  <a:pt x="4834" y="2986"/>
                  <a:pt x="4834" y="2986"/>
                </a:cubicBezTo>
                <a:cubicBezTo>
                  <a:pt x="4209" y="2986"/>
                  <a:pt x="4209" y="2986"/>
                  <a:pt x="4209" y="2986"/>
                </a:cubicBezTo>
                <a:cubicBezTo>
                  <a:pt x="4209" y="3073"/>
                  <a:pt x="4209" y="3073"/>
                  <a:pt x="4209" y="3073"/>
                </a:cubicBezTo>
                <a:cubicBezTo>
                  <a:pt x="4380" y="3078"/>
                  <a:pt x="4487" y="3175"/>
                  <a:pt x="4487" y="3337"/>
                </a:cubicBezTo>
                <a:cubicBezTo>
                  <a:pt x="4487" y="3482"/>
                  <a:pt x="4463" y="3591"/>
                  <a:pt x="4395" y="3702"/>
                </a:cubicBezTo>
                <a:cubicBezTo>
                  <a:pt x="4155" y="3489"/>
                  <a:pt x="3882" y="3230"/>
                  <a:pt x="3654" y="2986"/>
                </a:cubicBezTo>
                <a:cubicBezTo>
                  <a:pt x="3501" y="2928"/>
                  <a:pt x="3404" y="2814"/>
                  <a:pt x="3404" y="2673"/>
                </a:cubicBezTo>
                <a:cubicBezTo>
                  <a:pt x="3404" y="2514"/>
                  <a:pt x="3518" y="2422"/>
                  <a:pt x="3707" y="2422"/>
                </a:cubicBezTo>
                <a:cubicBezTo>
                  <a:pt x="3942" y="2422"/>
                  <a:pt x="4116" y="2659"/>
                  <a:pt x="4116" y="2777"/>
                </a:cubicBezTo>
                <a:cubicBezTo>
                  <a:pt x="4191" y="2777"/>
                  <a:pt x="4191" y="2777"/>
                  <a:pt x="4191" y="2777"/>
                </a:cubicBezTo>
                <a:cubicBezTo>
                  <a:pt x="4191" y="2362"/>
                  <a:pt x="4191" y="2362"/>
                  <a:pt x="4191" y="2362"/>
                </a:cubicBezTo>
                <a:cubicBezTo>
                  <a:pt x="4116" y="2362"/>
                  <a:pt x="4116" y="2362"/>
                  <a:pt x="4116" y="2362"/>
                </a:cubicBezTo>
                <a:cubicBezTo>
                  <a:pt x="4097" y="2391"/>
                  <a:pt x="4074" y="2393"/>
                  <a:pt x="4034" y="2393"/>
                </a:cubicBezTo>
                <a:cubicBezTo>
                  <a:pt x="3959" y="2393"/>
                  <a:pt x="3874" y="2340"/>
                  <a:pt x="3712" y="2340"/>
                </a:cubicBezTo>
                <a:cubicBezTo>
                  <a:pt x="3453" y="2340"/>
                  <a:pt x="3288" y="2480"/>
                  <a:pt x="3288" y="2732"/>
                </a:cubicBezTo>
                <a:cubicBezTo>
                  <a:pt x="3288" y="2887"/>
                  <a:pt x="3346" y="2991"/>
                  <a:pt x="3431" y="3100"/>
                </a:cubicBezTo>
                <a:cubicBezTo>
                  <a:pt x="3253" y="3219"/>
                  <a:pt x="3146" y="3420"/>
                  <a:pt x="3148" y="3634"/>
                </a:cubicBezTo>
                <a:cubicBezTo>
                  <a:pt x="3148" y="3944"/>
                  <a:pt x="3421" y="4155"/>
                  <a:pt x="3707" y="4155"/>
                </a:cubicBezTo>
                <a:cubicBezTo>
                  <a:pt x="3966" y="4155"/>
                  <a:pt x="4145" y="4080"/>
                  <a:pt x="4286" y="3944"/>
                </a:cubicBezTo>
                <a:cubicBezTo>
                  <a:pt x="4431" y="4078"/>
                  <a:pt x="4552" y="4124"/>
                  <a:pt x="4724" y="4124"/>
                </a:cubicBezTo>
                <a:cubicBezTo>
                  <a:pt x="4913" y="4124"/>
                  <a:pt x="4913" y="4124"/>
                  <a:pt x="4913" y="4124"/>
                </a:cubicBezTo>
                <a:cubicBezTo>
                  <a:pt x="4913" y="4036"/>
                  <a:pt x="4913" y="4036"/>
                  <a:pt x="4913" y="4036"/>
                </a:cubicBezTo>
                <a:cubicBezTo>
                  <a:pt x="4809" y="4036"/>
                  <a:pt x="4809" y="4036"/>
                  <a:pt x="4809" y="4036"/>
                </a:cubicBezTo>
                <a:cubicBezTo>
                  <a:pt x="4685" y="3947"/>
                  <a:pt x="4565" y="3852"/>
                  <a:pt x="4451" y="3751"/>
                </a:cubicBezTo>
                <a:close/>
                <a:moveTo>
                  <a:pt x="3851" y="4015"/>
                </a:moveTo>
                <a:cubicBezTo>
                  <a:pt x="3599" y="4015"/>
                  <a:pt x="3330" y="3772"/>
                  <a:pt x="3330" y="3521"/>
                </a:cubicBezTo>
                <a:cubicBezTo>
                  <a:pt x="3330" y="3339"/>
                  <a:pt x="3378" y="3243"/>
                  <a:pt x="3470" y="3148"/>
                </a:cubicBezTo>
                <a:cubicBezTo>
                  <a:pt x="3707" y="3414"/>
                  <a:pt x="3962" y="3664"/>
                  <a:pt x="4233" y="3896"/>
                </a:cubicBezTo>
                <a:cubicBezTo>
                  <a:pt x="4134" y="3971"/>
                  <a:pt x="4008" y="4015"/>
                  <a:pt x="3851" y="4015"/>
                </a:cubicBezTo>
                <a:close/>
                <a:moveTo>
                  <a:pt x="6279" y="4007"/>
                </a:moveTo>
                <a:cubicBezTo>
                  <a:pt x="5920" y="4007"/>
                  <a:pt x="5707" y="3758"/>
                  <a:pt x="5678" y="3450"/>
                </a:cubicBezTo>
                <a:cubicBezTo>
                  <a:pt x="5664" y="3301"/>
                  <a:pt x="5663" y="3151"/>
                  <a:pt x="5673" y="3002"/>
                </a:cubicBezTo>
                <a:cubicBezTo>
                  <a:pt x="5705" y="2605"/>
                  <a:pt x="5887" y="2435"/>
                  <a:pt x="6192" y="2435"/>
                </a:cubicBezTo>
                <a:cubicBezTo>
                  <a:pt x="6523" y="2435"/>
                  <a:pt x="6726" y="2803"/>
                  <a:pt x="6726" y="2985"/>
                </a:cubicBezTo>
                <a:cubicBezTo>
                  <a:pt x="6801" y="2985"/>
                  <a:pt x="6801" y="2985"/>
                  <a:pt x="6801" y="2985"/>
                </a:cubicBezTo>
                <a:cubicBezTo>
                  <a:pt x="6801" y="2362"/>
                  <a:pt x="6801" y="2362"/>
                  <a:pt x="6801" y="2362"/>
                </a:cubicBezTo>
                <a:cubicBezTo>
                  <a:pt x="6736" y="2362"/>
                  <a:pt x="6736" y="2362"/>
                  <a:pt x="6736" y="2362"/>
                </a:cubicBezTo>
                <a:cubicBezTo>
                  <a:pt x="6709" y="2393"/>
                  <a:pt x="6683" y="2408"/>
                  <a:pt x="6627" y="2408"/>
                </a:cubicBezTo>
                <a:cubicBezTo>
                  <a:pt x="6489" y="2408"/>
                  <a:pt x="6370" y="2330"/>
                  <a:pt x="6181" y="2330"/>
                </a:cubicBezTo>
                <a:cubicBezTo>
                  <a:pt x="5687" y="2330"/>
                  <a:pt x="5392" y="2732"/>
                  <a:pt x="5392" y="3236"/>
                </a:cubicBezTo>
                <a:cubicBezTo>
                  <a:pt x="5392" y="3740"/>
                  <a:pt x="5719" y="4156"/>
                  <a:pt x="6225" y="4156"/>
                </a:cubicBezTo>
                <a:cubicBezTo>
                  <a:pt x="6577" y="4156"/>
                  <a:pt x="6824" y="3967"/>
                  <a:pt x="6937" y="3652"/>
                </a:cubicBezTo>
                <a:cubicBezTo>
                  <a:pt x="6845" y="3652"/>
                  <a:pt x="6845" y="3652"/>
                  <a:pt x="6845" y="3652"/>
                </a:cubicBezTo>
                <a:cubicBezTo>
                  <a:pt x="6731" y="3884"/>
                  <a:pt x="6583" y="4007"/>
                  <a:pt x="6279" y="4007"/>
                </a:cubicBezTo>
                <a:close/>
                <a:moveTo>
                  <a:pt x="11018" y="2957"/>
                </a:moveTo>
                <a:cubicBezTo>
                  <a:pt x="10830" y="2957"/>
                  <a:pt x="10704" y="3037"/>
                  <a:pt x="10605" y="3221"/>
                </a:cubicBezTo>
                <a:cubicBezTo>
                  <a:pt x="10566" y="2986"/>
                  <a:pt x="10566" y="2986"/>
                  <a:pt x="10566" y="2986"/>
                </a:cubicBezTo>
                <a:cubicBezTo>
                  <a:pt x="10195" y="2986"/>
                  <a:pt x="10195" y="2986"/>
                  <a:pt x="10195" y="2986"/>
                </a:cubicBezTo>
                <a:cubicBezTo>
                  <a:pt x="10195" y="3073"/>
                  <a:pt x="10195" y="3073"/>
                  <a:pt x="10195" y="3073"/>
                </a:cubicBezTo>
                <a:cubicBezTo>
                  <a:pt x="10270" y="3073"/>
                  <a:pt x="10270" y="3073"/>
                  <a:pt x="10270" y="3073"/>
                </a:cubicBezTo>
                <a:cubicBezTo>
                  <a:pt x="10304" y="3073"/>
                  <a:pt x="10391" y="3158"/>
                  <a:pt x="10391" y="3194"/>
                </a:cubicBezTo>
                <a:cubicBezTo>
                  <a:pt x="10391" y="4470"/>
                  <a:pt x="10391" y="4470"/>
                  <a:pt x="10391" y="4470"/>
                </a:cubicBezTo>
                <a:cubicBezTo>
                  <a:pt x="10391" y="4508"/>
                  <a:pt x="10304" y="4591"/>
                  <a:pt x="10270" y="4591"/>
                </a:cubicBezTo>
                <a:cubicBezTo>
                  <a:pt x="10195" y="4591"/>
                  <a:pt x="10195" y="4591"/>
                  <a:pt x="10195" y="4591"/>
                </a:cubicBezTo>
                <a:cubicBezTo>
                  <a:pt x="10195" y="4678"/>
                  <a:pt x="10195" y="4678"/>
                  <a:pt x="10195" y="4678"/>
                </a:cubicBezTo>
                <a:cubicBezTo>
                  <a:pt x="10801" y="4678"/>
                  <a:pt x="10801" y="4678"/>
                  <a:pt x="10801" y="4678"/>
                </a:cubicBezTo>
                <a:cubicBezTo>
                  <a:pt x="10801" y="4591"/>
                  <a:pt x="10801" y="4591"/>
                  <a:pt x="10801" y="4591"/>
                </a:cubicBezTo>
                <a:cubicBezTo>
                  <a:pt x="10726" y="4591"/>
                  <a:pt x="10726" y="4591"/>
                  <a:pt x="10726" y="4591"/>
                </a:cubicBezTo>
                <a:cubicBezTo>
                  <a:pt x="10694" y="4591"/>
                  <a:pt x="10605" y="4508"/>
                  <a:pt x="10605" y="4470"/>
                </a:cubicBezTo>
                <a:cubicBezTo>
                  <a:pt x="10605" y="3922"/>
                  <a:pt x="10605" y="3922"/>
                  <a:pt x="10605" y="3922"/>
                </a:cubicBezTo>
                <a:cubicBezTo>
                  <a:pt x="10687" y="4070"/>
                  <a:pt x="10793" y="4147"/>
                  <a:pt x="10994" y="4147"/>
                </a:cubicBezTo>
                <a:cubicBezTo>
                  <a:pt x="11272" y="4147"/>
                  <a:pt x="11466" y="3888"/>
                  <a:pt x="11466" y="3537"/>
                </a:cubicBezTo>
                <a:cubicBezTo>
                  <a:pt x="11466" y="3186"/>
                  <a:pt x="11297" y="2957"/>
                  <a:pt x="11018" y="2957"/>
                </a:cubicBezTo>
                <a:close/>
                <a:moveTo>
                  <a:pt x="11246" y="3722"/>
                </a:moveTo>
                <a:cubicBezTo>
                  <a:pt x="11222" y="3903"/>
                  <a:pt x="11130" y="4027"/>
                  <a:pt x="10934" y="4027"/>
                </a:cubicBezTo>
                <a:cubicBezTo>
                  <a:pt x="10753" y="4029"/>
                  <a:pt x="10604" y="3884"/>
                  <a:pt x="10602" y="3703"/>
                </a:cubicBezTo>
                <a:cubicBezTo>
                  <a:pt x="10602" y="3701"/>
                  <a:pt x="10602" y="3698"/>
                  <a:pt x="10602" y="3695"/>
                </a:cubicBezTo>
                <a:cubicBezTo>
                  <a:pt x="10602" y="3405"/>
                  <a:pt x="10602" y="3405"/>
                  <a:pt x="10602" y="3405"/>
                </a:cubicBezTo>
                <a:cubicBezTo>
                  <a:pt x="10658" y="3225"/>
                  <a:pt x="10767" y="3092"/>
                  <a:pt x="10961" y="3092"/>
                </a:cubicBezTo>
                <a:cubicBezTo>
                  <a:pt x="11125" y="3092"/>
                  <a:pt x="11224" y="3208"/>
                  <a:pt x="11249" y="3390"/>
                </a:cubicBezTo>
                <a:cubicBezTo>
                  <a:pt x="11262" y="3500"/>
                  <a:pt x="11261" y="3612"/>
                  <a:pt x="11246" y="3722"/>
                </a:cubicBezTo>
                <a:close/>
                <a:moveTo>
                  <a:pt x="14693" y="2986"/>
                </a:moveTo>
                <a:cubicBezTo>
                  <a:pt x="14693" y="3073"/>
                  <a:pt x="14693" y="3073"/>
                  <a:pt x="14693" y="3073"/>
                </a:cubicBezTo>
                <a:cubicBezTo>
                  <a:pt x="14762" y="3073"/>
                  <a:pt x="14762" y="3073"/>
                  <a:pt x="14762" y="3073"/>
                </a:cubicBezTo>
                <a:cubicBezTo>
                  <a:pt x="14794" y="3073"/>
                  <a:pt x="14864" y="3153"/>
                  <a:pt x="14862" y="3199"/>
                </a:cubicBezTo>
                <a:cubicBezTo>
                  <a:pt x="14610" y="3758"/>
                  <a:pt x="14610" y="3758"/>
                  <a:pt x="14610" y="3758"/>
                </a:cubicBezTo>
                <a:cubicBezTo>
                  <a:pt x="14335" y="3196"/>
                  <a:pt x="14335" y="3196"/>
                  <a:pt x="14335" y="3196"/>
                </a:cubicBezTo>
                <a:cubicBezTo>
                  <a:pt x="14335" y="3154"/>
                  <a:pt x="14403" y="3073"/>
                  <a:pt x="14434" y="3073"/>
                </a:cubicBezTo>
                <a:cubicBezTo>
                  <a:pt x="14505" y="3073"/>
                  <a:pt x="14505" y="3073"/>
                  <a:pt x="14505" y="3073"/>
                </a:cubicBezTo>
                <a:cubicBezTo>
                  <a:pt x="14505" y="2986"/>
                  <a:pt x="14505" y="2986"/>
                  <a:pt x="14505" y="2986"/>
                </a:cubicBezTo>
                <a:cubicBezTo>
                  <a:pt x="13889" y="2986"/>
                  <a:pt x="13889" y="2986"/>
                  <a:pt x="13889" y="2986"/>
                </a:cubicBezTo>
                <a:cubicBezTo>
                  <a:pt x="13889" y="3073"/>
                  <a:pt x="13889" y="3073"/>
                  <a:pt x="13889" y="3073"/>
                </a:cubicBezTo>
                <a:cubicBezTo>
                  <a:pt x="13940" y="3073"/>
                  <a:pt x="13940" y="3073"/>
                  <a:pt x="13940" y="3073"/>
                </a:cubicBezTo>
                <a:cubicBezTo>
                  <a:pt x="13969" y="3073"/>
                  <a:pt x="14068" y="3167"/>
                  <a:pt x="14087" y="3204"/>
                </a:cubicBezTo>
                <a:cubicBezTo>
                  <a:pt x="14489" y="3995"/>
                  <a:pt x="14489" y="3995"/>
                  <a:pt x="14489" y="3995"/>
                </a:cubicBezTo>
                <a:cubicBezTo>
                  <a:pt x="14145" y="4620"/>
                  <a:pt x="14145" y="4620"/>
                  <a:pt x="14145" y="4620"/>
                </a:cubicBezTo>
                <a:cubicBezTo>
                  <a:pt x="14245" y="4671"/>
                  <a:pt x="14245" y="4671"/>
                  <a:pt x="14245" y="4671"/>
                </a:cubicBezTo>
                <a:cubicBezTo>
                  <a:pt x="14584" y="4030"/>
                  <a:pt x="14584" y="4030"/>
                  <a:pt x="14584" y="4030"/>
                </a:cubicBezTo>
                <a:cubicBezTo>
                  <a:pt x="14968" y="3199"/>
                  <a:pt x="14968" y="3199"/>
                  <a:pt x="14968" y="3199"/>
                </a:cubicBezTo>
                <a:cubicBezTo>
                  <a:pt x="14993" y="3161"/>
                  <a:pt x="15075" y="3073"/>
                  <a:pt x="15102" y="3073"/>
                </a:cubicBezTo>
                <a:cubicBezTo>
                  <a:pt x="15155" y="3073"/>
                  <a:pt x="15155" y="3073"/>
                  <a:pt x="15155" y="3073"/>
                </a:cubicBezTo>
                <a:cubicBezTo>
                  <a:pt x="15155" y="2986"/>
                  <a:pt x="15155" y="2986"/>
                  <a:pt x="15155" y="2986"/>
                </a:cubicBezTo>
                <a:lnTo>
                  <a:pt x="14693" y="2986"/>
                </a:lnTo>
                <a:close/>
                <a:moveTo>
                  <a:pt x="9712" y="4037"/>
                </a:moveTo>
                <a:cubicBezTo>
                  <a:pt x="9647" y="4037"/>
                  <a:pt x="9647" y="4037"/>
                  <a:pt x="9647" y="4037"/>
                </a:cubicBezTo>
                <a:cubicBezTo>
                  <a:pt x="9647" y="4124"/>
                  <a:pt x="9647" y="4124"/>
                  <a:pt x="9647" y="4124"/>
                </a:cubicBezTo>
                <a:cubicBezTo>
                  <a:pt x="10231" y="4124"/>
                  <a:pt x="10231" y="4124"/>
                  <a:pt x="10231" y="4124"/>
                </a:cubicBezTo>
                <a:cubicBezTo>
                  <a:pt x="10231" y="4037"/>
                  <a:pt x="10231" y="4037"/>
                  <a:pt x="10231" y="4037"/>
                </a:cubicBezTo>
                <a:cubicBezTo>
                  <a:pt x="10165" y="4037"/>
                  <a:pt x="10165" y="4037"/>
                  <a:pt x="10165" y="4037"/>
                </a:cubicBezTo>
                <a:cubicBezTo>
                  <a:pt x="10131" y="4037"/>
                  <a:pt x="10044" y="3954"/>
                  <a:pt x="10044" y="3916"/>
                </a:cubicBezTo>
                <a:cubicBezTo>
                  <a:pt x="10044" y="3288"/>
                  <a:pt x="10044" y="3288"/>
                  <a:pt x="10044" y="3288"/>
                </a:cubicBezTo>
                <a:cubicBezTo>
                  <a:pt x="10044" y="3080"/>
                  <a:pt x="9904" y="2964"/>
                  <a:pt x="9732" y="2964"/>
                </a:cubicBezTo>
                <a:cubicBezTo>
                  <a:pt x="9538" y="2964"/>
                  <a:pt x="9448" y="3066"/>
                  <a:pt x="9308" y="3204"/>
                </a:cubicBezTo>
                <a:cubicBezTo>
                  <a:pt x="9287" y="3044"/>
                  <a:pt x="9158" y="2961"/>
                  <a:pt x="9005" y="2961"/>
                </a:cubicBezTo>
                <a:cubicBezTo>
                  <a:pt x="8804" y="2961"/>
                  <a:pt x="8720" y="3068"/>
                  <a:pt x="8589" y="3206"/>
                </a:cubicBezTo>
                <a:cubicBezTo>
                  <a:pt x="8544" y="2986"/>
                  <a:pt x="8544" y="2986"/>
                  <a:pt x="8544" y="2986"/>
                </a:cubicBezTo>
                <a:cubicBezTo>
                  <a:pt x="8192" y="2986"/>
                  <a:pt x="8192" y="2986"/>
                  <a:pt x="8192" y="2986"/>
                </a:cubicBezTo>
                <a:cubicBezTo>
                  <a:pt x="8192" y="3073"/>
                  <a:pt x="8192" y="3073"/>
                  <a:pt x="8192" y="3073"/>
                </a:cubicBezTo>
                <a:cubicBezTo>
                  <a:pt x="8257" y="3073"/>
                  <a:pt x="8257" y="3073"/>
                  <a:pt x="8257" y="3073"/>
                </a:cubicBezTo>
                <a:cubicBezTo>
                  <a:pt x="8291" y="3073"/>
                  <a:pt x="8378" y="3158"/>
                  <a:pt x="8378" y="3194"/>
                </a:cubicBezTo>
                <a:cubicBezTo>
                  <a:pt x="8378" y="3916"/>
                  <a:pt x="8378" y="3916"/>
                  <a:pt x="8378" y="3916"/>
                </a:cubicBezTo>
                <a:cubicBezTo>
                  <a:pt x="8378" y="3954"/>
                  <a:pt x="8291" y="4037"/>
                  <a:pt x="8257" y="4037"/>
                </a:cubicBezTo>
                <a:cubicBezTo>
                  <a:pt x="8192" y="4037"/>
                  <a:pt x="8192" y="4037"/>
                  <a:pt x="8192" y="4037"/>
                </a:cubicBezTo>
                <a:cubicBezTo>
                  <a:pt x="8192" y="4124"/>
                  <a:pt x="8192" y="4124"/>
                  <a:pt x="8192" y="4124"/>
                </a:cubicBezTo>
                <a:cubicBezTo>
                  <a:pt x="8775" y="4124"/>
                  <a:pt x="8775" y="4124"/>
                  <a:pt x="8775" y="4124"/>
                </a:cubicBezTo>
                <a:cubicBezTo>
                  <a:pt x="8775" y="4037"/>
                  <a:pt x="8775" y="4037"/>
                  <a:pt x="8775" y="4037"/>
                </a:cubicBezTo>
                <a:cubicBezTo>
                  <a:pt x="8710" y="4037"/>
                  <a:pt x="8710" y="4037"/>
                  <a:pt x="8710" y="4037"/>
                </a:cubicBezTo>
                <a:cubicBezTo>
                  <a:pt x="8676" y="4037"/>
                  <a:pt x="8589" y="3954"/>
                  <a:pt x="8589" y="3916"/>
                </a:cubicBezTo>
                <a:cubicBezTo>
                  <a:pt x="8589" y="3330"/>
                  <a:pt x="8589" y="3330"/>
                  <a:pt x="8589" y="3330"/>
                </a:cubicBezTo>
                <a:cubicBezTo>
                  <a:pt x="8589" y="3252"/>
                  <a:pt x="8775" y="3099"/>
                  <a:pt x="8925" y="3099"/>
                </a:cubicBezTo>
                <a:cubicBezTo>
                  <a:pt x="9049" y="3099"/>
                  <a:pt x="9107" y="3177"/>
                  <a:pt x="9107" y="3288"/>
                </a:cubicBezTo>
                <a:cubicBezTo>
                  <a:pt x="9107" y="3916"/>
                  <a:pt x="9107" y="3916"/>
                  <a:pt x="9107" y="3916"/>
                </a:cubicBezTo>
                <a:cubicBezTo>
                  <a:pt x="9107" y="3954"/>
                  <a:pt x="9020" y="4037"/>
                  <a:pt x="8986" y="4037"/>
                </a:cubicBezTo>
                <a:cubicBezTo>
                  <a:pt x="8921" y="4037"/>
                  <a:pt x="8921" y="4037"/>
                  <a:pt x="8921" y="4037"/>
                </a:cubicBezTo>
                <a:cubicBezTo>
                  <a:pt x="8921" y="4124"/>
                  <a:pt x="8921" y="4124"/>
                  <a:pt x="8921" y="4124"/>
                </a:cubicBezTo>
                <a:cubicBezTo>
                  <a:pt x="9504" y="4124"/>
                  <a:pt x="9504" y="4124"/>
                  <a:pt x="9504" y="4124"/>
                </a:cubicBezTo>
                <a:cubicBezTo>
                  <a:pt x="9504" y="4037"/>
                  <a:pt x="9504" y="4037"/>
                  <a:pt x="9504" y="4037"/>
                </a:cubicBezTo>
                <a:cubicBezTo>
                  <a:pt x="9439" y="4037"/>
                  <a:pt x="9439" y="4037"/>
                  <a:pt x="9439" y="4037"/>
                </a:cubicBezTo>
                <a:cubicBezTo>
                  <a:pt x="9405" y="4037"/>
                  <a:pt x="9318" y="3954"/>
                  <a:pt x="9318" y="3916"/>
                </a:cubicBezTo>
                <a:cubicBezTo>
                  <a:pt x="9318" y="3323"/>
                  <a:pt x="9318" y="3323"/>
                  <a:pt x="9318" y="3323"/>
                </a:cubicBezTo>
                <a:cubicBezTo>
                  <a:pt x="9318" y="3246"/>
                  <a:pt x="9504" y="3101"/>
                  <a:pt x="9654" y="3101"/>
                </a:cubicBezTo>
                <a:cubicBezTo>
                  <a:pt x="9778" y="3101"/>
                  <a:pt x="9833" y="3178"/>
                  <a:pt x="9833" y="3289"/>
                </a:cubicBezTo>
                <a:cubicBezTo>
                  <a:pt x="9833" y="3917"/>
                  <a:pt x="9833" y="3917"/>
                  <a:pt x="9833" y="3917"/>
                </a:cubicBezTo>
                <a:cubicBezTo>
                  <a:pt x="9833" y="3954"/>
                  <a:pt x="9746" y="4037"/>
                  <a:pt x="9712" y="4037"/>
                </a:cubicBezTo>
                <a:close/>
                <a:moveTo>
                  <a:pt x="7623" y="2957"/>
                </a:moveTo>
                <a:cubicBezTo>
                  <a:pt x="7320" y="2957"/>
                  <a:pt x="7051" y="3184"/>
                  <a:pt x="7051" y="3555"/>
                </a:cubicBezTo>
                <a:cubicBezTo>
                  <a:pt x="7051" y="3926"/>
                  <a:pt x="7320" y="4156"/>
                  <a:pt x="7623" y="4156"/>
                </a:cubicBezTo>
                <a:cubicBezTo>
                  <a:pt x="7925" y="4156"/>
                  <a:pt x="8192" y="3926"/>
                  <a:pt x="8192" y="3555"/>
                </a:cubicBezTo>
                <a:cubicBezTo>
                  <a:pt x="8192" y="3185"/>
                  <a:pt x="7925" y="2957"/>
                  <a:pt x="7623" y="2957"/>
                </a:cubicBezTo>
                <a:close/>
                <a:moveTo>
                  <a:pt x="7962" y="3741"/>
                </a:moveTo>
                <a:cubicBezTo>
                  <a:pt x="7940" y="3920"/>
                  <a:pt x="7841" y="4044"/>
                  <a:pt x="7625" y="4044"/>
                </a:cubicBezTo>
                <a:cubicBezTo>
                  <a:pt x="7415" y="4044"/>
                  <a:pt x="7315" y="3916"/>
                  <a:pt x="7289" y="3739"/>
                </a:cubicBezTo>
                <a:cubicBezTo>
                  <a:pt x="7272" y="3613"/>
                  <a:pt x="7272" y="3485"/>
                  <a:pt x="7289" y="3359"/>
                </a:cubicBezTo>
                <a:cubicBezTo>
                  <a:pt x="7315" y="3177"/>
                  <a:pt x="7420" y="3056"/>
                  <a:pt x="7625" y="3056"/>
                </a:cubicBezTo>
                <a:cubicBezTo>
                  <a:pt x="7839" y="3056"/>
                  <a:pt x="7940" y="3177"/>
                  <a:pt x="7962" y="3361"/>
                </a:cubicBezTo>
                <a:cubicBezTo>
                  <a:pt x="7976" y="3487"/>
                  <a:pt x="7976" y="3615"/>
                  <a:pt x="7962" y="3741"/>
                </a:cubicBezTo>
                <a:close/>
                <a:moveTo>
                  <a:pt x="13826" y="3916"/>
                </a:moveTo>
                <a:cubicBezTo>
                  <a:pt x="13826" y="3288"/>
                  <a:pt x="13826" y="3288"/>
                  <a:pt x="13826" y="3288"/>
                </a:cubicBezTo>
                <a:cubicBezTo>
                  <a:pt x="13826" y="3092"/>
                  <a:pt x="13685" y="2961"/>
                  <a:pt x="13509" y="2961"/>
                </a:cubicBezTo>
                <a:cubicBezTo>
                  <a:pt x="13303" y="2961"/>
                  <a:pt x="13196" y="3080"/>
                  <a:pt x="13058" y="3221"/>
                </a:cubicBezTo>
                <a:cubicBezTo>
                  <a:pt x="13016" y="2986"/>
                  <a:pt x="13016" y="2986"/>
                  <a:pt x="13016" y="2986"/>
                </a:cubicBezTo>
                <a:cubicBezTo>
                  <a:pt x="12654" y="2986"/>
                  <a:pt x="12654" y="2986"/>
                  <a:pt x="12654" y="2986"/>
                </a:cubicBezTo>
                <a:cubicBezTo>
                  <a:pt x="12654" y="3073"/>
                  <a:pt x="12654" y="3073"/>
                  <a:pt x="12654" y="3073"/>
                </a:cubicBezTo>
                <a:cubicBezTo>
                  <a:pt x="12724" y="3073"/>
                  <a:pt x="12724" y="3073"/>
                  <a:pt x="12724" y="3073"/>
                </a:cubicBezTo>
                <a:cubicBezTo>
                  <a:pt x="12758" y="3073"/>
                  <a:pt x="12850" y="3158"/>
                  <a:pt x="12850" y="3194"/>
                </a:cubicBezTo>
                <a:cubicBezTo>
                  <a:pt x="12850" y="3915"/>
                  <a:pt x="12850" y="3915"/>
                  <a:pt x="12850" y="3915"/>
                </a:cubicBezTo>
                <a:cubicBezTo>
                  <a:pt x="12850" y="3954"/>
                  <a:pt x="12758" y="4036"/>
                  <a:pt x="12724" y="4036"/>
                </a:cubicBezTo>
                <a:cubicBezTo>
                  <a:pt x="12586" y="4036"/>
                  <a:pt x="12586" y="4036"/>
                  <a:pt x="12586" y="4036"/>
                </a:cubicBezTo>
                <a:cubicBezTo>
                  <a:pt x="12555" y="4036"/>
                  <a:pt x="12460" y="3954"/>
                  <a:pt x="12460" y="3915"/>
                </a:cubicBezTo>
                <a:cubicBezTo>
                  <a:pt x="12460" y="3302"/>
                  <a:pt x="12460" y="3302"/>
                  <a:pt x="12460" y="3302"/>
                </a:cubicBezTo>
                <a:cubicBezTo>
                  <a:pt x="12460" y="3077"/>
                  <a:pt x="12267" y="2956"/>
                  <a:pt x="12020" y="2956"/>
                </a:cubicBezTo>
                <a:cubicBezTo>
                  <a:pt x="11787" y="2956"/>
                  <a:pt x="11639" y="3041"/>
                  <a:pt x="11545" y="3138"/>
                </a:cubicBezTo>
                <a:cubicBezTo>
                  <a:pt x="11698" y="3367"/>
                  <a:pt x="11698" y="3367"/>
                  <a:pt x="11698" y="3367"/>
                </a:cubicBezTo>
                <a:cubicBezTo>
                  <a:pt x="11780" y="3367"/>
                  <a:pt x="11780" y="3367"/>
                  <a:pt x="11780" y="3367"/>
                </a:cubicBezTo>
                <a:cubicBezTo>
                  <a:pt x="11695" y="3171"/>
                  <a:pt x="11773" y="3041"/>
                  <a:pt x="11969" y="3041"/>
                </a:cubicBezTo>
                <a:cubicBezTo>
                  <a:pt x="12175" y="3041"/>
                  <a:pt x="12252" y="3138"/>
                  <a:pt x="12250" y="3300"/>
                </a:cubicBezTo>
                <a:cubicBezTo>
                  <a:pt x="12247" y="3435"/>
                  <a:pt x="12247" y="3435"/>
                  <a:pt x="12247" y="3435"/>
                </a:cubicBezTo>
                <a:cubicBezTo>
                  <a:pt x="11952" y="3496"/>
                  <a:pt x="11952" y="3496"/>
                  <a:pt x="11952" y="3496"/>
                </a:cubicBezTo>
                <a:cubicBezTo>
                  <a:pt x="11790" y="3531"/>
                  <a:pt x="11578" y="3608"/>
                  <a:pt x="11578" y="3836"/>
                </a:cubicBezTo>
                <a:cubicBezTo>
                  <a:pt x="11578" y="4023"/>
                  <a:pt x="11714" y="4146"/>
                  <a:pt x="11871" y="4146"/>
                </a:cubicBezTo>
                <a:cubicBezTo>
                  <a:pt x="12041" y="4146"/>
                  <a:pt x="12162" y="4008"/>
                  <a:pt x="12254" y="3890"/>
                </a:cubicBezTo>
                <a:cubicBezTo>
                  <a:pt x="12283" y="4125"/>
                  <a:pt x="12283" y="4125"/>
                  <a:pt x="12283" y="4125"/>
                </a:cubicBezTo>
                <a:cubicBezTo>
                  <a:pt x="13251" y="4125"/>
                  <a:pt x="13251" y="4125"/>
                  <a:pt x="13251" y="4125"/>
                </a:cubicBezTo>
                <a:cubicBezTo>
                  <a:pt x="13251" y="4038"/>
                  <a:pt x="13251" y="4038"/>
                  <a:pt x="13251" y="4038"/>
                </a:cubicBezTo>
                <a:cubicBezTo>
                  <a:pt x="13186" y="4038"/>
                  <a:pt x="13186" y="4038"/>
                  <a:pt x="13186" y="4038"/>
                </a:cubicBezTo>
                <a:cubicBezTo>
                  <a:pt x="13152" y="4038"/>
                  <a:pt x="13060" y="3955"/>
                  <a:pt x="13060" y="3917"/>
                </a:cubicBezTo>
                <a:cubicBezTo>
                  <a:pt x="13060" y="3342"/>
                  <a:pt x="13060" y="3342"/>
                  <a:pt x="13060" y="3342"/>
                </a:cubicBezTo>
                <a:cubicBezTo>
                  <a:pt x="13060" y="3264"/>
                  <a:pt x="13271" y="3104"/>
                  <a:pt x="13433" y="3104"/>
                </a:cubicBezTo>
                <a:cubicBezTo>
                  <a:pt x="13557" y="3104"/>
                  <a:pt x="13615" y="3190"/>
                  <a:pt x="13615" y="3301"/>
                </a:cubicBezTo>
                <a:cubicBezTo>
                  <a:pt x="13615" y="3916"/>
                  <a:pt x="13615" y="3916"/>
                  <a:pt x="13615" y="3916"/>
                </a:cubicBezTo>
                <a:cubicBezTo>
                  <a:pt x="13615" y="3954"/>
                  <a:pt x="13523" y="4037"/>
                  <a:pt x="13489" y="4037"/>
                </a:cubicBezTo>
                <a:cubicBezTo>
                  <a:pt x="13423" y="4037"/>
                  <a:pt x="13423" y="4037"/>
                  <a:pt x="13423" y="4037"/>
                </a:cubicBezTo>
                <a:cubicBezTo>
                  <a:pt x="13423" y="4124"/>
                  <a:pt x="13423" y="4124"/>
                  <a:pt x="13423" y="4124"/>
                </a:cubicBezTo>
                <a:cubicBezTo>
                  <a:pt x="14022" y="4124"/>
                  <a:pt x="14022" y="4124"/>
                  <a:pt x="14022" y="4124"/>
                </a:cubicBezTo>
                <a:cubicBezTo>
                  <a:pt x="14022" y="4037"/>
                  <a:pt x="14022" y="4037"/>
                  <a:pt x="14022" y="4037"/>
                </a:cubicBezTo>
                <a:cubicBezTo>
                  <a:pt x="13952" y="4037"/>
                  <a:pt x="13952" y="4037"/>
                  <a:pt x="13952" y="4037"/>
                </a:cubicBezTo>
                <a:cubicBezTo>
                  <a:pt x="13918" y="4037"/>
                  <a:pt x="13826" y="3954"/>
                  <a:pt x="13826" y="3916"/>
                </a:cubicBezTo>
                <a:close/>
                <a:moveTo>
                  <a:pt x="12250" y="3787"/>
                </a:moveTo>
                <a:cubicBezTo>
                  <a:pt x="12201" y="3873"/>
                  <a:pt x="12080" y="3988"/>
                  <a:pt x="11969" y="3988"/>
                </a:cubicBezTo>
                <a:cubicBezTo>
                  <a:pt x="11872" y="3993"/>
                  <a:pt x="11789" y="3918"/>
                  <a:pt x="11785" y="3820"/>
                </a:cubicBezTo>
                <a:cubicBezTo>
                  <a:pt x="11785" y="3816"/>
                  <a:pt x="11785" y="3811"/>
                  <a:pt x="11785" y="3807"/>
                </a:cubicBezTo>
                <a:cubicBezTo>
                  <a:pt x="11785" y="3693"/>
                  <a:pt x="11833" y="3618"/>
                  <a:pt x="11977" y="3582"/>
                </a:cubicBezTo>
                <a:cubicBezTo>
                  <a:pt x="12251" y="3511"/>
                  <a:pt x="12251" y="3511"/>
                  <a:pt x="12251" y="3511"/>
                </a:cubicBezTo>
                <a:lnTo>
                  <a:pt x="12250" y="3787"/>
                </a:lnTo>
                <a:close/>
                <a:moveTo>
                  <a:pt x="8336" y="1790"/>
                </a:moveTo>
                <a:cubicBezTo>
                  <a:pt x="8617" y="1790"/>
                  <a:pt x="8765" y="1637"/>
                  <a:pt x="8840" y="1388"/>
                </a:cubicBezTo>
                <a:cubicBezTo>
                  <a:pt x="8769" y="1388"/>
                  <a:pt x="8769" y="1388"/>
                  <a:pt x="8769" y="1388"/>
                </a:cubicBezTo>
                <a:cubicBezTo>
                  <a:pt x="8697" y="1519"/>
                  <a:pt x="8605" y="1584"/>
                  <a:pt x="8411" y="1584"/>
                </a:cubicBezTo>
                <a:cubicBezTo>
                  <a:pt x="8152" y="1584"/>
                  <a:pt x="8002" y="1349"/>
                  <a:pt x="7997" y="1141"/>
                </a:cubicBezTo>
                <a:cubicBezTo>
                  <a:pt x="8758" y="1080"/>
                  <a:pt x="8758" y="1080"/>
                  <a:pt x="8758" y="1080"/>
                </a:cubicBezTo>
                <a:cubicBezTo>
                  <a:pt x="8753" y="997"/>
                  <a:pt x="8753" y="997"/>
                  <a:pt x="8753" y="997"/>
                </a:cubicBezTo>
                <a:cubicBezTo>
                  <a:pt x="8740" y="774"/>
                  <a:pt x="8595" y="600"/>
                  <a:pt x="8336" y="598"/>
                </a:cubicBezTo>
                <a:cubicBezTo>
                  <a:pt x="8041" y="595"/>
                  <a:pt x="7811" y="857"/>
                  <a:pt x="7811" y="1196"/>
                </a:cubicBezTo>
                <a:cubicBezTo>
                  <a:pt x="7811" y="1519"/>
                  <a:pt x="8033" y="1790"/>
                  <a:pt x="8336" y="1790"/>
                </a:cubicBezTo>
                <a:close/>
                <a:moveTo>
                  <a:pt x="8331" y="686"/>
                </a:moveTo>
                <a:cubicBezTo>
                  <a:pt x="8554" y="686"/>
                  <a:pt x="8578" y="850"/>
                  <a:pt x="8559" y="1013"/>
                </a:cubicBezTo>
                <a:cubicBezTo>
                  <a:pt x="7990" y="1061"/>
                  <a:pt x="7990" y="1061"/>
                  <a:pt x="7990" y="1061"/>
                </a:cubicBezTo>
                <a:cubicBezTo>
                  <a:pt x="7997" y="882"/>
                  <a:pt x="8094" y="686"/>
                  <a:pt x="8331" y="686"/>
                </a:cubicBezTo>
                <a:close/>
                <a:moveTo>
                  <a:pt x="8947" y="843"/>
                </a:moveTo>
                <a:cubicBezTo>
                  <a:pt x="9349" y="1635"/>
                  <a:pt x="9349" y="1635"/>
                  <a:pt x="9349" y="1635"/>
                </a:cubicBezTo>
                <a:cubicBezTo>
                  <a:pt x="9005" y="2259"/>
                  <a:pt x="9005" y="2259"/>
                  <a:pt x="9005" y="2259"/>
                </a:cubicBezTo>
                <a:cubicBezTo>
                  <a:pt x="9105" y="2310"/>
                  <a:pt x="9105" y="2310"/>
                  <a:pt x="9105" y="2310"/>
                </a:cubicBezTo>
                <a:cubicBezTo>
                  <a:pt x="9444" y="1669"/>
                  <a:pt x="9444" y="1669"/>
                  <a:pt x="9444" y="1669"/>
                </a:cubicBezTo>
                <a:cubicBezTo>
                  <a:pt x="9828" y="839"/>
                  <a:pt x="9828" y="839"/>
                  <a:pt x="9828" y="839"/>
                </a:cubicBezTo>
                <a:cubicBezTo>
                  <a:pt x="9853" y="800"/>
                  <a:pt x="9935" y="713"/>
                  <a:pt x="9962" y="713"/>
                </a:cubicBezTo>
                <a:cubicBezTo>
                  <a:pt x="10015" y="713"/>
                  <a:pt x="10015" y="713"/>
                  <a:pt x="10015" y="713"/>
                </a:cubicBezTo>
                <a:cubicBezTo>
                  <a:pt x="10015" y="626"/>
                  <a:pt x="10015" y="626"/>
                  <a:pt x="10015" y="626"/>
                </a:cubicBezTo>
                <a:cubicBezTo>
                  <a:pt x="9553" y="626"/>
                  <a:pt x="9553" y="626"/>
                  <a:pt x="9553" y="626"/>
                </a:cubicBezTo>
                <a:cubicBezTo>
                  <a:pt x="9553" y="713"/>
                  <a:pt x="9553" y="713"/>
                  <a:pt x="9553" y="713"/>
                </a:cubicBezTo>
                <a:cubicBezTo>
                  <a:pt x="9623" y="713"/>
                  <a:pt x="9623" y="713"/>
                  <a:pt x="9623" y="713"/>
                </a:cubicBezTo>
                <a:cubicBezTo>
                  <a:pt x="9654" y="713"/>
                  <a:pt x="9725" y="793"/>
                  <a:pt x="9722" y="839"/>
                </a:cubicBezTo>
                <a:cubicBezTo>
                  <a:pt x="9470" y="1398"/>
                  <a:pt x="9470" y="1398"/>
                  <a:pt x="9470" y="1398"/>
                </a:cubicBezTo>
                <a:cubicBezTo>
                  <a:pt x="9194" y="836"/>
                  <a:pt x="9194" y="836"/>
                  <a:pt x="9194" y="836"/>
                </a:cubicBezTo>
                <a:cubicBezTo>
                  <a:pt x="9194" y="794"/>
                  <a:pt x="9262" y="713"/>
                  <a:pt x="9293" y="713"/>
                </a:cubicBezTo>
                <a:cubicBezTo>
                  <a:pt x="9364" y="713"/>
                  <a:pt x="9364" y="713"/>
                  <a:pt x="9364" y="713"/>
                </a:cubicBezTo>
                <a:cubicBezTo>
                  <a:pt x="9364" y="626"/>
                  <a:pt x="9364" y="626"/>
                  <a:pt x="9364" y="626"/>
                </a:cubicBezTo>
                <a:cubicBezTo>
                  <a:pt x="8749" y="626"/>
                  <a:pt x="8749" y="626"/>
                  <a:pt x="8749" y="626"/>
                </a:cubicBezTo>
                <a:cubicBezTo>
                  <a:pt x="8749" y="713"/>
                  <a:pt x="8749" y="713"/>
                  <a:pt x="8749" y="713"/>
                </a:cubicBezTo>
                <a:cubicBezTo>
                  <a:pt x="8800" y="713"/>
                  <a:pt x="8800" y="713"/>
                  <a:pt x="8800" y="713"/>
                </a:cubicBezTo>
                <a:cubicBezTo>
                  <a:pt x="8829" y="712"/>
                  <a:pt x="8928" y="807"/>
                  <a:pt x="8947" y="843"/>
                </a:cubicBezTo>
                <a:close/>
                <a:moveTo>
                  <a:pt x="5117" y="349"/>
                </a:moveTo>
                <a:cubicBezTo>
                  <a:pt x="5195" y="353"/>
                  <a:pt x="5261" y="293"/>
                  <a:pt x="5265" y="215"/>
                </a:cubicBezTo>
                <a:cubicBezTo>
                  <a:pt x="5265" y="210"/>
                  <a:pt x="5265" y="206"/>
                  <a:pt x="5265" y="201"/>
                </a:cubicBezTo>
                <a:cubicBezTo>
                  <a:pt x="5265" y="112"/>
                  <a:pt x="5202" y="56"/>
                  <a:pt x="5117" y="56"/>
                </a:cubicBezTo>
                <a:cubicBezTo>
                  <a:pt x="5032" y="56"/>
                  <a:pt x="4967" y="112"/>
                  <a:pt x="4967" y="201"/>
                </a:cubicBezTo>
                <a:cubicBezTo>
                  <a:pt x="4965" y="280"/>
                  <a:pt x="5026" y="346"/>
                  <a:pt x="5105" y="349"/>
                </a:cubicBezTo>
                <a:cubicBezTo>
                  <a:pt x="5109" y="349"/>
                  <a:pt x="5113" y="349"/>
                  <a:pt x="5117" y="349"/>
                </a:cubicBezTo>
                <a:close/>
                <a:moveTo>
                  <a:pt x="3836" y="1676"/>
                </a:moveTo>
                <a:cubicBezTo>
                  <a:pt x="3749" y="1676"/>
                  <a:pt x="3749" y="1676"/>
                  <a:pt x="3749" y="1676"/>
                </a:cubicBezTo>
                <a:cubicBezTo>
                  <a:pt x="3715" y="1676"/>
                  <a:pt x="3613" y="1579"/>
                  <a:pt x="3613" y="1543"/>
                </a:cubicBezTo>
                <a:cubicBezTo>
                  <a:pt x="3613" y="1075"/>
                  <a:pt x="3613" y="1075"/>
                  <a:pt x="3613" y="1075"/>
                </a:cubicBezTo>
                <a:cubicBezTo>
                  <a:pt x="3793" y="882"/>
                  <a:pt x="3793" y="882"/>
                  <a:pt x="3793" y="882"/>
                </a:cubicBezTo>
                <a:cubicBezTo>
                  <a:pt x="4403" y="1763"/>
                  <a:pt x="4403" y="1763"/>
                  <a:pt x="4403" y="1763"/>
                </a:cubicBezTo>
                <a:cubicBezTo>
                  <a:pt x="6040" y="1763"/>
                  <a:pt x="6040" y="1763"/>
                  <a:pt x="6040" y="1763"/>
                </a:cubicBezTo>
                <a:cubicBezTo>
                  <a:pt x="6040" y="1676"/>
                  <a:pt x="6040" y="1676"/>
                  <a:pt x="6040" y="1676"/>
                </a:cubicBezTo>
                <a:cubicBezTo>
                  <a:pt x="5974" y="1676"/>
                  <a:pt x="5974" y="1676"/>
                  <a:pt x="5974" y="1676"/>
                </a:cubicBezTo>
                <a:cubicBezTo>
                  <a:pt x="5940" y="1676"/>
                  <a:pt x="5848" y="1594"/>
                  <a:pt x="5848" y="1555"/>
                </a:cubicBezTo>
                <a:cubicBezTo>
                  <a:pt x="5848" y="981"/>
                  <a:pt x="5848" y="981"/>
                  <a:pt x="5848" y="981"/>
                </a:cubicBezTo>
                <a:cubicBezTo>
                  <a:pt x="5848" y="904"/>
                  <a:pt x="6059" y="744"/>
                  <a:pt x="6221" y="744"/>
                </a:cubicBezTo>
                <a:cubicBezTo>
                  <a:pt x="6345" y="744"/>
                  <a:pt x="6403" y="829"/>
                  <a:pt x="6403" y="940"/>
                </a:cubicBezTo>
                <a:cubicBezTo>
                  <a:pt x="6403" y="1555"/>
                  <a:pt x="6403" y="1555"/>
                  <a:pt x="6403" y="1555"/>
                </a:cubicBezTo>
                <a:cubicBezTo>
                  <a:pt x="6403" y="1594"/>
                  <a:pt x="6311" y="1676"/>
                  <a:pt x="6277" y="1676"/>
                </a:cubicBezTo>
                <a:cubicBezTo>
                  <a:pt x="6211" y="1676"/>
                  <a:pt x="6211" y="1676"/>
                  <a:pt x="6211" y="1676"/>
                </a:cubicBezTo>
                <a:cubicBezTo>
                  <a:pt x="6211" y="1763"/>
                  <a:pt x="6211" y="1763"/>
                  <a:pt x="6211" y="1763"/>
                </a:cubicBezTo>
                <a:cubicBezTo>
                  <a:pt x="6810" y="1763"/>
                  <a:pt x="6810" y="1763"/>
                  <a:pt x="6810" y="1763"/>
                </a:cubicBezTo>
                <a:cubicBezTo>
                  <a:pt x="6810" y="1676"/>
                  <a:pt x="6810" y="1676"/>
                  <a:pt x="6810" y="1676"/>
                </a:cubicBezTo>
                <a:cubicBezTo>
                  <a:pt x="6739" y="1676"/>
                  <a:pt x="6739" y="1676"/>
                  <a:pt x="6739" y="1676"/>
                </a:cubicBezTo>
                <a:cubicBezTo>
                  <a:pt x="6706" y="1676"/>
                  <a:pt x="6613" y="1594"/>
                  <a:pt x="6613" y="1555"/>
                </a:cubicBezTo>
                <a:cubicBezTo>
                  <a:pt x="6613" y="928"/>
                  <a:pt x="6613" y="928"/>
                  <a:pt x="6613" y="928"/>
                </a:cubicBezTo>
                <a:cubicBezTo>
                  <a:pt x="6613" y="732"/>
                  <a:pt x="6473" y="601"/>
                  <a:pt x="6296" y="601"/>
                </a:cubicBezTo>
                <a:cubicBezTo>
                  <a:pt x="6091" y="601"/>
                  <a:pt x="5984" y="720"/>
                  <a:pt x="5846" y="860"/>
                </a:cubicBezTo>
                <a:cubicBezTo>
                  <a:pt x="5803" y="625"/>
                  <a:pt x="5803" y="625"/>
                  <a:pt x="5803" y="625"/>
                </a:cubicBezTo>
                <a:cubicBezTo>
                  <a:pt x="5441" y="625"/>
                  <a:pt x="5441" y="625"/>
                  <a:pt x="5441" y="625"/>
                </a:cubicBezTo>
                <a:cubicBezTo>
                  <a:pt x="5441" y="712"/>
                  <a:pt x="5441" y="712"/>
                  <a:pt x="5441" y="712"/>
                </a:cubicBezTo>
                <a:cubicBezTo>
                  <a:pt x="5512" y="712"/>
                  <a:pt x="5512" y="712"/>
                  <a:pt x="5512" y="712"/>
                </a:cubicBezTo>
                <a:cubicBezTo>
                  <a:pt x="5546" y="712"/>
                  <a:pt x="5638" y="798"/>
                  <a:pt x="5638" y="833"/>
                </a:cubicBezTo>
                <a:cubicBezTo>
                  <a:pt x="5638" y="1555"/>
                  <a:pt x="5638" y="1555"/>
                  <a:pt x="5638" y="1555"/>
                </a:cubicBezTo>
                <a:cubicBezTo>
                  <a:pt x="5638" y="1593"/>
                  <a:pt x="5546" y="1676"/>
                  <a:pt x="5512" y="1676"/>
                </a:cubicBezTo>
                <a:cubicBezTo>
                  <a:pt x="5371" y="1676"/>
                  <a:pt x="5371" y="1676"/>
                  <a:pt x="5371" y="1676"/>
                </a:cubicBezTo>
                <a:cubicBezTo>
                  <a:pt x="5340" y="1676"/>
                  <a:pt x="5245" y="1593"/>
                  <a:pt x="5245" y="1555"/>
                </a:cubicBezTo>
                <a:cubicBezTo>
                  <a:pt x="5245" y="625"/>
                  <a:pt x="5245" y="625"/>
                  <a:pt x="5245" y="625"/>
                </a:cubicBezTo>
                <a:cubicBezTo>
                  <a:pt x="4836" y="625"/>
                  <a:pt x="4836" y="625"/>
                  <a:pt x="4836" y="625"/>
                </a:cubicBezTo>
                <a:cubicBezTo>
                  <a:pt x="4836" y="712"/>
                  <a:pt x="4836" y="712"/>
                  <a:pt x="4836" y="712"/>
                </a:cubicBezTo>
                <a:cubicBezTo>
                  <a:pt x="4906" y="712"/>
                  <a:pt x="4906" y="712"/>
                  <a:pt x="4906" y="712"/>
                </a:cubicBezTo>
                <a:cubicBezTo>
                  <a:pt x="4940" y="712"/>
                  <a:pt x="5032" y="798"/>
                  <a:pt x="5032" y="833"/>
                </a:cubicBezTo>
                <a:cubicBezTo>
                  <a:pt x="5032" y="1555"/>
                  <a:pt x="5032" y="1555"/>
                  <a:pt x="5032" y="1555"/>
                </a:cubicBezTo>
                <a:cubicBezTo>
                  <a:pt x="5032" y="1594"/>
                  <a:pt x="4940" y="1676"/>
                  <a:pt x="4906" y="1676"/>
                </a:cubicBezTo>
                <a:cubicBezTo>
                  <a:pt x="4778" y="1676"/>
                  <a:pt x="4778" y="1676"/>
                  <a:pt x="4778" y="1676"/>
                </a:cubicBezTo>
                <a:cubicBezTo>
                  <a:pt x="4742" y="1676"/>
                  <a:pt x="4599" y="1567"/>
                  <a:pt x="4570" y="1528"/>
                </a:cubicBezTo>
                <a:cubicBezTo>
                  <a:pt x="3953" y="707"/>
                  <a:pt x="3953" y="707"/>
                  <a:pt x="3953" y="707"/>
                </a:cubicBezTo>
                <a:cubicBezTo>
                  <a:pt x="4381" y="247"/>
                  <a:pt x="4381" y="247"/>
                  <a:pt x="4381" y="247"/>
                </a:cubicBezTo>
                <a:cubicBezTo>
                  <a:pt x="4405" y="221"/>
                  <a:pt x="4572" y="88"/>
                  <a:pt x="4606" y="88"/>
                </a:cubicBezTo>
                <a:cubicBezTo>
                  <a:pt x="4692" y="88"/>
                  <a:pt x="4692" y="88"/>
                  <a:pt x="4692" y="88"/>
                </a:cubicBezTo>
                <a:cubicBezTo>
                  <a:pt x="4692" y="0"/>
                  <a:pt x="4692" y="0"/>
                  <a:pt x="4692" y="0"/>
                </a:cubicBezTo>
                <a:cubicBezTo>
                  <a:pt x="4052" y="0"/>
                  <a:pt x="4052" y="0"/>
                  <a:pt x="4052" y="0"/>
                </a:cubicBezTo>
                <a:cubicBezTo>
                  <a:pt x="4052" y="88"/>
                  <a:pt x="4052" y="88"/>
                  <a:pt x="4052" y="88"/>
                </a:cubicBezTo>
                <a:cubicBezTo>
                  <a:pt x="4137" y="88"/>
                  <a:pt x="4137" y="88"/>
                  <a:pt x="4137" y="88"/>
                </a:cubicBezTo>
                <a:cubicBezTo>
                  <a:pt x="4171" y="88"/>
                  <a:pt x="4270" y="209"/>
                  <a:pt x="4244" y="240"/>
                </a:cubicBezTo>
                <a:cubicBezTo>
                  <a:pt x="3614" y="942"/>
                  <a:pt x="3614" y="942"/>
                  <a:pt x="3614" y="942"/>
                </a:cubicBezTo>
                <a:cubicBezTo>
                  <a:pt x="3614" y="221"/>
                  <a:pt x="3614" y="221"/>
                  <a:pt x="3614" y="221"/>
                </a:cubicBezTo>
                <a:cubicBezTo>
                  <a:pt x="3614" y="184"/>
                  <a:pt x="3716" y="88"/>
                  <a:pt x="3750" y="88"/>
                </a:cubicBezTo>
                <a:cubicBezTo>
                  <a:pt x="3837" y="88"/>
                  <a:pt x="3837" y="88"/>
                  <a:pt x="3837" y="88"/>
                </a:cubicBezTo>
                <a:cubicBezTo>
                  <a:pt x="3837" y="0"/>
                  <a:pt x="3837" y="0"/>
                  <a:pt x="3837" y="0"/>
                </a:cubicBezTo>
                <a:cubicBezTo>
                  <a:pt x="3149" y="0"/>
                  <a:pt x="3149" y="0"/>
                  <a:pt x="3149" y="0"/>
                </a:cubicBezTo>
                <a:cubicBezTo>
                  <a:pt x="3149" y="88"/>
                  <a:pt x="3149" y="88"/>
                  <a:pt x="3149" y="88"/>
                </a:cubicBezTo>
                <a:cubicBezTo>
                  <a:pt x="3236" y="88"/>
                  <a:pt x="3236" y="88"/>
                  <a:pt x="3236" y="88"/>
                </a:cubicBezTo>
                <a:cubicBezTo>
                  <a:pt x="3270" y="88"/>
                  <a:pt x="3371" y="184"/>
                  <a:pt x="3371" y="221"/>
                </a:cubicBezTo>
                <a:cubicBezTo>
                  <a:pt x="3371" y="1543"/>
                  <a:pt x="3371" y="1543"/>
                  <a:pt x="3371" y="1543"/>
                </a:cubicBezTo>
                <a:cubicBezTo>
                  <a:pt x="3371" y="1579"/>
                  <a:pt x="3270" y="1676"/>
                  <a:pt x="3236" y="1676"/>
                </a:cubicBezTo>
                <a:cubicBezTo>
                  <a:pt x="3149" y="1676"/>
                  <a:pt x="3149" y="1676"/>
                  <a:pt x="3149" y="1676"/>
                </a:cubicBezTo>
                <a:cubicBezTo>
                  <a:pt x="3149" y="1763"/>
                  <a:pt x="3149" y="1763"/>
                  <a:pt x="3149" y="1763"/>
                </a:cubicBezTo>
                <a:cubicBezTo>
                  <a:pt x="3836" y="1763"/>
                  <a:pt x="3836" y="1763"/>
                  <a:pt x="3836" y="1763"/>
                </a:cubicBezTo>
                <a:lnTo>
                  <a:pt x="3836" y="1676"/>
                </a:lnTo>
                <a:close/>
                <a:moveTo>
                  <a:pt x="7720" y="1446"/>
                </a:moveTo>
                <a:cubicBezTo>
                  <a:pt x="7720" y="1262"/>
                  <a:pt x="7579" y="1163"/>
                  <a:pt x="7456" y="1114"/>
                </a:cubicBezTo>
                <a:cubicBezTo>
                  <a:pt x="7361" y="1078"/>
                  <a:pt x="7296" y="1049"/>
                  <a:pt x="7209" y="1013"/>
                </a:cubicBezTo>
                <a:cubicBezTo>
                  <a:pt x="7090" y="962"/>
                  <a:pt x="7023" y="927"/>
                  <a:pt x="7023" y="829"/>
                </a:cubicBezTo>
                <a:cubicBezTo>
                  <a:pt x="7023" y="739"/>
                  <a:pt x="7085" y="683"/>
                  <a:pt x="7219" y="683"/>
                </a:cubicBezTo>
                <a:cubicBezTo>
                  <a:pt x="7432" y="683"/>
                  <a:pt x="7565" y="884"/>
                  <a:pt x="7565" y="979"/>
                </a:cubicBezTo>
                <a:cubicBezTo>
                  <a:pt x="7635" y="979"/>
                  <a:pt x="7635" y="979"/>
                  <a:pt x="7635" y="979"/>
                </a:cubicBezTo>
                <a:cubicBezTo>
                  <a:pt x="7635" y="625"/>
                  <a:pt x="7635" y="625"/>
                  <a:pt x="7635" y="625"/>
                </a:cubicBezTo>
                <a:cubicBezTo>
                  <a:pt x="7572" y="625"/>
                  <a:pt x="7572" y="625"/>
                  <a:pt x="7572" y="625"/>
                </a:cubicBezTo>
                <a:cubicBezTo>
                  <a:pt x="7562" y="649"/>
                  <a:pt x="7543" y="657"/>
                  <a:pt x="7509" y="657"/>
                </a:cubicBezTo>
                <a:cubicBezTo>
                  <a:pt x="7422" y="657"/>
                  <a:pt x="7352" y="598"/>
                  <a:pt x="7226" y="598"/>
                </a:cubicBezTo>
                <a:cubicBezTo>
                  <a:pt x="7015" y="598"/>
                  <a:pt x="6882" y="707"/>
                  <a:pt x="6882" y="913"/>
                </a:cubicBezTo>
                <a:cubicBezTo>
                  <a:pt x="6882" y="1071"/>
                  <a:pt x="6986" y="1160"/>
                  <a:pt x="7124" y="1223"/>
                </a:cubicBezTo>
                <a:cubicBezTo>
                  <a:pt x="7216" y="1264"/>
                  <a:pt x="7282" y="1291"/>
                  <a:pt x="7361" y="1325"/>
                </a:cubicBezTo>
                <a:cubicBezTo>
                  <a:pt x="7463" y="1367"/>
                  <a:pt x="7577" y="1412"/>
                  <a:pt x="7577" y="1540"/>
                </a:cubicBezTo>
                <a:cubicBezTo>
                  <a:pt x="7577" y="1647"/>
                  <a:pt x="7497" y="1695"/>
                  <a:pt x="7354" y="1695"/>
                </a:cubicBezTo>
                <a:cubicBezTo>
                  <a:pt x="7107" y="1695"/>
                  <a:pt x="6952" y="1468"/>
                  <a:pt x="6952" y="1361"/>
                </a:cubicBezTo>
                <a:cubicBezTo>
                  <a:pt x="6882" y="1361"/>
                  <a:pt x="6882" y="1361"/>
                  <a:pt x="6882" y="1361"/>
                </a:cubicBezTo>
                <a:cubicBezTo>
                  <a:pt x="6882" y="1763"/>
                  <a:pt x="6882" y="1763"/>
                  <a:pt x="6882" y="1763"/>
                </a:cubicBezTo>
                <a:cubicBezTo>
                  <a:pt x="6938" y="1763"/>
                  <a:pt x="6938" y="1763"/>
                  <a:pt x="6938" y="1763"/>
                </a:cubicBezTo>
                <a:cubicBezTo>
                  <a:pt x="6967" y="1737"/>
                  <a:pt x="6979" y="1725"/>
                  <a:pt x="7025" y="1725"/>
                </a:cubicBezTo>
                <a:cubicBezTo>
                  <a:pt x="7124" y="1725"/>
                  <a:pt x="7209" y="1790"/>
                  <a:pt x="7354" y="1790"/>
                </a:cubicBezTo>
                <a:cubicBezTo>
                  <a:pt x="7570" y="1790"/>
                  <a:pt x="7720" y="1664"/>
                  <a:pt x="7720" y="1446"/>
                </a:cubicBezTo>
                <a:close/>
                <a:moveTo>
                  <a:pt x="2703" y="1584"/>
                </a:moveTo>
                <a:cubicBezTo>
                  <a:pt x="2442" y="1584"/>
                  <a:pt x="2282" y="1383"/>
                  <a:pt x="2282" y="1129"/>
                </a:cubicBezTo>
                <a:cubicBezTo>
                  <a:pt x="2282" y="860"/>
                  <a:pt x="2391" y="683"/>
                  <a:pt x="2618" y="683"/>
                </a:cubicBezTo>
                <a:cubicBezTo>
                  <a:pt x="2815" y="683"/>
                  <a:pt x="2844" y="840"/>
                  <a:pt x="2812" y="1017"/>
                </a:cubicBezTo>
                <a:cubicBezTo>
                  <a:pt x="2882" y="1013"/>
                  <a:pt x="2882" y="1013"/>
                  <a:pt x="2882" y="1013"/>
                </a:cubicBezTo>
                <a:cubicBezTo>
                  <a:pt x="3049" y="753"/>
                  <a:pt x="3049" y="753"/>
                  <a:pt x="3049" y="753"/>
                </a:cubicBezTo>
                <a:cubicBezTo>
                  <a:pt x="2945" y="649"/>
                  <a:pt x="2824" y="596"/>
                  <a:pt x="2645" y="596"/>
                </a:cubicBezTo>
                <a:cubicBezTo>
                  <a:pt x="2345" y="596"/>
                  <a:pt x="2100" y="833"/>
                  <a:pt x="2100" y="1201"/>
                </a:cubicBezTo>
                <a:cubicBezTo>
                  <a:pt x="2100" y="1526"/>
                  <a:pt x="2306" y="1792"/>
                  <a:pt x="2623" y="1792"/>
                </a:cubicBezTo>
                <a:cubicBezTo>
                  <a:pt x="2909" y="1792"/>
                  <a:pt x="3061" y="1635"/>
                  <a:pt x="3136" y="1386"/>
                </a:cubicBezTo>
                <a:cubicBezTo>
                  <a:pt x="3066" y="1386"/>
                  <a:pt x="3066" y="1386"/>
                  <a:pt x="3066" y="1386"/>
                </a:cubicBezTo>
                <a:cubicBezTo>
                  <a:pt x="2986" y="1519"/>
                  <a:pt x="2902" y="1584"/>
                  <a:pt x="2703" y="1584"/>
                </a:cubicBezTo>
                <a:close/>
                <a:moveTo>
                  <a:pt x="1053" y="1322"/>
                </a:moveTo>
                <a:cubicBezTo>
                  <a:pt x="1041" y="1322"/>
                  <a:pt x="1041" y="1322"/>
                  <a:pt x="1041" y="1322"/>
                </a:cubicBezTo>
                <a:cubicBezTo>
                  <a:pt x="511" y="0"/>
                  <a:pt x="511" y="0"/>
                  <a:pt x="51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8"/>
                  <a:pt x="0" y="88"/>
                  <a:pt x="0" y="88"/>
                </a:cubicBezTo>
                <a:cubicBezTo>
                  <a:pt x="87" y="88"/>
                  <a:pt x="87" y="88"/>
                  <a:pt x="87" y="88"/>
                </a:cubicBezTo>
                <a:cubicBezTo>
                  <a:pt x="121" y="88"/>
                  <a:pt x="223" y="184"/>
                  <a:pt x="223" y="221"/>
                </a:cubicBezTo>
                <a:cubicBezTo>
                  <a:pt x="223" y="1543"/>
                  <a:pt x="223" y="1543"/>
                  <a:pt x="223" y="1543"/>
                </a:cubicBezTo>
                <a:cubicBezTo>
                  <a:pt x="223" y="1579"/>
                  <a:pt x="121" y="1676"/>
                  <a:pt x="87" y="1676"/>
                </a:cubicBezTo>
                <a:cubicBezTo>
                  <a:pt x="0" y="1676"/>
                  <a:pt x="0" y="1676"/>
                  <a:pt x="0" y="1676"/>
                </a:cubicBezTo>
                <a:cubicBezTo>
                  <a:pt x="0" y="1763"/>
                  <a:pt x="0" y="1763"/>
                  <a:pt x="0" y="1763"/>
                </a:cubicBezTo>
                <a:cubicBezTo>
                  <a:pt x="549" y="1763"/>
                  <a:pt x="549" y="1763"/>
                  <a:pt x="549" y="1763"/>
                </a:cubicBezTo>
                <a:cubicBezTo>
                  <a:pt x="549" y="1676"/>
                  <a:pt x="549" y="1676"/>
                  <a:pt x="549" y="1676"/>
                </a:cubicBezTo>
                <a:cubicBezTo>
                  <a:pt x="462" y="1676"/>
                  <a:pt x="462" y="1676"/>
                  <a:pt x="462" y="1676"/>
                </a:cubicBezTo>
                <a:cubicBezTo>
                  <a:pt x="428" y="1676"/>
                  <a:pt x="327" y="1579"/>
                  <a:pt x="327" y="1543"/>
                </a:cubicBezTo>
                <a:cubicBezTo>
                  <a:pt x="327" y="233"/>
                  <a:pt x="327" y="233"/>
                  <a:pt x="327" y="233"/>
                </a:cubicBezTo>
                <a:cubicBezTo>
                  <a:pt x="968" y="1794"/>
                  <a:pt x="968" y="1794"/>
                  <a:pt x="968" y="1794"/>
                </a:cubicBezTo>
                <a:cubicBezTo>
                  <a:pt x="1609" y="259"/>
                  <a:pt x="1609" y="259"/>
                  <a:pt x="1609" y="259"/>
                </a:cubicBezTo>
                <a:cubicBezTo>
                  <a:pt x="1609" y="1543"/>
                  <a:pt x="1609" y="1543"/>
                  <a:pt x="1609" y="1543"/>
                </a:cubicBezTo>
                <a:cubicBezTo>
                  <a:pt x="1609" y="1579"/>
                  <a:pt x="1507" y="1676"/>
                  <a:pt x="1473" y="1676"/>
                </a:cubicBezTo>
                <a:cubicBezTo>
                  <a:pt x="1386" y="1676"/>
                  <a:pt x="1386" y="1676"/>
                  <a:pt x="1386" y="1676"/>
                </a:cubicBezTo>
                <a:cubicBezTo>
                  <a:pt x="1386" y="1763"/>
                  <a:pt x="1386" y="1763"/>
                  <a:pt x="1386" y="1763"/>
                </a:cubicBezTo>
                <a:cubicBezTo>
                  <a:pt x="2069" y="1763"/>
                  <a:pt x="2069" y="1763"/>
                  <a:pt x="2069" y="1763"/>
                </a:cubicBezTo>
                <a:cubicBezTo>
                  <a:pt x="2069" y="1676"/>
                  <a:pt x="2069" y="1676"/>
                  <a:pt x="2069" y="1676"/>
                </a:cubicBezTo>
                <a:cubicBezTo>
                  <a:pt x="1983" y="1676"/>
                  <a:pt x="1983" y="1676"/>
                  <a:pt x="1983" y="1676"/>
                </a:cubicBezTo>
                <a:cubicBezTo>
                  <a:pt x="1949" y="1676"/>
                  <a:pt x="1848" y="1579"/>
                  <a:pt x="1848" y="1543"/>
                </a:cubicBezTo>
                <a:cubicBezTo>
                  <a:pt x="1848" y="221"/>
                  <a:pt x="1848" y="221"/>
                  <a:pt x="1848" y="221"/>
                </a:cubicBezTo>
                <a:cubicBezTo>
                  <a:pt x="1848" y="184"/>
                  <a:pt x="1949" y="88"/>
                  <a:pt x="1983" y="88"/>
                </a:cubicBezTo>
                <a:cubicBezTo>
                  <a:pt x="2070" y="88"/>
                  <a:pt x="2070" y="88"/>
                  <a:pt x="2070" y="88"/>
                </a:cubicBezTo>
                <a:cubicBezTo>
                  <a:pt x="2070" y="0"/>
                  <a:pt x="2070" y="0"/>
                  <a:pt x="2070" y="0"/>
                </a:cubicBezTo>
                <a:cubicBezTo>
                  <a:pt x="1610" y="0"/>
                  <a:pt x="1610" y="0"/>
                  <a:pt x="1610" y="0"/>
                </a:cubicBezTo>
                <a:lnTo>
                  <a:pt x="1053" y="132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A56AA4-7AF3-DD78-617E-A4002600DCF4}"/>
              </a:ext>
            </a:extLst>
          </p:cNvPr>
          <p:cNvSpPr txBox="1">
            <a:spLocks/>
          </p:cNvSpPr>
          <p:nvPr/>
        </p:nvSpPr>
        <p:spPr>
          <a:xfrm flipH="1">
            <a:off x="8920348" y="4839364"/>
            <a:ext cx="2797978" cy="129266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0" marR="0" lvl="1" indent="0" algn="ctr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Wingdings" panose="05000000000000000000" pitchFamily="2" charset="2"/>
              <a:buNone/>
              <a:tabLst/>
              <a:defRPr kumimoji="0" sz="3600" b="1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</a:defRPr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‒"/>
              <a:defRPr sz="160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•"/>
              <a:defRPr sz="160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50 Mt CO</a:t>
            </a:r>
            <a:r>
              <a:rPr kumimoji="0" lang="en-US" sz="4400" b="1" i="0" u="none" strike="noStrike" kern="1200" cap="none" spc="0" normalizeH="0" baseline="-25000" noProof="0" dirty="0">
                <a:ln>
                  <a:noFill/>
                </a:ln>
                <a:solidFill>
                  <a:srgbClr val="16B6E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4400" b="1" i="0" u="none" strike="noStrike" kern="1200" cap="none" spc="0" normalizeH="0" baseline="-25000" noProof="0" dirty="0">
              <a:ln>
                <a:noFill/>
              </a:ln>
              <a:solidFill>
                <a:srgbClr val="052B35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ated annually through clean hydrogen supply</a:t>
            </a:r>
          </a:p>
        </p:txBody>
      </p:sp>
    </p:spTree>
    <p:extLst>
      <p:ext uri="{BB962C8B-B14F-4D97-AF65-F5344CB8AC3E}">
        <p14:creationId xmlns:p14="http://schemas.microsoft.com/office/powerpoint/2010/main" val="2849110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68F70E4B-DD9F-1E01-9327-AE1113CEA6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590"/>
            <a:ext cx="12192000" cy="6826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483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8E8BAB3A-F461-A530-1941-49B503F861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45"/>
            <a:ext cx="12192000" cy="685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793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U9kqxw3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7D8SRBM89yMM_fpTjQ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2_Contrast_EN_CG2457_16x9_OF_v4">
  <a:themeElements>
    <a:clrScheme name="Scheme2">
      <a:dk1>
        <a:srgbClr val="FFFFFF"/>
      </a:dk1>
      <a:lt1>
        <a:srgbClr val="052B35"/>
      </a:lt1>
      <a:dk2>
        <a:srgbClr val="3C3C3C"/>
      </a:dk2>
      <a:lt2>
        <a:srgbClr val="3C3C3C"/>
      </a:lt2>
      <a:accent1>
        <a:srgbClr val="16B6E3"/>
      </a:accent1>
      <a:accent2>
        <a:srgbClr val="7A7E7E"/>
      </a:accent2>
      <a:accent3>
        <a:srgbClr val="F7921D"/>
      </a:accent3>
      <a:accent4>
        <a:srgbClr val="81BA44"/>
      </a:accent4>
      <a:accent5>
        <a:srgbClr val="5CCAF0"/>
      </a:accent5>
      <a:accent6>
        <a:srgbClr val="188BA8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52B35"/>
        </a:lt1>
        <a:dk2>
          <a:srgbClr val="3C3C3C"/>
        </a:dk2>
        <a:lt2>
          <a:srgbClr val="3C3C3C"/>
        </a:lt2>
        <a:accent1>
          <a:srgbClr val="16B6E3"/>
        </a:accent1>
        <a:accent2>
          <a:srgbClr val="7A7E7E"/>
        </a:accent2>
        <a:accent3>
          <a:srgbClr val="F7921D"/>
        </a:accent3>
        <a:accent4>
          <a:srgbClr val="81BA44"/>
        </a:accent4>
        <a:accent5>
          <a:srgbClr val="5CCAF0"/>
        </a:accent5>
        <a:accent6>
          <a:srgbClr val="188BA8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Purple">
      <a:srgbClr val="7B3B97"/>
    </a:custClr>
    <a:custClr name="Gold">
      <a:srgbClr val="F7BF1F"/>
    </a:custClr>
    <a:custClr name="Orange">
      <a:srgbClr val="EA743D"/>
    </a:custClr>
    <a:custClr name="Dark Teal">
      <a:srgbClr val="00AFC6"/>
    </a:custClr>
    <a:custClr name="Red">
      <a:srgbClr val="D2232B"/>
    </a:custClr>
  </a:custClrLst>
  <a:extLst>
    <a:ext uri="{05A4C25C-085E-4340-85A3-A5531E510DB2}">
      <thm15:themeFamily xmlns:thm15="http://schemas.microsoft.com/office/thememl/2012/main" name="EN_CG2457_16x9_OF_v4.potx" id="{0CC2B2B9-9574-4893-8AA4-ED782F08E560}" vid="{EFC53E2B-CBA9-4BCD-B8BF-E3B850AAA5B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3de1919-df0d-4323-8038-dc488913dfcd">
      <Terms xmlns="http://schemas.microsoft.com/office/infopath/2007/PartnerControls"/>
    </lcf76f155ced4ddcb4097134ff3c332f>
    <TaxCatchAll xmlns="2ad364f3-bde0-4796-88e8-d4597e29836b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2E5996BC0153458F7006BD099074A3" ma:contentTypeVersion="14" ma:contentTypeDescription="Create a new document." ma:contentTypeScope="" ma:versionID="f40308742a93f64cbc87e9650bbc63e4">
  <xsd:schema xmlns:xsd="http://www.w3.org/2001/XMLSchema" xmlns:xs="http://www.w3.org/2001/XMLSchema" xmlns:p="http://schemas.microsoft.com/office/2006/metadata/properties" xmlns:ns2="a3de1919-df0d-4323-8038-dc488913dfcd" xmlns:ns3="2ad364f3-bde0-4796-88e8-d4597e29836b" targetNamespace="http://schemas.microsoft.com/office/2006/metadata/properties" ma:root="true" ma:fieldsID="b022ac12aa5da99f9f296d742dfd01f6" ns2:_="" ns3:_="">
    <xsd:import namespace="a3de1919-df0d-4323-8038-dc488913dfcd"/>
    <xsd:import namespace="2ad364f3-bde0-4796-88e8-d4597e2983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de1919-df0d-4323-8038-dc488913df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3a2faa4b-a4e7-430d-a263-e7e8206ae33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d364f3-bde0-4796-88e8-d4597e29836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a886b241-d71b-486b-a37c-66f6d2dad65a}" ma:internalName="TaxCatchAll" ma:showField="CatchAllData" ma:web="2ad364f3-bde0-4796-88e8-d4597e2983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624FE06-471D-4C43-B809-A0CBECF45162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0fd1980-78e3-4f2f-896a-6943765b7793"/>
    <ds:schemaRef ds:uri="http://purl.org/dc/terms/"/>
    <ds:schemaRef ds:uri="http://schemas.openxmlformats.org/package/2006/metadata/core-properties"/>
    <ds:schemaRef ds:uri="0b055828-2557-48fb-855f-3caf4a095c1b"/>
    <ds:schemaRef ds:uri="http://www.w3.org/XML/1998/namespace"/>
    <ds:schemaRef ds:uri="http://purl.org/dc/dcmitype/"/>
    <ds:schemaRef ds:uri="a3de1919-df0d-4323-8038-dc488913dfcd"/>
    <ds:schemaRef ds:uri="2ad364f3-bde0-4796-88e8-d4597e29836b"/>
  </ds:schemaRefs>
</ds:datastoreItem>
</file>

<file path=customXml/itemProps2.xml><?xml version="1.0" encoding="utf-8"?>
<ds:datastoreItem xmlns:ds="http://schemas.openxmlformats.org/officeDocument/2006/customXml" ds:itemID="{066E09E3-234C-4BBB-A8B8-44541C90DAB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D6EEF0-FD52-4230-A5BC-31238CC4B5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de1919-df0d-4323-8038-dc488913dfcd"/>
    <ds:schemaRef ds:uri="2ad364f3-bde0-4796-88e8-d4597e2983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cd88dc2-102c-473d-aa45-6161565a3617}" enabled="1" method="Standard" siteId="{1321633e-f6b9-44e2-a44f-59b9d264ecb7}" contentBits="2" removed="0"/>
  <clbl:label id="{d5819179-59c7-4e59-99db-9668aff4030e}" enabled="1" method="Privileged" siteId="{2b04c625-d9b4-4670-9a63-d1a132ab3c30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74</TotalTime>
  <Words>520</Words>
  <Application>Microsoft Office PowerPoint</Application>
  <PresentationFormat>Breedbeeld</PresentationFormat>
  <Paragraphs>70</Paragraphs>
  <Slides>7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6" baseType="lpstr">
      <vt:lpstr>Arial</vt:lpstr>
      <vt:lpstr>Calibri</vt:lpstr>
      <vt:lpstr>Segoe UI</vt:lpstr>
      <vt:lpstr>Trebuchet MS</vt:lpstr>
      <vt:lpstr>Wingdings</vt:lpstr>
      <vt:lpstr>Custom Design</vt:lpstr>
      <vt:lpstr>1_Custom Design</vt:lpstr>
      <vt:lpstr>2_Contrast_EN_CG2457_16x9_OF_v4</vt:lpstr>
      <vt:lpstr>think-cell Slide</vt:lpstr>
      <vt:lpstr>IHTF objectives and value proposition</vt:lpstr>
      <vt:lpstr>PowerPoint-presentatie</vt:lpstr>
      <vt:lpstr>PowerPoint-presentatie</vt:lpstr>
      <vt:lpstr>PowerPoint-presentatie</vt:lpstr>
      <vt:lpstr>40% lower cost and up to 10 mn jobs created in the global H2 economy by 2035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newables &amp; Hydrogen Updates</dc:title>
  <dc:creator>Harley Higgins Watson (COP28)</dc:creator>
  <cp:lastModifiedBy>Feenstra, drs. J.D. (Han)</cp:lastModifiedBy>
  <cp:revision>212</cp:revision>
  <dcterms:created xsi:type="dcterms:W3CDTF">2023-07-25T08:43:33Z</dcterms:created>
  <dcterms:modified xsi:type="dcterms:W3CDTF">2024-11-19T09:2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HeaderLocations">
    <vt:lpwstr>Office Theme:8\COP28 UAE Grid 16\:9:5\1_COP28 UAE Grid 16\:9:5</vt:lpwstr>
  </property>
  <property fmtid="{D5CDD505-2E9C-101B-9397-08002B2CF9AE}" pid="3" name="ClassificationContentMarkingHeaderText">
    <vt:lpwstr>COP28 Classification: Internal</vt:lpwstr>
  </property>
  <property fmtid="{D5CDD505-2E9C-101B-9397-08002B2CF9AE}" pid="4" name="MSIP_Label_b0d5c4f4-7a29-4385-b7a5-afbe2154ae6f_Enabled">
    <vt:lpwstr>true</vt:lpwstr>
  </property>
  <property fmtid="{D5CDD505-2E9C-101B-9397-08002B2CF9AE}" pid="5" name="MSIP_Label_b0d5c4f4-7a29-4385-b7a5-afbe2154ae6f_SetDate">
    <vt:lpwstr>2023-09-04T14:24:20Z</vt:lpwstr>
  </property>
  <property fmtid="{D5CDD505-2E9C-101B-9397-08002B2CF9AE}" pid="6" name="MSIP_Label_b0d5c4f4-7a29-4385-b7a5-afbe2154ae6f_Method">
    <vt:lpwstr>Standard</vt:lpwstr>
  </property>
  <property fmtid="{D5CDD505-2E9C-101B-9397-08002B2CF9AE}" pid="7" name="MSIP_Label_b0d5c4f4-7a29-4385-b7a5-afbe2154ae6f_Name">
    <vt:lpwstr>Confidential</vt:lpwstr>
  </property>
  <property fmtid="{D5CDD505-2E9C-101B-9397-08002B2CF9AE}" pid="8" name="MSIP_Label_b0d5c4f4-7a29-4385-b7a5-afbe2154ae6f_SiteId">
    <vt:lpwstr>2dfb2f0b-4d21-4268-9559-72926144c918</vt:lpwstr>
  </property>
  <property fmtid="{D5CDD505-2E9C-101B-9397-08002B2CF9AE}" pid="9" name="MSIP_Label_b0d5c4f4-7a29-4385-b7a5-afbe2154ae6f_ActionId">
    <vt:lpwstr>faceb576-f8f4-4b29-b89c-9c1e669f5ae2</vt:lpwstr>
  </property>
  <property fmtid="{D5CDD505-2E9C-101B-9397-08002B2CF9AE}" pid="10" name="MSIP_Label_b0d5c4f4-7a29-4385-b7a5-afbe2154ae6f_ContentBits">
    <vt:lpwstr>0</vt:lpwstr>
  </property>
  <property fmtid="{D5CDD505-2E9C-101B-9397-08002B2CF9AE}" pid="11" name="ContentTypeId">
    <vt:lpwstr>0x010100222E5996BC0153458F7006BD099074A3</vt:lpwstr>
  </property>
  <property fmtid="{D5CDD505-2E9C-101B-9397-08002B2CF9AE}" pid="12" name="MediaServiceImageTags">
    <vt:lpwstr/>
  </property>
  <property fmtid="{D5CDD505-2E9C-101B-9397-08002B2CF9AE}" pid="13" name="ClassificationContentMarkingFooterLocations">
    <vt:lpwstr>COP28 UAE Grid 16\:9:6\1_COP28 UAE Grid 16\:9:6\2_COP28 UAE Grid 16\:9:5</vt:lpwstr>
  </property>
  <property fmtid="{D5CDD505-2E9C-101B-9397-08002B2CF9AE}" pid="14" name="ClassificationContentMarkingFooterText">
    <vt:lpwstr>Intern gebruik</vt:lpwstr>
  </property>
</Properties>
</file>